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xls" ContentType="application/vnd.ms-excel"/>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3.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4.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5.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notesSlides/notesSlide6.xml" ContentType="application/vnd.openxmlformats-officedocument.presentationml.notesSlid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notesSlides/notesSlide7.xml" ContentType="application/vnd.openxmlformats-officedocument.presentationml.notesSlide+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charts/chart1.xml" ContentType="application/vnd.openxmlformats-officedocument.drawingml.chart+xml"/>
  <Override PartName="/ppt/tags/tag425.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426.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427.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428.xml" ContentType="application/vnd.openxmlformats-officedocument.presentationml.tags+xml"/>
  <Override PartName="/ppt/charts/chart11.xml" ContentType="application/vnd.openxmlformats-officedocument.drawingml.chart+xml"/>
  <Override PartName="/ppt/tags/tag429.xml" ContentType="application/vnd.openxmlformats-officedocument.presentationml.tags+xml"/>
  <Override PartName="/ppt/tags/tag430.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431.xml" ContentType="application/vnd.openxmlformats-officedocument.presentationml.tags+xml"/>
  <Override PartName="/ppt/tags/tag432.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433.xml" ContentType="application/vnd.openxmlformats-officedocument.presentationml.tags+xml"/>
  <Override PartName="/ppt/tags/tag434.xml" ContentType="application/vnd.openxmlformats-officedocument.presentationml.tags+xml"/>
  <Override PartName="/ppt/charts/chart16.xml" ContentType="application/vnd.openxmlformats-officedocument.drawingml.chart+xml"/>
  <Override PartName="/ppt/tags/tag435.xml" ContentType="application/vnd.openxmlformats-officedocument.presentationml.tags+xml"/>
  <Override PartName="/ppt/tags/tag436.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437.xml" ContentType="application/vnd.openxmlformats-officedocument.presentationml.tags+xml"/>
  <Override PartName="/ppt/tags/tag438.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439.xml" ContentType="application/vnd.openxmlformats-officedocument.presentationml.tags+xml"/>
  <Override PartName="/ppt/charts/chart23.xml" ContentType="application/vnd.openxmlformats-officedocument.drawingml.chart+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444.xml" ContentType="application/vnd.openxmlformats-officedocument.presentationml.tags+xml"/>
  <Override PartName="/ppt/charts/chart28.xml" ContentType="application/vnd.openxmlformats-officedocument.drawingml.chart+xml"/>
  <Override PartName="/ppt/tags/tag445.xml" ContentType="application/vnd.openxmlformats-officedocument.presentationml.tags+xml"/>
  <Override PartName="/ppt/charts/chart29.xml" ContentType="application/vnd.openxmlformats-officedocument.drawingml.chart+xml"/>
  <Override PartName="/ppt/tags/tag446.xml" ContentType="application/vnd.openxmlformats-officedocument.presentationml.tags+xml"/>
  <Override PartName="/ppt/charts/chart30.xml" ContentType="application/vnd.openxmlformats-officedocument.drawingml.chart+xml"/>
  <Override PartName="/ppt/tags/tag447.xml" ContentType="application/vnd.openxmlformats-officedocument.presentationml.tags+xml"/>
  <Override PartName="/ppt/charts/chart31.xml" ContentType="application/vnd.openxmlformats-officedocument.drawingml.chart+xml"/>
  <Override PartName="/ppt/tags/tag448.xml" ContentType="application/vnd.openxmlformats-officedocument.presentationml.tags+xml"/>
  <Override PartName="/ppt/charts/chart32.xml" ContentType="application/vnd.openxmlformats-officedocument.drawingml.chart+xml"/>
  <Override PartName="/ppt/tags/tag449.xml" ContentType="application/vnd.openxmlformats-officedocument.presentationml.tags+xml"/>
  <Override PartName="/ppt/tags/tag450.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tags/tag451.xml" ContentType="application/vnd.openxmlformats-officedocument.presentationml.tags+xml"/>
  <Override PartName="/ppt/charts/chart35.xml" ContentType="application/vnd.openxmlformats-officedocument.drawingml.chart+xml"/>
  <Override PartName="/ppt/charts/chart36.xml" ContentType="application/vnd.openxmlformats-officedocument.drawingml.chart+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charts/chart39.xml" ContentType="application/vnd.openxmlformats-officedocument.drawingml.chart+xml"/>
  <Override PartName="/ppt/charts/chart40.xml" ContentType="application/vnd.openxmlformats-officedocument.drawingml.chart+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charts/chart41.xml" ContentType="application/vnd.openxmlformats-officedocument.drawingml.chart+xml"/>
  <Override PartName="/ppt/charts/chart42.xml" ContentType="application/vnd.openxmlformats-officedocument.drawingml.chart+xml"/>
  <Override PartName="/ppt/tags/tag470.xml" ContentType="application/vnd.openxmlformats-officedocument.presentationml.tags+xml"/>
  <Override PartName="/ppt/charts/chart43.xml" ContentType="application/vnd.openxmlformats-officedocument.drawingml.chart+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charts/chart44.xml" ContentType="application/vnd.openxmlformats-officedocument.drawingml.chart+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charts/chart45.xml" ContentType="application/vnd.openxmlformats-officedocument.drawingml.chart+xml"/>
  <Override PartName="/ppt/charts/chart46.xml" ContentType="application/vnd.openxmlformats-officedocument.drawingml.chart+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charts/chart47.xml" ContentType="application/vnd.openxmlformats-officedocument.drawingml.chart+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charts/chart48.xml" ContentType="application/vnd.openxmlformats-officedocument.drawingml.chart+xml"/>
  <Override PartName="/ppt/charts/chart49.xml" ContentType="application/vnd.openxmlformats-officedocument.drawingml.chart+xml"/>
  <Override PartName="/ppt/tags/tag507.xml" ContentType="application/vnd.openxmlformats-officedocument.presentationml.tags+xml"/>
  <Override PartName="/ppt/charts/chart50.xml" ContentType="application/vnd.openxmlformats-officedocument.drawingml.chart+xml"/>
  <Override PartName="/ppt/tags/tag508.xml" ContentType="application/vnd.openxmlformats-officedocument.presentationml.tags+xml"/>
  <Override PartName="/ppt/charts/chart51.xml" ContentType="application/vnd.openxmlformats-officedocument.drawingml.chart+xml"/>
  <Override PartName="/ppt/tags/tag509.xml" ContentType="application/vnd.openxmlformats-officedocument.presentationml.tags+xml"/>
  <Override PartName="/ppt/charts/chart52.xml" ContentType="application/vnd.openxmlformats-officedocument.drawingml.chart+xml"/>
  <Override PartName="/ppt/tags/tag510.xml" ContentType="application/vnd.openxmlformats-officedocument.presentationml.tags+xml"/>
  <Override PartName="/ppt/charts/chart53.xml" ContentType="application/vnd.openxmlformats-officedocument.drawingml.chart+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charts/chart54.xml" ContentType="application/vnd.openxmlformats-officedocument.drawingml.chart+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charts/chart55.xml" ContentType="application/vnd.openxmlformats-officedocument.drawingml.chart+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charts/chart56.xml" ContentType="application/vnd.openxmlformats-officedocument.drawingml.chart+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charts/chart57.xml" ContentType="application/vnd.openxmlformats-officedocument.drawingml.chart+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charts/chart58.xml" ContentType="application/vnd.openxmlformats-officedocument.drawingml.chart+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charts/chart59.xml" ContentType="application/vnd.openxmlformats-officedocument.drawingml.chart+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charts/chart60.xml" ContentType="application/vnd.openxmlformats-officedocument.drawingml.chart+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notesSlides/notesSlide8.xml" ContentType="application/vnd.openxmlformats-officedocument.presentationml.notesSlide+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notesSlides/notesSlide9.xml" ContentType="application/vnd.openxmlformats-officedocument.presentationml.notesSlide+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notesSlides/notesSlide10.xml" ContentType="application/vnd.openxmlformats-officedocument.presentationml.notesSlide+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notesSlides/notesSlide11.xml" ContentType="application/vnd.openxmlformats-officedocument.presentationml.notesSlide+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896" r:id="rId1"/>
  </p:sldMasterIdLst>
  <p:notesMasterIdLst>
    <p:notesMasterId r:id="rId230"/>
  </p:notesMasterIdLst>
  <p:handoutMasterIdLst>
    <p:handoutMasterId r:id="rId231"/>
  </p:handoutMasterIdLst>
  <p:sldIdLst>
    <p:sldId id="304" r:id="rId2"/>
    <p:sldId id="360" r:id="rId3"/>
    <p:sldId id="361" r:id="rId4"/>
    <p:sldId id="362" r:id="rId5"/>
    <p:sldId id="363" r:id="rId6"/>
    <p:sldId id="364" r:id="rId7"/>
    <p:sldId id="365" r:id="rId8"/>
    <p:sldId id="366" r:id="rId9"/>
    <p:sldId id="367" r:id="rId10"/>
    <p:sldId id="368" r:id="rId11"/>
    <p:sldId id="369" r:id="rId12"/>
    <p:sldId id="372" r:id="rId13"/>
    <p:sldId id="373" r:id="rId14"/>
    <p:sldId id="374" r:id="rId15"/>
    <p:sldId id="375" r:id="rId16"/>
    <p:sldId id="376" r:id="rId17"/>
    <p:sldId id="377" r:id="rId18"/>
    <p:sldId id="378" r:id="rId19"/>
    <p:sldId id="379" r:id="rId20"/>
    <p:sldId id="380" r:id="rId21"/>
    <p:sldId id="381" r:id="rId22"/>
    <p:sldId id="382" r:id="rId23"/>
    <p:sldId id="383" r:id="rId24"/>
    <p:sldId id="384" r:id="rId25"/>
    <p:sldId id="385" r:id="rId26"/>
    <p:sldId id="386" r:id="rId27"/>
    <p:sldId id="387" r:id="rId28"/>
    <p:sldId id="388" r:id="rId29"/>
    <p:sldId id="389" r:id="rId30"/>
    <p:sldId id="390" r:id="rId31"/>
    <p:sldId id="391" r:id="rId32"/>
    <p:sldId id="392" r:id="rId33"/>
    <p:sldId id="393" r:id="rId34"/>
    <p:sldId id="394" r:id="rId35"/>
    <p:sldId id="395" r:id="rId36"/>
    <p:sldId id="396" r:id="rId37"/>
    <p:sldId id="397" r:id="rId38"/>
    <p:sldId id="398" r:id="rId39"/>
    <p:sldId id="399" r:id="rId40"/>
    <p:sldId id="400" r:id="rId41"/>
    <p:sldId id="401" r:id="rId42"/>
    <p:sldId id="402" r:id="rId43"/>
    <p:sldId id="403" r:id="rId44"/>
    <p:sldId id="404" r:id="rId45"/>
    <p:sldId id="405" r:id="rId46"/>
    <p:sldId id="406" r:id="rId47"/>
    <p:sldId id="407" r:id="rId48"/>
    <p:sldId id="408" r:id="rId49"/>
    <p:sldId id="409" r:id="rId50"/>
    <p:sldId id="589" r:id="rId51"/>
    <p:sldId id="590" r:id="rId52"/>
    <p:sldId id="591" r:id="rId53"/>
    <p:sldId id="592" r:id="rId54"/>
    <p:sldId id="593" r:id="rId55"/>
    <p:sldId id="594" r:id="rId56"/>
    <p:sldId id="595" r:id="rId57"/>
    <p:sldId id="596" r:id="rId58"/>
    <p:sldId id="597" r:id="rId59"/>
    <p:sldId id="598" r:id="rId60"/>
    <p:sldId id="599" r:id="rId61"/>
    <p:sldId id="600" r:id="rId62"/>
    <p:sldId id="601" r:id="rId63"/>
    <p:sldId id="602" r:id="rId64"/>
    <p:sldId id="603" r:id="rId65"/>
    <p:sldId id="604" r:id="rId66"/>
    <p:sldId id="605" r:id="rId67"/>
    <p:sldId id="606" r:id="rId68"/>
    <p:sldId id="607" r:id="rId69"/>
    <p:sldId id="608" r:id="rId70"/>
    <p:sldId id="609" r:id="rId71"/>
    <p:sldId id="610" r:id="rId72"/>
    <p:sldId id="611" r:id="rId73"/>
    <p:sldId id="612" r:id="rId74"/>
    <p:sldId id="613" r:id="rId75"/>
    <p:sldId id="614" r:id="rId76"/>
    <p:sldId id="615" r:id="rId77"/>
    <p:sldId id="616" r:id="rId78"/>
    <p:sldId id="617" r:id="rId79"/>
    <p:sldId id="618" r:id="rId80"/>
    <p:sldId id="619" r:id="rId81"/>
    <p:sldId id="620" r:id="rId82"/>
    <p:sldId id="621" r:id="rId83"/>
    <p:sldId id="622" r:id="rId84"/>
    <p:sldId id="623" r:id="rId85"/>
    <p:sldId id="624" r:id="rId86"/>
    <p:sldId id="625" r:id="rId87"/>
    <p:sldId id="626" r:id="rId88"/>
    <p:sldId id="627" r:id="rId89"/>
    <p:sldId id="628" r:id="rId90"/>
    <p:sldId id="629" r:id="rId91"/>
    <p:sldId id="630" r:id="rId92"/>
    <p:sldId id="631" r:id="rId93"/>
    <p:sldId id="632" r:id="rId94"/>
    <p:sldId id="633" r:id="rId95"/>
    <p:sldId id="634" r:id="rId96"/>
    <p:sldId id="635" r:id="rId97"/>
    <p:sldId id="636" r:id="rId98"/>
    <p:sldId id="637" r:id="rId99"/>
    <p:sldId id="638" r:id="rId100"/>
    <p:sldId id="639" r:id="rId101"/>
    <p:sldId id="640" r:id="rId102"/>
    <p:sldId id="641" r:id="rId103"/>
    <p:sldId id="642" r:id="rId104"/>
    <p:sldId id="643" r:id="rId105"/>
    <p:sldId id="644" r:id="rId106"/>
    <p:sldId id="466" r:id="rId107"/>
    <p:sldId id="467" r:id="rId108"/>
    <p:sldId id="468" r:id="rId109"/>
    <p:sldId id="469" r:id="rId110"/>
    <p:sldId id="470" r:id="rId111"/>
    <p:sldId id="471" r:id="rId112"/>
    <p:sldId id="472" r:id="rId113"/>
    <p:sldId id="473" r:id="rId114"/>
    <p:sldId id="474" r:id="rId115"/>
    <p:sldId id="475" r:id="rId116"/>
    <p:sldId id="476" r:id="rId117"/>
    <p:sldId id="477" r:id="rId118"/>
    <p:sldId id="478" r:id="rId119"/>
    <p:sldId id="479" r:id="rId120"/>
    <p:sldId id="480" r:id="rId121"/>
    <p:sldId id="481" r:id="rId122"/>
    <p:sldId id="482" r:id="rId123"/>
    <p:sldId id="483" r:id="rId124"/>
    <p:sldId id="484" r:id="rId125"/>
    <p:sldId id="485" r:id="rId126"/>
    <p:sldId id="486" r:id="rId127"/>
    <p:sldId id="487" r:id="rId128"/>
    <p:sldId id="488" r:id="rId129"/>
    <p:sldId id="489" r:id="rId130"/>
    <p:sldId id="490" r:id="rId131"/>
    <p:sldId id="491" r:id="rId132"/>
    <p:sldId id="492" r:id="rId133"/>
    <p:sldId id="493" r:id="rId134"/>
    <p:sldId id="494" r:id="rId135"/>
    <p:sldId id="495" r:id="rId136"/>
    <p:sldId id="496" r:id="rId137"/>
    <p:sldId id="497" r:id="rId138"/>
    <p:sldId id="498" r:id="rId139"/>
    <p:sldId id="499" r:id="rId140"/>
    <p:sldId id="500" r:id="rId141"/>
    <p:sldId id="501" r:id="rId142"/>
    <p:sldId id="502" r:id="rId143"/>
    <p:sldId id="503" r:id="rId144"/>
    <p:sldId id="504" r:id="rId145"/>
    <p:sldId id="505" r:id="rId146"/>
    <p:sldId id="506" r:id="rId147"/>
    <p:sldId id="507" r:id="rId148"/>
    <p:sldId id="508" r:id="rId149"/>
    <p:sldId id="509" r:id="rId150"/>
    <p:sldId id="510" r:id="rId151"/>
    <p:sldId id="511" r:id="rId152"/>
    <p:sldId id="512" r:id="rId153"/>
    <p:sldId id="513" r:id="rId154"/>
    <p:sldId id="514" r:id="rId155"/>
    <p:sldId id="515" r:id="rId156"/>
    <p:sldId id="516" r:id="rId157"/>
    <p:sldId id="517" r:id="rId158"/>
    <p:sldId id="518" r:id="rId159"/>
    <p:sldId id="519" r:id="rId160"/>
    <p:sldId id="520" r:id="rId161"/>
    <p:sldId id="521" r:id="rId162"/>
    <p:sldId id="522" r:id="rId163"/>
    <p:sldId id="523" r:id="rId164"/>
    <p:sldId id="524" r:id="rId165"/>
    <p:sldId id="525" r:id="rId166"/>
    <p:sldId id="526" r:id="rId167"/>
    <p:sldId id="527" r:id="rId168"/>
    <p:sldId id="528" r:id="rId169"/>
    <p:sldId id="529" r:id="rId170"/>
    <p:sldId id="530" r:id="rId171"/>
    <p:sldId id="531" r:id="rId172"/>
    <p:sldId id="532" r:id="rId173"/>
    <p:sldId id="533" r:id="rId174"/>
    <p:sldId id="534" r:id="rId175"/>
    <p:sldId id="535" r:id="rId176"/>
    <p:sldId id="536" r:id="rId177"/>
    <p:sldId id="537" r:id="rId178"/>
    <p:sldId id="538" r:id="rId179"/>
    <p:sldId id="539" r:id="rId180"/>
    <p:sldId id="540" r:id="rId181"/>
    <p:sldId id="541" r:id="rId182"/>
    <p:sldId id="542" r:id="rId183"/>
    <p:sldId id="543" r:id="rId184"/>
    <p:sldId id="544" r:id="rId185"/>
    <p:sldId id="545" r:id="rId186"/>
    <p:sldId id="546" r:id="rId187"/>
    <p:sldId id="547" r:id="rId188"/>
    <p:sldId id="548" r:id="rId189"/>
    <p:sldId id="549" r:id="rId190"/>
    <p:sldId id="550" r:id="rId191"/>
    <p:sldId id="551" r:id="rId192"/>
    <p:sldId id="552" r:id="rId193"/>
    <p:sldId id="553" r:id="rId194"/>
    <p:sldId id="554" r:id="rId195"/>
    <p:sldId id="555" r:id="rId196"/>
    <p:sldId id="556" r:id="rId197"/>
    <p:sldId id="557" r:id="rId198"/>
    <p:sldId id="558" r:id="rId199"/>
    <p:sldId id="559" r:id="rId200"/>
    <p:sldId id="560" r:id="rId201"/>
    <p:sldId id="561" r:id="rId202"/>
    <p:sldId id="562" r:id="rId203"/>
    <p:sldId id="563" r:id="rId204"/>
    <p:sldId id="564" r:id="rId205"/>
    <p:sldId id="565" r:id="rId206"/>
    <p:sldId id="566" r:id="rId207"/>
    <p:sldId id="567" r:id="rId208"/>
    <p:sldId id="568" r:id="rId209"/>
    <p:sldId id="569" r:id="rId210"/>
    <p:sldId id="570" r:id="rId211"/>
    <p:sldId id="571" r:id="rId212"/>
    <p:sldId id="572" r:id="rId213"/>
    <p:sldId id="573" r:id="rId214"/>
    <p:sldId id="574" r:id="rId215"/>
    <p:sldId id="575" r:id="rId216"/>
    <p:sldId id="576" r:id="rId217"/>
    <p:sldId id="577" r:id="rId218"/>
    <p:sldId id="578" r:id="rId219"/>
    <p:sldId id="579" r:id="rId220"/>
    <p:sldId id="580" r:id="rId221"/>
    <p:sldId id="581" r:id="rId222"/>
    <p:sldId id="582" r:id="rId223"/>
    <p:sldId id="583" r:id="rId224"/>
    <p:sldId id="584" r:id="rId225"/>
    <p:sldId id="585" r:id="rId226"/>
    <p:sldId id="586" r:id="rId227"/>
    <p:sldId id="587" r:id="rId228"/>
    <p:sldId id="588" r:id="rId229"/>
  </p:sldIdLst>
  <p:sldSz cx="9144000" cy="6858000" type="screen4x3"/>
  <p:notesSz cx="6858000" cy="9296400"/>
  <p:defaultTex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882">
          <p15:clr>
            <a:srgbClr val="A4A3A4"/>
          </p15:clr>
        </p15:guide>
        <p15:guide id="2" orient="horz" pos="491">
          <p15:clr>
            <a:srgbClr val="A4A3A4"/>
          </p15:clr>
        </p15:guide>
        <p15:guide id="3" orient="horz" pos="158">
          <p15:clr>
            <a:srgbClr val="A4A3A4"/>
          </p15:clr>
        </p15:guide>
        <p15:guide id="4" orient="horz" pos="4166">
          <p15:clr>
            <a:srgbClr val="A4A3A4"/>
          </p15:clr>
        </p15:guide>
        <p15:guide id="5" orient="horz" pos="727">
          <p15:clr>
            <a:srgbClr val="A4A3A4"/>
          </p15:clr>
        </p15:guide>
        <p15:guide id="6" orient="horz" pos="4274">
          <p15:clr>
            <a:srgbClr val="A4A3A4"/>
          </p15:clr>
        </p15:guide>
        <p15:guide id="7" orient="horz" pos="3960">
          <p15:clr>
            <a:srgbClr val="A4A3A4"/>
          </p15:clr>
        </p15:guide>
        <p15:guide id="8" orient="horz">
          <p15:clr>
            <a:srgbClr val="A4A3A4"/>
          </p15:clr>
        </p15:guide>
        <p15:guide id="9" pos="2882">
          <p15:clr>
            <a:srgbClr val="A4A3A4"/>
          </p15:clr>
        </p15:guide>
        <p15:guide id="10" pos="255">
          <p15:clr>
            <a:srgbClr val="A4A3A4"/>
          </p15:clr>
        </p15:guide>
        <p15:guide id="11" pos="5504">
          <p15:clr>
            <a:srgbClr val="A4A3A4"/>
          </p15:clr>
        </p15:guide>
        <p15:guide id="12" pos="2982">
          <p15:clr>
            <a:srgbClr val="A4A3A4"/>
          </p15:clr>
        </p15:guide>
        <p15:guide id="13" pos="2778">
          <p15:clr>
            <a:srgbClr val="A4A3A4"/>
          </p15:clr>
        </p15:guide>
        <p15:guide id="14" pos="369">
          <p15:clr>
            <a:srgbClr val="A4A3A4"/>
          </p15:clr>
        </p15:guide>
        <p15:guide id="15" pos="5391">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tammer, Jodi" initials="" lastIdx="79" clrIdx="0"/>
  <p:cmAuthor id="1" name="Youngraven, Leah" initials="" lastIdx="20" clrIdx="1"/>
  <p:cmAuthor id="2" name="Brittain, Dorothy" initials="" lastIdx="1" clrIdx="2"/>
  <p:cmAuthor id="3" name="Currie, Myles" initials="" lastIdx="7" clrIdx="3"/>
  <p:cmAuthor id="4" name="Sottile, Laura" initials="LS" lastIdx="4" clrIdx="4"/>
  <p:cmAuthor id="5" name="Brittain, Dorothy" initials="DB" lastIdx="104"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3300"/>
    <a:srgbClr val="336600"/>
    <a:srgbClr val="FF9900"/>
    <a:srgbClr val="3C8A2D"/>
    <a:srgbClr val="002776"/>
    <a:srgbClr val="0079A6"/>
    <a:srgbClr val="92D400"/>
    <a:srgbClr val="72C7E7"/>
    <a:srgbClr val="C9DD03"/>
    <a:srgbClr val="97A60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706" autoAdjust="0"/>
    <p:restoredTop sz="99059" autoAdjust="0"/>
  </p:normalViewPr>
  <p:slideViewPr>
    <p:cSldViewPr snapToGrid="0" snapToObjects="1">
      <p:cViewPr>
        <p:scale>
          <a:sx n="70" d="100"/>
          <a:sy n="70" d="100"/>
        </p:scale>
        <p:origin x="1626" y="162"/>
      </p:cViewPr>
      <p:guideLst>
        <p:guide orient="horz" pos="882"/>
        <p:guide orient="horz" pos="491"/>
        <p:guide orient="horz" pos="158"/>
        <p:guide orient="horz" pos="4166"/>
        <p:guide orient="horz" pos="727"/>
        <p:guide orient="horz" pos="4274"/>
        <p:guide orient="horz" pos="3960"/>
        <p:guide orient="horz"/>
        <p:guide pos="2882"/>
        <p:guide pos="255"/>
        <p:guide pos="5504"/>
        <p:guide pos="2982"/>
        <p:guide pos="2778"/>
        <p:guide pos="369"/>
        <p:guide pos="539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8946"/>
    </p:cViewPr>
  </p:sorterViewPr>
  <p:notesViewPr>
    <p:cSldViewPr snapToGrid="0" snapToObjects="1">
      <p:cViewPr varScale="1">
        <p:scale>
          <a:sx n="98" d="100"/>
          <a:sy n="98" d="100"/>
        </p:scale>
        <p:origin x="-2622" y="-90"/>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226" Type="http://schemas.openxmlformats.org/officeDocument/2006/relationships/slide" Target="slides/slide22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13" Type="http://schemas.openxmlformats.org/officeDocument/2006/relationships/slide" Target="slides/slide12.xml"/><Relationship Id="rId109" Type="http://schemas.openxmlformats.org/officeDocument/2006/relationships/slide" Target="slides/slide108.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notesMaster" Target="notesMasters/notesMaster1.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209" Type="http://schemas.openxmlformats.org/officeDocument/2006/relationships/slide" Target="slides/slide208.xml"/><Relationship Id="rId190" Type="http://schemas.openxmlformats.org/officeDocument/2006/relationships/slide" Target="slides/slide189.xml"/><Relationship Id="rId204" Type="http://schemas.openxmlformats.org/officeDocument/2006/relationships/slide" Target="slides/slide203.xml"/><Relationship Id="rId220" Type="http://schemas.openxmlformats.org/officeDocument/2006/relationships/slide" Target="slides/slide219.xml"/><Relationship Id="rId225" Type="http://schemas.openxmlformats.org/officeDocument/2006/relationships/slide" Target="slides/slide224.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slide" Target="slides/slide209.xml"/><Relationship Id="rId215" Type="http://schemas.openxmlformats.org/officeDocument/2006/relationships/slide" Target="slides/slide214.xml"/><Relationship Id="rId236" Type="http://schemas.openxmlformats.org/officeDocument/2006/relationships/tableStyles" Target="tableStyles.xml"/><Relationship Id="rId26" Type="http://schemas.openxmlformats.org/officeDocument/2006/relationships/slide" Target="slides/slide25.xml"/><Relationship Id="rId231" Type="http://schemas.openxmlformats.org/officeDocument/2006/relationships/handoutMaster" Target="handoutMasters/handoutMaster1.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commentAuthors" Target="commentAuthors.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presProps" Target="presProps.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18" Type="http://schemas.openxmlformats.org/officeDocument/2006/relationships/slide" Target="slides/slide17.xml"/><Relationship Id="rId39" Type="http://schemas.openxmlformats.org/officeDocument/2006/relationships/slide" Target="slides/slide38.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theme" Target="theme/theme1.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84331032632564E-2"/>
          <c:y val="4.6153842659460646E-2"/>
          <c:w val="0.8841409457838898"/>
          <c:h val="0.86692770541128861"/>
        </c:manualLayout>
      </c:layout>
      <c:barChart>
        <c:barDir val="bar"/>
        <c:grouping val="stacked"/>
        <c:varyColors val="0"/>
        <c:ser>
          <c:idx val="0"/>
          <c:order val="0"/>
          <c:tx>
            <c:strRef>
              <c:f>Sheet1!$B$1</c:f>
              <c:strCache>
                <c:ptCount val="1"/>
                <c:pt idx="0">
                  <c:v>A</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ser>
          <c:idx val="1"/>
          <c:order val="1"/>
          <c:tx>
            <c:strRef>
              <c:f>Sheet1!$C$1</c:f>
              <c:strCache>
                <c:ptCount val="1"/>
                <c:pt idx="0">
                  <c:v>B</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C$2:$C$4</c:f>
              <c:numCache>
                <c:formatCode>General</c:formatCode>
                <c:ptCount val="3"/>
                <c:pt idx="0">
                  <c:v>46.9</c:v>
                </c:pt>
                <c:pt idx="1">
                  <c:v>38.6</c:v>
                </c:pt>
                <c:pt idx="2">
                  <c:v>45.6</c:v>
                </c:pt>
              </c:numCache>
            </c:numRef>
          </c:val>
        </c:ser>
        <c:ser>
          <c:idx val="2"/>
          <c:order val="2"/>
          <c:tx>
            <c:strRef>
              <c:f>Sheet1!$D$1</c:f>
              <c:strCache>
                <c:ptCount val="1"/>
                <c:pt idx="0">
                  <c:v>C</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D$2:$D$4</c:f>
              <c:numCache>
                <c:formatCode>General</c:formatCode>
                <c:ptCount val="3"/>
                <c:pt idx="0">
                  <c:v>45</c:v>
                </c:pt>
                <c:pt idx="1">
                  <c:v>34.6</c:v>
                </c:pt>
                <c:pt idx="2">
                  <c:v>39.200000000000003</c:v>
                </c:pt>
              </c:numCache>
            </c:numRef>
          </c:val>
        </c:ser>
        <c:ser>
          <c:idx val="3"/>
          <c:order val="3"/>
          <c:tx>
            <c:strRef>
              <c:f>Sheet1!$E$1</c:f>
              <c:strCache>
                <c:ptCount val="1"/>
                <c:pt idx="0">
                  <c:v>D</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E$2:$E$4</c:f>
              <c:numCache>
                <c:formatCode>General</c:formatCode>
                <c:ptCount val="3"/>
                <c:pt idx="0">
                  <c:v>43.9</c:v>
                </c:pt>
                <c:pt idx="1">
                  <c:v>31.6</c:v>
                </c:pt>
                <c:pt idx="2">
                  <c:v>30.4</c:v>
                </c:pt>
              </c:numCache>
            </c:numRef>
          </c:val>
        </c:ser>
        <c:dLbls>
          <c:showLegendKey val="0"/>
          <c:showVal val="1"/>
          <c:showCatName val="0"/>
          <c:showSerName val="0"/>
          <c:showPercent val="0"/>
          <c:showBubbleSize val="0"/>
        </c:dLbls>
        <c:gapWidth val="150"/>
        <c:overlap val="100"/>
        <c:axId val="1963872080"/>
        <c:axId val="1963875344"/>
      </c:barChart>
      <c:catAx>
        <c:axId val="1963872080"/>
        <c:scaling>
          <c:orientation val="minMax"/>
        </c:scaling>
        <c:delete val="0"/>
        <c:axPos val="l"/>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1963875344"/>
        <c:crosses val="autoZero"/>
        <c:auto val="1"/>
        <c:lblAlgn val="ctr"/>
        <c:lblOffset val="100"/>
        <c:noMultiLvlLbl val="0"/>
      </c:catAx>
      <c:valAx>
        <c:axId val="1963875344"/>
        <c:scaling>
          <c:orientation val="minMax"/>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63872080"/>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564E-2"/>
          <c:y val="4.6153842659460646E-2"/>
          <c:w val="0.88414094578388613"/>
          <c:h val="0.86692770541128861"/>
        </c:manualLayout>
      </c:layout>
      <c:barChart>
        <c:barDir val="bar"/>
        <c:grouping val="stacked"/>
        <c:varyColors val="0"/>
        <c:ser>
          <c:idx val="0"/>
          <c:order val="0"/>
          <c:tx>
            <c:strRef>
              <c:f>Sheet1!$B$1</c:f>
              <c:strCache>
                <c:ptCount val="1"/>
                <c:pt idx="0">
                  <c:v>A</c:v>
                </c:pt>
              </c:strCache>
            </c:strRef>
          </c:tx>
          <c:spPr>
            <a:ln>
              <a:solidFill>
                <a:schemeClr val="bg1"/>
              </a:solidFill>
            </a:ln>
          </c:spPr>
          <c:invertIfNegative val="0"/>
          <c:dPt>
            <c:idx val="0"/>
            <c:invertIfNegative val="0"/>
            <c:bubble3D val="0"/>
            <c:spPr>
              <a:solidFill>
                <a:schemeClr val="accent4"/>
              </a:solidFill>
              <a:ln>
                <a:solidFill>
                  <a:schemeClr val="bg1"/>
                </a:solidFill>
              </a:ln>
            </c:spPr>
          </c:dPt>
          <c:dPt>
            <c:idx val="1"/>
            <c:invertIfNegative val="0"/>
            <c:bubble3D val="0"/>
            <c:spPr>
              <a:solidFill>
                <a:schemeClr val="accent5"/>
              </a:solidFill>
              <a:ln>
                <a:solidFill>
                  <a:schemeClr val="bg1"/>
                </a:solidFill>
              </a:ln>
            </c:spPr>
          </c:dPt>
          <c:dPt>
            <c:idx val="2"/>
            <c:invertIfNegative val="0"/>
            <c:bubble3D val="0"/>
            <c:spPr>
              <a:solidFill>
                <a:schemeClr val="accent2"/>
              </a:solidFill>
              <a:ln>
                <a:solidFill>
                  <a:schemeClr val="bg1"/>
                </a:solidFill>
              </a:ln>
            </c:spPr>
          </c:dPt>
          <c:dPt>
            <c:idx val="3"/>
            <c:invertIfNegative val="0"/>
            <c:bubble3D val="0"/>
            <c:spPr>
              <a:solidFill>
                <a:schemeClr val="accent3"/>
              </a:solidFill>
              <a:ln>
                <a:solidFill>
                  <a:schemeClr val="bg1"/>
                </a:solidFill>
              </a:ln>
            </c:spPr>
          </c:dPt>
          <c:dLbls>
            <c:delete val="1"/>
          </c:dLbls>
          <c:cat>
            <c:strRef>
              <c:f>Sheet1!$A$2:$A$6</c:f>
              <c:strCache>
                <c:ptCount val="5"/>
                <c:pt idx="0">
                  <c:v>E</c:v>
                </c:pt>
                <c:pt idx="1">
                  <c:v>D</c:v>
                </c:pt>
                <c:pt idx="2">
                  <c:v>C</c:v>
                </c:pt>
                <c:pt idx="3">
                  <c:v>B</c:v>
                </c:pt>
                <c:pt idx="4">
                  <c:v>A</c:v>
                </c:pt>
              </c:strCache>
            </c:strRef>
          </c:cat>
          <c:val>
            <c:numRef>
              <c:f>Sheet1!$B$2:$B$6</c:f>
              <c:numCache>
                <c:formatCode>General</c:formatCode>
                <c:ptCount val="5"/>
                <c:pt idx="0">
                  <c:v>12</c:v>
                </c:pt>
                <c:pt idx="1">
                  <c:v>20</c:v>
                </c:pt>
                <c:pt idx="2">
                  <c:v>22</c:v>
                </c:pt>
                <c:pt idx="3">
                  <c:v>25</c:v>
                </c:pt>
                <c:pt idx="4">
                  <c:v>28</c:v>
                </c:pt>
              </c:numCache>
            </c:numRef>
          </c:val>
        </c:ser>
        <c:dLbls>
          <c:showLegendKey val="0"/>
          <c:showVal val="1"/>
          <c:showCatName val="0"/>
          <c:showSerName val="0"/>
          <c:showPercent val="0"/>
          <c:showBubbleSize val="0"/>
        </c:dLbls>
        <c:gapWidth val="150"/>
        <c:overlap val="100"/>
        <c:axId val="1952425344"/>
        <c:axId val="1952420448"/>
      </c:barChart>
      <c:catAx>
        <c:axId val="1952425344"/>
        <c:scaling>
          <c:orientation val="minMax"/>
        </c:scaling>
        <c:delete val="0"/>
        <c:axPos val="l"/>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1952420448"/>
        <c:crosses val="autoZero"/>
        <c:auto val="1"/>
        <c:lblAlgn val="ctr"/>
        <c:lblOffset val="100"/>
        <c:noMultiLvlLbl val="0"/>
      </c:catAx>
      <c:valAx>
        <c:axId val="1952420448"/>
        <c:scaling>
          <c:orientation val="minMax"/>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52425344"/>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84331032632564E-2"/>
          <c:y val="4.6153842659460646E-2"/>
          <c:w val="0.88414094578388613"/>
          <c:h val="0.86692770541128861"/>
        </c:manualLayout>
      </c:layout>
      <c:barChart>
        <c:barDir val="bar"/>
        <c:grouping val="clustered"/>
        <c:varyColors val="0"/>
        <c:ser>
          <c:idx val="0"/>
          <c:order val="0"/>
          <c:tx>
            <c:strRef>
              <c:f>Sheet1!$B$1</c:f>
              <c:strCache>
                <c:ptCount val="1"/>
                <c:pt idx="0">
                  <c:v>A</c:v>
                </c:pt>
              </c:strCache>
            </c:strRef>
          </c:tx>
          <c:spPr>
            <a:solidFill>
              <a:schemeClr val="tx2"/>
            </a:solidFill>
            <a:ln>
              <a:solidFill>
                <a:schemeClr val="bg1"/>
              </a:solidFill>
            </a:ln>
          </c:spPr>
          <c:invertIfNegative val="0"/>
          <c:dLbls>
            <c:spPr>
              <a:noFill/>
              <a:ln>
                <a:noFill/>
              </a:ln>
              <a:effectLst/>
            </c:spPr>
            <c:txPr>
              <a:bodyPr/>
              <a:lstStyle/>
              <a:p>
                <a:pPr>
                  <a:defRPr lang="nl-NL">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41.1</c:v>
                </c:pt>
                <c:pt idx="1">
                  <c:v>34.300000000000004</c:v>
                </c:pt>
                <c:pt idx="2">
                  <c:v>32.200000000000003</c:v>
                </c:pt>
              </c:numCache>
            </c:numRef>
          </c:val>
        </c:ser>
        <c:ser>
          <c:idx val="1"/>
          <c:order val="1"/>
          <c:tx>
            <c:strRef>
              <c:f>Sheet1!$C$1</c:f>
              <c:strCache>
                <c:ptCount val="1"/>
                <c:pt idx="0">
                  <c:v>B</c:v>
                </c:pt>
              </c:strCache>
            </c:strRef>
          </c:tx>
          <c:spPr>
            <a:solidFill>
              <a:schemeClr val="accent2"/>
            </a:solidFill>
            <a:ln>
              <a:solidFill>
                <a:schemeClr val="bg1"/>
              </a:solidFill>
            </a:ln>
          </c:spPr>
          <c:invertIfNegative val="0"/>
          <c:dLbls>
            <c:spPr>
              <a:noFill/>
              <a:ln>
                <a:noFill/>
              </a:ln>
              <a:effectLst/>
            </c:spPr>
            <c:txPr>
              <a:bodyPr/>
              <a:lstStyle/>
              <a:p>
                <a:pPr>
                  <a:defRPr lang="nl-NL">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C$2:$C$4</c:f>
              <c:numCache>
                <c:formatCode>General</c:formatCode>
                <c:ptCount val="3"/>
                <c:pt idx="0">
                  <c:v>40.300000000000004</c:v>
                </c:pt>
                <c:pt idx="1">
                  <c:v>33.6</c:v>
                </c:pt>
                <c:pt idx="2">
                  <c:v>30.4</c:v>
                </c:pt>
              </c:numCache>
            </c:numRef>
          </c:val>
        </c:ser>
        <c:dLbls>
          <c:showLegendKey val="0"/>
          <c:showVal val="1"/>
          <c:showCatName val="0"/>
          <c:showSerName val="0"/>
          <c:showPercent val="0"/>
          <c:showBubbleSize val="0"/>
        </c:dLbls>
        <c:gapWidth val="150"/>
        <c:axId val="1952424256"/>
        <c:axId val="2040729696"/>
      </c:barChart>
      <c:catAx>
        <c:axId val="1952424256"/>
        <c:scaling>
          <c:orientation val="minMax"/>
        </c:scaling>
        <c:delete val="0"/>
        <c:axPos val="l"/>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2040729696"/>
        <c:crosses val="autoZero"/>
        <c:auto val="1"/>
        <c:lblAlgn val="ctr"/>
        <c:lblOffset val="100"/>
        <c:noMultiLvlLbl val="0"/>
      </c:catAx>
      <c:valAx>
        <c:axId val="2040729696"/>
        <c:scaling>
          <c:orientation val="minMax"/>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52424256"/>
        <c:crosses val="autoZero"/>
        <c:crossBetween val="between"/>
      </c:valAx>
    </c:plotArea>
    <c:legend>
      <c:legendPos val="r"/>
      <c:layout>
        <c:manualLayout>
          <c:xMode val="edge"/>
          <c:yMode val="edge"/>
          <c:x val="0.95544682872092657"/>
          <c:y val="3.0838385534326822E-2"/>
          <c:w val="4.4553171279073364E-2"/>
          <c:h val="0.12986470790599497"/>
        </c:manualLayout>
      </c:layout>
      <c:overlay val="1"/>
      <c:txPr>
        <a:bodyPr/>
        <a:lstStyle/>
        <a:p>
          <a:pPr>
            <a:defRPr lang="nl-NL">
              <a:solidFill>
                <a:schemeClr val="tx2"/>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84331032632564E-2"/>
          <c:y val="4.6153842659460646E-2"/>
          <c:w val="0.88414094578388613"/>
          <c:h val="0.86692770541128861"/>
        </c:manualLayout>
      </c:layout>
      <c:barChart>
        <c:barDir val="bar"/>
        <c:grouping val="clustered"/>
        <c:varyColors val="0"/>
        <c:ser>
          <c:idx val="0"/>
          <c:order val="0"/>
          <c:tx>
            <c:strRef>
              <c:f>Sheet1!$B$1</c:f>
              <c:strCache>
                <c:ptCount val="1"/>
                <c:pt idx="0">
                  <c:v>A</c:v>
                </c:pt>
              </c:strCache>
            </c:strRef>
          </c:tx>
          <c:spPr>
            <a:solidFill>
              <a:schemeClr val="accent1"/>
            </a:solidFill>
            <a:ln>
              <a:solidFill>
                <a:schemeClr val="bg1"/>
              </a:solidFill>
            </a:ln>
          </c:spPr>
          <c:invertIfNegative val="0"/>
          <c:dLbls>
            <c:spPr>
              <a:noFill/>
              <a:ln>
                <a:noFill/>
              </a:ln>
              <a:effectLst/>
            </c:spPr>
            <c:txPr>
              <a:bodyPr/>
              <a:lstStyle/>
              <a:p>
                <a:pPr>
                  <a:defRPr lang="nl-NL">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41.1</c:v>
                </c:pt>
                <c:pt idx="1">
                  <c:v>34.300000000000004</c:v>
                </c:pt>
                <c:pt idx="2">
                  <c:v>32.200000000000003</c:v>
                </c:pt>
              </c:numCache>
            </c:numRef>
          </c:val>
        </c:ser>
        <c:ser>
          <c:idx val="1"/>
          <c:order val="1"/>
          <c:tx>
            <c:strRef>
              <c:f>Sheet1!$C$1</c:f>
              <c:strCache>
                <c:ptCount val="1"/>
                <c:pt idx="0">
                  <c:v>B</c:v>
                </c:pt>
              </c:strCache>
            </c:strRef>
          </c:tx>
          <c:spPr>
            <a:solidFill>
              <a:schemeClr val="accent2"/>
            </a:solidFill>
            <a:ln>
              <a:solidFill>
                <a:schemeClr val="bg1"/>
              </a:solidFill>
            </a:ln>
          </c:spPr>
          <c:invertIfNegative val="0"/>
          <c:dLbls>
            <c:spPr>
              <a:noFill/>
              <a:ln>
                <a:noFill/>
              </a:ln>
              <a:effectLst/>
            </c:spPr>
            <c:txPr>
              <a:bodyPr/>
              <a:lstStyle/>
              <a:p>
                <a:pPr>
                  <a:defRPr lang="nl-NL">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C$2:$C$4</c:f>
              <c:numCache>
                <c:formatCode>General</c:formatCode>
                <c:ptCount val="3"/>
                <c:pt idx="0">
                  <c:v>40.300000000000004</c:v>
                </c:pt>
                <c:pt idx="1">
                  <c:v>33.6</c:v>
                </c:pt>
                <c:pt idx="2">
                  <c:v>30.4</c:v>
                </c:pt>
              </c:numCache>
            </c:numRef>
          </c:val>
        </c:ser>
        <c:dLbls>
          <c:showLegendKey val="0"/>
          <c:showVal val="1"/>
          <c:showCatName val="0"/>
          <c:showSerName val="0"/>
          <c:showPercent val="0"/>
          <c:showBubbleSize val="0"/>
        </c:dLbls>
        <c:gapWidth val="150"/>
        <c:axId val="2040730784"/>
        <c:axId val="2040731328"/>
      </c:barChart>
      <c:catAx>
        <c:axId val="2040730784"/>
        <c:scaling>
          <c:orientation val="minMax"/>
        </c:scaling>
        <c:delete val="0"/>
        <c:axPos val="l"/>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2040731328"/>
        <c:crosses val="autoZero"/>
        <c:auto val="1"/>
        <c:lblAlgn val="ctr"/>
        <c:lblOffset val="100"/>
        <c:noMultiLvlLbl val="0"/>
      </c:catAx>
      <c:valAx>
        <c:axId val="2040731328"/>
        <c:scaling>
          <c:orientation val="minMax"/>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40730784"/>
        <c:crosses val="autoZero"/>
        <c:crossBetween val="between"/>
      </c:valAx>
    </c:plotArea>
    <c:legend>
      <c:legendPos val="r"/>
      <c:layout>
        <c:manualLayout>
          <c:xMode val="edge"/>
          <c:yMode val="edge"/>
          <c:x val="0.91846214157704698"/>
          <c:y val="3.0838385534326836E-2"/>
          <c:w val="8.1537858422939868E-2"/>
          <c:h val="0.12986470790599497"/>
        </c:manualLayout>
      </c:layout>
      <c:overlay val="1"/>
      <c:txPr>
        <a:bodyPr/>
        <a:lstStyle/>
        <a:p>
          <a:pPr>
            <a:defRPr lang="nl-NL">
              <a:solidFill>
                <a:schemeClr val="tx2"/>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84331032632564E-2"/>
          <c:y val="4.6153842659460646E-2"/>
          <c:w val="0.88414094578388613"/>
          <c:h val="0.86692770541128861"/>
        </c:manualLayout>
      </c:layout>
      <c:barChart>
        <c:barDir val="bar"/>
        <c:grouping val="clustered"/>
        <c:varyColors val="0"/>
        <c:ser>
          <c:idx val="0"/>
          <c:order val="0"/>
          <c:tx>
            <c:strRef>
              <c:f>Sheet1!$B$1</c:f>
              <c:strCache>
                <c:ptCount val="1"/>
                <c:pt idx="0">
                  <c:v>A</c:v>
                </c:pt>
              </c:strCache>
            </c:strRef>
          </c:tx>
          <c:spPr>
            <a:solidFill>
              <a:schemeClr val="accent1"/>
            </a:solidFill>
            <a:ln>
              <a:solidFill>
                <a:schemeClr val="bg1"/>
              </a:solidFill>
            </a:ln>
          </c:spPr>
          <c:invertIfNegative val="0"/>
          <c:dLbls>
            <c:spPr>
              <a:noFill/>
              <a:ln>
                <a:noFill/>
              </a:ln>
              <a:effectLst/>
            </c:spPr>
            <c:txPr>
              <a:bodyPr/>
              <a:lstStyle/>
              <a:p>
                <a:pPr>
                  <a:defRPr lang="nl-NL">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41.1</c:v>
                </c:pt>
                <c:pt idx="1">
                  <c:v>34.300000000000004</c:v>
                </c:pt>
                <c:pt idx="2">
                  <c:v>32.200000000000003</c:v>
                </c:pt>
              </c:numCache>
            </c:numRef>
          </c:val>
        </c:ser>
        <c:ser>
          <c:idx val="1"/>
          <c:order val="1"/>
          <c:tx>
            <c:strRef>
              <c:f>Sheet1!$C$1</c:f>
              <c:strCache>
                <c:ptCount val="1"/>
                <c:pt idx="0">
                  <c:v>B</c:v>
                </c:pt>
              </c:strCache>
            </c:strRef>
          </c:tx>
          <c:spPr>
            <a:solidFill>
              <a:schemeClr val="accent2"/>
            </a:solidFill>
            <a:ln>
              <a:solidFill>
                <a:schemeClr val="bg1"/>
              </a:solidFill>
            </a:ln>
          </c:spPr>
          <c:invertIfNegative val="0"/>
          <c:dLbls>
            <c:spPr>
              <a:noFill/>
              <a:ln>
                <a:noFill/>
              </a:ln>
              <a:effectLst/>
            </c:spPr>
            <c:txPr>
              <a:bodyPr/>
              <a:lstStyle/>
              <a:p>
                <a:pPr>
                  <a:defRPr lang="nl-NL">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C$2:$C$4</c:f>
              <c:numCache>
                <c:formatCode>General</c:formatCode>
                <c:ptCount val="3"/>
                <c:pt idx="0">
                  <c:v>40.300000000000004</c:v>
                </c:pt>
                <c:pt idx="1">
                  <c:v>33.6</c:v>
                </c:pt>
                <c:pt idx="2">
                  <c:v>30.4</c:v>
                </c:pt>
              </c:numCache>
            </c:numRef>
          </c:val>
        </c:ser>
        <c:dLbls>
          <c:showLegendKey val="0"/>
          <c:showVal val="1"/>
          <c:showCatName val="0"/>
          <c:showSerName val="0"/>
          <c:showPercent val="0"/>
          <c:showBubbleSize val="0"/>
        </c:dLbls>
        <c:gapWidth val="150"/>
        <c:axId val="2040734048"/>
        <c:axId val="2040734592"/>
      </c:barChart>
      <c:catAx>
        <c:axId val="2040734048"/>
        <c:scaling>
          <c:orientation val="minMax"/>
        </c:scaling>
        <c:delete val="0"/>
        <c:axPos val="l"/>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2040734592"/>
        <c:crosses val="autoZero"/>
        <c:auto val="1"/>
        <c:lblAlgn val="ctr"/>
        <c:lblOffset val="100"/>
        <c:noMultiLvlLbl val="0"/>
      </c:catAx>
      <c:valAx>
        <c:axId val="2040734592"/>
        <c:scaling>
          <c:orientation val="minMax"/>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40734048"/>
        <c:crosses val="autoZero"/>
        <c:crossBetween val="between"/>
      </c:valAx>
    </c:plotArea>
    <c:legend>
      <c:legendPos val="r"/>
      <c:layout>
        <c:manualLayout>
          <c:xMode val="edge"/>
          <c:yMode val="edge"/>
          <c:x val="0.91846214157704642"/>
          <c:y val="3.083838553432685E-2"/>
          <c:w val="8.1537858422939868E-2"/>
          <c:h val="0.12986470790599497"/>
        </c:manualLayout>
      </c:layout>
      <c:overlay val="1"/>
      <c:txPr>
        <a:bodyPr/>
        <a:lstStyle/>
        <a:p>
          <a:pPr>
            <a:defRPr lang="nl-NL">
              <a:solidFill>
                <a:schemeClr val="tx2"/>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325716845878917E-2"/>
          <c:y val="3.1571249760287412E-2"/>
          <c:w val="0.88414094578388613"/>
          <c:h val="0.86692770541128861"/>
        </c:manualLayout>
      </c:layout>
      <c:barChart>
        <c:barDir val="bar"/>
        <c:grouping val="clustered"/>
        <c:varyColors val="0"/>
        <c:ser>
          <c:idx val="0"/>
          <c:order val="0"/>
          <c:tx>
            <c:strRef>
              <c:f>Sheet1!$B$1</c:f>
              <c:strCache>
                <c:ptCount val="1"/>
                <c:pt idx="0">
                  <c:v>A</c:v>
                </c:pt>
              </c:strCache>
            </c:strRef>
          </c:tx>
          <c:spPr>
            <a:solidFill>
              <a:schemeClr val="accent2"/>
            </a:solidFill>
            <a:ln>
              <a:solidFill>
                <a:schemeClr val="bg1"/>
              </a:solidFill>
            </a:ln>
          </c:spPr>
          <c:invertIfNegative val="0"/>
          <c:dPt>
            <c:idx val="0"/>
            <c:invertIfNegative val="0"/>
            <c:bubble3D val="0"/>
            <c:spPr>
              <a:solidFill>
                <a:schemeClr val="accent1"/>
              </a:solidFill>
              <a:ln>
                <a:solidFill>
                  <a:schemeClr val="bg1"/>
                </a:solidFill>
              </a:ln>
            </c:spPr>
          </c:dPt>
          <c:dPt>
            <c:idx val="1"/>
            <c:invertIfNegative val="0"/>
            <c:bubble3D val="0"/>
            <c:spPr>
              <a:solidFill>
                <a:schemeClr val="accent4"/>
              </a:solidFill>
              <a:ln>
                <a:solidFill>
                  <a:schemeClr val="bg1"/>
                </a:solidFill>
              </a:ln>
            </c:spPr>
          </c:dPt>
          <c:dPt>
            <c:idx val="2"/>
            <c:invertIfNegative val="0"/>
            <c:bubble3D val="0"/>
            <c:spPr>
              <a:solidFill>
                <a:schemeClr val="accent3"/>
              </a:solidFill>
              <a:ln>
                <a:solidFill>
                  <a:schemeClr val="bg1"/>
                </a:solidFill>
              </a:ln>
            </c:spPr>
          </c:dPt>
          <c:dLbls>
            <c:spPr>
              <a:noFill/>
              <a:ln>
                <a:noFill/>
              </a:ln>
              <a:effectLst/>
            </c:spPr>
            <c:txPr>
              <a:bodyPr/>
              <a:lstStyle/>
              <a:p>
                <a:pPr>
                  <a:defRPr lang="nl-NL">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numCache>
            </c:numRef>
          </c:cat>
          <c:val>
            <c:numRef>
              <c:f>Sheet1!$B$2:$B$5</c:f>
              <c:numCache>
                <c:formatCode>0.0</c:formatCode>
                <c:ptCount val="4"/>
                <c:pt idx="0">
                  <c:v>20.399999999999999</c:v>
                </c:pt>
                <c:pt idx="1">
                  <c:v>30.6</c:v>
                </c:pt>
                <c:pt idx="2">
                  <c:v>45.9</c:v>
                </c:pt>
                <c:pt idx="3" formatCode="General">
                  <c:v>51.2</c:v>
                </c:pt>
              </c:numCache>
            </c:numRef>
          </c:val>
        </c:ser>
        <c:dLbls>
          <c:showLegendKey val="0"/>
          <c:showVal val="1"/>
          <c:showCatName val="0"/>
          <c:showSerName val="0"/>
          <c:showPercent val="0"/>
          <c:showBubbleSize val="0"/>
        </c:dLbls>
        <c:gapWidth val="150"/>
        <c:axId val="2040735680"/>
        <c:axId val="2040736224"/>
      </c:barChart>
      <c:catAx>
        <c:axId val="2040735680"/>
        <c:scaling>
          <c:orientation val="minMax"/>
        </c:scaling>
        <c:delete val="0"/>
        <c:axPos val="r"/>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40736224"/>
        <c:crosses val="autoZero"/>
        <c:auto val="1"/>
        <c:lblAlgn val="ctr"/>
        <c:lblOffset val="100"/>
        <c:noMultiLvlLbl val="0"/>
      </c:catAx>
      <c:valAx>
        <c:axId val="2040736224"/>
        <c:scaling>
          <c:orientation val="maxMin"/>
        </c:scaling>
        <c:delete val="0"/>
        <c:axPos val="b"/>
        <c:numFmt formatCode="0.0"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40735680"/>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564E-2"/>
          <c:y val="4.6153842659460646E-2"/>
          <c:w val="0.88414094578388613"/>
          <c:h val="0.86692770541128861"/>
        </c:manualLayout>
      </c:layout>
      <c:barChart>
        <c:barDir val="bar"/>
        <c:grouping val="clustered"/>
        <c:varyColors val="0"/>
        <c:ser>
          <c:idx val="0"/>
          <c:order val="0"/>
          <c:tx>
            <c:strRef>
              <c:f>Sheet1!$B$1</c:f>
              <c:strCache>
                <c:ptCount val="1"/>
                <c:pt idx="0">
                  <c:v>A</c:v>
                </c:pt>
              </c:strCache>
            </c:strRef>
          </c:tx>
          <c:spPr>
            <a:solidFill>
              <a:schemeClr val="accent2"/>
            </a:solidFill>
            <a:ln>
              <a:solidFill>
                <a:schemeClr val="bg1"/>
              </a:solidFill>
            </a:ln>
          </c:spPr>
          <c:invertIfNegative val="0"/>
          <c:dPt>
            <c:idx val="0"/>
            <c:invertIfNegative val="0"/>
            <c:bubble3D val="0"/>
            <c:spPr>
              <a:solidFill>
                <a:schemeClr val="accent1"/>
              </a:solidFill>
              <a:ln>
                <a:solidFill>
                  <a:schemeClr val="bg1"/>
                </a:solidFill>
              </a:ln>
            </c:spPr>
          </c:dPt>
          <c:dPt>
            <c:idx val="1"/>
            <c:invertIfNegative val="0"/>
            <c:bubble3D val="0"/>
            <c:spPr>
              <a:solidFill>
                <a:schemeClr val="accent4"/>
              </a:solidFill>
              <a:ln>
                <a:solidFill>
                  <a:schemeClr val="bg1"/>
                </a:solidFill>
              </a:ln>
            </c:spPr>
          </c:dPt>
          <c:dPt>
            <c:idx val="2"/>
            <c:invertIfNegative val="0"/>
            <c:bubble3D val="0"/>
            <c:spPr>
              <a:solidFill>
                <a:schemeClr val="accent3"/>
              </a:solidFill>
              <a:ln>
                <a:solidFill>
                  <a:schemeClr val="bg1"/>
                </a:solidFill>
              </a:ln>
            </c:spPr>
          </c:dPt>
          <c:dLbls>
            <c:spPr>
              <a:noFill/>
              <a:ln>
                <a:noFill/>
              </a:ln>
              <a:effectLst/>
            </c:spPr>
            <c:txPr>
              <a:bodyPr/>
              <a:lstStyle/>
              <a:p>
                <a:pPr>
                  <a:defRPr lang="nl-NL">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numCache>
            </c:numRef>
          </c:cat>
          <c:val>
            <c:numRef>
              <c:f>Sheet1!$B$2:$B$5</c:f>
              <c:numCache>
                <c:formatCode>0.0</c:formatCode>
                <c:ptCount val="4"/>
                <c:pt idx="0">
                  <c:v>20.399999999999999</c:v>
                </c:pt>
                <c:pt idx="1">
                  <c:v>30.6</c:v>
                </c:pt>
                <c:pt idx="2">
                  <c:v>45.9</c:v>
                </c:pt>
                <c:pt idx="3" formatCode="General">
                  <c:v>51.2</c:v>
                </c:pt>
              </c:numCache>
            </c:numRef>
          </c:val>
        </c:ser>
        <c:dLbls>
          <c:showLegendKey val="0"/>
          <c:showVal val="1"/>
          <c:showCatName val="0"/>
          <c:showSerName val="0"/>
          <c:showPercent val="0"/>
          <c:showBubbleSize val="0"/>
        </c:dLbls>
        <c:gapWidth val="150"/>
        <c:axId val="1935732816"/>
        <c:axId val="1935729552"/>
      </c:barChart>
      <c:catAx>
        <c:axId val="1935732816"/>
        <c:scaling>
          <c:orientation val="minMax"/>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35729552"/>
        <c:crosses val="autoZero"/>
        <c:auto val="1"/>
        <c:lblAlgn val="ctr"/>
        <c:lblOffset val="100"/>
        <c:noMultiLvlLbl val="0"/>
      </c:catAx>
      <c:valAx>
        <c:axId val="1935729552"/>
        <c:scaling>
          <c:orientation val="minMax"/>
        </c:scaling>
        <c:delete val="0"/>
        <c:axPos val="b"/>
        <c:numFmt formatCode="0.0"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35732816"/>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489E-2"/>
          <c:y val="4.6153842659460646E-2"/>
          <c:w val="0.87434561780995657"/>
          <c:h val="0.86692770541128861"/>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ser>
          <c:idx val="1"/>
          <c:order val="1"/>
          <c:tx>
            <c:strRef>
              <c:f>Sheet1!$C$1</c:f>
              <c:strCache>
                <c:ptCount val="1"/>
                <c:pt idx="0">
                  <c:v>B</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C$2:$C$4</c:f>
              <c:numCache>
                <c:formatCode>General</c:formatCode>
                <c:ptCount val="3"/>
                <c:pt idx="0">
                  <c:v>46.9</c:v>
                </c:pt>
                <c:pt idx="1">
                  <c:v>38.6</c:v>
                </c:pt>
                <c:pt idx="2">
                  <c:v>45.6</c:v>
                </c:pt>
              </c:numCache>
            </c:numRef>
          </c:val>
        </c:ser>
        <c:ser>
          <c:idx val="2"/>
          <c:order val="2"/>
          <c:tx>
            <c:strRef>
              <c:f>Sheet1!$D$1</c:f>
              <c:strCache>
                <c:ptCount val="1"/>
                <c:pt idx="0">
                  <c:v>C</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D$2:$D$4</c:f>
              <c:numCache>
                <c:formatCode>General</c:formatCode>
                <c:ptCount val="3"/>
                <c:pt idx="0">
                  <c:v>45</c:v>
                </c:pt>
                <c:pt idx="1">
                  <c:v>34.6</c:v>
                </c:pt>
                <c:pt idx="2">
                  <c:v>39.200000000000003</c:v>
                </c:pt>
              </c:numCache>
            </c:numRef>
          </c:val>
        </c:ser>
        <c:ser>
          <c:idx val="3"/>
          <c:order val="3"/>
          <c:tx>
            <c:strRef>
              <c:f>Sheet1!$E$1</c:f>
              <c:strCache>
                <c:ptCount val="1"/>
                <c:pt idx="0">
                  <c:v>D</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E$2:$E$4</c:f>
              <c:numCache>
                <c:formatCode>General</c:formatCode>
                <c:ptCount val="3"/>
                <c:pt idx="0">
                  <c:v>43.9</c:v>
                </c:pt>
                <c:pt idx="1">
                  <c:v>31.6</c:v>
                </c:pt>
                <c:pt idx="2">
                  <c:v>30.4</c:v>
                </c:pt>
              </c:numCache>
            </c:numRef>
          </c:val>
        </c:ser>
        <c:dLbls>
          <c:showLegendKey val="0"/>
          <c:showVal val="1"/>
          <c:showCatName val="0"/>
          <c:showSerName val="0"/>
          <c:showPercent val="0"/>
          <c:showBubbleSize val="0"/>
        </c:dLbls>
        <c:gapWidth val="150"/>
        <c:overlap val="100"/>
        <c:axId val="1935731728"/>
        <c:axId val="1935734992"/>
      </c:barChart>
      <c:catAx>
        <c:axId val="1935731728"/>
        <c:scaling>
          <c:orientation val="minMax"/>
        </c:scaling>
        <c:delete val="0"/>
        <c:axPos val="b"/>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1935734992"/>
        <c:crosses val="autoZero"/>
        <c:auto val="1"/>
        <c:lblAlgn val="ctr"/>
        <c:lblOffset val="100"/>
        <c:noMultiLvlLbl val="0"/>
      </c:catAx>
      <c:valAx>
        <c:axId val="1935734992"/>
        <c:scaling>
          <c:orientation val="minMax"/>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35731728"/>
        <c:crosses val="autoZero"/>
        <c:crossBetween val="between"/>
        <c:majorUnit val="50"/>
      </c:valAx>
    </c:plotArea>
    <c:plotVisOnly val="1"/>
    <c:dispBlanksAs val="gap"/>
    <c:showDLblsOverMax val="0"/>
  </c:chart>
  <c:txPr>
    <a:bodyPr/>
    <a:lstStyle/>
    <a:p>
      <a:pPr>
        <a:defRPr sz="12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12675070028012"/>
          <c:y val="4.6153842659460646E-2"/>
          <c:w val="0.820984360410831"/>
          <c:h val="0.86692770541128861"/>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ser>
          <c:idx val="1"/>
          <c:order val="1"/>
          <c:tx>
            <c:strRef>
              <c:f>Sheet1!$C$1</c:f>
              <c:strCache>
                <c:ptCount val="1"/>
                <c:pt idx="0">
                  <c:v>B</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C$2:$C$4</c:f>
              <c:numCache>
                <c:formatCode>General</c:formatCode>
                <c:ptCount val="3"/>
                <c:pt idx="0">
                  <c:v>46.9</c:v>
                </c:pt>
                <c:pt idx="1">
                  <c:v>38.6</c:v>
                </c:pt>
                <c:pt idx="2">
                  <c:v>45.6</c:v>
                </c:pt>
              </c:numCache>
            </c:numRef>
          </c:val>
        </c:ser>
        <c:ser>
          <c:idx val="2"/>
          <c:order val="2"/>
          <c:tx>
            <c:strRef>
              <c:f>Sheet1!$D$1</c:f>
              <c:strCache>
                <c:ptCount val="1"/>
                <c:pt idx="0">
                  <c:v>C</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D$2:$D$4</c:f>
              <c:numCache>
                <c:formatCode>General</c:formatCode>
                <c:ptCount val="3"/>
                <c:pt idx="0">
                  <c:v>45</c:v>
                </c:pt>
                <c:pt idx="1">
                  <c:v>34.6</c:v>
                </c:pt>
                <c:pt idx="2">
                  <c:v>39.200000000000003</c:v>
                </c:pt>
              </c:numCache>
            </c:numRef>
          </c:val>
        </c:ser>
        <c:ser>
          <c:idx val="3"/>
          <c:order val="3"/>
          <c:tx>
            <c:strRef>
              <c:f>Sheet1!$E$1</c:f>
              <c:strCache>
                <c:ptCount val="1"/>
                <c:pt idx="0">
                  <c:v>D</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E$2:$E$4</c:f>
              <c:numCache>
                <c:formatCode>General</c:formatCode>
                <c:ptCount val="3"/>
                <c:pt idx="0">
                  <c:v>43.9</c:v>
                </c:pt>
                <c:pt idx="1">
                  <c:v>31.6</c:v>
                </c:pt>
                <c:pt idx="2">
                  <c:v>30.4</c:v>
                </c:pt>
              </c:numCache>
            </c:numRef>
          </c:val>
        </c:ser>
        <c:dLbls>
          <c:showLegendKey val="0"/>
          <c:showVal val="1"/>
          <c:showCatName val="0"/>
          <c:showSerName val="0"/>
          <c:showPercent val="0"/>
          <c:showBubbleSize val="0"/>
        </c:dLbls>
        <c:gapWidth val="150"/>
        <c:overlap val="100"/>
        <c:axId val="1935732272"/>
        <c:axId val="1935733360"/>
      </c:barChart>
      <c:catAx>
        <c:axId val="1935732272"/>
        <c:scaling>
          <c:orientation val="minMax"/>
        </c:scaling>
        <c:delete val="0"/>
        <c:axPos val="b"/>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1935733360"/>
        <c:crosses val="autoZero"/>
        <c:auto val="1"/>
        <c:lblAlgn val="ctr"/>
        <c:lblOffset val="100"/>
        <c:noMultiLvlLbl val="0"/>
      </c:catAx>
      <c:valAx>
        <c:axId val="1935733360"/>
        <c:scaling>
          <c:orientation val="minMax"/>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35732272"/>
        <c:crosses val="autoZero"/>
        <c:crossBetween val="between"/>
        <c:majorUnit val="50"/>
      </c:valAx>
    </c:plotArea>
    <c:plotVisOnly val="1"/>
    <c:dispBlanksAs val="gap"/>
    <c:showDLblsOverMax val="0"/>
  </c:chart>
  <c:txPr>
    <a:bodyPr/>
    <a:lstStyle/>
    <a:p>
      <a:pPr>
        <a:defRPr sz="12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12675070028012"/>
          <c:y val="4.6153842659460646E-2"/>
          <c:w val="0.820984360410831"/>
          <c:h val="0.86692770541128861"/>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ser>
          <c:idx val="1"/>
          <c:order val="1"/>
          <c:tx>
            <c:strRef>
              <c:f>Sheet1!$C$1</c:f>
              <c:strCache>
                <c:ptCount val="1"/>
                <c:pt idx="0">
                  <c:v>B</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C$2:$C$4</c:f>
              <c:numCache>
                <c:formatCode>General</c:formatCode>
                <c:ptCount val="3"/>
                <c:pt idx="0">
                  <c:v>46.9</c:v>
                </c:pt>
                <c:pt idx="1">
                  <c:v>38.6</c:v>
                </c:pt>
                <c:pt idx="2">
                  <c:v>45.6</c:v>
                </c:pt>
              </c:numCache>
            </c:numRef>
          </c:val>
        </c:ser>
        <c:ser>
          <c:idx val="2"/>
          <c:order val="2"/>
          <c:tx>
            <c:strRef>
              <c:f>Sheet1!$D$1</c:f>
              <c:strCache>
                <c:ptCount val="1"/>
                <c:pt idx="0">
                  <c:v>C</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D$2:$D$4</c:f>
              <c:numCache>
                <c:formatCode>General</c:formatCode>
                <c:ptCount val="3"/>
                <c:pt idx="0">
                  <c:v>45</c:v>
                </c:pt>
                <c:pt idx="1">
                  <c:v>34.6</c:v>
                </c:pt>
                <c:pt idx="2">
                  <c:v>39.200000000000003</c:v>
                </c:pt>
              </c:numCache>
            </c:numRef>
          </c:val>
        </c:ser>
        <c:ser>
          <c:idx val="3"/>
          <c:order val="3"/>
          <c:tx>
            <c:strRef>
              <c:f>Sheet1!$E$1</c:f>
              <c:strCache>
                <c:ptCount val="1"/>
                <c:pt idx="0">
                  <c:v>D</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E$2:$E$4</c:f>
              <c:numCache>
                <c:formatCode>General</c:formatCode>
                <c:ptCount val="3"/>
                <c:pt idx="0">
                  <c:v>43.9</c:v>
                </c:pt>
                <c:pt idx="1">
                  <c:v>31.6</c:v>
                </c:pt>
                <c:pt idx="2">
                  <c:v>30.4</c:v>
                </c:pt>
              </c:numCache>
            </c:numRef>
          </c:val>
        </c:ser>
        <c:dLbls>
          <c:showLegendKey val="0"/>
          <c:showVal val="1"/>
          <c:showCatName val="0"/>
          <c:showSerName val="0"/>
          <c:showPercent val="0"/>
          <c:showBubbleSize val="0"/>
        </c:dLbls>
        <c:gapWidth val="150"/>
        <c:overlap val="100"/>
        <c:axId val="1935735536"/>
        <c:axId val="2040143904"/>
      </c:barChart>
      <c:catAx>
        <c:axId val="1935735536"/>
        <c:scaling>
          <c:orientation val="minMax"/>
        </c:scaling>
        <c:delete val="0"/>
        <c:axPos val="b"/>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2040143904"/>
        <c:crosses val="autoZero"/>
        <c:auto val="1"/>
        <c:lblAlgn val="ctr"/>
        <c:lblOffset val="100"/>
        <c:noMultiLvlLbl val="0"/>
      </c:catAx>
      <c:valAx>
        <c:axId val="2040143904"/>
        <c:scaling>
          <c:orientation val="minMax"/>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35735536"/>
        <c:crosses val="autoZero"/>
        <c:crossBetween val="between"/>
        <c:majorUnit val="50"/>
      </c:valAx>
    </c:plotArea>
    <c:plotVisOnly val="1"/>
    <c:dispBlanksAs val="gap"/>
    <c:showDLblsOverMax val="0"/>
  </c:chart>
  <c:txPr>
    <a:bodyPr/>
    <a:lstStyle/>
    <a:p>
      <a:pPr>
        <a:defRPr sz="1200"/>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12675070028012"/>
          <c:y val="4.6153842659460646E-2"/>
          <c:w val="0.820984360410831"/>
          <c:h val="0.86692770541128861"/>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Pt>
            <c:idx val="1"/>
            <c:invertIfNegative val="0"/>
            <c:bubble3D val="0"/>
            <c:spPr>
              <a:solidFill>
                <a:srgbClr val="00A1DE"/>
              </a:solidFill>
              <a:ln>
                <a:solidFill>
                  <a:schemeClr val="bg1"/>
                </a:solidFill>
              </a:ln>
            </c:spPr>
          </c:dPt>
          <c:dPt>
            <c:idx val="2"/>
            <c:invertIfNegative val="0"/>
            <c:bubble3D val="0"/>
            <c:spPr>
              <a:solidFill>
                <a:srgbClr val="92D400"/>
              </a:solidFill>
              <a:ln>
                <a:solidFill>
                  <a:schemeClr val="bg1"/>
                </a:solidFill>
              </a:ln>
            </c:spPr>
          </c:dPt>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dLbls>
          <c:showLegendKey val="0"/>
          <c:showVal val="1"/>
          <c:showCatName val="0"/>
          <c:showSerName val="0"/>
          <c:showPercent val="0"/>
          <c:showBubbleSize val="0"/>
        </c:dLbls>
        <c:gapWidth val="150"/>
        <c:overlap val="100"/>
        <c:axId val="2040144448"/>
        <c:axId val="2040150432"/>
      </c:barChart>
      <c:catAx>
        <c:axId val="2040144448"/>
        <c:scaling>
          <c:orientation val="minMax"/>
        </c:scaling>
        <c:delete val="0"/>
        <c:axPos val="b"/>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2040150432"/>
        <c:crosses val="autoZero"/>
        <c:auto val="1"/>
        <c:lblAlgn val="ctr"/>
        <c:lblOffset val="100"/>
        <c:noMultiLvlLbl val="0"/>
      </c:catAx>
      <c:valAx>
        <c:axId val="2040150432"/>
        <c:scaling>
          <c:orientation val="minMax"/>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40144448"/>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84331032632564E-2"/>
          <c:y val="4.6153842659460646E-2"/>
          <c:w val="0.88414094578388613"/>
          <c:h val="0.86692770541128861"/>
        </c:manualLayout>
      </c:layout>
      <c:barChart>
        <c:barDir val="bar"/>
        <c:grouping val="stacked"/>
        <c:varyColors val="0"/>
        <c:ser>
          <c:idx val="0"/>
          <c:order val="0"/>
          <c:tx>
            <c:strRef>
              <c:f>Sheet1!$B$1</c:f>
              <c:strCache>
                <c:ptCount val="1"/>
                <c:pt idx="0">
                  <c:v>A</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ser>
          <c:idx val="1"/>
          <c:order val="1"/>
          <c:tx>
            <c:strRef>
              <c:f>Sheet1!$C$1</c:f>
              <c:strCache>
                <c:ptCount val="1"/>
                <c:pt idx="0">
                  <c:v>B</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C$2:$C$4</c:f>
              <c:numCache>
                <c:formatCode>General</c:formatCode>
                <c:ptCount val="3"/>
                <c:pt idx="0">
                  <c:v>46.9</c:v>
                </c:pt>
                <c:pt idx="1">
                  <c:v>38.6</c:v>
                </c:pt>
                <c:pt idx="2">
                  <c:v>45.6</c:v>
                </c:pt>
              </c:numCache>
            </c:numRef>
          </c:val>
        </c:ser>
        <c:ser>
          <c:idx val="2"/>
          <c:order val="2"/>
          <c:tx>
            <c:strRef>
              <c:f>Sheet1!$D$1</c:f>
              <c:strCache>
                <c:ptCount val="1"/>
                <c:pt idx="0">
                  <c:v>C</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D$2:$D$4</c:f>
              <c:numCache>
                <c:formatCode>General</c:formatCode>
                <c:ptCount val="3"/>
                <c:pt idx="0">
                  <c:v>45</c:v>
                </c:pt>
                <c:pt idx="1">
                  <c:v>34.6</c:v>
                </c:pt>
                <c:pt idx="2">
                  <c:v>39.200000000000003</c:v>
                </c:pt>
              </c:numCache>
            </c:numRef>
          </c:val>
        </c:ser>
        <c:ser>
          <c:idx val="3"/>
          <c:order val="3"/>
          <c:tx>
            <c:strRef>
              <c:f>Sheet1!$E$1</c:f>
              <c:strCache>
                <c:ptCount val="1"/>
                <c:pt idx="0">
                  <c:v>D</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E$2:$E$4</c:f>
              <c:numCache>
                <c:formatCode>General</c:formatCode>
                <c:ptCount val="3"/>
                <c:pt idx="0">
                  <c:v>43.9</c:v>
                </c:pt>
                <c:pt idx="1">
                  <c:v>31.6</c:v>
                </c:pt>
                <c:pt idx="2">
                  <c:v>30.4</c:v>
                </c:pt>
              </c:numCache>
            </c:numRef>
          </c:val>
        </c:ser>
        <c:dLbls>
          <c:showLegendKey val="0"/>
          <c:showVal val="1"/>
          <c:showCatName val="0"/>
          <c:showSerName val="0"/>
          <c:showPercent val="0"/>
          <c:showBubbleSize val="0"/>
        </c:dLbls>
        <c:gapWidth val="150"/>
        <c:overlap val="100"/>
        <c:axId val="1963870992"/>
        <c:axId val="1963872624"/>
      </c:barChart>
      <c:catAx>
        <c:axId val="1963870992"/>
        <c:scaling>
          <c:orientation val="minMax"/>
        </c:scaling>
        <c:delete val="0"/>
        <c:axPos val="l"/>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1963872624"/>
        <c:crosses val="autoZero"/>
        <c:auto val="1"/>
        <c:lblAlgn val="ctr"/>
        <c:lblOffset val="100"/>
        <c:noMultiLvlLbl val="0"/>
      </c:catAx>
      <c:valAx>
        <c:axId val="1963872624"/>
        <c:scaling>
          <c:orientation val="minMax"/>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63870992"/>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12675070028012"/>
          <c:y val="4.6153842659460646E-2"/>
          <c:w val="0.820984360410831"/>
          <c:h val="0.86692770541128861"/>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Pt>
            <c:idx val="1"/>
            <c:invertIfNegative val="0"/>
            <c:bubble3D val="0"/>
            <c:spPr>
              <a:solidFill>
                <a:srgbClr val="00A1DE"/>
              </a:solidFill>
              <a:ln>
                <a:solidFill>
                  <a:schemeClr val="bg1"/>
                </a:solidFill>
              </a:ln>
            </c:spPr>
          </c:dPt>
          <c:dPt>
            <c:idx val="2"/>
            <c:invertIfNegative val="0"/>
            <c:bubble3D val="0"/>
            <c:spPr>
              <a:solidFill>
                <a:srgbClr val="92D400"/>
              </a:solidFill>
              <a:ln>
                <a:solidFill>
                  <a:schemeClr val="bg1"/>
                </a:solidFill>
              </a:ln>
            </c:spPr>
          </c:dPt>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dLbls>
          <c:showLegendKey val="0"/>
          <c:showVal val="1"/>
          <c:showCatName val="0"/>
          <c:showSerName val="0"/>
          <c:showPercent val="0"/>
          <c:showBubbleSize val="0"/>
        </c:dLbls>
        <c:gapWidth val="150"/>
        <c:overlap val="100"/>
        <c:axId val="2040148256"/>
        <c:axId val="2040143360"/>
      </c:barChart>
      <c:catAx>
        <c:axId val="2040148256"/>
        <c:scaling>
          <c:orientation val="minMax"/>
        </c:scaling>
        <c:delete val="0"/>
        <c:axPos val="b"/>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2040143360"/>
        <c:crosses val="autoZero"/>
        <c:auto val="1"/>
        <c:lblAlgn val="ctr"/>
        <c:lblOffset val="100"/>
        <c:noMultiLvlLbl val="0"/>
      </c:catAx>
      <c:valAx>
        <c:axId val="2040143360"/>
        <c:scaling>
          <c:orientation val="minMax"/>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40148256"/>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12675070028012"/>
          <c:y val="4.6153842659460646E-2"/>
          <c:w val="0.820984360410831"/>
          <c:h val="0.86692770541128861"/>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Pt>
            <c:idx val="1"/>
            <c:invertIfNegative val="0"/>
            <c:bubble3D val="0"/>
            <c:spPr>
              <a:solidFill>
                <a:srgbClr val="00A1DE"/>
              </a:solidFill>
              <a:ln>
                <a:solidFill>
                  <a:schemeClr val="bg1"/>
                </a:solidFill>
              </a:ln>
            </c:spPr>
          </c:dPt>
          <c:dPt>
            <c:idx val="2"/>
            <c:invertIfNegative val="0"/>
            <c:bubble3D val="0"/>
            <c:spPr>
              <a:solidFill>
                <a:srgbClr val="92D400"/>
              </a:solidFill>
              <a:ln>
                <a:solidFill>
                  <a:schemeClr val="bg1"/>
                </a:solidFill>
              </a:ln>
            </c:spPr>
          </c:dPt>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dLbls>
          <c:showLegendKey val="0"/>
          <c:showVal val="1"/>
          <c:showCatName val="0"/>
          <c:showSerName val="0"/>
          <c:showPercent val="0"/>
          <c:showBubbleSize val="0"/>
        </c:dLbls>
        <c:gapWidth val="150"/>
        <c:overlap val="100"/>
        <c:axId val="2040146624"/>
        <c:axId val="2040147168"/>
      </c:barChart>
      <c:catAx>
        <c:axId val="2040146624"/>
        <c:scaling>
          <c:orientation val="minMax"/>
        </c:scaling>
        <c:delete val="0"/>
        <c:axPos val="b"/>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2040147168"/>
        <c:crosses val="autoZero"/>
        <c:auto val="1"/>
        <c:lblAlgn val="ctr"/>
        <c:lblOffset val="100"/>
        <c:noMultiLvlLbl val="0"/>
      </c:catAx>
      <c:valAx>
        <c:axId val="2040147168"/>
        <c:scaling>
          <c:orientation val="minMax"/>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40146624"/>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12675070028012"/>
          <c:y val="4.6153842659460646E-2"/>
          <c:w val="0.820984360410831"/>
          <c:h val="0.86692770541128861"/>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Pt>
            <c:idx val="1"/>
            <c:invertIfNegative val="0"/>
            <c:bubble3D val="0"/>
            <c:spPr>
              <a:solidFill>
                <a:srgbClr val="00A1DE"/>
              </a:solidFill>
              <a:ln>
                <a:solidFill>
                  <a:schemeClr val="bg1"/>
                </a:solidFill>
              </a:ln>
            </c:spPr>
          </c:dPt>
          <c:dPt>
            <c:idx val="2"/>
            <c:invertIfNegative val="0"/>
            <c:bubble3D val="0"/>
            <c:spPr>
              <a:solidFill>
                <a:srgbClr val="92D400"/>
              </a:solidFill>
              <a:ln>
                <a:solidFill>
                  <a:schemeClr val="bg1"/>
                </a:solidFill>
              </a:ln>
            </c:spPr>
          </c:dPt>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dLbls>
          <c:showLegendKey val="0"/>
          <c:showVal val="1"/>
          <c:showCatName val="0"/>
          <c:showSerName val="0"/>
          <c:showPercent val="0"/>
          <c:showBubbleSize val="0"/>
        </c:dLbls>
        <c:gapWidth val="150"/>
        <c:overlap val="100"/>
        <c:axId val="2046371280"/>
        <c:axId val="2046369648"/>
      </c:barChart>
      <c:catAx>
        <c:axId val="2046371280"/>
        <c:scaling>
          <c:orientation val="minMax"/>
        </c:scaling>
        <c:delete val="0"/>
        <c:axPos val="b"/>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2046369648"/>
        <c:crosses val="autoZero"/>
        <c:auto val="1"/>
        <c:lblAlgn val="ctr"/>
        <c:lblOffset val="100"/>
        <c:noMultiLvlLbl val="0"/>
      </c:catAx>
      <c:valAx>
        <c:axId val="2046369648"/>
        <c:scaling>
          <c:orientation val="minMax"/>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46371280"/>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84331032632564E-2"/>
          <c:y val="4.6153842659460646E-2"/>
          <c:w val="0.88414094578388613"/>
          <c:h val="0.80530968827395943"/>
        </c:manualLayout>
      </c:layout>
      <c:barChart>
        <c:barDir val="col"/>
        <c:grouping val="clustered"/>
        <c:varyColors val="0"/>
        <c:ser>
          <c:idx val="0"/>
          <c:order val="0"/>
          <c:tx>
            <c:strRef>
              <c:f>Sheet1!$B$1</c:f>
              <c:strCache>
                <c:ptCount val="1"/>
                <c:pt idx="0">
                  <c:v>A</c:v>
                </c:pt>
              </c:strCache>
            </c:strRef>
          </c:tx>
          <c:spPr>
            <a:solidFill>
              <a:schemeClr val="tx2"/>
            </a:solidFill>
            <a:ln>
              <a:solidFill>
                <a:schemeClr val="bg1"/>
              </a:solidFill>
            </a:ln>
          </c:spPr>
          <c:invertIfNegative val="0"/>
          <c:dLbls>
            <c:spPr>
              <a:noFill/>
              <a:ln>
                <a:noFill/>
              </a:ln>
              <a:effectLst/>
            </c:spPr>
            <c:txPr>
              <a:bodyPr/>
              <a:lstStyle/>
              <a:p>
                <a:pPr>
                  <a:defRPr lang="nl-NL">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41.1</c:v>
                </c:pt>
                <c:pt idx="1">
                  <c:v>34.300000000000004</c:v>
                </c:pt>
                <c:pt idx="2">
                  <c:v>32.200000000000003</c:v>
                </c:pt>
              </c:numCache>
            </c:numRef>
          </c:val>
        </c:ser>
        <c:ser>
          <c:idx val="1"/>
          <c:order val="1"/>
          <c:tx>
            <c:strRef>
              <c:f>Sheet1!$C$1</c:f>
              <c:strCache>
                <c:ptCount val="1"/>
                <c:pt idx="0">
                  <c:v>B</c:v>
                </c:pt>
              </c:strCache>
            </c:strRef>
          </c:tx>
          <c:spPr>
            <a:solidFill>
              <a:schemeClr val="accent2"/>
            </a:solidFill>
            <a:ln>
              <a:solidFill>
                <a:schemeClr val="bg1"/>
              </a:solidFill>
            </a:ln>
          </c:spPr>
          <c:invertIfNegative val="0"/>
          <c:dLbls>
            <c:spPr>
              <a:noFill/>
              <a:ln>
                <a:noFill/>
              </a:ln>
              <a:effectLst/>
            </c:spPr>
            <c:txPr>
              <a:bodyPr/>
              <a:lstStyle/>
              <a:p>
                <a:pPr>
                  <a:defRPr lang="nl-NL">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C$2:$C$4</c:f>
              <c:numCache>
                <c:formatCode>General</c:formatCode>
                <c:ptCount val="3"/>
                <c:pt idx="0">
                  <c:v>40.300000000000004</c:v>
                </c:pt>
                <c:pt idx="1">
                  <c:v>33.6</c:v>
                </c:pt>
                <c:pt idx="2">
                  <c:v>30.4</c:v>
                </c:pt>
              </c:numCache>
            </c:numRef>
          </c:val>
        </c:ser>
        <c:dLbls>
          <c:showLegendKey val="0"/>
          <c:showVal val="1"/>
          <c:showCatName val="0"/>
          <c:showSerName val="0"/>
          <c:showPercent val="0"/>
          <c:showBubbleSize val="0"/>
        </c:dLbls>
        <c:gapWidth val="150"/>
        <c:axId val="2046367472"/>
        <c:axId val="2046364752"/>
      </c:barChart>
      <c:catAx>
        <c:axId val="2046367472"/>
        <c:scaling>
          <c:orientation val="minMax"/>
        </c:scaling>
        <c:delete val="0"/>
        <c:axPos val="b"/>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2046364752"/>
        <c:crosses val="autoZero"/>
        <c:auto val="1"/>
        <c:lblAlgn val="ctr"/>
        <c:lblOffset val="100"/>
        <c:noMultiLvlLbl val="0"/>
      </c:catAx>
      <c:valAx>
        <c:axId val="2046364752"/>
        <c:scaling>
          <c:orientation val="minMax"/>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46367472"/>
        <c:crosses val="autoZero"/>
        <c:crossBetween val="between"/>
        <c:majorUnit val="20"/>
      </c:valAx>
    </c:plotArea>
    <c:legend>
      <c:legendPos val="r"/>
      <c:layout>
        <c:manualLayout>
          <c:xMode val="edge"/>
          <c:yMode val="edge"/>
          <c:x val="0.95544682872092657"/>
          <c:y val="3.0838385534326836E-2"/>
          <c:w val="4.4553171279073364E-2"/>
          <c:h val="0.1728849133541526"/>
        </c:manualLayout>
      </c:layout>
      <c:overlay val="1"/>
      <c:txPr>
        <a:bodyPr/>
        <a:lstStyle/>
        <a:p>
          <a:pPr>
            <a:defRPr lang="nl-NL">
              <a:solidFill>
                <a:schemeClr val="tx2"/>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425940860215054"/>
          <c:y val="4.6153842659460646E-2"/>
          <c:w val="0.79462345679013136"/>
          <c:h val="0.86692770541128861"/>
        </c:manualLayout>
      </c:layout>
      <c:barChart>
        <c:barDir val="col"/>
        <c:grouping val="clustered"/>
        <c:varyColors val="0"/>
        <c:ser>
          <c:idx val="0"/>
          <c:order val="0"/>
          <c:tx>
            <c:strRef>
              <c:f>Sheet1!$B$1</c:f>
              <c:strCache>
                <c:ptCount val="1"/>
                <c:pt idx="0">
                  <c:v>A</c:v>
                </c:pt>
              </c:strCache>
            </c:strRef>
          </c:tx>
          <c:spPr>
            <a:solidFill>
              <a:schemeClr val="accent1"/>
            </a:solidFill>
            <a:ln>
              <a:solidFill>
                <a:schemeClr val="bg1"/>
              </a:solidFill>
            </a:ln>
          </c:spPr>
          <c:invertIfNegative val="0"/>
          <c:dLbls>
            <c:numFmt formatCode="#,##0" sourceLinked="0"/>
            <c:spPr>
              <a:noFill/>
              <a:ln>
                <a:noFill/>
              </a:ln>
              <a:effectLst/>
            </c:spPr>
            <c:txPr>
              <a:bodyPr/>
              <a:lstStyle/>
              <a:p>
                <a:pPr>
                  <a:defRPr lang="nl-NL" sz="1100">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55.2</c:v>
                </c:pt>
                <c:pt idx="1">
                  <c:v>34.300000000000004</c:v>
                </c:pt>
                <c:pt idx="2">
                  <c:v>32.200000000000003</c:v>
                </c:pt>
              </c:numCache>
            </c:numRef>
          </c:val>
        </c:ser>
        <c:ser>
          <c:idx val="1"/>
          <c:order val="1"/>
          <c:tx>
            <c:strRef>
              <c:f>Sheet1!$C$1</c:f>
              <c:strCache>
                <c:ptCount val="1"/>
                <c:pt idx="0">
                  <c:v>B</c:v>
                </c:pt>
              </c:strCache>
            </c:strRef>
          </c:tx>
          <c:spPr>
            <a:solidFill>
              <a:schemeClr val="accent2"/>
            </a:solidFill>
            <a:ln>
              <a:solidFill>
                <a:schemeClr val="bg1"/>
              </a:solidFill>
            </a:ln>
          </c:spPr>
          <c:invertIfNegative val="0"/>
          <c:dLbls>
            <c:numFmt formatCode="#,##0" sourceLinked="0"/>
            <c:spPr>
              <a:noFill/>
              <a:ln>
                <a:noFill/>
              </a:ln>
              <a:effectLst/>
            </c:spPr>
            <c:txPr>
              <a:bodyPr/>
              <a:lstStyle/>
              <a:p>
                <a:pPr>
                  <a:defRPr lang="nl-NL" sz="1100">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C$2:$C$4</c:f>
              <c:numCache>
                <c:formatCode>General</c:formatCode>
                <c:ptCount val="3"/>
                <c:pt idx="0">
                  <c:v>52.3</c:v>
                </c:pt>
                <c:pt idx="1">
                  <c:v>33.6</c:v>
                </c:pt>
                <c:pt idx="2">
                  <c:v>30.4</c:v>
                </c:pt>
              </c:numCache>
            </c:numRef>
          </c:val>
        </c:ser>
        <c:dLbls>
          <c:showLegendKey val="0"/>
          <c:showVal val="1"/>
          <c:showCatName val="0"/>
          <c:showSerName val="0"/>
          <c:showPercent val="0"/>
          <c:showBubbleSize val="0"/>
        </c:dLbls>
        <c:gapWidth val="150"/>
        <c:axId val="2046365296"/>
        <c:axId val="2046370192"/>
      </c:barChart>
      <c:catAx>
        <c:axId val="2046365296"/>
        <c:scaling>
          <c:orientation val="minMax"/>
        </c:scaling>
        <c:delete val="0"/>
        <c:axPos val="b"/>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2046370192"/>
        <c:crosses val="autoZero"/>
        <c:auto val="1"/>
        <c:lblAlgn val="ctr"/>
        <c:lblOffset val="100"/>
        <c:noMultiLvlLbl val="0"/>
      </c:catAx>
      <c:valAx>
        <c:axId val="2046370192"/>
        <c:scaling>
          <c:orientation val="minMax"/>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46365296"/>
        <c:crosses val="autoZero"/>
        <c:crossBetween val="between"/>
        <c:majorUnit val="20"/>
      </c:valAx>
    </c:plotArea>
    <c:legend>
      <c:legendPos val="r"/>
      <c:layout>
        <c:manualLayout>
          <c:xMode val="edge"/>
          <c:yMode val="edge"/>
          <c:x val="0.82326807760141163"/>
          <c:y val="3.0838385534326836E-2"/>
          <c:w val="0.14600573192240113"/>
          <c:h val="0.12986470790599497"/>
        </c:manualLayout>
      </c:layout>
      <c:overlay val="1"/>
      <c:txPr>
        <a:bodyPr/>
        <a:lstStyle/>
        <a:p>
          <a:pPr>
            <a:defRPr lang="nl-NL">
              <a:solidFill>
                <a:schemeClr val="tx2"/>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425940860215054"/>
          <c:y val="4.6153842659460646E-2"/>
          <c:w val="0.79462345679013158"/>
          <c:h val="0.86692770541128861"/>
        </c:manualLayout>
      </c:layout>
      <c:barChart>
        <c:barDir val="col"/>
        <c:grouping val="clustered"/>
        <c:varyColors val="0"/>
        <c:ser>
          <c:idx val="0"/>
          <c:order val="0"/>
          <c:tx>
            <c:strRef>
              <c:f>Sheet1!$B$1</c:f>
              <c:strCache>
                <c:ptCount val="1"/>
                <c:pt idx="0">
                  <c:v>A</c:v>
                </c:pt>
              </c:strCache>
            </c:strRef>
          </c:tx>
          <c:spPr>
            <a:solidFill>
              <a:schemeClr val="accent1"/>
            </a:solidFill>
            <a:ln>
              <a:solidFill>
                <a:schemeClr val="bg1"/>
              </a:solidFill>
            </a:ln>
          </c:spPr>
          <c:invertIfNegative val="0"/>
          <c:dLbls>
            <c:numFmt formatCode="#,##0" sourceLinked="0"/>
            <c:spPr>
              <a:noFill/>
              <a:ln>
                <a:noFill/>
              </a:ln>
              <a:effectLst/>
            </c:spPr>
            <c:txPr>
              <a:bodyPr/>
              <a:lstStyle/>
              <a:p>
                <a:pPr>
                  <a:defRPr lang="nl-NL" sz="1100">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55.2</c:v>
                </c:pt>
                <c:pt idx="1">
                  <c:v>34.300000000000004</c:v>
                </c:pt>
                <c:pt idx="2">
                  <c:v>32.200000000000003</c:v>
                </c:pt>
              </c:numCache>
            </c:numRef>
          </c:val>
        </c:ser>
        <c:ser>
          <c:idx val="1"/>
          <c:order val="1"/>
          <c:tx>
            <c:strRef>
              <c:f>Sheet1!$C$1</c:f>
              <c:strCache>
                <c:ptCount val="1"/>
                <c:pt idx="0">
                  <c:v>B</c:v>
                </c:pt>
              </c:strCache>
            </c:strRef>
          </c:tx>
          <c:spPr>
            <a:solidFill>
              <a:schemeClr val="accent2"/>
            </a:solidFill>
            <a:ln>
              <a:solidFill>
                <a:schemeClr val="bg1"/>
              </a:solidFill>
            </a:ln>
          </c:spPr>
          <c:invertIfNegative val="0"/>
          <c:dLbls>
            <c:numFmt formatCode="#,##0" sourceLinked="0"/>
            <c:spPr>
              <a:noFill/>
              <a:ln>
                <a:noFill/>
              </a:ln>
              <a:effectLst/>
            </c:spPr>
            <c:txPr>
              <a:bodyPr/>
              <a:lstStyle/>
              <a:p>
                <a:pPr>
                  <a:defRPr lang="nl-NL" sz="1100">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C$2:$C$4</c:f>
              <c:numCache>
                <c:formatCode>General</c:formatCode>
                <c:ptCount val="3"/>
                <c:pt idx="0">
                  <c:v>52.3</c:v>
                </c:pt>
                <c:pt idx="1">
                  <c:v>33.6</c:v>
                </c:pt>
                <c:pt idx="2">
                  <c:v>30.4</c:v>
                </c:pt>
              </c:numCache>
            </c:numRef>
          </c:val>
        </c:ser>
        <c:dLbls>
          <c:showLegendKey val="0"/>
          <c:showVal val="1"/>
          <c:showCatName val="0"/>
          <c:showSerName val="0"/>
          <c:showPercent val="0"/>
          <c:showBubbleSize val="0"/>
        </c:dLbls>
        <c:gapWidth val="150"/>
        <c:axId val="2046369104"/>
        <c:axId val="1954825792"/>
      </c:barChart>
      <c:catAx>
        <c:axId val="2046369104"/>
        <c:scaling>
          <c:orientation val="minMax"/>
        </c:scaling>
        <c:delete val="0"/>
        <c:axPos val="b"/>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1954825792"/>
        <c:crosses val="autoZero"/>
        <c:auto val="1"/>
        <c:lblAlgn val="ctr"/>
        <c:lblOffset val="100"/>
        <c:noMultiLvlLbl val="0"/>
      </c:catAx>
      <c:valAx>
        <c:axId val="1954825792"/>
        <c:scaling>
          <c:orientation val="minMax"/>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46369104"/>
        <c:crosses val="autoZero"/>
        <c:crossBetween val="between"/>
        <c:majorUnit val="20"/>
      </c:valAx>
    </c:plotArea>
    <c:legend>
      <c:legendPos val="r"/>
      <c:layout>
        <c:manualLayout>
          <c:xMode val="edge"/>
          <c:yMode val="edge"/>
          <c:x val="0.82326807760141163"/>
          <c:y val="3.0838385534326843E-2"/>
          <c:w val="0.14600573192240118"/>
          <c:h val="0.12986470790599497"/>
        </c:manualLayout>
      </c:layout>
      <c:overlay val="1"/>
      <c:txPr>
        <a:bodyPr/>
        <a:lstStyle/>
        <a:p>
          <a:pPr>
            <a:defRPr lang="nl-NL">
              <a:solidFill>
                <a:schemeClr val="tx2"/>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425940860215054"/>
          <c:y val="4.6153842659460646E-2"/>
          <c:w val="0.7946234567901318"/>
          <c:h val="0.86692770541128861"/>
        </c:manualLayout>
      </c:layout>
      <c:barChart>
        <c:barDir val="col"/>
        <c:grouping val="clustered"/>
        <c:varyColors val="0"/>
        <c:ser>
          <c:idx val="0"/>
          <c:order val="0"/>
          <c:tx>
            <c:strRef>
              <c:f>Sheet1!$B$1</c:f>
              <c:strCache>
                <c:ptCount val="1"/>
                <c:pt idx="0">
                  <c:v>A</c:v>
                </c:pt>
              </c:strCache>
            </c:strRef>
          </c:tx>
          <c:spPr>
            <a:solidFill>
              <a:schemeClr val="accent1"/>
            </a:solidFill>
            <a:ln>
              <a:solidFill>
                <a:schemeClr val="bg1"/>
              </a:solidFill>
            </a:ln>
          </c:spPr>
          <c:invertIfNegative val="0"/>
          <c:dLbls>
            <c:numFmt formatCode="#,##0" sourceLinked="0"/>
            <c:spPr>
              <a:noFill/>
              <a:ln>
                <a:noFill/>
              </a:ln>
              <a:effectLst/>
            </c:spPr>
            <c:txPr>
              <a:bodyPr/>
              <a:lstStyle/>
              <a:p>
                <a:pPr>
                  <a:defRPr lang="nl-NL" sz="1100">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55.2</c:v>
                </c:pt>
                <c:pt idx="1">
                  <c:v>34.300000000000004</c:v>
                </c:pt>
                <c:pt idx="2">
                  <c:v>32.200000000000003</c:v>
                </c:pt>
              </c:numCache>
            </c:numRef>
          </c:val>
        </c:ser>
        <c:ser>
          <c:idx val="1"/>
          <c:order val="1"/>
          <c:tx>
            <c:strRef>
              <c:f>Sheet1!$C$1</c:f>
              <c:strCache>
                <c:ptCount val="1"/>
                <c:pt idx="0">
                  <c:v>B</c:v>
                </c:pt>
              </c:strCache>
            </c:strRef>
          </c:tx>
          <c:spPr>
            <a:solidFill>
              <a:schemeClr val="accent2"/>
            </a:solidFill>
            <a:ln>
              <a:solidFill>
                <a:schemeClr val="bg1"/>
              </a:solidFill>
            </a:ln>
          </c:spPr>
          <c:invertIfNegative val="0"/>
          <c:dLbls>
            <c:numFmt formatCode="#,##0" sourceLinked="0"/>
            <c:spPr>
              <a:noFill/>
              <a:ln>
                <a:noFill/>
              </a:ln>
              <a:effectLst/>
            </c:spPr>
            <c:txPr>
              <a:bodyPr/>
              <a:lstStyle/>
              <a:p>
                <a:pPr>
                  <a:defRPr lang="nl-NL" sz="1100">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C$2:$C$4</c:f>
              <c:numCache>
                <c:formatCode>General</c:formatCode>
                <c:ptCount val="3"/>
                <c:pt idx="0">
                  <c:v>52.3</c:v>
                </c:pt>
                <c:pt idx="1">
                  <c:v>33.6</c:v>
                </c:pt>
                <c:pt idx="2">
                  <c:v>30.4</c:v>
                </c:pt>
              </c:numCache>
            </c:numRef>
          </c:val>
        </c:ser>
        <c:dLbls>
          <c:showLegendKey val="0"/>
          <c:showVal val="1"/>
          <c:showCatName val="0"/>
          <c:showSerName val="0"/>
          <c:showPercent val="0"/>
          <c:showBubbleSize val="0"/>
        </c:dLbls>
        <c:gapWidth val="150"/>
        <c:axId val="1954825248"/>
        <c:axId val="1954821984"/>
      </c:barChart>
      <c:catAx>
        <c:axId val="1954825248"/>
        <c:scaling>
          <c:orientation val="minMax"/>
        </c:scaling>
        <c:delete val="0"/>
        <c:axPos val="b"/>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1954821984"/>
        <c:crosses val="autoZero"/>
        <c:auto val="1"/>
        <c:lblAlgn val="ctr"/>
        <c:lblOffset val="100"/>
        <c:noMultiLvlLbl val="0"/>
      </c:catAx>
      <c:valAx>
        <c:axId val="1954821984"/>
        <c:scaling>
          <c:orientation val="minMax"/>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54825248"/>
        <c:crosses val="autoZero"/>
        <c:crossBetween val="between"/>
        <c:majorUnit val="20"/>
      </c:valAx>
    </c:plotArea>
    <c:legend>
      <c:legendPos val="r"/>
      <c:layout>
        <c:manualLayout>
          <c:xMode val="edge"/>
          <c:yMode val="edge"/>
          <c:x val="0.82326807760141163"/>
          <c:y val="3.083838553432685E-2"/>
          <c:w val="0.14600573192240124"/>
          <c:h val="0.12986470790599497"/>
        </c:manualLayout>
      </c:layout>
      <c:overlay val="1"/>
      <c:txPr>
        <a:bodyPr/>
        <a:lstStyle/>
        <a:p>
          <a:pPr>
            <a:defRPr lang="nl-NL">
              <a:solidFill>
                <a:schemeClr val="tx2"/>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425940860215054"/>
          <c:y val="4.6153842659460646E-2"/>
          <c:w val="0.79462345679013191"/>
          <c:h val="0.86692770541128861"/>
        </c:manualLayout>
      </c:layout>
      <c:barChart>
        <c:barDir val="col"/>
        <c:grouping val="clustered"/>
        <c:varyColors val="0"/>
        <c:ser>
          <c:idx val="0"/>
          <c:order val="0"/>
          <c:tx>
            <c:strRef>
              <c:f>Sheet1!$B$1</c:f>
              <c:strCache>
                <c:ptCount val="1"/>
                <c:pt idx="0">
                  <c:v>A</c:v>
                </c:pt>
              </c:strCache>
            </c:strRef>
          </c:tx>
          <c:spPr>
            <a:solidFill>
              <a:schemeClr val="accent1"/>
            </a:solidFill>
            <a:ln>
              <a:solidFill>
                <a:schemeClr val="bg1"/>
              </a:solidFill>
            </a:ln>
          </c:spPr>
          <c:invertIfNegative val="0"/>
          <c:dLbls>
            <c:numFmt formatCode="#,##0" sourceLinked="0"/>
            <c:spPr>
              <a:noFill/>
              <a:ln>
                <a:noFill/>
              </a:ln>
              <a:effectLst/>
            </c:spPr>
            <c:txPr>
              <a:bodyPr/>
              <a:lstStyle/>
              <a:p>
                <a:pPr>
                  <a:defRPr lang="nl-NL" sz="1100">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55.2</c:v>
                </c:pt>
                <c:pt idx="1">
                  <c:v>34.300000000000004</c:v>
                </c:pt>
                <c:pt idx="2">
                  <c:v>32.200000000000003</c:v>
                </c:pt>
              </c:numCache>
            </c:numRef>
          </c:val>
        </c:ser>
        <c:ser>
          <c:idx val="1"/>
          <c:order val="1"/>
          <c:tx>
            <c:strRef>
              <c:f>Sheet1!$C$1</c:f>
              <c:strCache>
                <c:ptCount val="1"/>
                <c:pt idx="0">
                  <c:v>B</c:v>
                </c:pt>
              </c:strCache>
            </c:strRef>
          </c:tx>
          <c:spPr>
            <a:solidFill>
              <a:schemeClr val="accent2"/>
            </a:solidFill>
            <a:ln>
              <a:solidFill>
                <a:schemeClr val="bg1"/>
              </a:solidFill>
            </a:ln>
          </c:spPr>
          <c:invertIfNegative val="0"/>
          <c:dLbls>
            <c:numFmt formatCode="#,##0" sourceLinked="0"/>
            <c:spPr>
              <a:noFill/>
              <a:ln>
                <a:noFill/>
              </a:ln>
              <a:effectLst/>
            </c:spPr>
            <c:txPr>
              <a:bodyPr/>
              <a:lstStyle/>
              <a:p>
                <a:pPr>
                  <a:defRPr lang="nl-NL" sz="1100">
                    <a:solidFill>
                      <a:schemeClr val="tx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C$2:$C$4</c:f>
              <c:numCache>
                <c:formatCode>General</c:formatCode>
                <c:ptCount val="3"/>
                <c:pt idx="0">
                  <c:v>52.3</c:v>
                </c:pt>
                <c:pt idx="1">
                  <c:v>33.6</c:v>
                </c:pt>
                <c:pt idx="2">
                  <c:v>30.4</c:v>
                </c:pt>
              </c:numCache>
            </c:numRef>
          </c:val>
        </c:ser>
        <c:dLbls>
          <c:showLegendKey val="0"/>
          <c:showVal val="1"/>
          <c:showCatName val="0"/>
          <c:showSerName val="0"/>
          <c:showPercent val="0"/>
          <c:showBubbleSize val="0"/>
        </c:dLbls>
        <c:gapWidth val="150"/>
        <c:axId val="1954819808"/>
        <c:axId val="1954822528"/>
      </c:barChart>
      <c:catAx>
        <c:axId val="1954819808"/>
        <c:scaling>
          <c:orientation val="minMax"/>
        </c:scaling>
        <c:delete val="0"/>
        <c:axPos val="b"/>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1954822528"/>
        <c:crosses val="autoZero"/>
        <c:auto val="1"/>
        <c:lblAlgn val="ctr"/>
        <c:lblOffset val="100"/>
        <c:noMultiLvlLbl val="0"/>
      </c:catAx>
      <c:valAx>
        <c:axId val="1954822528"/>
        <c:scaling>
          <c:orientation val="minMax"/>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54819808"/>
        <c:crosses val="autoZero"/>
        <c:crossBetween val="between"/>
        <c:majorUnit val="20"/>
      </c:valAx>
    </c:plotArea>
    <c:legend>
      <c:legendPos val="r"/>
      <c:layout>
        <c:manualLayout>
          <c:xMode val="edge"/>
          <c:yMode val="edge"/>
          <c:x val="0.82326807760141163"/>
          <c:y val="3.0838385534326853E-2"/>
          <c:w val="0.14600573192240127"/>
          <c:h val="0.12986470790599497"/>
        </c:manualLayout>
      </c:layout>
      <c:overlay val="1"/>
      <c:txPr>
        <a:bodyPr/>
        <a:lstStyle/>
        <a:p>
          <a:pPr>
            <a:defRPr lang="nl-NL">
              <a:solidFill>
                <a:schemeClr val="tx2"/>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092925576504414E-2"/>
          <c:y val="4.6153842659460646E-2"/>
          <c:w val="0.90233232874996794"/>
          <c:h val="0.90451189353926431"/>
        </c:manualLayout>
      </c:layout>
      <c:barChart>
        <c:barDir val="col"/>
        <c:grouping val="stacked"/>
        <c:varyColors val="0"/>
        <c:ser>
          <c:idx val="0"/>
          <c:order val="0"/>
          <c:tx>
            <c:strRef>
              <c:f>Sheet1!$A$2</c:f>
              <c:strCache>
                <c:ptCount val="1"/>
                <c:pt idx="0">
                  <c:v>A</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U$1</c:f>
              <c:strCache>
                <c:ptCount val="20"/>
                <c:pt idx="0">
                  <c:v>Column2</c:v>
                </c:pt>
                <c:pt idx="1">
                  <c:v>05</c:v>
                </c:pt>
                <c:pt idx="2">
                  <c:v>06</c:v>
                </c:pt>
                <c:pt idx="3">
                  <c:v>07</c:v>
                </c:pt>
                <c:pt idx="4">
                  <c:v>08</c:v>
                </c:pt>
                <c:pt idx="5">
                  <c:v>052</c:v>
                </c:pt>
                <c:pt idx="6">
                  <c:v>063</c:v>
                </c:pt>
                <c:pt idx="7">
                  <c:v>074</c:v>
                </c:pt>
                <c:pt idx="8">
                  <c:v>075</c:v>
                </c:pt>
                <c:pt idx="9">
                  <c:v>055</c:v>
                </c:pt>
                <c:pt idx="10">
                  <c:v>066</c:v>
                </c:pt>
                <c:pt idx="11">
                  <c:v>077</c:v>
                </c:pt>
                <c:pt idx="12">
                  <c:v>078</c:v>
                </c:pt>
                <c:pt idx="13">
                  <c:v>058</c:v>
                </c:pt>
                <c:pt idx="14">
                  <c:v>069</c:v>
                </c:pt>
                <c:pt idx="15">
                  <c:v>0710</c:v>
                </c:pt>
                <c:pt idx="16">
                  <c:v>0711</c:v>
                </c:pt>
                <c:pt idx="17">
                  <c:v>0511</c:v>
                </c:pt>
                <c:pt idx="18">
                  <c:v>0612</c:v>
                </c:pt>
                <c:pt idx="19">
                  <c:v>0713</c:v>
                </c:pt>
              </c:strCache>
            </c:strRef>
          </c:cat>
          <c:val>
            <c:numRef>
              <c:f>Sheet1!$B$2:$U$2</c:f>
              <c:numCache>
                <c:formatCode>0.0</c:formatCode>
                <c:ptCount val="20"/>
                <c:pt idx="1">
                  <c:v>10</c:v>
                </c:pt>
                <c:pt idx="2">
                  <c:v>8</c:v>
                </c:pt>
                <c:pt idx="3">
                  <c:v>6</c:v>
                </c:pt>
                <c:pt idx="5">
                  <c:v>10</c:v>
                </c:pt>
                <c:pt idx="6">
                  <c:v>8</c:v>
                </c:pt>
                <c:pt idx="7">
                  <c:v>6</c:v>
                </c:pt>
                <c:pt idx="9">
                  <c:v>10</c:v>
                </c:pt>
                <c:pt idx="10">
                  <c:v>8</c:v>
                </c:pt>
                <c:pt idx="11">
                  <c:v>6</c:v>
                </c:pt>
                <c:pt idx="13">
                  <c:v>10</c:v>
                </c:pt>
                <c:pt idx="14">
                  <c:v>8</c:v>
                </c:pt>
                <c:pt idx="15">
                  <c:v>6</c:v>
                </c:pt>
                <c:pt idx="17">
                  <c:v>10</c:v>
                </c:pt>
                <c:pt idx="18">
                  <c:v>8</c:v>
                </c:pt>
                <c:pt idx="19">
                  <c:v>6</c:v>
                </c:pt>
              </c:numCache>
            </c:numRef>
          </c:val>
        </c:ser>
        <c:ser>
          <c:idx val="1"/>
          <c:order val="1"/>
          <c:tx>
            <c:strRef>
              <c:f>Sheet1!$A$3</c:f>
              <c:strCache>
                <c:ptCount val="1"/>
                <c:pt idx="0">
                  <c:v>B</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U$1</c:f>
              <c:strCache>
                <c:ptCount val="20"/>
                <c:pt idx="0">
                  <c:v>Column2</c:v>
                </c:pt>
                <c:pt idx="1">
                  <c:v>05</c:v>
                </c:pt>
                <c:pt idx="2">
                  <c:v>06</c:v>
                </c:pt>
                <c:pt idx="3">
                  <c:v>07</c:v>
                </c:pt>
                <c:pt idx="4">
                  <c:v>08</c:v>
                </c:pt>
                <c:pt idx="5">
                  <c:v>052</c:v>
                </c:pt>
                <c:pt idx="6">
                  <c:v>063</c:v>
                </c:pt>
                <c:pt idx="7">
                  <c:v>074</c:v>
                </c:pt>
                <c:pt idx="8">
                  <c:v>075</c:v>
                </c:pt>
                <c:pt idx="9">
                  <c:v>055</c:v>
                </c:pt>
                <c:pt idx="10">
                  <c:v>066</c:v>
                </c:pt>
                <c:pt idx="11">
                  <c:v>077</c:v>
                </c:pt>
                <c:pt idx="12">
                  <c:v>078</c:v>
                </c:pt>
                <c:pt idx="13">
                  <c:v>058</c:v>
                </c:pt>
                <c:pt idx="14">
                  <c:v>069</c:v>
                </c:pt>
                <c:pt idx="15">
                  <c:v>0710</c:v>
                </c:pt>
                <c:pt idx="16">
                  <c:v>0711</c:v>
                </c:pt>
                <c:pt idx="17">
                  <c:v>0511</c:v>
                </c:pt>
                <c:pt idx="18">
                  <c:v>0612</c:v>
                </c:pt>
                <c:pt idx="19">
                  <c:v>0713</c:v>
                </c:pt>
              </c:strCache>
            </c:strRef>
          </c:cat>
          <c:val>
            <c:numRef>
              <c:f>Sheet1!$B$3:$U$3</c:f>
              <c:numCache>
                <c:formatCode>0.0</c:formatCode>
                <c:ptCount val="20"/>
                <c:pt idx="1">
                  <c:v>10</c:v>
                </c:pt>
                <c:pt idx="2">
                  <c:v>8</c:v>
                </c:pt>
                <c:pt idx="3">
                  <c:v>6</c:v>
                </c:pt>
                <c:pt idx="5">
                  <c:v>10</c:v>
                </c:pt>
                <c:pt idx="6">
                  <c:v>8</c:v>
                </c:pt>
                <c:pt idx="7">
                  <c:v>6</c:v>
                </c:pt>
                <c:pt idx="9">
                  <c:v>10</c:v>
                </c:pt>
                <c:pt idx="10">
                  <c:v>8</c:v>
                </c:pt>
                <c:pt idx="11">
                  <c:v>6</c:v>
                </c:pt>
                <c:pt idx="13">
                  <c:v>10</c:v>
                </c:pt>
                <c:pt idx="14">
                  <c:v>8</c:v>
                </c:pt>
                <c:pt idx="15">
                  <c:v>6</c:v>
                </c:pt>
                <c:pt idx="17">
                  <c:v>10</c:v>
                </c:pt>
                <c:pt idx="18">
                  <c:v>8</c:v>
                </c:pt>
                <c:pt idx="19">
                  <c:v>6</c:v>
                </c:pt>
              </c:numCache>
            </c:numRef>
          </c:val>
        </c:ser>
        <c:ser>
          <c:idx val="2"/>
          <c:order val="2"/>
          <c:tx>
            <c:strRef>
              <c:f>Sheet1!$A$4</c:f>
              <c:strCache>
                <c:ptCount val="1"/>
                <c:pt idx="0">
                  <c:v>C</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U$1</c:f>
              <c:strCache>
                <c:ptCount val="20"/>
                <c:pt idx="0">
                  <c:v>Column2</c:v>
                </c:pt>
                <c:pt idx="1">
                  <c:v>05</c:v>
                </c:pt>
                <c:pt idx="2">
                  <c:v>06</c:v>
                </c:pt>
                <c:pt idx="3">
                  <c:v>07</c:v>
                </c:pt>
                <c:pt idx="4">
                  <c:v>08</c:v>
                </c:pt>
                <c:pt idx="5">
                  <c:v>052</c:v>
                </c:pt>
                <c:pt idx="6">
                  <c:v>063</c:v>
                </c:pt>
                <c:pt idx="7">
                  <c:v>074</c:v>
                </c:pt>
                <c:pt idx="8">
                  <c:v>075</c:v>
                </c:pt>
                <c:pt idx="9">
                  <c:v>055</c:v>
                </c:pt>
                <c:pt idx="10">
                  <c:v>066</c:v>
                </c:pt>
                <c:pt idx="11">
                  <c:v>077</c:v>
                </c:pt>
                <c:pt idx="12">
                  <c:v>078</c:v>
                </c:pt>
                <c:pt idx="13">
                  <c:v>058</c:v>
                </c:pt>
                <c:pt idx="14">
                  <c:v>069</c:v>
                </c:pt>
                <c:pt idx="15">
                  <c:v>0710</c:v>
                </c:pt>
                <c:pt idx="16">
                  <c:v>0711</c:v>
                </c:pt>
                <c:pt idx="17">
                  <c:v>0511</c:v>
                </c:pt>
                <c:pt idx="18">
                  <c:v>0612</c:v>
                </c:pt>
                <c:pt idx="19">
                  <c:v>0713</c:v>
                </c:pt>
              </c:strCache>
            </c:strRef>
          </c:cat>
          <c:val>
            <c:numRef>
              <c:f>Sheet1!$B$4:$U$4</c:f>
              <c:numCache>
                <c:formatCode>0.0</c:formatCode>
                <c:ptCount val="20"/>
                <c:pt idx="1">
                  <c:v>10</c:v>
                </c:pt>
                <c:pt idx="2">
                  <c:v>8</c:v>
                </c:pt>
                <c:pt idx="3">
                  <c:v>6</c:v>
                </c:pt>
                <c:pt idx="5">
                  <c:v>10</c:v>
                </c:pt>
                <c:pt idx="6">
                  <c:v>8</c:v>
                </c:pt>
                <c:pt idx="7">
                  <c:v>6</c:v>
                </c:pt>
                <c:pt idx="9">
                  <c:v>10</c:v>
                </c:pt>
                <c:pt idx="10">
                  <c:v>8</c:v>
                </c:pt>
                <c:pt idx="11">
                  <c:v>6</c:v>
                </c:pt>
                <c:pt idx="13">
                  <c:v>10</c:v>
                </c:pt>
                <c:pt idx="14">
                  <c:v>8</c:v>
                </c:pt>
                <c:pt idx="15">
                  <c:v>6</c:v>
                </c:pt>
                <c:pt idx="17">
                  <c:v>10</c:v>
                </c:pt>
                <c:pt idx="18">
                  <c:v>8</c:v>
                </c:pt>
                <c:pt idx="19">
                  <c:v>6</c:v>
                </c:pt>
              </c:numCache>
            </c:numRef>
          </c:val>
        </c:ser>
        <c:ser>
          <c:idx val="3"/>
          <c:order val="3"/>
          <c:tx>
            <c:strRef>
              <c:f>Sheet1!$A$5</c:f>
              <c:strCache>
                <c:ptCount val="1"/>
                <c:pt idx="0">
                  <c:v>D</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U$1</c:f>
              <c:strCache>
                <c:ptCount val="20"/>
                <c:pt idx="0">
                  <c:v>Column2</c:v>
                </c:pt>
                <c:pt idx="1">
                  <c:v>05</c:v>
                </c:pt>
                <c:pt idx="2">
                  <c:v>06</c:v>
                </c:pt>
                <c:pt idx="3">
                  <c:v>07</c:v>
                </c:pt>
                <c:pt idx="4">
                  <c:v>08</c:v>
                </c:pt>
                <c:pt idx="5">
                  <c:v>052</c:v>
                </c:pt>
                <c:pt idx="6">
                  <c:v>063</c:v>
                </c:pt>
                <c:pt idx="7">
                  <c:v>074</c:v>
                </c:pt>
                <c:pt idx="8">
                  <c:v>075</c:v>
                </c:pt>
                <c:pt idx="9">
                  <c:v>055</c:v>
                </c:pt>
                <c:pt idx="10">
                  <c:v>066</c:v>
                </c:pt>
                <c:pt idx="11">
                  <c:v>077</c:v>
                </c:pt>
                <c:pt idx="12">
                  <c:v>078</c:v>
                </c:pt>
                <c:pt idx="13">
                  <c:v>058</c:v>
                </c:pt>
                <c:pt idx="14">
                  <c:v>069</c:v>
                </c:pt>
                <c:pt idx="15">
                  <c:v>0710</c:v>
                </c:pt>
                <c:pt idx="16">
                  <c:v>0711</c:v>
                </c:pt>
                <c:pt idx="17">
                  <c:v>0511</c:v>
                </c:pt>
                <c:pt idx="18">
                  <c:v>0612</c:v>
                </c:pt>
                <c:pt idx="19">
                  <c:v>0713</c:v>
                </c:pt>
              </c:strCache>
            </c:strRef>
          </c:cat>
          <c:val>
            <c:numRef>
              <c:f>Sheet1!$B$5:$U$5</c:f>
              <c:numCache>
                <c:formatCode>0.0</c:formatCode>
                <c:ptCount val="20"/>
                <c:pt idx="1">
                  <c:v>10</c:v>
                </c:pt>
                <c:pt idx="2">
                  <c:v>8</c:v>
                </c:pt>
                <c:pt idx="3">
                  <c:v>6</c:v>
                </c:pt>
                <c:pt idx="5">
                  <c:v>10</c:v>
                </c:pt>
                <c:pt idx="6">
                  <c:v>8</c:v>
                </c:pt>
                <c:pt idx="7">
                  <c:v>6</c:v>
                </c:pt>
                <c:pt idx="9">
                  <c:v>10</c:v>
                </c:pt>
                <c:pt idx="10">
                  <c:v>8</c:v>
                </c:pt>
                <c:pt idx="11">
                  <c:v>6</c:v>
                </c:pt>
                <c:pt idx="13">
                  <c:v>10</c:v>
                </c:pt>
                <c:pt idx="14">
                  <c:v>8</c:v>
                </c:pt>
                <c:pt idx="15">
                  <c:v>6</c:v>
                </c:pt>
                <c:pt idx="17">
                  <c:v>10</c:v>
                </c:pt>
                <c:pt idx="18">
                  <c:v>8</c:v>
                </c:pt>
                <c:pt idx="19">
                  <c:v>6</c:v>
                </c:pt>
              </c:numCache>
            </c:numRef>
          </c:val>
        </c:ser>
        <c:dLbls>
          <c:showLegendKey val="0"/>
          <c:showVal val="1"/>
          <c:showCatName val="0"/>
          <c:showSerName val="0"/>
          <c:showPercent val="0"/>
          <c:showBubbleSize val="0"/>
        </c:dLbls>
        <c:gapWidth val="0"/>
        <c:overlap val="100"/>
        <c:axId val="1954823616"/>
        <c:axId val="1954827424"/>
      </c:barChart>
      <c:catAx>
        <c:axId val="1954823616"/>
        <c:scaling>
          <c:orientation val="minMax"/>
        </c:scaling>
        <c:delete val="0"/>
        <c:axPos val="b"/>
        <c:numFmt formatCode="General" sourceLinked="0"/>
        <c:majorTickMark val="out"/>
        <c:minorTickMark val="none"/>
        <c:tickLblPos val="none"/>
        <c:spPr>
          <a:ln>
            <a:solidFill>
              <a:schemeClr val="tx2"/>
            </a:solidFill>
          </a:ln>
        </c:spPr>
        <c:txPr>
          <a:bodyPr/>
          <a:lstStyle/>
          <a:p>
            <a:pPr>
              <a:defRPr lang="nl-NL">
                <a:solidFill>
                  <a:schemeClr val="tx2"/>
                </a:solidFill>
              </a:defRPr>
            </a:pPr>
            <a:endParaRPr lang="en-US"/>
          </a:p>
        </c:txPr>
        <c:crossAx val="1954827424"/>
        <c:crosses val="autoZero"/>
        <c:auto val="1"/>
        <c:lblAlgn val="ctr"/>
        <c:lblOffset val="100"/>
        <c:noMultiLvlLbl val="0"/>
      </c:catAx>
      <c:valAx>
        <c:axId val="1954827424"/>
        <c:scaling>
          <c:orientation val="minMax"/>
          <c:max val="40"/>
        </c:scaling>
        <c:delete val="0"/>
        <c:axPos val="l"/>
        <c:numFmt formatCode="0.0"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54823616"/>
        <c:crosses val="autoZero"/>
        <c:crossBetween val="between"/>
        <c:majorUnit val="10"/>
      </c:valAx>
    </c:plotArea>
    <c:legend>
      <c:legendPos val="r"/>
      <c:layout>
        <c:manualLayout>
          <c:xMode val="edge"/>
          <c:yMode val="edge"/>
          <c:x val="0.92760664259074965"/>
          <c:y val="4.0269294178923984E-2"/>
          <c:w val="3.7409968734216564E-2"/>
          <c:h val="0.25611794624592726"/>
        </c:manualLayout>
      </c:layout>
      <c:overlay val="1"/>
      <c:txPr>
        <a:bodyPr/>
        <a:lstStyle/>
        <a:p>
          <a:pPr>
            <a:defRPr lang="nl-NL">
              <a:solidFill>
                <a:schemeClr val="tx2"/>
              </a:solidFill>
            </a:defRPr>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489E-2"/>
          <c:y val="4.6153842659460646E-2"/>
          <c:w val="0.8743456178099569"/>
          <c:h val="0.86692770541128861"/>
        </c:manualLayout>
      </c:layout>
      <c:areaChart>
        <c:grouping val="stacked"/>
        <c:varyColors val="0"/>
        <c:ser>
          <c:idx val="0"/>
          <c:order val="0"/>
          <c:tx>
            <c:strRef>
              <c:f>Sheet1!$A$2</c:f>
              <c:strCache>
                <c:ptCount val="1"/>
                <c:pt idx="0">
                  <c:v>East</c:v>
                </c:pt>
              </c:strCache>
            </c:strRef>
          </c:tx>
          <c:spPr>
            <a:ln>
              <a:solidFill>
                <a:schemeClr val="bg1"/>
              </a:solidFill>
            </a:ln>
          </c:spPr>
          <c:dLbls>
            <c:delete val="1"/>
          </c:dLbls>
          <c:cat>
            <c:strRef>
              <c:f>Sheet1!$B$1:$E$1</c:f>
              <c:strCache>
                <c:ptCount val="4"/>
                <c:pt idx="0">
                  <c:v>2002</c:v>
                </c:pt>
                <c:pt idx="1">
                  <c:v>2003</c:v>
                </c:pt>
                <c:pt idx="2">
                  <c:v>2004</c:v>
                </c:pt>
                <c:pt idx="3">
                  <c:v>2005</c:v>
                </c:pt>
              </c:strCache>
            </c:strRef>
          </c:cat>
          <c:val>
            <c:numRef>
              <c:f>Sheet1!$B$2:$E$2</c:f>
              <c:numCache>
                <c:formatCode>General</c:formatCode>
                <c:ptCount val="4"/>
                <c:pt idx="0">
                  <c:v>20.399999999999999</c:v>
                </c:pt>
                <c:pt idx="1">
                  <c:v>27.4</c:v>
                </c:pt>
                <c:pt idx="2">
                  <c:v>90</c:v>
                </c:pt>
                <c:pt idx="3">
                  <c:v>20.399999999999999</c:v>
                </c:pt>
              </c:numCache>
            </c:numRef>
          </c:val>
        </c:ser>
        <c:ser>
          <c:idx val="1"/>
          <c:order val="1"/>
          <c:tx>
            <c:strRef>
              <c:f>Sheet1!$A$3</c:f>
              <c:strCache>
                <c:ptCount val="1"/>
                <c:pt idx="0">
                  <c:v>West</c:v>
                </c:pt>
              </c:strCache>
            </c:strRef>
          </c:tx>
          <c:spPr>
            <a:ln>
              <a:solidFill>
                <a:schemeClr val="bg1"/>
              </a:solidFill>
            </a:ln>
          </c:spPr>
          <c:dLbls>
            <c:delete val="1"/>
          </c:dLbls>
          <c:cat>
            <c:strRef>
              <c:f>Sheet1!$B$1:$E$1</c:f>
              <c:strCache>
                <c:ptCount val="4"/>
                <c:pt idx="0">
                  <c:v>2002</c:v>
                </c:pt>
                <c:pt idx="1">
                  <c:v>2003</c:v>
                </c:pt>
                <c:pt idx="2">
                  <c:v>2004</c:v>
                </c:pt>
                <c:pt idx="3">
                  <c:v>2005</c:v>
                </c:pt>
              </c:strCache>
            </c:strRef>
          </c:cat>
          <c:val>
            <c:numRef>
              <c:f>Sheet1!$B$3:$E$3</c:f>
              <c:numCache>
                <c:formatCode>General</c:formatCode>
                <c:ptCount val="4"/>
                <c:pt idx="0">
                  <c:v>30.6</c:v>
                </c:pt>
                <c:pt idx="1">
                  <c:v>38.6</c:v>
                </c:pt>
                <c:pt idx="2">
                  <c:v>34.6</c:v>
                </c:pt>
                <c:pt idx="3">
                  <c:v>31.6</c:v>
                </c:pt>
              </c:numCache>
            </c:numRef>
          </c:val>
        </c:ser>
        <c:ser>
          <c:idx val="2"/>
          <c:order val="2"/>
          <c:tx>
            <c:strRef>
              <c:f>Sheet1!$A$4</c:f>
              <c:strCache>
                <c:ptCount val="1"/>
                <c:pt idx="0">
                  <c:v>North</c:v>
                </c:pt>
              </c:strCache>
            </c:strRef>
          </c:tx>
          <c:spPr>
            <a:ln>
              <a:solidFill>
                <a:schemeClr val="bg1"/>
              </a:solidFill>
            </a:ln>
          </c:spPr>
          <c:dLbls>
            <c:delete val="1"/>
          </c:dLbls>
          <c:cat>
            <c:strRef>
              <c:f>Sheet1!$B$1:$E$1</c:f>
              <c:strCache>
                <c:ptCount val="4"/>
                <c:pt idx="0">
                  <c:v>2002</c:v>
                </c:pt>
                <c:pt idx="1">
                  <c:v>2003</c:v>
                </c:pt>
                <c:pt idx="2">
                  <c:v>2004</c:v>
                </c:pt>
                <c:pt idx="3">
                  <c:v>2005</c:v>
                </c:pt>
              </c:strCache>
            </c:strRef>
          </c:cat>
          <c:val>
            <c:numRef>
              <c:f>Sheet1!$B$4:$E$4</c:f>
              <c:numCache>
                <c:formatCode>General</c:formatCode>
                <c:ptCount val="4"/>
                <c:pt idx="0">
                  <c:v>45.9</c:v>
                </c:pt>
                <c:pt idx="1">
                  <c:v>46.9</c:v>
                </c:pt>
                <c:pt idx="2">
                  <c:v>45</c:v>
                </c:pt>
                <c:pt idx="3">
                  <c:v>43.9</c:v>
                </c:pt>
              </c:numCache>
            </c:numRef>
          </c:val>
        </c:ser>
        <c:ser>
          <c:idx val="3"/>
          <c:order val="3"/>
          <c:tx>
            <c:strRef>
              <c:f>Sheet1!$A$5</c:f>
              <c:strCache>
                <c:ptCount val="1"/>
                <c:pt idx="0">
                  <c:v>South</c:v>
                </c:pt>
              </c:strCache>
            </c:strRef>
          </c:tx>
          <c:spPr>
            <a:ln>
              <a:solidFill>
                <a:schemeClr val="bg1"/>
              </a:solidFill>
            </a:ln>
          </c:spPr>
          <c:dLbls>
            <c:delete val="1"/>
          </c:dLbls>
          <c:cat>
            <c:strRef>
              <c:f>Sheet1!$B$1:$E$1</c:f>
              <c:strCache>
                <c:ptCount val="4"/>
                <c:pt idx="0">
                  <c:v>2002</c:v>
                </c:pt>
                <c:pt idx="1">
                  <c:v>2003</c:v>
                </c:pt>
                <c:pt idx="2">
                  <c:v>2004</c:v>
                </c:pt>
                <c:pt idx="3">
                  <c:v>2005</c:v>
                </c:pt>
              </c:strCache>
            </c:strRef>
          </c:cat>
          <c:val>
            <c:numRef>
              <c:f>Sheet1!$B$5:$E$5</c:f>
              <c:numCache>
                <c:formatCode>General</c:formatCode>
                <c:ptCount val="4"/>
                <c:pt idx="0">
                  <c:v>12.3</c:v>
                </c:pt>
                <c:pt idx="1">
                  <c:v>14.7</c:v>
                </c:pt>
                <c:pt idx="2">
                  <c:v>25.6</c:v>
                </c:pt>
                <c:pt idx="3">
                  <c:v>33.1</c:v>
                </c:pt>
              </c:numCache>
            </c:numRef>
          </c:val>
        </c:ser>
        <c:dLbls>
          <c:showLegendKey val="0"/>
          <c:showVal val="1"/>
          <c:showCatName val="0"/>
          <c:showSerName val="0"/>
          <c:showPercent val="0"/>
          <c:showBubbleSize val="0"/>
        </c:dLbls>
        <c:axId val="1954827968"/>
        <c:axId val="1954832320"/>
      </c:areaChart>
      <c:catAx>
        <c:axId val="1954827968"/>
        <c:scaling>
          <c:orientation val="minMax"/>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54832320"/>
        <c:crosses val="autoZero"/>
        <c:auto val="1"/>
        <c:lblAlgn val="ctr"/>
        <c:lblOffset val="100"/>
        <c:noMultiLvlLbl val="0"/>
      </c:catAx>
      <c:valAx>
        <c:axId val="1954832320"/>
        <c:scaling>
          <c:orientation val="minMax"/>
          <c:max val="200"/>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54827968"/>
        <c:crosses val="autoZero"/>
        <c:crossBetween val="midCat"/>
        <c:majorUnit val="50"/>
      </c:valAx>
    </c:plotArea>
    <c:plotVisOnly val="1"/>
    <c:dispBlanksAs val="zero"/>
    <c:showDLblsOverMax val="0"/>
  </c:chart>
  <c:txPr>
    <a:bodyPr/>
    <a:lstStyle/>
    <a:p>
      <a:pPr>
        <a:defRPr sz="12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84331032632564E-2"/>
          <c:y val="4.6153842659460646E-2"/>
          <c:w val="0.88414094578388613"/>
          <c:h val="0.86692770541128861"/>
        </c:manualLayout>
      </c:layout>
      <c:barChart>
        <c:barDir val="bar"/>
        <c:grouping val="stacked"/>
        <c:varyColors val="0"/>
        <c:ser>
          <c:idx val="0"/>
          <c:order val="0"/>
          <c:tx>
            <c:strRef>
              <c:f>Sheet1!$B$1</c:f>
              <c:strCache>
                <c:ptCount val="1"/>
                <c:pt idx="0">
                  <c:v>A</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ser>
          <c:idx val="1"/>
          <c:order val="1"/>
          <c:tx>
            <c:strRef>
              <c:f>Sheet1!$C$1</c:f>
              <c:strCache>
                <c:ptCount val="1"/>
                <c:pt idx="0">
                  <c:v>B</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C$2:$C$4</c:f>
              <c:numCache>
                <c:formatCode>General</c:formatCode>
                <c:ptCount val="3"/>
                <c:pt idx="0">
                  <c:v>46.9</c:v>
                </c:pt>
                <c:pt idx="1">
                  <c:v>38.6</c:v>
                </c:pt>
                <c:pt idx="2">
                  <c:v>45.6</c:v>
                </c:pt>
              </c:numCache>
            </c:numRef>
          </c:val>
        </c:ser>
        <c:ser>
          <c:idx val="2"/>
          <c:order val="2"/>
          <c:tx>
            <c:strRef>
              <c:f>Sheet1!$D$1</c:f>
              <c:strCache>
                <c:ptCount val="1"/>
                <c:pt idx="0">
                  <c:v>C</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D$2:$D$4</c:f>
              <c:numCache>
                <c:formatCode>General</c:formatCode>
                <c:ptCount val="3"/>
                <c:pt idx="0">
                  <c:v>45</c:v>
                </c:pt>
                <c:pt idx="1">
                  <c:v>34.6</c:v>
                </c:pt>
                <c:pt idx="2">
                  <c:v>39.200000000000003</c:v>
                </c:pt>
              </c:numCache>
            </c:numRef>
          </c:val>
        </c:ser>
        <c:ser>
          <c:idx val="3"/>
          <c:order val="3"/>
          <c:tx>
            <c:strRef>
              <c:f>Sheet1!$E$1</c:f>
              <c:strCache>
                <c:ptCount val="1"/>
                <c:pt idx="0">
                  <c:v>D</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ast</c:v>
                </c:pt>
                <c:pt idx="1">
                  <c:v>West</c:v>
                </c:pt>
                <c:pt idx="2">
                  <c:v>North</c:v>
                </c:pt>
              </c:strCache>
            </c:strRef>
          </c:cat>
          <c:val>
            <c:numRef>
              <c:f>Sheet1!$E$2:$E$4</c:f>
              <c:numCache>
                <c:formatCode>General</c:formatCode>
                <c:ptCount val="3"/>
                <c:pt idx="0">
                  <c:v>43.9</c:v>
                </c:pt>
                <c:pt idx="1">
                  <c:v>31.6</c:v>
                </c:pt>
                <c:pt idx="2">
                  <c:v>30.4</c:v>
                </c:pt>
              </c:numCache>
            </c:numRef>
          </c:val>
        </c:ser>
        <c:dLbls>
          <c:showLegendKey val="0"/>
          <c:showVal val="1"/>
          <c:showCatName val="0"/>
          <c:showSerName val="0"/>
          <c:showPercent val="0"/>
          <c:showBubbleSize val="0"/>
        </c:dLbls>
        <c:gapWidth val="150"/>
        <c:overlap val="100"/>
        <c:axId val="1963868272"/>
        <c:axId val="1761733744"/>
      </c:barChart>
      <c:catAx>
        <c:axId val="1963868272"/>
        <c:scaling>
          <c:orientation val="minMax"/>
        </c:scaling>
        <c:delete val="0"/>
        <c:axPos val="l"/>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1761733744"/>
        <c:crosses val="autoZero"/>
        <c:auto val="1"/>
        <c:lblAlgn val="ctr"/>
        <c:lblOffset val="100"/>
        <c:noMultiLvlLbl val="0"/>
      </c:catAx>
      <c:valAx>
        <c:axId val="1761733744"/>
        <c:scaling>
          <c:orientation val="minMax"/>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63868272"/>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489E-2"/>
          <c:y val="4.6153842659460646E-2"/>
          <c:w val="0.87434561780995712"/>
          <c:h val="0.86692770541128861"/>
        </c:manualLayout>
      </c:layout>
      <c:areaChart>
        <c:grouping val="percentStacked"/>
        <c:varyColors val="0"/>
        <c:ser>
          <c:idx val="0"/>
          <c:order val="0"/>
          <c:tx>
            <c:strRef>
              <c:f>Sheet1!$A$2</c:f>
              <c:strCache>
                <c:ptCount val="1"/>
                <c:pt idx="0">
                  <c:v>East</c:v>
                </c:pt>
              </c:strCache>
            </c:strRef>
          </c:tx>
          <c:spPr>
            <a:ln>
              <a:solidFill>
                <a:schemeClr val="bg1"/>
              </a:solidFill>
            </a:ln>
          </c:spPr>
          <c:dLbls>
            <c:delete val="1"/>
          </c:dLbls>
          <c:cat>
            <c:strRef>
              <c:f>Sheet1!$B$1:$E$1</c:f>
              <c:strCache>
                <c:ptCount val="4"/>
                <c:pt idx="0">
                  <c:v>2002</c:v>
                </c:pt>
                <c:pt idx="1">
                  <c:v>2003</c:v>
                </c:pt>
                <c:pt idx="2">
                  <c:v>2004</c:v>
                </c:pt>
                <c:pt idx="3">
                  <c:v>2005</c:v>
                </c:pt>
              </c:strCache>
            </c:strRef>
          </c:cat>
          <c:val>
            <c:numRef>
              <c:f>Sheet1!$B$2:$E$2</c:f>
              <c:numCache>
                <c:formatCode>General</c:formatCode>
                <c:ptCount val="4"/>
                <c:pt idx="0">
                  <c:v>20.399999999999999</c:v>
                </c:pt>
                <c:pt idx="1">
                  <c:v>27.4</c:v>
                </c:pt>
                <c:pt idx="2">
                  <c:v>90</c:v>
                </c:pt>
                <c:pt idx="3">
                  <c:v>20.399999999999999</c:v>
                </c:pt>
              </c:numCache>
            </c:numRef>
          </c:val>
        </c:ser>
        <c:ser>
          <c:idx val="1"/>
          <c:order val="1"/>
          <c:tx>
            <c:strRef>
              <c:f>Sheet1!$A$3</c:f>
              <c:strCache>
                <c:ptCount val="1"/>
                <c:pt idx="0">
                  <c:v>West</c:v>
                </c:pt>
              </c:strCache>
            </c:strRef>
          </c:tx>
          <c:spPr>
            <a:ln>
              <a:solidFill>
                <a:schemeClr val="bg1"/>
              </a:solidFill>
            </a:ln>
          </c:spPr>
          <c:dLbls>
            <c:delete val="1"/>
          </c:dLbls>
          <c:cat>
            <c:strRef>
              <c:f>Sheet1!$B$1:$E$1</c:f>
              <c:strCache>
                <c:ptCount val="4"/>
                <c:pt idx="0">
                  <c:v>2002</c:v>
                </c:pt>
                <c:pt idx="1">
                  <c:v>2003</c:v>
                </c:pt>
                <c:pt idx="2">
                  <c:v>2004</c:v>
                </c:pt>
                <c:pt idx="3">
                  <c:v>2005</c:v>
                </c:pt>
              </c:strCache>
            </c:strRef>
          </c:cat>
          <c:val>
            <c:numRef>
              <c:f>Sheet1!$B$3:$E$3</c:f>
              <c:numCache>
                <c:formatCode>General</c:formatCode>
                <c:ptCount val="4"/>
                <c:pt idx="0">
                  <c:v>30.6</c:v>
                </c:pt>
                <c:pt idx="1">
                  <c:v>38.6</c:v>
                </c:pt>
                <c:pt idx="2">
                  <c:v>34.6</c:v>
                </c:pt>
                <c:pt idx="3">
                  <c:v>31.6</c:v>
                </c:pt>
              </c:numCache>
            </c:numRef>
          </c:val>
        </c:ser>
        <c:ser>
          <c:idx val="2"/>
          <c:order val="2"/>
          <c:tx>
            <c:strRef>
              <c:f>Sheet1!$A$4</c:f>
              <c:strCache>
                <c:ptCount val="1"/>
                <c:pt idx="0">
                  <c:v>North</c:v>
                </c:pt>
              </c:strCache>
            </c:strRef>
          </c:tx>
          <c:spPr>
            <a:ln>
              <a:solidFill>
                <a:schemeClr val="bg1"/>
              </a:solidFill>
            </a:ln>
          </c:spPr>
          <c:dLbls>
            <c:delete val="1"/>
          </c:dLbls>
          <c:cat>
            <c:strRef>
              <c:f>Sheet1!$B$1:$E$1</c:f>
              <c:strCache>
                <c:ptCount val="4"/>
                <c:pt idx="0">
                  <c:v>2002</c:v>
                </c:pt>
                <c:pt idx="1">
                  <c:v>2003</c:v>
                </c:pt>
                <c:pt idx="2">
                  <c:v>2004</c:v>
                </c:pt>
                <c:pt idx="3">
                  <c:v>2005</c:v>
                </c:pt>
              </c:strCache>
            </c:strRef>
          </c:cat>
          <c:val>
            <c:numRef>
              <c:f>Sheet1!$B$4:$E$4</c:f>
              <c:numCache>
                <c:formatCode>General</c:formatCode>
                <c:ptCount val="4"/>
                <c:pt idx="0">
                  <c:v>45.9</c:v>
                </c:pt>
                <c:pt idx="1">
                  <c:v>46.9</c:v>
                </c:pt>
                <c:pt idx="2">
                  <c:v>45</c:v>
                </c:pt>
                <c:pt idx="3">
                  <c:v>43.9</c:v>
                </c:pt>
              </c:numCache>
            </c:numRef>
          </c:val>
        </c:ser>
        <c:ser>
          <c:idx val="3"/>
          <c:order val="3"/>
          <c:tx>
            <c:strRef>
              <c:f>Sheet1!$A$5</c:f>
              <c:strCache>
                <c:ptCount val="1"/>
                <c:pt idx="0">
                  <c:v>South</c:v>
                </c:pt>
              </c:strCache>
            </c:strRef>
          </c:tx>
          <c:spPr>
            <a:ln>
              <a:solidFill>
                <a:schemeClr val="bg1"/>
              </a:solidFill>
            </a:ln>
          </c:spPr>
          <c:dLbls>
            <c:delete val="1"/>
          </c:dLbls>
          <c:cat>
            <c:strRef>
              <c:f>Sheet1!$B$1:$E$1</c:f>
              <c:strCache>
                <c:ptCount val="4"/>
                <c:pt idx="0">
                  <c:v>2002</c:v>
                </c:pt>
                <c:pt idx="1">
                  <c:v>2003</c:v>
                </c:pt>
                <c:pt idx="2">
                  <c:v>2004</c:v>
                </c:pt>
                <c:pt idx="3">
                  <c:v>2005</c:v>
                </c:pt>
              </c:strCache>
            </c:strRef>
          </c:cat>
          <c:val>
            <c:numRef>
              <c:f>Sheet1!$B$5:$E$5</c:f>
              <c:numCache>
                <c:formatCode>General</c:formatCode>
                <c:ptCount val="4"/>
                <c:pt idx="0">
                  <c:v>12.3</c:v>
                </c:pt>
                <c:pt idx="1">
                  <c:v>14.7</c:v>
                </c:pt>
                <c:pt idx="2">
                  <c:v>25.6</c:v>
                </c:pt>
                <c:pt idx="3">
                  <c:v>33.1</c:v>
                </c:pt>
              </c:numCache>
            </c:numRef>
          </c:val>
        </c:ser>
        <c:dLbls>
          <c:showLegendKey val="0"/>
          <c:showVal val="1"/>
          <c:showCatName val="0"/>
          <c:showSerName val="0"/>
          <c:showPercent val="0"/>
          <c:showBubbleSize val="0"/>
        </c:dLbls>
        <c:axId val="1954826336"/>
        <c:axId val="1954820352"/>
      </c:areaChart>
      <c:catAx>
        <c:axId val="1954826336"/>
        <c:scaling>
          <c:orientation val="minMax"/>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54820352"/>
        <c:crosses val="autoZero"/>
        <c:auto val="1"/>
        <c:lblAlgn val="ctr"/>
        <c:lblOffset val="100"/>
        <c:noMultiLvlLbl val="0"/>
      </c:catAx>
      <c:valAx>
        <c:axId val="1954820352"/>
        <c:scaling>
          <c:orientation val="minMax"/>
        </c:scaling>
        <c:delete val="0"/>
        <c:axPos val="l"/>
        <c:numFmt formatCode="0%"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54826336"/>
        <c:crosses val="autoZero"/>
        <c:crossBetween val="midCat"/>
      </c:valAx>
    </c:plotArea>
    <c:plotVisOnly val="1"/>
    <c:dispBlanksAs val="zero"/>
    <c:showDLblsOverMax val="0"/>
  </c:chart>
  <c:txPr>
    <a:bodyPr/>
    <a:lstStyle/>
    <a:p>
      <a:pPr>
        <a:defRPr sz="12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564E-2"/>
          <c:y val="4.6153842659460646E-2"/>
          <c:w val="0.88414094578388613"/>
          <c:h val="0.86692770541128861"/>
        </c:manualLayout>
      </c:layout>
      <c:pieChart>
        <c:varyColors val="1"/>
        <c:ser>
          <c:idx val="0"/>
          <c:order val="0"/>
          <c:tx>
            <c:strRef>
              <c:f>Sheet1!$B$1</c:f>
              <c:strCache>
                <c:ptCount val="1"/>
                <c:pt idx="0">
                  <c:v>Q1</c:v>
                </c:pt>
              </c:strCache>
            </c:strRef>
          </c:tx>
          <c:spPr>
            <a:ln w="12700">
              <a:solidFill>
                <a:schemeClr val="bg1"/>
              </a:solidFill>
            </a:ln>
          </c:spPr>
          <c:dPt>
            <c:idx val="0"/>
            <c:bubble3D val="0"/>
            <c:spPr>
              <a:solidFill>
                <a:schemeClr val="accent1"/>
              </a:solidFill>
              <a:ln w="12700">
                <a:solidFill>
                  <a:schemeClr val="bg1"/>
                </a:solidFill>
              </a:ln>
            </c:spPr>
          </c:dPt>
          <c:dPt>
            <c:idx val="1"/>
            <c:bubble3D val="0"/>
            <c:spPr>
              <a:solidFill>
                <a:schemeClr val="accent2"/>
              </a:solidFill>
              <a:ln w="12700">
                <a:solidFill>
                  <a:schemeClr val="bg1"/>
                </a:solidFill>
              </a:ln>
            </c:spPr>
          </c:dPt>
          <c:dPt>
            <c:idx val="2"/>
            <c:bubble3D val="0"/>
            <c:spPr>
              <a:solidFill>
                <a:schemeClr val="accent3"/>
              </a:solidFill>
              <a:ln w="12700">
                <a:solidFill>
                  <a:schemeClr val="bg1"/>
                </a:solidFill>
              </a:ln>
            </c:spPr>
          </c:dPt>
          <c:dPt>
            <c:idx val="3"/>
            <c:bubble3D val="0"/>
            <c:spPr>
              <a:solidFill>
                <a:schemeClr val="accent4"/>
              </a:solidFill>
              <a:ln w="12700">
                <a:solidFill>
                  <a:schemeClr val="bg1"/>
                </a:solidFill>
              </a:ln>
            </c:spPr>
          </c:dPt>
          <c:dPt>
            <c:idx val="4"/>
            <c:bubble3D val="0"/>
            <c:spPr>
              <a:solidFill>
                <a:schemeClr val="accent5"/>
              </a:solidFill>
              <a:ln w="12700">
                <a:solidFill>
                  <a:schemeClr val="bg1"/>
                </a:solidFill>
              </a:ln>
            </c:spPr>
          </c:dPt>
          <c:dLbls>
            <c:dLbl>
              <c:idx val="0"/>
              <c:spPr/>
              <c:txPr>
                <a:bodyPr/>
                <a:lstStyle/>
                <a:p>
                  <a:pPr>
                    <a:defRPr lang="nl-NL" b="1">
                      <a:solidFill>
                        <a:schemeClr val="bg1"/>
                      </a:solidFill>
                    </a:defRPr>
                  </a:pPr>
                  <a:endParaRPr lang="en-US"/>
                </a:p>
              </c:txPr>
              <c:dLblPos val="inEnd"/>
              <c:showLegendKey val="0"/>
              <c:showVal val="0"/>
              <c:showCatName val="1"/>
              <c:showSerName val="0"/>
              <c:showPercent val="0"/>
              <c:showBubbleSize val="0"/>
            </c:dLbl>
            <c:dLbl>
              <c:idx val="1"/>
              <c:spPr/>
              <c:txPr>
                <a:bodyPr/>
                <a:lstStyle/>
                <a:p>
                  <a:pPr>
                    <a:defRPr lang="nl-NL" b="1">
                      <a:solidFill>
                        <a:schemeClr val="bg1"/>
                      </a:solidFill>
                    </a:defRPr>
                  </a:pPr>
                  <a:endParaRPr lang="en-US"/>
                </a:p>
              </c:txPr>
              <c:dLblPos val="inEnd"/>
              <c:showLegendKey val="0"/>
              <c:showVal val="0"/>
              <c:showCatName val="1"/>
              <c:showSerName val="0"/>
              <c:showPercent val="0"/>
              <c:showBubbleSize val="0"/>
            </c:dLbl>
            <c:dLbl>
              <c:idx val="2"/>
              <c:spPr/>
              <c:txPr>
                <a:bodyPr/>
                <a:lstStyle/>
                <a:p>
                  <a:pPr>
                    <a:defRPr lang="nl-NL" b="1">
                      <a:solidFill>
                        <a:schemeClr val="bg1"/>
                      </a:solidFill>
                    </a:defRPr>
                  </a:pPr>
                  <a:endParaRPr lang="en-US"/>
                </a:p>
              </c:txPr>
              <c:dLblPos val="inEnd"/>
              <c:showLegendKey val="0"/>
              <c:showVal val="0"/>
              <c:showCatName val="1"/>
              <c:showSerName val="0"/>
              <c:showPercent val="0"/>
              <c:showBubbleSize val="0"/>
            </c:dLbl>
            <c:dLbl>
              <c:idx val="3"/>
              <c:spPr/>
              <c:txPr>
                <a:bodyPr/>
                <a:lstStyle/>
                <a:p>
                  <a:pPr>
                    <a:defRPr lang="nl-NL" b="1">
                      <a:solidFill>
                        <a:schemeClr val="bg1"/>
                      </a:solidFill>
                    </a:defRPr>
                  </a:pPr>
                  <a:endParaRPr lang="en-US"/>
                </a:p>
              </c:txPr>
              <c:dLblPos val="inEnd"/>
              <c:showLegendKey val="0"/>
              <c:showVal val="0"/>
              <c:showCatName val="1"/>
              <c:showSerName val="0"/>
              <c:showPercent val="0"/>
              <c:showBubbleSize val="0"/>
            </c:dLbl>
            <c:dLbl>
              <c:idx val="4"/>
              <c:spPr/>
              <c:txPr>
                <a:bodyPr/>
                <a:lstStyle/>
                <a:p>
                  <a:pPr>
                    <a:defRPr lang="nl-NL" b="1">
                      <a:solidFill>
                        <a:schemeClr val="bg2"/>
                      </a:solidFill>
                    </a:defRPr>
                  </a:pPr>
                  <a:endParaRPr lang="en-US"/>
                </a:p>
              </c:txPr>
              <c:dLblPos val="inEnd"/>
              <c:showLegendKey val="0"/>
              <c:showVal val="0"/>
              <c:showCatName val="1"/>
              <c:showSerName val="0"/>
              <c:showPercent val="0"/>
              <c:showBubbleSize val="0"/>
            </c:dLbl>
            <c:spPr>
              <a:noFill/>
              <a:ln>
                <a:noFill/>
              </a:ln>
              <a:effectLst/>
            </c:spPr>
            <c:txPr>
              <a:bodyPr/>
              <a:lstStyle/>
              <a:p>
                <a:pPr>
                  <a:defRPr lang="nl-NL">
                    <a:solidFill>
                      <a:schemeClr val="bg1"/>
                    </a:solidFill>
                  </a:defRPr>
                </a:pPr>
                <a:endParaRPr lang="en-US"/>
              </a:p>
            </c:txPr>
            <c:dLblPos val="inEnd"/>
            <c:showLegendKey val="0"/>
            <c:showVal val="0"/>
            <c:showCatName val="1"/>
            <c:showSerName val="0"/>
            <c:showPercent val="0"/>
            <c:showBubbleSize val="0"/>
            <c:showLeaderLines val="1"/>
            <c:extLst>
              <c:ext xmlns:c15="http://schemas.microsoft.com/office/drawing/2012/chart" uri="{CE6537A1-D6FC-4f65-9D91-7224C49458BB}"/>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0</c:v>
                </c:pt>
                <c:pt idx="1">
                  <c:v>10</c:v>
                </c:pt>
                <c:pt idx="2">
                  <c:v>10</c:v>
                </c:pt>
                <c:pt idx="3">
                  <c:v>10</c:v>
                </c:pt>
                <c:pt idx="4">
                  <c:v>10</c:v>
                </c:pt>
              </c:numCache>
            </c:numRef>
          </c:val>
        </c:ser>
        <c:dLbls>
          <c:showLegendKey val="0"/>
          <c:showVal val="1"/>
          <c:showCatName val="0"/>
          <c:showSerName val="0"/>
          <c:showPercent val="0"/>
          <c:showBubbleSize val="0"/>
          <c:showLeaderLines val="1"/>
        </c:dLbls>
        <c:firstSliceAng val="0"/>
      </c:pieChart>
    </c:plotArea>
    <c:plotVisOnly val="1"/>
    <c:dispBlanksAs val="gap"/>
    <c:showDLblsOverMax val="0"/>
  </c:chart>
  <c:txPr>
    <a:bodyPr/>
    <a:lstStyle/>
    <a:p>
      <a:pPr>
        <a:defRPr sz="12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303132219800135"/>
          <c:y val="8.3738232369540228E-2"/>
          <c:w val="0.88414094578388613"/>
          <c:h val="0.86692770541128861"/>
        </c:manualLayout>
      </c:layout>
      <c:pieChart>
        <c:varyColors val="1"/>
        <c:ser>
          <c:idx val="0"/>
          <c:order val="0"/>
          <c:tx>
            <c:strRef>
              <c:f>Sheet1!$B$1</c:f>
              <c:strCache>
                <c:ptCount val="1"/>
                <c:pt idx="0">
                  <c:v>Q1</c:v>
                </c:pt>
              </c:strCache>
            </c:strRef>
          </c:tx>
          <c:spPr>
            <a:solidFill>
              <a:schemeClr val="accent3"/>
            </a:solidFill>
            <a:ln w="12700">
              <a:solidFill>
                <a:schemeClr val="bg1"/>
              </a:solidFill>
            </a:ln>
          </c:spPr>
          <c:dLbls>
            <c:spPr>
              <a:noFill/>
              <a:ln>
                <a:noFill/>
              </a:ln>
              <a:effectLst/>
            </c:spPr>
            <c:txPr>
              <a:bodyPr/>
              <a:lstStyle/>
              <a:p>
                <a:pPr>
                  <a:defRPr lang="nl-NL">
                    <a:solidFill>
                      <a:schemeClr val="tx2"/>
                    </a:solidFill>
                  </a:defRPr>
                </a:pPr>
                <a:endParaRPr lang="en-US"/>
              </a:p>
            </c:txPr>
            <c:dLblPos val="outEnd"/>
            <c:showLegendKey val="0"/>
            <c:showVal val="0"/>
            <c:showCatName val="1"/>
            <c:showSerName val="0"/>
            <c:showPercent val="0"/>
            <c:showBubbleSize val="0"/>
            <c:showLeaderLines val="1"/>
            <c:extLst>
              <c:ext xmlns:c15="http://schemas.microsoft.com/office/drawing/2012/chart" uri="{CE6537A1-D6FC-4f65-9D91-7224C49458BB}"/>
            </c:extLst>
          </c:dLbls>
          <c:cat>
            <c:strRef>
              <c:f>Sheet1!$A$2:$A$9</c:f>
              <c:strCache>
                <c:ptCount val="8"/>
                <c:pt idx="0">
                  <c:v>East</c:v>
                </c:pt>
                <c:pt idx="1">
                  <c:v>West</c:v>
                </c:pt>
                <c:pt idx="2">
                  <c:v>North</c:v>
                </c:pt>
                <c:pt idx="3">
                  <c:v>South</c:v>
                </c:pt>
                <c:pt idx="4">
                  <c:v>Up</c:v>
                </c:pt>
                <c:pt idx="5">
                  <c:v>Down</c:v>
                </c:pt>
                <c:pt idx="6">
                  <c:v>Left</c:v>
                </c:pt>
                <c:pt idx="7">
                  <c:v>Right</c:v>
                </c:pt>
              </c:strCache>
            </c:strRef>
          </c:cat>
          <c:val>
            <c:numRef>
              <c:f>Sheet1!$B$2:$B$9</c:f>
              <c:numCache>
                <c:formatCode>General</c:formatCode>
                <c:ptCount val="8"/>
                <c:pt idx="0">
                  <c:v>10</c:v>
                </c:pt>
                <c:pt idx="1">
                  <c:v>10</c:v>
                </c:pt>
                <c:pt idx="2">
                  <c:v>10</c:v>
                </c:pt>
                <c:pt idx="3">
                  <c:v>10</c:v>
                </c:pt>
                <c:pt idx="4">
                  <c:v>10</c:v>
                </c:pt>
                <c:pt idx="5">
                  <c:v>10</c:v>
                </c:pt>
                <c:pt idx="6">
                  <c:v>10</c:v>
                </c:pt>
                <c:pt idx="7">
                  <c:v>10</c:v>
                </c:pt>
              </c:numCache>
            </c:numRef>
          </c:val>
        </c:ser>
        <c:dLbls>
          <c:showLegendKey val="0"/>
          <c:showVal val="1"/>
          <c:showCatName val="0"/>
          <c:showSerName val="0"/>
          <c:showPercent val="0"/>
          <c:showBubbleSize val="0"/>
          <c:showLeaderLines val="1"/>
        </c:dLbls>
        <c:firstSliceAng val="0"/>
      </c:pieChart>
    </c:plotArea>
    <c:plotVisOnly val="1"/>
    <c:dispBlanksAs val="gap"/>
    <c:showDLblsOverMax val="0"/>
  </c:chart>
  <c:txPr>
    <a:bodyPr/>
    <a:lstStyle/>
    <a:p>
      <a:pPr>
        <a:defRPr sz="12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564E-2"/>
          <c:y val="4.6153842659460646E-2"/>
          <c:w val="0.88414094578388613"/>
          <c:h val="0.86692770541128861"/>
        </c:manualLayout>
      </c:layout>
      <c:pieChart>
        <c:varyColors val="1"/>
        <c:ser>
          <c:idx val="0"/>
          <c:order val="0"/>
          <c:tx>
            <c:strRef>
              <c:f>Sheet1!$B$1</c:f>
              <c:strCache>
                <c:ptCount val="1"/>
                <c:pt idx="0">
                  <c:v>Q1</c:v>
                </c:pt>
              </c:strCache>
            </c:strRef>
          </c:tx>
          <c:spPr>
            <a:ln w="12700">
              <a:solidFill>
                <a:schemeClr val="bg1"/>
              </a:solidFill>
            </a:ln>
          </c:spPr>
          <c:dPt>
            <c:idx val="0"/>
            <c:bubble3D val="0"/>
            <c:spPr>
              <a:solidFill>
                <a:schemeClr val="accent1"/>
              </a:solidFill>
              <a:ln w="12700">
                <a:solidFill>
                  <a:schemeClr val="bg1"/>
                </a:solidFill>
              </a:ln>
            </c:spPr>
          </c:dPt>
          <c:dPt>
            <c:idx val="1"/>
            <c:bubble3D val="0"/>
            <c:spPr>
              <a:solidFill>
                <a:schemeClr val="accent2"/>
              </a:solidFill>
              <a:ln w="12700">
                <a:solidFill>
                  <a:schemeClr val="bg1"/>
                </a:solidFill>
              </a:ln>
            </c:spPr>
          </c:dPt>
          <c:dPt>
            <c:idx val="2"/>
            <c:bubble3D val="0"/>
            <c:spPr>
              <a:solidFill>
                <a:schemeClr val="accent3"/>
              </a:solidFill>
              <a:ln w="12700">
                <a:solidFill>
                  <a:schemeClr val="bg1"/>
                </a:solidFill>
              </a:ln>
            </c:spPr>
          </c:dPt>
          <c:dPt>
            <c:idx val="3"/>
            <c:bubble3D val="0"/>
            <c:spPr>
              <a:solidFill>
                <a:schemeClr val="accent4"/>
              </a:solidFill>
              <a:ln w="12700">
                <a:solidFill>
                  <a:schemeClr val="bg1"/>
                </a:solidFill>
              </a:ln>
            </c:spPr>
          </c:dPt>
          <c:dPt>
            <c:idx val="4"/>
            <c:bubble3D val="0"/>
            <c:spPr>
              <a:solidFill>
                <a:schemeClr val="accent5"/>
              </a:solidFill>
              <a:ln w="12700">
                <a:solidFill>
                  <a:schemeClr val="bg1"/>
                </a:solidFill>
              </a:ln>
            </c:spPr>
          </c:dPt>
          <c:dLbls>
            <c:spPr>
              <a:noFill/>
              <a:ln>
                <a:noFill/>
              </a:ln>
              <a:effectLst/>
            </c:spPr>
            <c:txPr>
              <a:bodyPr/>
              <a:lstStyle/>
              <a:p>
                <a:pPr>
                  <a:defRPr lang="nl-NL">
                    <a:solidFill>
                      <a:schemeClr val="tx2"/>
                    </a:solidFill>
                  </a:defRPr>
                </a:pPr>
                <a:endParaRPr lang="en-US"/>
              </a:p>
            </c:txPr>
            <c:dLblPos val="outEnd"/>
            <c:showLegendKey val="0"/>
            <c:showVal val="0"/>
            <c:showCatName val="1"/>
            <c:showSerName val="0"/>
            <c:showPercent val="0"/>
            <c:showBubbleSize val="0"/>
            <c:showLeaderLines val="1"/>
            <c:extLst>
              <c:ext xmlns:c15="http://schemas.microsoft.com/office/drawing/2012/chart" uri="{CE6537A1-D6FC-4f65-9D91-7224C49458BB}"/>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0</c:v>
                </c:pt>
                <c:pt idx="1">
                  <c:v>10</c:v>
                </c:pt>
                <c:pt idx="2">
                  <c:v>10</c:v>
                </c:pt>
                <c:pt idx="3">
                  <c:v>10</c:v>
                </c:pt>
                <c:pt idx="4">
                  <c:v>10</c:v>
                </c:pt>
              </c:numCache>
            </c:numRef>
          </c:val>
        </c:ser>
        <c:dLbls>
          <c:showLegendKey val="0"/>
          <c:showVal val="1"/>
          <c:showCatName val="0"/>
          <c:showSerName val="0"/>
          <c:showPercent val="0"/>
          <c:showBubbleSize val="0"/>
          <c:showLeaderLines val="1"/>
        </c:dLbls>
        <c:firstSliceAng val="0"/>
      </c:pieChart>
    </c:plotArea>
    <c:plotVisOnly val="1"/>
    <c:dispBlanksAs val="gap"/>
    <c:showDLblsOverMax val="0"/>
  </c:chart>
  <c:txPr>
    <a:bodyPr/>
    <a:lstStyle/>
    <a:p>
      <a:pPr>
        <a:defRPr sz="1200"/>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564E-2"/>
          <c:y val="4.6153842659460646E-2"/>
          <c:w val="0.88414094578388613"/>
          <c:h val="0.86692770541128861"/>
        </c:manualLayout>
      </c:layout>
      <c:pieChart>
        <c:varyColors val="1"/>
        <c:ser>
          <c:idx val="0"/>
          <c:order val="0"/>
          <c:tx>
            <c:strRef>
              <c:f>Sheet1!$B$1</c:f>
              <c:strCache>
                <c:ptCount val="1"/>
                <c:pt idx="0">
                  <c:v>Q1</c:v>
                </c:pt>
              </c:strCache>
            </c:strRef>
          </c:tx>
          <c:spPr>
            <a:ln w="12700">
              <a:solidFill>
                <a:schemeClr val="bg1"/>
              </a:solidFill>
            </a:ln>
          </c:spPr>
          <c:dPt>
            <c:idx val="0"/>
            <c:bubble3D val="0"/>
            <c:spPr>
              <a:solidFill>
                <a:schemeClr val="accent1"/>
              </a:solidFill>
              <a:ln w="12700">
                <a:solidFill>
                  <a:schemeClr val="bg1"/>
                </a:solidFill>
              </a:ln>
            </c:spPr>
          </c:dPt>
          <c:dPt>
            <c:idx val="1"/>
            <c:bubble3D val="0"/>
            <c:spPr>
              <a:solidFill>
                <a:schemeClr val="accent2"/>
              </a:solidFill>
              <a:ln w="12700">
                <a:solidFill>
                  <a:schemeClr val="bg1"/>
                </a:solidFill>
              </a:ln>
            </c:spPr>
          </c:dPt>
          <c:dPt>
            <c:idx val="2"/>
            <c:bubble3D val="0"/>
            <c:spPr>
              <a:solidFill>
                <a:schemeClr val="accent3"/>
              </a:solidFill>
              <a:ln w="12700">
                <a:solidFill>
                  <a:schemeClr val="bg1"/>
                </a:solidFill>
              </a:ln>
            </c:spPr>
          </c:dPt>
          <c:dPt>
            <c:idx val="3"/>
            <c:bubble3D val="0"/>
            <c:spPr>
              <a:solidFill>
                <a:schemeClr val="accent4"/>
              </a:solidFill>
              <a:ln w="12700">
                <a:solidFill>
                  <a:schemeClr val="bg1"/>
                </a:solidFill>
              </a:ln>
            </c:spPr>
          </c:dPt>
          <c:dPt>
            <c:idx val="4"/>
            <c:bubble3D val="0"/>
            <c:spPr>
              <a:solidFill>
                <a:schemeClr val="accent5"/>
              </a:solidFill>
              <a:ln w="12700">
                <a:solidFill>
                  <a:schemeClr val="bg1"/>
                </a:solidFill>
              </a:ln>
            </c:spPr>
          </c:dPt>
          <c:dLbls>
            <c:spPr>
              <a:noFill/>
              <a:ln>
                <a:noFill/>
              </a:ln>
              <a:effectLst/>
            </c:spPr>
            <c:txPr>
              <a:bodyPr/>
              <a:lstStyle/>
              <a:p>
                <a:pPr>
                  <a:defRPr lang="nl-NL">
                    <a:solidFill>
                      <a:schemeClr val="tx2"/>
                    </a:solidFill>
                  </a:defRPr>
                </a:pPr>
                <a:endParaRPr lang="en-US"/>
              </a:p>
            </c:txPr>
            <c:dLblPos val="outEnd"/>
            <c:showLegendKey val="0"/>
            <c:showVal val="0"/>
            <c:showCatName val="1"/>
            <c:showSerName val="0"/>
            <c:showPercent val="0"/>
            <c:showBubbleSize val="0"/>
            <c:showLeaderLines val="1"/>
            <c:extLst>
              <c:ext xmlns:c15="http://schemas.microsoft.com/office/drawing/2012/chart" uri="{CE6537A1-D6FC-4f65-9D91-7224C49458BB}"/>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0</c:v>
                </c:pt>
                <c:pt idx="1">
                  <c:v>10</c:v>
                </c:pt>
                <c:pt idx="2">
                  <c:v>10</c:v>
                </c:pt>
                <c:pt idx="3">
                  <c:v>10</c:v>
                </c:pt>
                <c:pt idx="4">
                  <c:v>10</c:v>
                </c:pt>
              </c:numCache>
            </c:numRef>
          </c:val>
        </c:ser>
        <c:dLbls>
          <c:showLegendKey val="0"/>
          <c:showVal val="1"/>
          <c:showCatName val="0"/>
          <c:showSerName val="0"/>
          <c:showPercent val="0"/>
          <c:showBubbleSize val="0"/>
          <c:showLeaderLines val="1"/>
        </c:dLbls>
        <c:firstSliceAng val="0"/>
      </c:pieChart>
    </c:plotArea>
    <c:plotVisOnly val="1"/>
    <c:dispBlanksAs val="gap"/>
    <c:showDLblsOverMax val="0"/>
  </c:chart>
  <c:txPr>
    <a:bodyPr/>
    <a:lstStyle/>
    <a:p>
      <a:pPr>
        <a:defRPr sz="1200"/>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564E-2"/>
          <c:y val="4.6153842659460646E-2"/>
          <c:w val="0.88414094578388613"/>
          <c:h val="0.86692770541128861"/>
        </c:manualLayout>
      </c:layout>
      <c:pieChart>
        <c:varyColors val="1"/>
        <c:ser>
          <c:idx val="0"/>
          <c:order val="0"/>
          <c:tx>
            <c:strRef>
              <c:f>Sheet1!$B$1</c:f>
              <c:strCache>
                <c:ptCount val="1"/>
                <c:pt idx="0">
                  <c:v>Q1</c:v>
                </c:pt>
              </c:strCache>
            </c:strRef>
          </c:tx>
          <c:spPr>
            <a:ln w="12700">
              <a:solidFill>
                <a:schemeClr val="bg1"/>
              </a:solidFill>
            </a:ln>
          </c:spPr>
          <c:dPt>
            <c:idx val="0"/>
            <c:bubble3D val="0"/>
            <c:spPr>
              <a:solidFill>
                <a:schemeClr val="accent1"/>
              </a:solidFill>
              <a:ln w="12700">
                <a:solidFill>
                  <a:schemeClr val="bg1"/>
                </a:solidFill>
              </a:ln>
            </c:spPr>
          </c:dPt>
          <c:dPt>
            <c:idx val="1"/>
            <c:bubble3D val="0"/>
            <c:spPr>
              <a:solidFill>
                <a:schemeClr val="accent2"/>
              </a:solidFill>
              <a:ln w="12700">
                <a:solidFill>
                  <a:schemeClr val="bg1"/>
                </a:solidFill>
              </a:ln>
            </c:spPr>
          </c:dPt>
          <c:dPt>
            <c:idx val="2"/>
            <c:bubble3D val="0"/>
            <c:spPr>
              <a:solidFill>
                <a:schemeClr val="accent3"/>
              </a:solidFill>
              <a:ln w="12700">
                <a:solidFill>
                  <a:schemeClr val="bg1"/>
                </a:solidFill>
              </a:ln>
            </c:spPr>
          </c:dPt>
          <c:dPt>
            <c:idx val="3"/>
            <c:bubble3D val="0"/>
            <c:spPr>
              <a:solidFill>
                <a:schemeClr val="accent4"/>
              </a:solidFill>
              <a:ln w="12700">
                <a:solidFill>
                  <a:schemeClr val="bg1"/>
                </a:solidFill>
              </a:ln>
            </c:spPr>
          </c:dPt>
          <c:dLbls>
            <c:spPr>
              <a:noFill/>
              <a:ln>
                <a:noFill/>
              </a:ln>
              <a:effectLst/>
            </c:spPr>
            <c:txPr>
              <a:bodyPr/>
              <a:lstStyle/>
              <a:p>
                <a:pPr>
                  <a:defRPr lang="nl-NL">
                    <a:solidFill>
                      <a:schemeClr val="bg1"/>
                    </a:solidFill>
                  </a:defRPr>
                </a:pPr>
                <a:endParaRPr lang="en-US"/>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20.399999999999999</c:v>
                </c:pt>
                <c:pt idx="1">
                  <c:v>27.4</c:v>
                </c:pt>
                <c:pt idx="2">
                  <c:v>90</c:v>
                </c:pt>
                <c:pt idx="3">
                  <c:v>20.399999999999999</c:v>
                </c:pt>
              </c:numCache>
            </c:numRef>
          </c:val>
        </c:ser>
        <c:dLbls>
          <c:showLegendKey val="0"/>
          <c:showVal val="1"/>
          <c:showCatName val="0"/>
          <c:showSerName val="0"/>
          <c:showPercent val="0"/>
          <c:showBubbleSize val="0"/>
          <c:showLeaderLines val="0"/>
        </c:dLbls>
        <c:firstSliceAng val="64"/>
      </c:pieChart>
    </c:plotArea>
    <c:plotVisOnly val="1"/>
    <c:dispBlanksAs val="gap"/>
    <c:showDLblsOverMax val="0"/>
  </c:chart>
  <c:txPr>
    <a:bodyPr/>
    <a:lstStyle/>
    <a:p>
      <a:pPr>
        <a:defRPr sz="12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564E-2"/>
          <c:y val="4.6153842659460646E-2"/>
          <c:w val="0.88414094578388613"/>
          <c:h val="0.86692770541128861"/>
        </c:manualLayout>
      </c:layout>
      <c:pieChart>
        <c:varyColors val="1"/>
        <c:ser>
          <c:idx val="0"/>
          <c:order val="0"/>
          <c:tx>
            <c:strRef>
              <c:f>Sheet1!$B$1</c:f>
              <c:strCache>
                <c:ptCount val="1"/>
                <c:pt idx="0">
                  <c:v>Q1</c:v>
                </c:pt>
              </c:strCache>
            </c:strRef>
          </c:tx>
          <c:spPr>
            <a:solidFill>
              <a:schemeClr val="accent1"/>
            </a:solidFill>
            <a:ln w="12700">
              <a:solidFill>
                <a:schemeClr val="bg1"/>
              </a:solidFill>
            </a:ln>
          </c:spPr>
          <c:dLbls>
            <c:spPr>
              <a:noFill/>
              <a:ln>
                <a:noFill/>
              </a:ln>
              <a:effectLst/>
            </c:spPr>
            <c:txPr>
              <a:bodyPr/>
              <a:lstStyle/>
              <a:p>
                <a:pPr>
                  <a:defRPr lang="nl-NL">
                    <a:solidFill>
                      <a:schemeClr val="bg1"/>
                    </a:solidFill>
                  </a:defRPr>
                </a:pPr>
                <a:endParaRPr lang="en-US"/>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A$2:$A$5</c:f>
              <c:strCache>
                <c:ptCount val="4"/>
                <c:pt idx="0">
                  <c:v>Client A</c:v>
                </c:pt>
                <c:pt idx="1">
                  <c:v>Client B</c:v>
                </c:pt>
                <c:pt idx="2">
                  <c:v>Client C</c:v>
                </c:pt>
                <c:pt idx="3">
                  <c:v>Client D</c:v>
                </c:pt>
              </c:strCache>
            </c:strRef>
          </c:cat>
          <c:val>
            <c:numRef>
              <c:f>Sheet1!$B$2:$B$5</c:f>
              <c:numCache>
                <c:formatCode>General</c:formatCode>
                <c:ptCount val="4"/>
                <c:pt idx="0">
                  <c:v>20.399999999999999</c:v>
                </c:pt>
                <c:pt idx="1">
                  <c:v>27.4</c:v>
                </c:pt>
                <c:pt idx="2">
                  <c:v>90</c:v>
                </c:pt>
                <c:pt idx="3">
                  <c:v>20.399999999999999</c:v>
                </c:pt>
              </c:numCache>
            </c:numRef>
          </c:val>
        </c:ser>
        <c:dLbls>
          <c:showLegendKey val="0"/>
          <c:showVal val="1"/>
          <c:showCatName val="0"/>
          <c:showSerName val="0"/>
          <c:showPercent val="0"/>
          <c:showBubbleSize val="0"/>
          <c:showLeaderLines val="0"/>
        </c:dLbls>
        <c:firstSliceAng val="64"/>
      </c:pieChart>
    </c:plotArea>
    <c:plotVisOnly val="1"/>
    <c:dispBlanksAs val="gap"/>
    <c:showDLblsOverMax val="0"/>
  </c:chart>
  <c:txPr>
    <a:bodyPr/>
    <a:lstStyle/>
    <a:p>
      <a:pPr>
        <a:defRPr sz="12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564E-2"/>
          <c:y val="4.6153842659460646E-2"/>
          <c:w val="0.88414094578388613"/>
          <c:h val="0.86692770541128861"/>
        </c:manualLayout>
      </c:layout>
      <c:pieChart>
        <c:varyColors val="1"/>
        <c:ser>
          <c:idx val="0"/>
          <c:order val="0"/>
          <c:tx>
            <c:strRef>
              <c:f>Sheet1!$B$1</c:f>
              <c:strCache>
                <c:ptCount val="1"/>
                <c:pt idx="0">
                  <c:v>Q1</c:v>
                </c:pt>
              </c:strCache>
            </c:strRef>
          </c:tx>
          <c:spPr>
            <a:ln w="12700">
              <a:solidFill>
                <a:schemeClr val="bg1"/>
              </a:solidFill>
            </a:ln>
          </c:spPr>
          <c:dPt>
            <c:idx val="0"/>
            <c:bubble3D val="0"/>
            <c:spPr>
              <a:solidFill>
                <a:schemeClr val="accent1"/>
              </a:solidFill>
              <a:ln w="12700">
                <a:solidFill>
                  <a:schemeClr val="bg1"/>
                </a:solidFill>
              </a:ln>
            </c:spPr>
          </c:dPt>
          <c:dPt>
            <c:idx val="1"/>
            <c:bubble3D val="0"/>
            <c:spPr>
              <a:solidFill>
                <a:schemeClr val="accent2"/>
              </a:solidFill>
              <a:ln w="12700">
                <a:solidFill>
                  <a:schemeClr val="bg1"/>
                </a:solidFill>
              </a:ln>
            </c:spPr>
          </c:dPt>
          <c:dPt>
            <c:idx val="2"/>
            <c:bubble3D val="0"/>
            <c:spPr>
              <a:solidFill>
                <a:schemeClr val="accent3"/>
              </a:solidFill>
              <a:ln w="12700">
                <a:solidFill>
                  <a:schemeClr val="bg1"/>
                </a:solidFill>
              </a:ln>
            </c:spPr>
          </c:dPt>
          <c:dPt>
            <c:idx val="3"/>
            <c:bubble3D val="0"/>
            <c:spPr>
              <a:solidFill>
                <a:schemeClr val="accent4"/>
              </a:solidFill>
              <a:ln w="12700">
                <a:solidFill>
                  <a:schemeClr val="bg1"/>
                </a:solidFill>
              </a:ln>
            </c:spPr>
          </c:dPt>
          <c:dLbls>
            <c:spPr>
              <a:noFill/>
              <a:ln>
                <a:noFill/>
              </a:ln>
              <a:effectLst/>
            </c:spPr>
            <c:txPr>
              <a:bodyPr/>
              <a:lstStyle/>
              <a:p>
                <a:pPr>
                  <a:defRPr lang="nl-NL">
                    <a:solidFill>
                      <a:schemeClr val="bg1"/>
                    </a:solidFill>
                  </a:defRPr>
                </a:pPr>
                <a:endParaRPr lang="en-US"/>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A$2:$A$5</c:f>
              <c:strCache>
                <c:ptCount val="4"/>
                <c:pt idx="0">
                  <c:v>West</c:v>
                </c:pt>
                <c:pt idx="1">
                  <c:v>North</c:v>
                </c:pt>
                <c:pt idx="2">
                  <c:v>South</c:v>
                </c:pt>
                <c:pt idx="3">
                  <c:v>East</c:v>
                </c:pt>
              </c:strCache>
            </c:strRef>
          </c:cat>
          <c:val>
            <c:numRef>
              <c:f>Sheet1!$B$2:$B$5</c:f>
              <c:numCache>
                <c:formatCode>General</c:formatCode>
                <c:ptCount val="4"/>
                <c:pt idx="0">
                  <c:v>10</c:v>
                </c:pt>
                <c:pt idx="1">
                  <c:v>10</c:v>
                </c:pt>
                <c:pt idx="2">
                  <c:v>10</c:v>
                </c:pt>
                <c:pt idx="3">
                  <c:v>10</c:v>
                </c:pt>
              </c:numCache>
            </c:numRef>
          </c:val>
        </c:ser>
        <c:dLbls>
          <c:showLegendKey val="0"/>
          <c:showVal val="1"/>
          <c:showCatName val="0"/>
          <c:showSerName val="0"/>
          <c:showPercent val="0"/>
          <c:showBubbleSize val="0"/>
          <c:showLeaderLines val="0"/>
        </c:dLbls>
        <c:firstSliceAng val="44"/>
      </c:pieChart>
    </c:plotArea>
    <c:plotVisOnly val="1"/>
    <c:dispBlanksAs val="gap"/>
    <c:showDLblsOverMax val="0"/>
  </c:chart>
  <c:txPr>
    <a:bodyPr/>
    <a:lstStyle/>
    <a:p>
      <a:pPr>
        <a:defRPr sz="12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12675070028012"/>
          <c:y val="4.6153842659460646E-2"/>
          <c:w val="0.820984360410831"/>
          <c:h val="0.86692770541128861"/>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West</c:v>
                </c:pt>
              </c:strCache>
            </c:strRef>
          </c:cat>
          <c:val>
            <c:numRef>
              <c:f>Sheet1!$B$2</c:f>
              <c:numCache>
                <c:formatCode>General</c:formatCode>
                <c:ptCount val="1"/>
                <c:pt idx="0">
                  <c:v>45.9</c:v>
                </c:pt>
              </c:numCache>
            </c:numRef>
          </c:val>
        </c:ser>
        <c:ser>
          <c:idx val="1"/>
          <c:order val="1"/>
          <c:tx>
            <c:strRef>
              <c:f>Sheet1!$C$1</c:f>
              <c:strCache>
                <c:ptCount val="1"/>
                <c:pt idx="0">
                  <c:v>B</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West</c:v>
                </c:pt>
              </c:strCache>
            </c:strRef>
          </c:cat>
          <c:val>
            <c:numRef>
              <c:f>Sheet1!$C$2</c:f>
              <c:numCache>
                <c:formatCode>General</c:formatCode>
                <c:ptCount val="1"/>
                <c:pt idx="0">
                  <c:v>46.9</c:v>
                </c:pt>
              </c:numCache>
            </c:numRef>
          </c:val>
        </c:ser>
        <c:ser>
          <c:idx val="2"/>
          <c:order val="2"/>
          <c:tx>
            <c:strRef>
              <c:f>Sheet1!$D$1</c:f>
              <c:strCache>
                <c:ptCount val="1"/>
                <c:pt idx="0">
                  <c:v>C</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West</c:v>
                </c:pt>
              </c:strCache>
            </c:strRef>
          </c:cat>
          <c:val>
            <c:numRef>
              <c:f>Sheet1!$D$2</c:f>
              <c:numCache>
                <c:formatCode>General</c:formatCode>
                <c:ptCount val="1"/>
                <c:pt idx="0">
                  <c:v>45</c:v>
                </c:pt>
              </c:numCache>
            </c:numRef>
          </c:val>
        </c:ser>
        <c:ser>
          <c:idx val="3"/>
          <c:order val="3"/>
          <c:tx>
            <c:strRef>
              <c:f>Sheet1!$E$1</c:f>
              <c:strCache>
                <c:ptCount val="1"/>
                <c:pt idx="0">
                  <c:v>D</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West</c:v>
                </c:pt>
              </c:strCache>
            </c:strRef>
          </c:cat>
          <c:val>
            <c:numRef>
              <c:f>Sheet1!$E$2</c:f>
              <c:numCache>
                <c:formatCode>General</c:formatCode>
                <c:ptCount val="1"/>
                <c:pt idx="0">
                  <c:v>43.9</c:v>
                </c:pt>
              </c:numCache>
            </c:numRef>
          </c:val>
        </c:ser>
        <c:dLbls>
          <c:showLegendKey val="0"/>
          <c:showVal val="1"/>
          <c:showCatName val="0"/>
          <c:showSerName val="0"/>
          <c:showPercent val="0"/>
          <c:showBubbleSize val="0"/>
        </c:dLbls>
        <c:gapWidth val="150"/>
        <c:overlap val="100"/>
        <c:axId val="1932341216"/>
        <c:axId val="1932331968"/>
      </c:barChart>
      <c:catAx>
        <c:axId val="1932341216"/>
        <c:scaling>
          <c:orientation val="minMax"/>
        </c:scaling>
        <c:delete val="0"/>
        <c:axPos val="b"/>
        <c:numFmt formatCode="General" sourceLinked="0"/>
        <c:majorTickMark val="out"/>
        <c:minorTickMark val="none"/>
        <c:tickLblPos val="nextTo"/>
        <c:spPr>
          <a:ln>
            <a:solidFill>
              <a:schemeClr val="accent1"/>
            </a:solidFill>
          </a:ln>
        </c:spPr>
        <c:txPr>
          <a:bodyPr/>
          <a:lstStyle/>
          <a:p>
            <a:pPr>
              <a:defRPr lang="nl-NL">
                <a:solidFill>
                  <a:schemeClr val="tx2"/>
                </a:solidFill>
              </a:defRPr>
            </a:pPr>
            <a:endParaRPr lang="en-US"/>
          </a:p>
        </c:txPr>
        <c:crossAx val="1932331968"/>
        <c:crosses val="autoZero"/>
        <c:auto val="1"/>
        <c:lblAlgn val="ctr"/>
        <c:lblOffset val="100"/>
        <c:noMultiLvlLbl val="0"/>
      </c:catAx>
      <c:valAx>
        <c:axId val="1932331968"/>
        <c:scaling>
          <c:orientation val="minMax"/>
        </c:scaling>
        <c:delete val="0"/>
        <c:axPos val="l"/>
        <c:numFmt formatCode="General" sourceLinked="1"/>
        <c:majorTickMark val="out"/>
        <c:minorTickMark val="none"/>
        <c:tickLblPos val="nextTo"/>
        <c:spPr>
          <a:ln>
            <a:solidFill>
              <a:schemeClr val="accent1"/>
            </a:solidFill>
          </a:ln>
        </c:spPr>
        <c:txPr>
          <a:bodyPr/>
          <a:lstStyle/>
          <a:p>
            <a:pPr>
              <a:defRPr lang="nl-NL">
                <a:solidFill>
                  <a:schemeClr val="tx2"/>
                </a:solidFill>
              </a:defRPr>
            </a:pPr>
            <a:endParaRPr lang="en-US"/>
          </a:p>
        </c:txPr>
        <c:crossAx val="1932341216"/>
        <c:crosses val="autoZero"/>
        <c:crossBetween val="between"/>
        <c:majorUnit val="50"/>
      </c:valAx>
      <c:spPr>
        <a:ln>
          <a:solidFill>
            <a:schemeClr val="bg1"/>
          </a:solidFill>
        </a:ln>
      </c:spPr>
    </c:plotArea>
    <c:plotVisOnly val="1"/>
    <c:dispBlanksAs val="gap"/>
    <c:showDLblsOverMax val="0"/>
  </c:chart>
  <c:txPr>
    <a:bodyPr/>
    <a:lstStyle/>
    <a:p>
      <a:pPr>
        <a:defRPr sz="1200"/>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564E-2"/>
          <c:y val="4.6153842659460646E-2"/>
          <c:w val="0.88414094578388613"/>
          <c:h val="0.86692770541128861"/>
        </c:manualLayout>
      </c:layout>
      <c:pieChart>
        <c:varyColors val="1"/>
        <c:ser>
          <c:idx val="0"/>
          <c:order val="0"/>
          <c:tx>
            <c:strRef>
              <c:f>Sheet1!$B$1</c:f>
              <c:strCache>
                <c:ptCount val="1"/>
                <c:pt idx="0">
                  <c:v>Q1</c:v>
                </c:pt>
              </c:strCache>
            </c:strRef>
          </c:tx>
          <c:spPr>
            <a:ln w="12700">
              <a:solidFill>
                <a:schemeClr val="bg1"/>
              </a:solidFill>
            </a:ln>
          </c:spPr>
          <c:dPt>
            <c:idx val="0"/>
            <c:bubble3D val="0"/>
            <c:explosion val="11"/>
            <c:spPr>
              <a:solidFill>
                <a:schemeClr val="accent1"/>
              </a:solidFill>
              <a:ln w="12700">
                <a:solidFill>
                  <a:schemeClr val="bg1"/>
                </a:solidFill>
              </a:ln>
            </c:spPr>
          </c:dPt>
          <c:dPt>
            <c:idx val="1"/>
            <c:bubble3D val="0"/>
            <c:spPr>
              <a:solidFill>
                <a:schemeClr val="accent2"/>
              </a:solidFill>
              <a:ln w="12700">
                <a:solidFill>
                  <a:schemeClr val="bg1"/>
                </a:solidFill>
              </a:ln>
            </c:spPr>
          </c:dPt>
          <c:dPt>
            <c:idx val="2"/>
            <c:bubble3D val="0"/>
            <c:spPr>
              <a:solidFill>
                <a:schemeClr val="accent3"/>
              </a:solidFill>
              <a:ln w="12700">
                <a:solidFill>
                  <a:schemeClr val="bg1"/>
                </a:solidFill>
              </a:ln>
            </c:spPr>
          </c:dPt>
          <c:dPt>
            <c:idx val="3"/>
            <c:bubble3D val="0"/>
            <c:spPr>
              <a:solidFill>
                <a:schemeClr val="accent4"/>
              </a:solidFill>
              <a:ln w="12700">
                <a:solidFill>
                  <a:schemeClr val="bg1"/>
                </a:solidFill>
              </a:ln>
            </c:spPr>
          </c:dPt>
          <c:dLbls>
            <c:spPr>
              <a:noFill/>
              <a:ln>
                <a:noFill/>
              </a:ln>
              <a:effectLst/>
            </c:spPr>
            <c:txPr>
              <a:bodyPr/>
              <a:lstStyle/>
              <a:p>
                <a:pPr>
                  <a:defRPr lang="nl-NL">
                    <a:solidFill>
                      <a:schemeClr val="bg1"/>
                    </a:solidFill>
                  </a:defRPr>
                </a:pPr>
                <a:endParaRPr lang="en-US"/>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A$2:$A$5</c:f>
              <c:strCache>
                <c:ptCount val="4"/>
                <c:pt idx="0">
                  <c:v>A</c:v>
                </c:pt>
                <c:pt idx="1">
                  <c:v>B</c:v>
                </c:pt>
                <c:pt idx="2">
                  <c:v>C</c:v>
                </c:pt>
                <c:pt idx="3">
                  <c:v>D</c:v>
                </c:pt>
              </c:strCache>
            </c:strRef>
          </c:cat>
          <c:val>
            <c:numRef>
              <c:f>Sheet1!$B$2:$B$5</c:f>
              <c:numCache>
                <c:formatCode>General</c:formatCode>
                <c:ptCount val="4"/>
                <c:pt idx="0">
                  <c:v>0.34</c:v>
                </c:pt>
                <c:pt idx="1">
                  <c:v>0.25</c:v>
                </c:pt>
                <c:pt idx="2">
                  <c:v>0.23</c:v>
                </c:pt>
                <c:pt idx="3">
                  <c:v>0.18000000000000024</c:v>
                </c:pt>
              </c:numCache>
            </c:numRef>
          </c:val>
        </c:ser>
        <c:dLbls>
          <c:showLegendKey val="0"/>
          <c:showVal val="1"/>
          <c:showCatName val="0"/>
          <c:showSerName val="0"/>
          <c:showPercent val="0"/>
          <c:showBubbleSize val="0"/>
          <c:showLeaderLines val="0"/>
        </c:dLbls>
        <c:firstSliceAng val="28"/>
      </c:pieChart>
    </c:plotArea>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84331032632564E-2"/>
          <c:y val="4.6153842659460646E-2"/>
          <c:w val="0.88414094578388613"/>
          <c:h val="0.86692770541128861"/>
        </c:manualLayout>
      </c:layout>
      <c:barChart>
        <c:barDir val="bar"/>
        <c:grouping val="stacked"/>
        <c:varyColors val="0"/>
        <c:ser>
          <c:idx val="0"/>
          <c:order val="0"/>
          <c:tx>
            <c:strRef>
              <c:f>Sheet1!$B$1</c:f>
              <c:strCache>
                <c:ptCount val="1"/>
                <c:pt idx="0">
                  <c:v>A</c:v>
                </c:pt>
              </c:strCache>
            </c:strRef>
          </c:tx>
          <c:spPr>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ser>
          <c:idx val="1"/>
          <c:order val="1"/>
          <c:tx>
            <c:strRef>
              <c:f>Sheet1!$C$1</c:f>
              <c:strCache>
                <c:ptCount val="1"/>
                <c:pt idx="0">
                  <c:v>B</c:v>
                </c:pt>
              </c:strCache>
            </c:strRef>
          </c:tx>
          <c:spPr>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46.9</c:v>
                </c:pt>
                <c:pt idx="1">
                  <c:v>38.6</c:v>
                </c:pt>
                <c:pt idx="2">
                  <c:v>45.6</c:v>
                </c:pt>
              </c:numCache>
            </c:numRef>
          </c:val>
        </c:ser>
        <c:ser>
          <c:idx val="2"/>
          <c:order val="2"/>
          <c:tx>
            <c:strRef>
              <c:f>Sheet1!$D$1</c:f>
              <c:strCache>
                <c:ptCount val="1"/>
                <c:pt idx="0">
                  <c:v>C</c:v>
                </c:pt>
              </c:strCache>
            </c:strRef>
          </c:tx>
          <c:spPr>
            <a:ln>
              <a:solidFill>
                <a:schemeClr val="bg1"/>
              </a:solidFill>
            </a:ln>
          </c:spPr>
          <c:invertIfNegative val="0"/>
          <c:dLbls>
            <c:delete val="1"/>
          </c:dLbls>
          <c:cat>
            <c:strRef>
              <c:f>Sheet1!$A$2:$A$4</c:f>
              <c:strCache>
                <c:ptCount val="3"/>
                <c:pt idx="0">
                  <c:v>East</c:v>
                </c:pt>
                <c:pt idx="1">
                  <c:v>West</c:v>
                </c:pt>
                <c:pt idx="2">
                  <c:v>North</c:v>
                </c:pt>
              </c:strCache>
            </c:strRef>
          </c:cat>
          <c:val>
            <c:numRef>
              <c:f>Sheet1!$D$2:$D$4</c:f>
              <c:numCache>
                <c:formatCode>General</c:formatCode>
                <c:ptCount val="3"/>
                <c:pt idx="0">
                  <c:v>45</c:v>
                </c:pt>
                <c:pt idx="1">
                  <c:v>34.6</c:v>
                </c:pt>
                <c:pt idx="2">
                  <c:v>39.200000000000003</c:v>
                </c:pt>
              </c:numCache>
            </c:numRef>
          </c:val>
        </c:ser>
        <c:ser>
          <c:idx val="3"/>
          <c:order val="3"/>
          <c:tx>
            <c:strRef>
              <c:f>Sheet1!$E$1</c:f>
              <c:strCache>
                <c:ptCount val="1"/>
                <c:pt idx="0">
                  <c:v>D</c:v>
                </c:pt>
              </c:strCache>
            </c:strRef>
          </c:tx>
          <c:spPr>
            <a:ln>
              <a:solidFill>
                <a:schemeClr val="bg1"/>
              </a:solidFill>
            </a:ln>
          </c:spPr>
          <c:invertIfNegative val="0"/>
          <c:dLbls>
            <c:delete val="1"/>
          </c:dLbls>
          <c:cat>
            <c:strRef>
              <c:f>Sheet1!$A$2:$A$4</c:f>
              <c:strCache>
                <c:ptCount val="3"/>
                <c:pt idx="0">
                  <c:v>East</c:v>
                </c:pt>
                <c:pt idx="1">
                  <c:v>West</c:v>
                </c:pt>
                <c:pt idx="2">
                  <c:v>North</c:v>
                </c:pt>
              </c:strCache>
            </c:strRef>
          </c:cat>
          <c:val>
            <c:numRef>
              <c:f>Sheet1!$E$2:$E$4</c:f>
              <c:numCache>
                <c:formatCode>General</c:formatCode>
                <c:ptCount val="3"/>
                <c:pt idx="0">
                  <c:v>43.9</c:v>
                </c:pt>
                <c:pt idx="1">
                  <c:v>31.6</c:v>
                </c:pt>
                <c:pt idx="2">
                  <c:v>30.4</c:v>
                </c:pt>
              </c:numCache>
            </c:numRef>
          </c:val>
        </c:ser>
        <c:dLbls>
          <c:showLegendKey val="0"/>
          <c:showVal val="1"/>
          <c:showCatName val="0"/>
          <c:showSerName val="0"/>
          <c:showPercent val="0"/>
          <c:showBubbleSize val="0"/>
        </c:dLbls>
        <c:gapWidth val="150"/>
        <c:overlap val="100"/>
        <c:axId val="1761739184"/>
        <c:axId val="1955884240"/>
      </c:barChart>
      <c:catAx>
        <c:axId val="1761739184"/>
        <c:scaling>
          <c:orientation val="minMax"/>
        </c:scaling>
        <c:delete val="0"/>
        <c:axPos val="l"/>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1955884240"/>
        <c:crosses val="autoZero"/>
        <c:auto val="1"/>
        <c:lblAlgn val="ctr"/>
        <c:lblOffset val="100"/>
        <c:noMultiLvlLbl val="0"/>
      </c:catAx>
      <c:valAx>
        <c:axId val="1955884240"/>
        <c:scaling>
          <c:orientation val="minMax"/>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761739184"/>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12675070028012"/>
          <c:y val="4.6153842659460646E-2"/>
          <c:w val="0.820984360410831"/>
          <c:h val="0.86692770541128861"/>
        </c:manualLayout>
      </c:layout>
      <c:barChart>
        <c:barDir val="col"/>
        <c:grouping val="percentStacked"/>
        <c:varyColors val="0"/>
        <c:ser>
          <c:idx val="0"/>
          <c:order val="0"/>
          <c:tx>
            <c:strRef>
              <c:f>Sheet1!$B$1</c:f>
              <c:strCache>
                <c:ptCount val="1"/>
                <c:pt idx="0">
                  <c:v>A</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East</c:v>
                </c:pt>
                <c:pt idx="1">
                  <c:v>West</c:v>
                </c:pt>
              </c:strCache>
            </c:strRef>
          </c:cat>
          <c:val>
            <c:numRef>
              <c:f>Sheet1!$B$2:$B$3</c:f>
              <c:numCache>
                <c:formatCode>General</c:formatCode>
                <c:ptCount val="2"/>
                <c:pt idx="0">
                  <c:v>55</c:v>
                </c:pt>
                <c:pt idx="1">
                  <c:v>25</c:v>
                </c:pt>
              </c:numCache>
            </c:numRef>
          </c:val>
        </c:ser>
        <c:ser>
          <c:idx val="1"/>
          <c:order val="1"/>
          <c:tx>
            <c:strRef>
              <c:f>Sheet1!$C$1</c:f>
              <c:strCache>
                <c:ptCount val="1"/>
                <c:pt idx="0">
                  <c:v>B</c:v>
                </c:pt>
              </c:strCache>
            </c:strRef>
          </c:tx>
          <c:spPr>
            <a:solidFill>
              <a:schemeClr val="accent2"/>
            </a:solidFill>
            <a:ln>
              <a:solidFill>
                <a:schemeClr val="bg1"/>
              </a:solidFill>
            </a:ln>
          </c:spPr>
          <c:invertIfNegative val="0"/>
          <c:dLbls>
            <c:spPr>
              <a:noFill/>
              <a:ln>
                <a:noFill/>
              </a:ln>
              <a:effectLst/>
            </c:spPr>
            <c:txPr>
              <a:bodyPr/>
              <a:lstStyle/>
              <a:p>
                <a:pPr>
                  <a:defRPr lang="nl-NL">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East</c:v>
                </c:pt>
                <c:pt idx="1">
                  <c:v>West</c:v>
                </c:pt>
              </c:strCache>
            </c:strRef>
          </c:cat>
          <c:val>
            <c:numRef>
              <c:f>Sheet1!$C$2:$C$3</c:f>
              <c:numCache>
                <c:formatCode>General</c:formatCode>
                <c:ptCount val="2"/>
                <c:pt idx="0">
                  <c:v>45</c:v>
                </c:pt>
                <c:pt idx="1">
                  <c:v>75</c:v>
                </c:pt>
              </c:numCache>
            </c:numRef>
          </c:val>
        </c:ser>
        <c:dLbls>
          <c:showLegendKey val="0"/>
          <c:showVal val="1"/>
          <c:showCatName val="0"/>
          <c:showSerName val="0"/>
          <c:showPercent val="0"/>
          <c:showBubbleSize val="0"/>
        </c:dLbls>
        <c:gapWidth val="46"/>
        <c:overlap val="100"/>
        <c:axId val="1932330880"/>
        <c:axId val="1932331424"/>
      </c:barChart>
      <c:catAx>
        <c:axId val="1932330880"/>
        <c:scaling>
          <c:orientation val="minMax"/>
        </c:scaling>
        <c:delete val="0"/>
        <c:axPos val="b"/>
        <c:numFmt formatCode="General" sourceLinked="0"/>
        <c:majorTickMark val="out"/>
        <c:minorTickMark val="none"/>
        <c:tickLblPos val="nextTo"/>
        <c:spPr>
          <a:ln>
            <a:solidFill>
              <a:schemeClr val="accent1"/>
            </a:solidFill>
          </a:ln>
        </c:spPr>
        <c:txPr>
          <a:bodyPr/>
          <a:lstStyle/>
          <a:p>
            <a:pPr>
              <a:defRPr lang="nl-NL">
                <a:solidFill>
                  <a:schemeClr val="tx2"/>
                </a:solidFill>
              </a:defRPr>
            </a:pPr>
            <a:endParaRPr lang="en-US"/>
          </a:p>
        </c:txPr>
        <c:crossAx val="1932331424"/>
        <c:crosses val="autoZero"/>
        <c:auto val="1"/>
        <c:lblAlgn val="ctr"/>
        <c:lblOffset val="100"/>
        <c:noMultiLvlLbl val="0"/>
      </c:catAx>
      <c:valAx>
        <c:axId val="1932331424"/>
        <c:scaling>
          <c:orientation val="minMax"/>
        </c:scaling>
        <c:delete val="0"/>
        <c:axPos val="l"/>
        <c:numFmt formatCode="0%" sourceLinked="1"/>
        <c:majorTickMark val="out"/>
        <c:minorTickMark val="none"/>
        <c:tickLblPos val="nextTo"/>
        <c:spPr>
          <a:ln>
            <a:solidFill>
              <a:schemeClr val="accent1"/>
            </a:solidFill>
          </a:ln>
        </c:spPr>
        <c:txPr>
          <a:bodyPr/>
          <a:lstStyle/>
          <a:p>
            <a:pPr>
              <a:defRPr lang="nl-NL">
                <a:solidFill>
                  <a:schemeClr val="tx2"/>
                </a:solidFill>
              </a:defRPr>
            </a:pPr>
            <a:endParaRPr lang="en-US"/>
          </a:p>
        </c:txPr>
        <c:crossAx val="1932330880"/>
        <c:crosses val="autoZero"/>
        <c:crossBetween val="between"/>
        <c:majorUnit val="0.25"/>
      </c:valAx>
      <c:spPr>
        <a:ln>
          <a:solidFill>
            <a:schemeClr val="bg1"/>
          </a:solidFill>
        </a:ln>
      </c:spPr>
    </c:plotArea>
    <c:plotVisOnly val="1"/>
    <c:dispBlanksAs val="gap"/>
    <c:showDLblsOverMax val="0"/>
  </c:chart>
  <c:txPr>
    <a:bodyPr/>
    <a:lstStyle/>
    <a:p>
      <a:pPr>
        <a:defRPr sz="12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564E-2"/>
          <c:y val="4.6153842659460646E-2"/>
          <c:w val="0.88414094578388613"/>
          <c:h val="0.86692770541128861"/>
        </c:manualLayout>
      </c:layout>
      <c:pieChart>
        <c:varyColors val="1"/>
        <c:ser>
          <c:idx val="0"/>
          <c:order val="0"/>
          <c:tx>
            <c:strRef>
              <c:f>Sheet1!$B$1</c:f>
              <c:strCache>
                <c:ptCount val="1"/>
                <c:pt idx="0">
                  <c:v>Q1</c:v>
                </c:pt>
              </c:strCache>
            </c:strRef>
          </c:tx>
          <c:spPr>
            <a:ln w="12700">
              <a:solidFill>
                <a:schemeClr val="bg1"/>
              </a:solidFill>
            </a:ln>
          </c:spPr>
          <c:dPt>
            <c:idx val="0"/>
            <c:bubble3D val="0"/>
            <c:explosion val="11"/>
            <c:spPr>
              <a:solidFill>
                <a:schemeClr val="accent2"/>
              </a:solidFill>
              <a:ln w="12700">
                <a:solidFill>
                  <a:schemeClr val="bg1"/>
                </a:solidFill>
              </a:ln>
            </c:spPr>
          </c:dPt>
          <c:dPt>
            <c:idx val="1"/>
            <c:bubble3D val="0"/>
            <c:spPr>
              <a:solidFill>
                <a:schemeClr val="accent3"/>
              </a:solidFill>
              <a:ln w="12700">
                <a:solidFill>
                  <a:schemeClr val="bg1"/>
                </a:solidFill>
              </a:ln>
            </c:spPr>
          </c:dPt>
          <c:dPt>
            <c:idx val="2"/>
            <c:bubble3D val="0"/>
            <c:spPr>
              <a:solidFill>
                <a:schemeClr val="tx2"/>
              </a:solidFill>
              <a:ln w="12700">
                <a:solidFill>
                  <a:schemeClr val="bg1"/>
                </a:solidFill>
              </a:ln>
            </c:spPr>
          </c:dPt>
          <c:dLbls>
            <c:spPr>
              <a:noFill/>
              <a:ln>
                <a:noFill/>
              </a:ln>
              <a:effectLst/>
            </c:spPr>
            <c:txPr>
              <a:bodyPr/>
              <a:lstStyle/>
              <a:p>
                <a:pPr>
                  <a:defRPr lang="nl-NL">
                    <a:solidFill>
                      <a:schemeClr val="bg1"/>
                    </a:solidFill>
                  </a:defRPr>
                </a:pPr>
                <a:endParaRPr lang="en-US"/>
              </a:p>
            </c:txPr>
            <c:dLblPos val="ctr"/>
            <c:showLegendKey val="0"/>
            <c:showVal val="0"/>
            <c:showCatName val="0"/>
            <c:showSerName val="0"/>
            <c:showPercent val="1"/>
            <c:showBubbleSize val="0"/>
            <c:showLeaderLines val="0"/>
            <c:extLst>
              <c:ext xmlns:c15="http://schemas.microsoft.com/office/drawing/2012/chart" uri="{CE6537A1-D6FC-4f65-9D91-7224C49458BB}"/>
            </c:extLst>
          </c:dLbls>
          <c:cat>
            <c:strRef>
              <c:f>Sheet1!$A$2:$A$4</c:f>
              <c:strCache>
                <c:ptCount val="3"/>
                <c:pt idx="0">
                  <c:v>A</c:v>
                </c:pt>
                <c:pt idx="1">
                  <c:v>B</c:v>
                </c:pt>
                <c:pt idx="2">
                  <c:v>C</c:v>
                </c:pt>
              </c:strCache>
            </c:strRef>
          </c:cat>
          <c:val>
            <c:numRef>
              <c:f>Sheet1!$B$2:$B$4</c:f>
              <c:numCache>
                <c:formatCode>General</c:formatCode>
                <c:ptCount val="3"/>
                <c:pt idx="0">
                  <c:v>55</c:v>
                </c:pt>
                <c:pt idx="1">
                  <c:v>26</c:v>
                </c:pt>
                <c:pt idx="2">
                  <c:v>19</c:v>
                </c:pt>
              </c:numCache>
            </c:numRef>
          </c:val>
        </c:ser>
        <c:dLbls>
          <c:showLegendKey val="0"/>
          <c:showVal val="1"/>
          <c:showCatName val="0"/>
          <c:showSerName val="0"/>
          <c:showPercent val="0"/>
          <c:showBubbleSize val="0"/>
          <c:showLeaderLines val="0"/>
        </c:dLbls>
        <c:firstSliceAng val="0"/>
      </c:pieChart>
    </c:plotArea>
    <c:plotVisOnly val="1"/>
    <c:dispBlanksAs val="gap"/>
    <c:showDLblsOverMax val="0"/>
  </c:chart>
  <c:txPr>
    <a:bodyPr/>
    <a:lstStyle/>
    <a:p>
      <a:pPr>
        <a:defRPr sz="12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12675070028012"/>
          <c:y val="4.6153842659460646E-2"/>
          <c:w val="0.820984360410831"/>
          <c:h val="0.86692770541128861"/>
        </c:manualLayout>
      </c:layout>
      <c:barChart>
        <c:barDir val="bar"/>
        <c:grouping val="stacked"/>
        <c:varyColors val="0"/>
        <c:ser>
          <c:idx val="0"/>
          <c:order val="0"/>
          <c:tx>
            <c:strRef>
              <c:f>Sheet1!$B$1</c:f>
              <c:strCache>
                <c:ptCount val="1"/>
                <c:pt idx="0">
                  <c:v>A</c:v>
                </c:pt>
              </c:strCache>
            </c:strRef>
          </c:tx>
          <c:spPr>
            <a:solidFill>
              <a:schemeClr val="accent2"/>
            </a:solidFill>
            <a:ln>
              <a:solidFill>
                <a:schemeClr val="bg1"/>
              </a:solidFill>
            </a:ln>
          </c:spPr>
          <c:invertIfNegative val="0"/>
          <c:dLbls>
            <c:dLbl>
              <c:idx val="0"/>
              <c:layout>
                <c:manualLayout>
                  <c:x val="8.8540663031526745E-2"/>
                  <c:y val="0"/>
                </c:manualLayout>
              </c:layout>
              <c:spPr/>
              <c:txPr>
                <a:bodyPr/>
                <a:lstStyle/>
                <a:p>
                  <a:pPr>
                    <a:defRPr lang="nl-NL">
                      <a:solidFill>
                        <a:schemeClr val="tx2"/>
                      </a:solidFill>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dLbl>
              <c:idx val="1"/>
              <c:layout>
                <c:manualLayout>
                  <c:x val="8.8540663031526745E-2"/>
                  <c:y val="0"/>
                </c:manualLayout>
              </c:layout>
              <c:spPr/>
              <c:txPr>
                <a:bodyPr/>
                <a:lstStyle/>
                <a:p>
                  <a:pPr>
                    <a:defRPr lang="nl-NL">
                      <a:solidFill>
                        <a:schemeClr val="tx2"/>
                      </a:solidFill>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dLbl>
              <c:idx val="2"/>
              <c:layout>
                <c:manualLayout>
                  <c:x val="9.2082289552787189E-2"/>
                  <c:y val="0"/>
                </c:manualLayout>
              </c:layout>
              <c:spPr/>
              <c:txPr>
                <a:bodyPr/>
                <a:lstStyle/>
                <a:p>
                  <a:pPr>
                    <a:defRPr lang="nl-NL">
                      <a:solidFill>
                        <a:schemeClr val="tx2"/>
                      </a:solidFill>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lang="nl-NL">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xxx</c:v>
                </c:pt>
                <c:pt idx="1">
                  <c:v>xxx</c:v>
                </c:pt>
                <c:pt idx="2">
                  <c:v>xxx</c:v>
                </c:pt>
              </c:strCache>
            </c:strRef>
          </c:cat>
          <c:val>
            <c:numRef>
              <c:f>Sheet1!$B$2:$B$4</c:f>
              <c:numCache>
                <c:formatCode>General</c:formatCode>
                <c:ptCount val="3"/>
                <c:pt idx="0">
                  <c:v>15</c:v>
                </c:pt>
                <c:pt idx="1">
                  <c:v>31</c:v>
                </c:pt>
                <c:pt idx="2">
                  <c:v>22</c:v>
                </c:pt>
              </c:numCache>
            </c:numRef>
          </c:val>
        </c:ser>
        <c:dLbls>
          <c:showLegendKey val="0"/>
          <c:showVal val="0"/>
          <c:showCatName val="0"/>
          <c:showSerName val="0"/>
          <c:showPercent val="0"/>
          <c:showBubbleSize val="0"/>
        </c:dLbls>
        <c:gapWidth val="46"/>
        <c:overlap val="100"/>
        <c:axId val="1932328704"/>
        <c:axId val="1932342848"/>
      </c:barChart>
      <c:catAx>
        <c:axId val="1932328704"/>
        <c:scaling>
          <c:orientation val="minMax"/>
        </c:scaling>
        <c:delete val="0"/>
        <c:axPos val="l"/>
        <c:numFmt formatCode="General" sourceLinked="0"/>
        <c:majorTickMark val="none"/>
        <c:minorTickMark val="none"/>
        <c:tickLblPos val="nextTo"/>
        <c:spPr>
          <a:ln>
            <a:solidFill>
              <a:schemeClr val="accent1"/>
            </a:solidFill>
          </a:ln>
        </c:spPr>
        <c:txPr>
          <a:bodyPr/>
          <a:lstStyle/>
          <a:p>
            <a:pPr>
              <a:defRPr lang="nl-NL">
                <a:solidFill>
                  <a:schemeClr val="tx2"/>
                </a:solidFill>
              </a:defRPr>
            </a:pPr>
            <a:endParaRPr lang="en-US"/>
          </a:p>
        </c:txPr>
        <c:crossAx val="1932342848"/>
        <c:crosses val="autoZero"/>
        <c:auto val="1"/>
        <c:lblAlgn val="ctr"/>
        <c:lblOffset val="100"/>
        <c:noMultiLvlLbl val="0"/>
      </c:catAx>
      <c:valAx>
        <c:axId val="1932342848"/>
        <c:scaling>
          <c:orientation val="minMax"/>
        </c:scaling>
        <c:delete val="1"/>
        <c:axPos val="b"/>
        <c:numFmt formatCode="General" sourceLinked="1"/>
        <c:majorTickMark val="out"/>
        <c:minorTickMark val="none"/>
        <c:tickLblPos val="none"/>
        <c:crossAx val="1932328704"/>
        <c:crosses val="autoZero"/>
        <c:crossBetween val="between"/>
      </c:valAx>
      <c:spPr>
        <a:ln>
          <a:solidFill>
            <a:schemeClr val="bg1"/>
          </a:solidFill>
        </a:ln>
      </c:spPr>
    </c:plotArea>
    <c:plotVisOnly val="1"/>
    <c:dispBlanksAs val="gap"/>
    <c:showDLblsOverMax val="0"/>
  </c:chart>
  <c:txPr>
    <a:bodyPr/>
    <a:lstStyle/>
    <a:p>
      <a:pPr>
        <a:defRPr sz="12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radarChart>
        <c:radarStyle val="marker"/>
        <c:varyColors val="0"/>
        <c:ser>
          <c:idx val="0"/>
          <c:order val="0"/>
          <c:tx>
            <c:strRef>
              <c:f>Sheet1!$B$1</c:f>
              <c:strCache>
                <c:ptCount val="1"/>
                <c:pt idx="0">
                  <c:v>Deloitte Blue</c:v>
                </c:pt>
              </c:strCache>
            </c:strRef>
          </c:tx>
          <c:marker>
            <c:symbol val="none"/>
          </c:marker>
          <c:cat>
            <c:strRef>
              <c:f>Sheet1!$A$2:$A$6</c:f>
              <c:strCache>
                <c:ptCount val="5"/>
                <c:pt idx="0">
                  <c:v>Criterium 1</c:v>
                </c:pt>
                <c:pt idx="1">
                  <c:v>Criterium 2</c:v>
                </c:pt>
                <c:pt idx="2">
                  <c:v>Criterium 3</c:v>
                </c:pt>
                <c:pt idx="3">
                  <c:v>Criterium 4</c:v>
                </c:pt>
                <c:pt idx="4">
                  <c:v>Criterium 5</c:v>
                </c:pt>
              </c:strCache>
            </c:strRef>
          </c:cat>
          <c:val>
            <c:numRef>
              <c:f>Sheet1!$B$2:$B$6</c:f>
              <c:numCache>
                <c:formatCode>General</c:formatCode>
                <c:ptCount val="5"/>
                <c:pt idx="0">
                  <c:v>3.1</c:v>
                </c:pt>
                <c:pt idx="1">
                  <c:v>3.15</c:v>
                </c:pt>
                <c:pt idx="2">
                  <c:v>3.05</c:v>
                </c:pt>
                <c:pt idx="3">
                  <c:v>3.4</c:v>
                </c:pt>
                <c:pt idx="4">
                  <c:v>3.4</c:v>
                </c:pt>
              </c:numCache>
            </c:numRef>
          </c:val>
        </c:ser>
        <c:ser>
          <c:idx val="1"/>
          <c:order val="1"/>
          <c:tx>
            <c:strRef>
              <c:f>Sheet1!$C$1</c:f>
              <c:strCache>
                <c:ptCount val="1"/>
                <c:pt idx="0">
                  <c:v>Deloitte Green</c:v>
                </c:pt>
              </c:strCache>
            </c:strRef>
          </c:tx>
          <c:marker>
            <c:symbol val="none"/>
          </c:marker>
          <c:cat>
            <c:strRef>
              <c:f>Sheet1!$A$2:$A$6</c:f>
              <c:strCache>
                <c:ptCount val="5"/>
                <c:pt idx="0">
                  <c:v>Criterium 1</c:v>
                </c:pt>
                <c:pt idx="1">
                  <c:v>Criterium 2</c:v>
                </c:pt>
                <c:pt idx="2">
                  <c:v>Criterium 3</c:v>
                </c:pt>
                <c:pt idx="3">
                  <c:v>Criterium 4</c:v>
                </c:pt>
                <c:pt idx="4">
                  <c:v>Criterium 5</c:v>
                </c:pt>
              </c:strCache>
            </c:strRef>
          </c:cat>
          <c:val>
            <c:numRef>
              <c:f>Sheet1!$C$2:$C$6</c:f>
              <c:numCache>
                <c:formatCode>General</c:formatCode>
                <c:ptCount val="5"/>
                <c:pt idx="0">
                  <c:v>2.5</c:v>
                </c:pt>
                <c:pt idx="1">
                  <c:v>2.5</c:v>
                </c:pt>
                <c:pt idx="2">
                  <c:v>4.3</c:v>
                </c:pt>
                <c:pt idx="3">
                  <c:v>4.5</c:v>
                </c:pt>
                <c:pt idx="4">
                  <c:v>4.7</c:v>
                </c:pt>
              </c:numCache>
            </c:numRef>
          </c:val>
        </c:ser>
        <c:ser>
          <c:idx val="2"/>
          <c:order val="2"/>
          <c:tx>
            <c:strRef>
              <c:f>Sheet1!$D$1</c:f>
              <c:strCache>
                <c:ptCount val="1"/>
                <c:pt idx="0">
                  <c:v>Mid Blue</c:v>
                </c:pt>
              </c:strCache>
            </c:strRef>
          </c:tx>
          <c:marker>
            <c:symbol val="none"/>
          </c:marker>
          <c:cat>
            <c:strRef>
              <c:f>Sheet1!$A$2:$A$6</c:f>
              <c:strCache>
                <c:ptCount val="5"/>
                <c:pt idx="0">
                  <c:v>Criterium 1</c:v>
                </c:pt>
                <c:pt idx="1">
                  <c:v>Criterium 2</c:v>
                </c:pt>
                <c:pt idx="2">
                  <c:v>Criterium 3</c:v>
                </c:pt>
                <c:pt idx="3">
                  <c:v>Criterium 4</c:v>
                </c:pt>
                <c:pt idx="4">
                  <c:v>Criterium 5</c:v>
                </c:pt>
              </c:strCache>
            </c:strRef>
          </c:cat>
          <c:val>
            <c:numRef>
              <c:f>Sheet1!$D$2:$D$6</c:f>
              <c:numCache>
                <c:formatCode>General</c:formatCode>
                <c:ptCount val="5"/>
                <c:pt idx="0">
                  <c:v>4.2</c:v>
                </c:pt>
                <c:pt idx="1">
                  <c:v>3.75</c:v>
                </c:pt>
                <c:pt idx="2">
                  <c:v>3.9499999999999997</c:v>
                </c:pt>
                <c:pt idx="3">
                  <c:v>4.05</c:v>
                </c:pt>
                <c:pt idx="4">
                  <c:v>4.2</c:v>
                </c:pt>
              </c:numCache>
            </c:numRef>
          </c:val>
        </c:ser>
        <c:ser>
          <c:idx val="3"/>
          <c:order val="3"/>
          <c:tx>
            <c:strRef>
              <c:f>Sheet1!$E$1</c:f>
              <c:strCache>
                <c:ptCount val="1"/>
                <c:pt idx="0">
                  <c:v>Dark Green</c:v>
                </c:pt>
              </c:strCache>
            </c:strRef>
          </c:tx>
          <c:marker>
            <c:symbol val="none"/>
          </c:marker>
          <c:cat>
            <c:strRef>
              <c:f>Sheet1!$A$2:$A$6</c:f>
              <c:strCache>
                <c:ptCount val="5"/>
                <c:pt idx="0">
                  <c:v>Criterium 1</c:v>
                </c:pt>
                <c:pt idx="1">
                  <c:v>Criterium 2</c:v>
                </c:pt>
                <c:pt idx="2">
                  <c:v>Criterium 3</c:v>
                </c:pt>
                <c:pt idx="3">
                  <c:v>Criterium 4</c:v>
                </c:pt>
                <c:pt idx="4">
                  <c:v>Criterium 5</c:v>
                </c:pt>
              </c:strCache>
            </c:strRef>
          </c:cat>
          <c:val>
            <c:numRef>
              <c:f>Sheet1!$E$2:$E$6</c:f>
              <c:numCache>
                <c:formatCode>General</c:formatCode>
                <c:ptCount val="5"/>
                <c:pt idx="0">
                  <c:v>3.5</c:v>
                </c:pt>
                <c:pt idx="1">
                  <c:v>3.4499999999999997</c:v>
                </c:pt>
                <c:pt idx="2">
                  <c:v>3.25</c:v>
                </c:pt>
                <c:pt idx="3">
                  <c:v>3.9</c:v>
                </c:pt>
                <c:pt idx="4">
                  <c:v>3.9</c:v>
                </c:pt>
              </c:numCache>
            </c:numRef>
          </c:val>
        </c:ser>
        <c:dLbls>
          <c:showLegendKey val="0"/>
          <c:showVal val="0"/>
          <c:showCatName val="0"/>
          <c:showSerName val="0"/>
          <c:showPercent val="0"/>
          <c:showBubbleSize val="0"/>
        </c:dLbls>
        <c:axId val="1932343392"/>
        <c:axId val="1932343936"/>
      </c:radarChart>
      <c:catAx>
        <c:axId val="1932343392"/>
        <c:scaling>
          <c:orientation val="minMax"/>
        </c:scaling>
        <c:delete val="0"/>
        <c:axPos val="b"/>
        <c:majorGridlines/>
        <c:numFmt formatCode="General" sourceLinked="1"/>
        <c:majorTickMark val="out"/>
        <c:minorTickMark val="none"/>
        <c:tickLblPos val="nextTo"/>
        <c:txPr>
          <a:bodyPr/>
          <a:lstStyle/>
          <a:p>
            <a:pPr>
              <a:defRPr lang="nl-NL"/>
            </a:pPr>
            <a:endParaRPr lang="en-US"/>
          </a:p>
        </c:txPr>
        <c:crossAx val="1932343936"/>
        <c:crosses val="autoZero"/>
        <c:auto val="1"/>
        <c:lblAlgn val="ctr"/>
        <c:lblOffset val="100"/>
        <c:noMultiLvlLbl val="0"/>
      </c:catAx>
      <c:valAx>
        <c:axId val="1932343936"/>
        <c:scaling>
          <c:orientation val="minMax"/>
        </c:scaling>
        <c:delete val="0"/>
        <c:axPos val="l"/>
        <c:majorGridlines>
          <c:spPr>
            <a:ln w="12700">
              <a:solidFill>
                <a:schemeClr val="accent1"/>
              </a:solidFill>
            </a:ln>
          </c:spPr>
        </c:majorGridlines>
        <c:numFmt formatCode="General" sourceLinked="1"/>
        <c:majorTickMark val="cross"/>
        <c:minorTickMark val="none"/>
        <c:tickLblPos val="nextTo"/>
        <c:spPr>
          <a:ln>
            <a:solidFill>
              <a:schemeClr val="accent1"/>
            </a:solidFill>
          </a:ln>
        </c:spPr>
        <c:txPr>
          <a:bodyPr/>
          <a:lstStyle/>
          <a:p>
            <a:pPr>
              <a:defRPr lang="nl-NL"/>
            </a:pPr>
            <a:endParaRPr lang="en-US"/>
          </a:p>
        </c:txPr>
        <c:crossAx val="1932343392"/>
        <c:crosses val="autoZero"/>
        <c:crossBetween val="between"/>
        <c:majorUnit val="1"/>
      </c:valAx>
      <c:spPr>
        <a:ln>
          <a:noFill/>
        </a:ln>
      </c:spPr>
    </c:plotArea>
    <c:legend>
      <c:legendPos val="r"/>
      <c:overlay val="0"/>
      <c:txPr>
        <a:bodyPr/>
        <a:lstStyle/>
        <a:p>
          <a:pPr>
            <a:defRPr lang="nl-NL"/>
          </a:pPr>
          <a:endParaRPr lang="en-US"/>
        </a:p>
      </c:txPr>
    </c:legend>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Deloitte blue</c:v>
                </c:pt>
              </c:strCache>
            </c:strRef>
          </c:tx>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B$2:$B$8</c:f>
              <c:numCache>
                <c:formatCode>General</c:formatCode>
                <c:ptCount val="7"/>
                <c:pt idx="0">
                  <c:v>15</c:v>
                </c:pt>
                <c:pt idx="1">
                  <c:v>20.399999999999999</c:v>
                </c:pt>
                <c:pt idx="2">
                  <c:v>30.6</c:v>
                </c:pt>
                <c:pt idx="3">
                  <c:v>45.9</c:v>
                </c:pt>
                <c:pt idx="4">
                  <c:v>90</c:v>
                </c:pt>
                <c:pt idx="5">
                  <c:v>34.6</c:v>
                </c:pt>
                <c:pt idx="6">
                  <c:v>25</c:v>
                </c:pt>
              </c:numCache>
            </c:numRef>
          </c:val>
          <c:smooth val="0"/>
        </c:ser>
        <c:ser>
          <c:idx val="1"/>
          <c:order val="1"/>
          <c:tx>
            <c:strRef>
              <c:f>Sheet1!$C$1</c:f>
              <c:strCache>
                <c:ptCount val="1"/>
                <c:pt idx="0">
                  <c:v>Deloitte Green</c:v>
                </c:pt>
              </c:strCache>
            </c:strRef>
          </c:tx>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C$2:$C$8</c:f>
              <c:numCache>
                <c:formatCode>General</c:formatCode>
                <c:ptCount val="7"/>
                <c:pt idx="0">
                  <c:v>15</c:v>
                </c:pt>
                <c:pt idx="1">
                  <c:v>27.4</c:v>
                </c:pt>
                <c:pt idx="2">
                  <c:v>38.6</c:v>
                </c:pt>
                <c:pt idx="3">
                  <c:v>46.9</c:v>
                </c:pt>
                <c:pt idx="4">
                  <c:v>20.399999999999999</c:v>
                </c:pt>
                <c:pt idx="5">
                  <c:v>31.6</c:v>
                </c:pt>
                <c:pt idx="6">
                  <c:v>50</c:v>
                </c:pt>
              </c:numCache>
            </c:numRef>
          </c:val>
          <c:smooth val="0"/>
        </c:ser>
        <c:ser>
          <c:idx val="2"/>
          <c:order val="2"/>
          <c:tx>
            <c:strRef>
              <c:f>Sheet1!$D$1</c:f>
              <c:strCache>
                <c:ptCount val="1"/>
                <c:pt idx="0">
                  <c:v>Mid Blue</c:v>
                </c:pt>
              </c:strCache>
            </c:strRef>
          </c:tx>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D$2:$D$8</c:f>
              <c:numCache>
                <c:formatCode>General</c:formatCode>
                <c:ptCount val="7"/>
                <c:pt idx="0">
                  <c:v>15</c:v>
                </c:pt>
                <c:pt idx="1">
                  <c:v>25</c:v>
                </c:pt>
                <c:pt idx="2">
                  <c:v>49</c:v>
                </c:pt>
                <c:pt idx="3">
                  <c:v>30</c:v>
                </c:pt>
                <c:pt idx="4">
                  <c:v>50</c:v>
                </c:pt>
                <c:pt idx="5">
                  <c:v>55</c:v>
                </c:pt>
                <c:pt idx="6">
                  <c:v>60</c:v>
                </c:pt>
              </c:numCache>
            </c:numRef>
          </c:val>
          <c:smooth val="0"/>
        </c:ser>
        <c:dLbls>
          <c:showLegendKey val="0"/>
          <c:showVal val="0"/>
          <c:showCatName val="0"/>
          <c:showSerName val="0"/>
          <c:showPercent val="0"/>
          <c:showBubbleSize val="0"/>
        </c:dLbls>
        <c:smooth val="0"/>
        <c:axId val="1932334688"/>
        <c:axId val="2050221936"/>
      </c:lineChart>
      <c:catAx>
        <c:axId val="1932334688"/>
        <c:scaling>
          <c:orientation val="minMax"/>
        </c:scaling>
        <c:delete val="0"/>
        <c:axPos val="b"/>
        <c:numFmt formatCode="General" sourceLinked="1"/>
        <c:majorTickMark val="out"/>
        <c:minorTickMark val="none"/>
        <c:tickLblPos val="nextTo"/>
        <c:spPr>
          <a:ln>
            <a:solidFill>
              <a:schemeClr val="accent1"/>
            </a:solidFill>
          </a:ln>
        </c:spPr>
        <c:txPr>
          <a:bodyPr/>
          <a:lstStyle/>
          <a:p>
            <a:pPr>
              <a:defRPr lang="nl-NL"/>
            </a:pPr>
            <a:endParaRPr lang="en-US"/>
          </a:p>
        </c:txPr>
        <c:crossAx val="2050221936"/>
        <c:crosses val="autoZero"/>
        <c:auto val="1"/>
        <c:lblAlgn val="ctr"/>
        <c:lblOffset val="100"/>
        <c:noMultiLvlLbl val="0"/>
      </c:catAx>
      <c:valAx>
        <c:axId val="2050221936"/>
        <c:scaling>
          <c:orientation val="minMax"/>
        </c:scaling>
        <c:delete val="0"/>
        <c:axPos val="l"/>
        <c:numFmt formatCode="General" sourceLinked="1"/>
        <c:majorTickMark val="out"/>
        <c:minorTickMark val="none"/>
        <c:tickLblPos val="nextTo"/>
        <c:spPr>
          <a:ln>
            <a:solidFill>
              <a:schemeClr val="accent1"/>
            </a:solidFill>
          </a:ln>
        </c:spPr>
        <c:txPr>
          <a:bodyPr/>
          <a:lstStyle/>
          <a:p>
            <a:pPr>
              <a:defRPr lang="nl-NL"/>
            </a:pPr>
            <a:endParaRPr lang="en-US"/>
          </a:p>
        </c:txPr>
        <c:crossAx val="1932334688"/>
        <c:crosses val="autoZero"/>
        <c:crossBetween val="midCat"/>
        <c:majorUnit val="25"/>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Deloitte blue</c:v>
                </c:pt>
              </c:strCache>
            </c:strRef>
          </c:tx>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B$2:$B$8</c:f>
              <c:numCache>
                <c:formatCode>General</c:formatCode>
                <c:ptCount val="7"/>
                <c:pt idx="0">
                  <c:v>15</c:v>
                </c:pt>
                <c:pt idx="1">
                  <c:v>20.399999999999999</c:v>
                </c:pt>
                <c:pt idx="2">
                  <c:v>30.6</c:v>
                </c:pt>
                <c:pt idx="3">
                  <c:v>45.9</c:v>
                </c:pt>
                <c:pt idx="4">
                  <c:v>90</c:v>
                </c:pt>
                <c:pt idx="5">
                  <c:v>34.6</c:v>
                </c:pt>
                <c:pt idx="6">
                  <c:v>25</c:v>
                </c:pt>
              </c:numCache>
            </c:numRef>
          </c:val>
          <c:smooth val="0"/>
        </c:ser>
        <c:ser>
          <c:idx val="1"/>
          <c:order val="1"/>
          <c:tx>
            <c:strRef>
              <c:f>Sheet1!$C$1</c:f>
              <c:strCache>
                <c:ptCount val="1"/>
                <c:pt idx="0">
                  <c:v>Deloitte Green</c:v>
                </c:pt>
              </c:strCache>
            </c:strRef>
          </c:tx>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C$2:$C$8</c:f>
              <c:numCache>
                <c:formatCode>General</c:formatCode>
                <c:ptCount val="7"/>
                <c:pt idx="0">
                  <c:v>15</c:v>
                </c:pt>
                <c:pt idx="1">
                  <c:v>27.4</c:v>
                </c:pt>
                <c:pt idx="2">
                  <c:v>38.6</c:v>
                </c:pt>
                <c:pt idx="3">
                  <c:v>46.9</c:v>
                </c:pt>
                <c:pt idx="4">
                  <c:v>20.399999999999999</c:v>
                </c:pt>
                <c:pt idx="5">
                  <c:v>31.6</c:v>
                </c:pt>
                <c:pt idx="6">
                  <c:v>50</c:v>
                </c:pt>
              </c:numCache>
            </c:numRef>
          </c:val>
          <c:smooth val="0"/>
        </c:ser>
        <c:ser>
          <c:idx val="2"/>
          <c:order val="2"/>
          <c:tx>
            <c:strRef>
              <c:f>Sheet1!$D$1</c:f>
              <c:strCache>
                <c:ptCount val="1"/>
                <c:pt idx="0">
                  <c:v>Mid Blue</c:v>
                </c:pt>
              </c:strCache>
            </c:strRef>
          </c:tx>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D$2:$D$8</c:f>
              <c:numCache>
                <c:formatCode>General</c:formatCode>
                <c:ptCount val="7"/>
                <c:pt idx="0">
                  <c:v>15</c:v>
                </c:pt>
                <c:pt idx="1">
                  <c:v>25</c:v>
                </c:pt>
                <c:pt idx="2">
                  <c:v>49</c:v>
                </c:pt>
                <c:pt idx="3">
                  <c:v>30</c:v>
                </c:pt>
                <c:pt idx="4">
                  <c:v>50</c:v>
                </c:pt>
                <c:pt idx="5">
                  <c:v>55</c:v>
                </c:pt>
                <c:pt idx="6">
                  <c:v>60</c:v>
                </c:pt>
              </c:numCache>
            </c:numRef>
          </c:val>
          <c:smooth val="0"/>
        </c:ser>
        <c:dLbls>
          <c:showLegendKey val="0"/>
          <c:showVal val="0"/>
          <c:showCatName val="0"/>
          <c:showSerName val="0"/>
          <c:showPercent val="0"/>
          <c:showBubbleSize val="0"/>
        </c:dLbls>
        <c:smooth val="0"/>
        <c:axId val="2050221392"/>
        <c:axId val="2050215952"/>
      </c:lineChart>
      <c:catAx>
        <c:axId val="2050221392"/>
        <c:scaling>
          <c:orientation val="minMax"/>
        </c:scaling>
        <c:delete val="0"/>
        <c:axPos val="b"/>
        <c:numFmt formatCode="General" sourceLinked="1"/>
        <c:majorTickMark val="out"/>
        <c:minorTickMark val="none"/>
        <c:tickLblPos val="nextTo"/>
        <c:spPr>
          <a:ln>
            <a:solidFill>
              <a:schemeClr val="accent1"/>
            </a:solidFill>
          </a:ln>
        </c:spPr>
        <c:txPr>
          <a:bodyPr/>
          <a:lstStyle/>
          <a:p>
            <a:pPr>
              <a:defRPr lang="nl-NL"/>
            </a:pPr>
            <a:endParaRPr lang="en-US"/>
          </a:p>
        </c:txPr>
        <c:crossAx val="2050215952"/>
        <c:crosses val="autoZero"/>
        <c:auto val="1"/>
        <c:lblAlgn val="ctr"/>
        <c:lblOffset val="100"/>
        <c:noMultiLvlLbl val="0"/>
      </c:catAx>
      <c:valAx>
        <c:axId val="2050215952"/>
        <c:scaling>
          <c:orientation val="minMax"/>
        </c:scaling>
        <c:delete val="0"/>
        <c:axPos val="l"/>
        <c:numFmt formatCode="General" sourceLinked="1"/>
        <c:majorTickMark val="out"/>
        <c:minorTickMark val="none"/>
        <c:tickLblPos val="nextTo"/>
        <c:spPr>
          <a:ln>
            <a:solidFill>
              <a:schemeClr val="accent1"/>
            </a:solidFill>
          </a:ln>
        </c:spPr>
        <c:txPr>
          <a:bodyPr/>
          <a:lstStyle/>
          <a:p>
            <a:pPr>
              <a:defRPr lang="nl-NL"/>
            </a:pPr>
            <a:endParaRPr lang="en-US"/>
          </a:p>
        </c:txPr>
        <c:crossAx val="2050221392"/>
        <c:crosses val="autoZero"/>
        <c:crossBetween val="midCat"/>
        <c:majorUnit val="25"/>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Deloitte blue</c:v>
                </c:pt>
              </c:strCache>
            </c:strRef>
          </c:tx>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B$2:$B$8</c:f>
              <c:numCache>
                <c:formatCode>General</c:formatCode>
                <c:ptCount val="7"/>
                <c:pt idx="0">
                  <c:v>15</c:v>
                </c:pt>
                <c:pt idx="1">
                  <c:v>20.399999999999999</c:v>
                </c:pt>
                <c:pt idx="2">
                  <c:v>30.6</c:v>
                </c:pt>
                <c:pt idx="3">
                  <c:v>45.9</c:v>
                </c:pt>
                <c:pt idx="4">
                  <c:v>90</c:v>
                </c:pt>
                <c:pt idx="5">
                  <c:v>34.6</c:v>
                </c:pt>
                <c:pt idx="6">
                  <c:v>25</c:v>
                </c:pt>
              </c:numCache>
            </c:numRef>
          </c:val>
          <c:smooth val="0"/>
        </c:ser>
        <c:ser>
          <c:idx val="1"/>
          <c:order val="1"/>
          <c:tx>
            <c:strRef>
              <c:f>Sheet1!$C$1</c:f>
              <c:strCache>
                <c:ptCount val="1"/>
                <c:pt idx="0">
                  <c:v>Deloitte Green</c:v>
                </c:pt>
              </c:strCache>
            </c:strRef>
          </c:tx>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C$2:$C$8</c:f>
              <c:numCache>
                <c:formatCode>General</c:formatCode>
                <c:ptCount val="7"/>
                <c:pt idx="0">
                  <c:v>15</c:v>
                </c:pt>
                <c:pt idx="1">
                  <c:v>27.4</c:v>
                </c:pt>
                <c:pt idx="2">
                  <c:v>38.6</c:v>
                </c:pt>
                <c:pt idx="3">
                  <c:v>46.9</c:v>
                </c:pt>
                <c:pt idx="4">
                  <c:v>20.399999999999999</c:v>
                </c:pt>
                <c:pt idx="5">
                  <c:v>31.6</c:v>
                </c:pt>
                <c:pt idx="6">
                  <c:v>50</c:v>
                </c:pt>
              </c:numCache>
            </c:numRef>
          </c:val>
          <c:smooth val="0"/>
        </c:ser>
        <c:ser>
          <c:idx val="2"/>
          <c:order val="2"/>
          <c:tx>
            <c:strRef>
              <c:f>Sheet1!$D$1</c:f>
              <c:strCache>
                <c:ptCount val="1"/>
                <c:pt idx="0">
                  <c:v>Mid Blue</c:v>
                </c:pt>
              </c:strCache>
            </c:strRef>
          </c:tx>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D$2:$D$8</c:f>
              <c:numCache>
                <c:formatCode>General</c:formatCode>
                <c:ptCount val="7"/>
                <c:pt idx="0">
                  <c:v>15</c:v>
                </c:pt>
                <c:pt idx="1">
                  <c:v>25</c:v>
                </c:pt>
                <c:pt idx="2">
                  <c:v>49</c:v>
                </c:pt>
                <c:pt idx="3">
                  <c:v>30</c:v>
                </c:pt>
                <c:pt idx="4">
                  <c:v>50</c:v>
                </c:pt>
                <c:pt idx="5">
                  <c:v>55</c:v>
                </c:pt>
                <c:pt idx="6">
                  <c:v>60</c:v>
                </c:pt>
              </c:numCache>
            </c:numRef>
          </c:val>
          <c:smooth val="0"/>
        </c:ser>
        <c:dLbls>
          <c:showLegendKey val="0"/>
          <c:showVal val="0"/>
          <c:showCatName val="0"/>
          <c:showSerName val="0"/>
          <c:showPercent val="0"/>
          <c:showBubbleSize val="0"/>
        </c:dLbls>
        <c:smooth val="0"/>
        <c:axId val="2050217040"/>
        <c:axId val="2050218128"/>
      </c:lineChart>
      <c:catAx>
        <c:axId val="2050217040"/>
        <c:scaling>
          <c:orientation val="minMax"/>
        </c:scaling>
        <c:delete val="0"/>
        <c:axPos val="b"/>
        <c:numFmt formatCode="General" sourceLinked="1"/>
        <c:majorTickMark val="out"/>
        <c:minorTickMark val="none"/>
        <c:tickLblPos val="nextTo"/>
        <c:spPr>
          <a:ln>
            <a:solidFill>
              <a:schemeClr val="accent1"/>
            </a:solidFill>
          </a:ln>
        </c:spPr>
        <c:txPr>
          <a:bodyPr/>
          <a:lstStyle/>
          <a:p>
            <a:pPr>
              <a:defRPr lang="nl-NL"/>
            </a:pPr>
            <a:endParaRPr lang="en-US"/>
          </a:p>
        </c:txPr>
        <c:crossAx val="2050218128"/>
        <c:crosses val="autoZero"/>
        <c:auto val="1"/>
        <c:lblAlgn val="ctr"/>
        <c:lblOffset val="100"/>
        <c:noMultiLvlLbl val="0"/>
      </c:catAx>
      <c:valAx>
        <c:axId val="2050218128"/>
        <c:scaling>
          <c:orientation val="minMax"/>
        </c:scaling>
        <c:delete val="0"/>
        <c:axPos val="l"/>
        <c:numFmt formatCode="General" sourceLinked="1"/>
        <c:majorTickMark val="out"/>
        <c:minorTickMark val="none"/>
        <c:tickLblPos val="nextTo"/>
        <c:spPr>
          <a:ln>
            <a:solidFill>
              <a:schemeClr val="accent1"/>
            </a:solidFill>
          </a:ln>
        </c:spPr>
        <c:txPr>
          <a:bodyPr/>
          <a:lstStyle/>
          <a:p>
            <a:pPr>
              <a:defRPr lang="nl-NL"/>
            </a:pPr>
            <a:endParaRPr lang="en-US"/>
          </a:p>
        </c:txPr>
        <c:crossAx val="2050217040"/>
        <c:crosses val="autoZero"/>
        <c:crossBetween val="midCat"/>
        <c:majorUnit val="25"/>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Deloitte blue</c:v>
                </c:pt>
              </c:strCache>
            </c:strRef>
          </c:tx>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B$2:$B$8</c:f>
              <c:numCache>
                <c:formatCode>General</c:formatCode>
                <c:ptCount val="7"/>
                <c:pt idx="0">
                  <c:v>15</c:v>
                </c:pt>
                <c:pt idx="1">
                  <c:v>20.399999999999999</c:v>
                </c:pt>
                <c:pt idx="2">
                  <c:v>30.6</c:v>
                </c:pt>
                <c:pt idx="3">
                  <c:v>45.9</c:v>
                </c:pt>
                <c:pt idx="4">
                  <c:v>90</c:v>
                </c:pt>
                <c:pt idx="5">
                  <c:v>34.6</c:v>
                </c:pt>
                <c:pt idx="6">
                  <c:v>25</c:v>
                </c:pt>
              </c:numCache>
            </c:numRef>
          </c:val>
          <c:smooth val="1"/>
        </c:ser>
        <c:ser>
          <c:idx val="1"/>
          <c:order val="1"/>
          <c:tx>
            <c:strRef>
              <c:f>Sheet1!$C$1</c:f>
              <c:strCache>
                <c:ptCount val="1"/>
                <c:pt idx="0">
                  <c:v>Deloitte Green</c:v>
                </c:pt>
              </c:strCache>
            </c:strRef>
          </c:tx>
          <c:spPr>
            <a:ln>
              <a:prstDash val="dash"/>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C$2:$C$8</c:f>
              <c:numCache>
                <c:formatCode>General</c:formatCode>
                <c:ptCount val="7"/>
                <c:pt idx="0">
                  <c:v>15</c:v>
                </c:pt>
                <c:pt idx="1">
                  <c:v>27.4</c:v>
                </c:pt>
                <c:pt idx="2">
                  <c:v>38.6</c:v>
                </c:pt>
                <c:pt idx="3">
                  <c:v>46.9</c:v>
                </c:pt>
                <c:pt idx="4">
                  <c:v>20.399999999999999</c:v>
                </c:pt>
                <c:pt idx="5">
                  <c:v>31.6</c:v>
                </c:pt>
                <c:pt idx="6">
                  <c:v>50</c:v>
                </c:pt>
              </c:numCache>
            </c:numRef>
          </c:val>
          <c:smooth val="1"/>
        </c:ser>
        <c:ser>
          <c:idx val="2"/>
          <c:order val="2"/>
          <c:tx>
            <c:strRef>
              <c:f>Sheet1!$D$1</c:f>
              <c:strCache>
                <c:ptCount val="1"/>
                <c:pt idx="0">
                  <c:v>Mid Blue</c:v>
                </c:pt>
              </c:strCache>
            </c:strRef>
          </c:tx>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D$2:$D$8</c:f>
              <c:numCache>
                <c:formatCode>General</c:formatCode>
                <c:ptCount val="7"/>
                <c:pt idx="0">
                  <c:v>15</c:v>
                </c:pt>
                <c:pt idx="1">
                  <c:v>25</c:v>
                </c:pt>
                <c:pt idx="2">
                  <c:v>49</c:v>
                </c:pt>
                <c:pt idx="3">
                  <c:v>30</c:v>
                </c:pt>
                <c:pt idx="4">
                  <c:v>50</c:v>
                </c:pt>
                <c:pt idx="5">
                  <c:v>55</c:v>
                </c:pt>
                <c:pt idx="6">
                  <c:v>60</c:v>
                </c:pt>
              </c:numCache>
            </c:numRef>
          </c:val>
          <c:smooth val="1"/>
        </c:ser>
        <c:dLbls>
          <c:showLegendKey val="0"/>
          <c:showVal val="0"/>
          <c:showCatName val="0"/>
          <c:showSerName val="0"/>
          <c:showPercent val="0"/>
          <c:showBubbleSize val="0"/>
        </c:dLbls>
        <c:smooth val="0"/>
        <c:axId val="2050216496"/>
        <c:axId val="2050214864"/>
      </c:lineChart>
      <c:catAx>
        <c:axId val="2050216496"/>
        <c:scaling>
          <c:orientation val="minMax"/>
        </c:scaling>
        <c:delete val="0"/>
        <c:axPos val="b"/>
        <c:numFmt formatCode="General" sourceLinked="1"/>
        <c:majorTickMark val="out"/>
        <c:minorTickMark val="none"/>
        <c:tickLblPos val="nextTo"/>
        <c:spPr>
          <a:ln>
            <a:solidFill>
              <a:schemeClr val="accent1"/>
            </a:solidFill>
          </a:ln>
        </c:spPr>
        <c:txPr>
          <a:bodyPr/>
          <a:lstStyle/>
          <a:p>
            <a:pPr>
              <a:defRPr lang="nl-NL"/>
            </a:pPr>
            <a:endParaRPr lang="en-US"/>
          </a:p>
        </c:txPr>
        <c:crossAx val="2050214864"/>
        <c:crosses val="autoZero"/>
        <c:auto val="1"/>
        <c:lblAlgn val="ctr"/>
        <c:lblOffset val="100"/>
        <c:noMultiLvlLbl val="0"/>
      </c:catAx>
      <c:valAx>
        <c:axId val="2050214864"/>
        <c:scaling>
          <c:orientation val="minMax"/>
        </c:scaling>
        <c:delete val="0"/>
        <c:axPos val="l"/>
        <c:numFmt formatCode="General" sourceLinked="1"/>
        <c:majorTickMark val="out"/>
        <c:minorTickMark val="none"/>
        <c:tickLblPos val="nextTo"/>
        <c:spPr>
          <a:ln>
            <a:solidFill>
              <a:schemeClr val="accent1"/>
            </a:solidFill>
          </a:ln>
        </c:spPr>
        <c:txPr>
          <a:bodyPr/>
          <a:lstStyle/>
          <a:p>
            <a:pPr>
              <a:defRPr lang="nl-NL"/>
            </a:pPr>
            <a:endParaRPr lang="en-US"/>
          </a:p>
        </c:txPr>
        <c:crossAx val="2050216496"/>
        <c:crosses val="autoZero"/>
        <c:crossBetween val="midCat"/>
        <c:majorUnit val="25"/>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Deloitte blue</c:v>
                </c:pt>
              </c:strCache>
            </c:strRef>
          </c:tx>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B$2:$B$8</c:f>
              <c:numCache>
                <c:formatCode>General</c:formatCode>
                <c:ptCount val="7"/>
                <c:pt idx="0">
                  <c:v>15</c:v>
                </c:pt>
                <c:pt idx="1">
                  <c:v>20.399999999999999</c:v>
                </c:pt>
                <c:pt idx="2">
                  <c:v>30.6</c:v>
                </c:pt>
                <c:pt idx="3">
                  <c:v>45.9</c:v>
                </c:pt>
                <c:pt idx="4">
                  <c:v>90</c:v>
                </c:pt>
                <c:pt idx="5">
                  <c:v>34.6</c:v>
                </c:pt>
                <c:pt idx="6">
                  <c:v>25</c:v>
                </c:pt>
              </c:numCache>
            </c:numRef>
          </c:val>
          <c:smooth val="1"/>
        </c:ser>
        <c:ser>
          <c:idx val="1"/>
          <c:order val="1"/>
          <c:tx>
            <c:strRef>
              <c:f>Sheet1!$C$1</c:f>
              <c:strCache>
                <c:ptCount val="1"/>
                <c:pt idx="0">
                  <c:v>Deloitte Green</c:v>
                </c:pt>
              </c:strCache>
            </c:strRef>
          </c:tx>
          <c:spPr>
            <a:ln>
              <a:prstDash val="dash"/>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C$2:$C$8</c:f>
              <c:numCache>
                <c:formatCode>General</c:formatCode>
                <c:ptCount val="7"/>
                <c:pt idx="0">
                  <c:v>15</c:v>
                </c:pt>
                <c:pt idx="1">
                  <c:v>27.4</c:v>
                </c:pt>
                <c:pt idx="2">
                  <c:v>38.6</c:v>
                </c:pt>
                <c:pt idx="3">
                  <c:v>46.9</c:v>
                </c:pt>
                <c:pt idx="4">
                  <c:v>20.399999999999999</c:v>
                </c:pt>
                <c:pt idx="5">
                  <c:v>31.6</c:v>
                </c:pt>
                <c:pt idx="6">
                  <c:v>50</c:v>
                </c:pt>
              </c:numCache>
            </c:numRef>
          </c:val>
          <c:smooth val="1"/>
        </c:ser>
        <c:ser>
          <c:idx val="2"/>
          <c:order val="2"/>
          <c:tx>
            <c:strRef>
              <c:f>Sheet1!$D$1</c:f>
              <c:strCache>
                <c:ptCount val="1"/>
                <c:pt idx="0">
                  <c:v>Mid Blue</c:v>
                </c:pt>
              </c:strCache>
            </c:strRef>
          </c:tx>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D$2:$D$8</c:f>
              <c:numCache>
                <c:formatCode>General</c:formatCode>
                <c:ptCount val="7"/>
                <c:pt idx="0">
                  <c:v>15</c:v>
                </c:pt>
                <c:pt idx="1">
                  <c:v>25</c:v>
                </c:pt>
                <c:pt idx="2">
                  <c:v>49</c:v>
                </c:pt>
                <c:pt idx="3">
                  <c:v>30</c:v>
                </c:pt>
                <c:pt idx="4">
                  <c:v>50</c:v>
                </c:pt>
                <c:pt idx="5">
                  <c:v>55</c:v>
                </c:pt>
                <c:pt idx="6">
                  <c:v>60</c:v>
                </c:pt>
              </c:numCache>
            </c:numRef>
          </c:val>
          <c:smooth val="1"/>
        </c:ser>
        <c:dLbls>
          <c:showLegendKey val="0"/>
          <c:showVal val="0"/>
          <c:showCatName val="0"/>
          <c:showSerName val="0"/>
          <c:showPercent val="0"/>
          <c:showBubbleSize val="0"/>
        </c:dLbls>
        <c:smooth val="0"/>
        <c:axId val="2050214320"/>
        <c:axId val="2050220848"/>
      </c:lineChart>
      <c:catAx>
        <c:axId val="2050214320"/>
        <c:scaling>
          <c:orientation val="minMax"/>
        </c:scaling>
        <c:delete val="0"/>
        <c:axPos val="b"/>
        <c:numFmt formatCode="General" sourceLinked="1"/>
        <c:majorTickMark val="out"/>
        <c:minorTickMark val="none"/>
        <c:tickLblPos val="nextTo"/>
        <c:spPr>
          <a:ln>
            <a:solidFill>
              <a:schemeClr val="accent1"/>
            </a:solidFill>
          </a:ln>
        </c:spPr>
        <c:txPr>
          <a:bodyPr/>
          <a:lstStyle/>
          <a:p>
            <a:pPr>
              <a:defRPr lang="nl-NL"/>
            </a:pPr>
            <a:endParaRPr lang="en-US"/>
          </a:p>
        </c:txPr>
        <c:crossAx val="2050220848"/>
        <c:crosses val="autoZero"/>
        <c:auto val="1"/>
        <c:lblAlgn val="ctr"/>
        <c:lblOffset val="100"/>
        <c:noMultiLvlLbl val="0"/>
      </c:catAx>
      <c:valAx>
        <c:axId val="2050220848"/>
        <c:scaling>
          <c:orientation val="minMax"/>
        </c:scaling>
        <c:delete val="0"/>
        <c:axPos val="l"/>
        <c:numFmt formatCode="General" sourceLinked="1"/>
        <c:majorTickMark val="out"/>
        <c:minorTickMark val="none"/>
        <c:tickLblPos val="nextTo"/>
        <c:spPr>
          <a:ln>
            <a:solidFill>
              <a:schemeClr val="accent1"/>
            </a:solidFill>
          </a:ln>
        </c:spPr>
        <c:txPr>
          <a:bodyPr/>
          <a:lstStyle/>
          <a:p>
            <a:pPr>
              <a:defRPr lang="nl-NL"/>
            </a:pPr>
            <a:endParaRPr lang="en-US"/>
          </a:p>
        </c:txPr>
        <c:crossAx val="2050214320"/>
        <c:crosses val="autoZero"/>
        <c:crossBetween val="midCat"/>
        <c:majorUnit val="25"/>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Deloitte blue</c:v>
                </c:pt>
              </c:strCache>
            </c:strRef>
          </c:tx>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B$2:$B$8</c:f>
              <c:numCache>
                <c:formatCode>General</c:formatCode>
                <c:ptCount val="7"/>
                <c:pt idx="0">
                  <c:v>15</c:v>
                </c:pt>
                <c:pt idx="1">
                  <c:v>20.399999999999999</c:v>
                </c:pt>
                <c:pt idx="2">
                  <c:v>30.6</c:v>
                </c:pt>
                <c:pt idx="3">
                  <c:v>45.9</c:v>
                </c:pt>
                <c:pt idx="4">
                  <c:v>90</c:v>
                </c:pt>
                <c:pt idx="5">
                  <c:v>34.6</c:v>
                </c:pt>
                <c:pt idx="6">
                  <c:v>25</c:v>
                </c:pt>
              </c:numCache>
            </c:numRef>
          </c:val>
          <c:smooth val="1"/>
        </c:ser>
        <c:ser>
          <c:idx val="1"/>
          <c:order val="1"/>
          <c:tx>
            <c:strRef>
              <c:f>Sheet1!$C$1</c:f>
              <c:strCache>
                <c:ptCount val="1"/>
                <c:pt idx="0">
                  <c:v>Deloitte Green</c:v>
                </c:pt>
              </c:strCache>
            </c:strRef>
          </c:tx>
          <c:spPr>
            <a:ln>
              <a:prstDash val="dash"/>
            </a:ln>
          </c:spPr>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C$2:$C$8</c:f>
              <c:numCache>
                <c:formatCode>General</c:formatCode>
                <c:ptCount val="7"/>
                <c:pt idx="0">
                  <c:v>15</c:v>
                </c:pt>
                <c:pt idx="1">
                  <c:v>27.4</c:v>
                </c:pt>
                <c:pt idx="2">
                  <c:v>38.6</c:v>
                </c:pt>
                <c:pt idx="3">
                  <c:v>46.9</c:v>
                </c:pt>
                <c:pt idx="4">
                  <c:v>20.399999999999999</c:v>
                </c:pt>
                <c:pt idx="5">
                  <c:v>31.6</c:v>
                </c:pt>
                <c:pt idx="6">
                  <c:v>50</c:v>
                </c:pt>
              </c:numCache>
            </c:numRef>
          </c:val>
          <c:smooth val="1"/>
        </c:ser>
        <c:ser>
          <c:idx val="2"/>
          <c:order val="2"/>
          <c:tx>
            <c:strRef>
              <c:f>Sheet1!$D$1</c:f>
              <c:strCache>
                <c:ptCount val="1"/>
                <c:pt idx="0">
                  <c:v>Mid Blue</c:v>
                </c:pt>
              </c:strCache>
            </c:strRef>
          </c:tx>
          <c:marker>
            <c:symbol val="none"/>
          </c:marker>
          <c:cat>
            <c:numRef>
              <c:f>Sheet1!$A$2:$A$8</c:f>
              <c:numCache>
                <c:formatCode>General</c:formatCode>
                <c:ptCount val="7"/>
                <c:pt idx="0">
                  <c:v>0</c:v>
                </c:pt>
                <c:pt idx="1">
                  <c:v>1</c:v>
                </c:pt>
                <c:pt idx="2">
                  <c:v>2</c:v>
                </c:pt>
                <c:pt idx="3">
                  <c:v>3</c:v>
                </c:pt>
                <c:pt idx="4">
                  <c:v>4</c:v>
                </c:pt>
                <c:pt idx="5">
                  <c:v>5</c:v>
                </c:pt>
                <c:pt idx="6">
                  <c:v>6</c:v>
                </c:pt>
              </c:numCache>
            </c:numRef>
          </c:cat>
          <c:val>
            <c:numRef>
              <c:f>Sheet1!$D$2:$D$8</c:f>
              <c:numCache>
                <c:formatCode>General</c:formatCode>
                <c:ptCount val="7"/>
                <c:pt idx="0">
                  <c:v>15</c:v>
                </c:pt>
                <c:pt idx="1">
                  <c:v>25</c:v>
                </c:pt>
                <c:pt idx="2">
                  <c:v>49</c:v>
                </c:pt>
                <c:pt idx="3">
                  <c:v>30</c:v>
                </c:pt>
                <c:pt idx="4">
                  <c:v>50</c:v>
                </c:pt>
                <c:pt idx="5">
                  <c:v>55</c:v>
                </c:pt>
                <c:pt idx="6">
                  <c:v>60</c:v>
                </c:pt>
              </c:numCache>
            </c:numRef>
          </c:val>
          <c:smooth val="1"/>
        </c:ser>
        <c:dLbls>
          <c:showLegendKey val="0"/>
          <c:showVal val="0"/>
          <c:showCatName val="0"/>
          <c:showSerName val="0"/>
          <c:showPercent val="0"/>
          <c:showBubbleSize val="0"/>
        </c:dLbls>
        <c:smooth val="0"/>
        <c:axId val="2050213232"/>
        <c:axId val="2050224112"/>
      </c:lineChart>
      <c:catAx>
        <c:axId val="2050213232"/>
        <c:scaling>
          <c:orientation val="minMax"/>
        </c:scaling>
        <c:delete val="0"/>
        <c:axPos val="b"/>
        <c:numFmt formatCode="General" sourceLinked="1"/>
        <c:majorTickMark val="out"/>
        <c:minorTickMark val="none"/>
        <c:tickLblPos val="nextTo"/>
        <c:spPr>
          <a:ln>
            <a:solidFill>
              <a:schemeClr val="accent1"/>
            </a:solidFill>
          </a:ln>
        </c:spPr>
        <c:txPr>
          <a:bodyPr/>
          <a:lstStyle/>
          <a:p>
            <a:pPr>
              <a:defRPr lang="nl-NL"/>
            </a:pPr>
            <a:endParaRPr lang="en-US"/>
          </a:p>
        </c:txPr>
        <c:crossAx val="2050224112"/>
        <c:crosses val="autoZero"/>
        <c:auto val="1"/>
        <c:lblAlgn val="ctr"/>
        <c:lblOffset val="100"/>
        <c:noMultiLvlLbl val="0"/>
      </c:catAx>
      <c:valAx>
        <c:axId val="2050224112"/>
        <c:scaling>
          <c:orientation val="minMax"/>
        </c:scaling>
        <c:delete val="0"/>
        <c:axPos val="l"/>
        <c:numFmt formatCode="General" sourceLinked="1"/>
        <c:majorTickMark val="out"/>
        <c:minorTickMark val="none"/>
        <c:tickLblPos val="nextTo"/>
        <c:spPr>
          <a:ln>
            <a:solidFill>
              <a:schemeClr val="accent1"/>
            </a:solidFill>
          </a:ln>
        </c:spPr>
        <c:txPr>
          <a:bodyPr/>
          <a:lstStyle/>
          <a:p>
            <a:pPr>
              <a:defRPr lang="nl-NL"/>
            </a:pPr>
            <a:endParaRPr lang="en-US"/>
          </a:p>
        </c:txPr>
        <c:crossAx val="2050213232"/>
        <c:crosses val="autoZero"/>
        <c:crossBetween val="midCat"/>
        <c:majorUnit val="25"/>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84331032632564E-2"/>
          <c:y val="4.6153842659460646E-2"/>
          <c:w val="0.88414094578388613"/>
          <c:h val="0.86692770541128861"/>
        </c:manualLayout>
      </c:layout>
      <c:barChart>
        <c:barDir val="bar"/>
        <c:grouping val="stacked"/>
        <c:varyColors val="0"/>
        <c:ser>
          <c:idx val="0"/>
          <c:order val="0"/>
          <c:tx>
            <c:strRef>
              <c:f>Sheet1!$B$1</c:f>
              <c:strCache>
                <c:ptCount val="1"/>
                <c:pt idx="0">
                  <c:v>A</c:v>
                </c:pt>
              </c:strCache>
            </c:strRef>
          </c:tx>
          <c:spPr>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ser>
          <c:idx val="1"/>
          <c:order val="1"/>
          <c:tx>
            <c:strRef>
              <c:f>Sheet1!$C$1</c:f>
              <c:strCache>
                <c:ptCount val="1"/>
                <c:pt idx="0">
                  <c:v>B</c:v>
                </c:pt>
              </c:strCache>
            </c:strRef>
          </c:tx>
          <c:spPr>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46.9</c:v>
                </c:pt>
                <c:pt idx="1">
                  <c:v>38.6</c:v>
                </c:pt>
                <c:pt idx="2">
                  <c:v>45.6</c:v>
                </c:pt>
              </c:numCache>
            </c:numRef>
          </c:val>
        </c:ser>
        <c:ser>
          <c:idx val="2"/>
          <c:order val="2"/>
          <c:tx>
            <c:strRef>
              <c:f>Sheet1!$D$1</c:f>
              <c:strCache>
                <c:ptCount val="1"/>
                <c:pt idx="0">
                  <c:v>C</c:v>
                </c:pt>
              </c:strCache>
            </c:strRef>
          </c:tx>
          <c:spPr>
            <a:ln>
              <a:solidFill>
                <a:schemeClr val="bg1"/>
              </a:solidFill>
            </a:ln>
          </c:spPr>
          <c:invertIfNegative val="0"/>
          <c:dLbls>
            <c:delete val="1"/>
          </c:dLbls>
          <c:cat>
            <c:strRef>
              <c:f>Sheet1!$A$2:$A$4</c:f>
              <c:strCache>
                <c:ptCount val="3"/>
                <c:pt idx="0">
                  <c:v>East</c:v>
                </c:pt>
                <c:pt idx="1">
                  <c:v>West</c:v>
                </c:pt>
                <c:pt idx="2">
                  <c:v>North</c:v>
                </c:pt>
              </c:strCache>
            </c:strRef>
          </c:cat>
          <c:val>
            <c:numRef>
              <c:f>Sheet1!$D$2:$D$4</c:f>
              <c:numCache>
                <c:formatCode>General</c:formatCode>
                <c:ptCount val="3"/>
                <c:pt idx="0">
                  <c:v>45</c:v>
                </c:pt>
                <c:pt idx="1">
                  <c:v>34.6</c:v>
                </c:pt>
                <c:pt idx="2">
                  <c:v>39.200000000000003</c:v>
                </c:pt>
              </c:numCache>
            </c:numRef>
          </c:val>
        </c:ser>
        <c:ser>
          <c:idx val="3"/>
          <c:order val="3"/>
          <c:tx>
            <c:strRef>
              <c:f>Sheet1!$E$1</c:f>
              <c:strCache>
                <c:ptCount val="1"/>
                <c:pt idx="0">
                  <c:v>D</c:v>
                </c:pt>
              </c:strCache>
            </c:strRef>
          </c:tx>
          <c:spPr>
            <a:ln>
              <a:solidFill>
                <a:schemeClr val="bg1"/>
              </a:solidFill>
            </a:ln>
          </c:spPr>
          <c:invertIfNegative val="0"/>
          <c:dLbls>
            <c:delete val="1"/>
          </c:dLbls>
          <c:cat>
            <c:strRef>
              <c:f>Sheet1!$A$2:$A$4</c:f>
              <c:strCache>
                <c:ptCount val="3"/>
                <c:pt idx="0">
                  <c:v>East</c:v>
                </c:pt>
                <c:pt idx="1">
                  <c:v>West</c:v>
                </c:pt>
                <c:pt idx="2">
                  <c:v>North</c:v>
                </c:pt>
              </c:strCache>
            </c:strRef>
          </c:cat>
          <c:val>
            <c:numRef>
              <c:f>Sheet1!$E$2:$E$4</c:f>
              <c:numCache>
                <c:formatCode>General</c:formatCode>
                <c:ptCount val="3"/>
                <c:pt idx="0">
                  <c:v>43.9</c:v>
                </c:pt>
                <c:pt idx="1">
                  <c:v>31.6</c:v>
                </c:pt>
                <c:pt idx="2">
                  <c:v>30.4</c:v>
                </c:pt>
              </c:numCache>
            </c:numRef>
          </c:val>
        </c:ser>
        <c:dLbls>
          <c:showLegendKey val="0"/>
          <c:showVal val="1"/>
          <c:showCatName val="0"/>
          <c:showSerName val="0"/>
          <c:showPercent val="0"/>
          <c:showBubbleSize val="0"/>
        </c:dLbls>
        <c:gapWidth val="150"/>
        <c:overlap val="100"/>
        <c:axId val="1955883152"/>
        <c:axId val="1955881520"/>
      </c:barChart>
      <c:catAx>
        <c:axId val="1955883152"/>
        <c:scaling>
          <c:orientation val="minMax"/>
        </c:scaling>
        <c:delete val="0"/>
        <c:axPos val="l"/>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1955881520"/>
        <c:crosses val="autoZero"/>
        <c:auto val="1"/>
        <c:lblAlgn val="ctr"/>
        <c:lblOffset val="100"/>
        <c:noMultiLvlLbl val="0"/>
      </c:catAx>
      <c:valAx>
        <c:axId val="1955881520"/>
        <c:scaling>
          <c:orientation val="minMax"/>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55883152"/>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489E-2"/>
          <c:y val="4.6153842659460646E-2"/>
          <c:w val="0.8743456178099569"/>
          <c:h val="0.86692770541128861"/>
        </c:manualLayout>
      </c:layout>
      <c:barChart>
        <c:barDir val="col"/>
        <c:grouping val="stacked"/>
        <c:varyColors val="0"/>
        <c:ser>
          <c:idx val="0"/>
          <c:order val="0"/>
          <c:tx>
            <c:strRef>
              <c:f>Sheet1!$B$1</c:f>
              <c:strCache>
                <c:ptCount val="1"/>
                <c:pt idx="0">
                  <c:v>Invisible</c:v>
                </c:pt>
              </c:strCache>
            </c:strRef>
          </c:tx>
          <c:spPr>
            <a:solidFill>
              <a:schemeClr val="bg1"/>
            </a:solidFill>
            <a:ln>
              <a:solidFill>
                <a:schemeClr val="bg1"/>
              </a:solidFill>
            </a:ln>
          </c:spPr>
          <c:invertIfNegative val="0"/>
          <c:dLbls>
            <c:delete val="1"/>
          </c:dLbls>
          <c:cat>
            <c:strRef>
              <c:f>Sheet1!$A$2:$A$9</c:f>
              <c:strCache>
                <c:ptCount val="8"/>
                <c:pt idx="0">
                  <c:v>A</c:v>
                </c:pt>
                <c:pt idx="1">
                  <c:v>+ B</c:v>
                </c:pt>
                <c:pt idx="2">
                  <c:v>+ C</c:v>
                </c:pt>
                <c:pt idx="3">
                  <c:v>= Subtotal</c:v>
                </c:pt>
                <c:pt idx="4">
                  <c:v>- E</c:v>
                </c:pt>
                <c:pt idx="5">
                  <c:v>- F</c:v>
                </c:pt>
                <c:pt idx="6">
                  <c:v>- G</c:v>
                </c:pt>
                <c:pt idx="7">
                  <c:v>= Total</c:v>
                </c:pt>
              </c:strCache>
            </c:strRef>
          </c:cat>
          <c:val>
            <c:numRef>
              <c:f>Sheet1!$B$2:$B$9</c:f>
              <c:numCache>
                <c:formatCode>General</c:formatCode>
                <c:ptCount val="8"/>
                <c:pt idx="0">
                  <c:v>0</c:v>
                </c:pt>
                <c:pt idx="1">
                  <c:v>10</c:v>
                </c:pt>
                <c:pt idx="2">
                  <c:v>25</c:v>
                </c:pt>
                <c:pt idx="3">
                  <c:v>0</c:v>
                </c:pt>
                <c:pt idx="4">
                  <c:v>30</c:v>
                </c:pt>
                <c:pt idx="5">
                  <c:v>20</c:v>
                </c:pt>
                <c:pt idx="6">
                  <c:v>15</c:v>
                </c:pt>
                <c:pt idx="7">
                  <c:v>0</c:v>
                </c:pt>
              </c:numCache>
            </c:numRef>
          </c:val>
        </c:ser>
        <c:ser>
          <c:idx val="1"/>
          <c:order val="1"/>
          <c:tx>
            <c:strRef>
              <c:f>Sheet1!$C$1</c:f>
              <c:strCache>
                <c:ptCount val="1"/>
                <c:pt idx="0">
                  <c:v>Visible</c:v>
                </c:pt>
              </c:strCache>
            </c:strRef>
          </c:tx>
          <c:spPr>
            <a:solidFill>
              <a:schemeClr val="accent1"/>
            </a:solidFill>
            <a:ln>
              <a:solidFill>
                <a:schemeClr val="bg1"/>
              </a:solidFill>
            </a:ln>
          </c:spPr>
          <c:invertIfNegative val="0"/>
          <c:dLbls>
            <c:dLbl>
              <c:idx val="0"/>
              <c:layout>
                <c:manualLayout>
                  <c:x val="2.7986710940027452E-3"/>
                  <c:y val="-0.14008699545006648"/>
                </c:manualLayout>
              </c:layout>
              <c:dLblPos val="ctr"/>
              <c:showLegendKey val="0"/>
              <c:showVal val="1"/>
              <c:showCatName val="0"/>
              <c:showSerName val="0"/>
              <c:showPercent val="0"/>
              <c:showBubbleSize val="0"/>
              <c:extLst>
                <c:ext xmlns:c15="http://schemas.microsoft.com/office/drawing/2012/chart" uri="{CE6537A1-D6FC-4f65-9D91-7224C49458BB}"/>
              </c:extLst>
            </c:dLbl>
            <c:dLbl>
              <c:idx val="1"/>
              <c:layout>
                <c:manualLayout>
                  <c:x val="-1.3993355470013741E-3"/>
                  <c:y val="-0.19133833524886898"/>
                </c:manualLayout>
              </c:layout>
              <c:dLblPos val="ctr"/>
              <c:showLegendKey val="0"/>
              <c:showVal val="1"/>
              <c:showCatName val="0"/>
              <c:showSerName val="0"/>
              <c:showPercent val="0"/>
              <c:showBubbleSize val="0"/>
              <c:extLst>
                <c:ext xmlns:c15="http://schemas.microsoft.com/office/drawing/2012/chart" uri="{CE6537A1-D6FC-4f65-9D91-7224C49458BB}"/>
              </c:extLst>
            </c:dLbl>
            <c:dLbl>
              <c:idx val="2"/>
              <c:layout>
                <c:manualLayout>
                  <c:x val="0"/>
                  <c:y val="-0.1332534834768939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3"/>
              <c:layout>
                <c:manualLayout>
                  <c:x val="0"/>
                  <c:y val="-0.4065939624038468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4"/>
              <c:layout>
                <c:manualLayout>
                  <c:x val="-1.3993355470013741E-3"/>
                  <c:y val="-8.5418899664673725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5"/>
              <c:layout>
                <c:manualLayout>
                  <c:x val="0"/>
                  <c:y val="-0.13667023946347784"/>
                </c:manualLayout>
              </c:layout>
              <c:dLblPos val="ctr"/>
              <c:showLegendKey val="0"/>
              <c:showVal val="1"/>
              <c:showCatName val="0"/>
              <c:showSerName val="0"/>
              <c:showPercent val="0"/>
              <c:showBubbleSize val="0"/>
              <c:extLst>
                <c:ext xmlns:c15="http://schemas.microsoft.com/office/drawing/2012/chart" uri="{CE6537A1-D6FC-4f65-9D91-7224C49458BB}"/>
              </c:extLst>
            </c:dLbl>
            <c:dLbl>
              <c:idx val="6"/>
              <c:layout>
                <c:manualLayout>
                  <c:x val="1.0261675467593261E-16"/>
                  <c:y val="-8.5418899664673725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7"/>
              <c:layout>
                <c:manualLayout>
                  <c:x val="1.0261675467593261E-16"/>
                  <c:y val="-0.19475509123545592"/>
                </c:manualLayout>
              </c:layout>
              <c:dLblPos val="ct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lang="nl-NL">
                    <a:solidFill>
                      <a:schemeClr val="tx2"/>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c:v>
                </c:pt>
                <c:pt idx="1">
                  <c:v>+ B</c:v>
                </c:pt>
                <c:pt idx="2">
                  <c:v>+ C</c:v>
                </c:pt>
                <c:pt idx="3">
                  <c:v>= Subtotal</c:v>
                </c:pt>
                <c:pt idx="4">
                  <c:v>- E</c:v>
                </c:pt>
                <c:pt idx="5">
                  <c:v>- F</c:v>
                </c:pt>
                <c:pt idx="6">
                  <c:v>- G</c:v>
                </c:pt>
                <c:pt idx="7">
                  <c:v>= Total</c:v>
                </c:pt>
              </c:strCache>
            </c:strRef>
          </c:cat>
          <c:val>
            <c:numRef>
              <c:f>Sheet1!$C$2:$C$9</c:f>
              <c:numCache>
                <c:formatCode>General</c:formatCode>
                <c:ptCount val="8"/>
                <c:pt idx="0">
                  <c:v>10</c:v>
                </c:pt>
                <c:pt idx="1">
                  <c:v>15</c:v>
                </c:pt>
                <c:pt idx="2">
                  <c:v>10</c:v>
                </c:pt>
                <c:pt idx="3">
                  <c:v>35</c:v>
                </c:pt>
                <c:pt idx="4">
                  <c:v>5</c:v>
                </c:pt>
                <c:pt idx="5">
                  <c:v>10</c:v>
                </c:pt>
                <c:pt idx="6">
                  <c:v>5</c:v>
                </c:pt>
                <c:pt idx="7">
                  <c:v>15</c:v>
                </c:pt>
              </c:numCache>
            </c:numRef>
          </c:val>
        </c:ser>
        <c:ser>
          <c:idx val="2"/>
          <c:order val="2"/>
          <c:tx>
            <c:strRef>
              <c:f>Sheet1!$D$1</c:f>
              <c:strCache>
                <c:ptCount val="1"/>
                <c:pt idx="0">
                  <c:v>Column2</c:v>
                </c:pt>
              </c:strCache>
            </c:strRef>
          </c:tx>
          <c:spPr>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c:v>
                </c:pt>
                <c:pt idx="1">
                  <c:v>+ B</c:v>
                </c:pt>
                <c:pt idx="2">
                  <c:v>+ C</c:v>
                </c:pt>
                <c:pt idx="3">
                  <c:v>= Subtotal</c:v>
                </c:pt>
                <c:pt idx="4">
                  <c:v>- E</c:v>
                </c:pt>
                <c:pt idx="5">
                  <c:v>- F</c:v>
                </c:pt>
                <c:pt idx="6">
                  <c:v>- G</c:v>
                </c:pt>
                <c:pt idx="7">
                  <c:v>= Total</c:v>
                </c:pt>
              </c:strCache>
            </c:strRef>
          </c:cat>
          <c:val>
            <c:numRef>
              <c:f>Sheet1!$D$2:$D$9</c:f>
              <c:numCache>
                <c:formatCode>General</c:formatCode>
                <c:ptCount val="8"/>
              </c:numCache>
            </c:numRef>
          </c:val>
        </c:ser>
        <c:dLbls>
          <c:showLegendKey val="0"/>
          <c:showVal val="1"/>
          <c:showCatName val="0"/>
          <c:showSerName val="0"/>
          <c:showPercent val="0"/>
          <c:showBubbleSize val="0"/>
        </c:dLbls>
        <c:gapWidth val="150"/>
        <c:overlap val="100"/>
        <c:axId val="2050212688"/>
        <c:axId val="2050213776"/>
      </c:barChart>
      <c:catAx>
        <c:axId val="2050212688"/>
        <c:scaling>
          <c:orientation val="minMax"/>
        </c:scaling>
        <c:delete val="0"/>
        <c:axPos val="b"/>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2050213776"/>
        <c:crosses val="autoZero"/>
        <c:auto val="1"/>
        <c:lblAlgn val="ctr"/>
        <c:lblOffset val="100"/>
        <c:noMultiLvlLbl val="0"/>
      </c:catAx>
      <c:valAx>
        <c:axId val="2050213776"/>
        <c:scaling>
          <c:orientation val="minMax"/>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50212688"/>
        <c:crosses val="autoZero"/>
        <c:crossBetween val="between"/>
        <c:majorUnit val="10"/>
      </c:valAx>
    </c:plotArea>
    <c:plotVisOnly val="1"/>
    <c:dispBlanksAs val="gap"/>
    <c:showDLblsOverMax val="0"/>
  </c:chart>
  <c:txPr>
    <a:bodyPr/>
    <a:lstStyle/>
    <a:p>
      <a:pPr>
        <a:defRPr sz="12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489E-2"/>
          <c:y val="4.6153842659460646E-2"/>
          <c:w val="0.87434561780995712"/>
          <c:h val="0.86692770541128861"/>
        </c:manualLayout>
      </c:layout>
      <c:barChart>
        <c:barDir val="col"/>
        <c:grouping val="stacked"/>
        <c:varyColors val="0"/>
        <c:ser>
          <c:idx val="0"/>
          <c:order val="0"/>
          <c:tx>
            <c:strRef>
              <c:f>Sheet1!$A$2</c:f>
              <c:strCache>
                <c:ptCount val="1"/>
                <c:pt idx="0">
                  <c:v>Invisible dataset</c:v>
                </c:pt>
              </c:strCache>
            </c:strRef>
          </c:tx>
          <c:spPr>
            <a:solidFill>
              <a:schemeClr val="bg1"/>
            </a:solidFill>
            <a:ln>
              <a:solidFill>
                <a:schemeClr val="bg1"/>
              </a:solidFill>
            </a:ln>
          </c:spPr>
          <c:invertIfNegative val="0"/>
          <c:dLbls>
            <c:delete val="1"/>
          </c:dLbls>
          <c:cat>
            <c:strRef>
              <c:f>Sheet1!$B$1:$I$1</c:f>
              <c:strCache>
                <c:ptCount val="8"/>
                <c:pt idx="0">
                  <c:v>A</c:v>
                </c:pt>
                <c:pt idx="1">
                  <c:v>B</c:v>
                </c:pt>
                <c:pt idx="2">
                  <c:v>C</c:v>
                </c:pt>
                <c:pt idx="3">
                  <c:v>D</c:v>
                </c:pt>
                <c:pt idx="4">
                  <c:v>E</c:v>
                </c:pt>
                <c:pt idx="5">
                  <c:v>F</c:v>
                </c:pt>
                <c:pt idx="6">
                  <c:v>G</c:v>
                </c:pt>
                <c:pt idx="7">
                  <c:v>H</c:v>
                </c:pt>
              </c:strCache>
            </c:strRef>
          </c:cat>
          <c:val>
            <c:numRef>
              <c:f>Sheet1!$B$2:$I$2</c:f>
              <c:numCache>
                <c:formatCode>General</c:formatCode>
                <c:ptCount val="8"/>
                <c:pt idx="0">
                  <c:v>0</c:v>
                </c:pt>
                <c:pt idx="1">
                  <c:v>120</c:v>
                </c:pt>
                <c:pt idx="2">
                  <c:v>100</c:v>
                </c:pt>
                <c:pt idx="3">
                  <c:v>80</c:v>
                </c:pt>
                <c:pt idx="4">
                  <c:v>60</c:v>
                </c:pt>
                <c:pt idx="5">
                  <c:v>40</c:v>
                </c:pt>
                <c:pt idx="6">
                  <c:v>20</c:v>
                </c:pt>
                <c:pt idx="7">
                  <c:v>0</c:v>
                </c:pt>
              </c:numCache>
            </c:numRef>
          </c:val>
        </c:ser>
        <c:ser>
          <c:idx val="1"/>
          <c:order val="1"/>
          <c:tx>
            <c:strRef>
              <c:f>Sheet1!$A$3</c:f>
              <c:strCache>
                <c:ptCount val="1"/>
                <c:pt idx="0">
                  <c:v>Blue</c:v>
                </c:pt>
              </c:strCache>
            </c:strRef>
          </c:tx>
          <c:spPr>
            <a:solidFill>
              <a:schemeClr val="accent2"/>
            </a:solidFill>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A</c:v>
                </c:pt>
                <c:pt idx="1">
                  <c:v>B</c:v>
                </c:pt>
                <c:pt idx="2">
                  <c:v>C</c:v>
                </c:pt>
                <c:pt idx="3">
                  <c:v>D</c:v>
                </c:pt>
                <c:pt idx="4">
                  <c:v>E</c:v>
                </c:pt>
                <c:pt idx="5">
                  <c:v>F</c:v>
                </c:pt>
                <c:pt idx="6">
                  <c:v>G</c:v>
                </c:pt>
                <c:pt idx="7">
                  <c:v>H</c:v>
                </c:pt>
              </c:strCache>
            </c:strRef>
          </c:cat>
          <c:val>
            <c:numRef>
              <c:f>Sheet1!$B$3:$I$3</c:f>
              <c:numCache>
                <c:formatCode>General</c:formatCode>
                <c:ptCount val="8"/>
                <c:pt idx="1">
                  <c:v>20</c:v>
                </c:pt>
                <c:pt idx="2">
                  <c:v>20</c:v>
                </c:pt>
                <c:pt idx="3">
                  <c:v>20</c:v>
                </c:pt>
                <c:pt idx="4">
                  <c:v>20</c:v>
                </c:pt>
                <c:pt idx="5">
                  <c:v>20</c:v>
                </c:pt>
                <c:pt idx="6">
                  <c:v>20</c:v>
                </c:pt>
              </c:numCache>
            </c:numRef>
          </c:val>
        </c:ser>
        <c:ser>
          <c:idx val="2"/>
          <c:order val="2"/>
          <c:tx>
            <c:strRef>
              <c:f>Sheet1!$A$4</c:f>
              <c:strCache>
                <c:ptCount val="1"/>
                <c:pt idx="0">
                  <c:v>Green</c:v>
                </c:pt>
              </c:strCache>
            </c:strRef>
          </c:tx>
          <c:spPr>
            <a:solidFill>
              <a:schemeClr val="accent1"/>
            </a:solidFill>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A</c:v>
                </c:pt>
                <c:pt idx="1">
                  <c:v>B</c:v>
                </c:pt>
                <c:pt idx="2">
                  <c:v>C</c:v>
                </c:pt>
                <c:pt idx="3">
                  <c:v>D</c:v>
                </c:pt>
                <c:pt idx="4">
                  <c:v>E</c:v>
                </c:pt>
                <c:pt idx="5">
                  <c:v>F</c:v>
                </c:pt>
                <c:pt idx="6">
                  <c:v>G</c:v>
                </c:pt>
                <c:pt idx="7">
                  <c:v>H</c:v>
                </c:pt>
              </c:strCache>
            </c:strRef>
          </c:cat>
          <c:val>
            <c:numRef>
              <c:f>Sheet1!$B$4:$I$4</c:f>
              <c:numCache>
                <c:formatCode>General</c:formatCode>
                <c:ptCount val="8"/>
                <c:pt idx="0">
                  <c:v>140</c:v>
                </c:pt>
                <c:pt idx="7">
                  <c:v>20</c:v>
                </c:pt>
              </c:numCache>
            </c:numRef>
          </c:val>
        </c:ser>
        <c:dLbls>
          <c:showLegendKey val="0"/>
          <c:showVal val="1"/>
          <c:showCatName val="0"/>
          <c:showSerName val="0"/>
          <c:showPercent val="0"/>
          <c:showBubbleSize val="0"/>
        </c:dLbls>
        <c:gapWidth val="0"/>
        <c:overlap val="100"/>
        <c:axId val="2050226832"/>
        <c:axId val="2050215408"/>
      </c:barChart>
      <c:catAx>
        <c:axId val="2050226832"/>
        <c:scaling>
          <c:orientation val="minMax"/>
        </c:scaling>
        <c:delete val="0"/>
        <c:axPos val="b"/>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2050215408"/>
        <c:crosses val="autoZero"/>
        <c:auto val="1"/>
        <c:lblAlgn val="ctr"/>
        <c:lblOffset val="100"/>
        <c:noMultiLvlLbl val="0"/>
      </c:catAx>
      <c:valAx>
        <c:axId val="2050215408"/>
        <c:scaling>
          <c:orientation val="minMax"/>
          <c:max val="140"/>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50226832"/>
        <c:crosses val="autoZero"/>
        <c:crossBetween val="between"/>
        <c:majorUnit val="20"/>
      </c:valAx>
    </c:plotArea>
    <c:plotVisOnly val="1"/>
    <c:dispBlanksAs val="gap"/>
    <c:showDLblsOverMax val="0"/>
  </c:chart>
  <c:txPr>
    <a:bodyPr/>
    <a:lstStyle/>
    <a:p>
      <a:pPr>
        <a:defRPr sz="1200"/>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489E-2"/>
          <c:y val="4.6153842659460646E-2"/>
          <c:w val="0.87434561780995712"/>
          <c:h val="0.86692770541128861"/>
        </c:manualLayout>
      </c:layout>
      <c:barChart>
        <c:barDir val="bar"/>
        <c:grouping val="stacked"/>
        <c:varyColors val="0"/>
        <c:ser>
          <c:idx val="0"/>
          <c:order val="0"/>
          <c:tx>
            <c:strRef>
              <c:f>Sheet1!$B$1</c:f>
              <c:strCache>
                <c:ptCount val="1"/>
                <c:pt idx="0">
                  <c:v>Invisible</c:v>
                </c:pt>
              </c:strCache>
            </c:strRef>
          </c:tx>
          <c:spPr>
            <a:solidFill>
              <a:schemeClr val="bg1"/>
            </a:solidFill>
            <a:ln>
              <a:solidFill>
                <a:schemeClr val="bg1"/>
              </a:solidFill>
            </a:ln>
          </c:spPr>
          <c:invertIfNegative val="0"/>
          <c:dLbls>
            <c:delete val="1"/>
          </c:dLbls>
          <c:cat>
            <c:strRef>
              <c:f>Sheet1!$A$2:$A$6</c:f>
              <c:strCache>
                <c:ptCount val="5"/>
                <c:pt idx="0">
                  <c:v>Total</c:v>
                </c:pt>
                <c:pt idx="1">
                  <c:v>D</c:v>
                </c:pt>
                <c:pt idx="2">
                  <c:v>C</c:v>
                </c:pt>
                <c:pt idx="3">
                  <c:v>B</c:v>
                </c:pt>
                <c:pt idx="4">
                  <c:v>A</c:v>
                </c:pt>
              </c:strCache>
            </c:strRef>
          </c:cat>
          <c:val>
            <c:numRef>
              <c:f>Sheet1!$B$2:$B$6</c:f>
              <c:numCache>
                <c:formatCode>General</c:formatCode>
                <c:ptCount val="5"/>
                <c:pt idx="0">
                  <c:v>0</c:v>
                </c:pt>
                <c:pt idx="1">
                  <c:v>30</c:v>
                </c:pt>
                <c:pt idx="2">
                  <c:v>20</c:v>
                </c:pt>
                <c:pt idx="3">
                  <c:v>15</c:v>
                </c:pt>
                <c:pt idx="4">
                  <c:v>0</c:v>
                </c:pt>
              </c:numCache>
            </c:numRef>
          </c:val>
        </c:ser>
        <c:ser>
          <c:idx val="1"/>
          <c:order val="1"/>
          <c:tx>
            <c:strRef>
              <c:f>Sheet1!$C$1</c:f>
              <c:strCache>
                <c:ptCount val="1"/>
                <c:pt idx="0">
                  <c:v>Visible</c:v>
                </c:pt>
              </c:strCache>
            </c:strRef>
          </c:tx>
          <c:spPr>
            <a:solidFill>
              <a:schemeClr val="tx2"/>
            </a:solidFill>
            <a:ln>
              <a:solidFill>
                <a:schemeClr val="bg1"/>
              </a:solidFill>
            </a:ln>
          </c:spPr>
          <c:invertIfNegative val="0"/>
          <c:dLbls>
            <c:dLbl>
              <c:idx val="0"/>
              <c:layout>
                <c:manualLayout>
                  <c:x val="3.544988172033E-2"/>
                  <c:y val="0"/>
                </c:manualLayout>
              </c:layout>
              <c:dLblPos val="inEnd"/>
              <c:showLegendKey val="0"/>
              <c:showVal val="1"/>
              <c:showCatName val="0"/>
              <c:showSerName val="0"/>
              <c:showPercent val="0"/>
              <c:showBubbleSize val="0"/>
              <c:extLst>
                <c:ext xmlns:c15="http://schemas.microsoft.com/office/drawing/2012/chart" uri="{CE6537A1-D6FC-4f65-9D91-7224C49458BB}"/>
              </c:extLst>
            </c:dLbl>
            <c:dLbl>
              <c:idx val="1"/>
              <c:layout>
                <c:manualLayout>
                  <c:x val="2.6937183217822992E-2"/>
                  <c:y val="0"/>
                </c:manualLayout>
              </c:layout>
              <c:dLblPos val="inEnd"/>
              <c:showLegendKey val="0"/>
              <c:showVal val="1"/>
              <c:showCatName val="0"/>
              <c:showSerName val="0"/>
              <c:showPercent val="0"/>
              <c:showBubbleSize val="0"/>
              <c:extLst>
                <c:ext xmlns:c15="http://schemas.microsoft.com/office/drawing/2012/chart" uri="{CE6537A1-D6FC-4f65-9D91-7224C49458BB}"/>
              </c:extLst>
            </c:dLbl>
            <c:dLbl>
              <c:idx val="2"/>
              <c:layout>
                <c:manualLayout>
                  <c:x val="3.5799623806430529E-2"/>
                  <c:y val="0"/>
                </c:manualLayout>
              </c:layout>
              <c:dLblPos val="inEnd"/>
              <c:showLegendKey val="0"/>
              <c:showVal val="1"/>
              <c:showCatName val="0"/>
              <c:showSerName val="0"/>
              <c:showPercent val="0"/>
              <c:showBubbleSize val="0"/>
              <c:extLst>
                <c:ext xmlns:c15="http://schemas.microsoft.com/office/drawing/2012/chart" uri="{CE6537A1-D6FC-4f65-9D91-7224C49458BB}"/>
              </c:extLst>
            </c:dLbl>
            <c:dLbl>
              <c:idx val="3"/>
              <c:layout>
                <c:manualLayout>
                  <c:x val="2.4138530333620529E-2"/>
                  <c:y val="6.8335119731739334E-3"/>
                </c:manualLayout>
              </c:layout>
              <c:dLblPos val="inEnd"/>
              <c:showLegendKey val="0"/>
              <c:showVal val="1"/>
              <c:showCatName val="0"/>
              <c:showSerName val="0"/>
              <c:showPercent val="0"/>
              <c:showBubbleSize val="0"/>
              <c:extLst>
                <c:ext xmlns:c15="http://schemas.microsoft.com/office/drawing/2012/chart" uri="{CE6537A1-D6FC-4f65-9D91-7224C49458BB}"/>
              </c:extLst>
            </c:dLbl>
            <c:dLbl>
              <c:idx val="4"/>
              <c:layout>
                <c:manualLayout>
                  <c:x val="3.2184717581031821E-2"/>
                  <c:y val="0"/>
                </c:manualLayout>
              </c:layout>
              <c:dLblPos val="in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lang="nl-NL">
                    <a:solidFill>
                      <a:schemeClr val="tx2"/>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otal</c:v>
                </c:pt>
                <c:pt idx="1">
                  <c:v>D</c:v>
                </c:pt>
                <c:pt idx="2">
                  <c:v>C</c:v>
                </c:pt>
                <c:pt idx="3">
                  <c:v>B</c:v>
                </c:pt>
                <c:pt idx="4">
                  <c:v>A</c:v>
                </c:pt>
              </c:strCache>
            </c:strRef>
          </c:cat>
          <c:val>
            <c:numRef>
              <c:f>Sheet1!$C$2:$C$6</c:f>
              <c:numCache>
                <c:formatCode>General</c:formatCode>
                <c:ptCount val="5"/>
                <c:pt idx="0">
                  <c:v>35</c:v>
                </c:pt>
                <c:pt idx="1">
                  <c:v>5</c:v>
                </c:pt>
                <c:pt idx="2">
                  <c:v>10</c:v>
                </c:pt>
                <c:pt idx="3">
                  <c:v>5</c:v>
                </c:pt>
                <c:pt idx="4">
                  <c:v>15</c:v>
                </c:pt>
              </c:numCache>
            </c:numRef>
          </c:val>
        </c:ser>
        <c:dLbls>
          <c:showLegendKey val="0"/>
          <c:showVal val="1"/>
          <c:showCatName val="0"/>
          <c:showSerName val="0"/>
          <c:showPercent val="0"/>
          <c:showBubbleSize val="0"/>
        </c:dLbls>
        <c:gapWidth val="100"/>
        <c:overlap val="100"/>
        <c:axId val="2045945536"/>
        <c:axId val="2045947712"/>
      </c:barChart>
      <c:catAx>
        <c:axId val="2045945536"/>
        <c:scaling>
          <c:orientation val="minMax"/>
        </c:scaling>
        <c:delete val="0"/>
        <c:axPos val="l"/>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2045947712"/>
        <c:crosses val="autoZero"/>
        <c:auto val="1"/>
        <c:lblAlgn val="ctr"/>
        <c:lblOffset val="100"/>
        <c:noMultiLvlLbl val="0"/>
      </c:catAx>
      <c:valAx>
        <c:axId val="2045947712"/>
        <c:scaling>
          <c:orientation val="minMax"/>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45945536"/>
        <c:crosses val="autoZero"/>
        <c:crossBetween val="between"/>
        <c:majorUnit val="10"/>
      </c:valAx>
    </c:plotArea>
    <c:plotVisOnly val="1"/>
    <c:dispBlanksAs val="gap"/>
    <c:showDLblsOverMax val="0"/>
  </c:chart>
  <c:txPr>
    <a:bodyPr/>
    <a:lstStyle/>
    <a:p>
      <a:pPr>
        <a:defRPr sz="1200"/>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079636516531489E-2"/>
          <c:y val="4.6153842659460646E-2"/>
          <c:w val="0.87434561780995734"/>
          <c:h val="0.86692770541128861"/>
        </c:manualLayout>
      </c:layout>
      <c:barChart>
        <c:barDir val="bar"/>
        <c:grouping val="stacked"/>
        <c:varyColors val="0"/>
        <c:ser>
          <c:idx val="0"/>
          <c:order val="0"/>
          <c:tx>
            <c:strRef>
              <c:f>Sheet1!$A$2</c:f>
              <c:strCache>
                <c:ptCount val="1"/>
                <c:pt idx="0">
                  <c:v>Invisible</c:v>
                </c:pt>
              </c:strCache>
            </c:strRef>
          </c:tx>
          <c:spPr>
            <a:solidFill>
              <a:schemeClr val="bg1"/>
            </a:solidFill>
            <a:ln>
              <a:solidFill>
                <a:schemeClr val="bg1"/>
              </a:solidFill>
            </a:ln>
          </c:spPr>
          <c:invertIfNegative val="0"/>
          <c:dLbls>
            <c:delete val="1"/>
          </c:dLbls>
          <c:cat>
            <c:strRef>
              <c:f>Sheet1!$B$1:$G$1</c:f>
              <c:strCache>
                <c:ptCount val="6"/>
                <c:pt idx="0">
                  <c:v>Total</c:v>
                </c:pt>
                <c:pt idx="1">
                  <c:v>E</c:v>
                </c:pt>
                <c:pt idx="2">
                  <c:v>D</c:v>
                </c:pt>
                <c:pt idx="3">
                  <c:v>C</c:v>
                </c:pt>
                <c:pt idx="4">
                  <c:v>B</c:v>
                </c:pt>
                <c:pt idx="5">
                  <c:v>A</c:v>
                </c:pt>
              </c:strCache>
            </c:strRef>
          </c:cat>
          <c:val>
            <c:numRef>
              <c:f>Sheet1!$B$2:$G$2</c:f>
              <c:numCache>
                <c:formatCode>General</c:formatCode>
                <c:ptCount val="6"/>
                <c:pt idx="1">
                  <c:v>140</c:v>
                </c:pt>
                <c:pt idx="2">
                  <c:v>107</c:v>
                </c:pt>
                <c:pt idx="3">
                  <c:v>95</c:v>
                </c:pt>
                <c:pt idx="4">
                  <c:v>73</c:v>
                </c:pt>
              </c:numCache>
            </c:numRef>
          </c:val>
        </c:ser>
        <c:ser>
          <c:idx val="1"/>
          <c:order val="1"/>
          <c:tx>
            <c:strRef>
              <c:f>Sheet1!$A$3</c:f>
              <c:strCache>
                <c:ptCount val="1"/>
                <c:pt idx="0">
                  <c:v>Blue</c:v>
                </c:pt>
              </c:strCache>
            </c:strRef>
          </c:tx>
          <c:spPr>
            <a:solidFill>
              <a:schemeClr val="accent2"/>
            </a:solidFill>
            <a:ln>
              <a:solidFill>
                <a:schemeClr val="bg1"/>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1">
                  <c:v>E</c:v>
                </c:pt>
                <c:pt idx="2">
                  <c:v>D</c:v>
                </c:pt>
                <c:pt idx="3">
                  <c:v>C</c:v>
                </c:pt>
                <c:pt idx="4">
                  <c:v>B</c:v>
                </c:pt>
                <c:pt idx="5">
                  <c:v>A</c:v>
                </c:pt>
              </c:strCache>
            </c:strRef>
          </c:cat>
          <c:val>
            <c:numRef>
              <c:f>Sheet1!$B$3:$G$3</c:f>
              <c:numCache>
                <c:formatCode>General</c:formatCode>
                <c:ptCount val="6"/>
                <c:pt idx="1">
                  <c:v>14</c:v>
                </c:pt>
                <c:pt idx="2">
                  <c:v>33</c:v>
                </c:pt>
                <c:pt idx="3">
                  <c:v>12</c:v>
                </c:pt>
                <c:pt idx="4">
                  <c:v>22</c:v>
                </c:pt>
              </c:numCache>
            </c:numRef>
          </c:val>
        </c:ser>
        <c:ser>
          <c:idx val="2"/>
          <c:order val="2"/>
          <c:tx>
            <c:strRef>
              <c:f>Sheet1!$A$4</c:f>
              <c:strCache>
                <c:ptCount val="1"/>
                <c:pt idx="0">
                  <c:v>Green</c:v>
                </c:pt>
              </c:strCache>
            </c:strRef>
          </c:tx>
          <c:spPr>
            <a:solidFill>
              <a:schemeClr val="accent1"/>
            </a:solidFill>
            <a:ln>
              <a:solidFill>
                <a:schemeClr val="bg2"/>
              </a:solidFill>
            </a:ln>
          </c:spPr>
          <c:invertIfNegative val="0"/>
          <c:dLbls>
            <c:spPr>
              <a:noFill/>
              <a:ln>
                <a:noFill/>
              </a:ln>
              <a:effectLst/>
            </c:spPr>
            <c:txPr>
              <a:bodyPr/>
              <a:lstStyle/>
              <a:p>
                <a:pPr>
                  <a:defRPr lang="nl-NL">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Total</c:v>
                </c:pt>
                <c:pt idx="1">
                  <c:v>E</c:v>
                </c:pt>
                <c:pt idx="2">
                  <c:v>D</c:v>
                </c:pt>
                <c:pt idx="3">
                  <c:v>C</c:v>
                </c:pt>
                <c:pt idx="4">
                  <c:v>B</c:v>
                </c:pt>
                <c:pt idx="5">
                  <c:v>A</c:v>
                </c:pt>
              </c:strCache>
            </c:strRef>
          </c:cat>
          <c:val>
            <c:numRef>
              <c:f>Sheet1!$B$4:$G$4</c:f>
              <c:numCache>
                <c:formatCode>General</c:formatCode>
                <c:ptCount val="6"/>
                <c:pt idx="0">
                  <c:v>154</c:v>
                </c:pt>
                <c:pt idx="5">
                  <c:v>73</c:v>
                </c:pt>
              </c:numCache>
            </c:numRef>
          </c:val>
        </c:ser>
        <c:dLbls>
          <c:showLegendKey val="0"/>
          <c:showVal val="1"/>
          <c:showCatName val="0"/>
          <c:showSerName val="0"/>
          <c:showPercent val="0"/>
          <c:showBubbleSize val="0"/>
        </c:dLbls>
        <c:gapWidth val="0"/>
        <c:overlap val="100"/>
        <c:axId val="2045943904"/>
        <c:axId val="2045944448"/>
      </c:barChart>
      <c:catAx>
        <c:axId val="2045943904"/>
        <c:scaling>
          <c:orientation val="minMax"/>
        </c:scaling>
        <c:delete val="0"/>
        <c:axPos val="l"/>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2045944448"/>
        <c:crosses val="autoZero"/>
        <c:auto val="1"/>
        <c:lblAlgn val="ctr"/>
        <c:lblOffset val="100"/>
        <c:noMultiLvlLbl val="0"/>
      </c:catAx>
      <c:valAx>
        <c:axId val="2045944448"/>
        <c:scaling>
          <c:orientation val="minMax"/>
          <c:max val="160"/>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45943904"/>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A$2</c:f>
              <c:strCache>
                <c:ptCount val="1"/>
                <c:pt idx="0">
                  <c:v>High</c:v>
                </c:pt>
              </c:strCache>
            </c:strRef>
          </c:tx>
          <c:spPr>
            <a:ln>
              <a:noFill/>
            </a:ln>
          </c:spPr>
          <c:marker>
            <c:symbol val="dash"/>
            <c:size val="4"/>
            <c:spPr>
              <a:solidFill>
                <a:schemeClr val="tx2"/>
              </a:solidFill>
            </c:spPr>
          </c:marker>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2:$M$2</c:f>
              <c:numCache>
                <c:formatCode>General</c:formatCode>
                <c:ptCount val="12"/>
                <c:pt idx="0">
                  <c:v>44.25</c:v>
                </c:pt>
                <c:pt idx="1">
                  <c:v>40.630000000000003</c:v>
                </c:pt>
                <c:pt idx="2">
                  <c:v>38.75</c:v>
                </c:pt>
                <c:pt idx="3">
                  <c:v>37.75</c:v>
                </c:pt>
                <c:pt idx="4">
                  <c:v>39.25</c:v>
                </c:pt>
                <c:pt idx="5">
                  <c:v>43.5</c:v>
                </c:pt>
                <c:pt idx="6">
                  <c:v>45.63</c:v>
                </c:pt>
                <c:pt idx="7">
                  <c:v>41.25</c:v>
                </c:pt>
                <c:pt idx="8">
                  <c:v>45.25</c:v>
                </c:pt>
                <c:pt idx="9">
                  <c:v>42.879999999999995</c:v>
                </c:pt>
                <c:pt idx="10">
                  <c:v>37.6</c:v>
                </c:pt>
                <c:pt idx="11">
                  <c:v>41.75</c:v>
                </c:pt>
              </c:numCache>
            </c:numRef>
          </c:val>
          <c:smooth val="0"/>
        </c:ser>
        <c:ser>
          <c:idx val="1"/>
          <c:order val="1"/>
          <c:tx>
            <c:strRef>
              <c:f>Sheet1!$A$3</c:f>
              <c:strCache>
                <c:ptCount val="1"/>
                <c:pt idx="0">
                  <c:v>Low</c:v>
                </c:pt>
              </c:strCache>
            </c:strRef>
          </c:tx>
          <c:spPr>
            <a:ln>
              <a:noFill/>
            </a:ln>
          </c:spPr>
          <c:marker>
            <c:symbol val="dash"/>
            <c:size val="5"/>
            <c:spPr>
              <a:solidFill>
                <a:schemeClr val="tx2"/>
              </a:solidFill>
              <a:ln>
                <a:solidFill>
                  <a:schemeClr val="accent1"/>
                </a:solidFill>
              </a:ln>
            </c:spPr>
          </c:marker>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3:$M$3</c:f>
              <c:numCache>
                <c:formatCode>General</c:formatCode>
                <c:ptCount val="12"/>
                <c:pt idx="0">
                  <c:v>36.630000000000003</c:v>
                </c:pt>
                <c:pt idx="1">
                  <c:v>34.5</c:v>
                </c:pt>
                <c:pt idx="2">
                  <c:v>34</c:v>
                </c:pt>
                <c:pt idx="3">
                  <c:v>31.5</c:v>
                </c:pt>
                <c:pt idx="4">
                  <c:v>33.630000000000003</c:v>
                </c:pt>
                <c:pt idx="5">
                  <c:v>34.25</c:v>
                </c:pt>
                <c:pt idx="6">
                  <c:v>38.879999999999995</c:v>
                </c:pt>
                <c:pt idx="7">
                  <c:v>35.75</c:v>
                </c:pt>
                <c:pt idx="8">
                  <c:v>37.25</c:v>
                </c:pt>
                <c:pt idx="9">
                  <c:v>38.130000000000003</c:v>
                </c:pt>
                <c:pt idx="10">
                  <c:v>33.5</c:v>
                </c:pt>
                <c:pt idx="11">
                  <c:v>37.6</c:v>
                </c:pt>
              </c:numCache>
            </c:numRef>
          </c:val>
          <c:smooth val="0"/>
        </c:ser>
        <c:dLbls>
          <c:showLegendKey val="0"/>
          <c:showVal val="0"/>
          <c:showCatName val="0"/>
          <c:showSerName val="0"/>
          <c:showPercent val="0"/>
          <c:showBubbleSize val="0"/>
        </c:dLbls>
        <c:hiLowLines>
          <c:spPr>
            <a:ln>
              <a:solidFill>
                <a:schemeClr val="tx2"/>
              </a:solidFill>
              <a:headEnd type="none"/>
              <a:tailEnd type="none"/>
            </a:ln>
          </c:spPr>
        </c:hiLowLines>
        <c:marker val="1"/>
        <c:smooth val="0"/>
        <c:axId val="2045949888"/>
        <c:axId val="2045956960"/>
      </c:lineChart>
      <c:catAx>
        <c:axId val="2045949888"/>
        <c:scaling>
          <c:orientation val="minMax"/>
        </c:scaling>
        <c:delete val="0"/>
        <c:axPos val="b"/>
        <c:numFmt formatCode="General" sourceLinked="1"/>
        <c:majorTickMark val="out"/>
        <c:minorTickMark val="none"/>
        <c:tickLblPos val="nextTo"/>
        <c:spPr>
          <a:ln>
            <a:solidFill>
              <a:schemeClr val="accent1"/>
            </a:solidFill>
          </a:ln>
        </c:spPr>
        <c:txPr>
          <a:bodyPr/>
          <a:lstStyle/>
          <a:p>
            <a:pPr>
              <a:defRPr lang="nl-NL"/>
            </a:pPr>
            <a:endParaRPr lang="en-US"/>
          </a:p>
        </c:txPr>
        <c:crossAx val="2045956960"/>
        <c:crosses val="autoZero"/>
        <c:auto val="1"/>
        <c:lblAlgn val="ctr"/>
        <c:lblOffset val="100"/>
        <c:noMultiLvlLbl val="0"/>
      </c:catAx>
      <c:valAx>
        <c:axId val="2045956960"/>
        <c:scaling>
          <c:orientation val="minMax"/>
        </c:scaling>
        <c:delete val="0"/>
        <c:axPos val="l"/>
        <c:numFmt formatCode="General" sourceLinked="1"/>
        <c:majorTickMark val="out"/>
        <c:minorTickMark val="none"/>
        <c:tickLblPos val="nextTo"/>
        <c:spPr>
          <a:ln>
            <a:solidFill>
              <a:schemeClr val="accent1"/>
            </a:solidFill>
          </a:ln>
        </c:spPr>
        <c:txPr>
          <a:bodyPr/>
          <a:lstStyle/>
          <a:p>
            <a:pPr>
              <a:defRPr lang="nl-NL"/>
            </a:pPr>
            <a:endParaRPr lang="en-US"/>
          </a:p>
        </c:txPr>
        <c:crossAx val="2045949888"/>
        <c:crosses val="autoZero"/>
        <c:crossBetween val="between"/>
        <c:majorUnit val="10"/>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A$2</c:f>
              <c:strCache>
                <c:ptCount val="1"/>
                <c:pt idx="0">
                  <c:v>High</c:v>
                </c:pt>
              </c:strCache>
            </c:strRef>
          </c:tx>
          <c:spPr>
            <a:ln>
              <a:noFill/>
            </a:ln>
          </c:spPr>
          <c:marker>
            <c:symbol val="none"/>
          </c:marker>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2:$M$2</c:f>
              <c:numCache>
                <c:formatCode>General</c:formatCode>
                <c:ptCount val="12"/>
                <c:pt idx="0">
                  <c:v>44.25</c:v>
                </c:pt>
                <c:pt idx="1">
                  <c:v>40.630000000000003</c:v>
                </c:pt>
                <c:pt idx="2">
                  <c:v>38.75</c:v>
                </c:pt>
                <c:pt idx="3">
                  <c:v>37.75</c:v>
                </c:pt>
                <c:pt idx="4">
                  <c:v>39.25</c:v>
                </c:pt>
                <c:pt idx="5">
                  <c:v>43.5</c:v>
                </c:pt>
                <c:pt idx="6">
                  <c:v>45.63</c:v>
                </c:pt>
                <c:pt idx="7">
                  <c:v>41.25</c:v>
                </c:pt>
                <c:pt idx="8">
                  <c:v>45.25</c:v>
                </c:pt>
                <c:pt idx="9">
                  <c:v>42.88</c:v>
                </c:pt>
                <c:pt idx="10">
                  <c:v>37.6</c:v>
                </c:pt>
                <c:pt idx="11">
                  <c:v>41.75</c:v>
                </c:pt>
              </c:numCache>
            </c:numRef>
          </c:val>
          <c:smooth val="0"/>
        </c:ser>
        <c:ser>
          <c:idx val="1"/>
          <c:order val="1"/>
          <c:tx>
            <c:strRef>
              <c:f>Sheet1!$A$3</c:f>
              <c:strCache>
                <c:ptCount val="1"/>
                <c:pt idx="0">
                  <c:v>Medium</c:v>
                </c:pt>
              </c:strCache>
            </c:strRef>
          </c:tx>
          <c:spPr>
            <a:ln w="12700">
              <a:solidFill>
                <a:schemeClr val="accent1"/>
              </a:solidFill>
            </a:ln>
          </c:spPr>
          <c:marker>
            <c:symbol val="none"/>
          </c:marker>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3:$M$3</c:f>
              <c:numCache>
                <c:formatCode>General</c:formatCode>
                <c:ptCount val="12"/>
                <c:pt idx="0">
                  <c:v>40.44</c:v>
                </c:pt>
                <c:pt idx="1">
                  <c:v>37.56</c:v>
                </c:pt>
                <c:pt idx="2">
                  <c:v>36.370000000000005</c:v>
                </c:pt>
                <c:pt idx="3">
                  <c:v>34.630000000000003</c:v>
                </c:pt>
                <c:pt idx="4">
                  <c:v>36.44</c:v>
                </c:pt>
                <c:pt idx="5">
                  <c:v>38.870000000000005</c:v>
                </c:pt>
                <c:pt idx="6">
                  <c:v>42.25</c:v>
                </c:pt>
                <c:pt idx="7">
                  <c:v>38.5</c:v>
                </c:pt>
                <c:pt idx="8">
                  <c:v>41.25</c:v>
                </c:pt>
                <c:pt idx="9">
                  <c:v>40.5</c:v>
                </c:pt>
                <c:pt idx="10">
                  <c:v>35.56</c:v>
                </c:pt>
                <c:pt idx="11">
                  <c:v>39.690000000000012</c:v>
                </c:pt>
              </c:numCache>
            </c:numRef>
          </c:val>
          <c:smooth val="0"/>
        </c:ser>
        <c:ser>
          <c:idx val="2"/>
          <c:order val="2"/>
          <c:tx>
            <c:strRef>
              <c:f>Sheet1!$A$4</c:f>
              <c:strCache>
                <c:ptCount val="1"/>
                <c:pt idx="0">
                  <c:v>Low</c:v>
                </c:pt>
              </c:strCache>
            </c:strRef>
          </c:tx>
          <c:spPr>
            <a:ln>
              <a:noFill/>
            </a:ln>
          </c:spPr>
          <c:marker>
            <c:symbol val="none"/>
          </c:marker>
          <c:cat>
            <c:strRef>
              <c:f>Sheet1!$B$1:$M$1</c:f>
              <c:strCache>
                <c:ptCount val="12"/>
                <c:pt idx="0">
                  <c:v>A</c:v>
                </c:pt>
                <c:pt idx="1">
                  <c:v>B</c:v>
                </c:pt>
                <c:pt idx="2">
                  <c:v>C</c:v>
                </c:pt>
                <c:pt idx="3">
                  <c:v>D</c:v>
                </c:pt>
                <c:pt idx="4">
                  <c:v>E</c:v>
                </c:pt>
                <c:pt idx="5">
                  <c:v>F</c:v>
                </c:pt>
                <c:pt idx="6">
                  <c:v>G</c:v>
                </c:pt>
                <c:pt idx="7">
                  <c:v>H</c:v>
                </c:pt>
                <c:pt idx="8">
                  <c:v>I</c:v>
                </c:pt>
                <c:pt idx="9">
                  <c:v>J</c:v>
                </c:pt>
                <c:pt idx="10">
                  <c:v>K</c:v>
                </c:pt>
                <c:pt idx="11">
                  <c:v>L</c:v>
                </c:pt>
              </c:strCache>
            </c:strRef>
          </c:cat>
          <c:val>
            <c:numRef>
              <c:f>Sheet1!$B$4:$M$4</c:f>
              <c:numCache>
                <c:formatCode>General</c:formatCode>
                <c:ptCount val="12"/>
                <c:pt idx="0">
                  <c:v>36.630000000000003</c:v>
                </c:pt>
                <c:pt idx="1">
                  <c:v>34.5</c:v>
                </c:pt>
                <c:pt idx="2">
                  <c:v>34</c:v>
                </c:pt>
                <c:pt idx="3">
                  <c:v>31.5</c:v>
                </c:pt>
                <c:pt idx="4">
                  <c:v>33.630000000000003</c:v>
                </c:pt>
                <c:pt idx="5">
                  <c:v>34.25</c:v>
                </c:pt>
                <c:pt idx="6">
                  <c:v>38.880000000000003</c:v>
                </c:pt>
                <c:pt idx="7">
                  <c:v>35.75</c:v>
                </c:pt>
                <c:pt idx="8">
                  <c:v>37.25</c:v>
                </c:pt>
                <c:pt idx="9">
                  <c:v>38.130000000000003</c:v>
                </c:pt>
                <c:pt idx="10">
                  <c:v>33.5</c:v>
                </c:pt>
                <c:pt idx="11">
                  <c:v>37.6</c:v>
                </c:pt>
              </c:numCache>
            </c:numRef>
          </c:val>
          <c:smooth val="0"/>
        </c:ser>
        <c:dLbls>
          <c:showLegendKey val="0"/>
          <c:showVal val="0"/>
          <c:showCatName val="0"/>
          <c:showSerName val="0"/>
          <c:showPercent val="0"/>
          <c:showBubbleSize val="0"/>
        </c:dLbls>
        <c:upDownBars>
          <c:gapWidth val="150"/>
          <c:upBars/>
          <c:downBars>
            <c:spPr>
              <a:solidFill>
                <a:schemeClr val="accent2"/>
              </a:solidFill>
              <a:ln>
                <a:solidFill>
                  <a:schemeClr val="accent2"/>
                </a:solidFill>
              </a:ln>
            </c:spPr>
          </c:downBars>
        </c:upDownBars>
        <c:smooth val="0"/>
        <c:axId val="2045948256"/>
        <c:axId val="2045944992"/>
      </c:lineChart>
      <c:catAx>
        <c:axId val="2045948256"/>
        <c:scaling>
          <c:orientation val="minMax"/>
        </c:scaling>
        <c:delete val="0"/>
        <c:axPos val="b"/>
        <c:numFmt formatCode="General" sourceLinked="1"/>
        <c:majorTickMark val="out"/>
        <c:minorTickMark val="none"/>
        <c:tickLblPos val="nextTo"/>
        <c:spPr>
          <a:ln>
            <a:solidFill>
              <a:schemeClr val="accent1"/>
            </a:solidFill>
          </a:ln>
        </c:spPr>
        <c:txPr>
          <a:bodyPr/>
          <a:lstStyle/>
          <a:p>
            <a:pPr>
              <a:defRPr lang="nl-NL"/>
            </a:pPr>
            <a:endParaRPr lang="en-US"/>
          </a:p>
        </c:txPr>
        <c:crossAx val="2045944992"/>
        <c:crosses val="autoZero"/>
        <c:auto val="1"/>
        <c:lblAlgn val="ctr"/>
        <c:lblOffset val="100"/>
        <c:noMultiLvlLbl val="0"/>
      </c:catAx>
      <c:valAx>
        <c:axId val="2045944992"/>
        <c:scaling>
          <c:orientation val="minMax"/>
        </c:scaling>
        <c:delete val="0"/>
        <c:axPos val="l"/>
        <c:numFmt formatCode="General" sourceLinked="1"/>
        <c:majorTickMark val="out"/>
        <c:minorTickMark val="none"/>
        <c:tickLblPos val="nextTo"/>
        <c:spPr>
          <a:ln>
            <a:solidFill>
              <a:schemeClr val="accent1"/>
            </a:solidFill>
          </a:ln>
        </c:spPr>
        <c:txPr>
          <a:bodyPr/>
          <a:lstStyle/>
          <a:p>
            <a:pPr>
              <a:defRPr lang="nl-NL"/>
            </a:pPr>
            <a:endParaRPr lang="en-US"/>
          </a:p>
        </c:txPr>
        <c:crossAx val="2045948256"/>
        <c:crosses val="autoZero"/>
        <c:crossBetween val="between"/>
        <c:majorUnit val="10"/>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A$2</c:f>
              <c:strCache>
                <c:ptCount val="1"/>
              </c:strCache>
            </c:strRef>
          </c:tx>
          <c:spPr>
            <a:solidFill>
              <a:schemeClr val="accent2"/>
            </a:solidFill>
            <a:ln w="28575">
              <a:noFill/>
            </a:ln>
          </c:spPr>
          <c:invertIfNegative val="0"/>
          <c:cat>
            <c:strRef>
              <c:f>Sheet1!$B$1:$E$1</c:f>
              <c:strCache>
                <c:ptCount val="4"/>
                <c:pt idx="0">
                  <c:v>A</c:v>
                </c:pt>
                <c:pt idx="1">
                  <c:v>B</c:v>
                </c:pt>
                <c:pt idx="2">
                  <c:v>C</c:v>
                </c:pt>
                <c:pt idx="3">
                  <c:v>D</c:v>
                </c:pt>
              </c:strCache>
            </c:strRef>
          </c:cat>
          <c:val>
            <c:numRef>
              <c:f>Sheet1!$B$2:$E$2</c:f>
              <c:numCache>
                <c:formatCode>General</c:formatCode>
                <c:ptCount val="4"/>
                <c:pt idx="0">
                  <c:v>200</c:v>
                </c:pt>
                <c:pt idx="1">
                  <c:v>300</c:v>
                </c:pt>
                <c:pt idx="2">
                  <c:v>400</c:v>
                </c:pt>
                <c:pt idx="3">
                  <c:v>500</c:v>
                </c:pt>
              </c:numCache>
            </c:numRef>
          </c:val>
        </c:ser>
        <c:dLbls>
          <c:showLegendKey val="0"/>
          <c:showVal val="0"/>
          <c:showCatName val="0"/>
          <c:showSerName val="0"/>
          <c:showPercent val="0"/>
          <c:showBubbleSize val="0"/>
        </c:dLbls>
        <c:gapWidth val="150"/>
        <c:axId val="2045946624"/>
        <c:axId val="2045950432"/>
      </c:barChart>
      <c:stockChart>
        <c:ser>
          <c:idx val="1"/>
          <c:order val="1"/>
          <c:tx>
            <c:strRef>
              <c:f>Sheet1!$A$3</c:f>
              <c:strCache>
                <c:ptCount val="1"/>
                <c:pt idx="0">
                  <c:v>Bottom</c:v>
                </c:pt>
              </c:strCache>
            </c:strRef>
          </c:tx>
          <c:spPr>
            <a:ln w="28575">
              <a:noFill/>
            </a:ln>
          </c:spPr>
          <c:marker>
            <c:symbol val="none"/>
          </c:marker>
          <c:cat>
            <c:strRef>
              <c:f>Sheet1!$B$1:$E$1</c:f>
              <c:strCache>
                <c:ptCount val="4"/>
                <c:pt idx="0">
                  <c:v>A</c:v>
                </c:pt>
                <c:pt idx="1">
                  <c:v>B</c:v>
                </c:pt>
                <c:pt idx="2">
                  <c:v>C</c:v>
                </c:pt>
                <c:pt idx="3">
                  <c:v>D</c:v>
                </c:pt>
              </c:strCache>
            </c:strRef>
          </c:cat>
          <c:val>
            <c:numRef>
              <c:f>Sheet1!$B$3:$E$3</c:f>
              <c:numCache>
                <c:formatCode>General</c:formatCode>
                <c:ptCount val="4"/>
                <c:pt idx="0">
                  <c:v>10</c:v>
                </c:pt>
                <c:pt idx="1">
                  <c:v>20</c:v>
                </c:pt>
                <c:pt idx="2">
                  <c:v>30</c:v>
                </c:pt>
                <c:pt idx="3">
                  <c:v>40</c:v>
                </c:pt>
              </c:numCache>
            </c:numRef>
          </c:val>
          <c:smooth val="0"/>
        </c:ser>
        <c:ser>
          <c:idx val="2"/>
          <c:order val="2"/>
          <c:tx>
            <c:strRef>
              <c:f>Sheet1!$A$4</c:f>
              <c:strCache>
                <c:ptCount val="1"/>
                <c:pt idx="0">
                  <c:v>Mid</c:v>
                </c:pt>
              </c:strCache>
            </c:strRef>
          </c:tx>
          <c:spPr>
            <a:ln w="28575">
              <a:noFill/>
            </a:ln>
          </c:spPr>
          <c:marker>
            <c:symbol val="none"/>
          </c:marker>
          <c:cat>
            <c:strRef>
              <c:f>Sheet1!$B$1:$E$1</c:f>
              <c:strCache>
                <c:ptCount val="4"/>
                <c:pt idx="0">
                  <c:v>A</c:v>
                </c:pt>
                <c:pt idx="1">
                  <c:v>B</c:v>
                </c:pt>
                <c:pt idx="2">
                  <c:v>C</c:v>
                </c:pt>
                <c:pt idx="3">
                  <c:v>D</c:v>
                </c:pt>
              </c:strCache>
            </c:strRef>
          </c:cat>
          <c:val>
            <c:numRef>
              <c:f>Sheet1!$B$4:$E$4</c:f>
              <c:numCache>
                <c:formatCode>General</c:formatCode>
                <c:ptCount val="4"/>
                <c:pt idx="0">
                  <c:v>25</c:v>
                </c:pt>
                <c:pt idx="1">
                  <c:v>35</c:v>
                </c:pt>
                <c:pt idx="2">
                  <c:v>45</c:v>
                </c:pt>
                <c:pt idx="3">
                  <c:v>55</c:v>
                </c:pt>
              </c:numCache>
            </c:numRef>
          </c:val>
          <c:smooth val="0"/>
        </c:ser>
        <c:ser>
          <c:idx val="3"/>
          <c:order val="3"/>
          <c:tx>
            <c:strRef>
              <c:f>Sheet1!$A$5</c:f>
              <c:strCache>
                <c:ptCount val="1"/>
                <c:pt idx="0">
                  <c:v>Top</c:v>
                </c:pt>
              </c:strCache>
            </c:strRef>
          </c:tx>
          <c:spPr>
            <a:ln w="28575">
              <a:noFill/>
            </a:ln>
          </c:spPr>
          <c:marker>
            <c:symbol val="dash"/>
            <c:size val="5"/>
            <c:spPr>
              <a:solidFill>
                <a:schemeClr val="tx2"/>
              </a:solidFill>
              <a:ln>
                <a:solidFill>
                  <a:schemeClr val="tx2"/>
                </a:solidFill>
              </a:ln>
            </c:spPr>
          </c:marker>
          <c:cat>
            <c:strRef>
              <c:f>Sheet1!$B$1:$E$1</c:f>
              <c:strCache>
                <c:ptCount val="4"/>
                <c:pt idx="0">
                  <c:v>A</c:v>
                </c:pt>
                <c:pt idx="1">
                  <c:v>B</c:v>
                </c:pt>
                <c:pt idx="2">
                  <c:v>C</c:v>
                </c:pt>
                <c:pt idx="3">
                  <c:v>D</c:v>
                </c:pt>
              </c:strCache>
            </c:strRef>
          </c:cat>
          <c:val>
            <c:numRef>
              <c:f>Sheet1!$B$5:$E$5</c:f>
              <c:numCache>
                <c:formatCode>General</c:formatCode>
                <c:ptCount val="4"/>
                <c:pt idx="0">
                  <c:v>40</c:v>
                </c:pt>
                <c:pt idx="1">
                  <c:v>50</c:v>
                </c:pt>
                <c:pt idx="2">
                  <c:v>60</c:v>
                </c:pt>
                <c:pt idx="3">
                  <c:v>70</c:v>
                </c:pt>
              </c:numCache>
            </c:numRef>
          </c:val>
          <c:smooth val="0"/>
        </c:ser>
        <c:dLbls>
          <c:showLegendKey val="0"/>
          <c:showVal val="0"/>
          <c:showCatName val="0"/>
          <c:showSerName val="0"/>
          <c:showPercent val="0"/>
          <c:showBubbleSize val="0"/>
        </c:dLbls>
        <c:hiLowLines>
          <c:spPr>
            <a:ln>
              <a:solidFill>
                <a:schemeClr val="tx2"/>
              </a:solidFill>
            </a:ln>
          </c:spPr>
        </c:hiLowLines>
        <c:axId val="2045951520"/>
        <c:axId val="2045950976"/>
      </c:stockChart>
      <c:catAx>
        <c:axId val="2045946624"/>
        <c:scaling>
          <c:orientation val="minMax"/>
        </c:scaling>
        <c:delete val="0"/>
        <c:axPos val="b"/>
        <c:numFmt formatCode="General" sourceLinked="1"/>
        <c:majorTickMark val="out"/>
        <c:minorTickMark val="none"/>
        <c:tickLblPos val="nextTo"/>
        <c:spPr>
          <a:ln>
            <a:solidFill>
              <a:schemeClr val="accent1"/>
            </a:solidFill>
          </a:ln>
        </c:spPr>
        <c:txPr>
          <a:bodyPr/>
          <a:lstStyle/>
          <a:p>
            <a:pPr>
              <a:defRPr lang="nl-NL"/>
            </a:pPr>
            <a:endParaRPr lang="en-US"/>
          </a:p>
        </c:txPr>
        <c:crossAx val="2045950432"/>
        <c:crosses val="autoZero"/>
        <c:auto val="1"/>
        <c:lblAlgn val="ctr"/>
        <c:lblOffset val="100"/>
        <c:noMultiLvlLbl val="0"/>
      </c:catAx>
      <c:valAx>
        <c:axId val="2045950432"/>
        <c:scaling>
          <c:orientation val="minMax"/>
        </c:scaling>
        <c:delete val="0"/>
        <c:axPos val="l"/>
        <c:numFmt formatCode="General" sourceLinked="1"/>
        <c:majorTickMark val="out"/>
        <c:minorTickMark val="none"/>
        <c:tickLblPos val="nextTo"/>
        <c:spPr>
          <a:ln>
            <a:solidFill>
              <a:schemeClr val="accent1"/>
            </a:solidFill>
          </a:ln>
        </c:spPr>
        <c:txPr>
          <a:bodyPr/>
          <a:lstStyle/>
          <a:p>
            <a:pPr>
              <a:defRPr lang="nl-NL"/>
            </a:pPr>
            <a:endParaRPr lang="en-US"/>
          </a:p>
        </c:txPr>
        <c:crossAx val="2045946624"/>
        <c:crosses val="autoZero"/>
        <c:crossBetween val="between"/>
      </c:valAx>
      <c:valAx>
        <c:axId val="2045950976"/>
        <c:scaling>
          <c:orientation val="minMax"/>
        </c:scaling>
        <c:delete val="0"/>
        <c:axPos val="r"/>
        <c:numFmt formatCode="General" sourceLinked="1"/>
        <c:majorTickMark val="out"/>
        <c:minorTickMark val="none"/>
        <c:tickLblPos val="nextTo"/>
        <c:txPr>
          <a:bodyPr/>
          <a:lstStyle/>
          <a:p>
            <a:pPr>
              <a:defRPr lang="nl-NL"/>
            </a:pPr>
            <a:endParaRPr lang="en-US"/>
          </a:p>
        </c:txPr>
        <c:crossAx val="2045951520"/>
        <c:crosses val="max"/>
        <c:crossBetween val="between"/>
      </c:valAx>
      <c:catAx>
        <c:axId val="2045951520"/>
        <c:scaling>
          <c:orientation val="minMax"/>
        </c:scaling>
        <c:delete val="1"/>
        <c:axPos val="b"/>
        <c:numFmt formatCode="General" sourceLinked="1"/>
        <c:majorTickMark val="out"/>
        <c:minorTickMark val="none"/>
        <c:tickLblPos val="none"/>
        <c:crossAx val="2045950976"/>
        <c:crosses val="autoZero"/>
        <c:auto val="1"/>
        <c:lblAlgn val="ctr"/>
        <c:lblOffset val="100"/>
        <c:noMultiLvlLbl val="0"/>
      </c:cat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0"/>
          <c:order val="0"/>
          <c:tx>
            <c:strRef>
              <c:f>Sheet1!$A$2</c:f>
              <c:strCache>
                <c:ptCount val="1"/>
                <c:pt idx="0">
                  <c:v>A</c:v>
                </c:pt>
              </c:strCache>
            </c:strRef>
          </c:tx>
          <c:spPr>
            <a:ln w="28575">
              <a:noFill/>
            </a:ln>
          </c:spPr>
          <c:xVal>
            <c:strRef>
              <c:f>Sheet1!$B$1:$G$1</c:f>
              <c:strCache>
                <c:ptCount val="6"/>
                <c:pt idx="0">
                  <c:v>Group 1</c:v>
                </c:pt>
                <c:pt idx="1">
                  <c:v>Group 2</c:v>
                </c:pt>
                <c:pt idx="2">
                  <c:v>Group 3</c:v>
                </c:pt>
                <c:pt idx="3">
                  <c:v>Group 4</c:v>
                </c:pt>
                <c:pt idx="4">
                  <c:v>Group 5</c:v>
                </c:pt>
                <c:pt idx="5">
                  <c:v>Group 6</c:v>
                </c:pt>
              </c:strCache>
            </c:strRef>
          </c:xVal>
          <c:yVal>
            <c:numRef>
              <c:f>Sheet1!$B$2:$G$2</c:f>
              <c:numCache>
                <c:formatCode>General</c:formatCode>
                <c:ptCount val="6"/>
                <c:pt idx="0">
                  <c:v>20</c:v>
                </c:pt>
                <c:pt idx="1">
                  <c:v>27</c:v>
                </c:pt>
                <c:pt idx="2">
                  <c:v>29</c:v>
                </c:pt>
                <c:pt idx="3">
                  <c:v>20</c:v>
                </c:pt>
                <c:pt idx="4">
                  <c:v>25</c:v>
                </c:pt>
                <c:pt idx="5">
                  <c:v>27</c:v>
                </c:pt>
              </c:numCache>
            </c:numRef>
          </c:yVal>
          <c:smooth val="0"/>
        </c:ser>
        <c:ser>
          <c:idx val="1"/>
          <c:order val="1"/>
          <c:tx>
            <c:strRef>
              <c:f>Sheet1!$A$3</c:f>
              <c:strCache>
                <c:ptCount val="1"/>
                <c:pt idx="0">
                  <c:v>B</c:v>
                </c:pt>
              </c:strCache>
            </c:strRef>
          </c:tx>
          <c:spPr>
            <a:ln w="28575">
              <a:noFill/>
            </a:ln>
          </c:spPr>
          <c:xVal>
            <c:strRef>
              <c:f>Sheet1!$B$1:$G$1</c:f>
              <c:strCache>
                <c:ptCount val="6"/>
                <c:pt idx="0">
                  <c:v>Group 1</c:v>
                </c:pt>
                <c:pt idx="1">
                  <c:v>Group 2</c:v>
                </c:pt>
                <c:pt idx="2">
                  <c:v>Group 3</c:v>
                </c:pt>
                <c:pt idx="3">
                  <c:v>Group 4</c:v>
                </c:pt>
                <c:pt idx="4">
                  <c:v>Group 5</c:v>
                </c:pt>
                <c:pt idx="5">
                  <c:v>Group 6</c:v>
                </c:pt>
              </c:strCache>
            </c:strRef>
          </c:xVal>
          <c:yVal>
            <c:numRef>
              <c:f>Sheet1!$B$3:$G$3</c:f>
              <c:numCache>
                <c:formatCode>General</c:formatCode>
                <c:ptCount val="6"/>
                <c:pt idx="0">
                  <c:v>23</c:v>
                </c:pt>
                <c:pt idx="1">
                  <c:v>32</c:v>
                </c:pt>
                <c:pt idx="2">
                  <c:v>33</c:v>
                </c:pt>
                <c:pt idx="3">
                  <c:v>24</c:v>
                </c:pt>
                <c:pt idx="4">
                  <c:v>23</c:v>
                </c:pt>
                <c:pt idx="5">
                  <c:v>26</c:v>
                </c:pt>
              </c:numCache>
            </c:numRef>
          </c:yVal>
          <c:smooth val="0"/>
        </c:ser>
        <c:ser>
          <c:idx val="2"/>
          <c:order val="2"/>
          <c:tx>
            <c:strRef>
              <c:f>Sheet1!$A$4</c:f>
              <c:strCache>
                <c:ptCount val="1"/>
                <c:pt idx="0">
                  <c:v>C</c:v>
                </c:pt>
              </c:strCache>
            </c:strRef>
          </c:tx>
          <c:spPr>
            <a:ln w="28575">
              <a:noFill/>
            </a:ln>
          </c:spPr>
          <c:xVal>
            <c:strRef>
              <c:f>Sheet1!$B$1:$G$1</c:f>
              <c:strCache>
                <c:ptCount val="6"/>
                <c:pt idx="0">
                  <c:v>Group 1</c:v>
                </c:pt>
                <c:pt idx="1">
                  <c:v>Group 2</c:v>
                </c:pt>
                <c:pt idx="2">
                  <c:v>Group 3</c:v>
                </c:pt>
                <c:pt idx="3">
                  <c:v>Group 4</c:v>
                </c:pt>
                <c:pt idx="4">
                  <c:v>Group 5</c:v>
                </c:pt>
                <c:pt idx="5">
                  <c:v>Group 6</c:v>
                </c:pt>
              </c:strCache>
            </c:strRef>
          </c:xVal>
          <c:yVal>
            <c:numRef>
              <c:f>Sheet1!$B$4:$G$4</c:f>
              <c:numCache>
                <c:formatCode>General</c:formatCode>
                <c:ptCount val="6"/>
                <c:pt idx="0">
                  <c:v>18</c:v>
                </c:pt>
                <c:pt idx="1">
                  <c:v>20</c:v>
                </c:pt>
                <c:pt idx="2">
                  <c:v>22</c:v>
                </c:pt>
                <c:pt idx="3">
                  <c:v>17</c:v>
                </c:pt>
                <c:pt idx="4">
                  <c:v>23</c:v>
                </c:pt>
                <c:pt idx="5">
                  <c:v>23</c:v>
                </c:pt>
              </c:numCache>
            </c:numRef>
          </c:yVal>
          <c:smooth val="0"/>
        </c:ser>
        <c:ser>
          <c:idx val="3"/>
          <c:order val="3"/>
          <c:tx>
            <c:strRef>
              <c:f>Sheet1!$A$5</c:f>
              <c:strCache>
                <c:ptCount val="1"/>
                <c:pt idx="0">
                  <c:v>D</c:v>
                </c:pt>
              </c:strCache>
            </c:strRef>
          </c:tx>
          <c:spPr>
            <a:ln w="28575">
              <a:noFill/>
            </a:ln>
          </c:spPr>
          <c:marker>
            <c:symbol val="dash"/>
            <c:size val="5"/>
            <c:spPr>
              <a:solidFill>
                <a:schemeClr val="accent4"/>
              </a:solidFill>
              <a:ln>
                <a:solidFill>
                  <a:schemeClr val="accent4"/>
                </a:solidFill>
              </a:ln>
            </c:spPr>
          </c:marker>
          <c:xVal>
            <c:strRef>
              <c:f>Sheet1!$B$1:$G$1</c:f>
              <c:strCache>
                <c:ptCount val="6"/>
                <c:pt idx="0">
                  <c:v>Group 1</c:v>
                </c:pt>
                <c:pt idx="1">
                  <c:v>Group 2</c:v>
                </c:pt>
                <c:pt idx="2">
                  <c:v>Group 3</c:v>
                </c:pt>
                <c:pt idx="3">
                  <c:v>Group 4</c:v>
                </c:pt>
                <c:pt idx="4">
                  <c:v>Group 5</c:v>
                </c:pt>
                <c:pt idx="5">
                  <c:v>Group 6</c:v>
                </c:pt>
              </c:strCache>
            </c:strRef>
          </c:xVal>
          <c:yVal>
            <c:numRef>
              <c:f>Sheet1!$B$5:$G$5</c:f>
              <c:numCache>
                <c:formatCode>General</c:formatCode>
                <c:ptCount val="6"/>
                <c:pt idx="0">
                  <c:v>22</c:v>
                </c:pt>
                <c:pt idx="1">
                  <c:v>17</c:v>
                </c:pt>
                <c:pt idx="2">
                  <c:v>23</c:v>
                </c:pt>
                <c:pt idx="3">
                  <c:v>23</c:v>
                </c:pt>
                <c:pt idx="4">
                  <c:v>26</c:v>
                </c:pt>
                <c:pt idx="5">
                  <c:v>29</c:v>
                </c:pt>
              </c:numCache>
            </c:numRef>
          </c:yVal>
          <c:smooth val="0"/>
        </c:ser>
        <c:ser>
          <c:idx val="4"/>
          <c:order val="4"/>
          <c:tx>
            <c:strRef>
              <c:f>Sheet1!$A$6</c:f>
              <c:strCache>
                <c:ptCount val="1"/>
                <c:pt idx="0">
                  <c:v>E</c:v>
                </c:pt>
              </c:strCache>
            </c:strRef>
          </c:tx>
          <c:spPr>
            <a:ln w="28575">
              <a:noFill/>
            </a:ln>
          </c:spPr>
          <c:marker>
            <c:spPr>
              <a:ln>
                <a:solidFill>
                  <a:schemeClr val="accent5"/>
                </a:solidFill>
              </a:ln>
            </c:spPr>
          </c:marker>
          <c:xVal>
            <c:strRef>
              <c:f>Sheet1!$B$1:$G$1</c:f>
              <c:strCache>
                <c:ptCount val="6"/>
                <c:pt idx="0">
                  <c:v>Group 1</c:v>
                </c:pt>
                <c:pt idx="1">
                  <c:v>Group 2</c:v>
                </c:pt>
                <c:pt idx="2">
                  <c:v>Group 3</c:v>
                </c:pt>
                <c:pt idx="3">
                  <c:v>Group 4</c:v>
                </c:pt>
                <c:pt idx="4">
                  <c:v>Group 5</c:v>
                </c:pt>
                <c:pt idx="5">
                  <c:v>Group 6</c:v>
                </c:pt>
              </c:strCache>
            </c:strRef>
          </c:xVal>
          <c:yVal>
            <c:numRef>
              <c:f>Sheet1!$B$6:$G$6</c:f>
              <c:numCache>
                <c:formatCode>General</c:formatCode>
                <c:ptCount val="6"/>
                <c:pt idx="0">
                  <c:v>20</c:v>
                </c:pt>
                <c:pt idx="1">
                  <c:v>16</c:v>
                </c:pt>
                <c:pt idx="2">
                  <c:v>21</c:v>
                </c:pt>
                <c:pt idx="3">
                  <c:v>24</c:v>
                </c:pt>
                <c:pt idx="4">
                  <c:v>28</c:v>
                </c:pt>
                <c:pt idx="5">
                  <c:v>23</c:v>
                </c:pt>
              </c:numCache>
            </c:numRef>
          </c:yVal>
          <c:smooth val="0"/>
        </c:ser>
        <c:ser>
          <c:idx val="5"/>
          <c:order val="5"/>
          <c:tx>
            <c:strRef>
              <c:f>Sheet1!$A$7</c:f>
              <c:strCache>
                <c:ptCount val="1"/>
                <c:pt idx="0">
                  <c:v>F</c:v>
                </c:pt>
              </c:strCache>
            </c:strRef>
          </c:tx>
          <c:spPr>
            <a:ln w="28575">
              <a:noFill/>
            </a:ln>
          </c:spPr>
          <c:marker>
            <c:spPr>
              <a:solidFill>
                <a:schemeClr val="accent6"/>
              </a:solidFill>
            </c:spPr>
          </c:marker>
          <c:xVal>
            <c:strRef>
              <c:f>Sheet1!$B$1:$G$1</c:f>
              <c:strCache>
                <c:ptCount val="6"/>
                <c:pt idx="0">
                  <c:v>Group 1</c:v>
                </c:pt>
                <c:pt idx="1">
                  <c:v>Group 2</c:v>
                </c:pt>
                <c:pt idx="2">
                  <c:v>Group 3</c:v>
                </c:pt>
                <c:pt idx="3">
                  <c:v>Group 4</c:v>
                </c:pt>
                <c:pt idx="4">
                  <c:v>Group 5</c:v>
                </c:pt>
                <c:pt idx="5">
                  <c:v>Group 6</c:v>
                </c:pt>
              </c:strCache>
            </c:strRef>
          </c:xVal>
          <c:yVal>
            <c:numRef>
              <c:f>Sheet1!$B$7:$G$7</c:f>
              <c:numCache>
                <c:formatCode>General</c:formatCode>
                <c:ptCount val="6"/>
                <c:pt idx="0">
                  <c:v>15</c:v>
                </c:pt>
                <c:pt idx="1">
                  <c:v>13</c:v>
                </c:pt>
                <c:pt idx="2">
                  <c:v>12</c:v>
                </c:pt>
                <c:pt idx="3">
                  <c:v>16</c:v>
                </c:pt>
                <c:pt idx="4">
                  <c:v>15</c:v>
                </c:pt>
                <c:pt idx="5">
                  <c:v>19</c:v>
                </c:pt>
              </c:numCache>
            </c:numRef>
          </c:yVal>
          <c:smooth val="0"/>
        </c:ser>
        <c:dLbls>
          <c:showLegendKey val="0"/>
          <c:showVal val="0"/>
          <c:showCatName val="0"/>
          <c:showSerName val="0"/>
          <c:showPercent val="0"/>
          <c:showBubbleSize val="0"/>
        </c:dLbls>
        <c:axId val="2045953696"/>
        <c:axId val="2045958048"/>
      </c:scatterChart>
      <c:valAx>
        <c:axId val="2045953696"/>
        <c:scaling>
          <c:orientation val="minMax"/>
        </c:scaling>
        <c:delete val="0"/>
        <c:axPos val="b"/>
        <c:numFmt formatCode="General" sourceLinked="1"/>
        <c:majorTickMark val="out"/>
        <c:minorTickMark val="none"/>
        <c:tickLblPos val="nextTo"/>
        <c:spPr>
          <a:ln>
            <a:solidFill>
              <a:schemeClr val="accent1"/>
            </a:solidFill>
          </a:ln>
        </c:spPr>
        <c:txPr>
          <a:bodyPr/>
          <a:lstStyle/>
          <a:p>
            <a:pPr>
              <a:defRPr lang="nl-NL"/>
            </a:pPr>
            <a:endParaRPr lang="en-US"/>
          </a:p>
        </c:txPr>
        <c:crossAx val="2045958048"/>
        <c:crosses val="autoZero"/>
        <c:crossBetween val="midCat"/>
      </c:valAx>
      <c:valAx>
        <c:axId val="2045958048"/>
        <c:scaling>
          <c:orientation val="minMax"/>
        </c:scaling>
        <c:delete val="0"/>
        <c:axPos val="l"/>
        <c:numFmt formatCode="General" sourceLinked="1"/>
        <c:majorTickMark val="out"/>
        <c:minorTickMark val="none"/>
        <c:tickLblPos val="nextTo"/>
        <c:spPr>
          <a:ln>
            <a:solidFill>
              <a:schemeClr val="accent1"/>
            </a:solidFill>
          </a:ln>
        </c:spPr>
        <c:txPr>
          <a:bodyPr/>
          <a:lstStyle/>
          <a:p>
            <a:pPr>
              <a:defRPr lang="nl-NL"/>
            </a:pPr>
            <a:endParaRPr lang="en-US"/>
          </a:p>
        </c:txPr>
        <c:crossAx val="2045953696"/>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Y values</c:v>
                </c:pt>
              </c:strCache>
            </c:strRef>
          </c:tx>
          <c:spPr>
            <a:ln w="28575">
              <a:noFill/>
            </a:ln>
          </c:spPr>
          <c:marker>
            <c:symbol val="square"/>
            <c:size val="7"/>
          </c:marker>
          <c:dLbls>
            <c:dLbl>
              <c:idx val="0"/>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4"/>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5"/>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6"/>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7"/>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8"/>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9"/>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10"/>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lang="nl-NL"/>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A$2:$A$12</c:f>
              <c:numCache>
                <c:formatCode>General</c:formatCode>
                <c:ptCount val="11"/>
                <c:pt idx="0">
                  <c:v>20</c:v>
                </c:pt>
                <c:pt idx="1">
                  <c:v>11</c:v>
                </c:pt>
                <c:pt idx="2">
                  <c:v>36</c:v>
                </c:pt>
                <c:pt idx="3">
                  <c:v>48</c:v>
                </c:pt>
                <c:pt idx="4">
                  <c:v>56</c:v>
                </c:pt>
                <c:pt idx="5">
                  <c:v>70</c:v>
                </c:pt>
                <c:pt idx="6">
                  <c:v>10</c:v>
                </c:pt>
                <c:pt idx="7">
                  <c:v>30</c:v>
                </c:pt>
                <c:pt idx="8">
                  <c:v>88</c:v>
                </c:pt>
                <c:pt idx="9">
                  <c:v>22</c:v>
                </c:pt>
                <c:pt idx="10">
                  <c:v>60</c:v>
                </c:pt>
              </c:numCache>
            </c:numRef>
          </c:xVal>
          <c:yVal>
            <c:numRef>
              <c:f>Sheet1!$B$2:$B$1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smooth val="0"/>
        </c:ser>
        <c:dLbls>
          <c:showLegendKey val="0"/>
          <c:showVal val="0"/>
          <c:showCatName val="0"/>
          <c:showSerName val="0"/>
          <c:showPercent val="0"/>
          <c:showBubbleSize val="0"/>
        </c:dLbls>
        <c:axId val="2045958592"/>
        <c:axId val="2038431456"/>
      </c:scatterChart>
      <c:valAx>
        <c:axId val="2045958592"/>
        <c:scaling>
          <c:orientation val="minMax"/>
        </c:scaling>
        <c:delete val="0"/>
        <c:axPos val="b"/>
        <c:numFmt formatCode="General" sourceLinked="1"/>
        <c:majorTickMark val="out"/>
        <c:minorTickMark val="none"/>
        <c:tickLblPos val="nextTo"/>
        <c:spPr>
          <a:ln>
            <a:solidFill>
              <a:schemeClr val="accent1"/>
            </a:solidFill>
          </a:ln>
        </c:spPr>
        <c:txPr>
          <a:bodyPr/>
          <a:lstStyle/>
          <a:p>
            <a:pPr>
              <a:defRPr lang="nl-NL"/>
            </a:pPr>
            <a:endParaRPr lang="en-US"/>
          </a:p>
        </c:txPr>
        <c:crossAx val="2038431456"/>
        <c:crosses val="autoZero"/>
        <c:crossBetween val="midCat"/>
      </c:valAx>
      <c:valAx>
        <c:axId val="2038431456"/>
        <c:scaling>
          <c:orientation val="minMax"/>
        </c:scaling>
        <c:delete val="0"/>
        <c:axPos val="l"/>
        <c:numFmt formatCode="General" sourceLinked="1"/>
        <c:majorTickMark val="out"/>
        <c:minorTickMark val="none"/>
        <c:tickLblPos val="nextTo"/>
        <c:spPr>
          <a:ln>
            <a:solidFill>
              <a:schemeClr val="accent1"/>
            </a:solidFill>
          </a:ln>
        </c:spPr>
        <c:txPr>
          <a:bodyPr/>
          <a:lstStyle/>
          <a:p>
            <a:pPr>
              <a:defRPr lang="nl-NL"/>
            </a:pPr>
            <a:endParaRPr lang="en-US"/>
          </a:p>
        </c:txPr>
        <c:crossAx val="2045958592"/>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20</c:v>
                </c:pt>
              </c:strCache>
            </c:strRef>
          </c:tx>
          <c:spPr>
            <a:ln w="28575">
              <a:noFill/>
            </a:ln>
          </c:spPr>
          <c:invertIfNegative val="0"/>
          <c:dLbls>
            <c:dLbl>
              <c:idx val="0"/>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4"/>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5"/>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6"/>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7"/>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8"/>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9"/>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10"/>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lang="nl-NL"/>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B$1:$L$1</c:f>
              <c:strCache>
                <c:ptCount val="11"/>
                <c:pt idx="0">
                  <c:v>20</c:v>
                </c:pt>
                <c:pt idx="1">
                  <c:v>11</c:v>
                </c:pt>
                <c:pt idx="2">
                  <c:v>36</c:v>
                </c:pt>
                <c:pt idx="3">
                  <c:v>48</c:v>
                </c:pt>
                <c:pt idx="4">
                  <c:v>56</c:v>
                </c:pt>
                <c:pt idx="5">
                  <c:v>70</c:v>
                </c:pt>
                <c:pt idx="6">
                  <c:v>10</c:v>
                </c:pt>
                <c:pt idx="7">
                  <c:v>30</c:v>
                </c:pt>
                <c:pt idx="8">
                  <c:v>88</c:v>
                </c:pt>
                <c:pt idx="9">
                  <c:v>22</c:v>
                </c:pt>
                <c:pt idx="10">
                  <c:v>60</c:v>
                </c:pt>
              </c:strCache>
            </c:strRef>
          </c:xVal>
          <c:yVal>
            <c:numRef>
              <c:f>Sheet1!$B$2:$L$2</c:f>
              <c:numCache>
                <c:formatCode>General</c:formatCode>
                <c:ptCount val="11"/>
                <c:pt idx="0">
                  <c:v>20.399999999999999</c:v>
                </c:pt>
                <c:pt idx="1">
                  <c:v>27.4</c:v>
                </c:pt>
                <c:pt idx="2">
                  <c:v>90</c:v>
                </c:pt>
                <c:pt idx="3">
                  <c:v>20.399999999999999</c:v>
                </c:pt>
                <c:pt idx="4">
                  <c:v>85</c:v>
                </c:pt>
                <c:pt idx="5">
                  <c:v>40</c:v>
                </c:pt>
                <c:pt idx="6">
                  <c:v>95</c:v>
                </c:pt>
                <c:pt idx="7">
                  <c:v>60</c:v>
                </c:pt>
                <c:pt idx="8">
                  <c:v>110</c:v>
                </c:pt>
                <c:pt idx="9">
                  <c:v>30</c:v>
                </c:pt>
                <c:pt idx="10">
                  <c:v>105</c:v>
                </c:pt>
              </c:numCache>
            </c:numRef>
          </c:yVal>
          <c:bubbleSize>
            <c:numRef>
              <c:f>Sheet1!$B$3:$L$3</c:f>
              <c:numCache>
                <c:formatCode>General</c:formatCode>
                <c:ptCount val="11"/>
                <c:pt idx="0">
                  <c:v>33</c:v>
                </c:pt>
                <c:pt idx="1">
                  <c:v>5</c:v>
                </c:pt>
                <c:pt idx="2">
                  <c:v>11</c:v>
                </c:pt>
                <c:pt idx="3">
                  <c:v>80</c:v>
                </c:pt>
                <c:pt idx="4">
                  <c:v>100</c:v>
                </c:pt>
                <c:pt idx="5">
                  <c:v>5</c:v>
                </c:pt>
                <c:pt idx="6">
                  <c:v>150</c:v>
                </c:pt>
                <c:pt idx="7">
                  <c:v>40</c:v>
                </c:pt>
                <c:pt idx="8">
                  <c:v>2</c:v>
                </c:pt>
                <c:pt idx="9">
                  <c:v>20</c:v>
                </c:pt>
                <c:pt idx="10">
                  <c:v>100</c:v>
                </c:pt>
              </c:numCache>
            </c:numRef>
          </c:bubbleSize>
          <c:bubble3D val="0"/>
        </c:ser>
        <c:ser>
          <c:idx val="1"/>
          <c:order val="1"/>
          <c:tx>
            <c:strRef>
              <c:f>Sheet1!$A$3:$K$3</c:f>
              <c:strCache>
                <c:ptCount val="1"/>
                <c:pt idx="0">
                  <c:v>Size of Bubble 33 5 11 80 100 5 150 40 2 20</c:v>
                </c:pt>
              </c:strCache>
            </c:strRef>
          </c:tx>
          <c:spPr>
            <a:solidFill>
              <a:schemeClr val="tx2"/>
            </a:solidFill>
            <a:ln w="28575">
              <a:noFill/>
            </a:ln>
          </c:spPr>
          <c:invertIfNegative val="0"/>
          <c:dLbls>
            <c:dLbl>
              <c:idx val="0"/>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lang="nl-NL"/>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L$1</c:f>
              <c:strCache>
                <c:ptCount val="1"/>
                <c:pt idx="0">
                  <c:v>60</c:v>
                </c:pt>
              </c:strCache>
            </c:strRef>
          </c:xVal>
          <c:yVal>
            <c:numRef>
              <c:f>Sheet1!$L$3</c:f>
              <c:numCache>
                <c:formatCode>General</c:formatCode>
                <c:ptCount val="1"/>
                <c:pt idx="0">
                  <c:v>100</c:v>
                </c:pt>
              </c:numCache>
            </c:numRef>
          </c:yVal>
          <c:bubbleSize>
            <c:numLit>
              <c:formatCode>General</c:formatCode>
              <c:ptCount val="1"/>
              <c:pt idx="0">
                <c:v>1</c:v>
              </c:pt>
            </c:numLit>
          </c:bubbleSize>
          <c:bubble3D val="0"/>
        </c:ser>
        <c:dLbls>
          <c:showLegendKey val="0"/>
          <c:showVal val="0"/>
          <c:showCatName val="0"/>
          <c:showSerName val="0"/>
          <c:showPercent val="0"/>
          <c:showBubbleSize val="0"/>
        </c:dLbls>
        <c:bubbleScale val="100"/>
        <c:showNegBubbles val="0"/>
        <c:axId val="2038406432"/>
        <c:axId val="2038414592"/>
      </c:bubbleChart>
      <c:valAx>
        <c:axId val="2038406432"/>
        <c:scaling>
          <c:orientation val="minMax"/>
          <c:min val="0"/>
        </c:scaling>
        <c:delete val="0"/>
        <c:axPos val="b"/>
        <c:numFmt formatCode="General" sourceLinked="1"/>
        <c:majorTickMark val="out"/>
        <c:minorTickMark val="none"/>
        <c:tickLblPos val="nextTo"/>
        <c:spPr>
          <a:ln>
            <a:solidFill>
              <a:schemeClr val="accent1"/>
            </a:solidFill>
          </a:ln>
        </c:spPr>
        <c:txPr>
          <a:bodyPr/>
          <a:lstStyle/>
          <a:p>
            <a:pPr>
              <a:defRPr lang="nl-NL"/>
            </a:pPr>
            <a:endParaRPr lang="en-US"/>
          </a:p>
        </c:txPr>
        <c:crossAx val="2038414592"/>
        <c:crosses val="autoZero"/>
        <c:crossBetween val="midCat"/>
      </c:valAx>
      <c:valAx>
        <c:axId val="2038414592"/>
        <c:scaling>
          <c:orientation val="minMax"/>
        </c:scaling>
        <c:delete val="0"/>
        <c:axPos val="l"/>
        <c:numFmt formatCode="General" sourceLinked="1"/>
        <c:majorTickMark val="out"/>
        <c:minorTickMark val="none"/>
        <c:tickLblPos val="nextTo"/>
        <c:spPr>
          <a:ln>
            <a:solidFill>
              <a:schemeClr val="accent1"/>
            </a:solidFill>
          </a:ln>
        </c:spPr>
        <c:txPr>
          <a:bodyPr/>
          <a:lstStyle/>
          <a:p>
            <a:pPr>
              <a:defRPr lang="nl-NL"/>
            </a:pPr>
            <a:endParaRPr lang="en-US"/>
          </a:p>
        </c:txPr>
        <c:crossAx val="2038406432"/>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284331032632564E-2"/>
          <c:y val="4.6153842659460646E-2"/>
          <c:w val="0.88414094578388613"/>
          <c:h val="0.86692770541128861"/>
        </c:manualLayout>
      </c:layout>
      <c:barChart>
        <c:barDir val="bar"/>
        <c:grouping val="stacked"/>
        <c:varyColors val="0"/>
        <c:ser>
          <c:idx val="0"/>
          <c:order val="0"/>
          <c:tx>
            <c:strRef>
              <c:f>Sheet1!$B$1</c:f>
              <c:strCache>
                <c:ptCount val="1"/>
                <c:pt idx="0">
                  <c:v>A</c:v>
                </c:pt>
              </c:strCache>
            </c:strRef>
          </c:tx>
          <c:spPr>
            <a:ln>
              <a:solidFill>
                <a:schemeClr val="bg1"/>
              </a:solidFill>
            </a:ln>
          </c:spPr>
          <c:invertIfNegative val="0"/>
          <c:dLbls>
            <c:delete val="1"/>
          </c:dLbls>
          <c:cat>
            <c:strRef>
              <c:f>Sheet1!$A$2:$A$4</c:f>
              <c:strCache>
                <c:ptCount val="3"/>
                <c:pt idx="0">
                  <c:v>East</c:v>
                </c:pt>
                <c:pt idx="1">
                  <c:v>West</c:v>
                </c:pt>
                <c:pt idx="2">
                  <c:v>North</c:v>
                </c:pt>
              </c:strCache>
            </c:strRef>
          </c:cat>
          <c:val>
            <c:numRef>
              <c:f>Sheet1!$B$2:$B$4</c:f>
              <c:numCache>
                <c:formatCode>General</c:formatCode>
                <c:ptCount val="3"/>
                <c:pt idx="0">
                  <c:v>45.9</c:v>
                </c:pt>
                <c:pt idx="1">
                  <c:v>30.5</c:v>
                </c:pt>
                <c:pt idx="2">
                  <c:v>25.4</c:v>
                </c:pt>
              </c:numCache>
            </c:numRef>
          </c:val>
        </c:ser>
        <c:ser>
          <c:idx val="1"/>
          <c:order val="1"/>
          <c:tx>
            <c:strRef>
              <c:f>Sheet1!$C$1</c:f>
              <c:strCache>
                <c:ptCount val="1"/>
                <c:pt idx="0">
                  <c:v>B</c:v>
                </c:pt>
              </c:strCache>
            </c:strRef>
          </c:tx>
          <c:spPr>
            <a:ln>
              <a:solidFill>
                <a:schemeClr val="bg1"/>
              </a:solidFill>
            </a:ln>
          </c:spPr>
          <c:invertIfNegative val="0"/>
          <c:dLbls>
            <c:delete val="1"/>
          </c:dLbls>
          <c:cat>
            <c:strRef>
              <c:f>Sheet1!$A$2:$A$4</c:f>
              <c:strCache>
                <c:ptCount val="3"/>
                <c:pt idx="0">
                  <c:v>East</c:v>
                </c:pt>
                <c:pt idx="1">
                  <c:v>West</c:v>
                </c:pt>
                <c:pt idx="2">
                  <c:v>North</c:v>
                </c:pt>
              </c:strCache>
            </c:strRef>
          </c:cat>
          <c:val>
            <c:numRef>
              <c:f>Sheet1!$C$2:$C$4</c:f>
              <c:numCache>
                <c:formatCode>General</c:formatCode>
                <c:ptCount val="3"/>
                <c:pt idx="0">
                  <c:v>46.9</c:v>
                </c:pt>
                <c:pt idx="1">
                  <c:v>38.6</c:v>
                </c:pt>
                <c:pt idx="2">
                  <c:v>45.6</c:v>
                </c:pt>
              </c:numCache>
            </c:numRef>
          </c:val>
        </c:ser>
        <c:ser>
          <c:idx val="2"/>
          <c:order val="2"/>
          <c:tx>
            <c:strRef>
              <c:f>Sheet1!$D$1</c:f>
              <c:strCache>
                <c:ptCount val="1"/>
                <c:pt idx="0">
                  <c:v>C</c:v>
                </c:pt>
              </c:strCache>
            </c:strRef>
          </c:tx>
          <c:spPr>
            <a:ln>
              <a:solidFill>
                <a:schemeClr val="bg1"/>
              </a:solidFill>
            </a:ln>
          </c:spPr>
          <c:invertIfNegative val="0"/>
          <c:dLbls>
            <c:delete val="1"/>
          </c:dLbls>
          <c:cat>
            <c:strRef>
              <c:f>Sheet1!$A$2:$A$4</c:f>
              <c:strCache>
                <c:ptCount val="3"/>
                <c:pt idx="0">
                  <c:v>East</c:v>
                </c:pt>
                <c:pt idx="1">
                  <c:v>West</c:v>
                </c:pt>
                <c:pt idx="2">
                  <c:v>North</c:v>
                </c:pt>
              </c:strCache>
            </c:strRef>
          </c:cat>
          <c:val>
            <c:numRef>
              <c:f>Sheet1!$D$2:$D$4</c:f>
              <c:numCache>
                <c:formatCode>General</c:formatCode>
                <c:ptCount val="3"/>
                <c:pt idx="0">
                  <c:v>45</c:v>
                </c:pt>
                <c:pt idx="1">
                  <c:v>34.6</c:v>
                </c:pt>
                <c:pt idx="2">
                  <c:v>39.200000000000003</c:v>
                </c:pt>
              </c:numCache>
            </c:numRef>
          </c:val>
        </c:ser>
        <c:ser>
          <c:idx val="3"/>
          <c:order val="3"/>
          <c:tx>
            <c:strRef>
              <c:f>Sheet1!$E$1</c:f>
              <c:strCache>
                <c:ptCount val="1"/>
                <c:pt idx="0">
                  <c:v>D</c:v>
                </c:pt>
              </c:strCache>
            </c:strRef>
          </c:tx>
          <c:spPr>
            <a:ln>
              <a:solidFill>
                <a:schemeClr val="bg1"/>
              </a:solidFill>
            </a:ln>
          </c:spPr>
          <c:invertIfNegative val="0"/>
          <c:dLbls>
            <c:delete val="1"/>
          </c:dLbls>
          <c:cat>
            <c:strRef>
              <c:f>Sheet1!$A$2:$A$4</c:f>
              <c:strCache>
                <c:ptCount val="3"/>
                <c:pt idx="0">
                  <c:v>East</c:v>
                </c:pt>
                <c:pt idx="1">
                  <c:v>West</c:v>
                </c:pt>
                <c:pt idx="2">
                  <c:v>North</c:v>
                </c:pt>
              </c:strCache>
            </c:strRef>
          </c:cat>
          <c:val>
            <c:numRef>
              <c:f>Sheet1!$E$2:$E$4</c:f>
              <c:numCache>
                <c:formatCode>General</c:formatCode>
                <c:ptCount val="3"/>
                <c:pt idx="0">
                  <c:v>43.9</c:v>
                </c:pt>
                <c:pt idx="1">
                  <c:v>31.6</c:v>
                </c:pt>
                <c:pt idx="2">
                  <c:v>30.4</c:v>
                </c:pt>
              </c:numCache>
            </c:numRef>
          </c:val>
        </c:ser>
        <c:dLbls>
          <c:showLegendKey val="0"/>
          <c:showVal val="1"/>
          <c:showCatName val="0"/>
          <c:showSerName val="0"/>
          <c:showPercent val="0"/>
          <c:showBubbleSize val="0"/>
        </c:dLbls>
        <c:gapWidth val="150"/>
        <c:overlap val="100"/>
        <c:axId val="2045704000"/>
        <c:axId val="2045705632"/>
      </c:barChart>
      <c:catAx>
        <c:axId val="2045704000"/>
        <c:scaling>
          <c:orientation val="minMax"/>
        </c:scaling>
        <c:delete val="0"/>
        <c:axPos val="l"/>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2045705632"/>
        <c:crosses val="autoZero"/>
        <c:auto val="1"/>
        <c:lblAlgn val="ctr"/>
        <c:lblOffset val="100"/>
        <c:noMultiLvlLbl val="0"/>
      </c:catAx>
      <c:valAx>
        <c:axId val="2045705632"/>
        <c:scaling>
          <c:orientation val="minMax"/>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45704000"/>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Benefits</c:v>
                </c:pt>
              </c:strCache>
            </c:strRef>
          </c:tx>
          <c:spPr>
            <a:ln w="28575">
              <a:noFill/>
            </a:ln>
          </c:spPr>
          <c:invertIfNegative val="0"/>
          <c:dPt>
            <c:idx val="0"/>
            <c:invertIfNegative val="0"/>
            <c:bubble3D val="0"/>
            <c:spPr>
              <a:solidFill>
                <a:schemeClr val="accent3"/>
              </a:solidFill>
              <a:ln w="28575">
                <a:noFill/>
              </a:ln>
            </c:spPr>
          </c:dPt>
          <c:dPt>
            <c:idx val="1"/>
            <c:invertIfNegative val="0"/>
            <c:bubble3D val="0"/>
            <c:spPr>
              <a:solidFill>
                <a:schemeClr val="accent3"/>
              </a:solidFill>
              <a:ln w="28575">
                <a:noFill/>
              </a:ln>
            </c:spPr>
          </c:dPt>
          <c:dPt>
            <c:idx val="2"/>
            <c:invertIfNegative val="0"/>
            <c:bubble3D val="0"/>
            <c:spPr>
              <a:solidFill>
                <a:schemeClr val="accent3"/>
              </a:solidFill>
              <a:ln w="28575">
                <a:noFill/>
              </a:ln>
            </c:spPr>
          </c:dPt>
          <c:dPt>
            <c:idx val="3"/>
            <c:invertIfNegative val="0"/>
            <c:bubble3D val="0"/>
            <c:spPr>
              <a:solidFill>
                <a:schemeClr val="accent3"/>
              </a:solidFill>
              <a:ln w="28575">
                <a:noFill/>
              </a:ln>
            </c:spPr>
          </c:dPt>
          <c:dPt>
            <c:idx val="4"/>
            <c:invertIfNegative val="0"/>
            <c:bubble3D val="0"/>
            <c:spPr>
              <a:solidFill>
                <a:schemeClr val="accent3"/>
              </a:solidFill>
              <a:ln w="28575">
                <a:noFill/>
              </a:ln>
            </c:spPr>
          </c:dPt>
          <c:dPt>
            <c:idx val="5"/>
            <c:invertIfNegative val="0"/>
            <c:bubble3D val="0"/>
            <c:spPr>
              <a:solidFill>
                <a:schemeClr val="accent3"/>
              </a:solidFill>
              <a:ln w="28575">
                <a:noFill/>
              </a:ln>
            </c:spPr>
          </c:dPt>
          <c:dLbls>
            <c:dLbl>
              <c:idx val="0"/>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4"/>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5"/>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6"/>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7"/>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8"/>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9"/>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dLbl>
              <c:idx val="10"/>
              <c:tx>
                <c:rich>
                  <a:bodyPr/>
                  <a:lstStyle/>
                  <a:p>
                    <a:r>
                      <a:rPr lang="en-US"/>
                      <a:t>xxx</a:t>
                    </a:r>
                  </a:p>
                </c:rich>
              </c:tx>
              <c:dLblPos val="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lang="nl-NL"/>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B$2:$B$7</c:f>
              <c:numCache>
                <c:formatCode>General</c:formatCode>
                <c:ptCount val="6"/>
                <c:pt idx="0">
                  <c:v>2</c:v>
                </c:pt>
                <c:pt idx="1">
                  <c:v>9</c:v>
                </c:pt>
                <c:pt idx="2">
                  <c:v>10</c:v>
                </c:pt>
                <c:pt idx="3">
                  <c:v>6</c:v>
                </c:pt>
                <c:pt idx="4">
                  <c:v>1.5</c:v>
                </c:pt>
                <c:pt idx="5">
                  <c:v>4</c:v>
                </c:pt>
              </c:numCache>
            </c:numRef>
          </c:xVal>
          <c:yVal>
            <c:numRef>
              <c:f>Sheet1!$A$2:$A$7</c:f>
              <c:numCache>
                <c:formatCode>General</c:formatCode>
                <c:ptCount val="6"/>
                <c:pt idx="0">
                  <c:v>2</c:v>
                </c:pt>
                <c:pt idx="1">
                  <c:v>6</c:v>
                </c:pt>
                <c:pt idx="2">
                  <c:v>3</c:v>
                </c:pt>
                <c:pt idx="3">
                  <c:v>5</c:v>
                </c:pt>
                <c:pt idx="4">
                  <c:v>9</c:v>
                </c:pt>
                <c:pt idx="5">
                  <c:v>8</c:v>
                </c:pt>
              </c:numCache>
            </c:numRef>
          </c:yVal>
          <c:bubbleSize>
            <c:numRef>
              <c:f>Sheet1!$C$2:$C$7</c:f>
              <c:numCache>
                <c:formatCode>General</c:formatCode>
                <c:ptCount val="6"/>
                <c:pt idx="0">
                  <c:v>25</c:v>
                </c:pt>
                <c:pt idx="1">
                  <c:v>60</c:v>
                </c:pt>
                <c:pt idx="2">
                  <c:v>20</c:v>
                </c:pt>
                <c:pt idx="3">
                  <c:v>40</c:v>
                </c:pt>
                <c:pt idx="4">
                  <c:v>30</c:v>
                </c:pt>
                <c:pt idx="5">
                  <c:v>50</c:v>
                </c:pt>
              </c:numCache>
            </c:numRef>
          </c:bubbleSize>
          <c:bubble3D val="0"/>
        </c:ser>
        <c:dLbls>
          <c:showLegendKey val="0"/>
          <c:showVal val="0"/>
          <c:showCatName val="0"/>
          <c:showSerName val="0"/>
          <c:showPercent val="0"/>
          <c:showBubbleSize val="0"/>
        </c:dLbls>
        <c:bubbleScale val="100"/>
        <c:showNegBubbles val="0"/>
        <c:axId val="2038420576"/>
        <c:axId val="2038403712"/>
      </c:bubbleChart>
      <c:valAx>
        <c:axId val="2038420576"/>
        <c:scaling>
          <c:orientation val="minMax"/>
          <c:min val="0"/>
        </c:scaling>
        <c:delete val="0"/>
        <c:axPos val="b"/>
        <c:numFmt formatCode="General" sourceLinked="1"/>
        <c:majorTickMark val="out"/>
        <c:minorTickMark val="none"/>
        <c:tickLblPos val="none"/>
        <c:spPr>
          <a:ln>
            <a:solidFill>
              <a:schemeClr val="accent1"/>
            </a:solidFill>
          </a:ln>
        </c:spPr>
        <c:txPr>
          <a:bodyPr/>
          <a:lstStyle/>
          <a:p>
            <a:pPr>
              <a:defRPr lang="nl-NL"/>
            </a:pPr>
            <a:endParaRPr lang="en-US"/>
          </a:p>
        </c:txPr>
        <c:crossAx val="2038403712"/>
        <c:crosses val="autoZero"/>
        <c:crossBetween val="midCat"/>
      </c:valAx>
      <c:valAx>
        <c:axId val="2038403712"/>
        <c:scaling>
          <c:orientation val="minMax"/>
        </c:scaling>
        <c:delete val="0"/>
        <c:axPos val="l"/>
        <c:numFmt formatCode="General" sourceLinked="1"/>
        <c:majorTickMark val="out"/>
        <c:minorTickMark val="none"/>
        <c:tickLblPos val="none"/>
        <c:spPr>
          <a:ln>
            <a:solidFill>
              <a:schemeClr val="accent1"/>
            </a:solidFill>
          </a:ln>
        </c:spPr>
        <c:txPr>
          <a:bodyPr/>
          <a:lstStyle/>
          <a:p>
            <a:pPr>
              <a:defRPr lang="nl-NL"/>
            </a:pPr>
            <a:endParaRPr lang="en-US"/>
          </a:p>
        </c:txPr>
        <c:crossAx val="2038420576"/>
        <c:crosses val="autoZero"/>
        <c:crossBetween val="midCat"/>
      </c:valAx>
    </c:plotArea>
    <c:plotVisOnly val="1"/>
    <c:dispBlanksAs val="gap"/>
    <c:showDLblsOverMax val="0"/>
  </c:chart>
  <c:txPr>
    <a:bodyPr/>
    <a:lstStyle/>
    <a:p>
      <a:pPr>
        <a:defRPr sz="1200">
          <a:solidFill>
            <a:schemeClr val="tx2"/>
          </a:solidFill>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564E-2"/>
          <c:y val="4.6153842659460646E-2"/>
          <c:w val="0.88414094578388613"/>
          <c:h val="0.86692770541128861"/>
        </c:manualLayout>
      </c:layout>
      <c:barChart>
        <c:barDir val="bar"/>
        <c:grouping val="stacked"/>
        <c:varyColors val="0"/>
        <c:ser>
          <c:idx val="0"/>
          <c:order val="0"/>
          <c:tx>
            <c:strRef>
              <c:f>Sheet1!$B$1</c:f>
              <c:strCache>
                <c:ptCount val="1"/>
                <c:pt idx="0">
                  <c:v>A</c:v>
                </c:pt>
              </c:strCache>
            </c:strRef>
          </c:tx>
          <c:spPr>
            <a:ln>
              <a:solidFill>
                <a:schemeClr val="bg1"/>
              </a:solidFill>
            </a:ln>
          </c:spPr>
          <c:invertIfNegative val="0"/>
          <c:dPt>
            <c:idx val="0"/>
            <c:invertIfNegative val="0"/>
            <c:bubble3D val="0"/>
            <c:spPr>
              <a:solidFill>
                <a:schemeClr val="accent4"/>
              </a:solidFill>
              <a:ln>
                <a:solidFill>
                  <a:schemeClr val="bg1"/>
                </a:solidFill>
              </a:ln>
            </c:spPr>
          </c:dPt>
          <c:dPt>
            <c:idx val="1"/>
            <c:invertIfNegative val="0"/>
            <c:bubble3D val="0"/>
            <c:spPr>
              <a:solidFill>
                <a:schemeClr val="accent5"/>
              </a:solidFill>
              <a:ln>
                <a:solidFill>
                  <a:schemeClr val="bg1"/>
                </a:solidFill>
              </a:ln>
            </c:spPr>
          </c:dPt>
          <c:dPt>
            <c:idx val="2"/>
            <c:invertIfNegative val="0"/>
            <c:bubble3D val="0"/>
            <c:spPr>
              <a:solidFill>
                <a:srgbClr val="92D400"/>
              </a:solidFill>
              <a:ln>
                <a:solidFill>
                  <a:schemeClr val="bg1"/>
                </a:solidFill>
              </a:ln>
            </c:spPr>
          </c:dPt>
          <c:dPt>
            <c:idx val="3"/>
            <c:invertIfNegative val="0"/>
            <c:bubble3D val="0"/>
            <c:spPr>
              <a:solidFill>
                <a:srgbClr val="00A1DE"/>
              </a:solidFill>
              <a:ln>
                <a:solidFill>
                  <a:schemeClr val="bg1"/>
                </a:solidFill>
              </a:ln>
            </c:spPr>
          </c:dPt>
          <c:dLbls>
            <c:delete val="1"/>
          </c:dLbls>
          <c:cat>
            <c:strRef>
              <c:f>Sheet1!$A$2:$A$6</c:f>
              <c:strCache>
                <c:ptCount val="5"/>
                <c:pt idx="0">
                  <c:v>E</c:v>
                </c:pt>
                <c:pt idx="1">
                  <c:v>D</c:v>
                </c:pt>
                <c:pt idx="2">
                  <c:v>C</c:v>
                </c:pt>
                <c:pt idx="3">
                  <c:v>B</c:v>
                </c:pt>
                <c:pt idx="4">
                  <c:v>A</c:v>
                </c:pt>
              </c:strCache>
            </c:strRef>
          </c:cat>
          <c:val>
            <c:numRef>
              <c:f>Sheet1!$B$2:$B$6</c:f>
              <c:numCache>
                <c:formatCode>General</c:formatCode>
                <c:ptCount val="5"/>
                <c:pt idx="0">
                  <c:v>12</c:v>
                </c:pt>
                <c:pt idx="1">
                  <c:v>20</c:v>
                </c:pt>
                <c:pt idx="2">
                  <c:v>22</c:v>
                </c:pt>
                <c:pt idx="3">
                  <c:v>25</c:v>
                </c:pt>
                <c:pt idx="4">
                  <c:v>28</c:v>
                </c:pt>
              </c:numCache>
            </c:numRef>
          </c:val>
        </c:ser>
        <c:dLbls>
          <c:showLegendKey val="0"/>
          <c:showVal val="1"/>
          <c:showCatName val="0"/>
          <c:showSerName val="0"/>
          <c:showPercent val="0"/>
          <c:showBubbleSize val="0"/>
        </c:dLbls>
        <c:gapWidth val="150"/>
        <c:overlap val="100"/>
        <c:axId val="2045703456"/>
        <c:axId val="2045704544"/>
      </c:barChart>
      <c:catAx>
        <c:axId val="2045703456"/>
        <c:scaling>
          <c:orientation val="minMax"/>
        </c:scaling>
        <c:delete val="0"/>
        <c:axPos val="l"/>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2045704544"/>
        <c:crosses val="autoZero"/>
        <c:auto val="1"/>
        <c:lblAlgn val="ctr"/>
        <c:lblOffset val="100"/>
        <c:noMultiLvlLbl val="0"/>
      </c:catAx>
      <c:valAx>
        <c:axId val="2045704544"/>
        <c:scaling>
          <c:orientation val="minMax"/>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2045703456"/>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564E-2"/>
          <c:y val="4.6153842659460646E-2"/>
          <c:w val="0.88414094578388613"/>
          <c:h val="0.86692770541128861"/>
        </c:manualLayout>
      </c:layout>
      <c:barChart>
        <c:barDir val="bar"/>
        <c:grouping val="stacked"/>
        <c:varyColors val="0"/>
        <c:ser>
          <c:idx val="0"/>
          <c:order val="0"/>
          <c:tx>
            <c:strRef>
              <c:f>Sheet1!$B$1</c:f>
              <c:strCache>
                <c:ptCount val="1"/>
                <c:pt idx="0">
                  <c:v>A</c:v>
                </c:pt>
              </c:strCache>
            </c:strRef>
          </c:tx>
          <c:spPr>
            <a:ln>
              <a:solidFill>
                <a:schemeClr val="bg1"/>
              </a:solidFill>
            </a:ln>
          </c:spPr>
          <c:invertIfNegative val="0"/>
          <c:dPt>
            <c:idx val="0"/>
            <c:invertIfNegative val="0"/>
            <c:bubble3D val="0"/>
            <c:spPr>
              <a:solidFill>
                <a:schemeClr val="accent4"/>
              </a:solidFill>
              <a:ln>
                <a:solidFill>
                  <a:schemeClr val="bg1"/>
                </a:solidFill>
              </a:ln>
            </c:spPr>
          </c:dPt>
          <c:dPt>
            <c:idx val="1"/>
            <c:invertIfNegative val="0"/>
            <c:bubble3D val="0"/>
            <c:spPr>
              <a:solidFill>
                <a:schemeClr val="accent5"/>
              </a:solidFill>
              <a:ln>
                <a:solidFill>
                  <a:schemeClr val="bg1"/>
                </a:solidFill>
              </a:ln>
            </c:spPr>
          </c:dPt>
          <c:dPt>
            <c:idx val="2"/>
            <c:invertIfNegative val="0"/>
            <c:bubble3D val="0"/>
            <c:spPr>
              <a:solidFill>
                <a:schemeClr val="accent2"/>
              </a:solidFill>
              <a:ln>
                <a:solidFill>
                  <a:schemeClr val="bg1"/>
                </a:solidFill>
              </a:ln>
            </c:spPr>
          </c:dPt>
          <c:dPt>
            <c:idx val="3"/>
            <c:invertIfNegative val="0"/>
            <c:bubble3D val="0"/>
            <c:spPr>
              <a:solidFill>
                <a:schemeClr val="accent3"/>
              </a:solidFill>
              <a:ln>
                <a:solidFill>
                  <a:schemeClr val="bg1"/>
                </a:solidFill>
              </a:ln>
            </c:spPr>
          </c:dPt>
          <c:dLbls>
            <c:delete val="1"/>
          </c:dLbls>
          <c:cat>
            <c:strRef>
              <c:f>Sheet1!$A$2:$A$6</c:f>
              <c:strCache>
                <c:ptCount val="5"/>
                <c:pt idx="0">
                  <c:v>E</c:v>
                </c:pt>
                <c:pt idx="1">
                  <c:v>D</c:v>
                </c:pt>
                <c:pt idx="2">
                  <c:v>C</c:v>
                </c:pt>
                <c:pt idx="3">
                  <c:v>B</c:v>
                </c:pt>
                <c:pt idx="4">
                  <c:v>A</c:v>
                </c:pt>
              </c:strCache>
            </c:strRef>
          </c:cat>
          <c:val>
            <c:numRef>
              <c:f>Sheet1!$B$2:$B$6</c:f>
              <c:numCache>
                <c:formatCode>General</c:formatCode>
                <c:ptCount val="5"/>
                <c:pt idx="0">
                  <c:v>12</c:v>
                </c:pt>
                <c:pt idx="1">
                  <c:v>20</c:v>
                </c:pt>
                <c:pt idx="2">
                  <c:v>22</c:v>
                </c:pt>
                <c:pt idx="3">
                  <c:v>25</c:v>
                </c:pt>
                <c:pt idx="4">
                  <c:v>28</c:v>
                </c:pt>
              </c:numCache>
            </c:numRef>
          </c:val>
        </c:ser>
        <c:dLbls>
          <c:showLegendKey val="0"/>
          <c:showVal val="1"/>
          <c:showCatName val="0"/>
          <c:showSerName val="0"/>
          <c:showPercent val="0"/>
          <c:showBubbleSize val="0"/>
        </c:dLbls>
        <c:gapWidth val="150"/>
        <c:overlap val="100"/>
        <c:axId val="1952419904"/>
        <c:axId val="1952421536"/>
      </c:barChart>
      <c:catAx>
        <c:axId val="1952419904"/>
        <c:scaling>
          <c:orientation val="minMax"/>
        </c:scaling>
        <c:delete val="0"/>
        <c:axPos val="l"/>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1952421536"/>
        <c:crosses val="autoZero"/>
        <c:auto val="1"/>
        <c:lblAlgn val="ctr"/>
        <c:lblOffset val="100"/>
        <c:noMultiLvlLbl val="0"/>
      </c:catAx>
      <c:valAx>
        <c:axId val="1952421536"/>
        <c:scaling>
          <c:orientation val="minMax"/>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52419904"/>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84331032632564E-2"/>
          <c:y val="4.6153842659460646E-2"/>
          <c:w val="0.88414094578388613"/>
          <c:h val="0.86692770541128861"/>
        </c:manualLayout>
      </c:layout>
      <c:barChart>
        <c:barDir val="bar"/>
        <c:grouping val="stacked"/>
        <c:varyColors val="0"/>
        <c:ser>
          <c:idx val="0"/>
          <c:order val="0"/>
          <c:tx>
            <c:strRef>
              <c:f>Sheet1!$B$1</c:f>
              <c:strCache>
                <c:ptCount val="1"/>
                <c:pt idx="0">
                  <c:v>A</c:v>
                </c:pt>
              </c:strCache>
            </c:strRef>
          </c:tx>
          <c:spPr>
            <a:ln>
              <a:solidFill>
                <a:schemeClr val="bg1"/>
              </a:solidFill>
            </a:ln>
          </c:spPr>
          <c:invertIfNegative val="0"/>
          <c:dPt>
            <c:idx val="0"/>
            <c:invertIfNegative val="0"/>
            <c:bubble3D val="0"/>
            <c:spPr>
              <a:solidFill>
                <a:schemeClr val="accent4"/>
              </a:solidFill>
              <a:ln>
                <a:solidFill>
                  <a:schemeClr val="bg1"/>
                </a:solidFill>
              </a:ln>
            </c:spPr>
          </c:dPt>
          <c:dPt>
            <c:idx val="1"/>
            <c:invertIfNegative val="0"/>
            <c:bubble3D val="0"/>
            <c:spPr>
              <a:solidFill>
                <a:schemeClr val="accent5"/>
              </a:solidFill>
              <a:ln>
                <a:solidFill>
                  <a:schemeClr val="bg1"/>
                </a:solidFill>
              </a:ln>
            </c:spPr>
          </c:dPt>
          <c:dPt>
            <c:idx val="2"/>
            <c:invertIfNegative val="0"/>
            <c:bubble3D val="0"/>
            <c:spPr>
              <a:solidFill>
                <a:schemeClr val="accent2"/>
              </a:solidFill>
              <a:ln>
                <a:solidFill>
                  <a:schemeClr val="bg1"/>
                </a:solidFill>
              </a:ln>
            </c:spPr>
          </c:dPt>
          <c:dPt>
            <c:idx val="3"/>
            <c:invertIfNegative val="0"/>
            <c:bubble3D val="0"/>
            <c:spPr>
              <a:solidFill>
                <a:schemeClr val="accent3"/>
              </a:solidFill>
              <a:ln>
                <a:solidFill>
                  <a:schemeClr val="bg1"/>
                </a:solidFill>
              </a:ln>
            </c:spPr>
          </c:dPt>
          <c:dLbls>
            <c:delete val="1"/>
          </c:dLbls>
          <c:cat>
            <c:strRef>
              <c:f>Sheet1!$A$2:$A$6</c:f>
              <c:strCache>
                <c:ptCount val="5"/>
                <c:pt idx="0">
                  <c:v>E</c:v>
                </c:pt>
                <c:pt idx="1">
                  <c:v>D</c:v>
                </c:pt>
                <c:pt idx="2">
                  <c:v>C</c:v>
                </c:pt>
                <c:pt idx="3">
                  <c:v>B</c:v>
                </c:pt>
                <c:pt idx="4">
                  <c:v>A</c:v>
                </c:pt>
              </c:strCache>
            </c:strRef>
          </c:cat>
          <c:val>
            <c:numRef>
              <c:f>Sheet1!$B$2:$B$6</c:f>
              <c:numCache>
                <c:formatCode>General</c:formatCode>
                <c:ptCount val="5"/>
                <c:pt idx="0">
                  <c:v>12</c:v>
                </c:pt>
                <c:pt idx="1">
                  <c:v>20</c:v>
                </c:pt>
                <c:pt idx="2">
                  <c:v>22</c:v>
                </c:pt>
                <c:pt idx="3">
                  <c:v>25</c:v>
                </c:pt>
                <c:pt idx="4">
                  <c:v>28</c:v>
                </c:pt>
              </c:numCache>
            </c:numRef>
          </c:val>
        </c:ser>
        <c:dLbls>
          <c:showLegendKey val="0"/>
          <c:showVal val="1"/>
          <c:showCatName val="0"/>
          <c:showSerName val="0"/>
          <c:showPercent val="0"/>
          <c:showBubbleSize val="0"/>
        </c:dLbls>
        <c:gapWidth val="150"/>
        <c:overlap val="100"/>
        <c:axId val="1952422624"/>
        <c:axId val="1952425888"/>
      </c:barChart>
      <c:catAx>
        <c:axId val="1952422624"/>
        <c:scaling>
          <c:orientation val="minMax"/>
        </c:scaling>
        <c:delete val="0"/>
        <c:axPos val="l"/>
        <c:numFmt formatCode="General" sourceLinked="0"/>
        <c:majorTickMark val="out"/>
        <c:minorTickMark val="none"/>
        <c:tickLblPos val="nextTo"/>
        <c:spPr>
          <a:ln>
            <a:solidFill>
              <a:schemeClr val="tx2"/>
            </a:solidFill>
          </a:ln>
        </c:spPr>
        <c:txPr>
          <a:bodyPr/>
          <a:lstStyle/>
          <a:p>
            <a:pPr>
              <a:defRPr lang="nl-NL">
                <a:solidFill>
                  <a:schemeClr val="tx2"/>
                </a:solidFill>
              </a:defRPr>
            </a:pPr>
            <a:endParaRPr lang="en-US"/>
          </a:p>
        </c:txPr>
        <c:crossAx val="1952425888"/>
        <c:crosses val="autoZero"/>
        <c:auto val="1"/>
        <c:lblAlgn val="ctr"/>
        <c:lblOffset val="100"/>
        <c:noMultiLvlLbl val="0"/>
      </c:catAx>
      <c:valAx>
        <c:axId val="1952425888"/>
        <c:scaling>
          <c:orientation val="minMax"/>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en-US"/>
          </a:p>
        </c:txPr>
        <c:crossAx val="1952422624"/>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image" Target="../media/image4.png"/><Relationship Id="rId5" Type="http://schemas.openxmlformats.org/officeDocument/2006/relationships/image" Target="../media/image8.png"/><Relationship Id="rId4" Type="http://schemas.openxmlformats.org/officeDocument/2006/relationships/image" Target="../media/image7.png"/></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NULL"/></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NULL"/></Relationships>
</file>

<file path=ppt/drawings/_rels/vmlDrawing33.vml.rels><?xml version="1.0" encoding="UTF-8" standalone="yes"?>
<Relationships xmlns="http://schemas.openxmlformats.org/package/2006/relationships"><Relationship Id="rId1" Type="http://schemas.openxmlformats.org/officeDocument/2006/relationships/image" Target="NULL"/></Relationships>
</file>

<file path=ppt/drawings/_rels/vmlDrawing34.vml.rels><?xml version="1.0" encoding="UTF-8" standalone="yes"?>
<Relationships xmlns="http://schemas.openxmlformats.org/package/2006/relationships"><Relationship Id="rId1" Type="http://schemas.openxmlformats.org/officeDocument/2006/relationships/image" Target="NULL"/></Relationships>
</file>

<file path=ppt/drawings/_rels/vmlDrawing35.vml.rels><?xml version="1.0" encoding="UTF-8" standalone="yes"?>
<Relationships xmlns="http://schemas.openxmlformats.org/package/2006/relationships"><Relationship Id="rId1" Type="http://schemas.openxmlformats.org/officeDocument/2006/relationships/image" Target="NULL"/></Relationships>
</file>

<file path=ppt/drawings/_rels/vmlDrawing36.vml.rels><?xml version="1.0" encoding="UTF-8" standalone="yes"?>
<Relationships xmlns="http://schemas.openxmlformats.org/package/2006/relationships"><Relationship Id="rId1" Type="http://schemas.openxmlformats.org/officeDocument/2006/relationships/image" Target="NULL"/></Relationships>
</file>

<file path=ppt/drawings/_rels/vmlDrawing37.vml.rels><?xml version="1.0" encoding="UTF-8" standalone="yes"?>
<Relationships xmlns="http://schemas.openxmlformats.org/package/2006/relationships"><Relationship Id="rId1" Type="http://schemas.openxmlformats.org/officeDocument/2006/relationships/image" Target="NULL"/></Relationships>
</file>

<file path=ppt/drawings/_rels/vmlDrawing38.vml.rels><?xml version="1.0" encoding="UTF-8" standalone="yes"?>
<Relationships xmlns="http://schemas.openxmlformats.org/package/2006/relationships"><Relationship Id="rId1" Type="http://schemas.openxmlformats.org/officeDocument/2006/relationships/image" Target="NULL"/></Relationships>
</file>

<file path=ppt/drawings/_rels/vmlDrawing39.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40.vml.rels><?xml version="1.0" encoding="UTF-8" standalone="yes"?>
<Relationships xmlns="http://schemas.openxmlformats.org/package/2006/relationships"><Relationship Id="rId1" Type="http://schemas.openxmlformats.org/officeDocument/2006/relationships/image" Target="NULL"/></Relationships>
</file>

<file path=ppt/drawings/_rels/vmlDrawing41.vml.rels><?xml version="1.0" encoding="UTF-8" standalone="yes"?>
<Relationships xmlns="http://schemas.openxmlformats.org/package/2006/relationships"><Relationship Id="rId1" Type="http://schemas.openxmlformats.org/officeDocument/2006/relationships/image" Target="NULL"/></Relationships>
</file>

<file path=ppt/drawings/_rels/vmlDrawing42.vml.rels><?xml version="1.0" encoding="UTF-8" standalone="yes"?>
<Relationships xmlns="http://schemas.openxmlformats.org/package/2006/relationships"><Relationship Id="rId1" Type="http://schemas.openxmlformats.org/officeDocument/2006/relationships/image" Target="NULL"/></Relationships>
</file>

<file path=ppt/drawings/_rels/vmlDrawing43.vml.rels><?xml version="1.0" encoding="UTF-8" standalone="yes"?>
<Relationships xmlns="http://schemas.openxmlformats.org/package/2006/relationships"><Relationship Id="rId1" Type="http://schemas.openxmlformats.org/officeDocument/2006/relationships/image" Target="NULL"/></Relationships>
</file>

<file path=ppt/drawings/_rels/vmlDrawing44.v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73388" cy="463550"/>
          </a:xfrm>
          <a:prstGeom prst="rect">
            <a:avLst/>
          </a:prstGeom>
          <a:noFill/>
          <a:ln w="9525">
            <a:noFill/>
            <a:miter lim="800000"/>
            <a:headEnd/>
            <a:tailEnd/>
          </a:ln>
        </p:spPr>
        <p:txBody>
          <a:bodyPr vert="horz" wrap="square" lIns="63434" tIns="31717" rIns="63434" bIns="31717" numCol="1" anchor="t" anchorCtr="0" compatLnSpc="1">
            <a:prstTxWarp prst="textNoShape">
              <a:avLst/>
            </a:prstTxWarp>
          </a:bodyPr>
          <a:lstStyle>
            <a:lvl1pPr algn="l" defTabSz="634922">
              <a:spcBef>
                <a:spcPct val="0"/>
              </a:spcBef>
              <a:defRPr sz="800" b="0"/>
            </a:lvl1pPr>
          </a:lstStyle>
          <a:p>
            <a:endParaRPr lang="en-GB"/>
          </a:p>
        </p:txBody>
      </p:sp>
      <p:sp>
        <p:nvSpPr>
          <p:cNvPr id="3" name="Date Placeholder 2"/>
          <p:cNvSpPr>
            <a:spLocks noGrp="1"/>
          </p:cNvSpPr>
          <p:nvPr>
            <p:ph type="dt" sz="quarter" idx="1"/>
          </p:nvPr>
        </p:nvSpPr>
        <p:spPr bwMode="auto">
          <a:xfrm>
            <a:off x="3884613" y="0"/>
            <a:ext cx="2971800" cy="463550"/>
          </a:xfrm>
          <a:prstGeom prst="rect">
            <a:avLst/>
          </a:prstGeom>
          <a:noFill/>
          <a:ln w="9525">
            <a:noFill/>
            <a:miter lim="800000"/>
            <a:headEnd/>
            <a:tailEnd/>
          </a:ln>
        </p:spPr>
        <p:txBody>
          <a:bodyPr vert="horz" wrap="square" lIns="63434" tIns="31717" rIns="63434" bIns="31717" numCol="1" anchor="t" anchorCtr="0" compatLnSpc="1">
            <a:prstTxWarp prst="textNoShape">
              <a:avLst/>
            </a:prstTxWarp>
          </a:bodyPr>
          <a:lstStyle>
            <a:lvl1pPr algn="r" defTabSz="634922">
              <a:spcBef>
                <a:spcPct val="0"/>
              </a:spcBef>
              <a:defRPr sz="800" b="0"/>
            </a:lvl1pPr>
          </a:lstStyle>
          <a:p>
            <a:fld id="{55F4F54F-BFE9-4158-8CC4-DD040336CB83}" type="datetimeFigureOut">
              <a:rPr lang="en-US"/>
              <a:pPr/>
              <a:t>9/5/2015</a:t>
            </a:fld>
            <a:endParaRPr lang="en-GB"/>
          </a:p>
        </p:txBody>
      </p:sp>
      <p:sp>
        <p:nvSpPr>
          <p:cNvPr id="4" name="Footer Placeholder 3"/>
          <p:cNvSpPr>
            <a:spLocks noGrp="1"/>
          </p:cNvSpPr>
          <p:nvPr>
            <p:ph type="ftr" sz="quarter" idx="2"/>
          </p:nvPr>
        </p:nvSpPr>
        <p:spPr bwMode="auto">
          <a:xfrm>
            <a:off x="0" y="8831263"/>
            <a:ext cx="2973388" cy="463550"/>
          </a:xfrm>
          <a:prstGeom prst="rect">
            <a:avLst/>
          </a:prstGeom>
          <a:noFill/>
          <a:ln w="9525">
            <a:noFill/>
            <a:miter lim="800000"/>
            <a:headEnd/>
            <a:tailEnd/>
          </a:ln>
        </p:spPr>
        <p:txBody>
          <a:bodyPr vert="horz" wrap="square" lIns="63434" tIns="31717" rIns="63434" bIns="31717" numCol="1" anchor="b" anchorCtr="0" compatLnSpc="1">
            <a:prstTxWarp prst="textNoShape">
              <a:avLst/>
            </a:prstTxWarp>
          </a:bodyPr>
          <a:lstStyle>
            <a:lvl1pPr algn="l" defTabSz="634922">
              <a:spcBef>
                <a:spcPct val="0"/>
              </a:spcBef>
              <a:defRPr sz="800" b="0"/>
            </a:lvl1pPr>
          </a:lstStyle>
          <a:p>
            <a:endParaRPr lang="en-GB"/>
          </a:p>
        </p:txBody>
      </p:sp>
      <p:sp>
        <p:nvSpPr>
          <p:cNvPr id="5" name="Slide Number Placeholder 4"/>
          <p:cNvSpPr>
            <a:spLocks noGrp="1"/>
          </p:cNvSpPr>
          <p:nvPr>
            <p:ph type="sldNum" sz="quarter" idx="3"/>
          </p:nvPr>
        </p:nvSpPr>
        <p:spPr bwMode="auto">
          <a:xfrm>
            <a:off x="3884613" y="8831263"/>
            <a:ext cx="2971800" cy="463550"/>
          </a:xfrm>
          <a:prstGeom prst="rect">
            <a:avLst/>
          </a:prstGeom>
          <a:noFill/>
          <a:ln w="9525">
            <a:noFill/>
            <a:miter lim="800000"/>
            <a:headEnd/>
            <a:tailEnd/>
          </a:ln>
        </p:spPr>
        <p:txBody>
          <a:bodyPr vert="horz" wrap="square" lIns="63434" tIns="31717" rIns="63434" bIns="31717" numCol="1" anchor="b" anchorCtr="0" compatLnSpc="1">
            <a:prstTxWarp prst="textNoShape">
              <a:avLst/>
            </a:prstTxWarp>
          </a:bodyPr>
          <a:lstStyle>
            <a:lvl1pPr algn="r" defTabSz="634922">
              <a:spcBef>
                <a:spcPct val="0"/>
              </a:spcBef>
              <a:defRPr sz="800" b="0"/>
            </a:lvl1pPr>
          </a:lstStyle>
          <a:p>
            <a:fld id="{4A1FC2AB-82DE-43D4-878D-2B0CA2799EF2}" type="slidenum">
              <a:rPr lang="en-GB"/>
              <a:pPr/>
              <a:t>‹#›</a:t>
            </a:fld>
            <a:endParaRPr lang="en-GB"/>
          </a:p>
        </p:txBody>
      </p:sp>
    </p:spTree>
    <p:extLst>
      <p:ext uri="{BB962C8B-B14F-4D97-AF65-F5344CB8AC3E}">
        <p14:creationId xmlns:p14="http://schemas.microsoft.com/office/powerpoint/2010/main" val="29056617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73388" cy="463550"/>
          </a:xfrm>
          <a:prstGeom prst="rect">
            <a:avLst/>
          </a:prstGeom>
          <a:noFill/>
          <a:ln w="9525">
            <a:noFill/>
            <a:miter lim="800000"/>
            <a:headEnd/>
            <a:tailEnd/>
          </a:ln>
        </p:spPr>
        <p:txBody>
          <a:bodyPr vert="horz" wrap="square" lIns="96711" tIns="48356" rIns="96711" bIns="48356" numCol="1" anchor="t" anchorCtr="0" compatLnSpc="1">
            <a:prstTxWarp prst="textNoShape">
              <a:avLst/>
            </a:prstTxWarp>
          </a:bodyPr>
          <a:lstStyle>
            <a:lvl1pPr algn="l" defTabSz="634922">
              <a:spcBef>
                <a:spcPct val="0"/>
              </a:spcBef>
              <a:defRPr sz="1200" b="0"/>
            </a:lvl1pPr>
          </a:lstStyle>
          <a:p>
            <a:endParaRPr lang="en-GB"/>
          </a:p>
        </p:txBody>
      </p:sp>
      <p:sp>
        <p:nvSpPr>
          <p:cNvPr id="3" name="Date Placeholder 2"/>
          <p:cNvSpPr>
            <a:spLocks noGrp="1"/>
          </p:cNvSpPr>
          <p:nvPr>
            <p:ph type="dt" idx="1"/>
          </p:nvPr>
        </p:nvSpPr>
        <p:spPr bwMode="auto">
          <a:xfrm>
            <a:off x="3884613" y="0"/>
            <a:ext cx="2971800" cy="463550"/>
          </a:xfrm>
          <a:prstGeom prst="rect">
            <a:avLst/>
          </a:prstGeom>
          <a:noFill/>
          <a:ln w="9525">
            <a:noFill/>
            <a:miter lim="800000"/>
            <a:headEnd/>
            <a:tailEnd/>
          </a:ln>
        </p:spPr>
        <p:txBody>
          <a:bodyPr vert="horz" wrap="square" lIns="96711" tIns="48356" rIns="96711" bIns="48356" numCol="1" anchor="t" anchorCtr="0" compatLnSpc="1">
            <a:prstTxWarp prst="textNoShape">
              <a:avLst/>
            </a:prstTxWarp>
          </a:bodyPr>
          <a:lstStyle>
            <a:lvl1pPr algn="r" defTabSz="634922">
              <a:spcBef>
                <a:spcPct val="0"/>
              </a:spcBef>
              <a:defRPr sz="1200" b="0"/>
            </a:lvl1pPr>
          </a:lstStyle>
          <a:p>
            <a:fld id="{48C56040-B352-4CF8-B5D5-F47EA68AB32D}" type="datetimeFigureOut">
              <a:rPr lang="en-US"/>
              <a:pPr/>
              <a:t>9/5/2015</a:t>
            </a:fld>
            <a:endParaRPr lang="en-GB"/>
          </a:p>
        </p:txBody>
      </p:sp>
      <p:sp>
        <p:nvSpPr>
          <p:cNvPr id="4" name="Slide Image Placeholder 3"/>
          <p:cNvSpPr>
            <a:spLocks noGrp="1" noRot="1" noChangeAspect="1"/>
          </p:cNvSpPr>
          <p:nvPr>
            <p:ph type="sldImg" idx="2"/>
          </p:nvPr>
        </p:nvSpPr>
        <p:spPr>
          <a:xfrm>
            <a:off x="1106488" y="698500"/>
            <a:ext cx="4646612" cy="3486150"/>
          </a:xfrm>
          <a:prstGeom prst="rect">
            <a:avLst/>
          </a:prstGeom>
          <a:noFill/>
          <a:ln w="12700">
            <a:solidFill>
              <a:prstClr val="black"/>
            </a:solidFill>
          </a:ln>
        </p:spPr>
        <p:txBody>
          <a:bodyPr vert="horz" lIns="139373" tIns="69688" rIns="139373" bIns="69688" rtlCol="0" anchor="ctr"/>
          <a:lstStyle/>
          <a:p>
            <a:pPr lvl="0"/>
            <a:endParaRPr lang="en-GB" noProof="0"/>
          </a:p>
        </p:txBody>
      </p:sp>
      <p:sp>
        <p:nvSpPr>
          <p:cNvPr id="5" name="Notes Placeholder 4"/>
          <p:cNvSpPr>
            <a:spLocks noGrp="1"/>
          </p:cNvSpPr>
          <p:nvPr>
            <p:ph type="body" sz="quarter" idx="3"/>
          </p:nvPr>
        </p:nvSpPr>
        <p:spPr bwMode="gray">
          <a:xfrm>
            <a:off x="684214" y="4416426"/>
            <a:ext cx="5489575" cy="9175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6" name="Footer Placeholder 5"/>
          <p:cNvSpPr>
            <a:spLocks noGrp="1"/>
          </p:cNvSpPr>
          <p:nvPr>
            <p:ph type="ftr" sz="quarter" idx="4"/>
          </p:nvPr>
        </p:nvSpPr>
        <p:spPr bwMode="auto">
          <a:xfrm>
            <a:off x="0" y="8831263"/>
            <a:ext cx="2973388" cy="463550"/>
          </a:xfrm>
          <a:prstGeom prst="rect">
            <a:avLst/>
          </a:prstGeom>
          <a:noFill/>
          <a:ln w="9525">
            <a:noFill/>
            <a:miter lim="800000"/>
            <a:headEnd/>
            <a:tailEnd/>
          </a:ln>
        </p:spPr>
        <p:txBody>
          <a:bodyPr vert="horz" wrap="square" lIns="96711" tIns="48356" rIns="96711" bIns="48356" numCol="1" anchor="b" anchorCtr="0" compatLnSpc="1">
            <a:prstTxWarp prst="textNoShape">
              <a:avLst/>
            </a:prstTxWarp>
          </a:bodyPr>
          <a:lstStyle>
            <a:lvl1pPr algn="l" defTabSz="634922">
              <a:spcBef>
                <a:spcPct val="0"/>
              </a:spcBef>
              <a:defRPr sz="1200" b="0"/>
            </a:lvl1pPr>
          </a:lstStyle>
          <a:p>
            <a:endParaRPr lang="en-GB"/>
          </a:p>
        </p:txBody>
      </p:sp>
      <p:sp>
        <p:nvSpPr>
          <p:cNvPr id="7" name="Slide Number Placeholder 6"/>
          <p:cNvSpPr>
            <a:spLocks noGrp="1"/>
          </p:cNvSpPr>
          <p:nvPr>
            <p:ph type="sldNum" sz="quarter" idx="5"/>
          </p:nvPr>
        </p:nvSpPr>
        <p:spPr bwMode="auto">
          <a:xfrm>
            <a:off x="3884613" y="8831263"/>
            <a:ext cx="2971800" cy="463550"/>
          </a:xfrm>
          <a:prstGeom prst="rect">
            <a:avLst/>
          </a:prstGeom>
          <a:noFill/>
          <a:ln w="9525">
            <a:noFill/>
            <a:miter lim="800000"/>
            <a:headEnd/>
            <a:tailEnd/>
          </a:ln>
        </p:spPr>
        <p:txBody>
          <a:bodyPr vert="horz" wrap="square" lIns="96711" tIns="48356" rIns="96711" bIns="48356" numCol="1" anchor="b" anchorCtr="0" compatLnSpc="1">
            <a:prstTxWarp prst="textNoShape">
              <a:avLst/>
            </a:prstTxWarp>
          </a:bodyPr>
          <a:lstStyle>
            <a:lvl1pPr algn="r" defTabSz="634922">
              <a:spcBef>
                <a:spcPct val="0"/>
              </a:spcBef>
              <a:defRPr sz="1200" b="0"/>
            </a:lvl1pPr>
          </a:lstStyle>
          <a:p>
            <a:fld id="{F6715F80-3722-40A8-A13B-913CAEEA0A98}" type="slidenum">
              <a:rPr lang="en-GB"/>
              <a:pPr/>
              <a:t>‹#›</a:t>
            </a:fld>
            <a:endParaRPr lang="en-GB"/>
          </a:p>
        </p:txBody>
      </p:sp>
    </p:spTree>
    <p:extLst>
      <p:ext uri="{BB962C8B-B14F-4D97-AF65-F5344CB8AC3E}">
        <p14:creationId xmlns:p14="http://schemas.microsoft.com/office/powerpoint/2010/main" val="3248845585"/>
      </p:ext>
    </p:extLst>
  </p:cSld>
  <p:clrMap bg1="lt1" tx1="dk1" bg2="lt2" tx2="dk2" accent1="accent1" accent2="accent2" accent3="accent3" accent4="accent4" accent5="accent5" accent6="accent6" hlink="hlink" folHlink="folHlink"/>
  <p:notesStyle>
    <a:lvl1pPr algn="l" rtl="0" eaLnBrk="0" fontAlgn="base" hangingPunct="0">
      <a:spcBef>
        <a:spcPct val="100000"/>
      </a:spcBef>
      <a:spcAft>
        <a:spcPct val="0"/>
      </a:spcAft>
      <a:buFont typeface="Arial" pitchFamily="34" charset="0"/>
      <a:defRPr sz="1100" kern="1200">
        <a:solidFill>
          <a:schemeClr val="tx1"/>
        </a:solidFill>
        <a:latin typeface="Arial" pitchFamily="34" charset="0"/>
        <a:ea typeface="+mn-ea"/>
        <a:cs typeface="+mn-cs"/>
      </a:defRPr>
    </a:lvl1pPr>
    <a:lvl2pPr marL="114300" indent="-112713" algn="l" rtl="0" eaLnBrk="0" fontAlgn="base" hangingPunct="0">
      <a:spcBef>
        <a:spcPct val="20000"/>
      </a:spcBef>
      <a:spcAft>
        <a:spcPct val="0"/>
      </a:spcAft>
      <a:buChar char="•"/>
      <a:defRPr sz="1100" kern="1200">
        <a:solidFill>
          <a:schemeClr val="tx1"/>
        </a:solidFill>
        <a:latin typeface="Arial" pitchFamily="34" charset="0"/>
        <a:ea typeface="+mn-ea"/>
        <a:cs typeface="+mn-cs"/>
      </a:defRPr>
    </a:lvl2pPr>
    <a:lvl3pPr marL="227013" indent="-111125" algn="l" rtl="0" eaLnBrk="0" fontAlgn="base" hangingPunct="0">
      <a:spcBef>
        <a:spcPct val="20000"/>
      </a:spcBef>
      <a:spcAft>
        <a:spcPct val="0"/>
      </a:spcAft>
      <a:buFont typeface="Arial" pitchFamily="34" charset="0"/>
      <a:buChar char="–"/>
      <a:defRPr sz="1000" kern="1200">
        <a:solidFill>
          <a:schemeClr val="tx1"/>
        </a:solidFill>
        <a:latin typeface="Arial" pitchFamily="34" charset="0"/>
        <a:ea typeface="+mn-ea"/>
        <a:cs typeface="+mn-cs"/>
      </a:defRPr>
    </a:lvl3pPr>
    <a:lvl4pPr marL="341313" indent="-112713" algn="l" rtl="0" eaLnBrk="0" fontAlgn="base" hangingPunct="0">
      <a:spcBef>
        <a:spcPct val="20000"/>
      </a:spcBef>
      <a:spcAft>
        <a:spcPct val="0"/>
      </a:spcAft>
      <a:buChar char="•"/>
      <a:defRPr sz="1000" kern="1200">
        <a:solidFill>
          <a:schemeClr val="tx1"/>
        </a:solidFill>
        <a:latin typeface="Arial" pitchFamily="34" charset="0"/>
        <a:ea typeface="+mn-ea"/>
        <a:cs typeface="+mn-cs"/>
      </a:defRPr>
    </a:lvl4pPr>
    <a:lvl5pPr marL="454025" indent="-111125" algn="l" rtl="0" eaLnBrk="0" fontAlgn="base" hangingPunct="0">
      <a:spcBef>
        <a:spcPct val="20000"/>
      </a:spcBef>
      <a:spcAft>
        <a:spcPct val="0"/>
      </a:spcAft>
      <a:buFont typeface="Arial" pitchFamily="34" charset="0"/>
      <a:buChar char="–"/>
      <a:defRPr sz="10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4" name="Rectangle 4"/>
          <p:cNvSpPr>
            <a:spLocks noGrp="1" noRot="1" noChangeAspect="1" noTextEdit="1"/>
          </p:cNvSpPr>
          <p:nvPr>
            <p:ph type="sldImg"/>
          </p:nvPr>
        </p:nvSpPr>
        <p:spPr bwMode="auto">
          <a:noFill/>
          <a:ln>
            <a:solidFill>
              <a:srgbClr val="000000"/>
            </a:solidFill>
            <a:miter lim="800000"/>
            <a:headEnd/>
            <a:tailEnd/>
          </a:ln>
        </p:spPr>
      </p:sp>
      <p:sp>
        <p:nvSpPr>
          <p:cNvPr id="281605" name="Rectangle 5"/>
          <p:cNvSpPr>
            <a:spLocks noGrp="1"/>
          </p:cNvSpPr>
          <p:nvPr>
            <p:ph type="body" idx="1"/>
          </p:nvPr>
        </p:nvSpPr>
        <p:spPr>
          <a:xfrm>
            <a:off x="684214" y="4416427"/>
            <a:ext cx="5489575" cy="169277"/>
          </a:xfrm>
        </p:spPr>
        <p:txBody>
          <a:bodyPr/>
          <a:lstStyle/>
          <a:p>
            <a:endParaRPr lang="en-US" smtClean="0"/>
          </a:p>
        </p:txBody>
      </p:sp>
    </p:spTree>
    <p:extLst>
      <p:ext uri="{BB962C8B-B14F-4D97-AF65-F5344CB8AC3E}">
        <p14:creationId xmlns:p14="http://schemas.microsoft.com/office/powerpoint/2010/main" val="5392894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0049" name="Slide Image Placeholder 1"/>
          <p:cNvSpPr>
            <a:spLocks noGrp="1" noRot="1" noChangeAspect="1"/>
          </p:cNvSpPr>
          <p:nvPr>
            <p:ph type="sldImg"/>
          </p:nvPr>
        </p:nvSpPr>
        <p:spPr bwMode="auto">
          <a:noFill/>
          <a:ln>
            <a:solidFill>
              <a:srgbClr val="000000"/>
            </a:solidFill>
            <a:miter lim="800000"/>
            <a:headEnd/>
            <a:tailEnd/>
          </a:ln>
        </p:spPr>
      </p:sp>
      <p:sp>
        <p:nvSpPr>
          <p:cNvPr id="770050" name="Notes Placeholder 2"/>
          <p:cNvSpPr>
            <a:spLocks noGrp="1"/>
          </p:cNvSpPr>
          <p:nvPr>
            <p:ph type="body" idx="1"/>
          </p:nvPr>
        </p:nvSpPr>
        <p:spPr>
          <a:xfrm>
            <a:off x="684214" y="4416427"/>
            <a:ext cx="5489575" cy="169277"/>
          </a:xfrm>
          <a:noFill/>
          <a:ln/>
        </p:spPr>
        <p:txBody>
          <a:bodyPr/>
          <a:lstStyle/>
          <a:p>
            <a:pPr marL="218290" indent="-218290"/>
            <a:endParaRPr lang="nl-NL" dirty="0" smtClean="0"/>
          </a:p>
        </p:txBody>
      </p:sp>
      <p:sp>
        <p:nvSpPr>
          <p:cNvPr id="770051" name="Slide Number Placeholder 3"/>
          <p:cNvSpPr>
            <a:spLocks noGrp="1"/>
          </p:cNvSpPr>
          <p:nvPr>
            <p:ph type="sldNum" sz="quarter" idx="5"/>
          </p:nvPr>
        </p:nvSpPr>
        <p:spPr>
          <a:noFill/>
        </p:spPr>
        <p:txBody>
          <a:bodyPr/>
          <a:lstStyle/>
          <a:p>
            <a:fld id="{F1DFA8E3-CE36-45E2-A7E3-1A7CD2917CF5}" type="slidenum">
              <a:rPr lang="en-GB" smtClean="0"/>
              <a:pPr/>
              <a:t>148</a:t>
            </a:fld>
            <a:endParaRPr lang="en-GB" smtClean="0"/>
          </a:p>
        </p:txBody>
      </p:sp>
    </p:spTree>
    <p:extLst>
      <p:ext uri="{BB962C8B-B14F-4D97-AF65-F5344CB8AC3E}">
        <p14:creationId xmlns:p14="http://schemas.microsoft.com/office/powerpoint/2010/main" val="12205287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2577" name="Slide Image Placeholder 1"/>
          <p:cNvSpPr>
            <a:spLocks noGrp="1" noRot="1" noChangeAspect="1"/>
          </p:cNvSpPr>
          <p:nvPr>
            <p:ph type="sldImg"/>
          </p:nvPr>
        </p:nvSpPr>
        <p:spPr bwMode="auto">
          <a:noFill/>
          <a:ln>
            <a:solidFill>
              <a:srgbClr val="000000"/>
            </a:solidFill>
            <a:miter lim="800000"/>
            <a:headEnd/>
            <a:tailEnd/>
          </a:ln>
        </p:spPr>
      </p:sp>
      <p:sp>
        <p:nvSpPr>
          <p:cNvPr id="792578" name="Notes Placeholder 2"/>
          <p:cNvSpPr>
            <a:spLocks noGrp="1"/>
          </p:cNvSpPr>
          <p:nvPr>
            <p:ph type="body" idx="1"/>
          </p:nvPr>
        </p:nvSpPr>
        <p:spPr>
          <a:xfrm>
            <a:off x="684214" y="4416427"/>
            <a:ext cx="5489575" cy="169277"/>
          </a:xfrm>
          <a:noFill/>
          <a:ln/>
        </p:spPr>
        <p:txBody>
          <a:bodyPr/>
          <a:lstStyle/>
          <a:p>
            <a:pPr marL="218290" indent="-218290"/>
            <a:endParaRPr lang="nl-NL" dirty="0" smtClean="0"/>
          </a:p>
        </p:txBody>
      </p:sp>
      <p:sp>
        <p:nvSpPr>
          <p:cNvPr id="792579" name="Slide Number Placeholder 3"/>
          <p:cNvSpPr>
            <a:spLocks noGrp="1"/>
          </p:cNvSpPr>
          <p:nvPr>
            <p:ph type="sldNum" sz="quarter" idx="5"/>
          </p:nvPr>
        </p:nvSpPr>
        <p:spPr>
          <a:noFill/>
        </p:spPr>
        <p:txBody>
          <a:bodyPr/>
          <a:lstStyle/>
          <a:p>
            <a:fld id="{FB74C315-A1B4-4A0C-85C0-049266957459}" type="slidenum">
              <a:rPr lang="en-GB" smtClean="0"/>
              <a:pPr/>
              <a:t>175</a:t>
            </a:fld>
            <a:endParaRPr lang="en-GB" smtClean="0"/>
          </a:p>
        </p:txBody>
      </p:sp>
    </p:spTree>
    <p:extLst>
      <p:ext uri="{BB962C8B-B14F-4D97-AF65-F5344CB8AC3E}">
        <p14:creationId xmlns:p14="http://schemas.microsoft.com/office/powerpoint/2010/main" val="33706958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xfrm>
            <a:off x="684214" y="4416427"/>
            <a:ext cx="5489575" cy="169277"/>
          </a:xfrm>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GB" smtClean="0"/>
              <a:pPr/>
              <a:t>226</a:t>
            </a:fld>
            <a:endParaRPr lang="en-GB" smtClean="0"/>
          </a:p>
        </p:txBody>
      </p:sp>
    </p:spTree>
    <p:extLst>
      <p:ext uri="{BB962C8B-B14F-4D97-AF65-F5344CB8AC3E}">
        <p14:creationId xmlns:p14="http://schemas.microsoft.com/office/powerpoint/2010/main" val="33416666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7873" name="Rectangle 7"/>
          <p:cNvSpPr txBox="1">
            <a:spLocks noGrp="1" noChangeArrowheads="1"/>
          </p:cNvSpPr>
          <p:nvPr/>
        </p:nvSpPr>
        <p:spPr bwMode="auto">
          <a:xfrm>
            <a:off x="370896" y="8891734"/>
            <a:ext cx="216406" cy="169277"/>
          </a:xfrm>
          <a:prstGeom prst="rect">
            <a:avLst/>
          </a:prstGeom>
          <a:noFill/>
          <a:ln w="9525">
            <a:noFill/>
            <a:miter lim="800000"/>
            <a:headEnd/>
            <a:tailEnd/>
          </a:ln>
        </p:spPr>
        <p:txBody>
          <a:bodyPr wrap="none" lIns="0" tIns="0" rIns="0" bIns="0" anchor="b">
            <a:spAutoFit/>
          </a:bodyPr>
          <a:lstStyle/>
          <a:p>
            <a:pPr defTabSz="606362"/>
            <a:fld id="{5846B39A-30BE-4295-A2C8-CD2E1E9535F7}" type="slidenum">
              <a:rPr lang="en-GB">
                <a:latin typeface="Calibri" pitchFamily="34" charset="0"/>
              </a:rPr>
              <a:pPr defTabSz="606362"/>
              <a:t>227</a:t>
            </a:fld>
            <a:endParaRPr lang="en-GB" dirty="0">
              <a:latin typeface="Calibri" pitchFamily="34" charset="0"/>
            </a:endParaRPr>
          </a:p>
        </p:txBody>
      </p:sp>
      <p:sp>
        <p:nvSpPr>
          <p:cNvPr id="847874" name="Rectangle 2"/>
          <p:cNvSpPr>
            <a:spLocks noGrp="1" noRot="1" noChangeAspect="1" noChangeArrowheads="1" noTextEdit="1"/>
          </p:cNvSpPr>
          <p:nvPr>
            <p:ph type="sldImg"/>
          </p:nvPr>
        </p:nvSpPr>
        <p:spPr bwMode="auto">
          <a:xfrm>
            <a:off x="677863" y="366713"/>
            <a:ext cx="5486400" cy="4114800"/>
          </a:xfrm>
          <a:noFill/>
          <a:ln>
            <a:solidFill>
              <a:srgbClr val="000000"/>
            </a:solidFill>
            <a:miter lim="800000"/>
            <a:headEnd/>
            <a:tailEnd/>
          </a:ln>
        </p:spPr>
      </p:sp>
      <p:sp>
        <p:nvSpPr>
          <p:cNvPr id="847875" name="Rectangle 3"/>
          <p:cNvSpPr>
            <a:spLocks noGrp="1" noChangeArrowheads="1"/>
          </p:cNvSpPr>
          <p:nvPr>
            <p:ph type="body" idx="1"/>
          </p:nvPr>
        </p:nvSpPr>
        <p:spPr>
          <a:xfrm>
            <a:off x="360527" y="4576690"/>
            <a:ext cx="6120925" cy="169277"/>
          </a:xfrm>
          <a:noFill/>
          <a:ln/>
        </p:spPr>
        <p:txBody>
          <a:bodyPr/>
          <a:lstStyle/>
          <a:p>
            <a:pPr marL="218290" indent="-218290" eaLnBrk="1" hangingPunct="1">
              <a:spcBef>
                <a:spcPct val="0"/>
              </a:spcBef>
            </a:pPr>
            <a:endParaRPr lang="en-US" dirty="0" smtClean="0">
              <a:latin typeface="Arial" charset="0"/>
            </a:endParaRPr>
          </a:p>
        </p:txBody>
      </p:sp>
    </p:spTree>
    <p:extLst>
      <p:ext uri="{BB962C8B-B14F-4D97-AF65-F5344CB8AC3E}">
        <p14:creationId xmlns:p14="http://schemas.microsoft.com/office/powerpoint/2010/main" val="13344969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F6715F80-3722-40A8-A13B-913CAEEA0A98}" type="slidenum">
              <a:rPr lang="en-GB" smtClean="0"/>
              <a:pPr/>
              <a:t>1</a:t>
            </a:fld>
            <a:endParaRPr lang="en-GB"/>
          </a:p>
        </p:txBody>
      </p:sp>
    </p:spTree>
    <p:extLst>
      <p:ext uri="{BB962C8B-B14F-4D97-AF65-F5344CB8AC3E}">
        <p14:creationId xmlns:p14="http://schemas.microsoft.com/office/powerpoint/2010/main" val="926008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7057" name="Rectangle 7"/>
          <p:cNvSpPr txBox="1">
            <a:spLocks noGrp="1" noChangeArrowheads="1"/>
          </p:cNvSpPr>
          <p:nvPr/>
        </p:nvSpPr>
        <p:spPr bwMode="auto">
          <a:xfrm>
            <a:off x="363716" y="8890245"/>
            <a:ext cx="72136" cy="169277"/>
          </a:xfrm>
          <a:prstGeom prst="rect">
            <a:avLst/>
          </a:prstGeom>
          <a:noFill/>
          <a:ln w="9525">
            <a:noFill/>
            <a:miter lim="800000"/>
            <a:headEnd/>
            <a:tailEnd/>
          </a:ln>
        </p:spPr>
        <p:txBody>
          <a:bodyPr wrap="none" lIns="0" tIns="0" rIns="0" bIns="0" anchor="b">
            <a:spAutoFit/>
          </a:bodyPr>
          <a:lstStyle/>
          <a:p>
            <a:pPr defTabSz="606362"/>
            <a:fld id="{27B3CB00-5304-4C9D-9ACF-10ACBCF4C5E2}" type="slidenum">
              <a:rPr lang="en-GB">
                <a:latin typeface="Calibri" pitchFamily="34" charset="0"/>
              </a:rPr>
              <a:pPr defTabSz="606362"/>
              <a:t>4</a:t>
            </a:fld>
            <a:endParaRPr lang="en-GB" dirty="0">
              <a:latin typeface="Calibri" pitchFamily="34" charset="0"/>
            </a:endParaRPr>
          </a:p>
        </p:txBody>
      </p:sp>
      <p:sp>
        <p:nvSpPr>
          <p:cNvPr id="557058" name="Rectangle 2"/>
          <p:cNvSpPr>
            <a:spLocks noGrp="1" noRot="1" noChangeAspect="1" noChangeArrowheads="1" noTextEdit="1"/>
          </p:cNvSpPr>
          <p:nvPr>
            <p:ph type="sldImg"/>
          </p:nvPr>
        </p:nvSpPr>
        <p:spPr bwMode="auto">
          <a:xfrm>
            <a:off x="677863" y="365125"/>
            <a:ext cx="5486400" cy="4116388"/>
          </a:xfrm>
          <a:noFill/>
          <a:ln>
            <a:solidFill>
              <a:srgbClr val="000000"/>
            </a:solidFill>
            <a:miter lim="800000"/>
            <a:headEnd/>
            <a:tailEnd/>
          </a:ln>
        </p:spPr>
      </p:sp>
      <p:sp>
        <p:nvSpPr>
          <p:cNvPr id="557059" name="Rectangle 3"/>
          <p:cNvSpPr>
            <a:spLocks noGrp="1" noChangeArrowheads="1"/>
          </p:cNvSpPr>
          <p:nvPr>
            <p:ph type="body" idx="1"/>
          </p:nvPr>
        </p:nvSpPr>
        <p:spPr>
          <a:xfrm>
            <a:off x="360527" y="4576689"/>
            <a:ext cx="6119322" cy="262553"/>
          </a:xfrm>
          <a:noFill/>
          <a:ln/>
        </p:spPr>
        <p:txBody>
          <a:bodyPr lIns="92373" tIns="46187" rIns="92373" bIns="46187"/>
          <a:lstStyle/>
          <a:p>
            <a:pPr marL="327435" indent="-327435" eaLnBrk="1" hangingPunct="1">
              <a:spcBef>
                <a:spcPct val="0"/>
              </a:spcBef>
            </a:pPr>
            <a:endParaRPr lang="en-GB" dirty="0" smtClean="0">
              <a:latin typeface="Arial" charset="0"/>
            </a:endParaRPr>
          </a:p>
        </p:txBody>
      </p:sp>
    </p:spTree>
    <p:extLst>
      <p:ext uri="{BB962C8B-B14F-4D97-AF65-F5344CB8AC3E}">
        <p14:creationId xmlns:p14="http://schemas.microsoft.com/office/powerpoint/2010/main" val="8996439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0129" name="Slide Image Placeholder 1"/>
          <p:cNvSpPr>
            <a:spLocks noGrp="1" noRot="1" noChangeAspect="1"/>
          </p:cNvSpPr>
          <p:nvPr>
            <p:ph type="sldImg"/>
          </p:nvPr>
        </p:nvSpPr>
        <p:spPr bwMode="auto">
          <a:noFill/>
          <a:ln>
            <a:solidFill>
              <a:srgbClr val="000000"/>
            </a:solidFill>
            <a:miter lim="800000"/>
            <a:headEnd/>
            <a:tailEnd/>
          </a:ln>
        </p:spPr>
      </p:sp>
      <p:sp>
        <p:nvSpPr>
          <p:cNvPr id="560130" name="Notes Placeholder 2"/>
          <p:cNvSpPr>
            <a:spLocks noGrp="1"/>
          </p:cNvSpPr>
          <p:nvPr>
            <p:ph type="body" idx="1"/>
          </p:nvPr>
        </p:nvSpPr>
        <p:spPr>
          <a:xfrm>
            <a:off x="684214" y="4416427"/>
            <a:ext cx="5489575" cy="169277"/>
          </a:xfrm>
          <a:noFill/>
          <a:ln/>
        </p:spPr>
        <p:txBody>
          <a:bodyPr/>
          <a:lstStyle/>
          <a:p>
            <a:pPr marL="218290" indent="-218290"/>
            <a:endParaRPr lang="nl-NL" dirty="0" smtClean="0"/>
          </a:p>
        </p:txBody>
      </p:sp>
      <p:sp>
        <p:nvSpPr>
          <p:cNvPr id="560131" name="Slide Number Placeholder 3"/>
          <p:cNvSpPr>
            <a:spLocks noGrp="1"/>
          </p:cNvSpPr>
          <p:nvPr>
            <p:ph type="sldNum" sz="quarter" idx="5"/>
          </p:nvPr>
        </p:nvSpPr>
        <p:spPr>
          <a:noFill/>
        </p:spPr>
        <p:txBody>
          <a:bodyPr/>
          <a:lstStyle/>
          <a:p>
            <a:fld id="{477CB6A2-AF2D-4754-90A7-4193290FA80F}" type="slidenum">
              <a:rPr lang="en-GB" smtClean="0"/>
              <a:pPr/>
              <a:t>5</a:t>
            </a:fld>
            <a:endParaRPr lang="en-GB" smtClean="0"/>
          </a:p>
        </p:txBody>
      </p:sp>
    </p:spTree>
    <p:extLst>
      <p:ext uri="{BB962C8B-B14F-4D97-AF65-F5344CB8AC3E}">
        <p14:creationId xmlns:p14="http://schemas.microsoft.com/office/powerpoint/2010/main" val="4165894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41" name="Slide Image Placeholder 1"/>
          <p:cNvSpPr>
            <a:spLocks noGrp="1" noRot="1" noChangeAspect="1"/>
          </p:cNvSpPr>
          <p:nvPr>
            <p:ph type="sldImg"/>
          </p:nvPr>
        </p:nvSpPr>
        <p:spPr bwMode="auto">
          <a:noFill/>
          <a:ln>
            <a:solidFill>
              <a:srgbClr val="000000"/>
            </a:solidFill>
            <a:miter lim="800000"/>
            <a:headEnd/>
            <a:tailEnd/>
          </a:ln>
        </p:spPr>
      </p:sp>
      <p:sp>
        <p:nvSpPr>
          <p:cNvPr id="573442" name="Notes Placeholder 2"/>
          <p:cNvSpPr>
            <a:spLocks noGrp="1"/>
          </p:cNvSpPr>
          <p:nvPr>
            <p:ph type="body" idx="1"/>
          </p:nvPr>
        </p:nvSpPr>
        <p:spPr>
          <a:xfrm>
            <a:off x="684214" y="4416427"/>
            <a:ext cx="5489575" cy="169277"/>
          </a:xfrm>
          <a:noFill/>
          <a:ln/>
        </p:spPr>
        <p:txBody>
          <a:bodyPr/>
          <a:lstStyle/>
          <a:p>
            <a:endParaRPr lang="en-US" smtClean="0"/>
          </a:p>
        </p:txBody>
      </p:sp>
      <p:sp>
        <p:nvSpPr>
          <p:cNvPr id="573443" name="Slide Number Placeholder 3"/>
          <p:cNvSpPr>
            <a:spLocks noGrp="1"/>
          </p:cNvSpPr>
          <p:nvPr>
            <p:ph type="sldNum" sz="quarter" idx="5"/>
          </p:nvPr>
        </p:nvSpPr>
        <p:spPr>
          <a:noFill/>
        </p:spPr>
        <p:txBody>
          <a:bodyPr/>
          <a:lstStyle/>
          <a:p>
            <a:fld id="{14DA8D5D-C495-41FE-89D8-2CC16B09AF26}" type="slidenum">
              <a:rPr lang="en-GB" smtClean="0"/>
              <a:pPr/>
              <a:t>10</a:t>
            </a:fld>
            <a:endParaRPr lang="en-GB" smtClean="0"/>
          </a:p>
        </p:txBody>
      </p:sp>
    </p:spTree>
    <p:extLst>
      <p:ext uri="{BB962C8B-B14F-4D97-AF65-F5344CB8AC3E}">
        <p14:creationId xmlns:p14="http://schemas.microsoft.com/office/powerpoint/2010/main" val="34276921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9281" name="Slide Image Placeholder 1"/>
          <p:cNvSpPr>
            <a:spLocks noGrp="1" noRot="1" noChangeAspect="1"/>
          </p:cNvSpPr>
          <p:nvPr>
            <p:ph type="sldImg"/>
          </p:nvPr>
        </p:nvSpPr>
        <p:spPr bwMode="auto">
          <a:noFill/>
          <a:ln>
            <a:solidFill>
              <a:srgbClr val="000000"/>
            </a:solidFill>
            <a:miter lim="800000"/>
            <a:headEnd/>
            <a:tailEnd/>
          </a:ln>
        </p:spPr>
      </p:sp>
      <p:sp>
        <p:nvSpPr>
          <p:cNvPr id="609282" name="Notes Placeholder 2"/>
          <p:cNvSpPr>
            <a:spLocks noGrp="1"/>
          </p:cNvSpPr>
          <p:nvPr>
            <p:ph type="body" idx="1"/>
          </p:nvPr>
        </p:nvSpPr>
        <p:spPr>
          <a:xfrm>
            <a:off x="684214" y="4416427"/>
            <a:ext cx="5489575" cy="169277"/>
          </a:xfrm>
          <a:noFill/>
          <a:ln/>
        </p:spPr>
        <p:txBody>
          <a:bodyPr/>
          <a:lstStyle/>
          <a:p>
            <a:pPr marL="218290" indent="-218290"/>
            <a:endParaRPr lang="nl-NL" dirty="0" smtClean="0"/>
          </a:p>
        </p:txBody>
      </p:sp>
      <p:sp>
        <p:nvSpPr>
          <p:cNvPr id="609283" name="Slide Number Placeholder 3"/>
          <p:cNvSpPr>
            <a:spLocks noGrp="1"/>
          </p:cNvSpPr>
          <p:nvPr>
            <p:ph type="sldNum" sz="quarter" idx="5"/>
          </p:nvPr>
        </p:nvSpPr>
        <p:spPr>
          <a:noFill/>
        </p:spPr>
        <p:txBody>
          <a:bodyPr/>
          <a:lstStyle/>
          <a:p>
            <a:fld id="{7F0C72C9-5FBC-4599-A126-7CB11B15611D}" type="slidenum">
              <a:rPr lang="en-GB" smtClean="0"/>
              <a:pPr/>
              <a:t>42</a:t>
            </a:fld>
            <a:endParaRPr lang="en-GB" smtClean="0"/>
          </a:p>
        </p:txBody>
      </p:sp>
    </p:spTree>
    <p:extLst>
      <p:ext uri="{BB962C8B-B14F-4D97-AF65-F5344CB8AC3E}">
        <p14:creationId xmlns:p14="http://schemas.microsoft.com/office/powerpoint/2010/main" val="37248880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7713" name="Slide Image Placeholder 1"/>
          <p:cNvSpPr>
            <a:spLocks noGrp="1" noRot="1" noChangeAspect="1"/>
          </p:cNvSpPr>
          <p:nvPr>
            <p:ph type="sldImg"/>
          </p:nvPr>
        </p:nvSpPr>
        <p:spPr bwMode="auto">
          <a:noFill/>
          <a:ln>
            <a:solidFill>
              <a:srgbClr val="000000"/>
            </a:solidFill>
            <a:miter lim="800000"/>
            <a:headEnd/>
            <a:tailEnd/>
          </a:ln>
        </p:spPr>
      </p:sp>
      <p:sp>
        <p:nvSpPr>
          <p:cNvPr id="627714" name="Notes Placeholder 2"/>
          <p:cNvSpPr>
            <a:spLocks noGrp="1"/>
          </p:cNvSpPr>
          <p:nvPr>
            <p:ph type="body" idx="1"/>
          </p:nvPr>
        </p:nvSpPr>
        <p:spPr>
          <a:xfrm>
            <a:off x="684214" y="4416427"/>
            <a:ext cx="5489575" cy="169277"/>
          </a:xfrm>
          <a:noFill/>
          <a:ln/>
        </p:spPr>
        <p:txBody>
          <a:bodyPr/>
          <a:lstStyle/>
          <a:p>
            <a:pPr marL="218290" indent="-218290"/>
            <a:endParaRPr lang="nl-NL" dirty="0" smtClean="0"/>
          </a:p>
        </p:txBody>
      </p:sp>
      <p:sp>
        <p:nvSpPr>
          <p:cNvPr id="627715" name="Slide Number Placeholder 3"/>
          <p:cNvSpPr>
            <a:spLocks noGrp="1"/>
          </p:cNvSpPr>
          <p:nvPr>
            <p:ph type="sldNum" sz="quarter" idx="5"/>
          </p:nvPr>
        </p:nvSpPr>
        <p:spPr>
          <a:noFill/>
        </p:spPr>
        <p:txBody>
          <a:bodyPr/>
          <a:lstStyle/>
          <a:p>
            <a:fld id="{89ACEDE0-81B5-45B9-AEFC-B8AD6F3AB051}" type="slidenum">
              <a:rPr lang="en-GB" smtClean="0"/>
              <a:pPr/>
              <a:t>59</a:t>
            </a:fld>
            <a:endParaRPr lang="en-GB" smtClean="0"/>
          </a:p>
        </p:txBody>
      </p:sp>
    </p:spTree>
    <p:extLst>
      <p:ext uri="{BB962C8B-B14F-4D97-AF65-F5344CB8AC3E}">
        <p14:creationId xmlns:p14="http://schemas.microsoft.com/office/powerpoint/2010/main" val="17627200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1745" name="Slide Image Placeholder 1"/>
          <p:cNvSpPr>
            <a:spLocks noGrp="1" noRot="1" noChangeAspect="1"/>
          </p:cNvSpPr>
          <p:nvPr>
            <p:ph type="sldImg"/>
          </p:nvPr>
        </p:nvSpPr>
        <p:spPr bwMode="auto">
          <a:noFill/>
          <a:ln>
            <a:solidFill>
              <a:srgbClr val="000000"/>
            </a:solidFill>
            <a:miter lim="800000"/>
            <a:headEnd/>
            <a:tailEnd/>
          </a:ln>
        </p:spPr>
      </p:sp>
      <p:sp>
        <p:nvSpPr>
          <p:cNvPr id="671746" name="Notes Placeholder 2"/>
          <p:cNvSpPr>
            <a:spLocks noGrp="1"/>
          </p:cNvSpPr>
          <p:nvPr>
            <p:ph type="body" idx="1"/>
          </p:nvPr>
        </p:nvSpPr>
        <p:spPr>
          <a:xfrm>
            <a:off x="684214" y="4416427"/>
            <a:ext cx="5489575" cy="169277"/>
          </a:xfrm>
          <a:noFill/>
          <a:ln/>
        </p:spPr>
        <p:txBody>
          <a:bodyPr/>
          <a:lstStyle/>
          <a:p>
            <a:pPr marL="218290" indent="-218290"/>
            <a:endParaRPr lang="nl-NL" dirty="0" smtClean="0"/>
          </a:p>
        </p:txBody>
      </p:sp>
      <p:sp>
        <p:nvSpPr>
          <p:cNvPr id="671747" name="Slide Number Placeholder 3"/>
          <p:cNvSpPr>
            <a:spLocks noGrp="1"/>
          </p:cNvSpPr>
          <p:nvPr>
            <p:ph type="sldNum" sz="quarter" idx="5"/>
          </p:nvPr>
        </p:nvSpPr>
        <p:spPr>
          <a:noFill/>
        </p:spPr>
        <p:txBody>
          <a:bodyPr/>
          <a:lstStyle/>
          <a:p>
            <a:fld id="{2BAE56CA-6209-4E3D-8BA2-440CB82964E4}" type="slidenum">
              <a:rPr lang="en-GB" smtClean="0"/>
              <a:pPr/>
              <a:t>100</a:t>
            </a:fld>
            <a:endParaRPr lang="en-GB" smtClean="0"/>
          </a:p>
        </p:txBody>
      </p:sp>
    </p:spTree>
    <p:extLst>
      <p:ext uri="{BB962C8B-B14F-4D97-AF65-F5344CB8AC3E}">
        <p14:creationId xmlns:p14="http://schemas.microsoft.com/office/powerpoint/2010/main" val="36746571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2465" name="Slide Image Placeholder 1"/>
          <p:cNvSpPr>
            <a:spLocks noGrp="1" noRot="1" noChangeAspect="1"/>
          </p:cNvSpPr>
          <p:nvPr>
            <p:ph type="sldImg"/>
          </p:nvPr>
        </p:nvSpPr>
        <p:spPr bwMode="auto">
          <a:noFill/>
          <a:ln>
            <a:solidFill>
              <a:srgbClr val="000000"/>
            </a:solidFill>
            <a:miter lim="800000"/>
            <a:headEnd/>
            <a:tailEnd/>
          </a:ln>
        </p:spPr>
      </p:sp>
      <p:sp>
        <p:nvSpPr>
          <p:cNvPr id="702466" name="Notes Placeholder 2"/>
          <p:cNvSpPr>
            <a:spLocks noGrp="1"/>
          </p:cNvSpPr>
          <p:nvPr>
            <p:ph type="body" idx="1"/>
          </p:nvPr>
        </p:nvSpPr>
        <p:spPr>
          <a:xfrm>
            <a:off x="684214" y="4416427"/>
            <a:ext cx="5489575" cy="169277"/>
          </a:xfrm>
          <a:noFill/>
          <a:ln/>
        </p:spPr>
        <p:txBody>
          <a:bodyPr/>
          <a:lstStyle/>
          <a:p>
            <a:pPr marL="218290" indent="-218290"/>
            <a:endParaRPr lang="nl-NL" dirty="0" smtClean="0"/>
          </a:p>
        </p:txBody>
      </p:sp>
      <p:sp>
        <p:nvSpPr>
          <p:cNvPr id="702467" name="Slide Number Placeholder 3"/>
          <p:cNvSpPr>
            <a:spLocks noGrp="1"/>
          </p:cNvSpPr>
          <p:nvPr>
            <p:ph type="sldNum" sz="quarter" idx="5"/>
          </p:nvPr>
        </p:nvSpPr>
        <p:spPr>
          <a:noFill/>
        </p:spPr>
        <p:txBody>
          <a:bodyPr/>
          <a:lstStyle/>
          <a:p>
            <a:fld id="{DB038506-9A99-41AC-9044-3D2DAB575EEC}" type="slidenum">
              <a:rPr lang="en-GB" smtClean="0"/>
              <a:pPr/>
              <a:t>129</a:t>
            </a:fld>
            <a:endParaRPr lang="en-GB" smtClean="0"/>
          </a:p>
        </p:txBody>
      </p:sp>
    </p:spTree>
    <p:extLst>
      <p:ext uri="{BB962C8B-B14F-4D97-AF65-F5344CB8AC3E}">
        <p14:creationId xmlns:p14="http://schemas.microsoft.com/office/powerpoint/2010/main" val="10230874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143000" y="2641627"/>
            <a:ext cx="4113213" cy="743793"/>
          </a:xfrm>
          <a:prstGeom prst="rect">
            <a:avLst/>
          </a:prstGeom>
        </p:spPr>
        <p:txBody>
          <a:bodyPr anchor="b" anchorCtr="0">
            <a:spAutoFit/>
          </a:bodyPr>
          <a:lstStyle>
            <a:lvl1pPr>
              <a:lnSpc>
                <a:spcPct val="85000"/>
              </a:lnSpc>
              <a:defRPr sz="28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3000" y="3689350"/>
            <a:ext cx="4113213" cy="276999"/>
          </a:xfrm>
          <a:prstGeom prst="rect">
            <a:avLst/>
          </a:prstGeom>
        </p:spPr>
        <p:txBody>
          <a:bodyPr>
            <a:spAutoFit/>
          </a:bodyPr>
          <a:lstStyle>
            <a:lvl1pPr>
              <a:lnSpc>
                <a:spcPct val="100000"/>
              </a:lnSpc>
              <a:defRPr sz="1800" b="1" smtClean="0">
                <a:latin typeface="Arial" pitchFamily="34" charset="0"/>
              </a:defRPr>
            </a:lvl1pPr>
          </a:lstStyle>
          <a:p>
            <a:r>
              <a:rPr lang="en-US" smtClean="0"/>
              <a:t>Click to edit Master subtitle style</a:t>
            </a:r>
            <a:endParaRPr smtClean="0"/>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404813" y="303213"/>
            <a:ext cx="1636712" cy="307975"/>
          </a:xfrm>
          <a:prstGeom prst="rect">
            <a:avLst/>
          </a:prstGeom>
          <a:noFill/>
        </p:spPr>
      </p:pic>
    </p:spTree>
  </p:cSld>
  <p:clrMapOvr>
    <a:masterClrMapping/>
  </p:clrMapOvr>
  <p:transition/>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print"/>
          <a:srcRect l="11237" t="27428" r="9845" b="25551"/>
          <a:stretch>
            <a:fillRect/>
          </a:stretch>
        </p:blipFill>
        <p:spPr bwMode="gray">
          <a:xfrm>
            <a:off x="2844800" y="3032125"/>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chorCtr="0">
            <a:noAutofit/>
          </a:bodyPr>
          <a:lstStyle>
            <a:lvl1pPr>
              <a:lnSpc>
                <a:spcPts val="800"/>
              </a:lnSpc>
              <a:spcBef>
                <a:spcPts val="400"/>
              </a:spcBef>
              <a:spcAft>
                <a:spcPts val="400"/>
              </a:spcAft>
              <a:defRPr sz="700"/>
            </a:lvl1pPr>
          </a:lstStyle>
          <a:p>
            <a:pPr lvl="0"/>
            <a:r>
              <a:rPr lang="en-US" smtClean="0"/>
              <a:t>Click to edit Master text styles</a:t>
            </a:r>
          </a:p>
        </p:txBody>
      </p:sp>
    </p:spTree>
  </p:cSld>
  <p:clrMapOvr>
    <a:masterClrMapping/>
  </p:clrMapOvr>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Divider">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411480" y="2773363"/>
            <a:ext cx="4325112" cy="731520"/>
          </a:xfrm>
          <a:prstGeom prst="rect">
            <a:avLst/>
          </a:prstGeom>
        </p:spPr>
        <p:txBody>
          <a:bodyPr>
            <a:spAutoFit/>
          </a:bodyPr>
          <a:lstStyle>
            <a:lvl1pPr>
              <a:lnSpc>
                <a:spcPct val="85000"/>
              </a:lnSpc>
              <a:defRPr sz="2800" b="1" smtClean="0">
                <a:latin typeface="+mj-lt"/>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411480" y="3694176"/>
            <a:ext cx="4325112" cy="307777"/>
          </a:xfrm>
          <a:prstGeom prst="rect">
            <a:avLst/>
          </a:prstGeom>
        </p:spPr>
        <p:txBody>
          <a:bodyPr>
            <a:spAutoFit/>
          </a:bodyPr>
          <a:lstStyle>
            <a:lvl1pPr>
              <a:lnSpc>
                <a:spcPct val="100000"/>
              </a:lnSpc>
              <a:defRPr sz="2000" b="0" smtClean="0">
                <a:latin typeface="Arial" pitchFamily="34" charset="0"/>
              </a:defRPr>
            </a:lvl1pPr>
          </a:lstStyle>
          <a:p>
            <a:r>
              <a:rPr lang="en-US" smtClean="0"/>
              <a:t>Click to edit Master subtitle style</a:t>
            </a:r>
            <a:endParaRPr smtClean="0"/>
          </a:p>
        </p:txBody>
      </p:sp>
    </p:spTree>
  </p:cSld>
  <p:clrMapOvr>
    <a:masterClrMapping/>
  </p:clrMapOvr>
  <p:transition/>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11480" y="2824696"/>
            <a:ext cx="8149908" cy="680186"/>
          </a:xfrm>
          <a:prstGeom prst="rect">
            <a:avLst/>
          </a:prstGeom>
        </p:spPr>
        <p:txBody>
          <a:bodyPr anchor="b" anchorCtr="0">
            <a:spAutoFit/>
          </a:bodyPr>
          <a:lstStyle>
            <a:lvl1pPr>
              <a:lnSpc>
                <a:spcPct val="85000"/>
              </a:lnSpc>
              <a:defRPr sz="52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411480" y="3694176"/>
            <a:ext cx="4325112" cy="276999"/>
          </a:xfrm>
          <a:prstGeom prst="rect">
            <a:avLst/>
          </a:prstGeom>
        </p:spPr>
        <p:txBody>
          <a:bodyPr>
            <a:spAutoFit/>
          </a:bodyPr>
          <a:lstStyle>
            <a:lvl1pPr>
              <a:lnSpc>
                <a:spcPct val="100000"/>
              </a:lnSpc>
              <a:defRPr sz="1800" b="1" smtClean="0">
                <a:solidFill>
                  <a:schemeClr val="bg1"/>
                </a:solidFill>
                <a:latin typeface="Arial" pitchFamily="34" charset="0"/>
              </a:defRPr>
            </a:lvl1pPr>
          </a:lstStyle>
          <a:p>
            <a:r>
              <a:rPr lang="en-US" smtClean="0"/>
              <a:t>Click to edit Master subtitle style</a:t>
            </a:r>
            <a:endParaRPr smtClean="0"/>
          </a:p>
        </p:txBody>
      </p:sp>
    </p:spTree>
  </p:cSld>
  <p:clrMapOvr>
    <a:masterClrMapping/>
  </p:clrMapOvr>
  <p:transition/>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tab pos="3889375"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tab pos="3889375"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tab pos="3883025" algn="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tab pos="3889375" algn="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3889375" algn="r"/>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 Column">
    <p:bg>
      <p:bgPr>
        <a:solidFill>
          <a:schemeClr val="bg1"/>
        </a:solidFill>
        <a:effectLst/>
      </p:bgPr>
    </p:bg>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6"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7" name="Content Placeholder 20"/>
          <p:cNvSpPr>
            <a:spLocks noGrp="1"/>
          </p:cNvSpPr>
          <p:nvPr>
            <p:ph sz="quarter" idx="14"/>
          </p:nvPr>
        </p:nvSpPr>
        <p:spPr bwMode="gray">
          <a:xfrm>
            <a:off x="4724400"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8" y="1399031"/>
            <a:ext cx="2642616" cy="4887469"/>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Content Placeholder 20"/>
          <p:cNvSpPr>
            <a:spLocks noGrp="1"/>
          </p:cNvSpPr>
          <p:nvPr>
            <p:ph sz="quarter" idx="11"/>
          </p:nvPr>
        </p:nvSpPr>
        <p:spPr bwMode="gray">
          <a:xfrm>
            <a:off x="3254819" y="1399030"/>
            <a:ext cx="2642616" cy="4887469"/>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8"/>
          <p:cNvSpPr>
            <a:spLocks noGrp="1"/>
          </p:cNvSpPr>
          <p:nvPr>
            <p:ph sz="quarter" idx="12"/>
          </p:nvPr>
        </p:nvSpPr>
        <p:spPr bwMode="gray">
          <a:xfrm>
            <a:off x="6098159" y="1399030"/>
            <a:ext cx="2642616" cy="4887469"/>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7"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8" y="1873249"/>
            <a:ext cx="8330184" cy="4280807"/>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8330184" cy="276999"/>
          </a:xfrm>
          <a:prstGeom prst="rect">
            <a:avLst/>
          </a:prstGeom>
        </p:spPr>
        <p:txBody>
          <a:bodyPr>
            <a:spAutoFit/>
          </a:bodyPr>
          <a:lstStyle>
            <a:lvl1pPr>
              <a:defRPr sz="18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3" name="Text Placeholder 18"/>
          <p:cNvSpPr>
            <a:spLocks noGrp="1"/>
          </p:cNvSpPr>
          <p:nvPr>
            <p:ph type="body" sz="quarter" idx="16"/>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8"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9" y="1873248"/>
            <a:ext cx="3999155" cy="428080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3995928" cy="276999"/>
          </a:xfrm>
          <a:prstGeom prst="rect">
            <a:avLst/>
          </a:prstGeom>
        </p:spPr>
        <p:txBody>
          <a:bodyPr>
            <a:spAutoFit/>
          </a:bodyPr>
          <a:lstStyle>
            <a:lvl1pPr>
              <a:defRPr sz="18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5" name="Text Placeholder 13"/>
          <p:cNvSpPr>
            <a:spLocks noGrp="1"/>
          </p:cNvSpPr>
          <p:nvPr>
            <p:ph type="body" sz="quarter" idx="16"/>
          </p:nvPr>
        </p:nvSpPr>
        <p:spPr bwMode="gray">
          <a:xfrm>
            <a:off x="4737846" y="6153912"/>
            <a:ext cx="3995928" cy="128016"/>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7" name="Text Placeholder 18"/>
          <p:cNvSpPr>
            <a:spLocks noGrp="1"/>
          </p:cNvSpPr>
          <p:nvPr>
            <p:ph type="body" sz="quarter" idx="17"/>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10"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11" name="Content Placeholder 20"/>
          <p:cNvSpPr>
            <a:spLocks noGrp="1"/>
          </p:cNvSpPr>
          <p:nvPr>
            <p:ph sz="quarter" idx="18"/>
          </p:nvPr>
        </p:nvSpPr>
        <p:spPr bwMode="gray">
          <a:xfrm>
            <a:off x="4724400" y="1873248"/>
            <a:ext cx="3999155" cy="428080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1"/>
          <p:cNvSpPr>
            <a:spLocks noGrp="1"/>
          </p:cNvSpPr>
          <p:nvPr>
            <p:ph type="body" sz="quarter" idx="19"/>
          </p:nvPr>
        </p:nvSpPr>
        <p:spPr bwMode="gray">
          <a:xfrm>
            <a:off x="4727259" y="1397000"/>
            <a:ext cx="3995928" cy="276999"/>
          </a:xfrm>
          <a:prstGeom prst="rect">
            <a:avLst/>
          </a:prstGeom>
        </p:spPr>
        <p:txBody>
          <a:bodyPr>
            <a:spAutoFit/>
          </a:bodyPr>
          <a:lstStyle>
            <a:lvl1pPr>
              <a:defRPr sz="1800" b="1">
                <a:latin typeface="+mj-lt"/>
              </a:defRPr>
            </a:lvl1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17"/>
          <p:cNvSpPr>
            <a:spLocks noChangeArrowheads="1"/>
          </p:cNvSpPr>
          <p:nvPr/>
        </p:nvSpPr>
        <p:spPr bwMode="gray">
          <a:xfrm>
            <a:off x="5965825" y="6656388"/>
            <a:ext cx="2774950" cy="107722"/>
          </a:xfrm>
          <a:prstGeom prst="rect">
            <a:avLst/>
          </a:prstGeom>
          <a:noFill/>
          <a:ln w="25400" algn="ctr">
            <a:noFill/>
            <a:miter lim="800000"/>
            <a:headEnd/>
            <a:tailEnd/>
          </a:ln>
        </p:spPr>
        <p:txBody>
          <a:bodyPr lIns="0" tIns="0" rIns="0" bIns="0" anchor="b">
            <a:spAutoFit/>
          </a:bodyPr>
          <a:lstStyle/>
          <a:p>
            <a:pPr algn="r">
              <a:spcBef>
                <a:spcPct val="0"/>
              </a:spcBef>
            </a:pPr>
            <a:r>
              <a:rPr lang="en-US" sz="700" b="0" dirty="0">
                <a:solidFill>
                  <a:schemeClr val="tx2"/>
                </a:solidFill>
              </a:rPr>
              <a:t>Copyright © </a:t>
            </a:r>
            <a:r>
              <a:rPr lang="en-US" sz="700" b="0" dirty="0" smtClean="0">
                <a:solidFill>
                  <a:schemeClr val="tx2"/>
                </a:solidFill>
              </a:rPr>
              <a:t>2010 </a:t>
            </a:r>
            <a:r>
              <a:rPr lang="en-US" sz="700" b="0" dirty="0">
                <a:solidFill>
                  <a:schemeClr val="tx2"/>
                </a:solidFill>
              </a:rPr>
              <a:t>Deloitte Development LLC. </a:t>
            </a:r>
            <a:r>
              <a:rPr lang="en-US" sz="700" b="0" dirty="0" smtClean="0">
                <a:solidFill>
                  <a:schemeClr val="tx2"/>
                </a:solidFill>
              </a:rPr>
              <a:t>All rights reserved.</a:t>
            </a:r>
            <a:endParaRPr lang="en-US" sz="700" b="0" dirty="0">
              <a:solidFill>
                <a:schemeClr val="tx2"/>
              </a:solidFill>
            </a:endParaRPr>
          </a:p>
        </p:txBody>
      </p:sp>
      <p:sp>
        <p:nvSpPr>
          <p:cNvPr id="19" name="Slide Number Placeholder 9"/>
          <p:cNvSpPr>
            <a:spLocks/>
          </p:cNvSpPr>
          <p:nvPr/>
        </p:nvSpPr>
        <p:spPr bwMode="gray">
          <a:xfrm>
            <a:off x="414338" y="6640513"/>
            <a:ext cx="268287" cy="138499"/>
          </a:xfrm>
          <a:prstGeom prst="rect">
            <a:avLst/>
          </a:prstGeom>
          <a:noFill/>
          <a:ln w="9525">
            <a:noFill/>
            <a:miter lim="800000"/>
            <a:headEnd/>
            <a:tailEnd/>
          </a:ln>
        </p:spPr>
        <p:txBody>
          <a:bodyPr lIns="0" tIns="0" rIns="0" bIns="0" anchor="b">
            <a:spAutoFit/>
          </a:bodyPr>
          <a:lstStyle/>
          <a:p>
            <a:pPr algn="l">
              <a:spcBef>
                <a:spcPct val="0"/>
              </a:spcBef>
            </a:pPr>
            <a:fld id="{86C77FDF-45C5-4665-AAEE-45520AE6BEA9}" type="slidenum">
              <a:rPr lang="en-US" sz="900">
                <a:solidFill>
                  <a:schemeClr val="tx2"/>
                </a:solidFill>
              </a:rPr>
              <a:pPr algn="l">
                <a:spcBef>
                  <a:spcPct val="0"/>
                </a:spcBef>
              </a:pPr>
              <a:t>‹#›</a:t>
            </a:fld>
            <a:endParaRPr lang="en-US" sz="900">
              <a:solidFill>
                <a:schemeClr val="tx2"/>
              </a:solidFill>
            </a:endParaRPr>
          </a:p>
        </p:txBody>
      </p:sp>
      <p:sp>
        <p:nvSpPr>
          <p:cNvPr id="11"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16" name="Text Placeholder 15"/>
          <p:cNvSpPr>
            <a:spLocks noGrp="1"/>
          </p:cNvSpPr>
          <p:nvPr>
            <p:ph type="body" idx="1"/>
          </p:nvPr>
        </p:nvSpPr>
        <p:spPr bwMode="gray">
          <a:xfrm>
            <a:off x="411480" y="1400175"/>
            <a:ext cx="8330184" cy="1497846"/>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883" r:id="rId1"/>
    <p:sldLayoutId id="2147483901" r:id="rId2"/>
    <p:sldLayoutId id="2147483907" r:id="rId3"/>
    <p:sldLayoutId id="2147483908" r:id="rId4"/>
    <p:sldLayoutId id="2147483898" r:id="rId5"/>
    <p:sldLayoutId id="2147483904" r:id="rId6"/>
    <p:sldLayoutId id="2147483906" r:id="rId7"/>
    <p:sldLayoutId id="2147483905" r:id="rId8"/>
    <p:sldLayoutId id="2147483897" r:id="rId9"/>
    <p:sldLayoutId id="2147483899" r:id="rId10"/>
    <p:sldLayoutId id="2147483900" r:id="rId11"/>
  </p:sldLayoutIdLst>
  <p:hf hdr="0" dt="0"/>
  <p:txStyles>
    <p:titleStyle>
      <a:lvl1pPr algn="l" rtl="0" eaLnBrk="1" fontAlgn="base" hangingPunct="1">
        <a:lnSpc>
          <a:spcPts val="2600"/>
        </a:lnSpc>
        <a:spcBef>
          <a:spcPct val="0"/>
        </a:spcBef>
        <a:spcAft>
          <a:spcPct val="0"/>
        </a:spcAft>
        <a:defRPr kumimoji="0" lang="en-US" sz="2400" b="1" i="0" u="none" strike="noStrike" kern="1200" cap="none" spc="0" normalizeH="0" baseline="0" noProof="0" dirty="0" smtClean="0">
          <a:ln>
            <a:noFill/>
          </a:ln>
          <a:solidFill>
            <a:schemeClr val="tx2"/>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p:titleStyle>
    <p:bodyStyle>
      <a:lvl1pPr marR="0" indent="0" algn="l" defTabSz="914400" rtl="0" eaLnBrk="1" fontAlgn="base" latinLnBrk="0" hangingPunct="1">
        <a:lnSpc>
          <a:spcPct val="100000"/>
        </a:lnSpc>
        <a:spcBef>
          <a:spcPts val="2200"/>
        </a:spcBef>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4625"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L="341313" indent="-171450" algn="l" rtl="0" eaLnBrk="1" fontAlgn="base" hangingPunct="1">
        <a:lnSpc>
          <a:spcPct val="100000"/>
        </a:lnSpc>
        <a:spcBef>
          <a:spcPts val="400"/>
        </a:spcBef>
        <a:spcAft>
          <a:spcPct val="0"/>
        </a:spcAft>
        <a:buFont typeface="Arial" pitchFamily="34" charset="0"/>
        <a:buChar char="–"/>
        <a:defRPr lang="en-US" sz="1600" kern="1200" dirty="0" smtClean="0">
          <a:solidFill>
            <a:schemeClr val="tx2"/>
          </a:solidFill>
          <a:latin typeface="+mn-lt"/>
          <a:ea typeface="+mn-ea"/>
          <a:cs typeface="+mn-cs"/>
        </a:defRPr>
      </a:lvl3pPr>
      <a:lvl4pPr marL="515938" marR="0" indent="-174625" algn="l" defTabSz="914400" rtl="0" eaLnBrk="1" fontAlgn="base" latinLnBrk="0" hangingPunct="1">
        <a:lnSpc>
          <a:spcPct val="100000"/>
        </a:lnSpc>
        <a:spcBef>
          <a:spcPts val="400"/>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4pPr>
      <a:lvl5pPr marL="688975" marR="0" indent="-173038" algn="l" defTabSz="914400" rtl="0" eaLnBrk="1" fontAlgn="base" latinLnBrk="0" hangingPunct="1">
        <a:lnSpc>
          <a:spcPct val="100000"/>
        </a:lnSpc>
        <a:spcBef>
          <a:spcPts val="400"/>
        </a:spcBef>
        <a:spcAft>
          <a:spcPct val="0"/>
        </a:spcAft>
        <a:buFont typeface="Arial" pitchFamily="34" charset="0"/>
        <a:buChar char="–"/>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45.xml"/></Relationships>
</file>

<file path=ppt/slides/_rels/slide100.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538.xml"/><Relationship Id="rId7" Type="http://schemas.openxmlformats.org/officeDocument/2006/relationships/tags" Target="../tags/tag542.xml"/><Relationship Id="rId2" Type="http://schemas.openxmlformats.org/officeDocument/2006/relationships/tags" Target="../tags/tag537.xml"/><Relationship Id="rId1" Type="http://schemas.openxmlformats.org/officeDocument/2006/relationships/vmlDrawing" Target="../drawings/vmlDrawing26.vml"/><Relationship Id="rId6" Type="http://schemas.openxmlformats.org/officeDocument/2006/relationships/tags" Target="../tags/tag541.xml"/><Relationship Id="rId5" Type="http://schemas.openxmlformats.org/officeDocument/2006/relationships/tags" Target="../tags/tag540.xml"/><Relationship Id="rId4" Type="http://schemas.openxmlformats.org/officeDocument/2006/relationships/tags" Target="../tags/tag539.xml"/><Relationship Id="rId9" Type="http://schemas.openxmlformats.org/officeDocument/2006/relationships/oleObject" Target="../embeddings/oleObject30.bin"/></Relationships>
</file>

<file path=ppt/slides/_rels/slide101.xml.rels><?xml version="1.0" encoding="UTF-8" standalone="yes"?>
<Relationships xmlns="http://schemas.openxmlformats.org/package/2006/relationships"><Relationship Id="rId3" Type="http://schemas.openxmlformats.org/officeDocument/2006/relationships/tags" Target="../tags/tag544.xml"/><Relationship Id="rId7" Type="http://schemas.openxmlformats.org/officeDocument/2006/relationships/oleObject" Target="../embeddings/oleObject31.bin"/><Relationship Id="rId2" Type="http://schemas.openxmlformats.org/officeDocument/2006/relationships/tags" Target="../tags/tag543.xml"/><Relationship Id="rId1" Type="http://schemas.openxmlformats.org/officeDocument/2006/relationships/vmlDrawing" Target="../drawings/vmlDrawing27.vml"/><Relationship Id="rId6" Type="http://schemas.openxmlformats.org/officeDocument/2006/relationships/notesSlide" Target="../notesSlides/notesSlide8.xml"/><Relationship Id="rId5" Type="http://schemas.openxmlformats.org/officeDocument/2006/relationships/slideLayout" Target="../slideLayouts/slideLayout10.xml"/><Relationship Id="rId4" Type="http://schemas.openxmlformats.org/officeDocument/2006/relationships/tags" Target="../tags/tag545.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5.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Layout" Target="../slideLayouts/slideLayout10.xml"/><Relationship Id="rId5" Type="http://schemas.openxmlformats.org/officeDocument/2006/relationships/image" Target="../media/image12.wmf"/><Relationship Id="rId4" Type="http://schemas.openxmlformats.org/officeDocument/2006/relationships/image" Target="../media/image11.wmf"/></Relationships>
</file>

<file path=ppt/slides/_rels/slide106.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46.xml"/></Relationships>
</file>

<file path=ppt/slides/_rels/slide107.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47.xml"/></Relationships>
</file>

<file path=ppt/slides/_rels/slide10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48.xml"/></Relationships>
</file>

<file path=ppt/slides/_rels/slide109.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4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146.xml"/></Relationships>
</file>

<file path=ppt/slides/_rels/slide110.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552.xml"/><Relationship Id="rId7" Type="http://schemas.openxmlformats.org/officeDocument/2006/relationships/tags" Target="../tags/tag556.xml"/><Relationship Id="rId2" Type="http://schemas.openxmlformats.org/officeDocument/2006/relationships/tags" Target="../tags/tag551.xml"/><Relationship Id="rId1" Type="http://schemas.openxmlformats.org/officeDocument/2006/relationships/tags" Target="../tags/tag550.xml"/><Relationship Id="rId6" Type="http://schemas.openxmlformats.org/officeDocument/2006/relationships/tags" Target="../tags/tag555.xml"/><Relationship Id="rId5" Type="http://schemas.openxmlformats.org/officeDocument/2006/relationships/tags" Target="../tags/tag554.xml"/><Relationship Id="rId4" Type="http://schemas.openxmlformats.org/officeDocument/2006/relationships/tags" Target="../tags/tag553.xml"/></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58.xml"/><Relationship Id="rId1" Type="http://schemas.openxmlformats.org/officeDocument/2006/relationships/tags" Target="../tags/tag557.xml"/></Relationships>
</file>

<file path=ppt/slides/_rels/slide11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59.xml"/></Relationships>
</file>

<file path=ppt/slides/_rels/slide113.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60.xml"/></Relationships>
</file>

<file path=ppt/slides/_rels/slide114.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61.xml"/></Relationships>
</file>

<file path=ppt/slides/_rels/slide115.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62.xml"/></Relationships>
</file>

<file path=ppt/slides/_rels/slide116.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63.xml"/></Relationships>
</file>

<file path=ppt/slides/_rels/slide117.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64.xml"/></Relationships>
</file>

<file path=ppt/slides/_rels/slide11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65.xml"/></Relationships>
</file>

<file path=ppt/slides/_rels/slide119.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66.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47.xml"/></Relationships>
</file>

<file path=ppt/slides/_rels/slide12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67.xml"/></Relationships>
</file>

<file path=ppt/slides/_rels/slide121.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68.xml"/></Relationships>
</file>

<file path=ppt/slides/_rels/slide122.xml.rels><?xml version="1.0" encoding="UTF-8" standalone="yes"?>
<Relationships xmlns="http://schemas.openxmlformats.org/package/2006/relationships"><Relationship Id="rId8" Type="http://schemas.openxmlformats.org/officeDocument/2006/relationships/tags" Target="../tags/tag576.xml"/><Relationship Id="rId3" Type="http://schemas.openxmlformats.org/officeDocument/2006/relationships/tags" Target="../tags/tag571.xml"/><Relationship Id="rId7" Type="http://schemas.openxmlformats.org/officeDocument/2006/relationships/tags" Target="../tags/tag575.xml"/><Relationship Id="rId2" Type="http://schemas.openxmlformats.org/officeDocument/2006/relationships/tags" Target="../tags/tag570.xml"/><Relationship Id="rId1" Type="http://schemas.openxmlformats.org/officeDocument/2006/relationships/tags" Target="../tags/tag569.xml"/><Relationship Id="rId6" Type="http://schemas.openxmlformats.org/officeDocument/2006/relationships/tags" Target="../tags/tag574.xml"/><Relationship Id="rId5" Type="http://schemas.openxmlformats.org/officeDocument/2006/relationships/tags" Target="../tags/tag573.xml"/><Relationship Id="rId4" Type="http://schemas.openxmlformats.org/officeDocument/2006/relationships/tags" Target="../tags/tag572.xml"/><Relationship Id="rId9" Type="http://schemas.openxmlformats.org/officeDocument/2006/relationships/slideLayout" Target="../slideLayouts/slideLayout10.xml"/></Relationships>
</file>

<file path=ppt/slides/_rels/slide123.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77.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5.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78.xml"/></Relationships>
</file>

<file path=ppt/slides/_rels/slide126.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79.xml"/></Relationships>
</file>

<file path=ppt/slides/_rels/slide127.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80.xml"/></Relationships>
</file>

<file path=ppt/slides/_rels/slide12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81.xml"/></Relationships>
</file>

<file path=ppt/slides/_rels/slide129.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8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48.xml"/></Relationships>
</file>

<file path=ppt/slides/_rels/slide130.xml.rels><?xml version="1.0" encoding="UTF-8" standalone="yes"?>
<Relationships xmlns="http://schemas.openxmlformats.org/package/2006/relationships"><Relationship Id="rId3" Type="http://schemas.openxmlformats.org/officeDocument/2006/relationships/tags" Target="../tags/tag584.xml"/><Relationship Id="rId7" Type="http://schemas.openxmlformats.org/officeDocument/2006/relationships/oleObject" Target="../embeddings/oleObject32.bin"/><Relationship Id="rId2" Type="http://schemas.openxmlformats.org/officeDocument/2006/relationships/tags" Target="../tags/tag583.xml"/><Relationship Id="rId1" Type="http://schemas.openxmlformats.org/officeDocument/2006/relationships/vmlDrawing" Target="../drawings/vmlDrawing28.vml"/><Relationship Id="rId6" Type="http://schemas.openxmlformats.org/officeDocument/2006/relationships/notesSlide" Target="../notesSlides/notesSlide9.xml"/><Relationship Id="rId5" Type="http://schemas.openxmlformats.org/officeDocument/2006/relationships/slideLayout" Target="../slideLayouts/slideLayout10.xml"/><Relationship Id="rId4" Type="http://schemas.openxmlformats.org/officeDocument/2006/relationships/tags" Target="../tags/tag585.xml"/></Relationships>
</file>

<file path=ppt/slides/_rels/slide131.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86.xml"/></Relationships>
</file>

<file path=ppt/slides/_rels/slide13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87.xml"/></Relationships>
</file>

<file path=ppt/slides/_rels/slide133.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88.xml"/></Relationships>
</file>

<file path=ppt/slides/_rels/slide134.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89.xml"/></Relationships>
</file>

<file path=ppt/slides/_rels/slide135.xml.rels><?xml version="1.0" encoding="UTF-8" standalone="yes"?>
<Relationships xmlns="http://schemas.openxmlformats.org/package/2006/relationships"><Relationship Id="rId3" Type="http://schemas.openxmlformats.org/officeDocument/2006/relationships/tags" Target="../tags/tag591.xml"/><Relationship Id="rId2" Type="http://schemas.openxmlformats.org/officeDocument/2006/relationships/tags" Target="../tags/tag590.xml"/><Relationship Id="rId1" Type="http://schemas.openxmlformats.org/officeDocument/2006/relationships/vmlDrawing" Target="../drawings/vmlDrawing29.vml"/><Relationship Id="rId6" Type="http://schemas.openxmlformats.org/officeDocument/2006/relationships/oleObject" Target="../embeddings/oleObject33.bin"/><Relationship Id="rId5" Type="http://schemas.openxmlformats.org/officeDocument/2006/relationships/slideLayout" Target="../slideLayouts/slideLayout10.xml"/><Relationship Id="rId4" Type="http://schemas.openxmlformats.org/officeDocument/2006/relationships/tags" Target="../tags/tag592.xml"/></Relationships>
</file>

<file path=ppt/slides/_rels/slide136.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93.xml"/></Relationships>
</file>

<file path=ppt/slides/_rels/slide137.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94.xml"/></Relationships>
</file>

<file path=ppt/slides/_rels/slide13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95.xml"/></Relationships>
</file>

<file path=ppt/slides/_rels/slide139.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96.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49.xml"/></Relationships>
</file>

<file path=ppt/slides/_rels/slide14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97.xml"/></Relationships>
</file>

<file path=ppt/slides/_rels/slide141.xml.rels><?xml version="1.0" encoding="UTF-8" standalone="yes"?>
<Relationships xmlns="http://schemas.openxmlformats.org/package/2006/relationships"><Relationship Id="rId8" Type="http://schemas.openxmlformats.org/officeDocument/2006/relationships/tags" Target="../tags/tag605.xml"/><Relationship Id="rId13" Type="http://schemas.openxmlformats.org/officeDocument/2006/relationships/tags" Target="../tags/tag610.xml"/><Relationship Id="rId18" Type="http://schemas.openxmlformats.org/officeDocument/2006/relationships/tags" Target="../tags/tag615.xml"/><Relationship Id="rId26" Type="http://schemas.openxmlformats.org/officeDocument/2006/relationships/tags" Target="../tags/tag623.xml"/><Relationship Id="rId3" Type="http://schemas.openxmlformats.org/officeDocument/2006/relationships/tags" Target="../tags/tag600.xml"/><Relationship Id="rId21" Type="http://schemas.openxmlformats.org/officeDocument/2006/relationships/tags" Target="../tags/tag618.xml"/><Relationship Id="rId7" Type="http://schemas.openxmlformats.org/officeDocument/2006/relationships/tags" Target="../tags/tag604.xml"/><Relationship Id="rId12" Type="http://schemas.openxmlformats.org/officeDocument/2006/relationships/tags" Target="../tags/tag609.xml"/><Relationship Id="rId17" Type="http://schemas.openxmlformats.org/officeDocument/2006/relationships/tags" Target="../tags/tag614.xml"/><Relationship Id="rId25" Type="http://schemas.openxmlformats.org/officeDocument/2006/relationships/tags" Target="../tags/tag622.xml"/><Relationship Id="rId2" Type="http://schemas.openxmlformats.org/officeDocument/2006/relationships/tags" Target="../tags/tag599.xml"/><Relationship Id="rId16" Type="http://schemas.openxmlformats.org/officeDocument/2006/relationships/tags" Target="../tags/tag613.xml"/><Relationship Id="rId20" Type="http://schemas.openxmlformats.org/officeDocument/2006/relationships/tags" Target="../tags/tag617.xml"/><Relationship Id="rId29" Type="http://schemas.openxmlformats.org/officeDocument/2006/relationships/slideLayout" Target="../slideLayouts/slideLayout10.xml"/><Relationship Id="rId1" Type="http://schemas.openxmlformats.org/officeDocument/2006/relationships/tags" Target="../tags/tag598.xml"/><Relationship Id="rId6" Type="http://schemas.openxmlformats.org/officeDocument/2006/relationships/tags" Target="../tags/tag603.xml"/><Relationship Id="rId11" Type="http://schemas.openxmlformats.org/officeDocument/2006/relationships/tags" Target="../tags/tag608.xml"/><Relationship Id="rId24" Type="http://schemas.openxmlformats.org/officeDocument/2006/relationships/tags" Target="../tags/tag621.xml"/><Relationship Id="rId5" Type="http://schemas.openxmlformats.org/officeDocument/2006/relationships/tags" Target="../tags/tag602.xml"/><Relationship Id="rId15" Type="http://schemas.openxmlformats.org/officeDocument/2006/relationships/tags" Target="../tags/tag612.xml"/><Relationship Id="rId23" Type="http://schemas.openxmlformats.org/officeDocument/2006/relationships/tags" Target="../tags/tag620.xml"/><Relationship Id="rId28" Type="http://schemas.openxmlformats.org/officeDocument/2006/relationships/tags" Target="../tags/tag625.xml"/><Relationship Id="rId10" Type="http://schemas.openxmlformats.org/officeDocument/2006/relationships/tags" Target="../tags/tag607.xml"/><Relationship Id="rId19" Type="http://schemas.openxmlformats.org/officeDocument/2006/relationships/tags" Target="../tags/tag616.xml"/><Relationship Id="rId4" Type="http://schemas.openxmlformats.org/officeDocument/2006/relationships/tags" Target="../tags/tag601.xml"/><Relationship Id="rId9" Type="http://schemas.openxmlformats.org/officeDocument/2006/relationships/tags" Target="../tags/tag606.xml"/><Relationship Id="rId14" Type="http://schemas.openxmlformats.org/officeDocument/2006/relationships/tags" Target="../tags/tag611.xml"/><Relationship Id="rId22" Type="http://schemas.openxmlformats.org/officeDocument/2006/relationships/tags" Target="../tags/tag619.xml"/><Relationship Id="rId27" Type="http://schemas.openxmlformats.org/officeDocument/2006/relationships/tags" Target="../tags/tag624.xml"/></Relationships>
</file>

<file path=ppt/slides/_rels/slide14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27.xml"/><Relationship Id="rId1" Type="http://schemas.openxmlformats.org/officeDocument/2006/relationships/tags" Target="../tags/tag626.xml"/></Relationships>
</file>

<file path=ppt/slides/_rels/slide14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29.xml"/><Relationship Id="rId1" Type="http://schemas.openxmlformats.org/officeDocument/2006/relationships/tags" Target="../tags/tag628.xml"/></Relationships>
</file>

<file path=ppt/slides/_rels/slide14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31.xml"/><Relationship Id="rId1" Type="http://schemas.openxmlformats.org/officeDocument/2006/relationships/tags" Target="../tags/tag630.xml"/></Relationships>
</file>

<file path=ppt/slides/_rels/slide145.xml.rels><?xml version="1.0" encoding="UTF-8" standalone="yes"?>
<Relationships xmlns="http://schemas.openxmlformats.org/package/2006/relationships"><Relationship Id="rId26" Type="http://schemas.openxmlformats.org/officeDocument/2006/relationships/tags" Target="../tags/tag657.xml"/><Relationship Id="rId21" Type="http://schemas.openxmlformats.org/officeDocument/2006/relationships/tags" Target="../tags/tag652.xml"/><Relationship Id="rId42" Type="http://schemas.openxmlformats.org/officeDocument/2006/relationships/tags" Target="../tags/tag673.xml"/><Relationship Id="rId47" Type="http://schemas.openxmlformats.org/officeDocument/2006/relationships/tags" Target="../tags/tag678.xml"/><Relationship Id="rId63" Type="http://schemas.openxmlformats.org/officeDocument/2006/relationships/tags" Target="../tags/tag694.xml"/><Relationship Id="rId68" Type="http://schemas.openxmlformats.org/officeDocument/2006/relationships/tags" Target="../tags/tag699.xml"/><Relationship Id="rId16" Type="http://schemas.openxmlformats.org/officeDocument/2006/relationships/tags" Target="../tags/tag647.xml"/><Relationship Id="rId11" Type="http://schemas.openxmlformats.org/officeDocument/2006/relationships/tags" Target="../tags/tag642.xml"/><Relationship Id="rId32" Type="http://schemas.openxmlformats.org/officeDocument/2006/relationships/tags" Target="../tags/tag663.xml"/><Relationship Id="rId37" Type="http://schemas.openxmlformats.org/officeDocument/2006/relationships/tags" Target="../tags/tag668.xml"/><Relationship Id="rId53" Type="http://schemas.openxmlformats.org/officeDocument/2006/relationships/tags" Target="../tags/tag684.xml"/><Relationship Id="rId58" Type="http://schemas.openxmlformats.org/officeDocument/2006/relationships/tags" Target="../tags/tag689.xml"/><Relationship Id="rId74" Type="http://schemas.openxmlformats.org/officeDocument/2006/relationships/tags" Target="../tags/tag705.xml"/><Relationship Id="rId79" Type="http://schemas.openxmlformats.org/officeDocument/2006/relationships/tags" Target="../tags/tag710.xml"/><Relationship Id="rId5" Type="http://schemas.openxmlformats.org/officeDocument/2006/relationships/tags" Target="../tags/tag636.xml"/><Relationship Id="rId61" Type="http://schemas.openxmlformats.org/officeDocument/2006/relationships/tags" Target="../tags/tag692.xml"/><Relationship Id="rId19" Type="http://schemas.openxmlformats.org/officeDocument/2006/relationships/tags" Target="../tags/tag650.xml"/><Relationship Id="rId14" Type="http://schemas.openxmlformats.org/officeDocument/2006/relationships/tags" Target="../tags/tag645.xml"/><Relationship Id="rId22" Type="http://schemas.openxmlformats.org/officeDocument/2006/relationships/tags" Target="../tags/tag653.xml"/><Relationship Id="rId27" Type="http://schemas.openxmlformats.org/officeDocument/2006/relationships/tags" Target="../tags/tag658.xml"/><Relationship Id="rId30" Type="http://schemas.openxmlformats.org/officeDocument/2006/relationships/tags" Target="../tags/tag661.xml"/><Relationship Id="rId35" Type="http://schemas.openxmlformats.org/officeDocument/2006/relationships/tags" Target="../tags/tag666.xml"/><Relationship Id="rId43" Type="http://schemas.openxmlformats.org/officeDocument/2006/relationships/tags" Target="../tags/tag674.xml"/><Relationship Id="rId48" Type="http://schemas.openxmlformats.org/officeDocument/2006/relationships/tags" Target="../tags/tag679.xml"/><Relationship Id="rId56" Type="http://schemas.openxmlformats.org/officeDocument/2006/relationships/tags" Target="../tags/tag687.xml"/><Relationship Id="rId64" Type="http://schemas.openxmlformats.org/officeDocument/2006/relationships/tags" Target="../tags/tag695.xml"/><Relationship Id="rId69" Type="http://schemas.openxmlformats.org/officeDocument/2006/relationships/tags" Target="../tags/tag700.xml"/><Relationship Id="rId77" Type="http://schemas.openxmlformats.org/officeDocument/2006/relationships/tags" Target="../tags/tag708.xml"/><Relationship Id="rId8" Type="http://schemas.openxmlformats.org/officeDocument/2006/relationships/tags" Target="../tags/tag639.xml"/><Relationship Id="rId51" Type="http://schemas.openxmlformats.org/officeDocument/2006/relationships/tags" Target="../tags/tag682.xml"/><Relationship Id="rId72" Type="http://schemas.openxmlformats.org/officeDocument/2006/relationships/tags" Target="../tags/tag703.xml"/><Relationship Id="rId80" Type="http://schemas.openxmlformats.org/officeDocument/2006/relationships/tags" Target="../tags/tag711.xml"/><Relationship Id="rId3" Type="http://schemas.openxmlformats.org/officeDocument/2006/relationships/tags" Target="../tags/tag634.xml"/><Relationship Id="rId12" Type="http://schemas.openxmlformats.org/officeDocument/2006/relationships/tags" Target="../tags/tag643.xml"/><Relationship Id="rId17" Type="http://schemas.openxmlformats.org/officeDocument/2006/relationships/tags" Target="../tags/tag648.xml"/><Relationship Id="rId25" Type="http://schemas.openxmlformats.org/officeDocument/2006/relationships/tags" Target="../tags/tag656.xml"/><Relationship Id="rId33" Type="http://schemas.openxmlformats.org/officeDocument/2006/relationships/tags" Target="../tags/tag664.xml"/><Relationship Id="rId38" Type="http://schemas.openxmlformats.org/officeDocument/2006/relationships/tags" Target="../tags/tag669.xml"/><Relationship Id="rId46" Type="http://schemas.openxmlformats.org/officeDocument/2006/relationships/tags" Target="../tags/tag677.xml"/><Relationship Id="rId59" Type="http://schemas.openxmlformats.org/officeDocument/2006/relationships/tags" Target="../tags/tag690.xml"/><Relationship Id="rId67" Type="http://schemas.openxmlformats.org/officeDocument/2006/relationships/tags" Target="../tags/tag698.xml"/><Relationship Id="rId20" Type="http://schemas.openxmlformats.org/officeDocument/2006/relationships/tags" Target="../tags/tag651.xml"/><Relationship Id="rId41" Type="http://schemas.openxmlformats.org/officeDocument/2006/relationships/tags" Target="../tags/tag672.xml"/><Relationship Id="rId54" Type="http://schemas.openxmlformats.org/officeDocument/2006/relationships/tags" Target="../tags/tag685.xml"/><Relationship Id="rId62" Type="http://schemas.openxmlformats.org/officeDocument/2006/relationships/tags" Target="../tags/tag693.xml"/><Relationship Id="rId70" Type="http://schemas.openxmlformats.org/officeDocument/2006/relationships/tags" Target="../tags/tag701.xml"/><Relationship Id="rId75" Type="http://schemas.openxmlformats.org/officeDocument/2006/relationships/tags" Target="../tags/tag706.xml"/><Relationship Id="rId1" Type="http://schemas.openxmlformats.org/officeDocument/2006/relationships/tags" Target="../tags/tag632.xml"/><Relationship Id="rId6" Type="http://schemas.openxmlformats.org/officeDocument/2006/relationships/tags" Target="../tags/tag637.xml"/><Relationship Id="rId15" Type="http://schemas.openxmlformats.org/officeDocument/2006/relationships/tags" Target="../tags/tag646.xml"/><Relationship Id="rId23" Type="http://schemas.openxmlformats.org/officeDocument/2006/relationships/tags" Target="../tags/tag654.xml"/><Relationship Id="rId28" Type="http://schemas.openxmlformats.org/officeDocument/2006/relationships/tags" Target="../tags/tag659.xml"/><Relationship Id="rId36" Type="http://schemas.openxmlformats.org/officeDocument/2006/relationships/tags" Target="../tags/tag667.xml"/><Relationship Id="rId49" Type="http://schemas.openxmlformats.org/officeDocument/2006/relationships/tags" Target="../tags/tag680.xml"/><Relationship Id="rId57" Type="http://schemas.openxmlformats.org/officeDocument/2006/relationships/tags" Target="../tags/tag688.xml"/><Relationship Id="rId10" Type="http://schemas.openxmlformats.org/officeDocument/2006/relationships/tags" Target="../tags/tag641.xml"/><Relationship Id="rId31" Type="http://schemas.openxmlformats.org/officeDocument/2006/relationships/tags" Target="../tags/tag662.xml"/><Relationship Id="rId44" Type="http://schemas.openxmlformats.org/officeDocument/2006/relationships/tags" Target="../tags/tag675.xml"/><Relationship Id="rId52" Type="http://schemas.openxmlformats.org/officeDocument/2006/relationships/tags" Target="../tags/tag683.xml"/><Relationship Id="rId60" Type="http://schemas.openxmlformats.org/officeDocument/2006/relationships/tags" Target="../tags/tag691.xml"/><Relationship Id="rId65" Type="http://schemas.openxmlformats.org/officeDocument/2006/relationships/tags" Target="../tags/tag696.xml"/><Relationship Id="rId73" Type="http://schemas.openxmlformats.org/officeDocument/2006/relationships/tags" Target="../tags/tag704.xml"/><Relationship Id="rId78" Type="http://schemas.openxmlformats.org/officeDocument/2006/relationships/tags" Target="../tags/tag709.xml"/><Relationship Id="rId81" Type="http://schemas.openxmlformats.org/officeDocument/2006/relationships/slideLayout" Target="../slideLayouts/slideLayout10.xml"/><Relationship Id="rId4" Type="http://schemas.openxmlformats.org/officeDocument/2006/relationships/tags" Target="../tags/tag635.xml"/><Relationship Id="rId9" Type="http://schemas.openxmlformats.org/officeDocument/2006/relationships/tags" Target="../tags/tag640.xml"/><Relationship Id="rId13" Type="http://schemas.openxmlformats.org/officeDocument/2006/relationships/tags" Target="../tags/tag644.xml"/><Relationship Id="rId18" Type="http://schemas.openxmlformats.org/officeDocument/2006/relationships/tags" Target="../tags/tag649.xml"/><Relationship Id="rId39" Type="http://schemas.openxmlformats.org/officeDocument/2006/relationships/tags" Target="../tags/tag670.xml"/><Relationship Id="rId34" Type="http://schemas.openxmlformats.org/officeDocument/2006/relationships/tags" Target="../tags/tag665.xml"/><Relationship Id="rId50" Type="http://schemas.openxmlformats.org/officeDocument/2006/relationships/tags" Target="../tags/tag681.xml"/><Relationship Id="rId55" Type="http://schemas.openxmlformats.org/officeDocument/2006/relationships/tags" Target="../tags/tag686.xml"/><Relationship Id="rId76" Type="http://schemas.openxmlformats.org/officeDocument/2006/relationships/tags" Target="../tags/tag707.xml"/><Relationship Id="rId7" Type="http://schemas.openxmlformats.org/officeDocument/2006/relationships/tags" Target="../tags/tag638.xml"/><Relationship Id="rId71" Type="http://schemas.openxmlformats.org/officeDocument/2006/relationships/tags" Target="../tags/tag702.xml"/><Relationship Id="rId2" Type="http://schemas.openxmlformats.org/officeDocument/2006/relationships/tags" Target="../tags/tag633.xml"/><Relationship Id="rId29" Type="http://schemas.openxmlformats.org/officeDocument/2006/relationships/tags" Target="../tags/tag660.xml"/><Relationship Id="rId24" Type="http://schemas.openxmlformats.org/officeDocument/2006/relationships/tags" Target="../tags/tag655.xml"/><Relationship Id="rId40" Type="http://schemas.openxmlformats.org/officeDocument/2006/relationships/tags" Target="../tags/tag671.xml"/><Relationship Id="rId45" Type="http://schemas.openxmlformats.org/officeDocument/2006/relationships/tags" Target="../tags/tag676.xml"/><Relationship Id="rId66" Type="http://schemas.openxmlformats.org/officeDocument/2006/relationships/tags" Target="../tags/tag697.xml"/></Relationships>
</file>

<file path=ppt/slides/_rels/slide14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13.xml"/><Relationship Id="rId1" Type="http://schemas.openxmlformats.org/officeDocument/2006/relationships/tags" Target="../tags/tag712.xml"/></Relationships>
</file>

<file path=ppt/slides/_rels/slide14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15.xml"/><Relationship Id="rId1" Type="http://schemas.openxmlformats.org/officeDocument/2006/relationships/tags" Target="../tags/tag714.xml"/></Relationships>
</file>

<file path=ppt/slides/_rels/slide148.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17" Type="http://schemas.openxmlformats.org/officeDocument/2006/relationships/image" Target="../media/image28.png"/><Relationship Id="rId2" Type="http://schemas.openxmlformats.org/officeDocument/2006/relationships/image" Target="../media/image13.png"/><Relationship Id="rId16" Type="http://schemas.openxmlformats.org/officeDocument/2006/relationships/image" Target="../media/image27.png"/><Relationship Id="rId1" Type="http://schemas.openxmlformats.org/officeDocument/2006/relationships/slideLayout" Target="../slideLayouts/slideLayout10.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image" Target="../media/image2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png"/></Relationships>
</file>

<file path=ppt/slides/_rels/slide149.xml.rels><?xml version="1.0" encoding="UTF-8" standalone="yes"?>
<Relationships xmlns="http://schemas.openxmlformats.org/package/2006/relationships"><Relationship Id="rId3" Type="http://schemas.openxmlformats.org/officeDocument/2006/relationships/tags" Target="../tags/tag717.xml"/><Relationship Id="rId7" Type="http://schemas.openxmlformats.org/officeDocument/2006/relationships/oleObject" Target="../embeddings/oleObject34.bin"/><Relationship Id="rId2" Type="http://schemas.openxmlformats.org/officeDocument/2006/relationships/tags" Target="../tags/tag716.xml"/><Relationship Id="rId1" Type="http://schemas.openxmlformats.org/officeDocument/2006/relationships/vmlDrawing" Target="../drawings/vmlDrawing30.vml"/><Relationship Id="rId6" Type="http://schemas.openxmlformats.org/officeDocument/2006/relationships/notesSlide" Target="../notesSlides/notesSlide10.xml"/><Relationship Id="rId5" Type="http://schemas.openxmlformats.org/officeDocument/2006/relationships/slideLayout" Target="../slideLayouts/slideLayout10.xml"/><Relationship Id="rId4" Type="http://schemas.openxmlformats.org/officeDocument/2006/relationships/tags" Target="../tags/tag718.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50.xml"/></Relationships>
</file>

<file path=ppt/slides/_rels/slide15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19.xml"/></Relationships>
</file>

<file path=ppt/slides/_rels/slide151.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20.xml"/></Relationships>
</file>

<file path=ppt/slides/_rels/slide15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21.xml"/></Relationships>
</file>

<file path=ppt/slides/_rels/slide153.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22.xml"/></Relationships>
</file>

<file path=ppt/slides/_rels/slide154.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23.xml"/></Relationships>
</file>

<file path=ppt/slides/_rels/slide155.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24.xml"/></Relationships>
</file>

<file path=ppt/slides/_rels/slide156.xml.rels><?xml version="1.0" encoding="UTF-8" standalone="yes"?>
<Relationships xmlns="http://schemas.openxmlformats.org/package/2006/relationships"><Relationship Id="rId3" Type="http://schemas.openxmlformats.org/officeDocument/2006/relationships/tags" Target="../tags/tag727.xml"/><Relationship Id="rId2" Type="http://schemas.openxmlformats.org/officeDocument/2006/relationships/tags" Target="../tags/tag726.xml"/><Relationship Id="rId1" Type="http://schemas.openxmlformats.org/officeDocument/2006/relationships/tags" Target="../tags/tag725.xml"/><Relationship Id="rId4" Type="http://schemas.openxmlformats.org/officeDocument/2006/relationships/slideLayout" Target="../slideLayouts/slideLayout10.xml"/></Relationships>
</file>

<file path=ppt/slides/_rels/slide157.xml.rels><?xml version="1.0" encoding="UTF-8" standalone="yes"?>
<Relationships xmlns="http://schemas.openxmlformats.org/package/2006/relationships"><Relationship Id="rId8" Type="http://schemas.openxmlformats.org/officeDocument/2006/relationships/tags" Target="../tags/tag734.xml"/><Relationship Id="rId3" Type="http://schemas.openxmlformats.org/officeDocument/2006/relationships/tags" Target="../tags/tag729.xml"/><Relationship Id="rId7" Type="http://schemas.openxmlformats.org/officeDocument/2006/relationships/tags" Target="../tags/tag733.xml"/><Relationship Id="rId12" Type="http://schemas.openxmlformats.org/officeDocument/2006/relationships/oleObject" Target="../embeddings/oleObject35.bin"/><Relationship Id="rId2" Type="http://schemas.openxmlformats.org/officeDocument/2006/relationships/tags" Target="../tags/tag728.xml"/><Relationship Id="rId1" Type="http://schemas.openxmlformats.org/officeDocument/2006/relationships/vmlDrawing" Target="../drawings/vmlDrawing31.vml"/><Relationship Id="rId6" Type="http://schemas.openxmlformats.org/officeDocument/2006/relationships/tags" Target="../tags/tag732.xml"/><Relationship Id="rId11" Type="http://schemas.openxmlformats.org/officeDocument/2006/relationships/slideLayout" Target="../slideLayouts/slideLayout10.xml"/><Relationship Id="rId5" Type="http://schemas.openxmlformats.org/officeDocument/2006/relationships/tags" Target="../tags/tag731.xml"/><Relationship Id="rId10" Type="http://schemas.openxmlformats.org/officeDocument/2006/relationships/tags" Target="../tags/tag736.xml"/><Relationship Id="rId4" Type="http://schemas.openxmlformats.org/officeDocument/2006/relationships/tags" Target="../tags/tag730.xml"/><Relationship Id="rId9" Type="http://schemas.openxmlformats.org/officeDocument/2006/relationships/tags" Target="../tags/tag735.xml"/></Relationships>
</file>

<file path=ppt/slides/_rels/slide15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37.xml"/></Relationships>
</file>

<file path=ppt/slides/_rels/slide159.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38.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51.xml"/></Relationships>
</file>

<file path=ppt/slides/_rels/slide16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39.xml"/></Relationships>
</file>

<file path=ppt/slides/_rels/slide161.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40.xml"/></Relationships>
</file>

<file path=ppt/slides/_rels/slide16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41.xml"/></Relationships>
</file>

<file path=ppt/slides/_rels/slide163.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42.xml"/></Relationships>
</file>

<file path=ppt/slides/_rels/slide164.xml.rels><?xml version="1.0" encoding="UTF-8" standalone="yes"?>
<Relationships xmlns="http://schemas.openxmlformats.org/package/2006/relationships"><Relationship Id="rId8" Type="http://schemas.openxmlformats.org/officeDocument/2006/relationships/tags" Target="../tags/tag749.xml"/><Relationship Id="rId13" Type="http://schemas.openxmlformats.org/officeDocument/2006/relationships/tags" Target="../tags/tag754.xml"/><Relationship Id="rId3" Type="http://schemas.openxmlformats.org/officeDocument/2006/relationships/tags" Target="../tags/tag744.xml"/><Relationship Id="rId7" Type="http://schemas.openxmlformats.org/officeDocument/2006/relationships/tags" Target="../tags/tag748.xml"/><Relationship Id="rId12" Type="http://schemas.openxmlformats.org/officeDocument/2006/relationships/tags" Target="../tags/tag753.xml"/><Relationship Id="rId2" Type="http://schemas.openxmlformats.org/officeDocument/2006/relationships/tags" Target="../tags/tag743.xml"/><Relationship Id="rId16" Type="http://schemas.openxmlformats.org/officeDocument/2006/relationships/oleObject" Target="../embeddings/oleObject36.bin"/><Relationship Id="rId1" Type="http://schemas.openxmlformats.org/officeDocument/2006/relationships/vmlDrawing" Target="../drawings/vmlDrawing32.vml"/><Relationship Id="rId6" Type="http://schemas.openxmlformats.org/officeDocument/2006/relationships/tags" Target="../tags/tag747.xml"/><Relationship Id="rId11" Type="http://schemas.openxmlformats.org/officeDocument/2006/relationships/tags" Target="../tags/tag752.xml"/><Relationship Id="rId5" Type="http://schemas.openxmlformats.org/officeDocument/2006/relationships/tags" Target="../tags/tag746.xml"/><Relationship Id="rId15" Type="http://schemas.openxmlformats.org/officeDocument/2006/relationships/slideLayout" Target="../slideLayouts/slideLayout10.xml"/><Relationship Id="rId10" Type="http://schemas.openxmlformats.org/officeDocument/2006/relationships/tags" Target="../tags/tag751.xml"/><Relationship Id="rId4" Type="http://schemas.openxmlformats.org/officeDocument/2006/relationships/tags" Target="../tags/tag745.xml"/><Relationship Id="rId9" Type="http://schemas.openxmlformats.org/officeDocument/2006/relationships/tags" Target="../tags/tag750.xml"/><Relationship Id="rId14" Type="http://schemas.openxmlformats.org/officeDocument/2006/relationships/tags" Target="../tags/tag755.xml"/></Relationships>
</file>

<file path=ppt/slides/_rels/slide165.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56.xml"/></Relationships>
</file>

<file path=ppt/slides/_rels/slide166.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57.xml"/></Relationships>
</file>

<file path=ppt/slides/_rels/slide167.xml.rels><?xml version="1.0" encoding="UTF-8" standalone="yes"?>
<Relationships xmlns="http://schemas.openxmlformats.org/package/2006/relationships"><Relationship Id="rId117" Type="http://schemas.openxmlformats.org/officeDocument/2006/relationships/tags" Target="../tags/tag873.xml"/><Relationship Id="rId21" Type="http://schemas.openxmlformats.org/officeDocument/2006/relationships/tags" Target="../tags/tag777.xml"/><Relationship Id="rId42" Type="http://schemas.openxmlformats.org/officeDocument/2006/relationships/tags" Target="../tags/tag798.xml"/><Relationship Id="rId63" Type="http://schemas.openxmlformats.org/officeDocument/2006/relationships/tags" Target="../tags/tag819.xml"/><Relationship Id="rId84" Type="http://schemas.openxmlformats.org/officeDocument/2006/relationships/tags" Target="../tags/tag840.xml"/><Relationship Id="rId138" Type="http://schemas.openxmlformats.org/officeDocument/2006/relationships/tags" Target="../tags/tag894.xml"/><Relationship Id="rId159" Type="http://schemas.openxmlformats.org/officeDocument/2006/relationships/tags" Target="../tags/tag915.xml"/><Relationship Id="rId170" Type="http://schemas.openxmlformats.org/officeDocument/2006/relationships/tags" Target="../tags/tag926.xml"/><Relationship Id="rId191" Type="http://schemas.openxmlformats.org/officeDocument/2006/relationships/tags" Target="../tags/tag947.xml"/><Relationship Id="rId205" Type="http://schemas.openxmlformats.org/officeDocument/2006/relationships/tags" Target="../tags/tag961.xml"/><Relationship Id="rId226" Type="http://schemas.openxmlformats.org/officeDocument/2006/relationships/tags" Target="../tags/tag982.xml"/><Relationship Id="rId107" Type="http://schemas.openxmlformats.org/officeDocument/2006/relationships/tags" Target="../tags/tag863.xml"/><Relationship Id="rId11" Type="http://schemas.openxmlformats.org/officeDocument/2006/relationships/tags" Target="../tags/tag767.xml"/><Relationship Id="rId32" Type="http://schemas.openxmlformats.org/officeDocument/2006/relationships/tags" Target="../tags/tag788.xml"/><Relationship Id="rId53" Type="http://schemas.openxmlformats.org/officeDocument/2006/relationships/tags" Target="../tags/tag809.xml"/><Relationship Id="rId74" Type="http://schemas.openxmlformats.org/officeDocument/2006/relationships/tags" Target="../tags/tag830.xml"/><Relationship Id="rId128" Type="http://schemas.openxmlformats.org/officeDocument/2006/relationships/tags" Target="../tags/tag884.xml"/><Relationship Id="rId149" Type="http://schemas.openxmlformats.org/officeDocument/2006/relationships/tags" Target="../tags/tag905.xml"/><Relationship Id="rId5" Type="http://schemas.openxmlformats.org/officeDocument/2006/relationships/tags" Target="../tags/tag761.xml"/><Relationship Id="rId95" Type="http://schemas.openxmlformats.org/officeDocument/2006/relationships/tags" Target="../tags/tag851.xml"/><Relationship Id="rId160" Type="http://schemas.openxmlformats.org/officeDocument/2006/relationships/tags" Target="../tags/tag916.xml"/><Relationship Id="rId181" Type="http://schemas.openxmlformats.org/officeDocument/2006/relationships/tags" Target="../tags/tag937.xml"/><Relationship Id="rId216" Type="http://schemas.openxmlformats.org/officeDocument/2006/relationships/tags" Target="../tags/tag972.xml"/><Relationship Id="rId237" Type="http://schemas.openxmlformats.org/officeDocument/2006/relationships/tags" Target="../tags/tag993.xml"/><Relationship Id="rId22" Type="http://schemas.openxmlformats.org/officeDocument/2006/relationships/tags" Target="../tags/tag778.xml"/><Relationship Id="rId43" Type="http://schemas.openxmlformats.org/officeDocument/2006/relationships/tags" Target="../tags/tag799.xml"/><Relationship Id="rId64" Type="http://schemas.openxmlformats.org/officeDocument/2006/relationships/tags" Target="../tags/tag820.xml"/><Relationship Id="rId118" Type="http://schemas.openxmlformats.org/officeDocument/2006/relationships/tags" Target="../tags/tag874.xml"/><Relationship Id="rId139" Type="http://schemas.openxmlformats.org/officeDocument/2006/relationships/tags" Target="../tags/tag895.xml"/><Relationship Id="rId85" Type="http://schemas.openxmlformats.org/officeDocument/2006/relationships/tags" Target="../tags/tag841.xml"/><Relationship Id="rId150" Type="http://schemas.openxmlformats.org/officeDocument/2006/relationships/tags" Target="../tags/tag906.xml"/><Relationship Id="rId171" Type="http://schemas.openxmlformats.org/officeDocument/2006/relationships/tags" Target="../tags/tag927.xml"/><Relationship Id="rId192" Type="http://schemas.openxmlformats.org/officeDocument/2006/relationships/tags" Target="../tags/tag948.xml"/><Relationship Id="rId206" Type="http://schemas.openxmlformats.org/officeDocument/2006/relationships/tags" Target="../tags/tag962.xml"/><Relationship Id="rId227" Type="http://schemas.openxmlformats.org/officeDocument/2006/relationships/tags" Target="../tags/tag983.xml"/><Relationship Id="rId12" Type="http://schemas.openxmlformats.org/officeDocument/2006/relationships/tags" Target="../tags/tag768.xml"/><Relationship Id="rId33" Type="http://schemas.openxmlformats.org/officeDocument/2006/relationships/tags" Target="../tags/tag789.xml"/><Relationship Id="rId108" Type="http://schemas.openxmlformats.org/officeDocument/2006/relationships/tags" Target="../tags/tag864.xml"/><Relationship Id="rId129" Type="http://schemas.openxmlformats.org/officeDocument/2006/relationships/tags" Target="../tags/tag885.xml"/><Relationship Id="rId54" Type="http://schemas.openxmlformats.org/officeDocument/2006/relationships/tags" Target="../tags/tag810.xml"/><Relationship Id="rId75" Type="http://schemas.openxmlformats.org/officeDocument/2006/relationships/tags" Target="../tags/tag831.xml"/><Relationship Id="rId96" Type="http://schemas.openxmlformats.org/officeDocument/2006/relationships/tags" Target="../tags/tag852.xml"/><Relationship Id="rId140" Type="http://schemas.openxmlformats.org/officeDocument/2006/relationships/tags" Target="../tags/tag896.xml"/><Relationship Id="rId161" Type="http://schemas.openxmlformats.org/officeDocument/2006/relationships/tags" Target="../tags/tag917.xml"/><Relationship Id="rId182" Type="http://schemas.openxmlformats.org/officeDocument/2006/relationships/tags" Target="../tags/tag938.xml"/><Relationship Id="rId217" Type="http://schemas.openxmlformats.org/officeDocument/2006/relationships/tags" Target="../tags/tag973.xml"/><Relationship Id="rId6" Type="http://schemas.openxmlformats.org/officeDocument/2006/relationships/tags" Target="../tags/tag762.xml"/><Relationship Id="rId238" Type="http://schemas.openxmlformats.org/officeDocument/2006/relationships/tags" Target="../tags/tag994.xml"/><Relationship Id="rId23" Type="http://schemas.openxmlformats.org/officeDocument/2006/relationships/tags" Target="../tags/tag779.xml"/><Relationship Id="rId119" Type="http://schemas.openxmlformats.org/officeDocument/2006/relationships/tags" Target="../tags/tag875.xml"/><Relationship Id="rId44" Type="http://schemas.openxmlformats.org/officeDocument/2006/relationships/tags" Target="../tags/tag800.xml"/><Relationship Id="rId65" Type="http://schemas.openxmlformats.org/officeDocument/2006/relationships/tags" Target="../tags/tag821.xml"/><Relationship Id="rId86" Type="http://schemas.openxmlformats.org/officeDocument/2006/relationships/tags" Target="../tags/tag842.xml"/><Relationship Id="rId130" Type="http://schemas.openxmlformats.org/officeDocument/2006/relationships/tags" Target="../tags/tag886.xml"/><Relationship Id="rId151" Type="http://schemas.openxmlformats.org/officeDocument/2006/relationships/tags" Target="../tags/tag907.xml"/><Relationship Id="rId172" Type="http://schemas.openxmlformats.org/officeDocument/2006/relationships/tags" Target="../tags/tag928.xml"/><Relationship Id="rId193" Type="http://schemas.openxmlformats.org/officeDocument/2006/relationships/tags" Target="../tags/tag949.xml"/><Relationship Id="rId207" Type="http://schemas.openxmlformats.org/officeDocument/2006/relationships/tags" Target="../tags/tag963.xml"/><Relationship Id="rId228" Type="http://schemas.openxmlformats.org/officeDocument/2006/relationships/tags" Target="../tags/tag984.xml"/><Relationship Id="rId13" Type="http://schemas.openxmlformats.org/officeDocument/2006/relationships/tags" Target="../tags/tag769.xml"/><Relationship Id="rId109" Type="http://schemas.openxmlformats.org/officeDocument/2006/relationships/tags" Target="../tags/tag865.xml"/><Relationship Id="rId34" Type="http://schemas.openxmlformats.org/officeDocument/2006/relationships/tags" Target="../tags/tag790.xml"/><Relationship Id="rId55" Type="http://schemas.openxmlformats.org/officeDocument/2006/relationships/tags" Target="../tags/tag811.xml"/><Relationship Id="rId76" Type="http://schemas.openxmlformats.org/officeDocument/2006/relationships/tags" Target="../tags/tag832.xml"/><Relationship Id="rId97" Type="http://schemas.openxmlformats.org/officeDocument/2006/relationships/tags" Target="../tags/tag853.xml"/><Relationship Id="rId120" Type="http://schemas.openxmlformats.org/officeDocument/2006/relationships/tags" Target="../tags/tag876.xml"/><Relationship Id="rId141" Type="http://schemas.openxmlformats.org/officeDocument/2006/relationships/tags" Target="../tags/tag897.xml"/><Relationship Id="rId7" Type="http://schemas.openxmlformats.org/officeDocument/2006/relationships/tags" Target="../tags/tag763.xml"/><Relationship Id="rId162" Type="http://schemas.openxmlformats.org/officeDocument/2006/relationships/tags" Target="../tags/tag918.xml"/><Relationship Id="rId183" Type="http://schemas.openxmlformats.org/officeDocument/2006/relationships/tags" Target="../tags/tag939.xml"/><Relationship Id="rId218" Type="http://schemas.openxmlformats.org/officeDocument/2006/relationships/tags" Target="../tags/tag974.xml"/><Relationship Id="rId239" Type="http://schemas.openxmlformats.org/officeDocument/2006/relationships/tags" Target="../tags/tag995.xml"/><Relationship Id="rId24" Type="http://schemas.openxmlformats.org/officeDocument/2006/relationships/tags" Target="../tags/tag780.xml"/><Relationship Id="rId45" Type="http://schemas.openxmlformats.org/officeDocument/2006/relationships/tags" Target="../tags/tag801.xml"/><Relationship Id="rId66" Type="http://schemas.openxmlformats.org/officeDocument/2006/relationships/tags" Target="../tags/tag822.xml"/><Relationship Id="rId87" Type="http://schemas.openxmlformats.org/officeDocument/2006/relationships/tags" Target="../tags/tag843.xml"/><Relationship Id="rId110" Type="http://schemas.openxmlformats.org/officeDocument/2006/relationships/tags" Target="../tags/tag866.xml"/><Relationship Id="rId131" Type="http://schemas.openxmlformats.org/officeDocument/2006/relationships/tags" Target="../tags/tag887.xml"/><Relationship Id="rId152" Type="http://schemas.openxmlformats.org/officeDocument/2006/relationships/tags" Target="../tags/tag908.xml"/><Relationship Id="rId173" Type="http://schemas.openxmlformats.org/officeDocument/2006/relationships/tags" Target="../tags/tag929.xml"/><Relationship Id="rId194" Type="http://schemas.openxmlformats.org/officeDocument/2006/relationships/tags" Target="../tags/tag950.xml"/><Relationship Id="rId208" Type="http://schemas.openxmlformats.org/officeDocument/2006/relationships/tags" Target="../tags/tag964.xml"/><Relationship Id="rId229" Type="http://schemas.openxmlformats.org/officeDocument/2006/relationships/tags" Target="../tags/tag985.xml"/><Relationship Id="rId240" Type="http://schemas.openxmlformats.org/officeDocument/2006/relationships/tags" Target="../tags/tag996.xml"/><Relationship Id="rId14" Type="http://schemas.openxmlformats.org/officeDocument/2006/relationships/tags" Target="../tags/tag770.xml"/><Relationship Id="rId35" Type="http://schemas.openxmlformats.org/officeDocument/2006/relationships/tags" Target="../tags/tag791.xml"/><Relationship Id="rId56" Type="http://schemas.openxmlformats.org/officeDocument/2006/relationships/tags" Target="../tags/tag812.xml"/><Relationship Id="rId77" Type="http://schemas.openxmlformats.org/officeDocument/2006/relationships/tags" Target="../tags/tag833.xml"/><Relationship Id="rId100" Type="http://schemas.openxmlformats.org/officeDocument/2006/relationships/tags" Target="../tags/tag856.xml"/><Relationship Id="rId8" Type="http://schemas.openxmlformats.org/officeDocument/2006/relationships/tags" Target="../tags/tag764.xml"/><Relationship Id="rId98" Type="http://schemas.openxmlformats.org/officeDocument/2006/relationships/tags" Target="../tags/tag854.xml"/><Relationship Id="rId121" Type="http://schemas.openxmlformats.org/officeDocument/2006/relationships/tags" Target="../tags/tag877.xml"/><Relationship Id="rId142" Type="http://schemas.openxmlformats.org/officeDocument/2006/relationships/tags" Target="../tags/tag898.xml"/><Relationship Id="rId163" Type="http://schemas.openxmlformats.org/officeDocument/2006/relationships/tags" Target="../tags/tag919.xml"/><Relationship Id="rId184" Type="http://schemas.openxmlformats.org/officeDocument/2006/relationships/tags" Target="../tags/tag940.xml"/><Relationship Id="rId219" Type="http://schemas.openxmlformats.org/officeDocument/2006/relationships/tags" Target="../tags/tag975.xml"/><Relationship Id="rId230" Type="http://schemas.openxmlformats.org/officeDocument/2006/relationships/tags" Target="../tags/tag986.xml"/><Relationship Id="rId25" Type="http://schemas.openxmlformats.org/officeDocument/2006/relationships/tags" Target="../tags/tag781.xml"/><Relationship Id="rId46" Type="http://schemas.openxmlformats.org/officeDocument/2006/relationships/tags" Target="../tags/tag802.xml"/><Relationship Id="rId67" Type="http://schemas.openxmlformats.org/officeDocument/2006/relationships/tags" Target="../tags/tag823.xml"/><Relationship Id="rId88" Type="http://schemas.openxmlformats.org/officeDocument/2006/relationships/tags" Target="../tags/tag844.xml"/><Relationship Id="rId111" Type="http://schemas.openxmlformats.org/officeDocument/2006/relationships/tags" Target="../tags/tag867.xml"/><Relationship Id="rId132" Type="http://schemas.openxmlformats.org/officeDocument/2006/relationships/tags" Target="../tags/tag888.xml"/><Relationship Id="rId153" Type="http://schemas.openxmlformats.org/officeDocument/2006/relationships/tags" Target="../tags/tag909.xml"/><Relationship Id="rId174" Type="http://schemas.openxmlformats.org/officeDocument/2006/relationships/tags" Target="../tags/tag930.xml"/><Relationship Id="rId195" Type="http://schemas.openxmlformats.org/officeDocument/2006/relationships/tags" Target="../tags/tag951.xml"/><Relationship Id="rId209" Type="http://schemas.openxmlformats.org/officeDocument/2006/relationships/tags" Target="../tags/tag965.xml"/><Relationship Id="rId220" Type="http://schemas.openxmlformats.org/officeDocument/2006/relationships/tags" Target="../tags/tag976.xml"/><Relationship Id="rId241" Type="http://schemas.openxmlformats.org/officeDocument/2006/relationships/slideLayout" Target="../slideLayouts/slideLayout10.xml"/><Relationship Id="rId15" Type="http://schemas.openxmlformats.org/officeDocument/2006/relationships/tags" Target="../tags/tag771.xml"/><Relationship Id="rId36" Type="http://schemas.openxmlformats.org/officeDocument/2006/relationships/tags" Target="../tags/tag792.xml"/><Relationship Id="rId57" Type="http://schemas.openxmlformats.org/officeDocument/2006/relationships/tags" Target="../tags/tag813.xml"/><Relationship Id="rId106" Type="http://schemas.openxmlformats.org/officeDocument/2006/relationships/tags" Target="../tags/tag862.xml"/><Relationship Id="rId127" Type="http://schemas.openxmlformats.org/officeDocument/2006/relationships/tags" Target="../tags/tag883.xml"/><Relationship Id="rId10" Type="http://schemas.openxmlformats.org/officeDocument/2006/relationships/tags" Target="../tags/tag766.xml"/><Relationship Id="rId31" Type="http://schemas.openxmlformats.org/officeDocument/2006/relationships/tags" Target="../tags/tag787.xml"/><Relationship Id="rId52" Type="http://schemas.openxmlformats.org/officeDocument/2006/relationships/tags" Target="../tags/tag808.xml"/><Relationship Id="rId73" Type="http://schemas.openxmlformats.org/officeDocument/2006/relationships/tags" Target="../tags/tag829.xml"/><Relationship Id="rId78" Type="http://schemas.openxmlformats.org/officeDocument/2006/relationships/tags" Target="../tags/tag834.xml"/><Relationship Id="rId94" Type="http://schemas.openxmlformats.org/officeDocument/2006/relationships/tags" Target="../tags/tag850.xml"/><Relationship Id="rId99" Type="http://schemas.openxmlformats.org/officeDocument/2006/relationships/tags" Target="../tags/tag855.xml"/><Relationship Id="rId101" Type="http://schemas.openxmlformats.org/officeDocument/2006/relationships/tags" Target="../tags/tag857.xml"/><Relationship Id="rId122" Type="http://schemas.openxmlformats.org/officeDocument/2006/relationships/tags" Target="../tags/tag878.xml"/><Relationship Id="rId143" Type="http://schemas.openxmlformats.org/officeDocument/2006/relationships/tags" Target="../tags/tag899.xml"/><Relationship Id="rId148" Type="http://schemas.openxmlformats.org/officeDocument/2006/relationships/tags" Target="../tags/tag904.xml"/><Relationship Id="rId164" Type="http://schemas.openxmlformats.org/officeDocument/2006/relationships/tags" Target="../tags/tag920.xml"/><Relationship Id="rId169" Type="http://schemas.openxmlformats.org/officeDocument/2006/relationships/tags" Target="../tags/tag925.xml"/><Relationship Id="rId185" Type="http://schemas.openxmlformats.org/officeDocument/2006/relationships/tags" Target="../tags/tag941.xml"/><Relationship Id="rId4" Type="http://schemas.openxmlformats.org/officeDocument/2006/relationships/tags" Target="../tags/tag760.xml"/><Relationship Id="rId9" Type="http://schemas.openxmlformats.org/officeDocument/2006/relationships/tags" Target="../tags/tag765.xml"/><Relationship Id="rId180" Type="http://schemas.openxmlformats.org/officeDocument/2006/relationships/tags" Target="../tags/tag936.xml"/><Relationship Id="rId210" Type="http://schemas.openxmlformats.org/officeDocument/2006/relationships/tags" Target="../tags/tag966.xml"/><Relationship Id="rId215" Type="http://schemas.openxmlformats.org/officeDocument/2006/relationships/tags" Target="../tags/tag971.xml"/><Relationship Id="rId236" Type="http://schemas.openxmlformats.org/officeDocument/2006/relationships/tags" Target="../tags/tag992.xml"/><Relationship Id="rId26" Type="http://schemas.openxmlformats.org/officeDocument/2006/relationships/tags" Target="../tags/tag782.xml"/><Relationship Id="rId231" Type="http://schemas.openxmlformats.org/officeDocument/2006/relationships/tags" Target="../tags/tag987.xml"/><Relationship Id="rId47" Type="http://schemas.openxmlformats.org/officeDocument/2006/relationships/tags" Target="../tags/tag803.xml"/><Relationship Id="rId68" Type="http://schemas.openxmlformats.org/officeDocument/2006/relationships/tags" Target="../tags/tag824.xml"/><Relationship Id="rId89" Type="http://schemas.openxmlformats.org/officeDocument/2006/relationships/tags" Target="../tags/tag845.xml"/><Relationship Id="rId112" Type="http://schemas.openxmlformats.org/officeDocument/2006/relationships/tags" Target="../tags/tag868.xml"/><Relationship Id="rId133" Type="http://schemas.openxmlformats.org/officeDocument/2006/relationships/tags" Target="../tags/tag889.xml"/><Relationship Id="rId154" Type="http://schemas.openxmlformats.org/officeDocument/2006/relationships/tags" Target="../tags/tag910.xml"/><Relationship Id="rId175" Type="http://schemas.openxmlformats.org/officeDocument/2006/relationships/tags" Target="../tags/tag931.xml"/><Relationship Id="rId196" Type="http://schemas.openxmlformats.org/officeDocument/2006/relationships/tags" Target="../tags/tag952.xml"/><Relationship Id="rId200" Type="http://schemas.openxmlformats.org/officeDocument/2006/relationships/tags" Target="../tags/tag956.xml"/><Relationship Id="rId16" Type="http://schemas.openxmlformats.org/officeDocument/2006/relationships/tags" Target="../tags/tag772.xml"/><Relationship Id="rId221" Type="http://schemas.openxmlformats.org/officeDocument/2006/relationships/tags" Target="../tags/tag977.xml"/><Relationship Id="rId242" Type="http://schemas.openxmlformats.org/officeDocument/2006/relationships/oleObject" Target="../embeddings/oleObject37.bin"/><Relationship Id="rId37" Type="http://schemas.openxmlformats.org/officeDocument/2006/relationships/tags" Target="../tags/tag793.xml"/><Relationship Id="rId58" Type="http://schemas.openxmlformats.org/officeDocument/2006/relationships/tags" Target="../tags/tag814.xml"/><Relationship Id="rId79" Type="http://schemas.openxmlformats.org/officeDocument/2006/relationships/tags" Target="../tags/tag835.xml"/><Relationship Id="rId102" Type="http://schemas.openxmlformats.org/officeDocument/2006/relationships/tags" Target="../tags/tag858.xml"/><Relationship Id="rId123" Type="http://schemas.openxmlformats.org/officeDocument/2006/relationships/tags" Target="../tags/tag879.xml"/><Relationship Id="rId144" Type="http://schemas.openxmlformats.org/officeDocument/2006/relationships/tags" Target="../tags/tag900.xml"/><Relationship Id="rId90" Type="http://schemas.openxmlformats.org/officeDocument/2006/relationships/tags" Target="../tags/tag846.xml"/><Relationship Id="rId165" Type="http://schemas.openxmlformats.org/officeDocument/2006/relationships/tags" Target="../tags/tag921.xml"/><Relationship Id="rId186" Type="http://schemas.openxmlformats.org/officeDocument/2006/relationships/tags" Target="../tags/tag942.xml"/><Relationship Id="rId211" Type="http://schemas.openxmlformats.org/officeDocument/2006/relationships/tags" Target="../tags/tag967.xml"/><Relationship Id="rId232" Type="http://schemas.openxmlformats.org/officeDocument/2006/relationships/tags" Target="../tags/tag988.xml"/><Relationship Id="rId27" Type="http://schemas.openxmlformats.org/officeDocument/2006/relationships/tags" Target="../tags/tag783.xml"/><Relationship Id="rId48" Type="http://schemas.openxmlformats.org/officeDocument/2006/relationships/tags" Target="../tags/tag804.xml"/><Relationship Id="rId69" Type="http://schemas.openxmlformats.org/officeDocument/2006/relationships/tags" Target="../tags/tag825.xml"/><Relationship Id="rId113" Type="http://schemas.openxmlformats.org/officeDocument/2006/relationships/tags" Target="../tags/tag869.xml"/><Relationship Id="rId134" Type="http://schemas.openxmlformats.org/officeDocument/2006/relationships/tags" Target="../tags/tag890.xml"/><Relationship Id="rId80" Type="http://schemas.openxmlformats.org/officeDocument/2006/relationships/tags" Target="../tags/tag836.xml"/><Relationship Id="rId155" Type="http://schemas.openxmlformats.org/officeDocument/2006/relationships/tags" Target="../tags/tag911.xml"/><Relationship Id="rId176" Type="http://schemas.openxmlformats.org/officeDocument/2006/relationships/tags" Target="../tags/tag932.xml"/><Relationship Id="rId197" Type="http://schemas.openxmlformats.org/officeDocument/2006/relationships/tags" Target="../tags/tag953.xml"/><Relationship Id="rId201" Type="http://schemas.openxmlformats.org/officeDocument/2006/relationships/tags" Target="../tags/tag957.xml"/><Relationship Id="rId222" Type="http://schemas.openxmlformats.org/officeDocument/2006/relationships/tags" Target="../tags/tag978.xml"/><Relationship Id="rId17" Type="http://schemas.openxmlformats.org/officeDocument/2006/relationships/tags" Target="../tags/tag773.xml"/><Relationship Id="rId38" Type="http://schemas.openxmlformats.org/officeDocument/2006/relationships/tags" Target="../tags/tag794.xml"/><Relationship Id="rId59" Type="http://schemas.openxmlformats.org/officeDocument/2006/relationships/tags" Target="../tags/tag815.xml"/><Relationship Id="rId103" Type="http://schemas.openxmlformats.org/officeDocument/2006/relationships/tags" Target="../tags/tag859.xml"/><Relationship Id="rId124" Type="http://schemas.openxmlformats.org/officeDocument/2006/relationships/tags" Target="../tags/tag880.xml"/><Relationship Id="rId70" Type="http://schemas.openxmlformats.org/officeDocument/2006/relationships/tags" Target="../tags/tag826.xml"/><Relationship Id="rId91" Type="http://schemas.openxmlformats.org/officeDocument/2006/relationships/tags" Target="../tags/tag847.xml"/><Relationship Id="rId145" Type="http://schemas.openxmlformats.org/officeDocument/2006/relationships/tags" Target="../tags/tag901.xml"/><Relationship Id="rId166" Type="http://schemas.openxmlformats.org/officeDocument/2006/relationships/tags" Target="../tags/tag922.xml"/><Relationship Id="rId187" Type="http://schemas.openxmlformats.org/officeDocument/2006/relationships/tags" Target="../tags/tag943.xml"/><Relationship Id="rId1" Type="http://schemas.openxmlformats.org/officeDocument/2006/relationships/vmlDrawing" Target="../drawings/vmlDrawing33.vml"/><Relationship Id="rId212" Type="http://schemas.openxmlformats.org/officeDocument/2006/relationships/tags" Target="../tags/tag968.xml"/><Relationship Id="rId233" Type="http://schemas.openxmlformats.org/officeDocument/2006/relationships/tags" Target="../tags/tag989.xml"/><Relationship Id="rId28" Type="http://schemas.openxmlformats.org/officeDocument/2006/relationships/tags" Target="../tags/tag784.xml"/><Relationship Id="rId49" Type="http://schemas.openxmlformats.org/officeDocument/2006/relationships/tags" Target="../tags/tag805.xml"/><Relationship Id="rId114" Type="http://schemas.openxmlformats.org/officeDocument/2006/relationships/tags" Target="../tags/tag870.xml"/><Relationship Id="rId60" Type="http://schemas.openxmlformats.org/officeDocument/2006/relationships/tags" Target="../tags/tag816.xml"/><Relationship Id="rId81" Type="http://schemas.openxmlformats.org/officeDocument/2006/relationships/tags" Target="../tags/tag837.xml"/><Relationship Id="rId135" Type="http://schemas.openxmlformats.org/officeDocument/2006/relationships/tags" Target="../tags/tag891.xml"/><Relationship Id="rId156" Type="http://schemas.openxmlformats.org/officeDocument/2006/relationships/tags" Target="../tags/tag912.xml"/><Relationship Id="rId177" Type="http://schemas.openxmlformats.org/officeDocument/2006/relationships/tags" Target="../tags/tag933.xml"/><Relationship Id="rId198" Type="http://schemas.openxmlformats.org/officeDocument/2006/relationships/tags" Target="../tags/tag954.xml"/><Relationship Id="rId202" Type="http://schemas.openxmlformats.org/officeDocument/2006/relationships/tags" Target="../tags/tag958.xml"/><Relationship Id="rId223" Type="http://schemas.openxmlformats.org/officeDocument/2006/relationships/tags" Target="../tags/tag979.xml"/><Relationship Id="rId18" Type="http://schemas.openxmlformats.org/officeDocument/2006/relationships/tags" Target="../tags/tag774.xml"/><Relationship Id="rId39" Type="http://schemas.openxmlformats.org/officeDocument/2006/relationships/tags" Target="../tags/tag795.xml"/><Relationship Id="rId50" Type="http://schemas.openxmlformats.org/officeDocument/2006/relationships/tags" Target="../tags/tag806.xml"/><Relationship Id="rId104" Type="http://schemas.openxmlformats.org/officeDocument/2006/relationships/tags" Target="../tags/tag860.xml"/><Relationship Id="rId125" Type="http://schemas.openxmlformats.org/officeDocument/2006/relationships/tags" Target="../tags/tag881.xml"/><Relationship Id="rId146" Type="http://schemas.openxmlformats.org/officeDocument/2006/relationships/tags" Target="../tags/tag902.xml"/><Relationship Id="rId167" Type="http://schemas.openxmlformats.org/officeDocument/2006/relationships/tags" Target="../tags/tag923.xml"/><Relationship Id="rId188" Type="http://schemas.openxmlformats.org/officeDocument/2006/relationships/tags" Target="../tags/tag944.xml"/><Relationship Id="rId71" Type="http://schemas.openxmlformats.org/officeDocument/2006/relationships/tags" Target="../tags/tag827.xml"/><Relationship Id="rId92" Type="http://schemas.openxmlformats.org/officeDocument/2006/relationships/tags" Target="../tags/tag848.xml"/><Relationship Id="rId213" Type="http://schemas.openxmlformats.org/officeDocument/2006/relationships/tags" Target="../tags/tag969.xml"/><Relationship Id="rId234" Type="http://schemas.openxmlformats.org/officeDocument/2006/relationships/tags" Target="../tags/tag990.xml"/><Relationship Id="rId2" Type="http://schemas.openxmlformats.org/officeDocument/2006/relationships/tags" Target="../tags/tag758.xml"/><Relationship Id="rId29" Type="http://schemas.openxmlformats.org/officeDocument/2006/relationships/tags" Target="../tags/tag785.xml"/><Relationship Id="rId40" Type="http://schemas.openxmlformats.org/officeDocument/2006/relationships/tags" Target="../tags/tag796.xml"/><Relationship Id="rId115" Type="http://schemas.openxmlformats.org/officeDocument/2006/relationships/tags" Target="../tags/tag871.xml"/><Relationship Id="rId136" Type="http://schemas.openxmlformats.org/officeDocument/2006/relationships/tags" Target="../tags/tag892.xml"/><Relationship Id="rId157" Type="http://schemas.openxmlformats.org/officeDocument/2006/relationships/tags" Target="../tags/tag913.xml"/><Relationship Id="rId178" Type="http://schemas.openxmlformats.org/officeDocument/2006/relationships/tags" Target="../tags/tag934.xml"/><Relationship Id="rId61" Type="http://schemas.openxmlformats.org/officeDocument/2006/relationships/tags" Target="../tags/tag817.xml"/><Relationship Id="rId82" Type="http://schemas.openxmlformats.org/officeDocument/2006/relationships/tags" Target="../tags/tag838.xml"/><Relationship Id="rId199" Type="http://schemas.openxmlformats.org/officeDocument/2006/relationships/tags" Target="../tags/tag955.xml"/><Relationship Id="rId203" Type="http://schemas.openxmlformats.org/officeDocument/2006/relationships/tags" Target="../tags/tag959.xml"/><Relationship Id="rId19" Type="http://schemas.openxmlformats.org/officeDocument/2006/relationships/tags" Target="../tags/tag775.xml"/><Relationship Id="rId224" Type="http://schemas.openxmlformats.org/officeDocument/2006/relationships/tags" Target="../tags/tag980.xml"/><Relationship Id="rId30" Type="http://schemas.openxmlformats.org/officeDocument/2006/relationships/tags" Target="../tags/tag786.xml"/><Relationship Id="rId105" Type="http://schemas.openxmlformats.org/officeDocument/2006/relationships/tags" Target="../tags/tag861.xml"/><Relationship Id="rId126" Type="http://schemas.openxmlformats.org/officeDocument/2006/relationships/tags" Target="../tags/tag882.xml"/><Relationship Id="rId147" Type="http://schemas.openxmlformats.org/officeDocument/2006/relationships/tags" Target="../tags/tag903.xml"/><Relationship Id="rId168" Type="http://schemas.openxmlformats.org/officeDocument/2006/relationships/tags" Target="../tags/tag924.xml"/><Relationship Id="rId51" Type="http://schemas.openxmlformats.org/officeDocument/2006/relationships/tags" Target="../tags/tag807.xml"/><Relationship Id="rId72" Type="http://schemas.openxmlformats.org/officeDocument/2006/relationships/tags" Target="../tags/tag828.xml"/><Relationship Id="rId93" Type="http://schemas.openxmlformats.org/officeDocument/2006/relationships/tags" Target="../tags/tag849.xml"/><Relationship Id="rId189" Type="http://schemas.openxmlformats.org/officeDocument/2006/relationships/tags" Target="../tags/tag945.xml"/><Relationship Id="rId3" Type="http://schemas.openxmlformats.org/officeDocument/2006/relationships/tags" Target="../tags/tag759.xml"/><Relationship Id="rId214" Type="http://schemas.openxmlformats.org/officeDocument/2006/relationships/tags" Target="../tags/tag970.xml"/><Relationship Id="rId235" Type="http://schemas.openxmlformats.org/officeDocument/2006/relationships/tags" Target="../tags/tag991.xml"/><Relationship Id="rId116" Type="http://schemas.openxmlformats.org/officeDocument/2006/relationships/tags" Target="../tags/tag872.xml"/><Relationship Id="rId137" Type="http://schemas.openxmlformats.org/officeDocument/2006/relationships/tags" Target="../tags/tag893.xml"/><Relationship Id="rId158" Type="http://schemas.openxmlformats.org/officeDocument/2006/relationships/tags" Target="../tags/tag914.xml"/><Relationship Id="rId20" Type="http://schemas.openxmlformats.org/officeDocument/2006/relationships/tags" Target="../tags/tag776.xml"/><Relationship Id="rId41" Type="http://schemas.openxmlformats.org/officeDocument/2006/relationships/tags" Target="../tags/tag797.xml"/><Relationship Id="rId62" Type="http://schemas.openxmlformats.org/officeDocument/2006/relationships/tags" Target="../tags/tag818.xml"/><Relationship Id="rId83" Type="http://schemas.openxmlformats.org/officeDocument/2006/relationships/tags" Target="../tags/tag839.xml"/><Relationship Id="rId179" Type="http://schemas.openxmlformats.org/officeDocument/2006/relationships/tags" Target="../tags/tag935.xml"/><Relationship Id="rId190" Type="http://schemas.openxmlformats.org/officeDocument/2006/relationships/tags" Target="../tags/tag946.xml"/><Relationship Id="rId204" Type="http://schemas.openxmlformats.org/officeDocument/2006/relationships/tags" Target="../tags/tag960.xml"/><Relationship Id="rId225" Type="http://schemas.openxmlformats.org/officeDocument/2006/relationships/tags" Target="../tags/tag981.xml"/></Relationships>
</file>

<file path=ppt/slides/_rels/slide16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997.xml"/></Relationships>
</file>

<file path=ppt/slides/_rels/slide169.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998.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52.xml"/></Relationships>
</file>

<file path=ppt/slides/_rels/slide17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999.xml"/></Relationships>
</file>

<file path=ppt/slides/_rels/slide171.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000.xml"/></Relationships>
</file>

<file path=ppt/slides/_rels/slide17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001.xml"/></Relationships>
</file>

<file path=ppt/slides/_rels/slide173.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002.xml"/></Relationships>
</file>

<file path=ppt/slides/_rels/slide174.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003.xml"/></Relationships>
</file>

<file path=ppt/slides/_rels/slide175.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004.xml"/></Relationships>
</file>

<file path=ppt/slides/_rels/slide176.xml.rels><?xml version="1.0" encoding="UTF-8" standalone="yes"?>
<Relationships xmlns="http://schemas.openxmlformats.org/package/2006/relationships"><Relationship Id="rId3" Type="http://schemas.openxmlformats.org/officeDocument/2006/relationships/tags" Target="../tags/tag1006.xml"/><Relationship Id="rId7" Type="http://schemas.openxmlformats.org/officeDocument/2006/relationships/oleObject" Target="../embeddings/oleObject38.bin"/><Relationship Id="rId2" Type="http://schemas.openxmlformats.org/officeDocument/2006/relationships/tags" Target="../tags/tag1005.xml"/><Relationship Id="rId1" Type="http://schemas.openxmlformats.org/officeDocument/2006/relationships/vmlDrawing" Target="../drawings/vmlDrawing34.vml"/><Relationship Id="rId6" Type="http://schemas.openxmlformats.org/officeDocument/2006/relationships/notesSlide" Target="../notesSlides/notesSlide11.xml"/><Relationship Id="rId5" Type="http://schemas.openxmlformats.org/officeDocument/2006/relationships/slideLayout" Target="../slideLayouts/slideLayout10.xml"/><Relationship Id="rId4" Type="http://schemas.openxmlformats.org/officeDocument/2006/relationships/tags" Target="../tags/tag1007.xml"/></Relationships>
</file>

<file path=ppt/slides/_rels/slide177.xml.rels><?xml version="1.0" encoding="UTF-8" standalone="yes"?>
<Relationships xmlns="http://schemas.openxmlformats.org/package/2006/relationships"><Relationship Id="rId26" Type="http://schemas.openxmlformats.org/officeDocument/2006/relationships/tags" Target="../tags/tag1032.xml"/><Relationship Id="rId21" Type="http://schemas.openxmlformats.org/officeDocument/2006/relationships/tags" Target="../tags/tag1027.xml"/><Relationship Id="rId42" Type="http://schemas.openxmlformats.org/officeDocument/2006/relationships/tags" Target="../tags/tag1048.xml"/><Relationship Id="rId47" Type="http://schemas.openxmlformats.org/officeDocument/2006/relationships/tags" Target="../tags/tag1053.xml"/><Relationship Id="rId63" Type="http://schemas.openxmlformats.org/officeDocument/2006/relationships/tags" Target="../tags/tag1069.xml"/><Relationship Id="rId68" Type="http://schemas.openxmlformats.org/officeDocument/2006/relationships/slideLayout" Target="../slideLayouts/slideLayout10.xml"/><Relationship Id="rId7" Type="http://schemas.openxmlformats.org/officeDocument/2006/relationships/tags" Target="../tags/tag1013.xml"/><Relationship Id="rId2" Type="http://schemas.openxmlformats.org/officeDocument/2006/relationships/tags" Target="../tags/tag1008.xml"/><Relationship Id="rId16" Type="http://schemas.openxmlformats.org/officeDocument/2006/relationships/tags" Target="../tags/tag1022.xml"/><Relationship Id="rId29" Type="http://schemas.openxmlformats.org/officeDocument/2006/relationships/tags" Target="../tags/tag1035.xml"/><Relationship Id="rId11" Type="http://schemas.openxmlformats.org/officeDocument/2006/relationships/tags" Target="../tags/tag1017.xml"/><Relationship Id="rId24" Type="http://schemas.openxmlformats.org/officeDocument/2006/relationships/tags" Target="../tags/tag1030.xml"/><Relationship Id="rId32" Type="http://schemas.openxmlformats.org/officeDocument/2006/relationships/tags" Target="../tags/tag1038.xml"/><Relationship Id="rId37" Type="http://schemas.openxmlformats.org/officeDocument/2006/relationships/tags" Target="../tags/tag1043.xml"/><Relationship Id="rId40" Type="http://schemas.openxmlformats.org/officeDocument/2006/relationships/tags" Target="../tags/tag1046.xml"/><Relationship Id="rId45" Type="http://schemas.openxmlformats.org/officeDocument/2006/relationships/tags" Target="../tags/tag1051.xml"/><Relationship Id="rId53" Type="http://schemas.openxmlformats.org/officeDocument/2006/relationships/tags" Target="../tags/tag1059.xml"/><Relationship Id="rId58" Type="http://schemas.openxmlformats.org/officeDocument/2006/relationships/tags" Target="../tags/tag1064.xml"/><Relationship Id="rId66" Type="http://schemas.openxmlformats.org/officeDocument/2006/relationships/tags" Target="../tags/tag1072.xml"/><Relationship Id="rId5" Type="http://schemas.openxmlformats.org/officeDocument/2006/relationships/tags" Target="../tags/tag1011.xml"/><Relationship Id="rId61" Type="http://schemas.openxmlformats.org/officeDocument/2006/relationships/tags" Target="../tags/tag1067.xml"/><Relationship Id="rId19" Type="http://schemas.openxmlformats.org/officeDocument/2006/relationships/tags" Target="../tags/tag1025.xml"/><Relationship Id="rId14" Type="http://schemas.openxmlformats.org/officeDocument/2006/relationships/tags" Target="../tags/tag1020.xml"/><Relationship Id="rId22" Type="http://schemas.openxmlformats.org/officeDocument/2006/relationships/tags" Target="../tags/tag1028.xml"/><Relationship Id="rId27" Type="http://schemas.openxmlformats.org/officeDocument/2006/relationships/tags" Target="../tags/tag1033.xml"/><Relationship Id="rId30" Type="http://schemas.openxmlformats.org/officeDocument/2006/relationships/tags" Target="../tags/tag1036.xml"/><Relationship Id="rId35" Type="http://schemas.openxmlformats.org/officeDocument/2006/relationships/tags" Target="../tags/tag1041.xml"/><Relationship Id="rId43" Type="http://schemas.openxmlformats.org/officeDocument/2006/relationships/tags" Target="../tags/tag1049.xml"/><Relationship Id="rId48" Type="http://schemas.openxmlformats.org/officeDocument/2006/relationships/tags" Target="../tags/tag1054.xml"/><Relationship Id="rId56" Type="http://schemas.openxmlformats.org/officeDocument/2006/relationships/tags" Target="../tags/tag1062.xml"/><Relationship Id="rId64" Type="http://schemas.openxmlformats.org/officeDocument/2006/relationships/tags" Target="../tags/tag1070.xml"/><Relationship Id="rId69" Type="http://schemas.openxmlformats.org/officeDocument/2006/relationships/oleObject" Target="../embeddings/oleObject39.bin"/><Relationship Id="rId8" Type="http://schemas.openxmlformats.org/officeDocument/2006/relationships/tags" Target="../tags/tag1014.xml"/><Relationship Id="rId51" Type="http://schemas.openxmlformats.org/officeDocument/2006/relationships/tags" Target="../tags/tag1057.xml"/><Relationship Id="rId3" Type="http://schemas.openxmlformats.org/officeDocument/2006/relationships/tags" Target="../tags/tag1009.xml"/><Relationship Id="rId12" Type="http://schemas.openxmlformats.org/officeDocument/2006/relationships/tags" Target="../tags/tag1018.xml"/><Relationship Id="rId17" Type="http://schemas.openxmlformats.org/officeDocument/2006/relationships/tags" Target="../tags/tag1023.xml"/><Relationship Id="rId25" Type="http://schemas.openxmlformats.org/officeDocument/2006/relationships/tags" Target="../tags/tag1031.xml"/><Relationship Id="rId33" Type="http://schemas.openxmlformats.org/officeDocument/2006/relationships/tags" Target="../tags/tag1039.xml"/><Relationship Id="rId38" Type="http://schemas.openxmlformats.org/officeDocument/2006/relationships/tags" Target="../tags/tag1044.xml"/><Relationship Id="rId46" Type="http://schemas.openxmlformats.org/officeDocument/2006/relationships/tags" Target="../tags/tag1052.xml"/><Relationship Id="rId59" Type="http://schemas.openxmlformats.org/officeDocument/2006/relationships/tags" Target="../tags/tag1065.xml"/><Relationship Id="rId67" Type="http://schemas.openxmlformats.org/officeDocument/2006/relationships/tags" Target="../tags/tag1073.xml"/><Relationship Id="rId20" Type="http://schemas.openxmlformats.org/officeDocument/2006/relationships/tags" Target="../tags/tag1026.xml"/><Relationship Id="rId41" Type="http://schemas.openxmlformats.org/officeDocument/2006/relationships/tags" Target="../tags/tag1047.xml"/><Relationship Id="rId54" Type="http://schemas.openxmlformats.org/officeDocument/2006/relationships/tags" Target="../tags/tag1060.xml"/><Relationship Id="rId62" Type="http://schemas.openxmlformats.org/officeDocument/2006/relationships/tags" Target="../tags/tag1068.xml"/><Relationship Id="rId1" Type="http://schemas.openxmlformats.org/officeDocument/2006/relationships/vmlDrawing" Target="../drawings/vmlDrawing35.vml"/><Relationship Id="rId6" Type="http://schemas.openxmlformats.org/officeDocument/2006/relationships/tags" Target="../tags/tag1012.xml"/><Relationship Id="rId15" Type="http://schemas.openxmlformats.org/officeDocument/2006/relationships/tags" Target="../tags/tag1021.xml"/><Relationship Id="rId23" Type="http://schemas.openxmlformats.org/officeDocument/2006/relationships/tags" Target="../tags/tag1029.xml"/><Relationship Id="rId28" Type="http://schemas.openxmlformats.org/officeDocument/2006/relationships/tags" Target="../tags/tag1034.xml"/><Relationship Id="rId36" Type="http://schemas.openxmlformats.org/officeDocument/2006/relationships/tags" Target="../tags/tag1042.xml"/><Relationship Id="rId49" Type="http://schemas.openxmlformats.org/officeDocument/2006/relationships/tags" Target="../tags/tag1055.xml"/><Relationship Id="rId57" Type="http://schemas.openxmlformats.org/officeDocument/2006/relationships/tags" Target="../tags/tag1063.xml"/><Relationship Id="rId10" Type="http://schemas.openxmlformats.org/officeDocument/2006/relationships/tags" Target="../tags/tag1016.xml"/><Relationship Id="rId31" Type="http://schemas.openxmlformats.org/officeDocument/2006/relationships/tags" Target="../tags/tag1037.xml"/><Relationship Id="rId44" Type="http://schemas.openxmlformats.org/officeDocument/2006/relationships/tags" Target="../tags/tag1050.xml"/><Relationship Id="rId52" Type="http://schemas.openxmlformats.org/officeDocument/2006/relationships/tags" Target="../tags/tag1058.xml"/><Relationship Id="rId60" Type="http://schemas.openxmlformats.org/officeDocument/2006/relationships/tags" Target="../tags/tag1066.xml"/><Relationship Id="rId65" Type="http://schemas.openxmlformats.org/officeDocument/2006/relationships/tags" Target="../tags/tag1071.xml"/><Relationship Id="rId4" Type="http://schemas.openxmlformats.org/officeDocument/2006/relationships/tags" Target="../tags/tag1010.xml"/><Relationship Id="rId9" Type="http://schemas.openxmlformats.org/officeDocument/2006/relationships/tags" Target="../tags/tag1015.xml"/><Relationship Id="rId13" Type="http://schemas.openxmlformats.org/officeDocument/2006/relationships/tags" Target="../tags/tag1019.xml"/><Relationship Id="rId18" Type="http://schemas.openxmlformats.org/officeDocument/2006/relationships/tags" Target="../tags/tag1024.xml"/><Relationship Id="rId39" Type="http://schemas.openxmlformats.org/officeDocument/2006/relationships/tags" Target="../tags/tag1045.xml"/><Relationship Id="rId34" Type="http://schemas.openxmlformats.org/officeDocument/2006/relationships/tags" Target="../tags/tag1040.xml"/><Relationship Id="rId50" Type="http://schemas.openxmlformats.org/officeDocument/2006/relationships/tags" Target="../tags/tag1056.xml"/><Relationship Id="rId55" Type="http://schemas.openxmlformats.org/officeDocument/2006/relationships/tags" Target="../tags/tag1061.xml"/></Relationships>
</file>

<file path=ppt/slides/_rels/slide17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074.xml"/></Relationships>
</file>

<file path=ppt/slides/_rels/slide179.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075.xml"/></Relationships>
</file>

<file path=ppt/slides/_rels/slide18.xml.rels><?xml version="1.0" encoding="UTF-8" standalone="yes"?>
<Relationships xmlns="http://schemas.openxmlformats.org/package/2006/relationships"><Relationship Id="rId8" Type="http://schemas.openxmlformats.org/officeDocument/2006/relationships/tags" Target="../tags/tag159.xml"/><Relationship Id="rId13" Type="http://schemas.openxmlformats.org/officeDocument/2006/relationships/tags" Target="../tags/tag164.xml"/><Relationship Id="rId18" Type="http://schemas.openxmlformats.org/officeDocument/2006/relationships/tags" Target="../tags/tag169.xml"/><Relationship Id="rId3" Type="http://schemas.openxmlformats.org/officeDocument/2006/relationships/tags" Target="../tags/tag154.xml"/><Relationship Id="rId7" Type="http://schemas.openxmlformats.org/officeDocument/2006/relationships/tags" Target="../tags/tag158.xml"/><Relationship Id="rId12" Type="http://schemas.openxmlformats.org/officeDocument/2006/relationships/tags" Target="../tags/tag163.xml"/><Relationship Id="rId17" Type="http://schemas.openxmlformats.org/officeDocument/2006/relationships/tags" Target="../tags/tag168.xml"/><Relationship Id="rId2" Type="http://schemas.openxmlformats.org/officeDocument/2006/relationships/tags" Target="../tags/tag153.xml"/><Relationship Id="rId16" Type="http://schemas.openxmlformats.org/officeDocument/2006/relationships/tags" Target="../tags/tag167.xml"/><Relationship Id="rId20"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57.xml"/><Relationship Id="rId11" Type="http://schemas.openxmlformats.org/officeDocument/2006/relationships/tags" Target="../tags/tag162.xml"/><Relationship Id="rId5" Type="http://schemas.openxmlformats.org/officeDocument/2006/relationships/tags" Target="../tags/tag156.xml"/><Relationship Id="rId15" Type="http://schemas.openxmlformats.org/officeDocument/2006/relationships/tags" Target="../tags/tag166.xml"/><Relationship Id="rId10" Type="http://schemas.openxmlformats.org/officeDocument/2006/relationships/tags" Target="../tags/tag161.xml"/><Relationship Id="rId19" Type="http://schemas.openxmlformats.org/officeDocument/2006/relationships/slideLayout" Target="../slideLayouts/slideLayout10.xml"/><Relationship Id="rId4" Type="http://schemas.openxmlformats.org/officeDocument/2006/relationships/tags" Target="../tags/tag155.xml"/><Relationship Id="rId9" Type="http://schemas.openxmlformats.org/officeDocument/2006/relationships/tags" Target="../tags/tag160.xml"/><Relationship Id="rId14" Type="http://schemas.openxmlformats.org/officeDocument/2006/relationships/tags" Target="../tags/tag165.xml"/></Relationships>
</file>

<file path=ppt/slides/_rels/slide18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076.xml"/></Relationships>
</file>

<file path=ppt/slides/_rels/slide181.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077.xml"/></Relationships>
</file>

<file path=ppt/slides/_rels/slide18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078.xml"/></Relationships>
</file>

<file path=ppt/slides/_rels/slide183.xml.rels><?xml version="1.0" encoding="UTF-8" standalone="yes"?>
<Relationships xmlns="http://schemas.openxmlformats.org/package/2006/relationships"><Relationship Id="rId8" Type="http://schemas.openxmlformats.org/officeDocument/2006/relationships/tags" Target="../tags/tag1085.xml"/><Relationship Id="rId13" Type="http://schemas.openxmlformats.org/officeDocument/2006/relationships/oleObject" Target="../embeddings/oleObject40.bin"/><Relationship Id="rId3" Type="http://schemas.openxmlformats.org/officeDocument/2006/relationships/tags" Target="../tags/tag1080.xml"/><Relationship Id="rId7" Type="http://schemas.openxmlformats.org/officeDocument/2006/relationships/tags" Target="../tags/tag1084.xml"/><Relationship Id="rId12" Type="http://schemas.openxmlformats.org/officeDocument/2006/relationships/slideLayout" Target="../slideLayouts/slideLayout10.xml"/><Relationship Id="rId2" Type="http://schemas.openxmlformats.org/officeDocument/2006/relationships/tags" Target="../tags/tag1079.xml"/><Relationship Id="rId1" Type="http://schemas.openxmlformats.org/officeDocument/2006/relationships/vmlDrawing" Target="../drawings/vmlDrawing36.vml"/><Relationship Id="rId6" Type="http://schemas.openxmlformats.org/officeDocument/2006/relationships/tags" Target="../tags/tag1083.xml"/><Relationship Id="rId11" Type="http://schemas.openxmlformats.org/officeDocument/2006/relationships/tags" Target="../tags/tag1088.xml"/><Relationship Id="rId5" Type="http://schemas.openxmlformats.org/officeDocument/2006/relationships/tags" Target="../tags/tag1082.xml"/><Relationship Id="rId10" Type="http://schemas.openxmlformats.org/officeDocument/2006/relationships/tags" Target="../tags/tag1087.xml"/><Relationship Id="rId4" Type="http://schemas.openxmlformats.org/officeDocument/2006/relationships/tags" Target="../tags/tag1081.xml"/><Relationship Id="rId9" Type="http://schemas.openxmlformats.org/officeDocument/2006/relationships/tags" Target="../tags/tag1086.xml"/></Relationships>
</file>

<file path=ppt/slides/_rels/slide184.xml.rels><?xml version="1.0" encoding="UTF-8" standalone="yes"?>
<Relationships xmlns="http://schemas.openxmlformats.org/package/2006/relationships"><Relationship Id="rId8" Type="http://schemas.openxmlformats.org/officeDocument/2006/relationships/tags" Target="../tags/tag1095.xml"/><Relationship Id="rId13" Type="http://schemas.openxmlformats.org/officeDocument/2006/relationships/tags" Target="../tags/tag1100.xml"/><Relationship Id="rId3" Type="http://schemas.openxmlformats.org/officeDocument/2006/relationships/tags" Target="../tags/tag1090.xml"/><Relationship Id="rId7" Type="http://schemas.openxmlformats.org/officeDocument/2006/relationships/tags" Target="../tags/tag1094.xml"/><Relationship Id="rId12" Type="http://schemas.openxmlformats.org/officeDocument/2006/relationships/tags" Target="../tags/tag1099.xml"/><Relationship Id="rId2" Type="http://schemas.openxmlformats.org/officeDocument/2006/relationships/tags" Target="../tags/tag1089.xml"/><Relationship Id="rId1" Type="http://schemas.openxmlformats.org/officeDocument/2006/relationships/vmlDrawing" Target="../drawings/vmlDrawing37.vml"/><Relationship Id="rId6" Type="http://schemas.openxmlformats.org/officeDocument/2006/relationships/tags" Target="../tags/tag1093.xml"/><Relationship Id="rId11" Type="http://schemas.openxmlformats.org/officeDocument/2006/relationships/tags" Target="../tags/tag1098.xml"/><Relationship Id="rId5" Type="http://schemas.openxmlformats.org/officeDocument/2006/relationships/tags" Target="../tags/tag1092.xml"/><Relationship Id="rId15" Type="http://schemas.openxmlformats.org/officeDocument/2006/relationships/oleObject" Target="../embeddings/oleObject41.bin"/><Relationship Id="rId10" Type="http://schemas.openxmlformats.org/officeDocument/2006/relationships/tags" Target="../tags/tag1097.xml"/><Relationship Id="rId4" Type="http://schemas.openxmlformats.org/officeDocument/2006/relationships/tags" Target="../tags/tag1091.xml"/><Relationship Id="rId9" Type="http://schemas.openxmlformats.org/officeDocument/2006/relationships/tags" Target="../tags/tag1096.xml"/><Relationship Id="rId14" Type="http://schemas.openxmlformats.org/officeDocument/2006/relationships/slideLayout" Target="../slideLayouts/slideLayout10.xml"/></Relationships>
</file>

<file path=ppt/slides/_rels/slide185.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01.xml"/></Relationships>
</file>

<file path=ppt/slides/_rels/slide186.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02.xml"/></Relationships>
</file>

<file path=ppt/slides/_rels/slide187.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03.xml"/></Relationships>
</file>

<file path=ppt/slides/_rels/slide18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04.xml"/></Relationships>
</file>

<file path=ppt/slides/_rels/slide189.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1106.xml"/><Relationship Id="rId7" Type="http://schemas.openxmlformats.org/officeDocument/2006/relationships/tags" Target="../tags/tag1110.xml"/><Relationship Id="rId2" Type="http://schemas.openxmlformats.org/officeDocument/2006/relationships/tags" Target="../tags/tag1105.xml"/><Relationship Id="rId1" Type="http://schemas.openxmlformats.org/officeDocument/2006/relationships/vmlDrawing" Target="../drawings/vmlDrawing38.vml"/><Relationship Id="rId6" Type="http://schemas.openxmlformats.org/officeDocument/2006/relationships/tags" Target="../tags/tag1109.xml"/><Relationship Id="rId5" Type="http://schemas.openxmlformats.org/officeDocument/2006/relationships/tags" Target="../tags/tag1108.xml"/><Relationship Id="rId4" Type="http://schemas.openxmlformats.org/officeDocument/2006/relationships/tags" Target="../tags/tag1107.xml"/><Relationship Id="rId9" Type="http://schemas.openxmlformats.org/officeDocument/2006/relationships/oleObject" Target="../embeddings/oleObject42.bin"/></Relationships>
</file>

<file path=ppt/slides/_rels/slide19.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tags" Target="../tags/tag182.xml"/><Relationship Id="rId18" Type="http://schemas.openxmlformats.org/officeDocument/2006/relationships/tags" Target="../tags/tag187.xml"/><Relationship Id="rId3" Type="http://schemas.openxmlformats.org/officeDocument/2006/relationships/tags" Target="../tags/tag172.xml"/><Relationship Id="rId21" Type="http://schemas.openxmlformats.org/officeDocument/2006/relationships/slideLayout" Target="../slideLayouts/slideLayout10.xml"/><Relationship Id="rId7" Type="http://schemas.openxmlformats.org/officeDocument/2006/relationships/tags" Target="../tags/tag176.xml"/><Relationship Id="rId12" Type="http://schemas.openxmlformats.org/officeDocument/2006/relationships/tags" Target="../tags/tag181.xml"/><Relationship Id="rId17" Type="http://schemas.openxmlformats.org/officeDocument/2006/relationships/tags" Target="../tags/tag186.xml"/><Relationship Id="rId2" Type="http://schemas.openxmlformats.org/officeDocument/2006/relationships/tags" Target="../tags/tag171.xml"/><Relationship Id="rId16" Type="http://schemas.openxmlformats.org/officeDocument/2006/relationships/tags" Target="../tags/tag185.xml"/><Relationship Id="rId20" Type="http://schemas.openxmlformats.org/officeDocument/2006/relationships/tags" Target="../tags/tag189.xml"/><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tags" Target="../tags/tag180.xml"/><Relationship Id="rId5" Type="http://schemas.openxmlformats.org/officeDocument/2006/relationships/tags" Target="../tags/tag174.xml"/><Relationship Id="rId15" Type="http://schemas.openxmlformats.org/officeDocument/2006/relationships/tags" Target="../tags/tag184.xml"/><Relationship Id="rId10" Type="http://schemas.openxmlformats.org/officeDocument/2006/relationships/tags" Target="../tags/tag179.xml"/><Relationship Id="rId19" Type="http://schemas.openxmlformats.org/officeDocument/2006/relationships/tags" Target="../tags/tag188.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tags" Target="../tags/tag183.xml"/></Relationships>
</file>

<file path=ppt/slides/_rels/slide190.xml.rels><?xml version="1.0" encoding="UTF-8" standalone="yes"?>
<Relationships xmlns="http://schemas.openxmlformats.org/package/2006/relationships"><Relationship Id="rId8" Type="http://schemas.openxmlformats.org/officeDocument/2006/relationships/tags" Target="../tags/tag1117.xml"/><Relationship Id="rId3" Type="http://schemas.openxmlformats.org/officeDocument/2006/relationships/tags" Target="../tags/tag1112.xml"/><Relationship Id="rId7" Type="http://schemas.openxmlformats.org/officeDocument/2006/relationships/tags" Target="../tags/tag1116.xml"/><Relationship Id="rId2" Type="http://schemas.openxmlformats.org/officeDocument/2006/relationships/tags" Target="../tags/tag1111.xml"/><Relationship Id="rId1" Type="http://schemas.openxmlformats.org/officeDocument/2006/relationships/vmlDrawing" Target="../drawings/vmlDrawing39.vml"/><Relationship Id="rId6" Type="http://schemas.openxmlformats.org/officeDocument/2006/relationships/tags" Target="../tags/tag1115.xml"/><Relationship Id="rId11" Type="http://schemas.openxmlformats.org/officeDocument/2006/relationships/oleObject" Target="../embeddings/oleObject43.bin"/><Relationship Id="rId5" Type="http://schemas.openxmlformats.org/officeDocument/2006/relationships/tags" Target="../tags/tag1114.xml"/><Relationship Id="rId10" Type="http://schemas.openxmlformats.org/officeDocument/2006/relationships/slideLayout" Target="../slideLayouts/slideLayout10.xml"/><Relationship Id="rId4" Type="http://schemas.openxmlformats.org/officeDocument/2006/relationships/tags" Target="../tags/tag1113.xml"/><Relationship Id="rId9" Type="http://schemas.openxmlformats.org/officeDocument/2006/relationships/tags" Target="../tags/tag1118.xml"/></Relationships>
</file>

<file path=ppt/slides/_rels/slide191.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19.xml"/></Relationships>
</file>

<file path=ppt/slides/_rels/slide19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20.xml"/></Relationships>
</file>

<file path=ppt/slides/_rels/slide193.xml.rels><?xml version="1.0" encoding="UTF-8" standalone="yes"?>
<Relationships xmlns="http://schemas.openxmlformats.org/package/2006/relationships"><Relationship Id="rId3" Type="http://schemas.openxmlformats.org/officeDocument/2006/relationships/tags" Target="../tags/tag1123.xml"/><Relationship Id="rId2" Type="http://schemas.openxmlformats.org/officeDocument/2006/relationships/tags" Target="../tags/tag1122.xml"/><Relationship Id="rId1" Type="http://schemas.openxmlformats.org/officeDocument/2006/relationships/tags" Target="../tags/tag1121.xml"/><Relationship Id="rId6" Type="http://schemas.openxmlformats.org/officeDocument/2006/relationships/slideLayout" Target="../slideLayouts/slideLayout10.xml"/><Relationship Id="rId5" Type="http://schemas.openxmlformats.org/officeDocument/2006/relationships/tags" Target="../tags/tag1125.xml"/><Relationship Id="rId4" Type="http://schemas.openxmlformats.org/officeDocument/2006/relationships/tags" Target="../tags/tag1124.xml"/></Relationships>
</file>

<file path=ppt/slides/_rels/slide194.xml.rels><?xml version="1.0" encoding="UTF-8" standalone="yes"?>
<Relationships xmlns="http://schemas.openxmlformats.org/package/2006/relationships"><Relationship Id="rId3" Type="http://schemas.openxmlformats.org/officeDocument/2006/relationships/tags" Target="../tags/tag1128.xml"/><Relationship Id="rId2" Type="http://schemas.openxmlformats.org/officeDocument/2006/relationships/tags" Target="../tags/tag1127.xml"/><Relationship Id="rId1" Type="http://schemas.openxmlformats.org/officeDocument/2006/relationships/tags" Target="../tags/tag1126.xml"/><Relationship Id="rId5" Type="http://schemas.openxmlformats.org/officeDocument/2006/relationships/slideLayout" Target="../slideLayouts/slideLayout10.xml"/><Relationship Id="rId4" Type="http://schemas.openxmlformats.org/officeDocument/2006/relationships/tags" Target="../tags/tag1129.xml"/></Relationships>
</file>

<file path=ppt/slides/_rels/slide19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131.xml"/><Relationship Id="rId1" Type="http://schemas.openxmlformats.org/officeDocument/2006/relationships/tags" Target="../tags/tag1130.xml"/></Relationships>
</file>

<file path=ppt/slides/_rels/slide196.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32.xml"/></Relationships>
</file>

<file path=ppt/slides/_rels/slide197.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33.xml"/></Relationships>
</file>

<file path=ppt/slides/_rels/slide19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34.xml"/></Relationships>
</file>

<file path=ppt/slides/_rels/slide199.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35.xml"/></Relationships>
</file>

<file path=ppt/slides/_rels/slide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90.xml"/></Relationships>
</file>

<file path=ppt/slides/_rels/slide20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36.xml"/></Relationships>
</file>

<file path=ppt/slides/_rels/slide201.xml.rels><?xml version="1.0" encoding="UTF-8" standalone="yes"?>
<Relationships xmlns="http://schemas.openxmlformats.org/package/2006/relationships"><Relationship Id="rId3" Type="http://schemas.openxmlformats.org/officeDocument/2006/relationships/tags" Target="../tags/tag1139.xml"/><Relationship Id="rId2" Type="http://schemas.openxmlformats.org/officeDocument/2006/relationships/tags" Target="../tags/tag1138.xml"/><Relationship Id="rId1" Type="http://schemas.openxmlformats.org/officeDocument/2006/relationships/tags" Target="../tags/tag1137.xml"/><Relationship Id="rId6" Type="http://schemas.openxmlformats.org/officeDocument/2006/relationships/slideLayout" Target="../slideLayouts/slideLayout10.xml"/><Relationship Id="rId5" Type="http://schemas.openxmlformats.org/officeDocument/2006/relationships/tags" Target="../tags/tag1141.xml"/><Relationship Id="rId4" Type="http://schemas.openxmlformats.org/officeDocument/2006/relationships/tags" Target="../tags/tag1140.xml"/></Relationships>
</file>

<file path=ppt/slides/_rels/slide20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42.xml"/></Relationships>
</file>

<file path=ppt/slides/_rels/slide203.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43.xml"/></Relationships>
</file>

<file path=ppt/slides/_rels/slide204.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44.xml"/></Relationships>
</file>

<file path=ppt/slides/_rels/slide205.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45.xml"/></Relationships>
</file>

<file path=ppt/slides/_rels/slide206.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46.xml"/></Relationships>
</file>

<file path=ppt/slides/_rels/slide207.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47.xml"/></Relationships>
</file>

<file path=ppt/slides/_rels/slide208.xml.rels><?xml version="1.0" encoding="UTF-8" standalone="yes"?>
<Relationships xmlns="http://schemas.openxmlformats.org/package/2006/relationships"><Relationship Id="rId8" Type="http://schemas.openxmlformats.org/officeDocument/2006/relationships/tags" Target="../tags/tag1154.xml"/><Relationship Id="rId13" Type="http://schemas.openxmlformats.org/officeDocument/2006/relationships/tags" Target="../tags/tag1159.xml"/><Relationship Id="rId3" Type="http://schemas.openxmlformats.org/officeDocument/2006/relationships/tags" Target="../tags/tag1149.xml"/><Relationship Id="rId7" Type="http://schemas.openxmlformats.org/officeDocument/2006/relationships/tags" Target="../tags/tag1153.xml"/><Relationship Id="rId12" Type="http://schemas.openxmlformats.org/officeDocument/2006/relationships/tags" Target="../tags/tag1158.xml"/><Relationship Id="rId2" Type="http://schemas.openxmlformats.org/officeDocument/2006/relationships/tags" Target="../tags/tag1148.xml"/><Relationship Id="rId16" Type="http://schemas.openxmlformats.org/officeDocument/2006/relationships/oleObject" Target="../embeddings/oleObject44.bin"/><Relationship Id="rId1" Type="http://schemas.openxmlformats.org/officeDocument/2006/relationships/vmlDrawing" Target="../drawings/vmlDrawing40.vml"/><Relationship Id="rId6" Type="http://schemas.openxmlformats.org/officeDocument/2006/relationships/tags" Target="../tags/tag1152.xml"/><Relationship Id="rId11" Type="http://schemas.openxmlformats.org/officeDocument/2006/relationships/tags" Target="../tags/tag1157.xml"/><Relationship Id="rId5" Type="http://schemas.openxmlformats.org/officeDocument/2006/relationships/tags" Target="../tags/tag1151.xml"/><Relationship Id="rId15" Type="http://schemas.openxmlformats.org/officeDocument/2006/relationships/slideLayout" Target="../slideLayouts/slideLayout10.xml"/><Relationship Id="rId10" Type="http://schemas.openxmlformats.org/officeDocument/2006/relationships/tags" Target="../tags/tag1156.xml"/><Relationship Id="rId4" Type="http://schemas.openxmlformats.org/officeDocument/2006/relationships/tags" Target="../tags/tag1150.xml"/><Relationship Id="rId9" Type="http://schemas.openxmlformats.org/officeDocument/2006/relationships/tags" Target="../tags/tag1155.xml"/><Relationship Id="rId14" Type="http://schemas.openxmlformats.org/officeDocument/2006/relationships/tags" Target="../tags/tag1160.xml"/></Relationships>
</file>

<file path=ppt/slides/_rels/slide209.xml.rels><?xml version="1.0" encoding="UTF-8" standalone="yes"?>
<Relationships xmlns="http://schemas.openxmlformats.org/package/2006/relationships"><Relationship Id="rId8" Type="http://schemas.openxmlformats.org/officeDocument/2006/relationships/tags" Target="../tags/tag1167.xml"/><Relationship Id="rId13" Type="http://schemas.openxmlformats.org/officeDocument/2006/relationships/tags" Target="../tags/tag1172.xml"/><Relationship Id="rId3" Type="http://schemas.openxmlformats.org/officeDocument/2006/relationships/tags" Target="../tags/tag1162.xml"/><Relationship Id="rId7" Type="http://schemas.openxmlformats.org/officeDocument/2006/relationships/tags" Target="../tags/tag1166.xml"/><Relationship Id="rId12" Type="http://schemas.openxmlformats.org/officeDocument/2006/relationships/tags" Target="../tags/tag1171.xml"/><Relationship Id="rId2" Type="http://schemas.openxmlformats.org/officeDocument/2006/relationships/tags" Target="../tags/tag1161.xml"/><Relationship Id="rId1" Type="http://schemas.openxmlformats.org/officeDocument/2006/relationships/vmlDrawing" Target="../drawings/vmlDrawing41.vml"/><Relationship Id="rId6" Type="http://schemas.openxmlformats.org/officeDocument/2006/relationships/tags" Target="../tags/tag1165.xml"/><Relationship Id="rId11" Type="http://schemas.openxmlformats.org/officeDocument/2006/relationships/tags" Target="../tags/tag1170.xml"/><Relationship Id="rId5" Type="http://schemas.openxmlformats.org/officeDocument/2006/relationships/tags" Target="../tags/tag1164.xml"/><Relationship Id="rId15" Type="http://schemas.openxmlformats.org/officeDocument/2006/relationships/oleObject" Target="../embeddings/oleObject45.bin"/><Relationship Id="rId10" Type="http://schemas.openxmlformats.org/officeDocument/2006/relationships/tags" Target="../tags/tag1169.xml"/><Relationship Id="rId4" Type="http://schemas.openxmlformats.org/officeDocument/2006/relationships/tags" Target="../tags/tag1163.xml"/><Relationship Id="rId9" Type="http://schemas.openxmlformats.org/officeDocument/2006/relationships/tags" Target="../tags/tag1168.xml"/><Relationship Id="rId14"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91.xml"/></Relationships>
</file>

<file path=ppt/slides/_rels/slide21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73.xml"/></Relationships>
</file>

<file path=ppt/slides/_rels/slide211.xml.rels><?xml version="1.0" encoding="UTF-8" standalone="yes"?>
<Relationships xmlns="http://schemas.openxmlformats.org/package/2006/relationships"><Relationship Id="rId3" Type="http://schemas.openxmlformats.org/officeDocument/2006/relationships/tags" Target="../tags/tag1176.xml"/><Relationship Id="rId2" Type="http://schemas.openxmlformats.org/officeDocument/2006/relationships/tags" Target="../tags/tag1175.xml"/><Relationship Id="rId1" Type="http://schemas.openxmlformats.org/officeDocument/2006/relationships/tags" Target="../tags/tag1174.xml"/><Relationship Id="rId5" Type="http://schemas.openxmlformats.org/officeDocument/2006/relationships/slideLayout" Target="../slideLayouts/slideLayout10.xml"/><Relationship Id="rId4" Type="http://schemas.openxmlformats.org/officeDocument/2006/relationships/tags" Target="../tags/tag1177.xml"/></Relationships>
</file>

<file path=ppt/slides/_rels/slide21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78.xml"/></Relationships>
</file>

<file path=ppt/slides/_rels/slide213.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79.xml"/></Relationships>
</file>

<file path=ppt/slides/_rels/slide214.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80.xml"/></Relationships>
</file>

<file path=ppt/slides/_rels/slide215.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181.xml"/></Relationships>
</file>

<file path=ppt/slides/_rels/slide216.xml.rels><?xml version="1.0" encoding="UTF-8" standalone="yes"?>
<Relationships xmlns="http://schemas.openxmlformats.org/package/2006/relationships"><Relationship Id="rId8" Type="http://schemas.openxmlformats.org/officeDocument/2006/relationships/tags" Target="../tags/tag1188.xml"/><Relationship Id="rId13" Type="http://schemas.openxmlformats.org/officeDocument/2006/relationships/tags" Target="../tags/tag1193.xml"/><Relationship Id="rId3" Type="http://schemas.openxmlformats.org/officeDocument/2006/relationships/tags" Target="../tags/tag1183.xml"/><Relationship Id="rId7" Type="http://schemas.openxmlformats.org/officeDocument/2006/relationships/tags" Target="../tags/tag1187.xml"/><Relationship Id="rId12" Type="http://schemas.openxmlformats.org/officeDocument/2006/relationships/tags" Target="../tags/tag1192.xml"/><Relationship Id="rId2" Type="http://schemas.openxmlformats.org/officeDocument/2006/relationships/tags" Target="../tags/tag1182.xml"/><Relationship Id="rId16" Type="http://schemas.openxmlformats.org/officeDocument/2006/relationships/oleObject" Target="../embeddings/oleObject46.bin"/><Relationship Id="rId1" Type="http://schemas.openxmlformats.org/officeDocument/2006/relationships/vmlDrawing" Target="../drawings/vmlDrawing42.vml"/><Relationship Id="rId6" Type="http://schemas.openxmlformats.org/officeDocument/2006/relationships/tags" Target="../tags/tag1186.xml"/><Relationship Id="rId11" Type="http://schemas.openxmlformats.org/officeDocument/2006/relationships/tags" Target="../tags/tag1191.xml"/><Relationship Id="rId5" Type="http://schemas.openxmlformats.org/officeDocument/2006/relationships/tags" Target="../tags/tag1185.xml"/><Relationship Id="rId15" Type="http://schemas.openxmlformats.org/officeDocument/2006/relationships/slideLayout" Target="../slideLayouts/slideLayout10.xml"/><Relationship Id="rId10" Type="http://schemas.openxmlformats.org/officeDocument/2006/relationships/tags" Target="../tags/tag1190.xml"/><Relationship Id="rId4" Type="http://schemas.openxmlformats.org/officeDocument/2006/relationships/tags" Target="../tags/tag1184.xml"/><Relationship Id="rId9" Type="http://schemas.openxmlformats.org/officeDocument/2006/relationships/tags" Target="../tags/tag1189.xml"/><Relationship Id="rId14" Type="http://schemas.openxmlformats.org/officeDocument/2006/relationships/tags" Target="../tags/tag1194.xml"/></Relationships>
</file>

<file path=ppt/slides/_rels/slide217.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1197.xml"/><Relationship Id="rId7" Type="http://schemas.openxmlformats.org/officeDocument/2006/relationships/tags" Target="../tags/tag1201.xml"/><Relationship Id="rId2" Type="http://schemas.openxmlformats.org/officeDocument/2006/relationships/tags" Target="../tags/tag1196.xml"/><Relationship Id="rId1" Type="http://schemas.openxmlformats.org/officeDocument/2006/relationships/tags" Target="../tags/tag1195.xml"/><Relationship Id="rId6" Type="http://schemas.openxmlformats.org/officeDocument/2006/relationships/tags" Target="../tags/tag1200.xml"/><Relationship Id="rId5" Type="http://schemas.openxmlformats.org/officeDocument/2006/relationships/tags" Target="../tags/tag1199.xml"/><Relationship Id="rId4" Type="http://schemas.openxmlformats.org/officeDocument/2006/relationships/tags" Target="../tags/tag1198.xml"/></Relationships>
</file>

<file path=ppt/slides/_rels/slide21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202.xml"/></Relationships>
</file>

<file path=ppt/slides/_rels/slide21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17.png"/><Relationship Id="rId7" Type="http://schemas.openxmlformats.org/officeDocument/2006/relationships/image" Target="../media/image28.png"/><Relationship Id="rId2" Type="http://schemas.openxmlformats.org/officeDocument/2006/relationships/slideLayout" Target="../slideLayouts/slideLayout10.xml"/><Relationship Id="rId1" Type="http://schemas.openxmlformats.org/officeDocument/2006/relationships/tags" Target="../tags/tag1203.xml"/><Relationship Id="rId6" Type="http://schemas.openxmlformats.org/officeDocument/2006/relationships/image" Target="../media/image24.png"/><Relationship Id="rId5" Type="http://schemas.openxmlformats.org/officeDocument/2006/relationships/image" Target="../media/image19.png"/><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92.xml"/></Relationships>
</file>

<file path=ppt/slides/_rels/slide22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204.xml"/></Relationships>
</file>

<file path=ppt/slides/_rels/slide221.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205.xml"/></Relationships>
</file>

<file path=ppt/slides/_rels/slide22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207.xml"/><Relationship Id="rId1" Type="http://schemas.openxmlformats.org/officeDocument/2006/relationships/tags" Target="../tags/tag1206.xml"/></Relationships>
</file>

<file path=ppt/slides/_rels/slide223.xml.rels><?xml version="1.0" encoding="UTF-8" standalone="yes"?>
<Relationships xmlns="http://schemas.openxmlformats.org/package/2006/relationships"><Relationship Id="rId3" Type="http://schemas.openxmlformats.org/officeDocument/2006/relationships/tags" Target="../tags/tag1210.xml"/><Relationship Id="rId2" Type="http://schemas.openxmlformats.org/officeDocument/2006/relationships/tags" Target="../tags/tag1209.xml"/><Relationship Id="rId1" Type="http://schemas.openxmlformats.org/officeDocument/2006/relationships/tags" Target="../tags/tag1208.xml"/><Relationship Id="rId6" Type="http://schemas.openxmlformats.org/officeDocument/2006/relationships/slideLayout" Target="../slideLayouts/slideLayout10.xml"/><Relationship Id="rId5" Type="http://schemas.openxmlformats.org/officeDocument/2006/relationships/tags" Target="../tags/tag1212.xml"/><Relationship Id="rId4" Type="http://schemas.openxmlformats.org/officeDocument/2006/relationships/tags" Target="../tags/tag1211.xml"/></Relationships>
</file>

<file path=ppt/slides/_rels/slide224.xml.rels><?xml version="1.0" encoding="UTF-8" standalone="yes"?>
<Relationships xmlns="http://schemas.openxmlformats.org/package/2006/relationships"><Relationship Id="rId8" Type="http://schemas.openxmlformats.org/officeDocument/2006/relationships/tags" Target="../tags/tag1219.xml"/><Relationship Id="rId13" Type="http://schemas.openxmlformats.org/officeDocument/2006/relationships/tags" Target="../tags/tag1224.xml"/><Relationship Id="rId18" Type="http://schemas.openxmlformats.org/officeDocument/2006/relationships/tags" Target="../tags/tag1229.xml"/><Relationship Id="rId3" Type="http://schemas.openxmlformats.org/officeDocument/2006/relationships/tags" Target="../tags/tag1214.xml"/><Relationship Id="rId21" Type="http://schemas.openxmlformats.org/officeDocument/2006/relationships/slideLayout" Target="../slideLayouts/slideLayout10.xml"/><Relationship Id="rId7" Type="http://schemas.openxmlformats.org/officeDocument/2006/relationships/tags" Target="../tags/tag1218.xml"/><Relationship Id="rId12" Type="http://schemas.openxmlformats.org/officeDocument/2006/relationships/tags" Target="../tags/tag1223.xml"/><Relationship Id="rId17" Type="http://schemas.openxmlformats.org/officeDocument/2006/relationships/tags" Target="../tags/tag1228.xml"/><Relationship Id="rId2" Type="http://schemas.openxmlformats.org/officeDocument/2006/relationships/tags" Target="../tags/tag1213.xml"/><Relationship Id="rId16" Type="http://schemas.openxmlformats.org/officeDocument/2006/relationships/tags" Target="../tags/tag1227.xml"/><Relationship Id="rId20" Type="http://schemas.openxmlformats.org/officeDocument/2006/relationships/tags" Target="../tags/tag1231.xml"/><Relationship Id="rId1" Type="http://schemas.openxmlformats.org/officeDocument/2006/relationships/vmlDrawing" Target="../drawings/vmlDrawing43.vml"/><Relationship Id="rId6" Type="http://schemas.openxmlformats.org/officeDocument/2006/relationships/tags" Target="../tags/tag1217.xml"/><Relationship Id="rId11" Type="http://schemas.openxmlformats.org/officeDocument/2006/relationships/tags" Target="../tags/tag1222.xml"/><Relationship Id="rId5" Type="http://schemas.openxmlformats.org/officeDocument/2006/relationships/tags" Target="../tags/tag1216.xml"/><Relationship Id="rId15" Type="http://schemas.openxmlformats.org/officeDocument/2006/relationships/tags" Target="../tags/tag1226.xml"/><Relationship Id="rId10" Type="http://schemas.openxmlformats.org/officeDocument/2006/relationships/tags" Target="../tags/tag1221.xml"/><Relationship Id="rId19" Type="http://schemas.openxmlformats.org/officeDocument/2006/relationships/tags" Target="../tags/tag1230.xml"/><Relationship Id="rId4" Type="http://schemas.openxmlformats.org/officeDocument/2006/relationships/tags" Target="../tags/tag1215.xml"/><Relationship Id="rId9" Type="http://schemas.openxmlformats.org/officeDocument/2006/relationships/tags" Target="../tags/tag1220.xml"/><Relationship Id="rId14" Type="http://schemas.openxmlformats.org/officeDocument/2006/relationships/tags" Target="../tags/tag1225.xml"/><Relationship Id="rId22" Type="http://schemas.openxmlformats.org/officeDocument/2006/relationships/oleObject" Target="../embeddings/oleObject47.bin"/></Relationships>
</file>

<file path=ppt/slides/_rels/slide225.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232.xml"/></Relationships>
</file>

<file path=ppt/slides/_rels/slide226.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233.xml"/></Relationships>
</file>

<file path=ppt/slides/_rels/slide227.xml.rels><?xml version="1.0" encoding="UTF-8" standalone="yes"?>
<Relationships xmlns="http://schemas.openxmlformats.org/package/2006/relationships"><Relationship Id="rId13" Type="http://schemas.openxmlformats.org/officeDocument/2006/relationships/tags" Target="../tags/tag1245.xml"/><Relationship Id="rId18" Type="http://schemas.openxmlformats.org/officeDocument/2006/relationships/tags" Target="../tags/tag1250.xml"/><Relationship Id="rId26" Type="http://schemas.openxmlformats.org/officeDocument/2006/relationships/tags" Target="../tags/tag1258.xml"/><Relationship Id="rId3" Type="http://schemas.openxmlformats.org/officeDocument/2006/relationships/tags" Target="../tags/tag1235.xml"/><Relationship Id="rId21" Type="http://schemas.openxmlformats.org/officeDocument/2006/relationships/tags" Target="../tags/tag1253.xml"/><Relationship Id="rId7" Type="http://schemas.openxmlformats.org/officeDocument/2006/relationships/tags" Target="../tags/tag1239.xml"/><Relationship Id="rId12" Type="http://schemas.openxmlformats.org/officeDocument/2006/relationships/tags" Target="../tags/tag1244.xml"/><Relationship Id="rId17" Type="http://schemas.openxmlformats.org/officeDocument/2006/relationships/tags" Target="../tags/tag1249.xml"/><Relationship Id="rId25" Type="http://schemas.openxmlformats.org/officeDocument/2006/relationships/tags" Target="../tags/tag1257.xml"/><Relationship Id="rId33" Type="http://schemas.openxmlformats.org/officeDocument/2006/relationships/image" Target="../media/image30.emf"/><Relationship Id="rId2" Type="http://schemas.openxmlformats.org/officeDocument/2006/relationships/tags" Target="../tags/tag1234.xml"/><Relationship Id="rId16" Type="http://schemas.openxmlformats.org/officeDocument/2006/relationships/tags" Target="../tags/tag1248.xml"/><Relationship Id="rId20" Type="http://schemas.openxmlformats.org/officeDocument/2006/relationships/tags" Target="../tags/tag1252.xml"/><Relationship Id="rId29" Type="http://schemas.openxmlformats.org/officeDocument/2006/relationships/notesSlide" Target="../notesSlides/notesSlide12.xml"/><Relationship Id="rId1" Type="http://schemas.openxmlformats.org/officeDocument/2006/relationships/vmlDrawing" Target="../drawings/vmlDrawing44.vml"/><Relationship Id="rId6" Type="http://schemas.openxmlformats.org/officeDocument/2006/relationships/tags" Target="../tags/tag1238.xml"/><Relationship Id="rId11" Type="http://schemas.openxmlformats.org/officeDocument/2006/relationships/tags" Target="../tags/tag1243.xml"/><Relationship Id="rId24" Type="http://schemas.openxmlformats.org/officeDocument/2006/relationships/tags" Target="../tags/tag1256.xml"/><Relationship Id="rId32" Type="http://schemas.openxmlformats.org/officeDocument/2006/relationships/oleObject" Target="../embeddings/Microsoft_Excel_97-2003_Worksheet6.xls"/><Relationship Id="rId5" Type="http://schemas.openxmlformats.org/officeDocument/2006/relationships/tags" Target="../tags/tag1237.xml"/><Relationship Id="rId15" Type="http://schemas.openxmlformats.org/officeDocument/2006/relationships/tags" Target="../tags/tag1247.xml"/><Relationship Id="rId23" Type="http://schemas.openxmlformats.org/officeDocument/2006/relationships/tags" Target="../tags/tag1255.xml"/><Relationship Id="rId28" Type="http://schemas.openxmlformats.org/officeDocument/2006/relationships/slideLayout" Target="../slideLayouts/slideLayout10.xml"/><Relationship Id="rId10" Type="http://schemas.openxmlformats.org/officeDocument/2006/relationships/tags" Target="../tags/tag1242.xml"/><Relationship Id="rId19" Type="http://schemas.openxmlformats.org/officeDocument/2006/relationships/tags" Target="../tags/tag1251.xml"/><Relationship Id="rId31" Type="http://schemas.openxmlformats.org/officeDocument/2006/relationships/oleObject" Target="../embeddings/oleObject49.bin"/><Relationship Id="rId4" Type="http://schemas.openxmlformats.org/officeDocument/2006/relationships/tags" Target="../tags/tag1236.xml"/><Relationship Id="rId9" Type="http://schemas.openxmlformats.org/officeDocument/2006/relationships/tags" Target="../tags/tag1241.xml"/><Relationship Id="rId14" Type="http://schemas.openxmlformats.org/officeDocument/2006/relationships/tags" Target="../tags/tag1246.xml"/><Relationship Id="rId22" Type="http://schemas.openxmlformats.org/officeDocument/2006/relationships/tags" Target="../tags/tag1254.xml"/><Relationship Id="rId27" Type="http://schemas.openxmlformats.org/officeDocument/2006/relationships/tags" Target="../tags/tag1259.xml"/><Relationship Id="rId30" Type="http://schemas.openxmlformats.org/officeDocument/2006/relationships/oleObject" Target="../embeddings/oleObject48.bin"/><Relationship Id="rId8" Type="http://schemas.openxmlformats.org/officeDocument/2006/relationships/tags" Target="../tags/tag1240.xml"/></Relationships>
</file>

<file path=ppt/slides/_rels/slide228.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13.xml"/><Relationship Id="rId1" Type="http://schemas.openxmlformats.org/officeDocument/2006/relationships/slideLayout" Target="../slideLayouts/slideLayout11.xml"/><Relationship Id="rId4" Type="http://schemas.openxmlformats.org/officeDocument/2006/relationships/hyperlink" Target="http://www.deloitte.com/us/about" TargetMode="Externa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93.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94.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95.xml"/></Relationships>
</file>

<file path=ppt/slides/_rels/slide26.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tags" Target="../tags/tag207.xml"/><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tags" Target="../tags/tag206.xml"/><Relationship Id="rId2" Type="http://schemas.openxmlformats.org/officeDocument/2006/relationships/tags" Target="../tags/tag196.xml"/><Relationship Id="rId1" Type="http://schemas.openxmlformats.org/officeDocument/2006/relationships/vmlDrawing" Target="../drawings/vmlDrawing9.vml"/><Relationship Id="rId6" Type="http://schemas.openxmlformats.org/officeDocument/2006/relationships/tags" Target="../tags/tag200.xml"/><Relationship Id="rId11" Type="http://schemas.openxmlformats.org/officeDocument/2006/relationships/tags" Target="../tags/tag205.xml"/><Relationship Id="rId5" Type="http://schemas.openxmlformats.org/officeDocument/2006/relationships/tags" Target="../tags/tag199.xml"/><Relationship Id="rId15" Type="http://schemas.openxmlformats.org/officeDocument/2006/relationships/oleObject" Target="../embeddings/oleObject9.bin"/><Relationship Id="rId10" Type="http://schemas.openxmlformats.org/officeDocument/2006/relationships/tags" Target="../tags/tag20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08.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09.xml"/></Relationships>
</file>

<file path=ppt/slides/_rels/slide29.xml.rels><?xml version="1.0" encoding="UTF-8" standalone="yes"?>
<Relationships xmlns="http://schemas.openxmlformats.org/package/2006/relationships"><Relationship Id="rId8" Type="http://schemas.openxmlformats.org/officeDocument/2006/relationships/tags" Target="../tags/tag216.xml"/><Relationship Id="rId3" Type="http://schemas.openxmlformats.org/officeDocument/2006/relationships/tags" Target="../tags/tag211.xml"/><Relationship Id="rId7" Type="http://schemas.openxmlformats.org/officeDocument/2006/relationships/tags" Target="../tags/tag215.xml"/><Relationship Id="rId2" Type="http://schemas.openxmlformats.org/officeDocument/2006/relationships/tags" Target="../tags/tag210.xml"/><Relationship Id="rId1" Type="http://schemas.openxmlformats.org/officeDocument/2006/relationships/vmlDrawing" Target="../drawings/vmlDrawing10.vml"/><Relationship Id="rId6" Type="http://schemas.openxmlformats.org/officeDocument/2006/relationships/tags" Target="../tags/tag214.xml"/><Relationship Id="rId5" Type="http://schemas.openxmlformats.org/officeDocument/2006/relationships/tags" Target="../tags/tag213.xml"/><Relationship Id="rId10" Type="http://schemas.openxmlformats.org/officeDocument/2006/relationships/oleObject" Target="../embeddings/oleObject10.bin"/><Relationship Id="rId4" Type="http://schemas.openxmlformats.org/officeDocument/2006/relationships/tags" Target="../tags/tag212.xml"/><Relationship Id="rId9"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6" Type="http://schemas.openxmlformats.org/officeDocument/2006/relationships/tags" Target="../tags/tag27.xml"/><Relationship Id="rId117" Type="http://schemas.openxmlformats.org/officeDocument/2006/relationships/slide" Target="slide124.xml"/><Relationship Id="rId21" Type="http://schemas.openxmlformats.org/officeDocument/2006/relationships/tags" Target="../tags/tag22.xml"/><Relationship Id="rId42" Type="http://schemas.openxmlformats.org/officeDocument/2006/relationships/tags" Target="../tags/tag43.xml"/><Relationship Id="rId47" Type="http://schemas.openxmlformats.org/officeDocument/2006/relationships/tags" Target="../tags/tag48.xml"/><Relationship Id="rId63" Type="http://schemas.openxmlformats.org/officeDocument/2006/relationships/tags" Target="../tags/tag64.xml"/><Relationship Id="rId68" Type="http://schemas.openxmlformats.org/officeDocument/2006/relationships/tags" Target="../tags/tag69.xml"/><Relationship Id="rId84" Type="http://schemas.openxmlformats.org/officeDocument/2006/relationships/slide" Target="slide151.xml"/><Relationship Id="rId89" Type="http://schemas.openxmlformats.org/officeDocument/2006/relationships/slide" Target="slide7.xml"/><Relationship Id="rId112" Type="http://schemas.openxmlformats.org/officeDocument/2006/relationships/slide" Target="slide70.xml"/><Relationship Id="rId16" Type="http://schemas.openxmlformats.org/officeDocument/2006/relationships/tags" Target="../tags/tag17.xml"/><Relationship Id="rId107" Type="http://schemas.openxmlformats.org/officeDocument/2006/relationships/slide" Target="slide73.xml"/><Relationship Id="rId11" Type="http://schemas.openxmlformats.org/officeDocument/2006/relationships/tags" Target="../tags/tag12.xml"/><Relationship Id="rId32" Type="http://schemas.openxmlformats.org/officeDocument/2006/relationships/tags" Target="../tags/tag33.xml"/><Relationship Id="rId37" Type="http://schemas.openxmlformats.org/officeDocument/2006/relationships/tags" Target="../tags/tag38.xml"/><Relationship Id="rId53" Type="http://schemas.openxmlformats.org/officeDocument/2006/relationships/tags" Target="../tags/tag54.xml"/><Relationship Id="rId58" Type="http://schemas.openxmlformats.org/officeDocument/2006/relationships/tags" Target="../tags/tag59.xml"/><Relationship Id="rId74" Type="http://schemas.openxmlformats.org/officeDocument/2006/relationships/tags" Target="../tags/tag75.xml"/><Relationship Id="rId79" Type="http://schemas.openxmlformats.org/officeDocument/2006/relationships/slide" Target="slide5.xml"/><Relationship Id="rId102" Type="http://schemas.openxmlformats.org/officeDocument/2006/relationships/slide" Target="slide49.xml"/><Relationship Id="rId5" Type="http://schemas.openxmlformats.org/officeDocument/2006/relationships/tags" Target="../tags/tag6.xml"/><Relationship Id="rId90" Type="http://schemas.openxmlformats.org/officeDocument/2006/relationships/slide" Target="slide27.xml"/><Relationship Id="rId95" Type="http://schemas.openxmlformats.org/officeDocument/2006/relationships/slide" Target="slide152.xml"/><Relationship Id="rId22" Type="http://schemas.openxmlformats.org/officeDocument/2006/relationships/tags" Target="../tags/tag23.xml"/><Relationship Id="rId27" Type="http://schemas.openxmlformats.org/officeDocument/2006/relationships/tags" Target="../tags/tag28.xml"/><Relationship Id="rId43" Type="http://schemas.openxmlformats.org/officeDocument/2006/relationships/tags" Target="../tags/tag44.xml"/><Relationship Id="rId48" Type="http://schemas.openxmlformats.org/officeDocument/2006/relationships/tags" Target="../tags/tag49.xml"/><Relationship Id="rId64" Type="http://schemas.openxmlformats.org/officeDocument/2006/relationships/tags" Target="../tags/tag65.xml"/><Relationship Id="rId69" Type="http://schemas.openxmlformats.org/officeDocument/2006/relationships/tags" Target="../tags/tag70.xml"/><Relationship Id="rId113" Type="http://schemas.openxmlformats.org/officeDocument/2006/relationships/slide" Target="slide142.xml"/><Relationship Id="rId80" Type="http://schemas.openxmlformats.org/officeDocument/2006/relationships/slide" Target="slide6.xml"/><Relationship Id="rId85" Type="http://schemas.openxmlformats.org/officeDocument/2006/relationships/slide" Target="slide111.xml"/><Relationship Id="rId12" Type="http://schemas.openxmlformats.org/officeDocument/2006/relationships/tags" Target="../tags/tag13.xml"/><Relationship Id="rId17" Type="http://schemas.openxmlformats.org/officeDocument/2006/relationships/tags" Target="../tags/tag18.xml"/><Relationship Id="rId33" Type="http://schemas.openxmlformats.org/officeDocument/2006/relationships/tags" Target="../tags/tag34.xml"/><Relationship Id="rId38" Type="http://schemas.openxmlformats.org/officeDocument/2006/relationships/tags" Target="../tags/tag39.xml"/><Relationship Id="rId59" Type="http://schemas.openxmlformats.org/officeDocument/2006/relationships/tags" Target="../tags/tag60.xml"/><Relationship Id="rId103" Type="http://schemas.openxmlformats.org/officeDocument/2006/relationships/slide" Target="slide64.xml"/><Relationship Id="rId108" Type="http://schemas.openxmlformats.org/officeDocument/2006/relationships/slide" Target="slide134.xml"/><Relationship Id="rId54" Type="http://schemas.openxmlformats.org/officeDocument/2006/relationships/tags" Target="../tags/tag55.xml"/><Relationship Id="rId70" Type="http://schemas.openxmlformats.org/officeDocument/2006/relationships/tags" Target="../tags/tag71.xml"/><Relationship Id="rId75" Type="http://schemas.openxmlformats.org/officeDocument/2006/relationships/tags" Target="../tags/tag76.xml"/><Relationship Id="rId91" Type="http://schemas.openxmlformats.org/officeDocument/2006/relationships/slide" Target="slide18.xml"/><Relationship Id="rId96" Type="http://schemas.openxmlformats.org/officeDocument/2006/relationships/slide" Target="slide168.xml"/><Relationship Id="rId1" Type="http://schemas.openxmlformats.org/officeDocument/2006/relationships/vmlDrawing" Target="../drawings/vmlDrawing2.vml"/><Relationship Id="rId6" Type="http://schemas.openxmlformats.org/officeDocument/2006/relationships/tags" Target="../tags/tag7.xml"/><Relationship Id="rId23" Type="http://schemas.openxmlformats.org/officeDocument/2006/relationships/tags" Target="../tags/tag24.xml"/><Relationship Id="rId28" Type="http://schemas.openxmlformats.org/officeDocument/2006/relationships/tags" Target="../tags/tag29.xml"/><Relationship Id="rId49" Type="http://schemas.openxmlformats.org/officeDocument/2006/relationships/tags" Target="../tags/tag50.xml"/><Relationship Id="rId114" Type="http://schemas.openxmlformats.org/officeDocument/2006/relationships/slide" Target="slide82.xml"/><Relationship Id="rId10" Type="http://schemas.openxmlformats.org/officeDocument/2006/relationships/tags" Target="../tags/tag11.xml"/><Relationship Id="rId31" Type="http://schemas.openxmlformats.org/officeDocument/2006/relationships/tags" Target="../tags/tag32.xml"/><Relationship Id="rId44" Type="http://schemas.openxmlformats.org/officeDocument/2006/relationships/tags" Target="../tags/tag45.xml"/><Relationship Id="rId52" Type="http://schemas.openxmlformats.org/officeDocument/2006/relationships/tags" Target="../tags/tag53.xml"/><Relationship Id="rId60" Type="http://schemas.openxmlformats.org/officeDocument/2006/relationships/tags" Target="../tags/tag61.xml"/><Relationship Id="rId65" Type="http://schemas.openxmlformats.org/officeDocument/2006/relationships/tags" Target="../tags/tag66.xml"/><Relationship Id="rId73" Type="http://schemas.openxmlformats.org/officeDocument/2006/relationships/tags" Target="../tags/tag74.xml"/><Relationship Id="rId78" Type="http://schemas.openxmlformats.org/officeDocument/2006/relationships/oleObject" Target="../embeddings/oleObject2.bin"/><Relationship Id="rId81" Type="http://schemas.openxmlformats.org/officeDocument/2006/relationships/slide" Target="slide15.xml"/><Relationship Id="rId86" Type="http://schemas.openxmlformats.org/officeDocument/2006/relationships/slide" Target="slide112.xml"/><Relationship Id="rId94" Type="http://schemas.openxmlformats.org/officeDocument/2006/relationships/slide" Target="slide79.xml"/><Relationship Id="rId99" Type="http://schemas.openxmlformats.org/officeDocument/2006/relationships/slide" Target="slide75.xml"/><Relationship Id="rId101" Type="http://schemas.openxmlformats.org/officeDocument/2006/relationships/slide" Target="slide12.xml"/><Relationship Id="rId4" Type="http://schemas.openxmlformats.org/officeDocument/2006/relationships/tags" Target="../tags/tag5.xml"/><Relationship Id="rId9" Type="http://schemas.openxmlformats.org/officeDocument/2006/relationships/tags" Target="../tags/tag10.xml"/><Relationship Id="rId13" Type="http://schemas.openxmlformats.org/officeDocument/2006/relationships/tags" Target="../tags/tag14.xml"/><Relationship Id="rId18" Type="http://schemas.openxmlformats.org/officeDocument/2006/relationships/tags" Target="../tags/tag19.xml"/><Relationship Id="rId39" Type="http://schemas.openxmlformats.org/officeDocument/2006/relationships/tags" Target="../tags/tag40.xml"/><Relationship Id="rId109" Type="http://schemas.openxmlformats.org/officeDocument/2006/relationships/slide" Target="slide137.xml"/><Relationship Id="rId34" Type="http://schemas.openxmlformats.org/officeDocument/2006/relationships/tags" Target="../tags/tag35.xml"/><Relationship Id="rId50" Type="http://schemas.openxmlformats.org/officeDocument/2006/relationships/tags" Target="../tags/tag51.xml"/><Relationship Id="rId55" Type="http://schemas.openxmlformats.org/officeDocument/2006/relationships/tags" Target="../tags/tag56.xml"/><Relationship Id="rId76" Type="http://schemas.openxmlformats.org/officeDocument/2006/relationships/tags" Target="../tags/tag77.xml"/><Relationship Id="rId97" Type="http://schemas.openxmlformats.org/officeDocument/2006/relationships/slide" Target="slide84.xml"/><Relationship Id="rId104" Type="http://schemas.openxmlformats.org/officeDocument/2006/relationships/slide" Target="slide176.xml"/><Relationship Id="rId7" Type="http://schemas.openxmlformats.org/officeDocument/2006/relationships/tags" Target="../tags/tag8.xml"/><Relationship Id="rId71" Type="http://schemas.openxmlformats.org/officeDocument/2006/relationships/tags" Target="../tags/tag72.xml"/><Relationship Id="rId92" Type="http://schemas.openxmlformats.org/officeDocument/2006/relationships/slide" Target="slide43.xml"/><Relationship Id="rId2" Type="http://schemas.openxmlformats.org/officeDocument/2006/relationships/tags" Target="../tags/tag3.xml"/><Relationship Id="rId29" Type="http://schemas.openxmlformats.org/officeDocument/2006/relationships/tags" Target="../tags/tag30.xml"/><Relationship Id="rId24" Type="http://schemas.openxmlformats.org/officeDocument/2006/relationships/tags" Target="../tags/tag25.xml"/><Relationship Id="rId40" Type="http://schemas.openxmlformats.org/officeDocument/2006/relationships/tags" Target="../tags/tag41.xml"/><Relationship Id="rId45" Type="http://schemas.openxmlformats.org/officeDocument/2006/relationships/tags" Target="../tags/tag46.xml"/><Relationship Id="rId66" Type="http://schemas.openxmlformats.org/officeDocument/2006/relationships/tags" Target="../tags/tag67.xml"/><Relationship Id="rId87" Type="http://schemas.openxmlformats.org/officeDocument/2006/relationships/slide" Target="slide63.xml"/><Relationship Id="rId110" Type="http://schemas.openxmlformats.org/officeDocument/2006/relationships/slide" Target="slide83.xml"/><Relationship Id="rId115" Type="http://schemas.openxmlformats.org/officeDocument/2006/relationships/slide" Target="slide80.xml"/><Relationship Id="rId61" Type="http://schemas.openxmlformats.org/officeDocument/2006/relationships/tags" Target="../tags/tag62.xml"/><Relationship Id="rId82" Type="http://schemas.openxmlformats.org/officeDocument/2006/relationships/slide" Target="slide59.xml"/><Relationship Id="rId19" Type="http://schemas.openxmlformats.org/officeDocument/2006/relationships/tags" Target="../tags/tag20.xml"/><Relationship Id="rId14" Type="http://schemas.openxmlformats.org/officeDocument/2006/relationships/tags" Target="../tags/tag15.xml"/><Relationship Id="rId30" Type="http://schemas.openxmlformats.org/officeDocument/2006/relationships/tags" Target="../tags/tag31.xml"/><Relationship Id="rId35" Type="http://schemas.openxmlformats.org/officeDocument/2006/relationships/tags" Target="../tags/tag36.xml"/><Relationship Id="rId56" Type="http://schemas.openxmlformats.org/officeDocument/2006/relationships/tags" Target="../tags/tag57.xml"/><Relationship Id="rId77" Type="http://schemas.openxmlformats.org/officeDocument/2006/relationships/slideLayout" Target="../slideLayouts/slideLayout10.xml"/><Relationship Id="rId100" Type="http://schemas.openxmlformats.org/officeDocument/2006/relationships/slide" Target="slide77.xml"/><Relationship Id="rId105" Type="http://schemas.openxmlformats.org/officeDocument/2006/relationships/slide" Target="slide132.xml"/><Relationship Id="rId8" Type="http://schemas.openxmlformats.org/officeDocument/2006/relationships/tags" Target="../tags/tag9.xml"/><Relationship Id="rId51" Type="http://schemas.openxmlformats.org/officeDocument/2006/relationships/tags" Target="../tags/tag52.xml"/><Relationship Id="rId72" Type="http://schemas.openxmlformats.org/officeDocument/2006/relationships/tags" Target="../tags/tag73.xml"/><Relationship Id="rId93" Type="http://schemas.openxmlformats.org/officeDocument/2006/relationships/slide" Target="slide44.xml"/><Relationship Id="rId98" Type="http://schemas.openxmlformats.org/officeDocument/2006/relationships/slide" Target="slide89.xml"/><Relationship Id="rId3" Type="http://schemas.openxmlformats.org/officeDocument/2006/relationships/tags" Target="../tags/tag4.xml"/><Relationship Id="rId25" Type="http://schemas.openxmlformats.org/officeDocument/2006/relationships/tags" Target="../tags/tag26.xml"/><Relationship Id="rId46" Type="http://schemas.openxmlformats.org/officeDocument/2006/relationships/tags" Target="../tags/tag47.xml"/><Relationship Id="rId67" Type="http://schemas.openxmlformats.org/officeDocument/2006/relationships/tags" Target="../tags/tag68.xml"/><Relationship Id="rId116" Type="http://schemas.openxmlformats.org/officeDocument/2006/relationships/slide" Target="slide78.xml"/><Relationship Id="rId20" Type="http://schemas.openxmlformats.org/officeDocument/2006/relationships/tags" Target="../tags/tag21.xml"/><Relationship Id="rId41" Type="http://schemas.openxmlformats.org/officeDocument/2006/relationships/tags" Target="../tags/tag42.xml"/><Relationship Id="rId62" Type="http://schemas.openxmlformats.org/officeDocument/2006/relationships/tags" Target="../tags/tag63.xml"/><Relationship Id="rId83" Type="http://schemas.openxmlformats.org/officeDocument/2006/relationships/slide" Target="slide58.xml"/><Relationship Id="rId88" Type="http://schemas.openxmlformats.org/officeDocument/2006/relationships/slide" Target="slide69.xml"/><Relationship Id="rId111" Type="http://schemas.openxmlformats.org/officeDocument/2006/relationships/slide" Target="slide93.xml"/><Relationship Id="rId15" Type="http://schemas.openxmlformats.org/officeDocument/2006/relationships/tags" Target="../tags/tag16.xml"/><Relationship Id="rId36" Type="http://schemas.openxmlformats.org/officeDocument/2006/relationships/tags" Target="../tags/tag37.xml"/><Relationship Id="rId57" Type="http://schemas.openxmlformats.org/officeDocument/2006/relationships/tags" Target="../tags/tag58.xml"/><Relationship Id="rId106" Type="http://schemas.openxmlformats.org/officeDocument/2006/relationships/slide" Target="slide85.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17.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18.xml"/></Relationships>
</file>

<file path=ppt/slides/_rels/slide32.xml.rels><?xml version="1.0" encoding="UTF-8" standalone="yes"?>
<Relationships xmlns="http://schemas.openxmlformats.org/package/2006/relationships"><Relationship Id="rId8" Type="http://schemas.openxmlformats.org/officeDocument/2006/relationships/tags" Target="../tags/tag225.xml"/><Relationship Id="rId3" Type="http://schemas.openxmlformats.org/officeDocument/2006/relationships/tags" Target="../tags/tag220.xml"/><Relationship Id="rId7" Type="http://schemas.openxmlformats.org/officeDocument/2006/relationships/tags" Target="../tags/tag224.xml"/><Relationship Id="rId2" Type="http://schemas.openxmlformats.org/officeDocument/2006/relationships/tags" Target="../tags/tag219.xml"/><Relationship Id="rId1" Type="http://schemas.openxmlformats.org/officeDocument/2006/relationships/vmlDrawing" Target="../drawings/vmlDrawing11.vml"/><Relationship Id="rId6" Type="http://schemas.openxmlformats.org/officeDocument/2006/relationships/tags" Target="../tags/tag223.xml"/><Relationship Id="rId11" Type="http://schemas.openxmlformats.org/officeDocument/2006/relationships/oleObject" Target="../embeddings/oleObject11.bin"/><Relationship Id="rId5" Type="http://schemas.openxmlformats.org/officeDocument/2006/relationships/tags" Target="../tags/tag222.xml"/><Relationship Id="rId10" Type="http://schemas.openxmlformats.org/officeDocument/2006/relationships/slideLayout" Target="../slideLayouts/slideLayout10.xml"/><Relationship Id="rId4" Type="http://schemas.openxmlformats.org/officeDocument/2006/relationships/tags" Target="../tags/tag221.xml"/><Relationship Id="rId9" Type="http://schemas.openxmlformats.org/officeDocument/2006/relationships/tags" Target="../tags/tag226.xml"/></Relationships>
</file>

<file path=ppt/slides/_rels/slide33.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228.xml"/><Relationship Id="rId7" Type="http://schemas.openxmlformats.org/officeDocument/2006/relationships/tags" Target="../tags/tag232.xml"/><Relationship Id="rId2" Type="http://schemas.openxmlformats.org/officeDocument/2006/relationships/tags" Target="../tags/tag227.xml"/><Relationship Id="rId1" Type="http://schemas.openxmlformats.org/officeDocument/2006/relationships/vmlDrawing" Target="../drawings/vmlDrawing12.vml"/><Relationship Id="rId6" Type="http://schemas.openxmlformats.org/officeDocument/2006/relationships/tags" Target="../tags/tag231.xml"/><Relationship Id="rId5" Type="http://schemas.openxmlformats.org/officeDocument/2006/relationships/tags" Target="../tags/tag230.xml"/><Relationship Id="rId4" Type="http://schemas.openxmlformats.org/officeDocument/2006/relationships/tags" Target="../tags/tag229.xml"/><Relationship Id="rId9" Type="http://schemas.openxmlformats.org/officeDocument/2006/relationships/oleObject" Target="../embeddings/oleObject12.bin"/></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33.xml"/></Relationships>
</file>

<file path=ppt/slides/_rels/slide35.xml.rels><?xml version="1.0" encoding="UTF-8" standalone="yes"?>
<Relationships xmlns="http://schemas.openxmlformats.org/package/2006/relationships"><Relationship Id="rId8" Type="http://schemas.openxmlformats.org/officeDocument/2006/relationships/tags" Target="../tags/tag241.xml"/><Relationship Id="rId3" Type="http://schemas.openxmlformats.org/officeDocument/2006/relationships/tags" Target="../tags/tag236.xml"/><Relationship Id="rId7" Type="http://schemas.openxmlformats.org/officeDocument/2006/relationships/tags" Target="../tags/tag240.xml"/><Relationship Id="rId12" Type="http://schemas.openxmlformats.org/officeDocument/2006/relationships/slideLayout" Target="../slideLayouts/slideLayout10.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tags" Target="../tags/tag239.xml"/><Relationship Id="rId11" Type="http://schemas.openxmlformats.org/officeDocument/2006/relationships/tags" Target="../tags/tag244.xml"/><Relationship Id="rId5" Type="http://schemas.openxmlformats.org/officeDocument/2006/relationships/tags" Target="../tags/tag238.xml"/><Relationship Id="rId10" Type="http://schemas.openxmlformats.org/officeDocument/2006/relationships/tags" Target="../tags/tag243.xml"/><Relationship Id="rId4" Type="http://schemas.openxmlformats.org/officeDocument/2006/relationships/tags" Target="../tags/tag237.xml"/><Relationship Id="rId9" Type="http://schemas.openxmlformats.org/officeDocument/2006/relationships/tags" Target="../tags/tag242.xml"/></Relationships>
</file>

<file path=ppt/slides/_rels/slide36.xml.rels><?xml version="1.0" encoding="UTF-8" standalone="yes"?>
<Relationships xmlns="http://schemas.openxmlformats.org/package/2006/relationships"><Relationship Id="rId8" Type="http://schemas.openxmlformats.org/officeDocument/2006/relationships/tags" Target="../tags/tag251.xml"/><Relationship Id="rId3" Type="http://schemas.openxmlformats.org/officeDocument/2006/relationships/tags" Target="../tags/tag246.xml"/><Relationship Id="rId7" Type="http://schemas.openxmlformats.org/officeDocument/2006/relationships/tags" Target="../tags/tag250.xml"/><Relationship Id="rId2" Type="http://schemas.openxmlformats.org/officeDocument/2006/relationships/tags" Target="../tags/tag245.xml"/><Relationship Id="rId1" Type="http://schemas.openxmlformats.org/officeDocument/2006/relationships/vmlDrawing" Target="../drawings/vmlDrawing13.vml"/><Relationship Id="rId6" Type="http://schemas.openxmlformats.org/officeDocument/2006/relationships/tags" Target="../tags/tag249.xml"/><Relationship Id="rId5" Type="http://schemas.openxmlformats.org/officeDocument/2006/relationships/tags" Target="../tags/tag248.xml"/><Relationship Id="rId10" Type="http://schemas.openxmlformats.org/officeDocument/2006/relationships/oleObject" Target="../embeddings/oleObject13.bin"/><Relationship Id="rId4" Type="http://schemas.openxmlformats.org/officeDocument/2006/relationships/tags" Target="../tags/tag247.xml"/><Relationship Id="rId9"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8" Type="http://schemas.openxmlformats.org/officeDocument/2006/relationships/tags" Target="../tags/tag258.xml"/><Relationship Id="rId3" Type="http://schemas.openxmlformats.org/officeDocument/2006/relationships/tags" Target="../tags/tag253.xml"/><Relationship Id="rId7" Type="http://schemas.openxmlformats.org/officeDocument/2006/relationships/tags" Target="../tags/tag257.xml"/><Relationship Id="rId2" Type="http://schemas.openxmlformats.org/officeDocument/2006/relationships/tags" Target="../tags/tag252.xml"/><Relationship Id="rId1" Type="http://schemas.openxmlformats.org/officeDocument/2006/relationships/vmlDrawing" Target="../drawings/vmlDrawing14.vml"/><Relationship Id="rId6" Type="http://schemas.openxmlformats.org/officeDocument/2006/relationships/tags" Target="../tags/tag256.xml"/><Relationship Id="rId5" Type="http://schemas.openxmlformats.org/officeDocument/2006/relationships/tags" Target="../tags/tag255.xml"/><Relationship Id="rId10" Type="http://schemas.openxmlformats.org/officeDocument/2006/relationships/oleObject" Target="../embeddings/oleObject14.bin"/><Relationship Id="rId4" Type="http://schemas.openxmlformats.org/officeDocument/2006/relationships/tags" Target="../tags/tag254.xml"/><Relationship Id="rId9"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8" Type="http://schemas.openxmlformats.org/officeDocument/2006/relationships/tags" Target="../tags/tag265.xml"/><Relationship Id="rId3" Type="http://schemas.openxmlformats.org/officeDocument/2006/relationships/tags" Target="../tags/tag260.xml"/><Relationship Id="rId7" Type="http://schemas.openxmlformats.org/officeDocument/2006/relationships/tags" Target="../tags/tag264.xml"/><Relationship Id="rId2" Type="http://schemas.openxmlformats.org/officeDocument/2006/relationships/tags" Target="../tags/tag259.xml"/><Relationship Id="rId1" Type="http://schemas.openxmlformats.org/officeDocument/2006/relationships/vmlDrawing" Target="../drawings/vmlDrawing15.vml"/><Relationship Id="rId6" Type="http://schemas.openxmlformats.org/officeDocument/2006/relationships/tags" Target="../tags/tag263.xml"/><Relationship Id="rId11" Type="http://schemas.openxmlformats.org/officeDocument/2006/relationships/oleObject" Target="../embeddings/oleObject15.bin"/><Relationship Id="rId5" Type="http://schemas.openxmlformats.org/officeDocument/2006/relationships/tags" Target="../tags/tag262.xml"/><Relationship Id="rId10" Type="http://schemas.openxmlformats.org/officeDocument/2006/relationships/slideLayout" Target="../slideLayouts/slideLayout10.xml"/><Relationship Id="rId4" Type="http://schemas.openxmlformats.org/officeDocument/2006/relationships/tags" Target="../tags/tag261.xml"/><Relationship Id="rId9" Type="http://schemas.openxmlformats.org/officeDocument/2006/relationships/tags" Target="../tags/tag266.xml"/></Relationships>
</file>

<file path=ppt/slides/_rels/slide39.xml.rels><?xml version="1.0" encoding="UTF-8" standalone="yes"?>
<Relationships xmlns="http://schemas.openxmlformats.org/package/2006/relationships"><Relationship Id="rId3" Type="http://schemas.openxmlformats.org/officeDocument/2006/relationships/tags" Target="../tags/tag269.xml"/><Relationship Id="rId2" Type="http://schemas.openxmlformats.org/officeDocument/2006/relationships/tags" Target="../tags/tag268.xml"/><Relationship Id="rId1" Type="http://schemas.openxmlformats.org/officeDocument/2006/relationships/tags" Target="../tags/tag267.xml"/><Relationship Id="rId4"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3" Type="http://schemas.openxmlformats.org/officeDocument/2006/relationships/tags" Target="../tags/tag89.xml"/><Relationship Id="rId18" Type="http://schemas.openxmlformats.org/officeDocument/2006/relationships/tags" Target="../tags/tag94.xml"/><Relationship Id="rId26" Type="http://schemas.openxmlformats.org/officeDocument/2006/relationships/tags" Target="../tags/tag102.xml"/><Relationship Id="rId39" Type="http://schemas.openxmlformats.org/officeDocument/2006/relationships/tags" Target="../tags/tag115.xml"/><Relationship Id="rId21" Type="http://schemas.openxmlformats.org/officeDocument/2006/relationships/tags" Target="../tags/tag97.xml"/><Relationship Id="rId34" Type="http://schemas.openxmlformats.org/officeDocument/2006/relationships/tags" Target="../tags/tag110.xml"/><Relationship Id="rId42" Type="http://schemas.openxmlformats.org/officeDocument/2006/relationships/tags" Target="../tags/tag118.xml"/><Relationship Id="rId47" Type="http://schemas.openxmlformats.org/officeDocument/2006/relationships/tags" Target="../tags/tag123.xml"/><Relationship Id="rId50" Type="http://schemas.openxmlformats.org/officeDocument/2006/relationships/tags" Target="../tags/tag126.xml"/><Relationship Id="rId55" Type="http://schemas.openxmlformats.org/officeDocument/2006/relationships/oleObject" Target="../embeddings/oleObject3.bin"/><Relationship Id="rId7" Type="http://schemas.openxmlformats.org/officeDocument/2006/relationships/tags" Target="../tags/tag83.xml"/><Relationship Id="rId2" Type="http://schemas.openxmlformats.org/officeDocument/2006/relationships/tags" Target="../tags/tag78.xml"/><Relationship Id="rId16" Type="http://schemas.openxmlformats.org/officeDocument/2006/relationships/tags" Target="../tags/tag92.xml"/><Relationship Id="rId29" Type="http://schemas.openxmlformats.org/officeDocument/2006/relationships/tags" Target="../tags/tag105.xml"/><Relationship Id="rId11" Type="http://schemas.openxmlformats.org/officeDocument/2006/relationships/tags" Target="../tags/tag87.xml"/><Relationship Id="rId24" Type="http://schemas.openxmlformats.org/officeDocument/2006/relationships/tags" Target="../tags/tag100.xml"/><Relationship Id="rId32" Type="http://schemas.openxmlformats.org/officeDocument/2006/relationships/tags" Target="../tags/tag108.xml"/><Relationship Id="rId37" Type="http://schemas.openxmlformats.org/officeDocument/2006/relationships/tags" Target="../tags/tag113.xml"/><Relationship Id="rId40" Type="http://schemas.openxmlformats.org/officeDocument/2006/relationships/tags" Target="../tags/tag116.xml"/><Relationship Id="rId45" Type="http://schemas.openxmlformats.org/officeDocument/2006/relationships/tags" Target="../tags/tag121.xml"/><Relationship Id="rId53" Type="http://schemas.openxmlformats.org/officeDocument/2006/relationships/tags" Target="../tags/tag129.xml"/><Relationship Id="rId5" Type="http://schemas.openxmlformats.org/officeDocument/2006/relationships/tags" Target="../tags/tag81.xml"/><Relationship Id="rId10" Type="http://schemas.openxmlformats.org/officeDocument/2006/relationships/tags" Target="../tags/tag86.xml"/><Relationship Id="rId19" Type="http://schemas.openxmlformats.org/officeDocument/2006/relationships/tags" Target="../tags/tag95.xml"/><Relationship Id="rId31" Type="http://schemas.openxmlformats.org/officeDocument/2006/relationships/tags" Target="../tags/tag107.xml"/><Relationship Id="rId44" Type="http://schemas.openxmlformats.org/officeDocument/2006/relationships/tags" Target="../tags/tag120.xml"/><Relationship Id="rId52" Type="http://schemas.openxmlformats.org/officeDocument/2006/relationships/tags" Target="../tags/tag128.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tags" Target="../tags/tag98.xml"/><Relationship Id="rId27" Type="http://schemas.openxmlformats.org/officeDocument/2006/relationships/tags" Target="../tags/tag103.xml"/><Relationship Id="rId30" Type="http://schemas.openxmlformats.org/officeDocument/2006/relationships/tags" Target="../tags/tag106.xml"/><Relationship Id="rId35" Type="http://schemas.openxmlformats.org/officeDocument/2006/relationships/tags" Target="../tags/tag111.xml"/><Relationship Id="rId43" Type="http://schemas.openxmlformats.org/officeDocument/2006/relationships/tags" Target="../tags/tag119.xml"/><Relationship Id="rId48" Type="http://schemas.openxmlformats.org/officeDocument/2006/relationships/tags" Target="../tags/tag124.xml"/><Relationship Id="rId8" Type="http://schemas.openxmlformats.org/officeDocument/2006/relationships/tags" Target="../tags/tag84.xml"/><Relationship Id="rId51" Type="http://schemas.openxmlformats.org/officeDocument/2006/relationships/tags" Target="../tags/tag127.xml"/><Relationship Id="rId3" Type="http://schemas.openxmlformats.org/officeDocument/2006/relationships/tags" Target="../tags/tag79.xml"/><Relationship Id="rId12" Type="http://schemas.openxmlformats.org/officeDocument/2006/relationships/tags" Target="../tags/tag88.xml"/><Relationship Id="rId17" Type="http://schemas.openxmlformats.org/officeDocument/2006/relationships/tags" Target="../tags/tag93.xml"/><Relationship Id="rId25" Type="http://schemas.openxmlformats.org/officeDocument/2006/relationships/tags" Target="../tags/tag101.xml"/><Relationship Id="rId33" Type="http://schemas.openxmlformats.org/officeDocument/2006/relationships/tags" Target="../tags/tag109.xml"/><Relationship Id="rId38" Type="http://schemas.openxmlformats.org/officeDocument/2006/relationships/tags" Target="../tags/tag114.xml"/><Relationship Id="rId46" Type="http://schemas.openxmlformats.org/officeDocument/2006/relationships/tags" Target="../tags/tag122.xml"/><Relationship Id="rId20" Type="http://schemas.openxmlformats.org/officeDocument/2006/relationships/tags" Target="../tags/tag96.xml"/><Relationship Id="rId41" Type="http://schemas.openxmlformats.org/officeDocument/2006/relationships/tags" Target="../tags/tag117.xml"/><Relationship Id="rId54" Type="http://schemas.openxmlformats.org/officeDocument/2006/relationships/slideLayout" Target="../slideLayouts/slideLayout10.xml"/><Relationship Id="rId1" Type="http://schemas.openxmlformats.org/officeDocument/2006/relationships/vmlDrawing" Target="../drawings/vmlDrawing3.vml"/><Relationship Id="rId6" Type="http://schemas.openxmlformats.org/officeDocument/2006/relationships/tags" Target="../tags/tag82.xml"/><Relationship Id="rId15" Type="http://schemas.openxmlformats.org/officeDocument/2006/relationships/tags" Target="../tags/tag91.xml"/><Relationship Id="rId23" Type="http://schemas.openxmlformats.org/officeDocument/2006/relationships/tags" Target="../tags/tag99.xml"/><Relationship Id="rId28" Type="http://schemas.openxmlformats.org/officeDocument/2006/relationships/tags" Target="../tags/tag104.xml"/><Relationship Id="rId36" Type="http://schemas.openxmlformats.org/officeDocument/2006/relationships/tags" Target="../tags/tag112.xml"/><Relationship Id="rId49" Type="http://schemas.openxmlformats.org/officeDocument/2006/relationships/tags" Target="../tags/tag125.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70.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71.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72.xml"/></Relationships>
</file>

<file path=ppt/slides/_rels/slide43.xml.rels><?xml version="1.0" encoding="UTF-8" standalone="yes"?>
<Relationships xmlns="http://schemas.openxmlformats.org/package/2006/relationships"><Relationship Id="rId3" Type="http://schemas.openxmlformats.org/officeDocument/2006/relationships/tags" Target="../tags/tag274.xml"/><Relationship Id="rId7" Type="http://schemas.openxmlformats.org/officeDocument/2006/relationships/oleObject" Target="../embeddings/oleObject16.bin"/><Relationship Id="rId2" Type="http://schemas.openxmlformats.org/officeDocument/2006/relationships/tags" Target="../tags/tag273.xml"/><Relationship Id="rId1" Type="http://schemas.openxmlformats.org/officeDocument/2006/relationships/vmlDrawing" Target="../drawings/vmlDrawing16.vml"/><Relationship Id="rId6" Type="http://schemas.openxmlformats.org/officeDocument/2006/relationships/notesSlide" Target="../notesSlides/notesSlide6.xml"/><Relationship Id="rId5" Type="http://schemas.openxmlformats.org/officeDocument/2006/relationships/slideLayout" Target="../slideLayouts/slideLayout10.xml"/><Relationship Id="rId4" Type="http://schemas.openxmlformats.org/officeDocument/2006/relationships/tags" Target="../tags/tag275.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76.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77.xml"/></Relationships>
</file>

<file path=ppt/slides/_rels/slide46.xml.rels><?xml version="1.0" encoding="UTF-8" standalone="yes"?>
<Relationships xmlns="http://schemas.openxmlformats.org/package/2006/relationships"><Relationship Id="rId8" Type="http://schemas.openxmlformats.org/officeDocument/2006/relationships/tags" Target="../tags/tag284.xml"/><Relationship Id="rId13" Type="http://schemas.openxmlformats.org/officeDocument/2006/relationships/tags" Target="../tags/tag289.xml"/><Relationship Id="rId18" Type="http://schemas.openxmlformats.org/officeDocument/2006/relationships/tags" Target="../tags/tag294.xml"/><Relationship Id="rId26" Type="http://schemas.openxmlformats.org/officeDocument/2006/relationships/oleObject" Target="../embeddings/oleObject17.bin"/><Relationship Id="rId3" Type="http://schemas.openxmlformats.org/officeDocument/2006/relationships/tags" Target="../tags/tag279.xml"/><Relationship Id="rId21" Type="http://schemas.openxmlformats.org/officeDocument/2006/relationships/tags" Target="../tags/tag297.xml"/><Relationship Id="rId7" Type="http://schemas.openxmlformats.org/officeDocument/2006/relationships/tags" Target="../tags/tag283.xml"/><Relationship Id="rId12" Type="http://schemas.openxmlformats.org/officeDocument/2006/relationships/tags" Target="../tags/tag288.xml"/><Relationship Id="rId17" Type="http://schemas.openxmlformats.org/officeDocument/2006/relationships/tags" Target="../tags/tag293.xml"/><Relationship Id="rId25" Type="http://schemas.openxmlformats.org/officeDocument/2006/relationships/slideLayout" Target="../slideLayouts/slideLayout10.xml"/><Relationship Id="rId2" Type="http://schemas.openxmlformats.org/officeDocument/2006/relationships/tags" Target="../tags/tag278.xml"/><Relationship Id="rId16" Type="http://schemas.openxmlformats.org/officeDocument/2006/relationships/tags" Target="../tags/tag292.xml"/><Relationship Id="rId20" Type="http://schemas.openxmlformats.org/officeDocument/2006/relationships/tags" Target="../tags/tag296.xml"/><Relationship Id="rId1" Type="http://schemas.openxmlformats.org/officeDocument/2006/relationships/vmlDrawing" Target="../drawings/vmlDrawing17.vml"/><Relationship Id="rId6" Type="http://schemas.openxmlformats.org/officeDocument/2006/relationships/tags" Target="../tags/tag282.xml"/><Relationship Id="rId11" Type="http://schemas.openxmlformats.org/officeDocument/2006/relationships/tags" Target="../tags/tag287.xml"/><Relationship Id="rId24" Type="http://schemas.openxmlformats.org/officeDocument/2006/relationships/tags" Target="../tags/tag300.xml"/><Relationship Id="rId5" Type="http://schemas.openxmlformats.org/officeDocument/2006/relationships/tags" Target="../tags/tag281.xml"/><Relationship Id="rId15" Type="http://schemas.openxmlformats.org/officeDocument/2006/relationships/tags" Target="../tags/tag291.xml"/><Relationship Id="rId23" Type="http://schemas.openxmlformats.org/officeDocument/2006/relationships/tags" Target="../tags/tag299.xml"/><Relationship Id="rId10" Type="http://schemas.openxmlformats.org/officeDocument/2006/relationships/tags" Target="../tags/tag286.xml"/><Relationship Id="rId19" Type="http://schemas.openxmlformats.org/officeDocument/2006/relationships/tags" Target="../tags/tag295.xml"/><Relationship Id="rId4" Type="http://schemas.openxmlformats.org/officeDocument/2006/relationships/tags" Target="../tags/tag280.xml"/><Relationship Id="rId9" Type="http://schemas.openxmlformats.org/officeDocument/2006/relationships/tags" Target="../tags/tag285.xml"/><Relationship Id="rId14" Type="http://schemas.openxmlformats.org/officeDocument/2006/relationships/tags" Target="../tags/tag290.xml"/><Relationship Id="rId22" Type="http://schemas.openxmlformats.org/officeDocument/2006/relationships/tags" Target="../tags/tag298.xml"/></Relationships>
</file>

<file path=ppt/slides/_rels/slide47.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301.xml"/></Relationships>
</file>

<file path=ppt/slides/_rels/slide4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302.xml"/></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303.xml"/></Relationships>
</file>

<file path=ppt/slides/_rels/slide5.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oleObject" Target="../embeddings/oleObject4.bin"/><Relationship Id="rId2" Type="http://schemas.openxmlformats.org/officeDocument/2006/relationships/tags" Target="../tags/tag130.xml"/><Relationship Id="rId1" Type="http://schemas.openxmlformats.org/officeDocument/2006/relationships/vmlDrawing" Target="../drawings/vmlDrawing4.vml"/><Relationship Id="rId6" Type="http://schemas.openxmlformats.org/officeDocument/2006/relationships/notesSlide" Target="../notesSlides/notesSlide3.xml"/><Relationship Id="rId5" Type="http://schemas.openxmlformats.org/officeDocument/2006/relationships/slideLayout" Target="../slideLayouts/slideLayout10.xml"/><Relationship Id="rId4" Type="http://schemas.openxmlformats.org/officeDocument/2006/relationships/tags" Target="../tags/tag132.xml"/></Relationships>
</file>

<file path=ppt/slides/_rels/slide50.xml.rels><?xml version="1.0" encoding="UTF-8" standalone="yes"?>
<Relationships xmlns="http://schemas.openxmlformats.org/package/2006/relationships"><Relationship Id="rId8" Type="http://schemas.openxmlformats.org/officeDocument/2006/relationships/tags" Target="../tags/tag310.xml"/><Relationship Id="rId13" Type="http://schemas.openxmlformats.org/officeDocument/2006/relationships/tags" Target="../tags/tag315.xml"/><Relationship Id="rId3" Type="http://schemas.openxmlformats.org/officeDocument/2006/relationships/tags" Target="../tags/tag305.xml"/><Relationship Id="rId7" Type="http://schemas.openxmlformats.org/officeDocument/2006/relationships/tags" Target="../tags/tag309.xml"/><Relationship Id="rId12" Type="http://schemas.openxmlformats.org/officeDocument/2006/relationships/tags" Target="../tags/tag314.xml"/><Relationship Id="rId2" Type="http://schemas.openxmlformats.org/officeDocument/2006/relationships/tags" Target="../tags/tag304.xml"/><Relationship Id="rId1" Type="http://schemas.openxmlformats.org/officeDocument/2006/relationships/vmlDrawing" Target="../drawings/vmlDrawing18.vml"/><Relationship Id="rId6" Type="http://schemas.openxmlformats.org/officeDocument/2006/relationships/tags" Target="../tags/tag308.xml"/><Relationship Id="rId11" Type="http://schemas.openxmlformats.org/officeDocument/2006/relationships/tags" Target="../tags/tag313.xml"/><Relationship Id="rId5" Type="http://schemas.openxmlformats.org/officeDocument/2006/relationships/tags" Target="../tags/tag307.xml"/><Relationship Id="rId15" Type="http://schemas.openxmlformats.org/officeDocument/2006/relationships/oleObject" Target="../embeddings/oleObject18.bin"/><Relationship Id="rId10" Type="http://schemas.openxmlformats.org/officeDocument/2006/relationships/tags" Target="../tags/tag312.xml"/><Relationship Id="rId4" Type="http://schemas.openxmlformats.org/officeDocument/2006/relationships/tags" Target="../tags/tag306.xml"/><Relationship Id="rId9" Type="http://schemas.openxmlformats.org/officeDocument/2006/relationships/tags" Target="../tags/tag311.xml"/><Relationship Id="rId14"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3" Type="http://schemas.openxmlformats.org/officeDocument/2006/relationships/tags" Target="../tags/tag318.xml"/><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slideLayout" Target="../slideLayouts/slideLayout10.xml"/><Relationship Id="rId5" Type="http://schemas.openxmlformats.org/officeDocument/2006/relationships/tags" Target="../tags/tag320.xml"/><Relationship Id="rId4" Type="http://schemas.openxmlformats.org/officeDocument/2006/relationships/tags" Target="../tags/tag319.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321.xm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322.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323.xml"/></Relationships>
</file>

<file path=ppt/slides/_rels/slide55.xml.rels><?xml version="1.0" encoding="UTF-8" standalone="yes"?>
<Relationships xmlns="http://schemas.openxmlformats.org/package/2006/relationships"><Relationship Id="rId8" Type="http://schemas.openxmlformats.org/officeDocument/2006/relationships/tags" Target="../tags/tag330.xml"/><Relationship Id="rId13" Type="http://schemas.openxmlformats.org/officeDocument/2006/relationships/tags" Target="../tags/tag335.xml"/><Relationship Id="rId18" Type="http://schemas.openxmlformats.org/officeDocument/2006/relationships/tags" Target="../tags/tag340.xml"/><Relationship Id="rId26" Type="http://schemas.openxmlformats.org/officeDocument/2006/relationships/oleObject" Target="../embeddings/oleObject19.bin"/><Relationship Id="rId3" Type="http://schemas.openxmlformats.org/officeDocument/2006/relationships/tags" Target="../tags/tag325.xml"/><Relationship Id="rId21" Type="http://schemas.openxmlformats.org/officeDocument/2006/relationships/tags" Target="../tags/tag343.xml"/><Relationship Id="rId7" Type="http://schemas.openxmlformats.org/officeDocument/2006/relationships/tags" Target="../tags/tag329.xml"/><Relationship Id="rId12" Type="http://schemas.openxmlformats.org/officeDocument/2006/relationships/tags" Target="../tags/tag334.xml"/><Relationship Id="rId17" Type="http://schemas.openxmlformats.org/officeDocument/2006/relationships/tags" Target="../tags/tag339.xml"/><Relationship Id="rId25" Type="http://schemas.openxmlformats.org/officeDocument/2006/relationships/slideLayout" Target="../slideLayouts/slideLayout10.xml"/><Relationship Id="rId2" Type="http://schemas.openxmlformats.org/officeDocument/2006/relationships/tags" Target="../tags/tag324.xml"/><Relationship Id="rId16" Type="http://schemas.openxmlformats.org/officeDocument/2006/relationships/tags" Target="../tags/tag338.xml"/><Relationship Id="rId20" Type="http://schemas.openxmlformats.org/officeDocument/2006/relationships/tags" Target="../tags/tag342.xml"/><Relationship Id="rId1" Type="http://schemas.openxmlformats.org/officeDocument/2006/relationships/vmlDrawing" Target="../drawings/vmlDrawing19.vml"/><Relationship Id="rId6" Type="http://schemas.openxmlformats.org/officeDocument/2006/relationships/tags" Target="../tags/tag328.xml"/><Relationship Id="rId11" Type="http://schemas.openxmlformats.org/officeDocument/2006/relationships/tags" Target="../tags/tag333.xml"/><Relationship Id="rId24" Type="http://schemas.openxmlformats.org/officeDocument/2006/relationships/tags" Target="../tags/tag346.xml"/><Relationship Id="rId5" Type="http://schemas.openxmlformats.org/officeDocument/2006/relationships/tags" Target="../tags/tag327.xml"/><Relationship Id="rId15" Type="http://schemas.openxmlformats.org/officeDocument/2006/relationships/tags" Target="../tags/tag337.xml"/><Relationship Id="rId23" Type="http://schemas.openxmlformats.org/officeDocument/2006/relationships/tags" Target="../tags/tag345.xml"/><Relationship Id="rId10" Type="http://schemas.openxmlformats.org/officeDocument/2006/relationships/tags" Target="../tags/tag332.xml"/><Relationship Id="rId19" Type="http://schemas.openxmlformats.org/officeDocument/2006/relationships/tags" Target="../tags/tag341.xml"/><Relationship Id="rId4" Type="http://schemas.openxmlformats.org/officeDocument/2006/relationships/tags" Target="../tags/tag326.xml"/><Relationship Id="rId9" Type="http://schemas.openxmlformats.org/officeDocument/2006/relationships/tags" Target="../tags/tag331.xml"/><Relationship Id="rId14" Type="http://schemas.openxmlformats.org/officeDocument/2006/relationships/tags" Target="../tags/tag336.xml"/><Relationship Id="rId22" Type="http://schemas.openxmlformats.org/officeDocument/2006/relationships/tags" Target="../tags/tag344.xml"/></Relationships>
</file>

<file path=ppt/slides/_rels/slide56.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347.xml"/></Relationships>
</file>

<file path=ppt/slides/_rels/slide57.xml.rels><?xml version="1.0" encoding="UTF-8" standalone="yes"?>
<Relationships xmlns="http://schemas.openxmlformats.org/package/2006/relationships"><Relationship Id="rId8" Type="http://schemas.openxmlformats.org/officeDocument/2006/relationships/tags" Target="../tags/tag354.xml"/><Relationship Id="rId13" Type="http://schemas.openxmlformats.org/officeDocument/2006/relationships/tags" Target="../tags/tag359.xml"/><Relationship Id="rId18" Type="http://schemas.openxmlformats.org/officeDocument/2006/relationships/tags" Target="../tags/tag364.xml"/><Relationship Id="rId3" Type="http://schemas.openxmlformats.org/officeDocument/2006/relationships/tags" Target="../tags/tag349.xml"/><Relationship Id="rId21" Type="http://schemas.openxmlformats.org/officeDocument/2006/relationships/tags" Target="../tags/tag367.xml"/><Relationship Id="rId7" Type="http://schemas.openxmlformats.org/officeDocument/2006/relationships/tags" Target="../tags/tag353.xml"/><Relationship Id="rId12" Type="http://schemas.openxmlformats.org/officeDocument/2006/relationships/tags" Target="../tags/tag358.xml"/><Relationship Id="rId17" Type="http://schemas.openxmlformats.org/officeDocument/2006/relationships/tags" Target="../tags/tag363.xml"/><Relationship Id="rId2" Type="http://schemas.openxmlformats.org/officeDocument/2006/relationships/tags" Target="../tags/tag348.xml"/><Relationship Id="rId16" Type="http://schemas.openxmlformats.org/officeDocument/2006/relationships/tags" Target="../tags/tag362.xml"/><Relationship Id="rId20" Type="http://schemas.openxmlformats.org/officeDocument/2006/relationships/tags" Target="../tags/tag366.xml"/><Relationship Id="rId1" Type="http://schemas.openxmlformats.org/officeDocument/2006/relationships/vmlDrawing" Target="../drawings/vmlDrawing20.vml"/><Relationship Id="rId6" Type="http://schemas.openxmlformats.org/officeDocument/2006/relationships/tags" Target="../tags/tag352.xml"/><Relationship Id="rId11" Type="http://schemas.openxmlformats.org/officeDocument/2006/relationships/tags" Target="../tags/tag357.xml"/><Relationship Id="rId5" Type="http://schemas.openxmlformats.org/officeDocument/2006/relationships/tags" Target="../tags/tag351.xml"/><Relationship Id="rId15" Type="http://schemas.openxmlformats.org/officeDocument/2006/relationships/tags" Target="../tags/tag361.xml"/><Relationship Id="rId23" Type="http://schemas.openxmlformats.org/officeDocument/2006/relationships/oleObject" Target="../embeddings/oleObject20.bin"/><Relationship Id="rId10" Type="http://schemas.openxmlformats.org/officeDocument/2006/relationships/tags" Target="../tags/tag356.xml"/><Relationship Id="rId19" Type="http://schemas.openxmlformats.org/officeDocument/2006/relationships/tags" Target="../tags/tag365.xml"/><Relationship Id="rId4" Type="http://schemas.openxmlformats.org/officeDocument/2006/relationships/tags" Target="../tags/tag350.xml"/><Relationship Id="rId9" Type="http://schemas.openxmlformats.org/officeDocument/2006/relationships/tags" Target="../tags/tag355.xml"/><Relationship Id="rId14" Type="http://schemas.openxmlformats.org/officeDocument/2006/relationships/tags" Target="../tags/tag360.xml"/><Relationship Id="rId22"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13" Type="http://schemas.openxmlformats.org/officeDocument/2006/relationships/tags" Target="../tags/tag379.xml"/><Relationship Id="rId18" Type="http://schemas.openxmlformats.org/officeDocument/2006/relationships/tags" Target="../tags/tag384.xml"/><Relationship Id="rId26" Type="http://schemas.openxmlformats.org/officeDocument/2006/relationships/tags" Target="../tags/tag392.xml"/><Relationship Id="rId39" Type="http://schemas.openxmlformats.org/officeDocument/2006/relationships/tags" Target="../tags/tag405.xml"/><Relationship Id="rId21" Type="http://schemas.openxmlformats.org/officeDocument/2006/relationships/tags" Target="../tags/tag387.xml"/><Relationship Id="rId34" Type="http://schemas.openxmlformats.org/officeDocument/2006/relationships/tags" Target="../tags/tag400.xml"/><Relationship Id="rId42" Type="http://schemas.openxmlformats.org/officeDocument/2006/relationships/tags" Target="../tags/tag408.xml"/><Relationship Id="rId47" Type="http://schemas.openxmlformats.org/officeDocument/2006/relationships/tags" Target="../tags/tag413.xml"/><Relationship Id="rId50" Type="http://schemas.openxmlformats.org/officeDocument/2006/relationships/oleObject" Target="../embeddings/oleObject21.bin"/><Relationship Id="rId7" Type="http://schemas.openxmlformats.org/officeDocument/2006/relationships/tags" Target="../tags/tag373.xml"/><Relationship Id="rId2" Type="http://schemas.openxmlformats.org/officeDocument/2006/relationships/tags" Target="../tags/tag368.xml"/><Relationship Id="rId16" Type="http://schemas.openxmlformats.org/officeDocument/2006/relationships/tags" Target="../tags/tag382.xml"/><Relationship Id="rId29" Type="http://schemas.openxmlformats.org/officeDocument/2006/relationships/tags" Target="../tags/tag395.xml"/><Relationship Id="rId11" Type="http://schemas.openxmlformats.org/officeDocument/2006/relationships/tags" Target="../tags/tag377.xml"/><Relationship Id="rId24" Type="http://schemas.openxmlformats.org/officeDocument/2006/relationships/tags" Target="../tags/tag390.xml"/><Relationship Id="rId32" Type="http://schemas.openxmlformats.org/officeDocument/2006/relationships/tags" Target="../tags/tag398.xml"/><Relationship Id="rId37" Type="http://schemas.openxmlformats.org/officeDocument/2006/relationships/tags" Target="../tags/tag403.xml"/><Relationship Id="rId40" Type="http://schemas.openxmlformats.org/officeDocument/2006/relationships/tags" Target="../tags/tag406.xml"/><Relationship Id="rId45" Type="http://schemas.openxmlformats.org/officeDocument/2006/relationships/tags" Target="../tags/tag411.xml"/><Relationship Id="rId5" Type="http://schemas.openxmlformats.org/officeDocument/2006/relationships/tags" Target="../tags/tag371.xml"/><Relationship Id="rId15" Type="http://schemas.openxmlformats.org/officeDocument/2006/relationships/tags" Target="../tags/tag381.xml"/><Relationship Id="rId23" Type="http://schemas.openxmlformats.org/officeDocument/2006/relationships/tags" Target="../tags/tag389.xml"/><Relationship Id="rId28" Type="http://schemas.openxmlformats.org/officeDocument/2006/relationships/tags" Target="../tags/tag394.xml"/><Relationship Id="rId36" Type="http://schemas.openxmlformats.org/officeDocument/2006/relationships/tags" Target="../tags/tag402.xml"/><Relationship Id="rId49" Type="http://schemas.openxmlformats.org/officeDocument/2006/relationships/slideLayout" Target="../slideLayouts/slideLayout10.xml"/><Relationship Id="rId10" Type="http://schemas.openxmlformats.org/officeDocument/2006/relationships/tags" Target="../tags/tag376.xml"/><Relationship Id="rId19" Type="http://schemas.openxmlformats.org/officeDocument/2006/relationships/tags" Target="../tags/tag385.xml"/><Relationship Id="rId31" Type="http://schemas.openxmlformats.org/officeDocument/2006/relationships/tags" Target="../tags/tag397.xml"/><Relationship Id="rId44" Type="http://schemas.openxmlformats.org/officeDocument/2006/relationships/tags" Target="../tags/tag410.xml"/><Relationship Id="rId4" Type="http://schemas.openxmlformats.org/officeDocument/2006/relationships/tags" Target="../tags/tag370.xml"/><Relationship Id="rId9" Type="http://schemas.openxmlformats.org/officeDocument/2006/relationships/tags" Target="../tags/tag375.xml"/><Relationship Id="rId14" Type="http://schemas.openxmlformats.org/officeDocument/2006/relationships/tags" Target="../tags/tag380.xml"/><Relationship Id="rId22" Type="http://schemas.openxmlformats.org/officeDocument/2006/relationships/tags" Target="../tags/tag388.xml"/><Relationship Id="rId27" Type="http://schemas.openxmlformats.org/officeDocument/2006/relationships/tags" Target="../tags/tag393.xml"/><Relationship Id="rId30" Type="http://schemas.openxmlformats.org/officeDocument/2006/relationships/tags" Target="../tags/tag396.xml"/><Relationship Id="rId35" Type="http://schemas.openxmlformats.org/officeDocument/2006/relationships/tags" Target="../tags/tag401.xml"/><Relationship Id="rId43" Type="http://schemas.openxmlformats.org/officeDocument/2006/relationships/tags" Target="../tags/tag409.xml"/><Relationship Id="rId48" Type="http://schemas.openxmlformats.org/officeDocument/2006/relationships/tags" Target="../tags/tag414.xml"/><Relationship Id="rId8" Type="http://schemas.openxmlformats.org/officeDocument/2006/relationships/tags" Target="../tags/tag374.xml"/><Relationship Id="rId3" Type="http://schemas.openxmlformats.org/officeDocument/2006/relationships/tags" Target="../tags/tag369.xml"/><Relationship Id="rId12" Type="http://schemas.openxmlformats.org/officeDocument/2006/relationships/tags" Target="../tags/tag378.xml"/><Relationship Id="rId17" Type="http://schemas.openxmlformats.org/officeDocument/2006/relationships/tags" Target="../tags/tag383.xml"/><Relationship Id="rId25" Type="http://schemas.openxmlformats.org/officeDocument/2006/relationships/tags" Target="../tags/tag391.xml"/><Relationship Id="rId33" Type="http://schemas.openxmlformats.org/officeDocument/2006/relationships/tags" Target="../tags/tag399.xml"/><Relationship Id="rId38" Type="http://schemas.openxmlformats.org/officeDocument/2006/relationships/tags" Target="../tags/tag404.xml"/><Relationship Id="rId46" Type="http://schemas.openxmlformats.org/officeDocument/2006/relationships/tags" Target="../tags/tag412.xml"/><Relationship Id="rId20" Type="http://schemas.openxmlformats.org/officeDocument/2006/relationships/tags" Target="../tags/tag386.xml"/><Relationship Id="rId41" Type="http://schemas.openxmlformats.org/officeDocument/2006/relationships/tags" Target="../tags/tag407.xml"/><Relationship Id="rId1" Type="http://schemas.openxmlformats.org/officeDocument/2006/relationships/vmlDrawing" Target="../drawings/vmlDrawing21.vml"/><Relationship Id="rId6" Type="http://schemas.openxmlformats.org/officeDocument/2006/relationships/tags" Target="../tags/tag372.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16.xml"/><Relationship Id="rId1" Type="http://schemas.openxmlformats.org/officeDocument/2006/relationships/tags" Target="../tags/tag415.xml"/></Relationships>
</file>

<file path=ppt/slides/_rels/slide6.xml.rels><?xml version="1.0" encoding="UTF-8" standalone="yes"?>
<Relationships xmlns="http://schemas.openxmlformats.org/package/2006/relationships"><Relationship Id="rId3" Type="http://schemas.openxmlformats.org/officeDocument/2006/relationships/tags" Target="../tags/tag134.xml"/><Relationship Id="rId7" Type="http://schemas.openxmlformats.org/officeDocument/2006/relationships/oleObject" Target="../embeddings/oleObject5.bin"/><Relationship Id="rId2" Type="http://schemas.openxmlformats.org/officeDocument/2006/relationships/tags" Target="../tags/tag133.xml"/><Relationship Id="rId1" Type="http://schemas.openxmlformats.org/officeDocument/2006/relationships/vmlDrawing" Target="../drawings/vmlDrawing5.vml"/><Relationship Id="rId6" Type="http://schemas.openxmlformats.org/officeDocument/2006/relationships/notesSlide" Target="../notesSlides/notesSlide4.xml"/><Relationship Id="rId5" Type="http://schemas.openxmlformats.org/officeDocument/2006/relationships/slideLayout" Target="../slideLayouts/slideLayout10.xml"/><Relationship Id="rId4" Type="http://schemas.openxmlformats.org/officeDocument/2006/relationships/tags" Target="../tags/tag135.xml"/></Relationships>
</file>

<file path=ppt/slides/_rels/slide60.xml.rels><?xml version="1.0" encoding="UTF-8" standalone="yes"?>
<Relationships xmlns="http://schemas.openxmlformats.org/package/2006/relationships"><Relationship Id="rId3" Type="http://schemas.openxmlformats.org/officeDocument/2006/relationships/tags" Target="../tags/tag418.xml"/><Relationship Id="rId7" Type="http://schemas.openxmlformats.org/officeDocument/2006/relationships/oleObject" Target="../embeddings/oleObject22.bin"/><Relationship Id="rId2" Type="http://schemas.openxmlformats.org/officeDocument/2006/relationships/tags" Target="../tags/tag417.xml"/><Relationship Id="rId1" Type="http://schemas.openxmlformats.org/officeDocument/2006/relationships/vmlDrawing" Target="../drawings/vmlDrawing22.vml"/><Relationship Id="rId6" Type="http://schemas.openxmlformats.org/officeDocument/2006/relationships/notesSlide" Target="../notesSlides/notesSlide7.xml"/><Relationship Id="rId5" Type="http://schemas.openxmlformats.org/officeDocument/2006/relationships/slideLayout" Target="../slideLayouts/slideLayout10.xml"/><Relationship Id="rId4" Type="http://schemas.openxmlformats.org/officeDocument/2006/relationships/tags" Target="../tags/tag419.xml"/></Relationships>
</file>

<file path=ppt/slides/_rels/slide61.xml.rels><?xml version="1.0" encoding="UTF-8" standalone="yes"?>
<Relationships xmlns="http://schemas.openxmlformats.org/package/2006/relationships"><Relationship Id="rId3" Type="http://schemas.openxmlformats.org/officeDocument/2006/relationships/tags" Target="../tags/tag422.xml"/><Relationship Id="rId7" Type="http://schemas.openxmlformats.org/officeDocument/2006/relationships/chart" Target="../charts/chart1.xml"/><Relationship Id="rId2" Type="http://schemas.openxmlformats.org/officeDocument/2006/relationships/tags" Target="../tags/tag421.xml"/><Relationship Id="rId1" Type="http://schemas.openxmlformats.org/officeDocument/2006/relationships/tags" Target="../tags/tag420.xml"/><Relationship Id="rId6" Type="http://schemas.openxmlformats.org/officeDocument/2006/relationships/slideLayout" Target="../slideLayouts/slideLayout10.xml"/><Relationship Id="rId5" Type="http://schemas.openxmlformats.org/officeDocument/2006/relationships/tags" Target="../tags/tag424.xml"/><Relationship Id="rId4" Type="http://schemas.openxmlformats.org/officeDocument/2006/relationships/tags" Target="../tags/tag423.xml"/></Relationships>
</file>

<file path=ppt/slides/_rels/slide6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10.xml"/><Relationship Id="rId1" Type="http://schemas.openxmlformats.org/officeDocument/2006/relationships/tags" Target="../tags/tag425.xml"/><Relationship Id="rId4" Type="http://schemas.openxmlformats.org/officeDocument/2006/relationships/chart" Target="../charts/chart3.xml"/></Relationships>
</file>

<file path=ppt/slides/_rels/slide6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10.xml"/><Relationship Id="rId1" Type="http://schemas.openxmlformats.org/officeDocument/2006/relationships/tags" Target="../tags/tag426.xml"/><Relationship Id="rId5" Type="http://schemas.openxmlformats.org/officeDocument/2006/relationships/chart" Target="../charts/chart6.xml"/><Relationship Id="rId4" Type="http://schemas.openxmlformats.org/officeDocument/2006/relationships/chart" Target="../charts/chart5.xml"/></Relationships>
</file>

<file path=ppt/slides/_rels/slide6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10.xml"/><Relationship Id="rId1" Type="http://schemas.openxmlformats.org/officeDocument/2006/relationships/tags" Target="../tags/tag427.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chart" Target="../charts/chart8.xml"/></Relationships>
</file>

<file path=ppt/slides/_rels/slide6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slideLayout" Target="../slideLayouts/slideLayout10.xml"/><Relationship Id="rId1" Type="http://schemas.openxmlformats.org/officeDocument/2006/relationships/tags" Target="../tags/tag428.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30.xml"/><Relationship Id="rId1" Type="http://schemas.openxmlformats.org/officeDocument/2006/relationships/tags" Target="../tags/tag429.xml"/><Relationship Id="rId5" Type="http://schemas.openxmlformats.org/officeDocument/2006/relationships/chart" Target="../charts/chart13.xml"/><Relationship Id="rId4" Type="http://schemas.openxmlformats.org/officeDocument/2006/relationships/chart" Target="../charts/chart12.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32.xml"/><Relationship Id="rId1" Type="http://schemas.openxmlformats.org/officeDocument/2006/relationships/tags" Target="../tags/tag431.xml"/><Relationship Id="rId5" Type="http://schemas.openxmlformats.org/officeDocument/2006/relationships/chart" Target="../charts/chart15.xml"/><Relationship Id="rId4" Type="http://schemas.openxmlformats.org/officeDocument/2006/relationships/chart" Target="../charts/chart14.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34.xml"/><Relationship Id="rId1" Type="http://schemas.openxmlformats.org/officeDocument/2006/relationships/tags" Target="../tags/tag433.xml"/><Relationship Id="rId4" Type="http://schemas.openxmlformats.org/officeDocument/2006/relationships/chart" Target="../charts/chart16.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36.xml"/><Relationship Id="rId1" Type="http://schemas.openxmlformats.org/officeDocument/2006/relationships/tags" Target="../tags/tag435.xml"/><Relationship Id="rId5" Type="http://schemas.openxmlformats.org/officeDocument/2006/relationships/chart" Target="../charts/chart18.xml"/><Relationship Id="rId4" Type="http://schemas.openxmlformats.org/officeDocument/2006/relationships/chart" Target="../charts/chart17.xml"/></Relationships>
</file>

<file path=ppt/slides/_rels/slide7.xml.rels><?xml version="1.0" encoding="UTF-8" standalone="yes"?>
<Relationships xmlns="http://schemas.openxmlformats.org/package/2006/relationships"><Relationship Id="rId3" Type="http://schemas.openxmlformats.org/officeDocument/2006/relationships/tags" Target="../tags/tag137.xml"/><Relationship Id="rId7" Type="http://schemas.openxmlformats.org/officeDocument/2006/relationships/oleObject" Target="../embeddings/oleObject6.bin"/><Relationship Id="rId2" Type="http://schemas.openxmlformats.org/officeDocument/2006/relationships/tags" Target="../tags/tag136.xml"/><Relationship Id="rId1" Type="http://schemas.openxmlformats.org/officeDocument/2006/relationships/vmlDrawing" Target="../drawings/vmlDrawing6.vml"/><Relationship Id="rId6" Type="http://schemas.openxmlformats.org/officeDocument/2006/relationships/slideLayout" Target="../slideLayouts/slideLayout10.xml"/><Relationship Id="rId5" Type="http://schemas.openxmlformats.org/officeDocument/2006/relationships/tags" Target="../tags/tag139.xml"/><Relationship Id="rId4" Type="http://schemas.openxmlformats.org/officeDocument/2006/relationships/tags" Target="../tags/tag138.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22.xml"/><Relationship Id="rId2" Type="http://schemas.openxmlformats.org/officeDocument/2006/relationships/tags" Target="../tags/tag438.xml"/><Relationship Id="rId1" Type="http://schemas.openxmlformats.org/officeDocument/2006/relationships/tags" Target="../tags/tag437.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chart" Target="../charts/chart19.xml"/></Relationships>
</file>

<file path=ppt/slides/_rels/slide71.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slideLayout" Target="../slideLayouts/slideLayout10.xml"/><Relationship Id="rId1" Type="http://schemas.openxmlformats.org/officeDocument/2006/relationships/tags" Target="../tags/tag439.xml"/></Relationships>
</file>

<file path=ppt/slides/_rels/slide72.xml.rels><?xml version="1.0" encoding="UTF-8" standalone="yes"?>
<Relationships xmlns="http://schemas.openxmlformats.org/package/2006/relationships"><Relationship Id="rId8" Type="http://schemas.openxmlformats.org/officeDocument/2006/relationships/chart" Target="../charts/chart26.xml"/><Relationship Id="rId3" Type="http://schemas.openxmlformats.org/officeDocument/2006/relationships/tags" Target="../tags/tag442.xml"/><Relationship Id="rId7" Type="http://schemas.openxmlformats.org/officeDocument/2006/relationships/chart" Target="../charts/chart25.xml"/><Relationship Id="rId2" Type="http://schemas.openxmlformats.org/officeDocument/2006/relationships/tags" Target="../tags/tag441.xml"/><Relationship Id="rId1" Type="http://schemas.openxmlformats.org/officeDocument/2006/relationships/tags" Target="../tags/tag440.xml"/><Relationship Id="rId6" Type="http://schemas.openxmlformats.org/officeDocument/2006/relationships/chart" Target="../charts/chart24.xml"/><Relationship Id="rId5" Type="http://schemas.openxmlformats.org/officeDocument/2006/relationships/slideLayout" Target="../slideLayouts/slideLayout10.xml"/><Relationship Id="rId4" Type="http://schemas.openxmlformats.org/officeDocument/2006/relationships/tags" Target="../tags/tag443.xml"/><Relationship Id="rId9" Type="http://schemas.openxmlformats.org/officeDocument/2006/relationships/chart" Target="../charts/chart27.xml"/></Relationships>
</file>

<file path=ppt/slides/_rels/slide73.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slideLayout" Target="../slideLayouts/slideLayout10.xml"/><Relationship Id="rId1" Type="http://schemas.openxmlformats.org/officeDocument/2006/relationships/tags" Target="../tags/tag444.xml"/></Relationships>
</file>

<file path=ppt/slides/_rels/slide74.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slideLayout" Target="../slideLayouts/slideLayout10.xml"/><Relationship Id="rId1" Type="http://schemas.openxmlformats.org/officeDocument/2006/relationships/tags" Target="../tags/tag445.xml"/></Relationships>
</file>

<file path=ppt/slides/_rels/slide75.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slideLayout" Target="../slideLayouts/slideLayout10.xml"/><Relationship Id="rId1" Type="http://schemas.openxmlformats.org/officeDocument/2006/relationships/tags" Target="../tags/tag446.xml"/></Relationships>
</file>

<file path=ppt/slides/_rels/slide76.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slideLayout" Target="../slideLayouts/slideLayout10.xml"/><Relationship Id="rId1" Type="http://schemas.openxmlformats.org/officeDocument/2006/relationships/tags" Target="../tags/tag447.xml"/></Relationships>
</file>

<file path=ppt/slides/_rels/slide77.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slideLayout" Target="../slideLayouts/slideLayout10.xml"/><Relationship Id="rId1" Type="http://schemas.openxmlformats.org/officeDocument/2006/relationships/tags" Target="../tags/tag448.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50.xml"/><Relationship Id="rId1" Type="http://schemas.openxmlformats.org/officeDocument/2006/relationships/tags" Target="../tags/tag449.xml"/><Relationship Id="rId5" Type="http://schemas.openxmlformats.org/officeDocument/2006/relationships/chart" Target="../charts/chart34.xml"/><Relationship Id="rId4" Type="http://schemas.openxmlformats.org/officeDocument/2006/relationships/chart" Target="../charts/chart33.xml"/></Relationships>
</file>

<file path=ppt/slides/_rels/slide79.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slideLayout" Target="../slideLayouts/slideLayout10.xml"/><Relationship Id="rId1" Type="http://schemas.openxmlformats.org/officeDocument/2006/relationships/tags" Target="../tags/tag451.xml"/><Relationship Id="rId4" Type="http://schemas.openxmlformats.org/officeDocument/2006/relationships/chart" Target="../charts/chart36.xml"/></Relationships>
</file>

<file path=ppt/slides/_rels/slide8.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oleObject" Target="../embeddings/oleObject7.bin"/><Relationship Id="rId2" Type="http://schemas.openxmlformats.org/officeDocument/2006/relationships/tags" Target="../tags/tag140.xml"/><Relationship Id="rId1" Type="http://schemas.openxmlformats.org/officeDocument/2006/relationships/vmlDrawing" Target="../drawings/vmlDrawing7.vml"/><Relationship Id="rId6" Type="http://schemas.openxmlformats.org/officeDocument/2006/relationships/slideLayout" Target="../slideLayouts/slideLayout10.xml"/><Relationship Id="rId5" Type="http://schemas.openxmlformats.org/officeDocument/2006/relationships/tags" Target="../tags/tag143.xml"/><Relationship Id="rId4" Type="http://schemas.openxmlformats.org/officeDocument/2006/relationships/tags" Target="../tags/tag142.xml"/></Relationships>
</file>

<file path=ppt/slides/_rels/slide80.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tags" Target="../tags/tag454.xml"/><Relationship Id="rId7" Type="http://schemas.openxmlformats.org/officeDocument/2006/relationships/chart" Target="../charts/chart37.xml"/><Relationship Id="rId2" Type="http://schemas.openxmlformats.org/officeDocument/2006/relationships/tags" Target="../tags/tag453.xml"/><Relationship Id="rId1" Type="http://schemas.openxmlformats.org/officeDocument/2006/relationships/tags" Target="../tags/tag452.xml"/><Relationship Id="rId6" Type="http://schemas.openxmlformats.org/officeDocument/2006/relationships/slideLayout" Target="../slideLayouts/slideLayout10.xml"/><Relationship Id="rId5" Type="http://schemas.openxmlformats.org/officeDocument/2006/relationships/tags" Target="../tags/tag456.xml"/><Relationship Id="rId4" Type="http://schemas.openxmlformats.org/officeDocument/2006/relationships/tags" Target="../tags/tag455.xml"/></Relationships>
</file>

<file path=ppt/slides/_rels/slide81.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458.xml"/><Relationship Id="rId7" Type="http://schemas.openxmlformats.org/officeDocument/2006/relationships/tags" Target="../tags/tag462.xml"/><Relationship Id="rId2" Type="http://schemas.openxmlformats.org/officeDocument/2006/relationships/tags" Target="../tags/tag457.xml"/><Relationship Id="rId1" Type="http://schemas.openxmlformats.org/officeDocument/2006/relationships/vmlDrawing" Target="../drawings/vmlDrawing23.vml"/><Relationship Id="rId6" Type="http://schemas.openxmlformats.org/officeDocument/2006/relationships/tags" Target="../tags/tag461.xml"/><Relationship Id="rId11" Type="http://schemas.openxmlformats.org/officeDocument/2006/relationships/chart" Target="../charts/chart40.xml"/><Relationship Id="rId5" Type="http://schemas.openxmlformats.org/officeDocument/2006/relationships/tags" Target="../tags/tag460.xml"/><Relationship Id="rId10" Type="http://schemas.openxmlformats.org/officeDocument/2006/relationships/chart" Target="../charts/chart39.xml"/><Relationship Id="rId4" Type="http://schemas.openxmlformats.org/officeDocument/2006/relationships/tags" Target="../tags/tag459.xml"/><Relationship Id="rId9" Type="http://schemas.openxmlformats.org/officeDocument/2006/relationships/oleObject" Target="../embeddings/oleObject23.bin"/></Relationships>
</file>

<file path=ppt/slides/_rels/slide82.xml.rels><?xml version="1.0" encoding="UTF-8" standalone="yes"?>
<Relationships xmlns="http://schemas.openxmlformats.org/package/2006/relationships"><Relationship Id="rId8" Type="http://schemas.openxmlformats.org/officeDocument/2006/relationships/tags" Target="../tags/tag469.xml"/><Relationship Id="rId3" Type="http://schemas.openxmlformats.org/officeDocument/2006/relationships/tags" Target="../tags/tag464.xml"/><Relationship Id="rId7" Type="http://schemas.openxmlformats.org/officeDocument/2006/relationships/tags" Target="../tags/tag468.xml"/><Relationship Id="rId12" Type="http://schemas.openxmlformats.org/officeDocument/2006/relationships/chart" Target="../charts/chart42.xml"/><Relationship Id="rId2" Type="http://schemas.openxmlformats.org/officeDocument/2006/relationships/tags" Target="../tags/tag463.xml"/><Relationship Id="rId1" Type="http://schemas.openxmlformats.org/officeDocument/2006/relationships/vmlDrawing" Target="../drawings/vmlDrawing24.vml"/><Relationship Id="rId6" Type="http://schemas.openxmlformats.org/officeDocument/2006/relationships/tags" Target="../tags/tag467.xml"/><Relationship Id="rId11" Type="http://schemas.openxmlformats.org/officeDocument/2006/relationships/chart" Target="../charts/chart41.xml"/><Relationship Id="rId5" Type="http://schemas.openxmlformats.org/officeDocument/2006/relationships/tags" Target="../tags/tag466.xml"/><Relationship Id="rId10" Type="http://schemas.openxmlformats.org/officeDocument/2006/relationships/oleObject" Target="../embeddings/oleObject24.bin"/><Relationship Id="rId4" Type="http://schemas.openxmlformats.org/officeDocument/2006/relationships/tags" Target="../tags/tag465.xml"/><Relationship Id="rId9" Type="http://schemas.openxmlformats.org/officeDocument/2006/relationships/slideLayout" Target="../slideLayouts/slideLayout10.xml"/></Relationships>
</file>

<file path=ppt/slides/_rels/slide83.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slideLayout" Target="../slideLayouts/slideLayout10.xml"/><Relationship Id="rId1" Type="http://schemas.openxmlformats.org/officeDocument/2006/relationships/tags" Target="../tags/tag470.xml"/></Relationships>
</file>

<file path=ppt/slides/_rels/slide84.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tags" Target="../tags/tag473.xml"/><Relationship Id="rId7" Type="http://schemas.openxmlformats.org/officeDocument/2006/relationships/slideLayout" Target="../slideLayouts/slideLayout10.xml"/><Relationship Id="rId2" Type="http://schemas.openxmlformats.org/officeDocument/2006/relationships/tags" Target="../tags/tag472.xml"/><Relationship Id="rId1" Type="http://schemas.openxmlformats.org/officeDocument/2006/relationships/tags" Target="../tags/tag471.xml"/><Relationship Id="rId6" Type="http://schemas.openxmlformats.org/officeDocument/2006/relationships/tags" Target="../tags/tag476.xml"/><Relationship Id="rId5" Type="http://schemas.openxmlformats.org/officeDocument/2006/relationships/tags" Target="../tags/tag475.xml"/><Relationship Id="rId4" Type="http://schemas.openxmlformats.org/officeDocument/2006/relationships/tags" Target="../tags/tag474.xml"/></Relationships>
</file>

<file path=ppt/slides/_rels/slide85.xml.rels><?xml version="1.0" encoding="UTF-8" standalone="yes"?>
<Relationships xmlns="http://schemas.openxmlformats.org/package/2006/relationships"><Relationship Id="rId8" Type="http://schemas.openxmlformats.org/officeDocument/2006/relationships/tags" Target="../tags/tag484.xml"/><Relationship Id="rId13" Type="http://schemas.openxmlformats.org/officeDocument/2006/relationships/slideLayout" Target="../slideLayouts/slideLayout10.xml"/><Relationship Id="rId3" Type="http://schemas.openxmlformats.org/officeDocument/2006/relationships/tags" Target="../tags/tag479.xml"/><Relationship Id="rId7" Type="http://schemas.openxmlformats.org/officeDocument/2006/relationships/tags" Target="../tags/tag483.xml"/><Relationship Id="rId12" Type="http://schemas.openxmlformats.org/officeDocument/2006/relationships/tags" Target="../tags/tag488.xml"/><Relationship Id="rId2" Type="http://schemas.openxmlformats.org/officeDocument/2006/relationships/tags" Target="../tags/tag478.xml"/><Relationship Id="rId1" Type="http://schemas.openxmlformats.org/officeDocument/2006/relationships/tags" Target="../tags/tag477.xml"/><Relationship Id="rId6" Type="http://schemas.openxmlformats.org/officeDocument/2006/relationships/tags" Target="../tags/tag482.xml"/><Relationship Id="rId11" Type="http://schemas.openxmlformats.org/officeDocument/2006/relationships/tags" Target="../tags/tag487.xml"/><Relationship Id="rId5" Type="http://schemas.openxmlformats.org/officeDocument/2006/relationships/tags" Target="../tags/tag481.xml"/><Relationship Id="rId15" Type="http://schemas.openxmlformats.org/officeDocument/2006/relationships/chart" Target="../charts/chart46.xml"/><Relationship Id="rId10" Type="http://schemas.openxmlformats.org/officeDocument/2006/relationships/tags" Target="../tags/tag486.xml"/><Relationship Id="rId4" Type="http://schemas.openxmlformats.org/officeDocument/2006/relationships/tags" Target="../tags/tag480.xml"/><Relationship Id="rId9" Type="http://schemas.openxmlformats.org/officeDocument/2006/relationships/tags" Target="../tags/tag485.xml"/><Relationship Id="rId14" Type="http://schemas.openxmlformats.org/officeDocument/2006/relationships/chart" Target="../charts/chart45.xml"/></Relationships>
</file>

<file path=ppt/slides/_rels/slide8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tags" Target="../tags/tag491.xml"/><Relationship Id="rId7" Type="http://schemas.openxmlformats.org/officeDocument/2006/relationships/slideLayout" Target="../slideLayouts/slideLayout10.xml"/><Relationship Id="rId2" Type="http://schemas.openxmlformats.org/officeDocument/2006/relationships/tags" Target="../tags/tag490.xml"/><Relationship Id="rId1" Type="http://schemas.openxmlformats.org/officeDocument/2006/relationships/tags" Target="../tags/tag489.xml"/><Relationship Id="rId6" Type="http://schemas.openxmlformats.org/officeDocument/2006/relationships/tags" Target="../tags/tag494.xml"/><Relationship Id="rId5" Type="http://schemas.openxmlformats.org/officeDocument/2006/relationships/tags" Target="../tags/tag493.xml"/><Relationship Id="rId4" Type="http://schemas.openxmlformats.org/officeDocument/2006/relationships/tags" Target="../tags/tag492.xml"/></Relationships>
</file>

<file path=ppt/slides/_rels/slide87.xml.rels><?xml version="1.0" encoding="UTF-8" standalone="yes"?>
<Relationships xmlns="http://schemas.openxmlformats.org/package/2006/relationships"><Relationship Id="rId8" Type="http://schemas.openxmlformats.org/officeDocument/2006/relationships/tags" Target="../tags/tag502.xml"/><Relationship Id="rId13" Type="http://schemas.openxmlformats.org/officeDocument/2006/relationships/slideLayout" Target="../slideLayouts/slideLayout10.xml"/><Relationship Id="rId3" Type="http://schemas.openxmlformats.org/officeDocument/2006/relationships/tags" Target="../tags/tag497.xml"/><Relationship Id="rId7" Type="http://schemas.openxmlformats.org/officeDocument/2006/relationships/tags" Target="../tags/tag501.xml"/><Relationship Id="rId12" Type="http://schemas.openxmlformats.org/officeDocument/2006/relationships/tags" Target="../tags/tag506.xml"/><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tags" Target="../tags/tag500.xml"/><Relationship Id="rId11" Type="http://schemas.openxmlformats.org/officeDocument/2006/relationships/tags" Target="../tags/tag505.xml"/><Relationship Id="rId5" Type="http://schemas.openxmlformats.org/officeDocument/2006/relationships/tags" Target="../tags/tag499.xml"/><Relationship Id="rId15" Type="http://schemas.openxmlformats.org/officeDocument/2006/relationships/chart" Target="../charts/chart49.xml"/><Relationship Id="rId10" Type="http://schemas.openxmlformats.org/officeDocument/2006/relationships/tags" Target="../tags/tag504.xml"/><Relationship Id="rId4" Type="http://schemas.openxmlformats.org/officeDocument/2006/relationships/tags" Target="../tags/tag498.xml"/><Relationship Id="rId9" Type="http://schemas.openxmlformats.org/officeDocument/2006/relationships/tags" Target="../tags/tag503.xml"/><Relationship Id="rId14" Type="http://schemas.openxmlformats.org/officeDocument/2006/relationships/chart" Target="../charts/chart48.xml"/></Relationships>
</file>

<file path=ppt/slides/_rels/slide88.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slideLayout" Target="../slideLayouts/slideLayout10.xml"/><Relationship Id="rId1" Type="http://schemas.openxmlformats.org/officeDocument/2006/relationships/tags" Target="../tags/tag507.xml"/></Relationships>
</file>

<file path=ppt/slides/_rels/slide89.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slideLayout" Target="../slideLayouts/slideLayout10.xml"/><Relationship Id="rId1" Type="http://schemas.openxmlformats.org/officeDocument/2006/relationships/tags" Target="../tags/tag508.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44.xml"/></Relationships>
</file>

<file path=ppt/slides/_rels/slide90.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slideLayout" Target="../slideLayouts/slideLayout10.xml"/><Relationship Id="rId1" Type="http://schemas.openxmlformats.org/officeDocument/2006/relationships/tags" Target="../tags/tag509.xml"/></Relationships>
</file>

<file path=ppt/slides/_rels/slide91.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slideLayout" Target="../slideLayouts/slideLayout10.xml"/><Relationship Id="rId1" Type="http://schemas.openxmlformats.org/officeDocument/2006/relationships/tags" Target="../tags/tag510.xml"/></Relationships>
</file>

<file path=ppt/slides/_rels/slide92.xml.rels><?xml version="1.0" encoding="UTF-8" standalone="yes"?>
<Relationships xmlns="http://schemas.openxmlformats.org/package/2006/relationships"><Relationship Id="rId3" Type="http://schemas.openxmlformats.org/officeDocument/2006/relationships/tags" Target="../tags/tag513.xml"/><Relationship Id="rId2" Type="http://schemas.openxmlformats.org/officeDocument/2006/relationships/tags" Target="../tags/tag512.xml"/><Relationship Id="rId1" Type="http://schemas.openxmlformats.org/officeDocument/2006/relationships/tags" Target="../tags/tag511.xml"/><Relationship Id="rId5" Type="http://schemas.openxmlformats.org/officeDocument/2006/relationships/chart" Target="../charts/chart54.xml"/><Relationship Id="rId4" Type="http://schemas.openxmlformats.org/officeDocument/2006/relationships/slideLayout" Target="../slideLayouts/slideLayout10.xml"/></Relationships>
</file>

<file path=ppt/slides/_rels/slide93.xml.rels><?xml version="1.0" encoding="UTF-8" standalone="yes"?>
<Relationships xmlns="http://schemas.openxmlformats.org/package/2006/relationships"><Relationship Id="rId3" Type="http://schemas.openxmlformats.org/officeDocument/2006/relationships/tags" Target="../tags/tag516.xml"/><Relationship Id="rId2" Type="http://schemas.openxmlformats.org/officeDocument/2006/relationships/tags" Target="../tags/tag515.xml"/><Relationship Id="rId1" Type="http://schemas.openxmlformats.org/officeDocument/2006/relationships/tags" Target="../tags/tag514.xml"/><Relationship Id="rId5" Type="http://schemas.openxmlformats.org/officeDocument/2006/relationships/chart" Target="../charts/chart55.xml"/><Relationship Id="rId4" Type="http://schemas.openxmlformats.org/officeDocument/2006/relationships/slideLayout" Target="../slideLayouts/slideLayout10.xml"/></Relationships>
</file>

<file path=ppt/slides/_rels/slide94.xml.rels><?xml version="1.0" encoding="UTF-8" standalone="yes"?>
<Relationships xmlns="http://schemas.openxmlformats.org/package/2006/relationships"><Relationship Id="rId3" Type="http://schemas.openxmlformats.org/officeDocument/2006/relationships/tags" Target="../tags/tag519.xml"/><Relationship Id="rId2" Type="http://schemas.openxmlformats.org/officeDocument/2006/relationships/tags" Target="../tags/tag518.xml"/><Relationship Id="rId1" Type="http://schemas.openxmlformats.org/officeDocument/2006/relationships/tags" Target="../tags/tag517.xml"/><Relationship Id="rId5" Type="http://schemas.openxmlformats.org/officeDocument/2006/relationships/chart" Target="../charts/chart56.xml"/><Relationship Id="rId4" Type="http://schemas.openxmlformats.org/officeDocument/2006/relationships/slideLayout" Target="../slideLayouts/slideLayout10.xml"/></Relationships>
</file>

<file path=ppt/slides/_rels/slide95.xml.rels><?xml version="1.0" encoding="UTF-8" standalone="yes"?>
<Relationships xmlns="http://schemas.openxmlformats.org/package/2006/relationships"><Relationship Id="rId3" Type="http://schemas.openxmlformats.org/officeDocument/2006/relationships/tags" Target="../tags/tag522.xml"/><Relationship Id="rId2" Type="http://schemas.openxmlformats.org/officeDocument/2006/relationships/tags" Target="../tags/tag521.xml"/><Relationship Id="rId1" Type="http://schemas.openxmlformats.org/officeDocument/2006/relationships/tags" Target="../tags/tag520.xml"/><Relationship Id="rId5" Type="http://schemas.openxmlformats.org/officeDocument/2006/relationships/chart" Target="../charts/chart57.xml"/><Relationship Id="rId4" Type="http://schemas.openxmlformats.org/officeDocument/2006/relationships/slideLayout" Target="../slideLayouts/slideLayout10.xml"/></Relationships>
</file>

<file path=ppt/slides/_rels/slide96.xml.rels><?xml version="1.0" encoding="UTF-8" standalone="yes"?>
<Relationships xmlns="http://schemas.openxmlformats.org/package/2006/relationships"><Relationship Id="rId3" Type="http://schemas.openxmlformats.org/officeDocument/2006/relationships/tags" Target="../tags/tag525.xml"/><Relationship Id="rId2" Type="http://schemas.openxmlformats.org/officeDocument/2006/relationships/tags" Target="../tags/tag524.xml"/><Relationship Id="rId1" Type="http://schemas.openxmlformats.org/officeDocument/2006/relationships/tags" Target="../tags/tag523.xml"/><Relationship Id="rId5" Type="http://schemas.openxmlformats.org/officeDocument/2006/relationships/chart" Target="../charts/chart58.xml"/><Relationship Id="rId4" Type="http://schemas.openxmlformats.org/officeDocument/2006/relationships/slideLayout" Target="../slideLayouts/slideLayout10.xml"/></Relationships>
</file>

<file path=ppt/slides/_rels/slide97.xml.rels><?xml version="1.0" encoding="UTF-8" standalone="yes"?>
<Relationships xmlns="http://schemas.openxmlformats.org/package/2006/relationships"><Relationship Id="rId3" Type="http://schemas.openxmlformats.org/officeDocument/2006/relationships/tags" Target="../tags/tag528.xml"/><Relationship Id="rId2" Type="http://schemas.openxmlformats.org/officeDocument/2006/relationships/tags" Target="../tags/tag527.xml"/><Relationship Id="rId1" Type="http://schemas.openxmlformats.org/officeDocument/2006/relationships/tags" Target="../tags/tag526.xml"/><Relationship Id="rId5" Type="http://schemas.openxmlformats.org/officeDocument/2006/relationships/chart" Target="../charts/chart59.xml"/><Relationship Id="rId4" Type="http://schemas.openxmlformats.org/officeDocument/2006/relationships/slideLayout" Target="../slideLayouts/slideLayout10.xml"/></Relationships>
</file>

<file path=ppt/slides/_rels/slide98.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531.xml"/><Relationship Id="rId7" Type="http://schemas.openxmlformats.org/officeDocument/2006/relationships/tags" Target="../tags/tag535.xml"/><Relationship Id="rId2" Type="http://schemas.openxmlformats.org/officeDocument/2006/relationships/tags" Target="../tags/tag530.xml"/><Relationship Id="rId1" Type="http://schemas.openxmlformats.org/officeDocument/2006/relationships/tags" Target="../tags/tag529.xml"/><Relationship Id="rId6" Type="http://schemas.openxmlformats.org/officeDocument/2006/relationships/tags" Target="../tags/tag534.xml"/><Relationship Id="rId5" Type="http://schemas.openxmlformats.org/officeDocument/2006/relationships/tags" Target="../tags/tag533.xml"/><Relationship Id="rId4" Type="http://schemas.openxmlformats.org/officeDocument/2006/relationships/tags" Target="../tags/tag532.xml"/><Relationship Id="rId9" Type="http://schemas.openxmlformats.org/officeDocument/2006/relationships/chart" Target="../charts/chart60.xml"/></Relationships>
</file>

<file path=ppt/slides/_rels/slide99.xml.rels><?xml version="1.0" encoding="UTF-8" standalone="yes"?>
<Relationships xmlns="http://schemas.openxmlformats.org/package/2006/relationships"><Relationship Id="rId8" Type="http://schemas.openxmlformats.org/officeDocument/2006/relationships/oleObject" Target="../embeddings/Microsoft_Excel_97-2003_Worksheet2.xls"/><Relationship Id="rId13" Type="http://schemas.openxmlformats.org/officeDocument/2006/relationships/oleObject" Target="../embeddings/oleObject28.bin"/><Relationship Id="rId18" Type="http://schemas.openxmlformats.org/officeDocument/2006/relationships/image" Target="../media/image8.png"/><Relationship Id="rId3" Type="http://schemas.openxmlformats.org/officeDocument/2006/relationships/slideLayout" Target="../slideLayouts/slideLayout10.xml"/><Relationship Id="rId7" Type="http://schemas.openxmlformats.org/officeDocument/2006/relationships/oleObject" Target="../embeddings/oleObject26.bin"/><Relationship Id="rId12" Type="http://schemas.openxmlformats.org/officeDocument/2006/relationships/image" Target="../media/image6.png"/><Relationship Id="rId17" Type="http://schemas.openxmlformats.org/officeDocument/2006/relationships/oleObject" Target="../embeddings/Microsoft_Excel_97-2003_Worksheet5.xls"/><Relationship Id="rId2" Type="http://schemas.openxmlformats.org/officeDocument/2006/relationships/tags" Target="../tags/tag536.xml"/><Relationship Id="rId16" Type="http://schemas.openxmlformats.org/officeDocument/2006/relationships/oleObject" Target="../embeddings/oleObject29.bin"/><Relationship Id="rId1" Type="http://schemas.openxmlformats.org/officeDocument/2006/relationships/vmlDrawing" Target="../drawings/vmlDrawing25.vml"/><Relationship Id="rId6" Type="http://schemas.openxmlformats.org/officeDocument/2006/relationships/image" Target="../media/image4.png"/><Relationship Id="rId11" Type="http://schemas.openxmlformats.org/officeDocument/2006/relationships/oleObject" Target="../embeddings/Microsoft_Excel_97-2003_Worksheet3.xls"/><Relationship Id="rId5" Type="http://schemas.openxmlformats.org/officeDocument/2006/relationships/oleObject" Target="../embeddings/Microsoft_Excel_97-2003_Worksheet1.xls"/><Relationship Id="rId15" Type="http://schemas.openxmlformats.org/officeDocument/2006/relationships/image" Target="../media/image7.png"/><Relationship Id="rId10" Type="http://schemas.openxmlformats.org/officeDocument/2006/relationships/oleObject" Target="../embeddings/oleObject27.bin"/><Relationship Id="rId4" Type="http://schemas.openxmlformats.org/officeDocument/2006/relationships/oleObject" Target="../embeddings/oleObject25.bin"/><Relationship Id="rId9" Type="http://schemas.openxmlformats.org/officeDocument/2006/relationships/image" Target="../media/image5.png"/><Relationship Id="rId14" Type="http://schemas.openxmlformats.org/officeDocument/2006/relationships/oleObject" Target="../embeddings/Microsoft_Excel_97-2003_Worksheet4.xls"/></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90" name="Rectangle 34"/>
          <p:cNvSpPr>
            <a:spLocks noGrp="1"/>
          </p:cNvSpPr>
          <p:nvPr>
            <p:ph type="ctrTitle"/>
          </p:nvPr>
        </p:nvSpPr>
        <p:spPr bwMode="gray">
          <a:xfrm>
            <a:off x="1143000" y="1920404"/>
            <a:ext cx="4113213" cy="1465016"/>
          </a:xfrm>
        </p:spPr>
        <p:txBody>
          <a:bodyPr/>
          <a:lstStyle/>
          <a:p>
            <a:r>
              <a:rPr lang="en-US"/>
              <a:t>PowerPoint </a:t>
            </a:r>
            <a:r>
              <a:rPr lang="en-US" smtClean="0"/>
              <a:t>Timesaver</a:t>
            </a:r>
            <a:r>
              <a:rPr lang="en-US" dirty="0"/>
              <a:t/>
            </a:r>
            <a:br>
              <a:rPr lang="en-US" dirty="0"/>
            </a:br>
            <a:r>
              <a:rPr lang="en-US" dirty="0">
                <a:solidFill>
                  <a:schemeClr val="accent2"/>
                </a:solidFill>
              </a:rPr>
              <a:t>Better charts, tables, and diagrams for better reports and presentations</a:t>
            </a:r>
          </a:p>
        </p:txBody>
      </p:sp>
      <p:sp>
        <p:nvSpPr>
          <p:cNvPr id="121891" name="Rectangle 35"/>
          <p:cNvSpPr>
            <a:spLocks noGrp="1"/>
          </p:cNvSpPr>
          <p:nvPr>
            <p:ph type="subTitle" idx="1"/>
          </p:nvPr>
        </p:nvSpPr>
        <p:spPr bwMode="gray">
          <a:xfrm>
            <a:off x="1143000" y="3689350"/>
            <a:ext cx="4113213" cy="553998"/>
          </a:xfrm>
        </p:spPr>
        <p:txBody>
          <a:bodyPr/>
          <a:lstStyle/>
          <a:p>
            <a:r>
              <a:rPr lang="en-US" dirty="0"/>
              <a:t>U.S. Brand </a:t>
            </a:r>
            <a:br>
              <a:rPr lang="en-US" dirty="0"/>
            </a:br>
            <a:r>
              <a:rPr lang="en-US" dirty="0" smtClean="0"/>
              <a:t>September </a:t>
            </a:r>
            <a:r>
              <a:rPr lang="en-US" dirty="0"/>
              <a:t>2009</a:t>
            </a:r>
          </a:p>
        </p:txBody>
      </p:sp>
      <p:pic>
        <p:nvPicPr>
          <p:cNvPr id="9" name="Picture 2" descr="C:\Users\dighosh\Documents\Brand\Brand Space Imagery\ind_man_glb_ve_318_hi.jpg"/>
          <p:cNvPicPr>
            <a:picLocks noChangeAspect="1" noChangeArrowheads="1"/>
          </p:cNvPicPr>
          <p:nvPr/>
        </p:nvPicPr>
        <p:blipFill>
          <a:blip r:embed="rId3" cstate="print"/>
          <a:srcRect l="25273" t="28889" r="18883"/>
          <a:stretch>
            <a:fillRect/>
          </a:stretch>
        </p:blipFill>
        <p:spPr bwMode="auto">
          <a:xfrm>
            <a:off x="6207125" y="1981200"/>
            <a:ext cx="2552700" cy="48768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1394" name="Title 1"/>
          <p:cNvSpPr>
            <a:spLocks noGrp="1"/>
          </p:cNvSpPr>
          <p:nvPr>
            <p:ph type="title"/>
          </p:nvPr>
        </p:nvSpPr>
        <p:spPr>
          <a:xfrm>
            <a:off x="414338" y="446038"/>
            <a:ext cx="8330184" cy="333425"/>
          </a:xfrm>
        </p:spPr>
        <p:txBody>
          <a:bodyPr/>
          <a:lstStyle/>
          <a:p>
            <a:r>
              <a:rPr lang="en-US">
                <a:cs typeface="Arial" charset="0"/>
              </a:rPr>
              <a:t>Tables </a:t>
            </a:r>
            <a:r>
              <a:rPr lang="en-US"/>
              <a:t>—</a:t>
            </a:r>
            <a:r>
              <a:rPr lang="en-US" smtClean="0">
                <a:cs typeface="Arial" charset="0"/>
              </a:rPr>
              <a:t> </a:t>
            </a:r>
            <a:r>
              <a:rPr lang="en-US">
                <a:cs typeface="Arial" charset="0"/>
              </a:rPr>
              <a:t>table with full column of bullets and dashes</a:t>
            </a:r>
            <a:endParaRPr lang="nl-NL"/>
          </a:p>
        </p:txBody>
      </p:sp>
      <p:graphicFrame>
        <p:nvGraphicFramePr>
          <p:cNvPr id="4" name="Group 3"/>
          <p:cNvGraphicFramePr>
            <a:graphicFrameLocks/>
          </p:cNvGraphicFramePr>
          <p:nvPr/>
        </p:nvGraphicFramePr>
        <p:xfrm>
          <a:off x="396875" y="1594761"/>
          <a:ext cx="8350250" cy="3866520"/>
        </p:xfrm>
        <a:graphic>
          <a:graphicData uri="http://schemas.openxmlformats.org/drawingml/2006/table">
            <a:tbl>
              <a:tblPr/>
              <a:tblGrid>
                <a:gridCol w="2089023"/>
                <a:gridCol w="2086102"/>
                <a:gridCol w="2089023"/>
                <a:gridCol w="2086102"/>
              </a:tblGrid>
              <a:tr h="355334">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r>
              <a:tr h="1482478">
                <a:tc>
                  <a:txBody>
                    <a:bodyPr/>
                    <a:lstStyle/>
                    <a:p>
                      <a:pPr marL="0" marR="0" lvl="0" indent="0" algn="l" defTabSz="957998" rtl="0" eaLnBrk="1" fontAlgn="base" latinLnBrk="0" hangingPunct="1">
                        <a:lnSpc>
                          <a:spcPct val="100000"/>
                        </a:lnSpc>
                        <a:spcBef>
                          <a:spcPts val="400"/>
                        </a:spcBef>
                        <a:spcAft>
                          <a:spcPts val="0"/>
                        </a:spcAft>
                        <a:buClrTx/>
                        <a:buSzTx/>
                        <a:buFont typeface="Arial" charset="0"/>
                        <a:buNone/>
                        <a:tabLst/>
                        <a:defRPr/>
                      </a:pPr>
                      <a:r>
                        <a:rPr kumimoji="0" lang="nl-NL" sz="1400" u="none" strike="noStrike" kern="1200" cap="none" spc="0" normalizeH="0" baseline="0" noProof="0" dirty="0" smtClean="0">
                          <a:ln>
                            <a:noFill/>
                          </a:ln>
                          <a:solidFill>
                            <a:srgbClr val="002776"/>
                          </a:solidFill>
                          <a:effectLst/>
                          <a:uLnTx/>
                          <a:uFillTx/>
                        </a:rPr>
                        <a:t>Text line </a:t>
                      </a:r>
                      <a:br>
                        <a:rPr kumimoji="0" lang="nl-NL" sz="1400" u="none" strike="noStrike" kern="1200" cap="none" spc="0" normalizeH="0" baseline="0" noProof="0" dirty="0" smtClean="0">
                          <a:ln>
                            <a:noFill/>
                          </a:ln>
                          <a:solidFill>
                            <a:srgbClr val="002776"/>
                          </a:solidFill>
                          <a:effectLst/>
                          <a:uLnTx/>
                          <a:uFillTx/>
                        </a:rPr>
                      </a:br>
                      <a:r>
                        <a:rPr kumimoji="0" lang="nl-NL" sz="1400" u="none" strike="noStrike" kern="1200" cap="none" spc="0" normalizeH="0" baseline="0" noProof="0" dirty="0" smtClean="0">
                          <a:ln>
                            <a:noFill/>
                          </a:ln>
                          <a:solidFill>
                            <a:srgbClr val="002776"/>
                          </a:solidFill>
                          <a:effectLst/>
                          <a:uLnTx/>
                          <a:uFillTx/>
                        </a:rPr>
                        <a:t>(if not needed, delete)</a:t>
                      </a:r>
                    </a:p>
                    <a:p>
                      <a:pPr marL="117475" marR="0" lvl="1"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400" u="none" strike="noStrike" kern="1200" cap="none" spc="0" normalizeH="0" baseline="0" noProof="0" dirty="0" smtClean="0">
                          <a:ln>
                            <a:noFill/>
                          </a:ln>
                          <a:solidFill>
                            <a:srgbClr val="002776"/>
                          </a:solidFill>
                          <a:effectLst/>
                          <a:uLnTx/>
                          <a:uFillTx/>
                        </a:rPr>
                        <a:t>Bullet</a:t>
                      </a:r>
                    </a:p>
                    <a:p>
                      <a:pPr marL="227013" marR="0" lvl="2" indent="-109538"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Dash</a:t>
                      </a:r>
                    </a:p>
                    <a:p>
                      <a:pPr marL="344488" marR="0" lvl="3"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Subbullet</a:t>
                      </a:r>
                      <a:endParaRPr kumimoji="0" lang="nl-NL" sz="1200" b="0" i="0" u="none" strike="noStrike" kern="1200" cap="none" spc="0" normalizeH="0" baseline="0" noProof="0" dirty="0">
                        <a:ln>
                          <a:noFill/>
                        </a:ln>
                        <a:solidFill>
                          <a:srgbClr val="002776"/>
                        </a:solidFill>
                        <a:effectLst/>
                        <a:uLnTx/>
                        <a:uFillTx/>
                        <a:latin typeface="+mn-lt"/>
                        <a:ea typeface="+mn-ea"/>
                        <a:cs typeface="+mn-cs"/>
                      </a:endParaRPr>
                    </a:p>
                  </a:txBody>
                  <a:tcPr marL="67525" marR="67525" marT="73152" marB="73152" horzOverflow="overflow">
                    <a:lnL cap="flat">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57998" rtl="0" eaLnBrk="1" fontAlgn="base" latinLnBrk="0" hangingPunct="1">
                        <a:lnSpc>
                          <a:spcPct val="100000"/>
                        </a:lnSpc>
                        <a:spcBef>
                          <a:spcPts val="400"/>
                        </a:spcBef>
                        <a:spcAft>
                          <a:spcPts val="0"/>
                        </a:spcAft>
                        <a:buClrTx/>
                        <a:buSzTx/>
                        <a:buFont typeface="Arial" charset="0"/>
                        <a:buNone/>
                        <a:tabLst/>
                        <a:defRPr/>
                      </a:pPr>
                      <a:r>
                        <a:rPr kumimoji="0" lang="nl-NL" sz="1400" u="none" strike="noStrike" kern="1200" cap="none" spc="0" normalizeH="0" baseline="0" noProof="0" smtClean="0">
                          <a:ln>
                            <a:noFill/>
                          </a:ln>
                          <a:solidFill>
                            <a:srgbClr val="002776"/>
                          </a:solidFill>
                          <a:effectLst/>
                          <a:uLnTx/>
                          <a:uFillTx/>
                        </a:rPr>
                        <a:t>Text line </a:t>
                      </a:r>
                      <a:br>
                        <a:rPr kumimoji="0" lang="nl-NL" sz="1400" u="none" strike="noStrike" kern="1200" cap="none" spc="0" normalizeH="0" baseline="0" noProof="0" smtClean="0">
                          <a:ln>
                            <a:noFill/>
                          </a:ln>
                          <a:solidFill>
                            <a:srgbClr val="002776"/>
                          </a:solidFill>
                          <a:effectLst/>
                          <a:uLnTx/>
                          <a:uFillTx/>
                        </a:rPr>
                      </a:br>
                      <a:r>
                        <a:rPr kumimoji="0" lang="nl-NL" sz="1400" u="none" strike="noStrike" kern="1200" cap="none" spc="0" normalizeH="0" baseline="0" noProof="0" smtClean="0">
                          <a:ln>
                            <a:noFill/>
                          </a:ln>
                          <a:solidFill>
                            <a:srgbClr val="002776"/>
                          </a:solidFill>
                          <a:effectLst/>
                          <a:uLnTx/>
                          <a:uFillTx/>
                        </a:rPr>
                        <a:t>(if not needed, delete)</a:t>
                      </a:r>
                    </a:p>
                    <a:p>
                      <a:pPr marL="117475" marR="0" lvl="1"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400" u="none" strike="noStrike" kern="1200" cap="none" spc="0" normalizeH="0" baseline="0" noProof="0" smtClean="0">
                          <a:ln>
                            <a:noFill/>
                          </a:ln>
                          <a:solidFill>
                            <a:srgbClr val="002776"/>
                          </a:solidFill>
                          <a:effectLst/>
                          <a:uLnTx/>
                          <a:uFillTx/>
                        </a:rPr>
                        <a:t>Bullet</a:t>
                      </a:r>
                    </a:p>
                    <a:p>
                      <a:pPr marL="227013" marR="0" lvl="2" indent="-109538"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smtClean="0">
                          <a:ln>
                            <a:noFill/>
                          </a:ln>
                          <a:solidFill>
                            <a:srgbClr val="002776"/>
                          </a:solidFill>
                          <a:effectLst/>
                          <a:uLnTx/>
                          <a:uFillTx/>
                        </a:rPr>
                        <a:t>Dash</a:t>
                      </a:r>
                    </a:p>
                    <a:p>
                      <a:pPr marL="344488" marR="0" lvl="3"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smtClean="0">
                          <a:ln>
                            <a:noFill/>
                          </a:ln>
                          <a:solidFill>
                            <a:srgbClr val="002776"/>
                          </a:solidFill>
                          <a:effectLst/>
                          <a:uLnTx/>
                          <a:uFillTx/>
                        </a:rPr>
                        <a:t>Subbullet</a:t>
                      </a:r>
                      <a:endParaRPr kumimoji="0" lang="nl-NL" sz="1200" b="0" i="0" u="none" strike="noStrike" kern="1200" cap="none" spc="0" normalizeH="0" baseline="0" noProof="0" dirty="0">
                        <a:ln>
                          <a:noFill/>
                        </a:ln>
                        <a:solidFill>
                          <a:srgbClr val="002776"/>
                        </a:solidFill>
                        <a:effectLst/>
                        <a:uLnTx/>
                        <a:uFillTx/>
                        <a:latin typeface="+mn-lt"/>
                        <a:ea typeface="+mn-ea"/>
                        <a:cs typeface="+mn-cs"/>
                      </a:endParaRPr>
                    </a:p>
                  </a:txBody>
                  <a:tcPr marL="67525" marR="67525" marT="73152" marB="73152" horzOverflow="overflow">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57998" rtl="0" eaLnBrk="1" fontAlgn="base" latinLnBrk="0" hangingPunct="1">
                        <a:lnSpc>
                          <a:spcPct val="100000"/>
                        </a:lnSpc>
                        <a:spcBef>
                          <a:spcPts val="400"/>
                        </a:spcBef>
                        <a:spcAft>
                          <a:spcPts val="0"/>
                        </a:spcAft>
                        <a:buClrTx/>
                        <a:buSzTx/>
                        <a:buFont typeface="Arial" charset="0"/>
                        <a:buNone/>
                        <a:tabLst/>
                        <a:defRPr/>
                      </a:pPr>
                      <a:r>
                        <a:rPr kumimoji="0" lang="nl-NL" sz="1400" u="none" strike="noStrike" kern="1200" cap="none" spc="0" normalizeH="0" baseline="0" noProof="0" dirty="0" smtClean="0">
                          <a:ln>
                            <a:noFill/>
                          </a:ln>
                          <a:solidFill>
                            <a:srgbClr val="002776"/>
                          </a:solidFill>
                          <a:effectLst/>
                          <a:uLnTx/>
                          <a:uFillTx/>
                        </a:rPr>
                        <a:t>Text line </a:t>
                      </a:r>
                      <a:br>
                        <a:rPr kumimoji="0" lang="nl-NL" sz="1400" u="none" strike="noStrike" kern="1200" cap="none" spc="0" normalizeH="0" baseline="0" noProof="0" dirty="0" smtClean="0">
                          <a:ln>
                            <a:noFill/>
                          </a:ln>
                          <a:solidFill>
                            <a:srgbClr val="002776"/>
                          </a:solidFill>
                          <a:effectLst/>
                          <a:uLnTx/>
                          <a:uFillTx/>
                        </a:rPr>
                      </a:br>
                      <a:r>
                        <a:rPr kumimoji="0" lang="nl-NL" sz="1400" u="none" strike="noStrike" kern="1200" cap="none" spc="0" normalizeH="0" baseline="0" noProof="0" dirty="0" smtClean="0">
                          <a:ln>
                            <a:noFill/>
                          </a:ln>
                          <a:solidFill>
                            <a:srgbClr val="002776"/>
                          </a:solidFill>
                          <a:effectLst/>
                          <a:uLnTx/>
                          <a:uFillTx/>
                        </a:rPr>
                        <a:t>(if not needed, delete)</a:t>
                      </a:r>
                    </a:p>
                    <a:p>
                      <a:pPr marL="117475" marR="0" lvl="1"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400" u="none" strike="noStrike" kern="1200" cap="none" spc="0" normalizeH="0" baseline="0" noProof="0" dirty="0" smtClean="0">
                          <a:ln>
                            <a:noFill/>
                          </a:ln>
                          <a:solidFill>
                            <a:srgbClr val="002776"/>
                          </a:solidFill>
                          <a:effectLst/>
                          <a:uLnTx/>
                          <a:uFillTx/>
                        </a:rPr>
                        <a:t>Bullet</a:t>
                      </a:r>
                    </a:p>
                    <a:p>
                      <a:pPr marL="227013" marR="0" lvl="2" indent="-109538"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Dash</a:t>
                      </a:r>
                    </a:p>
                    <a:p>
                      <a:pPr marL="344488" marR="0" lvl="3"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Subbullet</a:t>
                      </a:r>
                      <a:endParaRPr kumimoji="0" lang="nl-NL" sz="1200" b="0" i="0" u="none" strike="noStrike" kern="1200" cap="none" spc="0" normalizeH="0" baseline="0" noProof="0" dirty="0">
                        <a:ln>
                          <a:noFill/>
                        </a:ln>
                        <a:solidFill>
                          <a:srgbClr val="002776"/>
                        </a:solidFill>
                        <a:effectLst/>
                        <a:uLnTx/>
                        <a:uFillTx/>
                        <a:latin typeface="+mn-lt"/>
                        <a:ea typeface="+mn-ea"/>
                        <a:cs typeface="+mn-cs"/>
                      </a:endParaRPr>
                    </a:p>
                  </a:txBody>
                  <a:tcPr marL="67525" marR="67525" marT="73152" marB="73152" horzOverflow="overflow">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957998" rtl="0" eaLnBrk="1" fontAlgn="base" latinLnBrk="0" hangingPunct="1">
                        <a:lnSpc>
                          <a:spcPct val="100000"/>
                        </a:lnSpc>
                        <a:spcBef>
                          <a:spcPts val="400"/>
                        </a:spcBef>
                        <a:spcAft>
                          <a:spcPts val="0"/>
                        </a:spcAft>
                        <a:buClrTx/>
                        <a:buSzTx/>
                        <a:buFont typeface="Arial" charset="0"/>
                        <a:buNone/>
                        <a:tabLst/>
                        <a:defRPr/>
                      </a:pPr>
                      <a:r>
                        <a:rPr kumimoji="0" lang="nl-NL" sz="1400" u="none" strike="noStrike" kern="1200" cap="none" spc="0" normalizeH="0" baseline="0" noProof="0" dirty="0" smtClean="0">
                          <a:ln>
                            <a:noFill/>
                          </a:ln>
                          <a:solidFill>
                            <a:srgbClr val="002776"/>
                          </a:solidFill>
                          <a:effectLst/>
                          <a:uLnTx/>
                          <a:uFillTx/>
                        </a:rPr>
                        <a:t>Text line </a:t>
                      </a:r>
                      <a:br>
                        <a:rPr kumimoji="0" lang="nl-NL" sz="1400" u="none" strike="noStrike" kern="1200" cap="none" spc="0" normalizeH="0" baseline="0" noProof="0" dirty="0" smtClean="0">
                          <a:ln>
                            <a:noFill/>
                          </a:ln>
                          <a:solidFill>
                            <a:srgbClr val="002776"/>
                          </a:solidFill>
                          <a:effectLst/>
                          <a:uLnTx/>
                          <a:uFillTx/>
                        </a:rPr>
                      </a:br>
                      <a:r>
                        <a:rPr kumimoji="0" lang="nl-NL" sz="1400" u="none" strike="noStrike" kern="1200" cap="none" spc="0" normalizeH="0" baseline="0" noProof="0" dirty="0" smtClean="0">
                          <a:ln>
                            <a:noFill/>
                          </a:ln>
                          <a:solidFill>
                            <a:srgbClr val="002776"/>
                          </a:solidFill>
                          <a:effectLst/>
                          <a:uLnTx/>
                          <a:uFillTx/>
                        </a:rPr>
                        <a:t>(if not needed, delete)</a:t>
                      </a:r>
                    </a:p>
                    <a:p>
                      <a:pPr marL="117475" marR="0" lvl="1"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400" u="none" strike="noStrike" kern="1200" cap="none" spc="0" normalizeH="0" baseline="0" noProof="0" dirty="0" smtClean="0">
                          <a:ln>
                            <a:noFill/>
                          </a:ln>
                          <a:solidFill>
                            <a:srgbClr val="002776"/>
                          </a:solidFill>
                          <a:effectLst/>
                          <a:uLnTx/>
                          <a:uFillTx/>
                        </a:rPr>
                        <a:t>Bullet</a:t>
                      </a:r>
                    </a:p>
                    <a:p>
                      <a:pPr marL="227013" marR="0" lvl="2" indent="-109538"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Dash</a:t>
                      </a:r>
                    </a:p>
                    <a:p>
                      <a:pPr marL="344488" marR="0" lvl="3"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Subbullet</a:t>
                      </a:r>
                      <a:endParaRPr kumimoji="0" lang="nl-NL" sz="1200" b="0" i="0" u="none" strike="noStrike" kern="1200" cap="none" spc="0" normalizeH="0" baseline="0" noProof="0" dirty="0">
                        <a:ln>
                          <a:noFill/>
                        </a:ln>
                        <a:solidFill>
                          <a:srgbClr val="002776"/>
                        </a:solidFill>
                        <a:effectLst/>
                        <a:uLnTx/>
                        <a:uFillTx/>
                        <a:latin typeface="+mn-lt"/>
                        <a:ea typeface="+mn-ea"/>
                        <a:cs typeface="+mn-cs"/>
                      </a:endParaRPr>
                    </a:p>
                  </a:txBody>
                  <a:tcPr marL="67525" marR="67525" marT="73152" marB="73152" horzOverflow="overflow">
                    <a:lnL>
                      <a:noFill/>
                    </a:lnL>
                    <a:lnR cap="flat">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2011551">
                <a:tc>
                  <a:txBody>
                    <a:bodyPr/>
                    <a:lstStyle/>
                    <a:p>
                      <a:pPr marL="0" marR="0" lvl="0" indent="0" algn="l" defTabSz="957998" rtl="0" eaLnBrk="1" fontAlgn="base" latinLnBrk="0" hangingPunct="1">
                        <a:lnSpc>
                          <a:spcPct val="100000"/>
                        </a:lnSpc>
                        <a:spcBef>
                          <a:spcPts val="400"/>
                        </a:spcBef>
                        <a:spcAft>
                          <a:spcPts val="0"/>
                        </a:spcAft>
                        <a:buClrTx/>
                        <a:buSzTx/>
                        <a:buFont typeface="Arial" charset="0"/>
                        <a:buNone/>
                        <a:tabLst/>
                        <a:defRPr/>
                      </a:pPr>
                      <a:r>
                        <a:rPr kumimoji="0" lang="nl-NL" sz="1400" u="none" strike="noStrike" kern="1200" cap="none" spc="0" normalizeH="0" baseline="0" noProof="0" dirty="0" smtClean="0">
                          <a:ln>
                            <a:noFill/>
                          </a:ln>
                          <a:solidFill>
                            <a:srgbClr val="002776"/>
                          </a:solidFill>
                          <a:effectLst/>
                          <a:uLnTx/>
                          <a:uFillTx/>
                        </a:rPr>
                        <a:t>Text line </a:t>
                      </a:r>
                      <a:br>
                        <a:rPr kumimoji="0" lang="nl-NL" sz="1400" u="none" strike="noStrike" kern="1200" cap="none" spc="0" normalizeH="0" baseline="0" noProof="0" dirty="0" smtClean="0">
                          <a:ln>
                            <a:noFill/>
                          </a:ln>
                          <a:solidFill>
                            <a:srgbClr val="002776"/>
                          </a:solidFill>
                          <a:effectLst/>
                          <a:uLnTx/>
                          <a:uFillTx/>
                        </a:rPr>
                      </a:br>
                      <a:r>
                        <a:rPr kumimoji="0" lang="nl-NL" sz="1400" u="none" strike="noStrike" kern="1200" cap="none" spc="0" normalizeH="0" baseline="0" noProof="0" dirty="0" smtClean="0">
                          <a:ln>
                            <a:noFill/>
                          </a:ln>
                          <a:solidFill>
                            <a:srgbClr val="002776"/>
                          </a:solidFill>
                          <a:effectLst/>
                          <a:uLnTx/>
                          <a:uFillTx/>
                        </a:rPr>
                        <a:t>(if not needed, delete)</a:t>
                      </a:r>
                    </a:p>
                    <a:p>
                      <a:pPr marL="117475" marR="0" lvl="1"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400" u="none" strike="noStrike" kern="1200" cap="none" spc="0" normalizeH="0" baseline="0" noProof="0" dirty="0" smtClean="0">
                          <a:ln>
                            <a:noFill/>
                          </a:ln>
                          <a:solidFill>
                            <a:srgbClr val="002776"/>
                          </a:solidFill>
                          <a:effectLst/>
                          <a:uLnTx/>
                          <a:uFillTx/>
                        </a:rPr>
                        <a:t>Bullet</a:t>
                      </a:r>
                    </a:p>
                    <a:p>
                      <a:pPr marL="227013" marR="0" lvl="2" indent="-109538"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Dash</a:t>
                      </a:r>
                    </a:p>
                    <a:p>
                      <a:pPr marL="344488" marR="0" lvl="3"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Subbullet</a:t>
                      </a:r>
                      <a:endParaRPr kumimoji="0" lang="nl-NL" sz="1200" b="0" i="0" u="none" strike="noStrike" kern="1200" cap="none" spc="0" normalizeH="0" baseline="0" noProof="0" dirty="0">
                        <a:ln>
                          <a:noFill/>
                        </a:ln>
                        <a:solidFill>
                          <a:srgbClr val="002776"/>
                        </a:solidFill>
                        <a:effectLst/>
                        <a:uLnTx/>
                        <a:uFillTx/>
                        <a:latin typeface="+mn-lt"/>
                        <a:ea typeface="+mn-ea"/>
                        <a:cs typeface="+mn-cs"/>
                      </a:endParaRPr>
                    </a:p>
                  </a:txBody>
                  <a:tcPr marL="67525" marR="67525" marT="73152" marB="73152" horzOverflow="overflow">
                    <a:lnL cap="flat">
                      <a:noFill/>
                    </a:lnL>
                    <a:lnR>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57998" rtl="0" eaLnBrk="1" fontAlgn="base" latinLnBrk="0" hangingPunct="1">
                        <a:lnSpc>
                          <a:spcPct val="100000"/>
                        </a:lnSpc>
                        <a:spcBef>
                          <a:spcPts val="400"/>
                        </a:spcBef>
                        <a:spcAft>
                          <a:spcPts val="0"/>
                        </a:spcAft>
                        <a:buClrTx/>
                        <a:buSzTx/>
                        <a:buFont typeface="Arial" charset="0"/>
                        <a:buNone/>
                        <a:tabLst/>
                        <a:defRPr/>
                      </a:pPr>
                      <a:r>
                        <a:rPr kumimoji="0" lang="nl-NL" sz="1400" u="none" strike="noStrike" kern="1200" cap="none" spc="0" normalizeH="0" baseline="0" noProof="0" dirty="0" smtClean="0">
                          <a:ln>
                            <a:noFill/>
                          </a:ln>
                          <a:solidFill>
                            <a:srgbClr val="002776"/>
                          </a:solidFill>
                          <a:effectLst/>
                          <a:uLnTx/>
                          <a:uFillTx/>
                        </a:rPr>
                        <a:t>Text line </a:t>
                      </a:r>
                      <a:br>
                        <a:rPr kumimoji="0" lang="nl-NL" sz="1400" u="none" strike="noStrike" kern="1200" cap="none" spc="0" normalizeH="0" baseline="0" noProof="0" dirty="0" smtClean="0">
                          <a:ln>
                            <a:noFill/>
                          </a:ln>
                          <a:solidFill>
                            <a:srgbClr val="002776"/>
                          </a:solidFill>
                          <a:effectLst/>
                          <a:uLnTx/>
                          <a:uFillTx/>
                        </a:rPr>
                      </a:br>
                      <a:r>
                        <a:rPr kumimoji="0" lang="nl-NL" sz="1400" u="none" strike="noStrike" kern="1200" cap="none" spc="0" normalizeH="0" baseline="0" noProof="0" dirty="0" smtClean="0">
                          <a:ln>
                            <a:noFill/>
                          </a:ln>
                          <a:solidFill>
                            <a:srgbClr val="002776"/>
                          </a:solidFill>
                          <a:effectLst/>
                          <a:uLnTx/>
                          <a:uFillTx/>
                        </a:rPr>
                        <a:t>(if not needed, delete)</a:t>
                      </a:r>
                    </a:p>
                    <a:p>
                      <a:pPr marL="117475" marR="0" lvl="1"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400" u="none" strike="noStrike" kern="1200" cap="none" spc="0" normalizeH="0" baseline="0" noProof="0" dirty="0" smtClean="0">
                          <a:ln>
                            <a:noFill/>
                          </a:ln>
                          <a:solidFill>
                            <a:srgbClr val="002776"/>
                          </a:solidFill>
                          <a:effectLst/>
                          <a:uLnTx/>
                          <a:uFillTx/>
                        </a:rPr>
                        <a:t>Bullet</a:t>
                      </a:r>
                    </a:p>
                    <a:p>
                      <a:pPr marL="227013" marR="0" lvl="2" indent="-109538"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Dash</a:t>
                      </a:r>
                    </a:p>
                    <a:p>
                      <a:pPr marL="344488" marR="0" lvl="3"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Subbullet</a:t>
                      </a:r>
                      <a:endParaRPr kumimoji="0" lang="nl-NL" sz="1200" b="0" i="0" u="none" strike="noStrike" kern="1200" cap="none" spc="0" normalizeH="0" baseline="0" noProof="0" dirty="0">
                        <a:ln>
                          <a:noFill/>
                        </a:ln>
                        <a:solidFill>
                          <a:srgbClr val="002776"/>
                        </a:solidFill>
                        <a:effectLst/>
                        <a:uLnTx/>
                        <a:uFillTx/>
                        <a:latin typeface="+mn-lt"/>
                        <a:ea typeface="+mn-ea"/>
                        <a:cs typeface="+mn-cs"/>
                      </a:endParaRPr>
                    </a:p>
                  </a:txBody>
                  <a:tcPr marL="67525" marR="67525" marT="73152" marB="73152" horzOverflow="overflow">
                    <a:lnL>
                      <a:noFill/>
                    </a:lnL>
                    <a:lnR>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57998" rtl="0" eaLnBrk="1" fontAlgn="base" latinLnBrk="0" hangingPunct="1">
                        <a:lnSpc>
                          <a:spcPct val="100000"/>
                        </a:lnSpc>
                        <a:spcBef>
                          <a:spcPts val="400"/>
                        </a:spcBef>
                        <a:spcAft>
                          <a:spcPts val="0"/>
                        </a:spcAft>
                        <a:buClrTx/>
                        <a:buSzTx/>
                        <a:buFont typeface="Arial" charset="0"/>
                        <a:buNone/>
                        <a:tabLst/>
                        <a:defRPr/>
                      </a:pPr>
                      <a:r>
                        <a:rPr kumimoji="0" lang="nl-NL" sz="1400" u="none" strike="noStrike" kern="1200" cap="none" spc="0" normalizeH="0" baseline="0" noProof="0" dirty="0" smtClean="0">
                          <a:ln>
                            <a:noFill/>
                          </a:ln>
                          <a:solidFill>
                            <a:srgbClr val="002776"/>
                          </a:solidFill>
                          <a:effectLst/>
                          <a:uLnTx/>
                          <a:uFillTx/>
                        </a:rPr>
                        <a:t>Text line </a:t>
                      </a:r>
                      <a:br>
                        <a:rPr kumimoji="0" lang="nl-NL" sz="1400" u="none" strike="noStrike" kern="1200" cap="none" spc="0" normalizeH="0" baseline="0" noProof="0" dirty="0" smtClean="0">
                          <a:ln>
                            <a:noFill/>
                          </a:ln>
                          <a:solidFill>
                            <a:srgbClr val="002776"/>
                          </a:solidFill>
                          <a:effectLst/>
                          <a:uLnTx/>
                          <a:uFillTx/>
                        </a:rPr>
                      </a:br>
                      <a:r>
                        <a:rPr kumimoji="0" lang="nl-NL" sz="1400" u="none" strike="noStrike" kern="1200" cap="none" spc="0" normalizeH="0" baseline="0" noProof="0" dirty="0" smtClean="0">
                          <a:ln>
                            <a:noFill/>
                          </a:ln>
                          <a:solidFill>
                            <a:srgbClr val="002776"/>
                          </a:solidFill>
                          <a:effectLst/>
                          <a:uLnTx/>
                          <a:uFillTx/>
                        </a:rPr>
                        <a:t>(if not needed, delete)</a:t>
                      </a:r>
                    </a:p>
                    <a:p>
                      <a:pPr marL="117475" marR="0" lvl="1"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400" u="none" strike="noStrike" kern="1200" cap="none" spc="0" normalizeH="0" baseline="0" noProof="0" dirty="0" smtClean="0">
                          <a:ln>
                            <a:noFill/>
                          </a:ln>
                          <a:solidFill>
                            <a:srgbClr val="002776"/>
                          </a:solidFill>
                          <a:effectLst/>
                          <a:uLnTx/>
                          <a:uFillTx/>
                        </a:rPr>
                        <a:t>Bullet</a:t>
                      </a:r>
                    </a:p>
                    <a:p>
                      <a:pPr marL="227013" marR="0" lvl="2" indent="-109538"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Dash</a:t>
                      </a:r>
                    </a:p>
                    <a:p>
                      <a:pPr marL="344488" marR="0" lvl="3"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Subbullet</a:t>
                      </a:r>
                      <a:endParaRPr kumimoji="0" lang="nl-NL" sz="1200" b="0" i="0" u="none" strike="noStrike" kern="1200" cap="none" spc="0" normalizeH="0" baseline="0" noProof="0" dirty="0">
                        <a:ln>
                          <a:noFill/>
                        </a:ln>
                        <a:solidFill>
                          <a:srgbClr val="002776"/>
                        </a:solidFill>
                        <a:effectLst/>
                        <a:uLnTx/>
                        <a:uFillTx/>
                        <a:latin typeface="+mn-lt"/>
                        <a:ea typeface="+mn-ea"/>
                        <a:cs typeface="+mn-cs"/>
                      </a:endParaRPr>
                    </a:p>
                  </a:txBody>
                  <a:tcPr marL="67525" marR="67525" marT="73152" marB="73152" horzOverflow="overflow">
                    <a:lnL>
                      <a:noFill/>
                    </a:lnL>
                    <a:lnR>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57998" rtl="0" eaLnBrk="1" fontAlgn="base" latinLnBrk="0" hangingPunct="1">
                        <a:lnSpc>
                          <a:spcPct val="100000"/>
                        </a:lnSpc>
                        <a:spcBef>
                          <a:spcPts val="400"/>
                        </a:spcBef>
                        <a:spcAft>
                          <a:spcPts val="0"/>
                        </a:spcAft>
                        <a:buClrTx/>
                        <a:buSzTx/>
                        <a:buFont typeface="Arial" charset="0"/>
                        <a:buNone/>
                        <a:tabLst/>
                        <a:defRPr/>
                      </a:pPr>
                      <a:r>
                        <a:rPr kumimoji="0" lang="nl-NL" sz="1400" u="none" strike="noStrike" kern="1200" cap="none" spc="0" normalizeH="0" baseline="0" noProof="0" dirty="0" smtClean="0">
                          <a:ln>
                            <a:noFill/>
                          </a:ln>
                          <a:solidFill>
                            <a:srgbClr val="002776"/>
                          </a:solidFill>
                          <a:effectLst/>
                          <a:uLnTx/>
                          <a:uFillTx/>
                        </a:rPr>
                        <a:t>Text line </a:t>
                      </a:r>
                      <a:br>
                        <a:rPr kumimoji="0" lang="nl-NL" sz="1400" u="none" strike="noStrike" kern="1200" cap="none" spc="0" normalizeH="0" baseline="0" noProof="0" dirty="0" smtClean="0">
                          <a:ln>
                            <a:noFill/>
                          </a:ln>
                          <a:solidFill>
                            <a:srgbClr val="002776"/>
                          </a:solidFill>
                          <a:effectLst/>
                          <a:uLnTx/>
                          <a:uFillTx/>
                        </a:rPr>
                      </a:br>
                      <a:r>
                        <a:rPr kumimoji="0" lang="nl-NL" sz="1400" u="none" strike="noStrike" kern="1200" cap="none" spc="0" normalizeH="0" baseline="0" noProof="0" dirty="0" smtClean="0">
                          <a:ln>
                            <a:noFill/>
                          </a:ln>
                          <a:solidFill>
                            <a:srgbClr val="002776"/>
                          </a:solidFill>
                          <a:effectLst/>
                          <a:uLnTx/>
                          <a:uFillTx/>
                        </a:rPr>
                        <a:t>(if not needed, delete)</a:t>
                      </a:r>
                    </a:p>
                    <a:p>
                      <a:pPr marL="117475" marR="0" lvl="1"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400" u="none" strike="noStrike" kern="1200" cap="none" spc="0" normalizeH="0" baseline="0" noProof="0" dirty="0" smtClean="0">
                          <a:ln>
                            <a:noFill/>
                          </a:ln>
                          <a:solidFill>
                            <a:srgbClr val="002776"/>
                          </a:solidFill>
                          <a:effectLst/>
                          <a:uLnTx/>
                          <a:uFillTx/>
                        </a:rPr>
                        <a:t>Bullet</a:t>
                      </a:r>
                    </a:p>
                    <a:p>
                      <a:pPr marL="227013" marR="0" lvl="2" indent="-109538"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Dash</a:t>
                      </a:r>
                    </a:p>
                    <a:p>
                      <a:pPr marL="344488" marR="0" lvl="3"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Subbullet</a:t>
                      </a:r>
                      <a:endParaRPr kumimoji="0" lang="nl-NL" sz="1200" b="0" i="0" u="none" strike="noStrike" kern="1200" cap="none" spc="0" normalizeH="0" baseline="0" noProof="0" dirty="0">
                        <a:ln>
                          <a:noFill/>
                        </a:ln>
                        <a:solidFill>
                          <a:srgbClr val="002776"/>
                        </a:solidFill>
                        <a:effectLst/>
                        <a:uLnTx/>
                        <a:uFillTx/>
                        <a:latin typeface="+mn-lt"/>
                        <a:ea typeface="+mn-ea"/>
                        <a:cs typeface="+mn-cs"/>
                      </a:endParaRPr>
                    </a:p>
                  </a:txBody>
                  <a:tcPr marL="67525" marR="67525" marT="73152" marB="73152" horzOverflow="overflow">
                    <a:lnL>
                      <a:noFill/>
                    </a:lnL>
                    <a:lnR cap="flat">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r>
            </a:tbl>
          </a:graphicData>
        </a:graphic>
      </p:graphicFrame>
      <p:sp>
        <p:nvSpPr>
          <p:cNvPr id="6"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9"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2913"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72387"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22914" name="Title 1"/>
          <p:cNvSpPr>
            <a:spLocks noGrp="1"/>
          </p:cNvSpPr>
          <p:nvPr>
            <p:ph type="title"/>
            <p:custDataLst>
              <p:tags r:id="rId3"/>
            </p:custDataLst>
          </p:nvPr>
        </p:nvSpPr>
        <p:spPr>
          <a:xfrm>
            <a:off x="414338" y="446038"/>
            <a:ext cx="8330184" cy="333425"/>
          </a:xfrm>
        </p:spPr>
        <p:txBody>
          <a:bodyPr/>
          <a:lstStyle/>
          <a:p>
            <a:r>
              <a:rPr lang="en-GB"/>
              <a:t>Other graphs </a:t>
            </a:r>
            <a:r>
              <a:rPr lang="en-US"/>
              <a:t>—</a:t>
            </a:r>
            <a:r>
              <a:rPr lang="en-GB" smtClean="0"/>
              <a:t> </a:t>
            </a:r>
            <a:r>
              <a:rPr lang="en-GB"/>
              <a:t>CAGR </a:t>
            </a:r>
            <a:r>
              <a:rPr lang="en-GB" altLang="ja-JP"/>
              <a:t>t</a:t>
            </a:r>
            <a:r>
              <a:rPr lang="en-GB"/>
              <a:t>ree</a:t>
            </a:r>
            <a:endParaRPr lang="nl-NL"/>
          </a:p>
        </p:txBody>
      </p:sp>
      <p:sp>
        <p:nvSpPr>
          <p:cNvPr id="422916" name="Text Box 3"/>
          <p:cNvSpPr txBox="1">
            <a:spLocks noChangeArrowheads="1"/>
          </p:cNvSpPr>
          <p:nvPr>
            <p:custDataLst>
              <p:tags r:id="rId4"/>
            </p:custDataLst>
          </p:nvPr>
        </p:nvSpPr>
        <p:spPr bwMode="auto">
          <a:xfrm>
            <a:off x="893763" y="2536825"/>
            <a:ext cx="574675" cy="153988"/>
          </a:xfrm>
          <a:prstGeom prst="rect">
            <a:avLst/>
          </a:prstGeom>
          <a:noFill/>
          <a:ln w="9525">
            <a:noFill/>
            <a:miter lim="800000"/>
            <a:headEnd/>
            <a:tailEnd/>
          </a:ln>
        </p:spPr>
        <p:txBody>
          <a:bodyPr wrap="none" lIns="0" tIns="0" rIns="0" bIns="0">
            <a:spAutoFit/>
          </a:bodyPr>
          <a:lstStyle/>
          <a:p>
            <a:r>
              <a:rPr lang="en-GB" sz="1000">
                <a:solidFill>
                  <a:schemeClr val="tx2"/>
                </a:solidFill>
                <a:ea typeface="ＭＳ Ｐゴシック" charset="-128"/>
              </a:rPr>
              <a:t>Key figure</a:t>
            </a:r>
          </a:p>
        </p:txBody>
      </p:sp>
      <p:sp>
        <p:nvSpPr>
          <p:cNvPr id="422917" name="Oval 4"/>
          <p:cNvSpPr>
            <a:spLocks noChangeArrowheads="1"/>
          </p:cNvSpPr>
          <p:nvPr>
            <p:custDataLst>
              <p:tags r:id="rId5"/>
            </p:custDataLst>
          </p:nvPr>
        </p:nvSpPr>
        <p:spPr bwMode="auto">
          <a:xfrm>
            <a:off x="612775" y="2571750"/>
            <a:ext cx="184150" cy="107950"/>
          </a:xfrm>
          <a:prstGeom prst="ellipse">
            <a:avLst/>
          </a:prstGeom>
          <a:noFill/>
          <a:ln w="12700">
            <a:solidFill>
              <a:schemeClr val="accent2"/>
            </a:solidFill>
            <a:round/>
            <a:headEnd/>
            <a:tailEnd/>
          </a:ln>
        </p:spPr>
        <p:txBody>
          <a:bodyPr wrap="none" lIns="0" tIns="0" rIns="0" bIns="0" anchor="ctr"/>
          <a:lstStyle/>
          <a:p>
            <a:pPr algn="ctr"/>
            <a:endParaRPr lang="en-GB" sz="1000">
              <a:solidFill>
                <a:schemeClr val="tx2"/>
              </a:solidFill>
              <a:ea typeface="ＭＳ Ｐゴシック" charset="-128"/>
            </a:endParaRPr>
          </a:p>
        </p:txBody>
      </p:sp>
      <p:cxnSp>
        <p:nvCxnSpPr>
          <p:cNvPr id="69" name="AutoShape 66"/>
          <p:cNvCxnSpPr>
            <a:cxnSpLocks noChangeShapeType="1"/>
          </p:cNvCxnSpPr>
          <p:nvPr/>
        </p:nvCxnSpPr>
        <p:spPr bwMode="gray">
          <a:xfrm>
            <a:off x="1966913" y="4300538"/>
            <a:ext cx="735012" cy="1098550"/>
          </a:xfrm>
          <a:prstGeom prst="bentConnector3">
            <a:avLst>
              <a:gd name="adj1" fmla="val 50000"/>
            </a:avLst>
          </a:prstGeom>
          <a:noFill/>
          <a:ln w="12700">
            <a:solidFill>
              <a:schemeClr val="accent1"/>
            </a:solidFill>
            <a:miter lim="800000"/>
            <a:headEnd/>
            <a:tailEnd/>
          </a:ln>
        </p:spPr>
      </p:cxnSp>
      <p:grpSp>
        <p:nvGrpSpPr>
          <p:cNvPr id="2" name="Group 90"/>
          <p:cNvGrpSpPr>
            <a:grpSpLocks/>
          </p:cNvGrpSpPr>
          <p:nvPr/>
        </p:nvGrpSpPr>
        <p:grpSpPr bwMode="auto">
          <a:xfrm>
            <a:off x="471488" y="3906838"/>
            <a:ext cx="1495425" cy="600075"/>
            <a:chOff x="510030" y="3653176"/>
            <a:chExt cx="1620001" cy="599521"/>
          </a:xfrm>
        </p:grpSpPr>
        <p:sp>
          <p:nvSpPr>
            <p:cNvPr id="422987"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en-US" sz="1200" b="1" dirty="0">
                  <a:solidFill>
                    <a:srgbClr val="FFFFFF"/>
                  </a:solidFill>
                </a:rPr>
                <a:t>Text</a:t>
              </a:r>
            </a:p>
          </p:txBody>
        </p:sp>
        <p:sp>
          <p:nvSpPr>
            <p:cNvPr id="80" name="Rectangle 79"/>
            <p:cNvSpPr>
              <a:spLocks noChangeArrowheads="1"/>
            </p:cNvSpPr>
            <p:nvPr/>
          </p:nvSpPr>
          <p:spPr bwMode="auto">
            <a:xfrm>
              <a:off x="510030"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dirty="0">
                  <a:solidFill>
                    <a:srgbClr val="002776"/>
                  </a:solidFill>
                  <a:latin typeface="Arial"/>
                  <a:cs typeface="+mn-cs"/>
                </a:rPr>
                <a:t>Text</a:t>
              </a:r>
            </a:p>
          </p:txBody>
        </p:sp>
        <p:sp>
          <p:nvSpPr>
            <p:cNvPr id="89" name="Rectangle 88"/>
            <p:cNvSpPr>
              <a:spLocks noChangeArrowheads="1"/>
            </p:cNvSpPr>
            <p:nvPr/>
          </p:nvSpPr>
          <p:spPr bwMode="auto">
            <a:xfrm>
              <a:off x="1050030"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90" name="Rectangle 89"/>
            <p:cNvSpPr>
              <a:spLocks noChangeArrowheads="1"/>
            </p:cNvSpPr>
            <p:nvPr/>
          </p:nvSpPr>
          <p:spPr bwMode="auto">
            <a:xfrm>
              <a:off x="1590031"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grpSp>
      <p:grpSp>
        <p:nvGrpSpPr>
          <p:cNvPr id="3" name="Group 93"/>
          <p:cNvGrpSpPr>
            <a:grpSpLocks/>
          </p:cNvGrpSpPr>
          <p:nvPr/>
        </p:nvGrpSpPr>
        <p:grpSpPr bwMode="auto">
          <a:xfrm>
            <a:off x="2701925" y="5005388"/>
            <a:ext cx="1495425" cy="598487"/>
            <a:chOff x="510030" y="3653176"/>
            <a:chExt cx="1620001" cy="599521"/>
          </a:xfrm>
        </p:grpSpPr>
        <p:sp>
          <p:nvSpPr>
            <p:cNvPr id="422983"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en-US" sz="1200" b="1" dirty="0">
                  <a:solidFill>
                    <a:srgbClr val="FFFFFF"/>
                  </a:solidFill>
                </a:rPr>
                <a:t>Text</a:t>
              </a:r>
            </a:p>
          </p:txBody>
        </p:sp>
        <p:sp>
          <p:nvSpPr>
            <p:cNvPr id="96" name="Rectangle 95"/>
            <p:cNvSpPr>
              <a:spLocks noChangeArrowheads="1"/>
            </p:cNvSpPr>
            <p:nvPr/>
          </p:nvSpPr>
          <p:spPr bwMode="auto">
            <a:xfrm>
              <a:off x="510030" y="3840825"/>
              <a:ext cx="540000" cy="411872"/>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97" name="Rectangle 96"/>
            <p:cNvSpPr>
              <a:spLocks noChangeArrowheads="1"/>
            </p:cNvSpPr>
            <p:nvPr/>
          </p:nvSpPr>
          <p:spPr bwMode="auto">
            <a:xfrm>
              <a:off x="1050030" y="3840825"/>
              <a:ext cx="540000" cy="411872"/>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98" name="Rectangle 97"/>
            <p:cNvSpPr>
              <a:spLocks noChangeArrowheads="1"/>
            </p:cNvSpPr>
            <p:nvPr/>
          </p:nvSpPr>
          <p:spPr bwMode="auto">
            <a:xfrm>
              <a:off x="1590031" y="3840825"/>
              <a:ext cx="540000" cy="411872"/>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grpSp>
      <p:grpSp>
        <p:nvGrpSpPr>
          <p:cNvPr id="4" name="Group 98"/>
          <p:cNvGrpSpPr>
            <a:grpSpLocks/>
          </p:cNvGrpSpPr>
          <p:nvPr/>
        </p:nvGrpSpPr>
        <p:grpSpPr bwMode="auto">
          <a:xfrm>
            <a:off x="2701925" y="2803525"/>
            <a:ext cx="1495425" cy="600075"/>
            <a:chOff x="510030" y="3653176"/>
            <a:chExt cx="1620001" cy="599521"/>
          </a:xfrm>
        </p:grpSpPr>
        <p:sp>
          <p:nvSpPr>
            <p:cNvPr id="422979"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en-US" sz="1200" b="1" dirty="0">
                  <a:solidFill>
                    <a:srgbClr val="FFFFFF"/>
                  </a:solidFill>
                </a:rPr>
                <a:t>Text</a:t>
              </a:r>
            </a:p>
          </p:txBody>
        </p:sp>
        <p:sp>
          <p:nvSpPr>
            <p:cNvPr id="101" name="Rectangle 100"/>
            <p:cNvSpPr>
              <a:spLocks noChangeArrowheads="1"/>
            </p:cNvSpPr>
            <p:nvPr/>
          </p:nvSpPr>
          <p:spPr bwMode="auto">
            <a:xfrm>
              <a:off x="510030"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102" name="Rectangle 101"/>
            <p:cNvSpPr>
              <a:spLocks noChangeArrowheads="1"/>
            </p:cNvSpPr>
            <p:nvPr/>
          </p:nvSpPr>
          <p:spPr bwMode="auto">
            <a:xfrm>
              <a:off x="1050030"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103" name="Rectangle 102"/>
            <p:cNvSpPr>
              <a:spLocks noChangeArrowheads="1"/>
            </p:cNvSpPr>
            <p:nvPr/>
          </p:nvSpPr>
          <p:spPr bwMode="auto">
            <a:xfrm>
              <a:off x="1590031"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grpSp>
      <p:grpSp>
        <p:nvGrpSpPr>
          <p:cNvPr id="5" name="Group 103"/>
          <p:cNvGrpSpPr>
            <a:grpSpLocks/>
          </p:cNvGrpSpPr>
          <p:nvPr/>
        </p:nvGrpSpPr>
        <p:grpSpPr bwMode="auto">
          <a:xfrm>
            <a:off x="5053013" y="2108200"/>
            <a:ext cx="1495425" cy="598488"/>
            <a:chOff x="510030" y="3653176"/>
            <a:chExt cx="1620001" cy="599521"/>
          </a:xfrm>
        </p:grpSpPr>
        <p:sp>
          <p:nvSpPr>
            <p:cNvPr id="422975"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en-US" sz="1200" b="1" dirty="0">
                  <a:solidFill>
                    <a:srgbClr val="FFFFFF"/>
                  </a:solidFill>
                </a:rPr>
                <a:t>Text</a:t>
              </a:r>
            </a:p>
          </p:txBody>
        </p:sp>
        <p:sp>
          <p:nvSpPr>
            <p:cNvPr id="106" name="Rectangle 105"/>
            <p:cNvSpPr>
              <a:spLocks noChangeArrowheads="1"/>
            </p:cNvSpPr>
            <p:nvPr/>
          </p:nvSpPr>
          <p:spPr bwMode="auto">
            <a:xfrm>
              <a:off x="510030" y="3840824"/>
              <a:ext cx="540000" cy="411873"/>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107" name="Rectangle 106"/>
            <p:cNvSpPr>
              <a:spLocks noChangeArrowheads="1"/>
            </p:cNvSpPr>
            <p:nvPr/>
          </p:nvSpPr>
          <p:spPr bwMode="auto">
            <a:xfrm>
              <a:off x="1050030" y="3840824"/>
              <a:ext cx="540000" cy="411873"/>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108" name="Rectangle 107"/>
            <p:cNvSpPr>
              <a:spLocks noChangeArrowheads="1"/>
            </p:cNvSpPr>
            <p:nvPr/>
          </p:nvSpPr>
          <p:spPr bwMode="auto">
            <a:xfrm>
              <a:off x="1590031" y="3840824"/>
              <a:ext cx="540000" cy="411873"/>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grpSp>
      <p:grpSp>
        <p:nvGrpSpPr>
          <p:cNvPr id="6" name="Group 118"/>
          <p:cNvGrpSpPr>
            <a:grpSpLocks/>
          </p:cNvGrpSpPr>
          <p:nvPr/>
        </p:nvGrpSpPr>
        <p:grpSpPr bwMode="auto">
          <a:xfrm>
            <a:off x="5053013" y="2798763"/>
            <a:ext cx="1495425" cy="600075"/>
            <a:chOff x="510030" y="3653176"/>
            <a:chExt cx="1620001" cy="599521"/>
          </a:xfrm>
        </p:grpSpPr>
        <p:sp>
          <p:nvSpPr>
            <p:cNvPr id="422971"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en-US" sz="1200" b="1" dirty="0">
                  <a:solidFill>
                    <a:srgbClr val="FFFFFF"/>
                  </a:solidFill>
                </a:rPr>
                <a:t>Text</a:t>
              </a:r>
            </a:p>
          </p:txBody>
        </p:sp>
        <p:sp>
          <p:nvSpPr>
            <p:cNvPr id="121" name="Rectangle 120"/>
            <p:cNvSpPr>
              <a:spLocks noChangeArrowheads="1"/>
            </p:cNvSpPr>
            <p:nvPr/>
          </p:nvSpPr>
          <p:spPr bwMode="auto">
            <a:xfrm>
              <a:off x="510030"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122" name="Rectangle 121"/>
            <p:cNvSpPr>
              <a:spLocks noChangeArrowheads="1"/>
            </p:cNvSpPr>
            <p:nvPr/>
          </p:nvSpPr>
          <p:spPr bwMode="auto">
            <a:xfrm>
              <a:off x="1050030"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123" name="Rectangle 122"/>
            <p:cNvSpPr>
              <a:spLocks noChangeArrowheads="1"/>
            </p:cNvSpPr>
            <p:nvPr/>
          </p:nvSpPr>
          <p:spPr bwMode="auto">
            <a:xfrm>
              <a:off x="1590031"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grpSp>
      <p:grpSp>
        <p:nvGrpSpPr>
          <p:cNvPr id="7" name="Group 123"/>
          <p:cNvGrpSpPr>
            <a:grpSpLocks/>
          </p:cNvGrpSpPr>
          <p:nvPr/>
        </p:nvGrpSpPr>
        <p:grpSpPr bwMode="auto">
          <a:xfrm>
            <a:off x="5053013" y="3479800"/>
            <a:ext cx="1495425" cy="598488"/>
            <a:chOff x="510030" y="3653176"/>
            <a:chExt cx="1620001" cy="599521"/>
          </a:xfrm>
        </p:grpSpPr>
        <p:sp>
          <p:nvSpPr>
            <p:cNvPr id="422967"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en-US" sz="1200" b="1" dirty="0">
                  <a:solidFill>
                    <a:srgbClr val="FFFFFF"/>
                  </a:solidFill>
                </a:rPr>
                <a:t>Tex</a:t>
              </a:r>
              <a:r>
                <a:rPr lang="en-US" sz="1400" b="1" dirty="0">
                  <a:solidFill>
                    <a:srgbClr val="FFFFFF"/>
                  </a:solidFill>
                </a:rPr>
                <a:t>t</a:t>
              </a:r>
            </a:p>
          </p:txBody>
        </p:sp>
        <p:sp>
          <p:nvSpPr>
            <p:cNvPr id="126" name="Rectangle 125"/>
            <p:cNvSpPr>
              <a:spLocks noChangeArrowheads="1"/>
            </p:cNvSpPr>
            <p:nvPr/>
          </p:nvSpPr>
          <p:spPr bwMode="auto">
            <a:xfrm>
              <a:off x="510030" y="3840824"/>
              <a:ext cx="540000" cy="411873"/>
            </a:xfrm>
            <a:prstGeom prst="rect">
              <a:avLst/>
            </a:prstGeom>
            <a:noFill/>
            <a:ln w="12700" algn="ctr">
              <a:solidFill>
                <a:srgbClr val="00A1DE"/>
              </a:solidFill>
              <a:miter lim="800000"/>
              <a:headEnd/>
              <a:tailEnd/>
            </a:ln>
          </p:spPr>
          <p:txBody>
            <a:bodyPr lIns="40118" tIns="40118" rIns="40118" bIns="40118" anchor="b" anchorCtr="1"/>
            <a:lstStyle/>
            <a:p>
              <a:pPr marL="359623" indent="-359623"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127" name="Rectangle 126"/>
            <p:cNvSpPr>
              <a:spLocks noChangeArrowheads="1"/>
            </p:cNvSpPr>
            <p:nvPr/>
          </p:nvSpPr>
          <p:spPr bwMode="auto">
            <a:xfrm>
              <a:off x="1050030" y="3840824"/>
              <a:ext cx="540000" cy="411873"/>
            </a:xfrm>
            <a:prstGeom prst="rect">
              <a:avLst/>
            </a:prstGeom>
            <a:noFill/>
            <a:ln w="12700" algn="ctr">
              <a:solidFill>
                <a:srgbClr val="00A1DE"/>
              </a:solidFill>
              <a:miter lim="800000"/>
              <a:headEnd/>
              <a:tailEnd/>
            </a:ln>
          </p:spPr>
          <p:txBody>
            <a:bodyPr lIns="40118" tIns="40118" rIns="40118" bIns="40118" anchor="b" anchorCtr="1"/>
            <a:lstStyle/>
            <a:p>
              <a:pPr marL="359623" indent="-359623"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128" name="Rectangle 127"/>
            <p:cNvSpPr>
              <a:spLocks noChangeArrowheads="1"/>
            </p:cNvSpPr>
            <p:nvPr/>
          </p:nvSpPr>
          <p:spPr bwMode="auto">
            <a:xfrm>
              <a:off x="1590031" y="3840824"/>
              <a:ext cx="540000" cy="411873"/>
            </a:xfrm>
            <a:prstGeom prst="rect">
              <a:avLst/>
            </a:prstGeom>
            <a:noFill/>
            <a:ln w="12700" algn="ctr">
              <a:solidFill>
                <a:srgbClr val="00A1DE"/>
              </a:solidFill>
              <a:miter lim="800000"/>
              <a:headEnd/>
              <a:tailEnd/>
            </a:ln>
          </p:spPr>
          <p:txBody>
            <a:bodyPr lIns="40118" tIns="40118" rIns="40118" bIns="40118" anchor="b" anchorCtr="1"/>
            <a:lstStyle/>
            <a:p>
              <a:pPr marL="359623" indent="-359623"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grpSp>
      <p:grpSp>
        <p:nvGrpSpPr>
          <p:cNvPr id="8" name="Group 128"/>
          <p:cNvGrpSpPr>
            <a:grpSpLocks/>
          </p:cNvGrpSpPr>
          <p:nvPr/>
        </p:nvGrpSpPr>
        <p:grpSpPr bwMode="auto">
          <a:xfrm>
            <a:off x="7167563" y="3117850"/>
            <a:ext cx="1495425" cy="600075"/>
            <a:chOff x="510030" y="3653176"/>
            <a:chExt cx="1620001" cy="599521"/>
          </a:xfrm>
        </p:grpSpPr>
        <p:sp>
          <p:nvSpPr>
            <p:cNvPr id="422963"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en-US" sz="1200" b="1" dirty="0">
                  <a:solidFill>
                    <a:srgbClr val="FFFFFF"/>
                  </a:solidFill>
                </a:rPr>
                <a:t>Text</a:t>
              </a:r>
            </a:p>
          </p:txBody>
        </p:sp>
        <p:sp>
          <p:nvSpPr>
            <p:cNvPr id="131" name="Rectangle 130"/>
            <p:cNvSpPr>
              <a:spLocks noChangeArrowheads="1"/>
            </p:cNvSpPr>
            <p:nvPr/>
          </p:nvSpPr>
          <p:spPr bwMode="auto">
            <a:xfrm>
              <a:off x="510030"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132" name="Rectangle 131"/>
            <p:cNvSpPr>
              <a:spLocks noChangeArrowheads="1"/>
            </p:cNvSpPr>
            <p:nvPr/>
          </p:nvSpPr>
          <p:spPr bwMode="auto">
            <a:xfrm>
              <a:off x="1050030"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133" name="Rectangle 132"/>
            <p:cNvSpPr>
              <a:spLocks noChangeArrowheads="1"/>
            </p:cNvSpPr>
            <p:nvPr/>
          </p:nvSpPr>
          <p:spPr bwMode="auto">
            <a:xfrm>
              <a:off x="1590031"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grpSp>
      <p:grpSp>
        <p:nvGrpSpPr>
          <p:cNvPr id="9" name="Group 133"/>
          <p:cNvGrpSpPr>
            <a:grpSpLocks/>
          </p:cNvGrpSpPr>
          <p:nvPr/>
        </p:nvGrpSpPr>
        <p:grpSpPr bwMode="auto">
          <a:xfrm>
            <a:off x="7167563" y="3830638"/>
            <a:ext cx="1495425" cy="598487"/>
            <a:chOff x="510030" y="3653176"/>
            <a:chExt cx="1620001" cy="599521"/>
          </a:xfrm>
        </p:grpSpPr>
        <p:sp>
          <p:nvSpPr>
            <p:cNvPr id="422959"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en-US" sz="1200" b="1" dirty="0">
                  <a:solidFill>
                    <a:srgbClr val="FFFFFF"/>
                  </a:solidFill>
                </a:rPr>
                <a:t>Text</a:t>
              </a:r>
            </a:p>
          </p:txBody>
        </p:sp>
        <p:sp>
          <p:nvSpPr>
            <p:cNvPr id="136" name="Rectangle 135"/>
            <p:cNvSpPr>
              <a:spLocks noChangeArrowheads="1"/>
            </p:cNvSpPr>
            <p:nvPr/>
          </p:nvSpPr>
          <p:spPr bwMode="auto">
            <a:xfrm>
              <a:off x="510030" y="3840825"/>
              <a:ext cx="540000" cy="411872"/>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137" name="Rectangle 136"/>
            <p:cNvSpPr>
              <a:spLocks noChangeArrowheads="1"/>
            </p:cNvSpPr>
            <p:nvPr/>
          </p:nvSpPr>
          <p:spPr bwMode="auto">
            <a:xfrm>
              <a:off x="1050030" y="3840825"/>
              <a:ext cx="540000" cy="411872"/>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138" name="Rectangle 137"/>
            <p:cNvSpPr>
              <a:spLocks noChangeArrowheads="1"/>
            </p:cNvSpPr>
            <p:nvPr/>
          </p:nvSpPr>
          <p:spPr bwMode="auto">
            <a:xfrm>
              <a:off x="1590031" y="3840825"/>
              <a:ext cx="540000" cy="411872"/>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grpSp>
      <p:grpSp>
        <p:nvGrpSpPr>
          <p:cNvPr id="10" name="Group 138"/>
          <p:cNvGrpSpPr>
            <a:grpSpLocks/>
          </p:cNvGrpSpPr>
          <p:nvPr/>
        </p:nvGrpSpPr>
        <p:grpSpPr bwMode="auto">
          <a:xfrm>
            <a:off x="7167563" y="2108203"/>
            <a:ext cx="1495425" cy="598485"/>
            <a:chOff x="510030" y="3653179"/>
            <a:chExt cx="1620001" cy="599518"/>
          </a:xfrm>
        </p:grpSpPr>
        <p:sp>
          <p:nvSpPr>
            <p:cNvPr id="422955" name="Text Box 10"/>
            <p:cNvSpPr txBox="1">
              <a:spLocks noChangeArrowheads="1"/>
            </p:cNvSpPr>
            <p:nvPr/>
          </p:nvSpPr>
          <p:spPr bwMode="auto">
            <a:xfrm>
              <a:off x="510031" y="3653179"/>
              <a:ext cx="1620000" cy="187291"/>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en-US" sz="1200" b="1" dirty="0">
                  <a:solidFill>
                    <a:srgbClr val="FFFFFF"/>
                  </a:solidFill>
                </a:rPr>
                <a:t>Text</a:t>
              </a:r>
            </a:p>
          </p:txBody>
        </p:sp>
        <p:sp>
          <p:nvSpPr>
            <p:cNvPr id="141" name="Rectangle 140"/>
            <p:cNvSpPr>
              <a:spLocks noChangeArrowheads="1"/>
            </p:cNvSpPr>
            <p:nvPr/>
          </p:nvSpPr>
          <p:spPr bwMode="auto">
            <a:xfrm>
              <a:off x="510030" y="3840824"/>
              <a:ext cx="540000" cy="411873"/>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142" name="Rectangle 141"/>
            <p:cNvSpPr>
              <a:spLocks noChangeArrowheads="1"/>
            </p:cNvSpPr>
            <p:nvPr/>
          </p:nvSpPr>
          <p:spPr bwMode="auto">
            <a:xfrm>
              <a:off x="1050030" y="3840824"/>
              <a:ext cx="540000" cy="411873"/>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143" name="Rectangle 142"/>
            <p:cNvSpPr>
              <a:spLocks noChangeArrowheads="1"/>
            </p:cNvSpPr>
            <p:nvPr/>
          </p:nvSpPr>
          <p:spPr bwMode="auto">
            <a:xfrm>
              <a:off x="1590031" y="3840824"/>
              <a:ext cx="540000" cy="411873"/>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grpSp>
      <p:grpSp>
        <p:nvGrpSpPr>
          <p:cNvPr id="11" name="Group 143"/>
          <p:cNvGrpSpPr>
            <a:grpSpLocks/>
          </p:cNvGrpSpPr>
          <p:nvPr/>
        </p:nvGrpSpPr>
        <p:grpSpPr bwMode="auto">
          <a:xfrm>
            <a:off x="5053013" y="4648200"/>
            <a:ext cx="1495425" cy="600075"/>
            <a:chOff x="510030" y="3653176"/>
            <a:chExt cx="1620001" cy="599521"/>
          </a:xfrm>
        </p:grpSpPr>
        <p:sp>
          <p:nvSpPr>
            <p:cNvPr id="422951"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en-US" sz="1200" b="1" dirty="0">
                  <a:solidFill>
                    <a:srgbClr val="FFFFFF"/>
                  </a:solidFill>
                </a:rPr>
                <a:t>Text</a:t>
              </a:r>
            </a:p>
          </p:txBody>
        </p:sp>
        <p:sp>
          <p:nvSpPr>
            <p:cNvPr id="146" name="Rectangle 145"/>
            <p:cNvSpPr>
              <a:spLocks noChangeArrowheads="1"/>
            </p:cNvSpPr>
            <p:nvPr/>
          </p:nvSpPr>
          <p:spPr bwMode="auto">
            <a:xfrm>
              <a:off x="510030"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147" name="Rectangle 146"/>
            <p:cNvSpPr>
              <a:spLocks noChangeArrowheads="1"/>
            </p:cNvSpPr>
            <p:nvPr/>
          </p:nvSpPr>
          <p:spPr bwMode="auto">
            <a:xfrm>
              <a:off x="1050030"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148" name="Rectangle 147"/>
            <p:cNvSpPr>
              <a:spLocks noChangeArrowheads="1"/>
            </p:cNvSpPr>
            <p:nvPr/>
          </p:nvSpPr>
          <p:spPr bwMode="auto">
            <a:xfrm>
              <a:off x="1590031"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grpSp>
      <p:grpSp>
        <p:nvGrpSpPr>
          <p:cNvPr id="12" name="Group 148"/>
          <p:cNvGrpSpPr>
            <a:grpSpLocks/>
          </p:cNvGrpSpPr>
          <p:nvPr/>
        </p:nvGrpSpPr>
        <p:grpSpPr bwMode="auto">
          <a:xfrm>
            <a:off x="5053013" y="5360988"/>
            <a:ext cx="1495425" cy="600075"/>
            <a:chOff x="510030" y="3653176"/>
            <a:chExt cx="1620001" cy="599521"/>
          </a:xfrm>
        </p:grpSpPr>
        <p:sp>
          <p:nvSpPr>
            <p:cNvPr id="422947"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en-US" sz="1200" b="1" dirty="0">
                  <a:solidFill>
                    <a:srgbClr val="FFFFFF"/>
                  </a:solidFill>
                </a:rPr>
                <a:t>Text</a:t>
              </a:r>
            </a:p>
          </p:txBody>
        </p:sp>
        <p:sp>
          <p:nvSpPr>
            <p:cNvPr id="151" name="Rectangle 150"/>
            <p:cNvSpPr>
              <a:spLocks noChangeArrowheads="1"/>
            </p:cNvSpPr>
            <p:nvPr/>
          </p:nvSpPr>
          <p:spPr bwMode="auto">
            <a:xfrm>
              <a:off x="510030"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152" name="Rectangle 151"/>
            <p:cNvSpPr>
              <a:spLocks noChangeArrowheads="1"/>
            </p:cNvSpPr>
            <p:nvPr/>
          </p:nvSpPr>
          <p:spPr bwMode="auto">
            <a:xfrm>
              <a:off x="1050030"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sp>
          <p:nvSpPr>
            <p:cNvPr id="153" name="Rectangle 152"/>
            <p:cNvSpPr>
              <a:spLocks noChangeArrowheads="1"/>
            </p:cNvSpPr>
            <p:nvPr/>
          </p:nvSpPr>
          <p:spPr bwMode="auto">
            <a:xfrm>
              <a:off x="1590031"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Text</a:t>
              </a:r>
              <a:endParaRPr lang="nl-NL" sz="1000">
                <a:solidFill>
                  <a:srgbClr val="002776"/>
                </a:solidFill>
                <a:latin typeface="Arial"/>
                <a:cs typeface="+mn-cs"/>
              </a:endParaRPr>
            </a:p>
          </p:txBody>
        </p:sp>
      </p:grpSp>
      <p:cxnSp>
        <p:nvCxnSpPr>
          <p:cNvPr id="385" name="AutoShape 66"/>
          <p:cNvCxnSpPr>
            <a:cxnSpLocks noChangeShapeType="1"/>
          </p:cNvCxnSpPr>
          <p:nvPr/>
        </p:nvCxnSpPr>
        <p:spPr bwMode="gray">
          <a:xfrm flipV="1">
            <a:off x="1966913" y="3197225"/>
            <a:ext cx="735012" cy="1103313"/>
          </a:xfrm>
          <a:prstGeom prst="bentConnector3">
            <a:avLst>
              <a:gd name="adj1" fmla="val 50000"/>
            </a:avLst>
          </a:prstGeom>
          <a:noFill/>
          <a:ln w="12700">
            <a:solidFill>
              <a:schemeClr val="accent1"/>
            </a:solidFill>
            <a:miter lim="800000"/>
            <a:headEnd/>
            <a:tailEnd/>
          </a:ln>
        </p:spPr>
      </p:cxnSp>
      <p:cxnSp>
        <p:nvCxnSpPr>
          <p:cNvPr id="388" name="AutoShape 66"/>
          <p:cNvCxnSpPr>
            <a:cxnSpLocks noChangeShapeType="1"/>
          </p:cNvCxnSpPr>
          <p:nvPr/>
        </p:nvCxnSpPr>
        <p:spPr bwMode="gray">
          <a:xfrm flipV="1">
            <a:off x="4197350" y="2465809"/>
            <a:ext cx="855663" cy="696912"/>
          </a:xfrm>
          <a:prstGeom prst="bentConnector3">
            <a:avLst>
              <a:gd name="adj1" fmla="val 50000"/>
            </a:avLst>
          </a:prstGeom>
          <a:noFill/>
          <a:ln w="12700">
            <a:solidFill>
              <a:schemeClr val="accent1"/>
            </a:solidFill>
            <a:miter lim="800000"/>
            <a:headEnd/>
            <a:tailEnd/>
          </a:ln>
        </p:spPr>
      </p:cxnSp>
      <p:cxnSp>
        <p:nvCxnSpPr>
          <p:cNvPr id="394" name="AutoShape 66"/>
          <p:cNvCxnSpPr>
            <a:cxnSpLocks noChangeShapeType="1"/>
          </p:cNvCxnSpPr>
          <p:nvPr/>
        </p:nvCxnSpPr>
        <p:spPr bwMode="gray">
          <a:xfrm>
            <a:off x="4197350" y="3162992"/>
            <a:ext cx="855663" cy="674688"/>
          </a:xfrm>
          <a:prstGeom prst="bentConnector3">
            <a:avLst>
              <a:gd name="adj1" fmla="val 50000"/>
            </a:avLst>
          </a:prstGeom>
          <a:noFill/>
          <a:ln w="12700">
            <a:solidFill>
              <a:schemeClr val="accent1"/>
            </a:solidFill>
            <a:miter lim="800000"/>
            <a:headEnd/>
            <a:tailEnd/>
          </a:ln>
        </p:spPr>
      </p:cxnSp>
      <p:cxnSp>
        <p:nvCxnSpPr>
          <p:cNvPr id="405" name="AutoShape 66"/>
          <p:cNvCxnSpPr>
            <a:cxnSpLocks noChangeShapeType="1"/>
          </p:cNvCxnSpPr>
          <p:nvPr/>
        </p:nvCxnSpPr>
        <p:spPr bwMode="gray">
          <a:xfrm flipV="1">
            <a:off x="6548438" y="3433916"/>
            <a:ext cx="619125" cy="360363"/>
          </a:xfrm>
          <a:prstGeom prst="bentConnector3">
            <a:avLst>
              <a:gd name="adj1" fmla="val 50000"/>
            </a:avLst>
          </a:prstGeom>
          <a:noFill/>
          <a:ln w="12700">
            <a:solidFill>
              <a:schemeClr val="accent1"/>
            </a:solidFill>
            <a:miter lim="800000"/>
            <a:headEnd/>
            <a:tailEnd/>
          </a:ln>
        </p:spPr>
      </p:cxnSp>
      <p:cxnSp>
        <p:nvCxnSpPr>
          <p:cNvPr id="406" name="AutoShape 66"/>
          <p:cNvCxnSpPr>
            <a:cxnSpLocks noChangeShapeType="1"/>
          </p:cNvCxnSpPr>
          <p:nvPr/>
        </p:nvCxnSpPr>
        <p:spPr bwMode="gray">
          <a:xfrm>
            <a:off x="6548438" y="3794279"/>
            <a:ext cx="619125" cy="350837"/>
          </a:xfrm>
          <a:prstGeom prst="bentConnector3">
            <a:avLst>
              <a:gd name="adj1" fmla="val 50000"/>
            </a:avLst>
          </a:prstGeom>
          <a:noFill/>
          <a:ln w="12700">
            <a:solidFill>
              <a:schemeClr val="accent1"/>
            </a:solidFill>
            <a:miter lim="800000"/>
            <a:headEnd/>
            <a:tailEnd/>
          </a:ln>
        </p:spPr>
      </p:cxnSp>
      <p:cxnSp>
        <p:nvCxnSpPr>
          <p:cNvPr id="412" name="AutoShape 66"/>
          <p:cNvCxnSpPr>
            <a:cxnSpLocks noChangeShapeType="1"/>
          </p:cNvCxnSpPr>
          <p:nvPr>
            <p:custDataLst>
              <p:tags r:id="rId6"/>
            </p:custDataLst>
          </p:nvPr>
        </p:nvCxnSpPr>
        <p:spPr bwMode="gray">
          <a:xfrm>
            <a:off x="6548438" y="2478259"/>
            <a:ext cx="619125" cy="1587"/>
          </a:xfrm>
          <a:prstGeom prst="bentConnector3">
            <a:avLst>
              <a:gd name="adj1" fmla="val 50000"/>
            </a:avLst>
          </a:prstGeom>
          <a:noFill/>
          <a:ln w="12700">
            <a:solidFill>
              <a:schemeClr val="accent1"/>
            </a:solidFill>
            <a:miter lim="800000"/>
            <a:headEnd/>
            <a:tailEnd/>
          </a:ln>
        </p:spPr>
      </p:cxnSp>
      <p:grpSp>
        <p:nvGrpSpPr>
          <p:cNvPr id="13" name="Group 414"/>
          <p:cNvGrpSpPr>
            <a:grpSpLocks/>
          </p:cNvGrpSpPr>
          <p:nvPr/>
        </p:nvGrpSpPr>
        <p:grpSpPr bwMode="auto">
          <a:xfrm>
            <a:off x="382588" y="1843088"/>
            <a:ext cx="1495425" cy="600075"/>
            <a:chOff x="510030" y="3653176"/>
            <a:chExt cx="1620001" cy="599521"/>
          </a:xfrm>
        </p:grpSpPr>
        <p:sp>
          <p:nvSpPr>
            <p:cNvPr id="422943" name="Text Box 10"/>
            <p:cNvSpPr txBox="1">
              <a:spLocks noChangeArrowheads="1"/>
            </p:cNvSpPr>
            <p:nvPr/>
          </p:nvSpPr>
          <p:spPr bwMode="auto">
            <a:xfrm>
              <a:off x="510031" y="3653176"/>
              <a:ext cx="1620000" cy="187291"/>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en-US" sz="1200" b="1" dirty="0">
                  <a:solidFill>
                    <a:srgbClr val="FFFFFF"/>
                  </a:solidFill>
                </a:rPr>
                <a:t>Driver</a:t>
              </a:r>
            </a:p>
          </p:txBody>
        </p:sp>
        <p:sp>
          <p:nvSpPr>
            <p:cNvPr id="417" name="Rectangle 416"/>
            <p:cNvSpPr>
              <a:spLocks noChangeArrowheads="1"/>
            </p:cNvSpPr>
            <p:nvPr/>
          </p:nvSpPr>
          <p:spPr bwMode="auto">
            <a:xfrm>
              <a:off x="510030"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dirty="0">
                  <a:solidFill>
                    <a:srgbClr val="002776"/>
                  </a:solidFill>
                  <a:latin typeface="Arial"/>
                  <a:cs typeface="+mn-cs"/>
                </a:rPr>
                <a:t>CAGR</a:t>
              </a:r>
            </a:p>
            <a:p>
              <a:pPr marL="359623" indent="-359623" algn="ctr" defTabSz="957998">
                <a:lnSpc>
                  <a:spcPct val="106000"/>
                </a:lnSpc>
                <a:spcBef>
                  <a:spcPts val="0"/>
                </a:spcBef>
                <a:spcAft>
                  <a:spcPts val="0"/>
                </a:spcAft>
                <a:defRPr/>
              </a:pPr>
              <a:r>
                <a:rPr lang="nl-NL" sz="1000" dirty="0">
                  <a:solidFill>
                    <a:srgbClr val="002776"/>
                  </a:solidFill>
                  <a:latin typeface="Arial"/>
                  <a:cs typeface="+mn-cs"/>
                </a:rPr>
                <a:t>0x0y</a:t>
              </a:r>
            </a:p>
          </p:txBody>
        </p:sp>
        <p:sp>
          <p:nvSpPr>
            <p:cNvPr id="418" name="Rectangle 417"/>
            <p:cNvSpPr>
              <a:spLocks noChangeArrowheads="1"/>
            </p:cNvSpPr>
            <p:nvPr/>
          </p:nvSpPr>
          <p:spPr bwMode="auto">
            <a:xfrm>
              <a:off x="1050030"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err="1">
                  <a:solidFill>
                    <a:srgbClr val="002776"/>
                  </a:solidFill>
                  <a:latin typeface="Arial"/>
                  <a:cs typeface="+mn-cs"/>
                </a:rPr>
                <a:t>Value</a:t>
              </a:r>
              <a:endParaRPr lang="nl-NL" sz="1000">
                <a:solidFill>
                  <a:srgbClr val="002776"/>
                </a:solidFill>
                <a:latin typeface="Arial"/>
                <a:cs typeface="+mn-cs"/>
              </a:endParaRPr>
            </a:p>
            <a:p>
              <a:pPr marL="359623" indent="-359623" algn="ctr" defTabSz="957998">
                <a:lnSpc>
                  <a:spcPct val="106000"/>
                </a:lnSpc>
                <a:spcBef>
                  <a:spcPts val="0"/>
                </a:spcBef>
                <a:spcAft>
                  <a:spcPts val="0"/>
                </a:spcAft>
                <a:defRPr/>
              </a:pPr>
              <a:r>
                <a:rPr lang="nl-NL" sz="1000">
                  <a:solidFill>
                    <a:srgbClr val="002776"/>
                  </a:solidFill>
                  <a:latin typeface="Arial"/>
                  <a:cs typeface="+mn-cs"/>
                </a:rPr>
                <a:t>0y</a:t>
              </a:r>
            </a:p>
          </p:txBody>
        </p:sp>
        <p:sp>
          <p:nvSpPr>
            <p:cNvPr id="419" name="Rectangle 418"/>
            <p:cNvSpPr>
              <a:spLocks noChangeArrowheads="1"/>
            </p:cNvSpPr>
            <p:nvPr/>
          </p:nvSpPr>
          <p:spPr bwMode="auto">
            <a:xfrm>
              <a:off x="1590031" y="3840328"/>
              <a:ext cx="540000" cy="412369"/>
            </a:xfrm>
            <a:prstGeom prst="rect">
              <a:avLst/>
            </a:prstGeom>
            <a:noFill/>
            <a:ln w="12700" algn="ctr">
              <a:solidFill>
                <a:srgbClr val="00A1DE"/>
              </a:solidFill>
              <a:miter lim="800000"/>
              <a:headEnd/>
              <a:tailEnd/>
            </a:ln>
          </p:spPr>
          <p:txBody>
            <a:bodyPr lIns="40118" tIns="40118" rIns="40118" bIns="40118" anchor="b" anchorCtr="1"/>
            <a:lstStyle/>
            <a:p>
              <a:pPr marL="359623" indent="-359623" algn="ctr" defTabSz="957998">
                <a:lnSpc>
                  <a:spcPct val="106000"/>
                </a:lnSpc>
                <a:spcBef>
                  <a:spcPts val="0"/>
                </a:spcBef>
                <a:spcAft>
                  <a:spcPts val="0"/>
                </a:spcAft>
                <a:defRPr/>
              </a:pPr>
              <a:r>
                <a:rPr lang="nl-NL" sz="1000">
                  <a:solidFill>
                    <a:srgbClr val="002776"/>
                  </a:solidFill>
                  <a:latin typeface="Arial"/>
                  <a:cs typeface="+mn-cs"/>
                </a:rPr>
                <a:t>CAGR</a:t>
              </a:r>
            </a:p>
            <a:p>
              <a:pPr marL="359623" indent="-359623" algn="ctr" defTabSz="957998">
                <a:lnSpc>
                  <a:spcPct val="106000"/>
                </a:lnSpc>
                <a:spcBef>
                  <a:spcPts val="0"/>
                </a:spcBef>
                <a:spcAft>
                  <a:spcPts val="0"/>
                </a:spcAft>
                <a:defRPr/>
              </a:pPr>
              <a:r>
                <a:rPr lang="nl-NL" sz="1000">
                  <a:solidFill>
                    <a:srgbClr val="002776"/>
                  </a:solidFill>
                  <a:latin typeface="Arial"/>
                  <a:cs typeface="+mn-cs"/>
                </a:rPr>
                <a:t>0y0z</a:t>
              </a:r>
            </a:p>
          </p:txBody>
        </p:sp>
      </p:grpSp>
      <p:sp>
        <p:nvSpPr>
          <p:cNvPr id="8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83" name="Rectangle 82"/>
          <p:cNvSpPr>
            <a:spLocks noChangeArrowheads="1"/>
          </p:cNvSpPr>
          <p:nvPr/>
        </p:nvSpPr>
        <p:spPr bwMode="gray">
          <a:xfrm>
            <a:off x="406006" y="1447800"/>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84" name="Text Placeholder 12"/>
          <p:cNvSpPr>
            <a:spLocks/>
          </p:cNvSpPr>
          <p:nvPr>
            <p:custDataLst>
              <p:tags r:id="rId7"/>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cxnSp>
        <p:nvCxnSpPr>
          <p:cNvPr id="82" name="Straight Connector 81"/>
          <p:cNvCxnSpPr/>
          <p:nvPr/>
        </p:nvCxnSpPr>
        <p:spPr>
          <a:xfrm flipV="1">
            <a:off x="4197350" y="3157349"/>
            <a:ext cx="855663" cy="476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8" name="AutoShape 66"/>
          <p:cNvCxnSpPr>
            <a:cxnSpLocks noChangeShapeType="1"/>
            <a:endCxn id="151" idx="1"/>
          </p:cNvCxnSpPr>
          <p:nvPr/>
        </p:nvCxnSpPr>
        <p:spPr bwMode="gray">
          <a:xfrm>
            <a:off x="4197350" y="5360988"/>
            <a:ext cx="855663" cy="393700"/>
          </a:xfrm>
          <a:prstGeom prst="bentConnector3">
            <a:avLst>
              <a:gd name="adj1" fmla="val 50000"/>
            </a:avLst>
          </a:prstGeom>
          <a:noFill/>
          <a:ln w="12700">
            <a:solidFill>
              <a:schemeClr val="accent1"/>
            </a:solidFill>
            <a:miter lim="800000"/>
            <a:headEnd/>
            <a:tailEnd/>
          </a:ln>
        </p:spPr>
      </p:cxnSp>
      <p:cxnSp>
        <p:nvCxnSpPr>
          <p:cNvPr id="94" name="Elbow Connector 93"/>
          <p:cNvCxnSpPr/>
          <p:nvPr/>
        </p:nvCxnSpPr>
        <p:spPr>
          <a:xfrm flipV="1">
            <a:off x="4197350" y="5007396"/>
            <a:ext cx="855663" cy="356394"/>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1362"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73411"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1379" name="Rectangle 2"/>
          <p:cNvSpPr>
            <a:spLocks noGrp="1"/>
          </p:cNvSpPr>
          <p:nvPr>
            <p:ph type="title"/>
            <p:custDataLst>
              <p:tags r:id="rId3"/>
            </p:custDataLst>
          </p:nvPr>
        </p:nvSpPr>
        <p:spPr/>
        <p:txBody>
          <a:bodyPr/>
          <a:lstStyle/>
          <a:p>
            <a:r>
              <a:rPr lang="en-GB"/>
              <a:t>Agenda</a:t>
            </a:r>
            <a:endParaRPr lang="en-US"/>
          </a:p>
        </p:txBody>
      </p:sp>
      <p:graphicFrame>
        <p:nvGraphicFramePr>
          <p:cNvPr id="10" name="Table 9"/>
          <p:cNvGraphicFramePr>
            <a:graphicFrameLocks noGrp="1"/>
          </p:cNvGraphicFramePr>
          <p:nvPr>
            <p:custDataLst>
              <p:tags r:id="rId4"/>
            </p:custDataLst>
          </p:nvPr>
        </p:nvGraphicFramePr>
        <p:xfrm>
          <a:off x="396875" y="1123950"/>
          <a:ext cx="4787154" cy="4067290"/>
        </p:xfrm>
        <a:graphic>
          <a:graphicData uri="http://schemas.openxmlformats.org/drawingml/2006/table">
            <a:tbl>
              <a:tblPr firstRow="1" bandRow="1">
                <a:tableStyleId>{5C22544A-7EE6-4342-B048-85BDC9FD1C3A}</a:tableStyleId>
              </a:tblPr>
              <a:tblGrid>
                <a:gridCol w="4787154"/>
              </a:tblGrid>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Structured </a:t>
                      </a:r>
                      <a:r>
                        <a:rPr kumimoji="0" lang="en-US" sz="1400" b="0" i="0" u="none" strike="noStrike" cap="none" normalizeH="0" baseline="0" dirty="0" smtClean="0">
                          <a:ln>
                            <a:noFill/>
                          </a:ln>
                          <a:solidFill>
                            <a:schemeClr val="tx2"/>
                          </a:solidFill>
                          <a:effectLst/>
                          <a:latin typeface="Arial" charset="0"/>
                        </a:rPr>
                        <a:t>text</a:t>
                      </a:r>
                      <a:endParaRPr kumimoji="0" lang="en-US" sz="1400" b="0" i="0" u="none" strike="noStrike" cap="none" normalizeH="0" baseline="0" dirty="0">
                        <a:ln>
                          <a:noFill/>
                        </a:ln>
                        <a:solidFill>
                          <a:schemeClr val="tx2"/>
                        </a:solidFill>
                        <a:effectLst/>
                        <a:latin typeface="Arial" charset="0"/>
                      </a:endParaRPr>
                    </a:p>
                  </a:txBody>
                  <a:tcPr marL="49846" marR="49846" marT="54000" marB="54000"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r>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Trees</a:t>
                      </a:r>
                    </a:p>
                  </a:txBody>
                  <a:tcPr marL="49846" marR="49846" marT="54000" marB="54000" anchor="ctr" horzOverflow="overflow">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Graph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bg1"/>
                          </a:solidFill>
                          <a:effectLst/>
                          <a:latin typeface="Arial" charset="0"/>
                        </a:rPr>
                        <a:t>Shape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Map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Special </a:t>
                      </a:r>
                      <a:r>
                        <a:rPr kumimoji="0" lang="en-US" sz="1400" b="0" i="0" u="none" strike="noStrike" cap="none" normalizeH="0" baseline="0" dirty="0" smtClean="0">
                          <a:ln>
                            <a:noFill/>
                          </a:ln>
                          <a:solidFill>
                            <a:schemeClr val="tx2"/>
                          </a:solidFill>
                          <a:effectLst/>
                          <a:latin typeface="Arial" charset="0"/>
                        </a:rPr>
                        <a:t>graphics</a:t>
                      </a:r>
                      <a:endParaRPr kumimoji="0" lang="en-US" sz="1400" b="0" i="0" u="none" strike="noStrike" cap="none" normalizeH="0" baseline="0" dirty="0">
                        <a:ln>
                          <a:noFill/>
                        </a:ln>
                        <a:solidFill>
                          <a:schemeClr val="tx2"/>
                        </a:solidFill>
                        <a:effectLst/>
                        <a:latin typeface="Arial" charset="0"/>
                      </a:endParaRP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400" b="0" i="0" u="none" strike="noStrike" cap="none" normalizeH="0" baseline="0" dirty="0">
                          <a:ln>
                            <a:noFill/>
                          </a:ln>
                          <a:solidFill>
                            <a:schemeClr val="tx2"/>
                          </a:solidFill>
                          <a:effectLst/>
                          <a:latin typeface="Arial" charset="0"/>
                        </a:rPr>
                        <a:t>Conceptual </a:t>
                      </a:r>
                      <a:r>
                        <a:rPr kumimoji="0" lang="en-US" sz="1400" b="0" i="0" u="none" strike="noStrike" cap="none" normalizeH="0" baseline="0" dirty="0" smtClean="0">
                          <a:ln>
                            <a:noFill/>
                          </a:ln>
                          <a:solidFill>
                            <a:schemeClr val="tx2"/>
                          </a:solidFill>
                          <a:effectLst/>
                          <a:latin typeface="Arial" charset="0"/>
                        </a:rPr>
                        <a:t>charts</a:t>
                      </a:r>
                      <a:endParaRPr kumimoji="0" lang="en-US" sz="1400" b="0" i="0" u="none" strike="noStrike" cap="none" normalizeH="0" baseline="0" dirty="0">
                        <a:ln>
                          <a:noFill/>
                        </a:ln>
                        <a:solidFill>
                          <a:schemeClr val="tx2"/>
                        </a:solidFill>
                        <a:effectLst/>
                        <a:latin typeface="Arial" charset="0"/>
                      </a:endParaRP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2769" name="Title 1"/>
          <p:cNvSpPr>
            <a:spLocks noGrp="1"/>
          </p:cNvSpPr>
          <p:nvPr>
            <p:ph type="title"/>
          </p:nvPr>
        </p:nvSpPr>
        <p:spPr/>
        <p:txBody>
          <a:bodyPr/>
          <a:lstStyle/>
          <a:p>
            <a:r>
              <a:rPr lang="nl-NL"/>
              <a:t>Chevrons</a:t>
            </a:r>
          </a:p>
        </p:txBody>
      </p:sp>
      <p:sp>
        <p:nvSpPr>
          <p:cNvPr id="4" name="AutoShape 3"/>
          <p:cNvSpPr>
            <a:spLocks noChangeArrowheads="1"/>
          </p:cNvSpPr>
          <p:nvPr/>
        </p:nvSpPr>
        <p:spPr bwMode="gray">
          <a:xfrm>
            <a:off x="715963" y="1181100"/>
            <a:ext cx="7713662" cy="584200"/>
          </a:xfrm>
          <a:prstGeom prst="chevron">
            <a:avLst>
              <a:gd name="adj" fmla="val 32576"/>
            </a:avLst>
          </a:prstGeom>
          <a:solidFill>
            <a:schemeClr val="accent3"/>
          </a:solidFill>
          <a:ln w="12700" cap="rnd" algn="ctr">
            <a:noFill/>
            <a:miter lim="800000"/>
            <a:headEnd/>
            <a:tailEnd/>
          </a:ln>
        </p:spPr>
        <p:txBody>
          <a:bodyPr wrap="none" anchor="ctr"/>
          <a:lstStyle/>
          <a:p>
            <a:pPr algn="ctr">
              <a:lnSpc>
                <a:spcPct val="110000"/>
              </a:lnSpc>
              <a:defRPr/>
            </a:pPr>
            <a:r>
              <a:rPr lang="en-US" sz="1400" b="1">
                <a:solidFill>
                  <a:schemeClr val="bg1"/>
                </a:solidFill>
              </a:rPr>
              <a:t>Text</a:t>
            </a:r>
          </a:p>
        </p:txBody>
      </p:sp>
      <p:grpSp>
        <p:nvGrpSpPr>
          <p:cNvPr id="2" name="Group 4"/>
          <p:cNvGrpSpPr>
            <a:grpSpLocks/>
          </p:cNvGrpSpPr>
          <p:nvPr/>
        </p:nvGrpSpPr>
        <p:grpSpPr bwMode="auto">
          <a:xfrm>
            <a:off x="716573" y="1855802"/>
            <a:ext cx="7712319" cy="584200"/>
            <a:chOff x="247" y="728"/>
            <a:chExt cx="5263" cy="368"/>
          </a:xfrm>
          <a:solidFill>
            <a:schemeClr val="accent3"/>
          </a:solidFill>
        </p:grpSpPr>
        <p:sp>
          <p:nvSpPr>
            <p:cNvPr id="6" name="AutoShape 5"/>
            <p:cNvSpPr>
              <a:spLocks noChangeArrowheads="1"/>
            </p:cNvSpPr>
            <p:nvPr/>
          </p:nvSpPr>
          <p:spPr bwMode="gray">
            <a:xfrm>
              <a:off x="247" y="728"/>
              <a:ext cx="2688" cy="368"/>
            </a:xfrm>
            <a:prstGeom prst="chevron">
              <a:avLst>
                <a:gd name="adj" fmla="val 32565"/>
              </a:avLst>
            </a:prstGeom>
            <a:grpFill/>
            <a:ln w="12700" cap="rnd" algn="ctr">
              <a:noFill/>
              <a:miter lim="800000"/>
              <a:headEnd/>
              <a:tailEnd/>
            </a:ln>
          </p:spPr>
          <p:txBody>
            <a:bodyPr wrap="none" anchor="ctr"/>
            <a:lstStyle/>
            <a:p>
              <a:pPr algn="ctr">
                <a:lnSpc>
                  <a:spcPct val="110000"/>
                </a:lnSpc>
                <a:defRPr/>
              </a:pPr>
              <a:r>
                <a:rPr lang="en-US" sz="1400" b="1">
                  <a:solidFill>
                    <a:schemeClr val="bg1"/>
                  </a:solidFill>
                </a:rPr>
                <a:t>Text</a:t>
              </a:r>
            </a:p>
          </p:txBody>
        </p:sp>
        <p:sp>
          <p:nvSpPr>
            <p:cNvPr id="7" name="AutoShape 6"/>
            <p:cNvSpPr>
              <a:spLocks noChangeArrowheads="1"/>
            </p:cNvSpPr>
            <p:nvPr/>
          </p:nvSpPr>
          <p:spPr bwMode="gray">
            <a:xfrm>
              <a:off x="2830" y="728"/>
              <a:ext cx="2680" cy="368"/>
            </a:xfrm>
            <a:prstGeom prst="chevron">
              <a:avLst>
                <a:gd name="adj" fmla="val 32435"/>
              </a:avLst>
            </a:prstGeom>
            <a:grpFill/>
            <a:ln w="12700" cap="rnd" algn="ctr">
              <a:noFill/>
              <a:miter lim="800000"/>
              <a:headEnd/>
              <a:tailEnd/>
            </a:ln>
          </p:spPr>
          <p:txBody>
            <a:bodyPr wrap="none" anchor="ctr"/>
            <a:lstStyle/>
            <a:p>
              <a:pPr algn="ctr">
                <a:lnSpc>
                  <a:spcPct val="110000"/>
                </a:lnSpc>
                <a:defRPr/>
              </a:pPr>
              <a:r>
                <a:rPr lang="en-US" sz="1400" b="1">
                  <a:solidFill>
                    <a:schemeClr val="bg1"/>
                  </a:solidFill>
                </a:rPr>
                <a:t>Text</a:t>
              </a:r>
            </a:p>
          </p:txBody>
        </p:sp>
      </p:grpSp>
      <p:grpSp>
        <p:nvGrpSpPr>
          <p:cNvPr id="3" name="Group 7"/>
          <p:cNvGrpSpPr>
            <a:grpSpLocks/>
          </p:cNvGrpSpPr>
          <p:nvPr/>
        </p:nvGrpSpPr>
        <p:grpSpPr bwMode="auto">
          <a:xfrm>
            <a:off x="716573" y="2538893"/>
            <a:ext cx="7712319" cy="584200"/>
            <a:chOff x="247" y="728"/>
            <a:chExt cx="5263" cy="368"/>
          </a:xfrm>
          <a:solidFill>
            <a:schemeClr val="accent3"/>
          </a:solidFill>
        </p:grpSpPr>
        <p:sp>
          <p:nvSpPr>
            <p:cNvPr id="9" name="AutoShape 8"/>
            <p:cNvSpPr>
              <a:spLocks noChangeArrowheads="1"/>
            </p:cNvSpPr>
            <p:nvPr/>
          </p:nvSpPr>
          <p:spPr bwMode="gray">
            <a:xfrm>
              <a:off x="247" y="728"/>
              <a:ext cx="1822" cy="368"/>
            </a:xfrm>
            <a:prstGeom prst="chevron">
              <a:avLst>
                <a:gd name="adj" fmla="val 32411"/>
              </a:avLst>
            </a:prstGeom>
            <a:grpFill/>
            <a:ln w="12700" cap="rnd" algn="ctr">
              <a:solidFill>
                <a:srgbClr val="FFFFFF"/>
              </a:solidFill>
              <a:miter lim="800000"/>
              <a:headEnd/>
              <a:tailEnd/>
            </a:ln>
          </p:spPr>
          <p:txBody>
            <a:bodyPr anchor="ctr"/>
            <a:lstStyle/>
            <a:p>
              <a:pPr algn="ctr">
                <a:lnSpc>
                  <a:spcPct val="110000"/>
                </a:lnSpc>
                <a:defRPr/>
              </a:pPr>
              <a:r>
                <a:rPr lang="en-US" sz="1400" b="1">
                  <a:solidFill>
                    <a:schemeClr val="bg1"/>
                  </a:solidFill>
                </a:rPr>
                <a:t>Text</a:t>
              </a:r>
            </a:p>
          </p:txBody>
        </p:sp>
        <p:sp>
          <p:nvSpPr>
            <p:cNvPr id="10" name="AutoShape 9"/>
            <p:cNvSpPr>
              <a:spLocks noChangeArrowheads="1"/>
            </p:cNvSpPr>
            <p:nvPr/>
          </p:nvSpPr>
          <p:spPr bwMode="gray">
            <a:xfrm>
              <a:off x="1963" y="728"/>
              <a:ext cx="1830" cy="368"/>
            </a:xfrm>
            <a:prstGeom prst="chevron">
              <a:avLst>
                <a:gd name="adj" fmla="val 32554"/>
              </a:avLst>
            </a:prstGeom>
            <a:grpFill/>
            <a:ln w="12700" cap="rnd" algn="ctr">
              <a:solidFill>
                <a:srgbClr val="FFFFFF"/>
              </a:solidFill>
              <a:miter lim="800000"/>
              <a:headEnd/>
              <a:tailEnd/>
            </a:ln>
          </p:spPr>
          <p:txBody>
            <a:bodyPr anchor="ctr"/>
            <a:lstStyle/>
            <a:p>
              <a:pPr algn="ctr">
                <a:lnSpc>
                  <a:spcPct val="110000"/>
                </a:lnSpc>
                <a:defRPr/>
              </a:pPr>
              <a:r>
                <a:rPr lang="en-US" sz="1400" b="1">
                  <a:solidFill>
                    <a:schemeClr val="bg1"/>
                  </a:solidFill>
                </a:rPr>
                <a:t>Text</a:t>
              </a:r>
            </a:p>
          </p:txBody>
        </p:sp>
        <p:sp>
          <p:nvSpPr>
            <p:cNvPr id="11" name="AutoShape 10"/>
            <p:cNvSpPr>
              <a:spLocks noChangeArrowheads="1"/>
            </p:cNvSpPr>
            <p:nvPr/>
          </p:nvSpPr>
          <p:spPr bwMode="gray">
            <a:xfrm>
              <a:off x="3687" y="728"/>
              <a:ext cx="1823" cy="368"/>
            </a:xfrm>
            <a:prstGeom prst="chevron">
              <a:avLst>
                <a:gd name="adj" fmla="val 32406"/>
              </a:avLst>
            </a:prstGeom>
            <a:grpFill/>
            <a:ln w="12700" cap="rnd" algn="ctr">
              <a:solidFill>
                <a:srgbClr val="FFFFFF"/>
              </a:solidFill>
              <a:miter lim="800000"/>
              <a:headEnd/>
              <a:tailEnd/>
            </a:ln>
          </p:spPr>
          <p:txBody>
            <a:bodyPr anchor="ctr"/>
            <a:lstStyle/>
            <a:p>
              <a:pPr algn="ctr">
                <a:lnSpc>
                  <a:spcPct val="110000"/>
                </a:lnSpc>
                <a:defRPr/>
              </a:pPr>
              <a:r>
                <a:rPr lang="en-US" sz="1400" b="1">
                  <a:solidFill>
                    <a:schemeClr val="bg1"/>
                  </a:solidFill>
                </a:rPr>
                <a:t>Text</a:t>
              </a:r>
            </a:p>
          </p:txBody>
        </p:sp>
      </p:grpSp>
      <p:grpSp>
        <p:nvGrpSpPr>
          <p:cNvPr id="5" name="Group 11"/>
          <p:cNvGrpSpPr>
            <a:grpSpLocks/>
          </p:cNvGrpSpPr>
          <p:nvPr/>
        </p:nvGrpSpPr>
        <p:grpSpPr bwMode="auto">
          <a:xfrm>
            <a:off x="716573" y="3221984"/>
            <a:ext cx="7712319" cy="584200"/>
            <a:chOff x="247" y="728"/>
            <a:chExt cx="5263" cy="368"/>
          </a:xfrm>
          <a:solidFill>
            <a:schemeClr val="accent3"/>
          </a:solidFill>
        </p:grpSpPr>
        <p:sp>
          <p:nvSpPr>
            <p:cNvPr id="13" name="AutoShape 12"/>
            <p:cNvSpPr>
              <a:spLocks noChangeArrowheads="1"/>
            </p:cNvSpPr>
            <p:nvPr/>
          </p:nvSpPr>
          <p:spPr bwMode="gray">
            <a:xfrm>
              <a:off x="247" y="728"/>
              <a:ext cx="1394" cy="368"/>
            </a:xfrm>
            <a:prstGeom prst="chevron">
              <a:avLst>
                <a:gd name="adj" fmla="val 32374"/>
              </a:avLst>
            </a:prstGeom>
            <a:grpFill/>
            <a:ln w="12700" cap="rnd" algn="ctr">
              <a:solidFill>
                <a:srgbClr val="FFFFFF"/>
              </a:solidFill>
              <a:miter lim="800000"/>
              <a:headEnd/>
              <a:tailEnd/>
            </a:ln>
          </p:spPr>
          <p:txBody>
            <a:bodyPr anchor="ctr"/>
            <a:lstStyle/>
            <a:p>
              <a:pPr algn="ctr">
                <a:lnSpc>
                  <a:spcPct val="110000"/>
                </a:lnSpc>
                <a:defRPr/>
              </a:pPr>
              <a:r>
                <a:rPr lang="en-US" sz="1400" b="1">
                  <a:solidFill>
                    <a:schemeClr val="bg1"/>
                  </a:solidFill>
                </a:rPr>
                <a:t>Text</a:t>
              </a:r>
            </a:p>
          </p:txBody>
        </p:sp>
        <p:sp>
          <p:nvSpPr>
            <p:cNvPr id="14" name="AutoShape 13"/>
            <p:cNvSpPr>
              <a:spLocks noChangeArrowheads="1"/>
            </p:cNvSpPr>
            <p:nvPr/>
          </p:nvSpPr>
          <p:spPr bwMode="gray">
            <a:xfrm>
              <a:off x="1534" y="728"/>
              <a:ext cx="1394" cy="368"/>
            </a:xfrm>
            <a:prstGeom prst="chevron">
              <a:avLst>
                <a:gd name="adj" fmla="val 32374"/>
              </a:avLst>
            </a:prstGeom>
            <a:grpFill/>
            <a:ln w="12700" cap="rnd" algn="ctr">
              <a:solidFill>
                <a:srgbClr val="FFFFFF"/>
              </a:solidFill>
              <a:miter lim="800000"/>
              <a:headEnd/>
              <a:tailEnd/>
            </a:ln>
          </p:spPr>
          <p:txBody>
            <a:bodyPr anchor="ctr"/>
            <a:lstStyle/>
            <a:p>
              <a:pPr algn="ctr">
                <a:lnSpc>
                  <a:spcPct val="110000"/>
                </a:lnSpc>
                <a:defRPr/>
              </a:pPr>
              <a:r>
                <a:rPr lang="en-US" sz="1400" b="1">
                  <a:solidFill>
                    <a:schemeClr val="bg1"/>
                  </a:solidFill>
                </a:rPr>
                <a:t>Text</a:t>
              </a:r>
            </a:p>
          </p:txBody>
        </p:sp>
        <p:sp>
          <p:nvSpPr>
            <p:cNvPr id="15" name="AutoShape 14"/>
            <p:cNvSpPr>
              <a:spLocks noChangeArrowheads="1"/>
            </p:cNvSpPr>
            <p:nvPr/>
          </p:nvSpPr>
          <p:spPr bwMode="gray">
            <a:xfrm>
              <a:off x="2822" y="728"/>
              <a:ext cx="1394" cy="368"/>
            </a:xfrm>
            <a:prstGeom prst="chevron">
              <a:avLst>
                <a:gd name="adj" fmla="val 32374"/>
              </a:avLst>
            </a:prstGeom>
            <a:grpFill/>
            <a:ln w="12700" cap="rnd" algn="ctr">
              <a:solidFill>
                <a:srgbClr val="FFFFFF"/>
              </a:solidFill>
              <a:miter lim="800000"/>
              <a:headEnd/>
              <a:tailEnd/>
            </a:ln>
          </p:spPr>
          <p:txBody>
            <a:bodyPr anchor="ctr"/>
            <a:lstStyle/>
            <a:p>
              <a:pPr algn="ctr">
                <a:lnSpc>
                  <a:spcPct val="110000"/>
                </a:lnSpc>
                <a:defRPr/>
              </a:pPr>
              <a:r>
                <a:rPr lang="en-US" sz="1400" b="1">
                  <a:solidFill>
                    <a:schemeClr val="bg1"/>
                  </a:solidFill>
                </a:rPr>
                <a:t>Text</a:t>
              </a:r>
            </a:p>
          </p:txBody>
        </p:sp>
        <p:sp>
          <p:nvSpPr>
            <p:cNvPr id="16" name="AutoShape 15"/>
            <p:cNvSpPr>
              <a:spLocks noChangeArrowheads="1"/>
            </p:cNvSpPr>
            <p:nvPr/>
          </p:nvSpPr>
          <p:spPr bwMode="gray">
            <a:xfrm>
              <a:off x="4108" y="728"/>
              <a:ext cx="1402" cy="368"/>
            </a:xfrm>
            <a:prstGeom prst="chevron">
              <a:avLst>
                <a:gd name="adj" fmla="val 32560"/>
              </a:avLst>
            </a:prstGeom>
            <a:grpFill/>
            <a:ln w="12700" cap="rnd" algn="ctr">
              <a:solidFill>
                <a:srgbClr val="FFFFFF"/>
              </a:solidFill>
              <a:miter lim="800000"/>
              <a:headEnd/>
              <a:tailEnd/>
            </a:ln>
          </p:spPr>
          <p:txBody>
            <a:bodyPr anchor="ctr"/>
            <a:lstStyle/>
            <a:p>
              <a:pPr algn="ctr">
                <a:lnSpc>
                  <a:spcPct val="110000"/>
                </a:lnSpc>
                <a:defRPr/>
              </a:pPr>
              <a:r>
                <a:rPr lang="en-US" sz="1400" b="1">
                  <a:solidFill>
                    <a:schemeClr val="bg1"/>
                  </a:solidFill>
                </a:rPr>
                <a:t>Text</a:t>
              </a:r>
            </a:p>
          </p:txBody>
        </p:sp>
      </p:grpSp>
      <p:grpSp>
        <p:nvGrpSpPr>
          <p:cNvPr id="8" name="Group 16"/>
          <p:cNvGrpSpPr>
            <a:grpSpLocks/>
          </p:cNvGrpSpPr>
          <p:nvPr/>
        </p:nvGrpSpPr>
        <p:grpSpPr bwMode="auto">
          <a:xfrm>
            <a:off x="716573" y="3896686"/>
            <a:ext cx="7712319" cy="584200"/>
            <a:chOff x="247" y="728"/>
            <a:chExt cx="5263" cy="368"/>
          </a:xfrm>
          <a:solidFill>
            <a:schemeClr val="accent3"/>
          </a:solidFill>
        </p:grpSpPr>
        <p:sp>
          <p:nvSpPr>
            <p:cNvPr id="18" name="AutoShape 17"/>
            <p:cNvSpPr>
              <a:spLocks noChangeArrowheads="1"/>
            </p:cNvSpPr>
            <p:nvPr/>
          </p:nvSpPr>
          <p:spPr bwMode="gray">
            <a:xfrm>
              <a:off x="247" y="728"/>
              <a:ext cx="1144" cy="368"/>
            </a:xfrm>
            <a:prstGeom prst="chevron">
              <a:avLst>
                <a:gd name="adj" fmla="val 32555"/>
              </a:avLst>
            </a:prstGeom>
            <a:grpFill/>
            <a:ln w="12700" cap="rnd" algn="ctr">
              <a:solidFill>
                <a:srgbClr val="FFFFFF"/>
              </a:solidFill>
              <a:miter lim="800000"/>
              <a:headEnd/>
              <a:tailEnd/>
            </a:ln>
          </p:spPr>
          <p:txBody>
            <a:bodyPr anchor="ctr"/>
            <a:lstStyle/>
            <a:p>
              <a:pPr algn="ctr">
                <a:lnSpc>
                  <a:spcPct val="110000"/>
                </a:lnSpc>
                <a:defRPr/>
              </a:pPr>
              <a:r>
                <a:rPr lang="en-US" sz="1400" b="1">
                  <a:solidFill>
                    <a:schemeClr val="bg1"/>
                  </a:solidFill>
                </a:rPr>
                <a:t>Text</a:t>
              </a:r>
            </a:p>
          </p:txBody>
        </p:sp>
        <p:sp>
          <p:nvSpPr>
            <p:cNvPr id="19" name="AutoShape 18"/>
            <p:cNvSpPr>
              <a:spLocks noChangeArrowheads="1"/>
            </p:cNvSpPr>
            <p:nvPr/>
          </p:nvSpPr>
          <p:spPr bwMode="gray">
            <a:xfrm>
              <a:off x="1284" y="728"/>
              <a:ext cx="1138" cy="368"/>
            </a:xfrm>
            <a:prstGeom prst="chevron">
              <a:avLst>
                <a:gd name="adj" fmla="val 32384"/>
              </a:avLst>
            </a:prstGeom>
            <a:grp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20" name="AutoShape 19"/>
            <p:cNvSpPr>
              <a:spLocks noChangeArrowheads="1"/>
            </p:cNvSpPr>
            <p:nvPr/>
          </p:nvSpPr>
          <p:spPr bwMode="gray">
            <a:xfrm>
              <a:off x="2314" y="728"/>
              <a:ext cx="1139" cy="368"/>
            </a:xfrm>
            <a:prstGeom prst="chevron">
              <a:avLst>
                <a:gd name="adj" fmla="val 32413"/>
              </a:avLst>
            </a:prstGeom>
            <a:grpFill/>
            <a:ln w="12700" cap="rnd" algn="ctr">
              <a:solidFill>
                <a:srgbClr val="FFFFFF"/>
              </a:solidFill>
              <a:miter lim="800000"/>
              <a:headEnd/>
              <a:tailEnd/>
            </a:ln>
          </p:spPr>
          <p:txBody>
            <a:bodyPr anchor="ctr"/>
            <a:lstStyle/>
            <a:p>
              <a:pPr algn="ctr">
                <a:lnSpc>
                  <a:spcPct val="110000"/>
                </a:lnSpc>
                <a:defRPr/>
              </a:pPr>
              <a:r>
                <a:rPr lang="en-US" sz="1400" b="1">
                  <a:solidFill>
                    <a:schemeClr val="bg1"/>
                  </a:solidFill>
                </a:rPr>
                <a:t>Text</a:t>
              </a:r>
            </a:p>
          </p:txBody>
        </p:sp>
        <p:sp>
          <p:nvSpPr>
            <p:cNvPr id="21" name="AutoShape 20"/>
            <p:cNvSpPr>
              <a:spLocks noChangeArrowheads="1"/>
            </p:cNvSpPr>
            <p:nvPr/>
          </p:nvSpPr>
          <p:spPr bwMode="gray">
            <a:xfrm>
              <a:off x="3345" y="728"/>
              <a:ext cx="1138" cy="368"/>
            </a:xfrm>
            <a:prstGeom prst="chevron">
              <a:avLst>
                <a:gd name="adj" fmla="val 32384"/>
              </a:avLst>
            </a:prstGeom>
            <a:grpFill/>
            <a:ln w="12700" cap="rnd" algn="ctr">
              <a:solidFill>
                <a:srgbClr val="FFFFFF"/>
              </a:solidFill>
              <a:miter lim="800000"/>
              <a:headEnd/>
              <a:tailEnd/>
            </a:ln>
          </p:spPr>
          <p:txBody>
            <a:bodyPr anchor="ctr"/>
            <a:lstStyle/>
            <a:p>
              <a:pPr algn="ctr">
                <a:lnSpc>
                  <a:spcPct val="110000"/>
                </a:lnSpc>
                <a:defRPr/>
              </a:pPr>
              <a:r>
                <a:rPr lang="en-US" sz="1400" b="1">
                  <a:solidFill>
                    <a:schemeClr val="bg1"/>
                  </a:solidFill>
                </a:rPr>
                <a:t>Text</a:t>
              </a:r>
            </a:p>
          </p:txBody>
        </p:sp>
        <p:sp>
          <p:nvSpPr>
            <p:cNvPr id="22" name="AutoShape 21"/>
            <p:cNvSpPr>
              <a:spLocks noChangeArrowheads="1"/>
            </p:cNvSpPr>
            <p:nvPr/>
          </p:nvSpPr>
          <p:spPr bwMode="gray">
            <a:xfrm>
              <a:off x="4375" y="728"/>
              <a:ext cx="1135" cy="368"/>
            </a:xfrm>
            <a:prstGeom prst="chevron">
              <a:avLst>
                <a:gd name="adj" fmla="val 32299"/>
              </a:avLst>
            </a:prstGeom>
            <a:grpFill/>
            <a:ln w="12700" cap="rnd" algn="ctr">
              <a:solidFill>
                <a:srgbClr val="FFFFFF"/>
              </a:solidFill>
              <a:miter lim="800000"/>
              <a:headEnd/>
              <a:tailEnd/>
            </a:ln>
          </p:spPr>
          <p:txBody>
            <a:bodyPr anchor="ctr"/>
            <a:lstStyle/>
            <a:p>
              <a:pPr algn="ctr">
                <a:lnSpc>
                  <a:spcPct val="110000"/>
                </a:lnSpc>
                <a:defRPr/>
              </a:pPr>
              <a:r>
                <a:rPr lang="en-US" sz="1400" b="1">
                  <a:solidFill>
                    <a:schemeClr val="bg1"/>
                  </a:solidFill>
                </a:rPr>
                <a:t>Text</a:t>
              </a:r>
            </a:p>
          </p:txBody>
        </p:sp>
      </p:grpSp>
      <p:grpSp>
        <p:nvGrpSpPr>
          <p:cNvPr id="12" name="Group 22"/>
          <p:cNvGrpSpPr>
            <a:grpSpLocks/>
          </p:cNvGrpSpPr>
          <p:nvPr/>
        </p:nvGrpSpPr>
        <p:grpSpPr bwMode="auto">
          <a:xfrm>
            <a:off x="716575" y="4571388"/>
            <a:ext cx="7710854" cy="584200"/>
            <a:chOff x="1129" y="726"/>
            <a:chExt cx="4387" cy="368"/>
          </a:xfrm>
          <a:solidFill>
            <a:schemeClr val="accent3"/>
          </a:solidFill>
        </p:grpSpPr>
        <p:sp>
          <p:nvSpPr>
            <p:cNvPr id="24" name="AutoShape 23"/>
            <p:cNvSpPr>
              <a:spLocks noChangeArrowheads="1"/>
            </p:cNvSpPr>
            <p:nvPr/>
          </p:nvSpPr>
          <p:spPr bwMode="gray">
            <a:xfrm>
              <a:off x="1129" y="726"/>
              <a:ext cx="827" cy="368"/>
            </a:xfrm>
            <a:prstGeom prst="chevron">
              <a:avLst>
                <a:gd name="adj" fmla="val 32606"/>
              </a:avLst>
            </a:prstGeom>
            <a:grpFill/>
            <a:ln w="12700" cap="rnd" algn="ctr">
              <a:solidFill>
                <a:srgbClr val="FFFFFF"/>
              </a:solidFill>
              <a:miter lim="800000"/>
              <a:headEnd/>
              <a:tailEnd/>
            </a:ln>
          </p:spPr>
          <p:txBody>
            <a:bodyPr anchor="ctr"/>
            <a:lstStyle/>
            <a:p>
              <a:pPr algn="ctr">
                <a:lnSpc>
                  <a:spcPct val="110000"/>
                </a:lnSpc>
                <a:defRPr/>
              </a:pPr>
              <a:r>
                <a:rPr lang="en-US" sz="1400" b="1">
                  <a:solidFill>
                    <a:schemeClr val="bg1"/>
                  </a:solidFill>
                </a:rPr>
                <a:t>Text</a:t>
              </a:r>
            </a:p>
          </p:txBody>
        </p:sp>
        <p:sp>
          <p:nvSpPr>
            <p:cNvPr id="25" name="AutoShape 24"/>
            <p:cNvSpPr>
              <a:spLocks noChangeArrowheads="1"/>
            </p:cNvSpPr>
            <p:nvPr/>
          </p:nvSpPr>
          <p:spPr bwMode="gray">
            <a:xfrm>
              <a:off x="1847" y="726"/>
              <a:ext cx="821" cy="368"/>
            </a:xfrm>
            <a:prstGeom prst="chevron">
              <a:avLst>
                <a:gd name="adj" fmla="val 32370"/>
              </a:avLst>
            </a:prstGeom>
            <a:grpFill/>
            <a:ln w="12700" cap="rnd" algn="ctr">
              <a:solidFill>
                <a:srgbClr val="FFFFFF"/>
              </a:solidFill>
              <a:miter lim="800000"/>
              <a:headEnd/>
              <a:tailEnd/>
            </a:ln>
          </p:spPr>
          <p:txBody>
            <a:bodyPr anchor="ctr"/>
            <a:lstStyle/>
            <a:p>
              <a:pPr algn="ctr">
                <a:lnSpc>
                  <a:spcPct val="110000"/>
                </a:lnSpc>
                <a:defRPr/>
              </a:pPr>
              <a:r>
                <a:rPr lang="en-US" sz="1400" b="1">
                  <a:solidFill>
                    <a:schemeClr val="bg1"/>
                  </a:solidFill>
                </a:rPr>
                <a:t>Text</a:t>
              </a:r>
            </a:p>
          </p:txBody>
        </p:sp>
        <p:sp>
          <p:nvSpPr>
            <p:cNvPr id="26" name="AutoShape 25"/>
            <p:cNvSpPr>
              <a:spLocks noChangeArrowheads="1"/>
            </p:cNvSpPr>
            <p:nvPr/>
          </p:nvSpPr>
          <p:spPr bwMode="gray">
            <a:xfrm>
              <a:off x="2559" y="726"/>
              <a:ext cx="821" cy="368"/>
            </a:xfrm>
            <a:prstGeom prst="chevron">
              <a:avLst>
                <a:gd name="adj" fmla="val 32370"/>
              </a:avLst>
            </a:prstGeom>
            <a:grpFill/>
            <a:ln w="12700" cap="rnd" algn="ctr">
              <a:solidFill>
                <a:srgbClr val="FFFFFF"/>
              </a:solidFill>
              <a:miter lim="800000"/>
              <a:headEnd/>
              <a:tailEnd/>
            </a:ln>
          </p:spPr>
          <p:txBody>
            <a:bodyPr anchor="ctr"/>
            <a:lstStyle/>
            <a:p>
              <a:pPr algn="ctr">
                <a:lnSpc>
                  <a:spcPct val="110000"/>
                </a:lnSpc>
                <a:defRPr/>
              </a:pPr>
              <a:r>
                <a:rPr lang="en-US" sz="1400" b="1">
                  <a:solidFill>
                    <a:schemeClr val="bg1"/>
                  </a:solidFill>
                </a:rPr>
                <a:t>Text</a:t>
              </a:r>
            </a:p>
          </p:txBody>
        </p:sp>
        <p:sp>
          <p:nvSpPr>
            <p:cNvPr id="27" name="AutoShape 26"/>
            <p:cNvSpPr>
              <a:spLocks noChangeArrowheads="1"/>
            </p:cNvSpPr>
            <p:nvPr/>
          </p:nvSpPr>
          <p:spPr bwMode="gray">
            <a:xfrm>
              <a:off x="3271" y="726"/>
              <a:ext cx="821" cy="368"/>
            </a:xfrm>
            <a:prstGeom prst="chevron">
              <a:avLst>
                <a:gd name="adj" fmla="val 32370"/>
              </a:avLst>
            </a:prstGeom>
            <a:grpFill/>
            <a:ln w="12700" cap="rnd" algn="ctr">
              <a:solidFill>
                <a:srgbClr val="FFFFFF"/>
              </a:solidFill>
              <a:miter lim="800000"/>
              <a:headEnd/>
              <a:tailEnd/>
            </a:ln>
          </p:spPr>
          <p:txBody>
            <a:bodyPr anchor="ctr"/>
            <a:lstStyle/>
            <a:p>
              <a:pPr algn="ctr">
                <a:lnSpc>
                  <a:spcPct val="110000"/>
                </a:lnSpc>
                <a:defRPr/>
              </a:pPr>
              <a:r>
                <a:rPr lang="en-US" sz="1400" b="1">
                  <a:solidFill>
                    <a:schemeClr val="bg1"/>
                  </a:solidFill>
                </a:rPr>
                <a:t>Text</a:t>
              </a:r>
            </a:p>
          </p:txBody>
        </p:sp>
        <p:sp>
          <p:nvSpPr>
            <p:cNvPr id="28" name="AutoShape 27"/>
            <p:cNvSpPr>
              <a:spLocks noChangeArrowheads="1"/>
            </p:cNvSpPr>
            <p:nvPr/>
          </p:nvSpPr>
          <p:spPr bwMode="gray">
            <a:xfrm>
              <a:off x="3983" y="726"/>
              <a:ext cx="821" cy="368"/>
            </a:xfrm>
            <a:prstGeom prst="chevron">
              <a:avLst>
                <a:gd name="adj" fmla="val 32370"/>
              </a:avLst>
            </a:prstGeom>
            <a:grpFill/>
            <a:ln w="12700" cap="rnd" algn="ctr">
              <a:solidFill>
                <a:srgbClr val="FFFFFF"/>
              </a:solidFill>
              <a:miter lim="800000"/>
              <a:headEnd/>
              <a:tailEnd/>
            </a:ln>
          </p:spPr>
          <p:txBody>
            <a:bodyPr anchor="ctr"/>
            <a:lstStyle/>
            <a:p>
              <a:pPr algn="ctr">
                <a:lnSpc>
                  <a:spcPct val="110000"/>
                </a:lnSpc>
                <a:defRPr/>
              </a:pPr>
              <a:r>
                <a:rPr lang="en-US" sz="1400" b="1">
                  <a:solidFill>
                    <a:schemeClr val="bg1"/>
                  </a:solidFill>
                </a:rPr>
                <a:t>Text</a:t>
              </a:r>
            </a:p>
          </p:txBody>
        </p:sp>
        <p:sp>
          <p:nvSpPr>
            <p:cNvPr id="29" name="AutoShape 28"/>
            <p:cNvSpPr>
              <a:spLocks noChangeArrowheads="1"/>
            </p:cNvSpPr>
            <p:nvPr/>
          </p:nvSpPr>
          <p:spPr bwMode="gray">
            <a:xfrm>
              <a:off x="4695" y="726"/>
              <a:ext cx="821" cy="368"/>
            </a:xfrm>
            <a:prstGeom prst="chevron">
              <a:avLst>
                <a:gd name="adj" fmla="val 32370"/>
              </a:avLst>
            </a:prstGeom>
            <a:grpFill/>
            <a:ln w="12700" cap="rnd" algn="ctr">
              <a:solidFill>
                <a:srgbClr val="FFFFFF"/>
              </a:solidFill>
              <a:miter lim="800000"/>
              <a:headEnd/>
              <a:tailEnd/>
            </a:ln>
          </p:spPr>
          <p:txBody>
            <a:bodyPr anchor="ctr"/>
            <a:lstStyle/>
            <a:p>
              <a:pPr algn="ctr">
                <a:lnSpc>
                  <a:spcPct val="110000"/>
                </a:lnSpc>
                <a:defRPr/>
              </a:pPr>
              <a:r>
                <a:rPr lang="en-US" sz="1400" b="1">
                  <a:solidFill>
                    <a:schemeClr val="bg1"/>
                  </a:solidFill>
                </a:rPr>
                <a:t>Text</a:t>
              </a:r>
            </a:p>
          </p:txBody>
        </p:sp>
      </p:grpSp>
      <p:grpSp>
        <p:nvGrpSpPr>
          <p:cNvPr id="17" name="Group 29"/>
          <p:cNvGrpSpPr>
            <a:grpSpLocks/>
          </p:cNvGrpSpPr>
          <p:nvPr/>
        </p:nvGrpSpPr>
        <p:grpSpPr bwMode="auto">
          <a:xfrm>
            <a:off x="716575" y="5237701"/>
            <a:ext cx="7710854" cy="584200"/>
            <a:chOff x="1124" y="236"/>
            <a:chExt cx="4387" cy="368"/>
          </a:xfrm>
          <a:solidFill>
            <a:schemeClr val="accent3"/>
          </a:solidFill>
        </p:grpSpPr>
        <p:sp>
          <p:nvSpPr>
            <p:cNvPr id="31" name="AutoShape 30"/>
            <p:cNvSpPr>
              <a:spLocks noChangeArrowheads="1"/>
            </p:cNvSpPr>
            <p:nvPr/>
          </p:nvSpPr>
          <p:spPr bwMode="gray">
            <a:xfrm>
              <a:off x="1124" y="236"/>
              <a:ext cx="725" cy="368"/>
            </a:xfrm>
            <a:prstGeom prst="chevron">
              <a:avLst>
                <a:gd name="adj" fmla="val 32607"/>
              </a:avLst>
            </a:prstGeom>
            <a:grpFill/>
            <a:ln w="12700" cap="rnd" algn="ctr">
              <a:solidFill>
                <a:srgbClr val="FFFFFF"/>
              </a:solidFill>
              <a:miter lim="800000"/>
              <a:headEnd/>
              <a:tailEnd/>
            </a:ln>
          </p:spPr>
          <p:txBody>
            <a:bodyPr rIns="45720" anchor="ctr"/>
            <a:lstStyle/>
            <a:p>
              <a:pPr algn="ctr">
                <a:lnSpc>
                  <a:spcPct val="110000"/>
                </a:lnSpc>
                <a:defRPr/>
              </a:pPr>
              <a:r>
                <a:rPr lang="en-US" sz="1400" b="1">
                  <a:solidFill>
                    <a:schemeClr val="bg1"/>
                  </a:solidFill>
                </a:rPr>
                <a:t>Text</a:t>
              </a:r>
            </a:p>
          </p:txBody>
        </p:sp>
        <p:sp>
          <p:nvSpPr>
            <p:cNvPr id="32" name="AutoShape 31"/>
            <p:cNvSpPr>
              <a:spLocks noChangeArrowheads="1"/>
            </p:cNvSpPr>
            <p:nvPr/>
          </p:nvSpPr>
          <p:spPr bwMode="gray">
            <a:xfrm>
              <a:off x="1740" y="236"/>
              <a:ext cx="720" cy="368"/>
            </a:xfrm>
            <a:prstGeom prst="chevron">
              <a:avLst>
                <a:gd name="adj" fmla="val 32337"/>
              </a:avLst>
            </a:prstGeom>
            <a:grpFill/>
            <a:ln w="12700" cap="rnd" algn="ctr">
              <a:solidFill>
                <a:srgbClr val="FFFFFF"/>
              </a:solidFill>
              <a:miter lim="800000"/>
              <a:headEnd/>
              <a:tailEnd/>
            </a:ln>
          </p:spPr>
          <p:txBody>
            <a:bodyPr rIns="45720" anchor="ctr"/>
            <a:lstStyle/>
            <a:p>
              <a:pPr algn="ctr">
                <a:lnSpc>
                  <a:spcPct val="110000"/>
                </a:lnSpc>
                <a:defRPr/>
              </a:pPr>
              <a:r>
                <a:rPr lang="en-US" sz="1400" b="1">
                  <a:solidFill>
                    <a:schemeClr val="bg1"/>
                  </a:solidFill>
                </a:rPr>
                <a:t>Text</a:t>
              </a:r>
            </a:p>
          </p:txBody>
        </p:sp>
        <p:sp>
          <p:nvSpPr>
            <p:cNvPr id="33" name="AutoShape 32"/>
            <p:cNvSpPr>
              <a:spLocks noChangeArrowheads="1"/>
            </p:cNvSpPr>
            <p:nvPr/>
          </p:nvSpPr>
          <p:spPr bwMode="gray">
            <a:xfrm>
              <a:off x="2351" y="236"/>
              <a:ext cx="719" cy="368"/>
            </a:xfrm>
            <a:prstGeom prst="chevron">
              <a:avLst>
                <a:gd name="adj" fmla="val 32337"/>
              </a:avLst>
            </a:prstGeom>
            <a:grpFill/>
            <a:ln w="12700" cap="rnd" algn="ctr">
              <a:solidFill>
                <a:srgbClr val="FFFFFF"/>
              </a:solidFill>
              <a:miter lim="800000"/>
              <a:headEnd/>
              <a:tailEnd/>
            </a:ln>
          </p:spPr>
          <p:txBody>
            <a:bodyPr rIns="45720" anchor="ctr"/>
            <a:lstStyle/>
            <a:p>
              <a:pPr algn="ctr">
                <a:lnSpc>
                  <a:spcPct val="110000"/>
                </a:lnSpc>
                <a:defRPr/>
              </a:pPr>
              <a:r>
                <a:rPr lang="en-US" sz="1400" b="1">
                  <a:solidFill>
                    <a:schemeClr val="bg1"/>
                  </a:solidFill>
                </a:rPr>
                <a:t>Text</a:t>
              </a:r>
            </a:p>
          </p:txBody>
        </p:sp>
        <p:sp>
          <p:nvSpPr>
            <p:cNvPr id="34" name="AutoShape 33"/>
            <p:cNvSpPr>
              <a:spLocks noChangeArrowheads="1"/>
            </p:cNvSpPr>
            <p:nvPr/>
          </p:nvSpPr>
          <p:spPr bwMode="gray">
            <a:xfrm>
              <a:off x="2961" y="236"/>
              <a:ext cx="719" cy="368"/>
            </a:xfrm>
            <a:prstGeom prst="chevron">
              <a:avLst>
                <a:gd name="adj" fmla="val 32337"/>
              </a:avLst>
            </a:prstGeom>
            <a:grpFill/>
            <a:ln w="12700" cap="rnd" algn="ctr">
              <a:solidFill>
                <a:srgbClr val="FFFFFF"/>
              </a:solidFill>
              <a:miter lim="800000"/>
              <a:headEnd/>
              <a:tailEnd/>
            </a:ln>
          </p:spPr>
          <p:txBody>
            <a:bodyPr rIns="45720" anchor="ctr"/>
            <a:lstStyle/>
            <a:p>
              <a:pPr algn="ctr">
                <a:lnSpc>
                  <a:spcPct val="110000"/>
                </a:lnSpc>
                <a:defRPr/>
              </a:pPr>
              <a:r>
                <a:rPr lang="en-US" sz="1400" b="1">
                  <a:solidFill>
                    <a:schemeClr val="bg1"/>
                  </a:solidFill>
                </a:rPr>
                <a:t>Text</a:t>
              </a:r>
            </a:p>
          </p:txBody>
        </p:sp>
        <p:sp>
          <p:nvSpPr>
            <p:cNvPr id="35" name="AutoShape 34"/>
            <p:cNvSpPr>
              <a:spLocks noChangeArrowheads="1"/>
            </p:cNvSpPr>
            <p:nvPr/>
          </p:nvSpPr>
          <p:spPr bwMode="gray">
            <a:xfrm>
              <a:off x="3571" y="236"/>
              <a:ext cx="720" cy="368"/>
            </a:xfrm>
            <a:prstGeom prst="chevron">
              <a:avLst>
                <a:gd name="adj" fmla="val 32337"/>
              </a:avLst>
            </a:prstGeom>
            <a:grpFill/>
            <a:ln w="12700" cap="rnd" algn="ctr">
              <a:solidFill>
                <a:srgbClr val="FFFFFF"/>
              </a:solidFill>
              <a:miter lim="800000"/>
              <a:headEnd/>
              <a:tailEnd/>
            </a:ln>
          </p:spPr>
          <p:txBody>
            <a:bodyPr rIns="45720" anchor="ctr"/>
            <a:lstStyle/>
            <a:p>
              <a:pPr algn="ctr">
                <a:lnSpc>
                  <a:spcPct val="110000"/>
                </a:lnSpc>
                <a:defRPr/>
              </a:pPr>
              <a:r>
                <a:rPr lang="en-US" sz="1400" b="1">
                  <a:solidFill>
                    <a:schemeClr val="bg1"/>
                  </a:solidFill>
                </a:rPr>
                <a:t>Text</a:t>
              </a:r>
            </a:p>
          </p:txBody>
        </p:sp>
        <p:sp>
          <p:nvSpPr>
            <p:cNvPr id="36" name="AutoShape 35"/>
            <p:cNvSpPr>
              <a:spLocks noChangeArrowheads="1"/>
            </p:cNvSpPr>
            <p:nvPr/>
          </p:nvSpPr>
          <p:spPr bwMode="gray">
            <a:xfrm>
              <a:off x="4182" y="236"/>
              <a:ext cx="719" cy="368"/>
            </a:xfrm>
            <a:prstGeom prst="chevron">
              <a:avLst>
                <a:gd name="adj" fmla="val 32337"/>
              </a:avLst>
            </a:prstGeom>
            <a:grpFill/>
            <a:ln w="12700" cap="rnd" algn="ctr">
              <a:solidFill>
                <a:srgbClr val="FFFFFF"/>
              </a:solidFill>
              <a:miter lim="800000"/>
              <a:headEnd/>
              <a:tailEnd/>
            </a:ln>
          </p:spPr>
          <p:txBody>
            <a:bodyPr rIns="45720" anchor="ctr"/>
            <a:lstStyle/>
            <a:p>
              <a:pPr algn="ctr">
                <a:lnSpc>
                  <a:spcPct val="110000"/>
                </a:lnSpc>
                <a:defRPr/>
              </a:pPr>
              <a:r>
                <a:rPr lang="en-US" sz="1400" b="1">
                  <a:solidFill>
                    <a:schemeClr val="bg1"/>
                  </a:solidFill>
                </a:rPr>
                <a:t>Text</a:t>
              </a:r>
            </a:p>
          </p:txBody>
        </p:sp>
        <p:sp>
          <p:nvSpPr>
            <p:cNvPr id="37" name="AutoShape 36"/>
            <p:cNvSpPr>
              <a:spLocks noChangeArrowheads="1"/>
            </p:cNvSpPr>
            <p:nvPr/>
          </p:nvSpPr>
          <p:spPr bwMode="gray">
            <a:xfrm>
              <a:off x="4792" y="236"/>
              <a:ext cx="719" cy="368"/>
            </a:xfrm>
            <a:prstGeom prst="chevron">
              <a:avLst>
                <a:gd name="adj" fmla="val 32337"/>
              </a:avLst>
            </a:prstGeom>
            <a:grpFill/>
            <a:ln w="12700" cap="rnd" algn="ctr">
              <a:solidFill>
                <a:srgbClr val="FFFFFF"/>
              </a:solidFill>
              <a:miter lim="800000"/>
              <a:headEnd/>
              <a:tailEnd/>
            </a:ln>
          </p:spPr>
          <p:txBody>
            <a:bodyPr rIns="45720" anchor="ctr"/>
            <a:lstStyle/>
            <a:p>
              <a:pPr algn="ctr">
                <a:lnSpc>
                  <a:spcPct val="110000"/>
                </a:lnSpc>
                <a:defRPr/>
              </a:pPr>
              <a:r>
                <a:rPr lang="en-US" sz="1400" b="1">
                  <a:solidFill>
                    <a:schemeClr val="bg1"/>
                  </a:solidFill>
                </a:rPr>
                <a:t>Text</a:t>
              </a:r>
            </a:p>
          </p:txBody>
        </p:sp>
      </p:grpSp>
      <p:sp>
        <p:nvSpPr>
          <p:cNvPr id="39"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3793" name="Title 1"/>
          <p:cNvSpPr>
            <a:spLocks noGrp="1"/>
          </p:cNvSpPr>
          <p:nvPr>
            <p:ph type="title"/>
          </p:nvPr>
        </p:nvSpPr>
        <p:spPr>
          <a:xfrm>
            <a:off x="414338" y="446038"/>
            <a:ext cx="8330184" cy="333425"/>
          </a:xfrm>
        </p:spPr>
        <p:txBody>
          <a:bodyPr/>
          <a:lstStyle/>
          <a:p>
            <a:r>
              <a:rPr lang="nl-NL"/>
              <a:t>Circles </a:t>
            </a:r>
            <a:r>
              <a:rPr lang="en-US"/>
              <a:t>—</a:t>
            </a:r>
            <a:r>
              <a:rPr lang="nl-NL" smtClean="0"/>
              <a:t> </a:t>
            </a:r>
            <a:r>
              <a:rPr lang="nl-NL"/>
              <a:t>small arrows</a:t>
            </a:r>
          </a:p>
        </p:txBody>
      </p:sp>
      <p:grpSp>
        <p:nvGrpSpPr>
          <p:cNvPr id="2" name="Group 25"/>
          <p:cNvGrpSpPr>
            <a:grpSpLocks/>
          </p:cNvGrpSpPr>
          <p:nvPr/>
        </p:nvGrpSpPr>
        <p:grpSpPr bwMode="auto">
          <a:xfrm>
            <a:off x="415925" y="1671642"/>
            <a:ext cx="3810000" cy="3817937"/>
            <a:chOff x="450850" y="1773238"/>
            <a:chExt cx="4127500" cy="3817937"/>
          </a:xfrm>
        </p:grpSpPr>
        <p:sp>
          <p:nvSpPr>
            <p:cNvPr id="4" name="Arc 3"/>
            <p:cNvSpPr>
              <a:spLocks/>
            </p:cNvSpPr>
            <p:nvPr/>
          </p:nvSpPr>
          <p:spPr bwMode="auto">
            <a:xfrm>
              <a:off x="1451769" y="1773238"/>
              <a:ext cx="1064552" cy="1908175"/>
            </a:xfrm>
            <a:custGeom>
              <a:avLst/>
              <a:gdLst>
                <a:gd name="T0" fmla="*/ 0 w 11129"/>
                <a:gd name="T1" fmla="*/ 2147483647 h 21481"/>
                <a:gd name="T2" fmla="*/ 2147483647 w 11129"/>
                <a:gd name="T3" fmla="*/ 0 h 21481"/>
                <a:gd name="T4" fmla="*/ 2147483647 w 11129"/>
                <a:gd name="T5" fmla="*/ 2147483647 h 21481"/>
                <a:gd name="T6" fmla="*/ 0 60000 65536"/>
                <a:gd name="T7" fmla="*/ 0 60000 65536"/>
                <a:gd name="T8" fmla="*/ 0 60000 65536"/>
                <a:gd name="T9" fmla="*/ 0 w 11129"/>
                <a:gd name="T10" fmla="*/ 0 h 21481"/>
                <a:gd name="T11" fmla="*/ 11129 w 11129"/>
                <a:gd name="T12" fmla="*/ 21481 h 21481"/>
              </a:gdLst>
              <a:ahLst/>
              <a:cxnLst>
                <a:cxn ang="T6">
                  <a:pos x="T0" y="T1"/>
                </a:cxn>
                <a:cxn ang="T7">
                  <a:pos x="T2" y="T3"/>
                </a:cxn>
                <a:cxn ang="T8">
                  <a:pos x="T4" y="T5"/>
                </a:cxn>
              </a:cxnLst>
              <a:rect l="T9" t="T10" r="T11" b="T12"/>
              <a:pathLst>
                <a:path w="11129" h="21481" fill="none" extrusionOk="0">
                  <a:moveTo>
                    <a:pt x="-1" y="2968"/>
                  </a:moveTo>
                  <a:cubicBezTo>
                    <a:pt x="2703" y="1343"/>
                    <a:pt x="5729" y="330"/>
                    <a:pt x="8865" y="-1"/>
                  </a:cubicBezTo>
                </a:path>
                <a:path w="11129" h="21481" stroke="0" extrusionOk="0">
                  <a:moveTo>
                    <a:pt x="-1" y="2968"/>
                  </a:moveTo>
                  <a:cubicBezTo>
                    <a:pt x="2703" y="1343"/>
                    <a:pt x="5729" y="330"/>
                    <a:pt x="8865" y="-1"/>
                  </a:cubicBezTo>
                  <a:lnTo>
                    <a:pt x="11129" y="21481"/>
                  </a:lnTo>
                  <a:close/>
                </a:path>
              </a:pathLst>
            </a:custGeom>
            <a:noFill/>
            <a:ln w="57150" cap="rnd">
              <a:solidFill>
                <a:schemeClr val="accent3"/>
              </a:solidFill>
              <a:round/>
              <a:headEnd/>
              <a:tailEnd type="triangle" w="med" len="sm"/>
            </a:ln>
          </p:spPr>
          <p:txBody>
            <a:bodyPr wrap="none" anchor="ctr"/>
            <a:lstStyle/>
            <a:p>
              <a:pPr algn="ctr">
                <a:defRPr/>
              </a:pPr>
              <a:endParaRPr lang="en-GB"/>
            </a:p>
          </p:txBody>
        </p:sp>
        <p:sp>
          <p:nvSpPr>
            <p:cNvPr id="5" name="Arc 4"/>
            <p:cNvSpPr>
              <a:spLocks/>
            </p:cNvSpPr>
            <p:nvPr/>
          </p:nvSpPr>
          <p:spPr bwMode="auto">
            <a:xfrm>
              <a:off x="2514600" y="1773238"/>
              <a:ext cx="1061112" cy="1908175"/>
            </a:xfrm>
            <a:custGeom>
              <a:avLst/>
              <a:gdLst>
                <a:gd name="T0" fmla="*/ 2147483647 w 11116"/>
                <a:gd name="T1" fmla="*/ 0 h 21483"/>
                <a:gd name="T2" fmla="*/ 2147483647 w 11116"/>
                <a:gd name="T3" fmla="*/ 2147483647 h 21483"/>
                <a:gd name="T4" fmla="*/ 0 w 11116"/>
                <a:gd name="T5" fmla="*/ 2147483647 h 21483"/>
                <a:gd name="T6" fmla="*/ 0 60000 65536"/>
                <a:gd name="T7" fmla="*/ 0 60000 65536"/>
                <a:gd name="T8" fmla="*/ 0 60000 65536"/>
                <a:gd name="T9" fmla="*/ 0 w 11116"/>
                <a:gd name="T10" fmla="*/ 0 h 21483"/>
                <a:gd name="T11" fmla="*/ 11116 w 11116"/>
                <a:gd name="T12" fmla="*/ 21483 h 21483"/>
              </a:gdLst>
              <a:ahLst/>
              <a:cxnLst>
                <a:cxn ang="T6">
                  <a:pos x="T0" y="T1"/>
                </a:cxn>
                <a:cxn ang="T7">
                  <a:pos x="T2" y="T3"/>
                </a:cxn>
                <a:cxn ang="T8">
                  <a:pos x="T4" y="T5"/>
                </a:cxn>
              </a:cxnLst>
              <a:rect l="T9" t="T10" r="T11" b="T12"/>
              <a:pathLst>
                <a:path w="11116" h="21483" fill="none" extrusionOk="0">
                  <a:moveTo>
                    <a:pt x="2245" y="-1"/>
                  </a:moveTo>
                  <a:cubicBezTo>
                    <a:pt x="5382" y="327"/>
                    <a:pt x="8410" y="1339"/>
                    <a:pt x="11116" y="2962"/>
                  </a:cubicBezTo>
                </a:path>
                <a:path w="11116" h="21483" stroke="0" extrusionOk="0">
                  <a:moveTo>
                    <a:pt x="2245" y="-1"/>
                  </a:moveTo>
                  <a:cubicBezTo>
                    <a:pt x="5382" y="327"/>
                    <a:pt x="8410" y="1339"/>
                    <a:pt x="11116" y="2962"/>
                  </a:cubicBezTo>
                  <a:lnTo>
                    <a:pt x="0" y="21483"/>
                  </a:lnTo>
                  <a:close/>
                </a:path>
              </a:pathLst>
            </a:custGeom>
            <a:noFill/>
            <a:ln w="57150" cap="rnd">
              <a:solidFill>
                <a:schemeClr val="accent3"/>
              </a:solidFill>
              <a:round/>
              <a:headEnd/>
              <a:tailEnd type="triangle" w="med" len="sm"/>
            </a:ln>
          </p:spPr>
          <p:txBody>
            <a:bodyPr wrap="none" anchor="ctr"/>
            <a:lstStyle/>
            <a:p>
              <a:pPr algn="ctr">
                <a:defRPr/>
              </a:pPr>
              <a:endParaRPr lang="en-GB"/>
            </a:p>
          </p:txBody>
        </p:sp>
        <p:sp>
          <p:nvSpPr>
            <p:cNvPr id="6" name="Arc 5"/>
            <p:cNvSpPr>
              <a:spLocks/>
            </p:cNvSpPr>
            <p:nvPr/>
          </p:nvSpPr>
          <p:spPr bwMode="auto">
            <a:xfrm>
              <a:off x="2514600" y="2233613"/>
              <a:ext cx="1898650" cy="1447800"/>
            </a:xfrm>
            <a:custGeom>
              <a:avLst/>
              <a:gdLst>
                <a:gd name="T0" fmla="*/ 2147483647 w 19880"/>
                <a:gd name="T1" fmla="*/ 0 h 16312"/>
                <a:gd name="T2" fmla="*/ 2147483647 w 19880"/>
                <a:gd name="T3" fmla="*/ 2147483647 h 16312"/>
                <a:gd name="T4" fmla="*/ 0 w 19880"/>
                <a:gd name="T5" fmla="*/ 2147483647 h 16312"/>
                <a:gd name="T6" fmla="*/ 0 60000 65536"/>
                <a:gd name="T7" fmla="*/ 0 60000 65536"/>
                <a:gd name="T8" fmla="*/ 0 60000 65536"/>
                <a:gd name="T9" fmla="*/ 0 w 19880"/>
                <a:gd name="T10" fmla="*/ 0 h 16312"/>
                <a:gd name="T11" fmla="*/ 19880 w 19880"/>
                <a:gd name="T12" fmla="*/ 16312 h 16312"/>
              </a:gdLst>
              <a:ahLst/>
              <a:cxnLst>
                <a:cxn ang="T6">
                  <a:pos x="T0" y="T1"/>
                </a:cxn>
                <a:cxn ang="T7">
                  <a:pos x="T2" y="T3"/>
                </a:cxn>
                <a:cxn ang="T8">
                  <a:pos x="T4" y="T5"/>
                </a:cxn>
              </a:cxnLst>
              <a:rect l="T9" t="T10" r="T11" b="T12"/>
              <a:pathLst>
                <a:path w="19880" h="16312" fill="none" extrusionOk="0">
                  <a:moveTo>
                    <a:pt x="14159" y="-1"/>
                  </a:moveTo>
                  <a:cubicBezTo>
                    <a:pt x="16639" y="2152"/>
                    <a:pt x="18595" y="4843"/>
                    <a:pt x="19880" y="7865"/>
                  </a:cubicBezTo>
                </a:path>
                <a:path w="19880" h="16312" stroke="0" extrusionOk="0">
                  <a:moveTo>
                    <a:pt x="14159" y="-1"/>
                  </a:moveTo>
                  <a:cubicBezTo>
                    <a:pt x="16639" y="2152"/>
                    <a:pt x="18595" y="4843"/>
                    <a:pt x="19880" y="7865"/>
                  </a:cubicBezTo>
                  <a:lnTo>
                    <a:pt x="0" y="16312"/>
                  </a:lnTo>
                  <a:close/>
                </a:path>
              </a:pathLst>
            </a:custGeom>
            <a:noFill/>
            <a:ln w="57150" cap="rnd">
              <a:solidFill>
                <a:schemeClr val="accent3"/>
              </a:solidFill>
              <a:round/>
              <a:headEnd/>
              <a:tailEnd type="triangle" w="med" len="sm"/>
            </a:ln>
          </p:spPr>
          <p:txBody>
            <a:bodyPr wrap="none" anchor="ctr"/>
            <a:lstStyle/>
            <a:p>
              <a:pPr algn="ctr">
                <a:defRPr/>
              </a:pPr>
              <a:endParaRPr lang="en-GB"/>
            </a:p>
          </p:txBody>
        </p:sp>
        <p:sp>
          <p:nvSpPr>
            <p:cNvPr id="7" name="Arc 6"/>
            <p:cNvSpPr>
              <a:spLocks/>
            </p:cNvSpPr>
            <p:nvPr/>
          </p:nvSpPr>
          <p:spPr bwMode="auto">
            <a:xfrm>
              <a:off x="2514600" y="3249613"/>
              <a:ext cx="2063750" cy="830262"/>
            </a:xfrm>
            <a:custGeom>
              <a:avLst/>
              <a:gdLst>
                <a:gd name="T0" fmla="*/ 2147483647 w 21600"/>
                <a:gd name="T1" fmla="*/ 0 h 9355"/>
                <a:gd name="T2" fmla="*/ 2147483647 w 21600"/>
                <a:gd name="T3" fmla="*/ 2147483647 h 9355"/>
                <a:gd name="T4" fmla="*/ 0 w 21600"/>
                <a:gd name="T5" fmla="*/ 2147483647 h 9355"/>
                <a:gd name="T6" fmla="*/ 0 60000 65536"/>
                <a:gd name="T7" fmla="*/ 0 60000 65536"/>
                <a:gd name="T8" fmla="*/ 0 60000 65536"/>
                <a:gd name="T9" fmla="*/ 0 w 21600"/>
                <a:gd name="T10" fmla="*/ 0 h 9355"/>
                <a:gd name="T11" fmla="*/ 21600 w 21600"/>
                <a:gd name="T12" fmla="*/ 9355 h 9355"/>
              </a:gdLst>
              <a:ahLst/>
              <a:cxnLst>
                <a:cxn ang="T6">
                  <a:pos x="T0" y="T1"/>
                </a:cxn>
                <a:cxn ang="T7">
                  <a:pos x="T2" y="T3"/>
                </a:cxn>
                <a:cxn ang="T8">
                  <a:pos x="T4" y="T5"/>
                </a:cxn>
              </a:cxnLst>
              <a:rect l="T9" t="T10" r="T11" b="T12"/>
              <a:pathLst>
                <a:path w="21600" h="9355" fill="none" extrusionOk="0">
                  <a:moveTo>
                    <a:pt x="21045" y="0"/>
                  </a:moveTo>
                  <a:cubicBezTo>
                    <a:pt x="21414" y="1594"/>
                    <a:pt x="21600" y="3225"/>
                    <a:pt x="21600" y="4862"/>
                  </a:cubicBezTo>
                  <a:cubicBezTo>
                    <a:pt x="21600" y="6372"/>
                    <a:pt x="21441" y="7877"/>
                    <a:pt x="21127" y="9354"/>
                  </a:cubicBezTo>
                </a:path>
                <a:path w="21600" h="9355" stroke="0" extrusionOk="0">
                  <a:moveTo>
                    <a:pt x="21045" y="0"/>
                  </a:moveTo>
                  <a:cubicBezTo>
                    <a:pt x="21414" y="1594"/>
                    <a:pt x="21600" y="3225"/>
                    <a:pt x="21600" y="4862"/>
                  </a:cubicBezTo>
                  <a:cubicBezTo>
                    <a:pt x="21600" y="6372"/>
                    <a:pt x="21441" y="7877"/>
                    <a:pt x="21127" y="9354"/>
                  </a:cubicBezTo>
                  <a:lnTo>
                    <a:pt x="0" y="4862"/>
                  </a:lnTo>
                  <a:close/>
                </a:path>
              </a:pathLst>
            </a:custGeom>
            <a:noFill/>
            <a:ln w="57150" cap="rnd">
              <a:solidFill>
                <a:schemeClr val="accent3"/>
              </a:solidFill>
              <a:round/>
              <a:headEnd/>
              <a:tailEnd type="triangle" w="med" len="sm"/>
            </a:ln>
          </p:spPr>
          <p:txBody>
            <a:bodyPr wrap="none" anchor="ctr"/>
            <a:lstStyle/>
            <a:p>
              <a:pPr algn="ctr">
                <a:defRPr/>
              </a:pPr>
              <a:endParaRPr lang="en-GB"/>
            </a:p>
          </p:txBody>
        </p:sp>
        <p:sp>
          <p:nvSpPr>
            <p:cNvPr id="8" name="Arc 7"/>
            <p:cNvSpPr>
              <a:spLocks/>
            </p:cNvSpPr>
            <p:nvPr/>
          </p:nvSpPr>
          <p:spPr bwMode="auto">
            <a:xfrm>
              <a:off x="2514600" y="3679825"/>
              <a:ext cx="1898650" cy="1425575"/>
            </a:xfrm>
            <a:custGeom>
              <a:avLst/>
              <a:gdLst>
                <a:gd name="T0" fmla="*/ 2147483647 w 19887"/>
                <a:gd name="T1" fmla="*/ 2147483647 h 16060"/>
                <a:gd name="T2" fmla="*/ 2147483647 w 19887"/>
                <a:gd name="T3" fmla="*/ 2147483647 h 16060"/>
                <a:gd name="T4" fmla="*/ 0 w 19887"/>
                <a:gd name="T5" fmla="*/ 0 h 16060"/>
                <a:gd name="T6" fmla="*/ 0 60000 65536"/>
                <a:gd name="T7" fmla="*/ 0 60000 65536"/>
                <a:gd name="T8" fmla="*/ 0 60000 65536"/>
                <a:gd name="T9" fmla="*/ 0 w 19887"/>
                <a:gd name="T10" fmla="*/ 0 h 16060"/>
                <a:gd name="T11" fmla="*/ 19887 w 19887"/>
                <a:gd name="T12" fmla="*/ 16060 h 16060"/>
              </a:gdLst>
              <a:ahLst/>
              <a:cxnLst>
                <a:cxn ang="T6">
                  <a:pos x="T0" y="T1"/>
                </a:cxn>
                <a:cxn ang="T7">
                  <a:pos x="T2" y="T3"/>
                </a:cxn>
                <a:cxn ang="T8">
                  <a:pos x="T4" y="T5"/>
                </a:cxn>
              </a:cxnLst>
              <a:rect l="T9" t="T10" r="T11" b="T12"/>
              <a:pathLst>
                <a:path w="19887" h="16060" fill="none" extrusionOk="0">
                  <a:moveTo>
                    <a:pt x="19887" y="8430"/>
                  </a:moveTo>
                  <a:cubicBezTo>
                    <a:pt x="18653" y="11340"/>
                    <a:pt x="16795" y="13945"/>
                    <a:pt x="14444" y="16059"/>
                  </a:cubicBezTo>
                </a:path>
                <a:path w="19887" h="16060" stroke="0" extrusionOk="0">
                  <a:moveTo>
                    <a:pt x="19887" y="8430"/>
                  </a:moveTo>
                  <a:cubicBezTo>
                    <a:pt x="18653" y="11340"/>
                    <a:pt x="16795" y="13945"/>
                    <a:pt x="14444" y="16059"/>
                  </a:cubicBezTo>
                  <a:lnTo>
                    <a:pt x="0" y="0"/>
                  </a:lnTo>
                  <a:close/>
                </a:path>
              </a:pathLst>
            </a:custGeom>
            <a:noFill/>
            <a:ln w="57150" cap="rnd">
              <a:solidFill>
                <a:schemeClr val="accent3"/>
              </a:solidFill>
              <a:round/>
              <a:headEnd/>
              <a:tailEnd type="triangle" w="med" len="sm"/>
            </a:ln>
          </p:spPr>
          <p:txBody>
            <a:bodyPr wrap="none" anchor="ctr"/>
            <a:lstStyle/>
            <a:p>
              <a:pPr algn="ctr">
                <a:defRPr/>
              </a:pPr>
              <a:endParaRPr lang="en-GB"/>
            </a:p>
          </p:txBody>
        </p:sp>
        <p:sp>
          <p:nvSpPr>
            <p:cNvPr id="9" name="Arc 8"/>
            <p:cNvSpPr>
              <a:spLocks/>
            </p:cNvSpPr>
            <p:nvPr/>
          </p:nvSpPr>
          <p:spPr bwMode="auto">
            <a:xfrm>
              <a:off x="2514600" y="3679825"/>
              <a:ext cx="1061112" cy="1911350"/>
            </a:xfrm>
            <a:custGeom>
              <a:avLst/>
              <a:gdLst>
                <a:gd name="T0" fmla="*/ 2147483647 w 11124"/>
                <a:gd name="T1" fmla="*/ 2147483647 h 21518"/>
                <a:gd name="T2" fmla="*/ 2147483647 w 11124"/>
                <a:gd name="T3" fmla="*/ 2147483647 h 21518"/>
                <a:gd name="T4" fmla="*/ 0 w 11124"/>
                <a:gd name="T5" fmla="*/ 0 h 21518"/>
                <a:gd name="T6" fmla="*/ 0 60000 65536"/>
                <a:gd name="T7" fmla="*/ 0 60000 65536"/>
                <a:gd name="T8" fmla="*/ 0 60000 65536"/>
                <a:gd name="T9" fmla="*/ 0 w 11124"/>
                <a:gd name="T10" fmla="*/ 0 h 21518"/>
                <a:gd name="T11" fmla="*/ 11124 w 11124"/>
                <a:gd name="T12" fmla="*/ 21518 h 21518"/>
              </a:gdLst>
              <a:ahLst/>
              <a:cxnLst>
                <a:cxn ang="T6">
                  <a:pos x="T0" y="T1"/>
                </a:cxn>
                <a:cxn ang="T7">
                  <a:pos x="T2" y="T3"/>
                </a:cxn>
                <a:cxn ang="T8">
                  <a:pos x="T4" y="T5"/>
                </a:cxn>
              </a:cxnLst>
              <a:rect l="T9" t="T10" r="T11" b="T12"/>
              <a:pathLst>
                <a:path w="11124" h="21518" fill="none" extrusionOk="0">
                  <a:moveTo>
                    <a:pt x="11124" y="18515"/>
                  </a:moveTo>
                  <a:cubicBezTo>
                    <a:pt x="8309" y="20206"/>
                    <a:pt x="5146" y="21233"/>
                    <a:pt x="1875" y="21518"/>
                  </a:cubicBezTo>
                </a:path>
                <a:path w="11124" h="21518" stroke="0" extrusionOk="0">
                  <a:moveTo>
                    <a:pt x="11124" y="18515"/>
                  </a:moveTo>
                  <a:cubicBezTo>
                    <a:pt x="8309" y="20206"/>
                    <a:pt x="5146" y="21233"/>
                    <a:pt x="1875" y="21518"/>
                  </a:cubicBezTo>
                  <a:lnTo>
                    <a:pt x="0" y="0"/>
                  </a:lnTo>
                  <a:close/>
                </a:path>
              </a:pathLst>
            </a:custGeom>
            <a:noFill/>
            <a:ln w="57150" cap="rnd">
              <a:solidFill>
                <a:schemeClr val="accent3"/>
              </a:solidFill>
              <a:round/>
              <a:headEnd/>
              <a:tailEnd type="triangle" w="med" len="sm"/>
            </a:ln>
          </p:spPr>
          <p:txBody>
            <a:bodyPr wrap="none" anchor="ctr"/>
            <a:lstStyle/>
            <a:p>
              <a:pPr algn="ctr">
                <a:defRPr/>
              </a:pPr>
              <a:endParaRPr lang="en-GB"/>
            </a:p>
          </p:txBody>
        </p:sp>
        <p:sp>
          <p:nvSpPr>
            <p:cNvPr id="10" name="Arc 9"/>
            <p:cNvSpPr>
              <a:spLocks/>
            </p:cNvSpPr>
            <p:nvPr/>
          </p:nvSpPr>
          <p:spPr bwMode="auto">
            <a:xfrm>
              <a:off x="1451769" y="3679825"/>
              <a:ext cx="1064552" cy="1908175"/>
            </a:xfrm>
            <a:custGeom>
              <a:avLst/>
              <a:gdLst>
                <a:gd name="T0" fmla="*/ 2147483647 w 11138"/>
                <a:gd name="T1" fmla="*/ 2147483647 h 21481"/>
                <a:gd name="T2" fmla="*/ 0 w 11138"/>
                <a:gd name="T3" fmla="*/ 2147483647 h 21481"/>
                <a:gd name="T4" fmla="*/ 2147483647 w 11138"/>
                <a:gd name="T5" fmla="*/ 0 h 21481"/>
                <a:gd name="T6" fmla="*/ 0 60000 65536"/>
                <a:gd name="T7" fmla="*/ 0 60000 65536"/>
                <a:gd name="T8" fmla="*/ 0 60000 65536"/>
                <a:gd name="T9" fmla="*/ 0 w 11138"/>
                <a:gd name="T10" fmla="*/ 0 h 21481"/>
                <a:gd name="T11" fmla="*/ 11138 w 11138"/>
                <a:gd name="T12" fmla="*/ 21481 h 21481"/>
              </a:gdLst>
              <a:ahLst/>
              <a:cxnLst>
                <a:cxn ang="T6">
                  <a:pos x="T0" y="T1"/>
                </a:cxn>
                <a:cxn ang="T7">
                  <a:pos x="T2" y="T3"/>
                </a:cxn>
                <a:cxn ang="T8">
                  <a:pos x="T4" y="T5"/>
                </a:cxn>
              </a:cxnLst>
              <a:rect l="T9" t="T10" r="T11" b="T12"/>
              <a:pathLst>
                <a:path w="11138" h="21481" fill="none" extrusionOk="0">
                  <a:moveTo>
                    <a:pt x="8873" y="21480"/>
                  </a:moveTo>
                  <a:cubicBezTo>
                    <a:pt x="5733" y="21149"/>
                    <a:pt x="2704" y="20134"/>
                    <a:pt x="0" y="18506"/>
                  </a:cubicBezTo>
                </a:path>
                <a:path w="11138" h="21481" stroke="0" extrusionOk="0">
                  <a:moveTo>
                    <a:pt x="8873" y="21480"/>
                  </a:moveTo>
                  <a:cubicBezTo>
                    <a:pt x="5733" y="21149"/>
                    <a:pt x="2704" y="20134"/>
                    <a:pt x="0" y="18506"/>
                  </a:cubicBezTo>
                  <a:lnTo>
                    <a:pt x="11138" y="0"/>
                  </a:lnTo>
                  <a:close/>
                </a:path>
              </a:pathLst>
            </a:custGeom>
            <a:noFill/>
            <a:ln w="57150" cap="rnd">
              <a:solidFill>
                <a:schemeClr val="accent3"/>
              </a:solidFill>
              <a:round/>
              <a:headEnd/>
              <a:tailEnd type="triangle" w="med" len="sm"/>
            </a:ln>
          </p:spPr>
          <p:txBody>
            <a:bodyPr wrap="none" anchor="ctr"/>
            <a:lstStyle/>
            <a:p>
              <a:pPr algn="ctr">
                <a:defRPr/>
              </a:pPr>
              <a:endParaRPr lang="en-GB"/>
            </a:p>
          </p:txBody>
        </p:sp>
        <p:sp>
          <p:nvSpPr>
            <p:cNvPr id="11" name="Arc 10"/>
            <p:cNvSpPr>
              <a:spLocks/>
            </p:cNvSpPr>
            <p:nvPr/>
          </p:nvSpPr>
          <p:spPr bwMode="auto">
            <a:xfrm>
              <a:off x="615950" y="3679825"/>
              <a:ext cx="1900370" cy="1446213"/>
            </a:xfrm>
            <a:custGeom>
              <a:avLst/>
              <a:gdLst>
                <a:gd name="T0" fmla="*/ 2147483647 w 19890"/>
                <a:gd name="T1" fmla="*/ 2147483647 h 16295"/>
                <a:gd name="T2" fmla="*/ 0 w 19890"/>
                <a:gd name="T3" fmla="*/ 2147483647 h 16295"/>
                <a:gd name="T4" fmla="*/ 2147483647 w 19890"/>
                <a:gd name="T5" fmla="*/ 0 h 16295"/>
                <a:gd name="T6" fmla="*/ 0 60000 65536"/>
                <a:gd name="T7" fmla="*/ 0 60000 65536"/>
                <a:gd name="T8" fmla="*/ 0 60000 65536"/>
                <a:gd name="T9" fmla="*/ 0 w 19890"/>
                <a:gd name="T10" fmla="*/ 0 h 16295"/>
                <a:gd name="T11" fmla="*/ 19890 w 19890"/>
                <a:gd name="T12" fmla="*/ 16295 h 16295"/>
              </a:gdLst>
              <a:ahLst/>
              <a:cxnLst>
                <a:cxn ang="T6">
                  <a:pos x="T0" y="T1"/>
                </a:cxn>
                <a:cxn ang="T7">
                  <a:pos x="T2" y="T3"/>
                </a:cxn>
                <a:cxn ang="T8">
                  <a:pos x="T4" y="T5"/>
                </a:cxn>
              </a:cxnLst>
              <a:rect l="T9" t="T10" r="T11" b="T12"/>
              <a:pathLst>
                <a:path w="19890" h="16295" fill="none" extrusionOk="0">
                  <a:moveTo>
                    <a:pt x="5711" y="16294"/>
                  </a:moveTo>
                  <a:cubicBezTo>
                    <a:pt x="3233" y="14139"/>
                    <a:pt x="1280" y="11446"/>
                    <a:pt x="-1" y="8423"/>
                  </a:cubicBezTo>
                </a:path>
                <a:path w="19890" h="16295" stroke="0" extrusionOk="0">
                  <a:moveTo>
                    <a:pt x="5711" y="16294"/>
                  </a:moveTo>
                  <a:cubicBezTo>
                    <a:pt x="3233" y="14139"/>
                    <a:pt x="1280" y="11446"/>
                    <a:pt x="-1" y="8423"/>
                  </a:cubicBezTo>
                  <a:lnTo>
                    <a:pt x="19890" y="0"/>
                  </a:lnTo>
                  <a:close/>
                </a:path>
              </a:pathLst>
            </a:custGeom>
            <a:noFill/>
            <a:ln w="57150" cap="rnd">
              <a:solidFill>
                <a:schemeClr val="accent3"/>
              </a:solidFill>
              <a:round/>
              <a:headEnd/>
              <a:tailEnd type="triangle" w="med" len="sm"/>
            </a:ln>
          </p:spPr>
          <p:txBody>
            <a:bodyPr wrap="none" anchor="ctr"/>
            <a:lstStyle/>
            <a:p>
              <a:pPr algn="ctr">
                <a:defRPr/>
              </a:pPr>
              <a:endParaRPr lang="en-GB"/>
            </a:p>
          </p:txBody>
        </p:sp>
        <p:sp>
          <p:nvSpPr>
            <p:cNvPr id="12" name="Arc 11"/>
            <p:cNvSpPr>
              <a:spLocks/>
            </p:cNvSpPr>
            <p:nvPr/>
          </p:nvSpPr>
          <p:spPr bwMode="auto">
            <a:xfrm>
              <a:off x="450850" y="3249613"/>
              <a:ext cx="2065470" cy="830262"/>
            </a:xfrm>
            <a:custGeom>
              <a:avLst/>
              <a:gdLst>
                <a:gd name="T0" fmla="*/ 2147483647 w 21600"/>
                <a:gd name="T1" fmla="*/ 2147483647 h 9347"/>
                <a:gd name="T2" fmla="*/ 2147483647 w 21600"/>
                <a:gd name="T3" fmla="*/ 0 h 9347"/>
                <a:gd name="T4" fmla="*/ 2147483647 w 21600"/>
                <a:gd name="T5" fmla="*/ 2147483647 h 9347"/>
                <a:gd name="T6" fmla="*/ 0 60000 65536"/>
                <a:gd name="T7" fmla="*/ 0 60000 65536"/>
                <a:gd name="T8" fmla="*/ 0 60000 65536"/>
                <a:gd name="T9" fmla="*/ 0 w 21600"/>
                <a:gd name="T10" fmla="*/ 0 h 9347"/>
                <a:gd name="T11" fmla="*/ 21600 w 21600"/>
                <a:gd name="T12" fmla="*/ 9347 h 9347"/>
              </a:gdLst>
              <a:ahLst/>
              <a:cxnLst>
                <a:cxn ang="T6">
                  <a:pos x="T0" y="T1"/>
                </a:cxn>
                <a:cxn ang="T7">
                  <a:pos x="T2" y="T3"/>
                </a:cxn>
                <a:cxn ang="T8">
                  <a:pos x="T4" y="T5"/>
                </a:cxn>
              </a:cxnLst>
              <a:rect l="T9" t="T10" r="T11" b="T12"/>
              <a:pathLst>
                <a:path w="21600" h="9347" fill="none" extrusionOk="0">
                  <a:moveTo>
                    <a:pt x="471" y="9347"/>
                  </a:moveTo>
                  <a:cubicBezTo>
                    <a:pt x="158" y="7871"/>
                    <a:pt x="0" y="6366"/>
                    <a:pt x="0" y="4858"/>
                  </a:cubicBezTo>
                  <a:cubicBezTo>
                    <a:pt x="-1" y="3222"/>
                    <a:pt x="185" y="1593"/>
                    <a:pt x="553" y="0"/>
                  </a:cubicBezTo>
                </a:path>
                <a:path w="21600" h="9347" stroke="0" extrusionOk="0">
                  <a:moveTo>
                    <a:pt x="471" y="9347"/>
                  </a:moveTo>
                  <a:cubicBezTo>
                    <a:pt x="158" y="7871"/>
                    <a:pt x="0" y="6366"/>
                    <a:pt x="0" y="4858"/>
                  </a:cubicBezTo>
                  <a:cubicBezTo>
                    <a:pt x="-1" y="3222"/>
                    <a:pt x="185" y="1593"/>
                    <a:pt x="553" y="0"/>
                  </a:cubicBezTo>
                  <a:lnTo>
                    <a:pt x="21600" y="4858"/>
                  </a:lnTo>
                  <a:close/>
                </a:path>
              </a:pathLst>
            </a:custGeom>
            <a:noFill/>
            <a:ln w="57150" cap="rnd">
              <a:solidFill>
                <a:schemeClr val="accent3"/>
              </a:solidFill>
              <a:round/>
              <a:headEnd/>
              <a:tailEnd type="triangle" w="med" len="sm"/>
            </a:ln>
          </p:spPr>
          <p:txBody>
            <a:bodyPr wrap="none" anchor="ctr"/>
            <a:lstStyle/>
            <a:p>
              <a:pPr algn="ctr">
                <a:defRPr/>
              </a:pPr>
              <a:endParaRPr lang="en-GB"/>
            </a:p>
          </p:txBody>
        </p:sp>
        <p:sp>
          <p:nvSpPr>
            <p:cNvPr id="13" name="Arc 12"/>
            <p:cNvSpPr>
              <a:spLocks/>
            </p:cNvSpPr>
            <p:nvPr/>
          </p:nvSpPr>
          <p:spPr bwMode="auto">
            <a:xfrm>
              <a:off x="617670" y="2233613"/>
              <a:ext cx="1898650" cy="1447800"/>
            </a:xfrm>
            <a:custGeom>
              <a:avLst/>
              <a:gdLst>
                <a:gd name="T0" fmla="*/ 0 w 19883"/>
                <a:gd name="T1" fmla="*/ 2147483647 h 16303"/>
                <a:gd name="T2" fmla="*/ 2147483647 w 19883"/>
                <a:gd name="T3" fmla="*/ 0 h 16303"/>
                <a:gd name="T4" fmla="*/ 2147483647 w 19883"/>
                <a:gd name="T5" fmla="*/ 2147483647 h 16303"/>
                <a:gd name="T6" fmla="*/ 0 60000 65536"/>
                <a:gd name="T7" fmla="*/ 0 60000 65536"/>
                <a:gd name="T8" fmla="*/ 0 60000 65536"/>
                <a:gd name="T9" fmla="*/ 0 w 19883"/>
                <a:gd name="T10" fmla="*/ 0 h 16303"/>
                <a:gd name="T11" fmla="*/ 19883 w 19883"/>
                <a:gd name="T12" fmla="*/ 16303 h 16303"/>
              </a:gdLst>
              <a:ahLst/>
              <a:cxnLst>
                <a:cxn ang="T6">
                  <a:pos x="T0" y="T1"/>
                </a:cxn>
                <a:cxn ang="T7">
                  <a:pos x="T2" y="T3"/>
                </a:cxn>
                <a:cxn ang="T8">
                  <a:pos x="T4" y="T5"/>
                </a:cxn>
              </a:cxnLst>
              <a:rect l="T9" t="T10" r="T11" b="T12"/>
              <a:pathLst>
                <a:path w="19883" h="16303" fill="none" extrusionOk="0">
                  <a:moveTo>
                    <a:pt x="-1" y="7863"/>
                  </a:moveTo>
                  <a:cubicBezTo>
                    <a:pt x="1282" y="4842"/>
                    <a:pt x="3236" y="2153"/>
                    <a:pt x="5713" y="0"/>
                  </a:cubicBezTo>
                </a:path>
                <a:path w="19883" h="16303" stroke="0" extrusionOk="0">
                  <a:moveTo>
                    <a:pt x="-1" y="7863"/>
                  </a:moveTo>
                  <a:cubicBezTo>
                    <a:pt x="1282" y="4842"/>
                    <a:pt x="3236" y="2153"/>
                    <a:pt x="5713" y="0"/>
                  </a:cubicBezTo>
                  <a:lnTo>
                    <a:pt x="19883" y="16303"/>
                  </a:lnTo>
                  <a:close/>
                </a:path>
              </a:pathLst>
            </a:custGeom>
            <a:noFill/>
            <a:ln w="57150" cap="rnd">
              <a:solidFill>
                <a:schemeClr val="accent3"/>
              </a:solidFill>
              <a:round/>
              <a:headEnd/>
              <a:tailEnd type="triangle" w="med" len="sm"/>
            </a:ln>
          </p:spPr>
          <p:txBody>
            <a:bodyPr wrap="none" anchor="ctr"/>
            <a:lstStyle/>
            <a:p>
              <a:pPr algn="ctr">
                <a:defRPr/>
              </a:pPr>
              <a:endParaRPr lang="en-GB"/>
            </a:p>
          </p:txBody>
        </p:sp>
      </p:grpSp>
      <p:grpSp>
        <p:nvGrpSpPr>
          <p:cNvPr id="3" name="Group 24"/>
          <p:cNvGrpSpPr>
            <a:grpSpLocks/>
          </p:cNvGrpSpPr>
          <p:nvPr/>
        </p:nvGrpSpPr>
        <p:grpSpPr bwMode="auto">
          <a:xfrm>
            <a:off x="4948238" y="1673229"/>
            <a:ext cx="3811587" cy="3811588"/>
            <a:chOff x="5360987" y="1774825"/>
            <a:chExt cx="4129088" cy="3811588"/>
          </a:xfrm>
        </p:grpSpPr>
        <p:sp>
          <p:nvSpPr>
            <p:cNvPr id="14" name="Arc 13"/>
            <p:cNvSpPr>
              <a:spLocks/>
            </p:cNvSpPr>
            <p:nvPr/>
          </p:nvSpPr>
          <p:spPr bwMode="auto">
            <a:xfrm>
              <a:off x="6361874" y="1774825"/>
              <a:ext cx="1064517" cy="1905000"/>
            </a:xfrm>
            <a:custGeom>
              <a:avLst/>
              <a:gdLst>
                <a:gd name="T0" fmla="*/ 0 w 11129"/>
                <a:gd name="T1" fmla="*/ 2147483647 h 21481"/>
                <a:gd name="T2" fmla="*/ 2147483647 w 11129"/>
                <a:gd name="T3" fmla="*/ 0 h 21481"/>
                <a:gd name="T4" fmla="*/ 2147483647 w 11129"/>
                <a:gd name="T5" fmla="*/ 2147483647 h 21481"/>
                <a:gd name="T6" fmla="*/ 0 60000 65536"/>
                <a:gd name="T7" fmla="*/ 0 60000 65536"/>
                <a:gd name="T8" fmla="*/ 0 60000 65536"/>
                <a:gd name="T9" fmla="*/ 0 w 11129"/>
                <a:gd name="T10" fmla="*/ 0 h 21481"/>
                <a:gd name="T11" fmla="*/ 11129 w 11129"/>
                <a:gd name="T12" fmla="*/ 21481 h 21481"/>
              </a:gdLst>
              <a:ahLst/>
              <a:cxnLst>
                <a:cxn ang="T6">
                  <a:pos x="T0" y="T1"/>
                </a:cxn>
                <a:cxn ang="T7">
                  <a:pos x="T2" y="T3"/>
                </a:cxn>
                <a:cxn ang="T8">
                  <a:pos x="T4" y="T5"/>
                </a:cxn>
              </a:cxnLst>
              <a:rect l="T9" t="T10" r="T11" b="T12"/>
              <a:pathLst>
                <a:path w="11129" h="21481" fill="none" extrusionOk="0">
                  <a:moveTo>
                    <a:pt x="-1" y="2968"/>
                  </a:moveTo>
                  <a:cubicBezTo>
                    <a:pt x="2703" y="1343"/>
                    <a:pt x="5729" y="330"/>
                    <a:pt x="8865" y="-1"/>
                  </a:cubicBezTo>
                </a:path>
                <a:path w="11129" h="21481" stroke="0" extrusionOk="0">
                  <a:moveTo>
                    <a:pt x="-1" y="2968"/>
                  </a:moveTo>
                  <a:cubicBezTo>
                    <a:pt x="2703" y="1343"/>
                    <a:pt x="5729" y="330"/>
                    <a:pt x="8865" y="-1"/>
                  </a:cubicBezTo>
                  <a:lnTo>
                    <a:pt x="11129" y="21481"/>
                  </a:lnTo>
                  <a:close/>
                </a:path>
              </a:pathLst>
            </a:custGeom>
            <a:noFill/>
            <a:ln w="12700" cap="rnd">
              <a:solidFill>
                <a:schemeClr val="accent3"/>
              </a:solidFill>
              <a:round/>
              <a:headEnd/>
              <a:tailEnd type="triangle" w="med" len="med"/>
            </a:ln>
          </p:spPr>
          <p:txBody>
            <a:bodyPr wrap="none" anchor="ctr"/>
            <a:lstStyle/>
            <a:p>
              <a:pPr algn="ctr">
                <a:defRPr/>
              </a:pPr>
              <a:endParaRPr lang="en-GB"/>
            </a:p>
          </p:txBody>
        </p:sp>
        <p:sp>
          <p:nvSpPr>
            <p:cNvPr id="15" name="Arc 14"/>
            <p:cNvSpPr>
              <a:spLocks/>
            </p:cNvSpPr>
            <p:nvPr/>
          </p:nvSpPr>
          <p:spPr bwMode="auto">
            <a:xfrm>
              <a:off x="7422951" y="1774825"/>
              <a:ext cx="1066237" cy="1905000"/>
            </a:xfrm>
            <a:custGeom>
              <a:avLst/>
              <a:gdLst>
                <a:gd name="T0" fmla="*/ 2147483647 w 11116"/>
                <a:gd name="T1" fmla="*/ 0 h 21483"/>
                <a:gd name="T2" fmla="*/ 2147483647 w 11116"/>
                <a:gd name="T3" fmla="*/ 2147483647 h 21483"/>
                <a:gd name="T4" fmla="*/ 0 w 11116"/>
                <a:gd name="T5" fmla="*/ 2147483647 h 21483"/>
                <a:gd name="T6" fmla="*/ 0 60000 65536"/>
                <a:gd name="T7" fmla="*/ 0 60000 65536"/>
                <a:gd name="T8" fmla="*/ 0 60000 65536"/>
                <a:gd name="T9" fmla="*/ 0 w 11116"/>
                <a:gd name="T10" fmla="*/ 0 h 21483"/>
                <a:gd name="T11" fmla="*/ 11116 w 11116"/>
                <a:gd name="T12" fmla="*/ 21483 h 21483"/>
              </a:gdLst>
              <a:ahLst/>
              <a:cxnLst>
                <a:cxn ang="T6">
                  <a:pos x="T0" y="T1"/>
                </a:cxn>
                <a:cxn ang="T7">
                  <a:pos x="T2" y="T3"/>
                </a:cxn>
                <a:cxn ang="T8">
                  <a:pos x="T4" y="T5"/>
                </a:cxn>
              </a:cxnLst>
              <a:rect l="T9" t="T10" r="T11" b="T12"/>
              <a:pathLst>
                <a:path w="11116" h="21483" fill="none" extrusionOk="0">
                  <a:moveTo>
                    <a:pt x="2245" y="-1"/>
                  </a:moveTo>
                  <a:cubicBezTo>
                    <a:pt x="5382" y="327"/>
                    <a:pt x="8410" y="1339"/>
                    <a:pt x="11116" y="2962"/>
                  </a:cubicBezTo>
                </a:path>
                <a:path w="11116" h="21483" stroke="0" extrusionOk="0">
                  <a:moveTo>
                    <a:pt x="2245" y="-1"/>
                  </a:moveTo>
                  <a:cubicBezTo>
                    <a:pt x="5382" y="327"/>
                    <a:pt x="8410" y="1339"/>
                    <a:pt x="11116" y="2962"/>
                  </a:cubicBezTo>
                  <a:lnTo>
                    <a:pt x="0" y="21483"/>
                  </a:lnTo>
                  <a:close/>
                </a:path>
              </a:pathLst>
            </a:custGeom>
            <a:noFill/>
            <a:ln w="12700" cap="rnd">
              <a:solidFill>
                <a:schemeClr val="accent3"/>
              </a:solidFill>
              <a:round/>
              <a:headEnd/>
              <a:tailEnd type="triangle" w="med" len="med"/>
            </a:ln>
          </p:spPr>
          <p:txBody>
            <a:bodyPr wrap="none" anchor="ctr"/>
            <a:lstStyle/>
            <a:p>
              <a:pPr algn="ctr">
                <a:defRPr/>
              </a:pPr>
              <a:endParaRPr lang="en-GB"/>
            </a:p>
          </p:txBody>
        </p:sp>
        <p:sp>
          <p:nvSpPr>
            <p:cNvPr id="16" name="Arc 15"/>
            <p:cNvSpPr>
              <a:spLocks/>
            </p:cNvSpPr>
            <p:nvPr/>
          </p:nvSpPr>
          <p:spPr bwMode="auto">
            <a:xfrm>
              <a:off x="7422951" y="2233613"/>
              <a:ext cx="1902029" cy="1446212"/>
            </a:xfrm>
            <a:custGeom>
              <a:avLst/>
              <a:gdLst>
                <a:gd name="T0" fmla="*/ 2147483647 w 19880"/>
                <a:gd name="T1" fmla="*/ 0 h 16312"/>
                <a:gd name="T2" fmla="*/ 2147483647 w 19880"/>
                <a:gd name="T3" fmla="*/ 2147483647 h 16312"/>
                <a:gd name="T4" fmla="*/ 0 w 19880"/>
                <a:gd name="T5" fmla="*/ 2147483647 h 16312"/>
                <a:gd name="T6" fmla="*/ 0 60000 65536"/>
                <a:gd name="T7" fmla="*/ 0 60000 65536"/>
                <a:gd name="T8" fmla="*/ 0 60000 65536"/>
                <a:gd name="T9" fmla="*/ 0 w 19880"/>
                <a:gd name="T10" fmla="*/ 0 h 16312"/>
                <a:gd name="T11" fmla="*/ 19880 w 19880"/>
                <a:gd name="T12" fmla="*/ 16312 h 16312"/>
              </a:gdLst>
              <a:ahLst/>
              <a:cxnLst>
                <a:cxn ang="T6">
                  <a:pos x="T0" y="T1"/>
                </a:cxn>
                <a:cxn ang="T7">
                  <a:pos x="T2" y="T3"/>
                </a:cxn>
                <a:cxn ang="T8">
                  <a:pos x="T4" y="T5"/>
                </a:cxn>
              </a:cxnLst>
              <a:rect l="T9" t="T10" r="T11" b="T12"/>
              <a:pathLst>
                <a:path w="19880" h="16312" fill="none" extrusionOk="0">
                  <a:moveTo>
                    <a:pt x="14159" y="-1"/>
                  </a:moveTo>
                  <a:cubicBezTo>
                    <a:pt x="16639" y="2152"/>
                    <a:pt x="18595" y="4843"/>
                    <a:pt x="19880" y="7865"/>
                  </a:cubicBezTo>
                </a:path>
                <a:path w="19880" h="16312" stroke="0" extrusionOk="0">
                  <a:moveTo>
                    <a:pt x="14159" y="-1"/>
                  </a:moveTo>
                  <a:cubicBezTo>
                    <a:pt x="16639" y="2152"/>
                    <a:pt x="18595" y="4843"/>
                    <a:pt x="19880" y="7865"/>
                  </a:cubicBezTo>
                  <a:lnTo>
                    <a:pt x="0" y="16312"/>
                  </a:lnTo>
                  <a:close/>
                </a:path>
              </a:pathLst>
            </a:custGeom>
            <a:noFill/>
            <a:ln w="12700" cap="rnd">
              <a:solidFill>
                <a:schemeClr val="accent3"/>
              </a:solidFill>
              <a:round/>
              <a:headEnd/>
              <a:tailEnd type="triangle" w="med" len="med"/>
            </a:ln>
          </p:spPr>
          <p:txBody>
            <a:bodyPr wrap="none" anchor="ctr"/>
            <a:lstStyle/>
            <a:p>
              <a:pPr algn="ctr">
                <a:defRPr/>
              </a:pPr>
              <a:endParaRPr lang="en-GB"/>
            </a:p>
          </p:txBody>
        </p:sp>
        <p:sp>
          <p:nvSpPr>
            <p:cNvPr id="17" name="Arc 16"/>
            <p:cNvSpPr>
              <a:spLocks/>
            </p:cNvSpPr>
            <p:nvPr/>
          </p:nvSpPr>
          <p:spPr bwMode="auto">
            <a:xfrm>
              <a:off x="7422951" y="3248025"/>
              <a:ext cx="2067124" cy="830263"/>
            </a:xfrm>
            <a:custGeom>
              <a:avLst/>
              <a:gdLst>
                <a:gd name="T0" fmla="*/ 2147483647 w 21600"/>
                <a:gd name="T1" fmla="*/ 0 h 9355"/>
                <a:gd name="T2" fmla="*/ 2147483647 w 21600"/>
                <a:gd name="T3" fmla="*/ 2147483647 h 9355"/>
                <a:gd name="T4" fmla="*/ 0 w 21600"/>
                <a:gd name="T5" fmla="*/ 2147483647 h 9355"/>
                <a:gd name="T6" fmla="*/ 0 60000 65536"/>
                <a:gd name="T7" fmla="*/ 0 60000 65536"/>
                <a:gd name="T8" fmla="*/ 0 60000 65536"/>
                <a:gd name="T9" fmla="*/ 0 w 21600"/>
                <a:gd name="T10" fmla="*/ 0 h 9355"/>
                <a:gd name="T11" fmla="*/ 21600 w 21600"/>
                <a:gd name="T12" fmla="*/ 9355 h 9355"/>
              </a:gdLst>
              <a:ahLst/>
              <a:cxnLst>
                <a:cxn ang="T6">
                  <a:pos x="T0" y="T1"/>
                </a:cxn>
                <a:cxn ang="T7">
                  <a:pos x="T2" y="T3"/>
                </a:cxn>
                <a:cxn ang="T8">
                  <a:pos x="T4" y="T5"/>
                </a:cxn>
              </a:cxnLst>
              <a:rect l="T9" t="T10" r="T11" b="T12"/>
              <a:pathLst>
                <a:path w="21600" h="9355" fill="none" extrusionOk="0">
                  <a:moveTo>
                    <a:pt x="21045" y="0"/>
                  </a:moveTo>
                  <a:cubicBezTo>
                    <a:pt x="21414" y="1594"/>
                    <a:pt x="21600" y="3225"/>
                    <a:pt x="21600" y="4862"/>
                  </a:cubicBezTo>
                  <a:cubicBezTo>
                    <a:pt x="21600" y="6372"/>
                    <a:pt x="21441" y="7877"/>
                    <a:pt x="21127" y="9354"/>
                  </a:cubicBezTo>
                </a:path>
                <a:path w="21600" h="9355" stroke="0" extrusionOk="0">
                  <a:moveTo>
                    <a:pt x="21045" y="0"/>
                  </a:moveTo>
                  <a:cubicBezTo>
                    <a:pt x="21414" y="1594"/>
                    <a:pt x="21600" y="3225"/>
                    <a:pt x="21600" y="4862"/>
                  </a:cubicBezTo>
                  <a:cubicBezTo>
                    <a:pt x="21600" y="6372"/>
                    <a:pt x="21441" y="7877"/>
                    <a:pt x="21127" y="9354"/>
                  </a:cubicBezTo>
                  <a:lnTo>
                    <a:pt x="0" y="4862"/>
                  </a:lnTo>
                  <a:close/>
                </a:path>
              </a:pathLst>
            </a:custGeom>
            <a:noFill/>
            <a:ln w="12700" cap="rnd">
              <a:solidFill>
                <a:schemeClr val="accent3"/>
              </a:solidFill>
              <a:round/>
              <a:headEnd/>
              <a:tailEnd type="triangle" w="med" len="med"/>
            </a:ln>
          </p:spPr>
          <p:txBody>
            <a:bodyPr wrap="none" anchor="ctr"/>
            <a:lstStyle/>
            <a:p>
              <a:pPr algn="ctr">
                <a:defRPr/>
              </a:pPr>
              <a:endParaRPr lang="en-GB"/>
            </a:p>
          </p:txBody>
        </p:sp>
        <p:sp>
          <p:nvSpPr>
            <p:cNvPr id="18" name="Arc 17"/>
            <p:cNvSpPr>
              <a:spLocks/>
            </p:cNvSpPr>
            <p:nvPr/>
          </p:nvSpPr>
          <p:spPr bwMode="auto">
            <a:xfrm>
              <a:off x="7422951" y="3678238"/>
              <a:ext cx="1902029" cy="1422400"/>
            </a:xfrm>
            <a:custGeom>
              <a:avLst/>
              <a:gdLst>
                <a:gd name="T0" fmla="*/ 2147483647 w 19887"/>
                <a:gd name="T1" fmla="*/ 2147483647 h 16060"/>
                <a:gd name="T2" fmla="*/ 2147483647 w 19887"/>
                <a:gd name="T3" fmla="*/ 2147483647 h 16060"/>
                <a:gd name="T4" fmla="*/ 0 w 19887"/>
                <a:gd name="T5" fmla="*/ 0 h 16060"/>
                <a:gd name="T6" fmla="*/ 0 60000 65536"/>
                <a:gd name="T7" fmla="*/ 0 60000 65536"/>
                <a:gd name="T8" fmla="*/ 0 60000 65536"/>
                <a:gd name="T9" fmla="*/ 0 w 19887"/>
                <a:gd name="T10" fmla="*/ 0 h 16060"/>
                <a:gd name="T11" fmla="*/ 19887 w 19887"/>
                <a:gd name="T12" fmla="*/ 16060 h 16060"/>
              </a:gdLst>
              <a:ahLst/>
              <a:cxnLst>
                <a:cxn ang="T6">
                  <a:pos x="T0" y="T1"/>
                </a:cxn>
                <a:cxn ang="T7">
                  <a:pos x="T2" y="T3"/>
                </a:cxn>
                <a:cxn ang="T8">
                  <a:pos x="T4" y="T5"/>
                </a:cxn>
              </a:cxnLst>
              <a:rect l="T9" t="T10" r="T11" b="T12"/>
              <a:pathLst>
                <a:path w="19887" h="16060" fill="none" extrusionOk="0">
                  <a:moveTo>
                    <a:pt x="19887" y="8430"/>
                  </a:moveTo>
                  <a:cubicBezTo>
                    <a:pt x="18653" y="11340"/>
                    <a:pt x="16795" y="13945"/>
                    <a:pt x="14444" y="16059"/>
                  </a:cubicBezTo>
                </a:path>
                <a:path w="19887" h="16060" stroke="0" extrusionOk="0">
                  <a:moveTo>
                    <a:pt x="19887" y="8430"/>
                  </a:moveTo>
                  <a:cubicBezTo>
                    <a:pt x="18653" y="11340"/>
                    <a:pt x="16795" y="13945"/>
                    <a:pt x="14444" y="16059"/>
                  </a:cubicBezTo>
                  <a:lnTo>
                    <a:pt x="0" y="0"/>
                  </a:lnTo>
                  <a:close/>
                </a:path>
              </a:pathLst>
            </a:custGeom>
            <a:noFill/>
            <a:ln w="12700" cap="rnd">
              <a:solidFill>
                <a:schemeClr val="accent3"/>
              </a:solidFill>
              <a:round/>
              <a:headEnd/>
              <a:tailEnd type="triangle" w="med" len="med"/>
            </a:ln>
          </p:spPr>
          <p:txBody>
            <a:bodyPr wrap="none" anchor="ctr"/>
            <a:lstStyle/>
            <a:p>
              <a:pPr algn="ctr">
                <a:defRPr/>
              </a:pPr>
              <a:endParaRPr lang="en-GB"/>
            </a:p>
          </p:txBody>
        </p:sp>
        <p:sp>
          <p:nvSpPr>
            <p:cNvPr id="19" name="Arc 18"/>
            <p:cNvSpPr>
              <a:spLocks/>
            </p:cNvSpPr>
            <p:nvPr/>
          </p:nvSpPr>
          <p:spPr bwMode="auto">
            <a:xfrm>
              <a:off x="7422951" y="3678238"/>
              <a:ext cx="1066237" cy="1908175"/>
            </a:xfrm>
            <a:custGeom>
              <a:avLst/>
              <a:gdLst>
                <a:gd name="T0" fmla="*/ 2147483647 w 11124"/>
                <a:gd name="T1" fmla="*/ 2147483647 h 21518"/>
                <a:gd name="T2" fmla="*/ 2147483647 w 11124"/>
                <a:gd name="T3" fmla="*/ 2147483647 h 21518"/>
                <a:gd name="T4" fmla="*/ 0 w 11124"/>
                <a:gd name="T5" fmla="*/ 0 h 21518"/>
                <a:gd name="T6" fmla="*/ 0 60000 65536"/>
                <a:gd name="T7" fmla="*/ 0 60000 65536"/>
                <a:gd name="T8" fmla="*/ 0 60000 65536"/>
                <a:gd name="T9" fmla="*/ 0 w 11124"/>
                <a:gd name="T10" fmla="*/ 0 h 21518"/>
                <a:gd name="T11" fmla="*/ 11124 w 11124"/>
                <a:gd name="T12" fmla="*/ 21518 h 21518"/>
              </a:gdLst>
              <a:ahLst/>
              <a:cxnLst>
                <a:cxn ang="T6">
                  <a:pos x="T0" y="T1"/>
                </a:cxn>
                <a:cxn ang="T7">
                  <a:pos x="T2" y="T3"/>
                </a:cxn>
                <a:cxn ang="T8">
                  <a:pos x="T4" y="T5"/>
                </a:cxn>
              </a:cxnLst>
              <a:rect l="T9" t="T10" r="T11" b="T12"/>
              <a:pathLst>
                <a:path w="11124" h="21518" fill="none" extrusionOk="0">
                  <a:moveTo>
                    <a:pt x="11124" y="18515"/>
                  </a:moveTo>
                  <a:cubicBezTo>
                    <a:pt x="8309" y="20206"/>
                    <a:pt x="5146" y="21233"/>
                    <a:pt x="1875" y="21518"/>
                  </a:cubicBezTo>
                </a:path>
                <a:path w="11124" h="21518" stroke="0" extrusionOk="0">
                  <a:moveTo>
                    <a:pt x="11124" y="18515"/>
                  </a:moveTo>
                  <a:cubicBezTo>
                    <a:pt x="8309" y="20206"/>
                    <a:pt x="5146" y="21233"/>
                    <a:pt x="1875" y="21518"/>
                  </a:cubicBezTo>
                  <a:lnTo>
                    <a:pt x="0" y="0"/>
                  </a:lnTo>
                  <a:close/>
                </a:path>
              </a:pathLst>
            </a:custGeom>
            <a:noFill/>
            <a:ln w="12700" cap="rnd">
              <a:solidFill>
                <a:schemeClr val="accent3"/>
              </a:solidFill>
              <a:round/>
              <a:headEnd/>
              <a:tailEnd type="triangle" w="med" len="med"/>
            </a:ln>
          </p:spPr>
          <p:txBody>
            <a:bodyPr wrap="none" anchor="ctr"/>
            <a:lstStyle/>
            <a:p>
              <a:pPr algn="ctr">
                <a:defRPr/>
              </a:pPr>
              <a:endParaRPr lang="en-GB"/>
            </a:p>
          </p:txBody>
        </p:sp>
        <p:sp>
          <p:nvSpPr>
            <p:cNvPr id="20" name="Arc 19"/>
            <p:cNvSpPr>
              <a:spLocks/>
            </p:cNvSpPr>
            <p:nvPr/>
          </p:nvSpPr>
          <p:spPr bwMode="auto">
            <a:xfrm>
              <a:off x="6361874" y="3678238"/>
              <a:ext cx="1064517" cy="1905000"/>
            </a:xfrm>
            <a:custGeom>
              <a:avLst/>
              <a:gdLst>
                <a:gd name="T0" fmla="*/ 2147483647 w 11138"/>
                <a:gd name="T1" fmla="*/ 2147483647 h 21481"/>
                <a:gd name="T2" fmla="*/ 0 w 11138"/>
                <a:gd name="T3" fmla="*/ 2147483647 h 21481"/>
                <a:gd name="T4" fmla="*/ 2147483647 w 11138"/>
                <a:gd name="T5" fmla="*/ 0 h 21481"/>
                <a:gd name="T6" fmla="*/ 0 60000 65536"/>
                <a:gd name="T7" fmla="*/ 0 60000 65536"/>
                <a:gd name="T8" fmla="*/ 0 60000 65536"/>
                <a:gd name="T9" fmla="*/ 0 w 11138"/>
                <a:gd name="T10" fmla="*/ 0 h 21481"/>
                <a:gd name="T11" fmla="*/ 11138 w 11138"/>
                <a:gd name="T12" fmla="*/ 21481 h 21481"/>
              </a:gdLst>
              <a:ahLst/>
              <a:cxnLst>
                <a:cxn ang="T6">
                  <a:pos x="T0" y="T1"/>
                </a:cxn>
                <a:cxn ang="T7">
                  <a:pos x="T2" y="T3"/>
                </a:cxn>
                <a:cxn ang="T8">
                  <a:pos x="T4" y="T5"/>
                </a:cxn>
              </a:cxnLst>
              <a:rect l="T9" t="T10" r="T11" b="T12"/>
              <a:pathLst>
                <a:path w="11138" h="21481" fill="none" extrusionOk="0">
                  <a:moveTo>
                    <a:pt x="8873" y="21480"/>
                  </a:moveTo>
                  <a:cubicBezTo>
                    <a:pt x="5733" y="21149"/>
                    <a:pt x="2704" y="20134"/>
                    <a:pt x="0" y="18506"/>
                  </a:cubicBezTo>
                </a:path>
                <a:path w="11138" h="21481" stroke="0" extrusionOk="0">
                  <a:moveTo>
                    <a:pt x="8873" y="21480"/>
                  </a:moveTo>
                  <a:cubicBezTo>
                    <a:pt x="5733" y="21149"/>
                    <a:pt x="2704" y="20134"/>
                    <a:pt x="0" y="18506"/>
                  </a:cubicBezTo>
                  <a:lnTo>
                    <a:pt x="11138" y="0"/>
                  </a:lnTo>
                  <a:close/>
                </a:path>
              </a:pathLst>
            </a:custGeom>
            <a:noFill/>
            <a:ln w="12700" cap="rnd">
              <a:solidFill>
                <a:schemeClr val="accent3"/>
              </a:solidFill>
              <a:round/>
              <a:headEnd/>
              <a:tailEnd type="triangle" w="med" len="med"/>
            </a:ln>
          </p:spPr>
          <p:txBody>
            <a:bodyPr wrap="none" anchor="ctr"/>
            <a:lstStyle/>
            <a:p>
              <a:pPr algn="ctr">
                <a:defRPr/>
              </a:pPr>
              <a:endParaRPr lang="en-GB"/>
            </a:p>
          </p:txBody>
        </p:sp>
        <p:sp>
          <p:nvSpPr>
            <p:cNvPr id="21" name="Arc 20"/>
            <p:cNvSpPr>
              <a:spLocks/>
            </p:cNvSpPr>
            <p:nvPr/>
          </p:nvSpPr>
          <p:spPr bwMode="auto">
            <a:xfrm>
              <a:off x="5524361" y="3678238"/>
              <a:ext cx="1902029" cy="1444625"/>
            </a:xfrm>
            <a:custGeom>
              <a:avLst/>
              <a:gdLst>
                <a:gd name="T0" fmla="*/ 2147483647 w 19890"/>
                <a:gd name="T1" fmla="*/ 2147483647 h 16295"/>
                <a:gd name="T2" fmla="*/ 0 w 19890"/>
                <a:gd name="T3" fmla="*/ 2147483647 h 16295"/>
                <a:gd name="T4" fmla="*/ 2147483647 w 19890"/>
                <a:gd name="T5" fmla="*/ 0 h 16295"/>
                <a:gd name="T6" fmla="*/ 0 60000 65536"/>
                <a:gd name="T7" fmla="*/ 0 60000 65536"/>
                <a:gd name="T8" fmla="*/ 0 60000 65536"/>
                <a:gd name="T9" fmla="*/ 0 w 19890"/>
                <a:gd name="T10" fmla="*/ 0 h 16295"/>
                <a:gd name="T11" fmla="*/ 19890 w 19890"/>
                <a:gd name="T12" fmla="*/ 16295 h 16295"/>
              </a:gdLst>
              <a:ahLst/>
              <a:cxnLst>
                <a:cxn ang="T6">
                  <a:pos x="T0" y="T1"/>
                </a:cxn>
                <a:cxn ang="T7">
                  <a:pos x="T2" y="T3"/>
                </a:cxn>
                <a:cxn ang="T8">
                  <a:pos x="T4" y="T5"/>
                </a:cxn>
              </a:cxnLst>
              <a:rect l="T9" t="T10" r="T11" b="T12"/>
              <a:pathLst>
                <a:path w="19890" h="16295" fill="none" extrusionOk="0">
                  <a:moveTo>
                    <a:pt x="5711" y="16294"/>
                  </a:moveTo>
                  <a:cubicBezTo>
                    <a:pt x="3233" y="14139"/>
                    <a:pt x="1280" y="11446"/>
                    <a:pt x="-1" y="8423"/>
                  </a:cubicBezTo>
                </a:path>
                <a:path w="19890" h="16295" stroke="0" extrusionOk="0">
                  <a:moveTo>
                    <a:pt x="5711" y="16294"/>
                  </a:moveTo>
                  <a:cubicBezTo>
                    <a:pt x="3233" y="14139"/>
                    <a:pt x="1280" y="11446"/>
                    <a:pt x="-1" y="8423"/>
                  </a:cubicBezTo>
                  <a:lnTo>
                    <a:pt x="19890" y="0"/>
                  </a:lnTo>
                  <a:close/>
                </a:path>
              </a:pathLst>
            </a:custGeom>
            <a:noFill/>
            <a:ln w="12700" cap="rnd">
              <a:solidFill>
                <a:schemeClr val="accent3"/>
              </a:solidFill>
              <a:round/>
              <a:headEnd/>
              <a:tailEnd type="triangle" w="med" len="med"/>
            </a:ln>
          </p:spPr>
          <p:txBody>
            <a:bodyPr wrap="none" anchor="ctr"/>
            <a:lstStyle/>
            <a:p>
              <a:pPr algn="ctr">
                <a:defRPr/>
              </a:pPr>
              <a:endParaRPr lang="en-GB"/>
            </a:p>
          </p:txBody>
        </p:sp>
        <p:sp>
          <p:nvSpPr>
            <p:cNvPr id="22" name="Arc 21"/>
            <p:cNvSpPr>
              <a:spLocks/>
            </p:cNvSpPr>
            <p:nvPr/>
          </p:nvSpPr>
          <p:spPr bwMode="auto">
            <a:xfrm>
              <a:off x="5360987" y="3248025"/>
              <a:ext cx="2065404" cy="830263"/>
            </a:xfrm>
            <a:custGeom>
              <a:avLst/>
              <a:gdLst>
                <a:gd name="T0" fmla="*/ 2147483647 w 21600"/>
                <a:gd name="T1" fmla="*/ 2147483647 h 9347"/>
                <a:gd name="T2" fmla="*/ 2147483647 w 21600"/>
                <a:gd name="T3" fmla="*/ 0 h 9347"/>
                <a:gd name="T4" fmla="*/ 2147483647 w 21600"/>
                <a:gd name="T5" fmla="*/ 2147483647 h 9347"/>
                <a:gd name="T6" fmla="*/ 0 60000 65536"/>
                <a:gd name="T7" fmla="*/ 0 60000 65536"/>
                <a:gd name="T8" fmla="*/ 0 60000 65536"/>
                <a:gd name="T9" fmla="*/ 0 w 21600"/>
                <a:gd name="T10" fmla="*/ 0 h 9347"/>
                <a:gd name="T11" fmla="*/ 21600 w 21600"/>
                <a:gd name="T12" fmla="*/ 9347 h 9347"/>
              </a:gdLst>
              <a:ahLst/>
              <a:cxnLst>
                <a:cxn ang="T6">
                  <a:pos x="T0" y="T1"/>
                </a:cxn>
                <a:cxn ang="T7">
                  <a:pos x="T2" y="T3"/>
                </a:cxn>
                <a:cxn ang="T8">
                  <a:pos x="T4" y="T5"/>
                </a:cxn>
              </a:cxnLst>
              <a:rect l="T9" t="T10" r="T11" b="T12"/>
              <a:pathLst>
                <a:path w="21600" h="9347" fill="none" extrusionOk="0">
                  <a:moveTo>
                    <a:pt x="471" y="9347"/>
                  </a:moveTo>
                  <a:cubicBezTo>
                    <a:pt x="158" y="7871"/>
                    <a:pt x="0" y="6366"/>
                    <a:pt x="0" y="4858"/>
                  </a:cubicBezTo>
                  <a:cubicBezTo>
                    <a:pt x="-1" y="3222"/>
                    <a:pt x="185" y="1593"/>
                    <a:pt x="553" y="0"/>
                  </a:cubicBezTo>
                </a:path>
                <a:path w="21600" h="9347" stroke="0" extrusionOk="0">
                  <a:moveTo>
                    <a:pt x="471" y="9347"/>
                  </a:moveTo>
                  <a:cubicBezTo>
                    <a:pt x="158" y="7871"/>
                    <a:pt x="0" y="6366"/>
                    <a:pt x="0" y="4858"/>
                  </a:cubicBezTo>
                  <a:cubicBezTo>
                    <a:pt x="-1" y="3222"/>
                    <a:pt x="185" y="1593"/>
                    <a:pt x="553" y="0"/>
                  </a:cubicBezTo>
                  <a:lnTo>
                    <a:pt x="21600" y="4858"/>
                  </a:lnTo>
                  <a:close/>
                </a:path>
              </a:pathLst>
            </a:custGeom>
            <a:noFill/>
            <a:ln w="12700" cap="rnd">
              <a:solidFill>
                <a:schemeClr val="accent3"/>
              </a:solidFill>
              <a:round/>
              <a:headEnd/>
              <a:tailEnd type="triangle" w="med" len="med"/>
            </a:ln>
          </p:spPr>
          <p:txBody>
            <a:bodyPr wrap="none" anchor="ctr"/>
            <a:lstStyle/>
            <a:p>
              <a:pPr algn="ctr">
                <a:defRPr/>
              </a:pPr>
              <a:endParaRPr lang="en-GB"/>
            </a:p>
          </p:txBody>
        </p:sp>
        <p:sp>
          <p:nvSpPr>
            <p:cNvPr id="23" name="Arc 22"/>
            <p:cNvSpPr>
              <a:spLocks/>
            </p:cNvSpPr>
            <p:nvPr/>
          </p:nvSpPr>
          <p:spPr bwMode="auto">
            <a:xfrm>
              <a:off x="5526082" y="2233613"/>
              <a:ext cx="1900309" cy="1446212"/>
            </a:xfrm>
            <a:custGeom>
              <a:avLst/>
              <a:gdLst>
                <a:gd name="T0" fmla="*/ 0 w 19883"/>
                <a:gd name="T1" fmla="*/ 2147483647 h 16303"/>
                <a:gd name="T2" fmla="*/ 2147483647 w 19883"/>
                <a:gd name="T3" fmla="*/ 0 h 16303"/>
                <a:gd name="T4" fmla="*/ 2147483647 w 19883"/>
                <a:gd name="T5" fmla="*/ 2147483647 h 16303"/>
                <a:gd name="T6" fmla="*/ 0 60000 65536"/>
                <a:gd name="T7" fmla="*/ 0 60000 65536"/>
                <a:gd name="T8" fmla="*/ 0 60000 65536"/>
                <a:gd name="T9" fmla="*/ 0 w 19883"/>
                <a:gd name="T10" fmla="*/ 0 h 16303"/>
                <a:gd name="T11" fmla="*/ 19883 w 19883"/>
                <a:gd name="T12" fmla="*/ 16303 h 16303"/>
              </a:gdLst>
              <a:ahLst/>
              <a:cxnLst>
                <a:cxn ang="T6">
                  <a:pos x="T0" y="T1"/>
                </a:cxn>
                <a:cxn ang="T7">
                  <a:pos x="T2" y="T3"/>
                </a:cxn>
                <a:cxn ang="T8">
                  <a:pos x="T4" y="T5"/>
                </a:cxn>
              </a:cxnLst>
              <a:rect l="T9" t="T10" r="T11" b="T12"/>
              <a:pathLst>
                <a:path w="19883" h="16303" fill="none" extrusionOk="0">
                  <a:moveTo>
                    <a:pt x="-1" y="7863"/>
                  </a:moveTo>
                  <a:cubicBezTo>
                    <a:pt x="1282" y="4842"/>
                    <a:pt x="3236" y="2153"/>
                    <a:pt x="5713" y="0"/>
                  </a:cubicBezTo>
                </a:path>
                <a:path w="19883" h="16303" stroke="0" extrusionOk="0">
                  <a:moveTo>
                    <a:pt x="-1" y="7863"/>
                  </a:moveTo>
                  <a:cubicBezTo>
                    <a:pt x="1282" y="4842"/>
                    <a:pt x="3236" y="2153"/>
                    <a:pt x="5713" y="0"/>
                  </a:cubicBezTo>
                  <a:lnTo>
                    <a:pt x="19883" y="16303"/>
                  </a:lnTo>
                  <a:close/>
                </a:path>
              </a:pathLst>
            </a:custGeom>
            <a:noFill/>
            <a:ln w="12700" cap="rnd">
              <a:solidFill>
                <a:schemeClr val="accent3"/>
              </a:solidFill>
              <a:round/>
              <a:headEnd/>
              <a:tailEnd type="triangle" w="med" len="med"/>
            </a:ln>
          </p:spPr>
          <p:txBody>
            <a:bodyPr wrap="none" anchor="ctr"/>
            <a:lstStyle/>
            <a:p>
              <a:pPr algn="ctr">
                <a:defRPr/>
              </a:pPr>
              <a:endParaRPr lang="en-GB"/>
            </a:p>
          </p:txBody>
        </p:sp>
      </p:grpSp>
      <p:sp>
        <p:nvSpPr>
          <p:cNvPr id="26"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4817" name="Title 1"/>
          <p:cNvSpPr>
            <a:spLocks noGrp="1"/>
          </p:cNvSpPr>
          <p:nvPr>
            <p:ph type="title"/>
          </p:nvPr>
        </p:nvSpPr>
        <p:spPr>
          <a:xfrm>
            <a:off x="414338" y="446038"/>
            <a:ext cx="8330184" cy="333425"/>
          </a:xfrm>
        </p:spPr>
        <p:txBody>
          <a:bodyPr/>
          <a:lstStyle/>
          <a:p>
            <a:r>
              <a:rPr lang="nl-NL"/>
              <a:t>Circles </a:t>
            </a:r>
            <a:r>
              <a:rPr lang="en-US"/>
              <a:t>—</a:t>
            </a:r>
            <a:r>
              <a:rPr lang="nl-NL" smtClean="0"/>
              <a:t> </a:t>
            </a:r>
            <a:r>
              <a:rPr lang="nl-NL"/>
              <a:t>arrows</a:t>
            </a:r>
          </a:p>
        </p:txBody>
      </p:sp>
      <p:sp>
        <p:nvSpPr>
          <p:cNvPr id="4" name="Rectangle 31"/>
          <p:cNvSpPr>
            <a:spLocks noChangeArrowheads="1"/>
          </p:cNvSpPr>
          <p:nvPr/>
        </p:nvSpPr>
        <p:spPr bwMode="auto">
          <a:xfrm>
            <a:off x="6496050" y="446038"/>
            <a:ext cx="2232025" cy="461665"/>
          </a:xfrm>
          <a:prstGeom prst="rect">
            <a:avLst/>
          </a:prstGeom>
          <a:noFill/>
          <a:ln w="12700" algn="ctr">
            <a:solidFill>
              <a:schemeClr val="accent1"/>
            </a:solidFill>
            <a:miter lim="800000"/>
            <a:headEnd/>
            <a:tailEnd/>
          </a:ln>
        </p:spPr>
        <p:txBody>
          <a:bodyPr tIns="91440" bIns="91440">
            <a:spAutoFit/>
          </a:bodyPr>
          <a:lstStyle/>
          <a:p>
            <a:pPr algn="l">
              <a:defRPr/>
            </a:pPr>
            <a:r>
              <a:rPr lang="en-GB" sz="900" b="0" dirty="0">
                <a:solidFill>
                  <a:schemeClr val="tx2"/>
                </a:solidFill>
                <a:ea typeface="ＭＳ Ｐゴシック" pitchFamily="50" charset="-128"/>
              </a:rPr>
              <a:t>Tip! Hold the </a:t>
            </a:r>
            <a:r>
              <a:rPr lang="en-GB" sz="900" dirty="0">
                <a:solidFill>
                  <a:schemeClr val="tx2"/>
                </a:solidFill>
                <a:ea typeface="ＭＳ Ｐゴシック" pitchFamily="50" charset="-128"/>
              </a:rPr>
              <a:t>Shift key </a:t>
            </a:r>
            <a:r>
              <a:rPr lang="en-GB" sz="900" b="0" dirty="0">
                <a:solidFill>
                  <a:schemeClr val="tx2"/>
                </a:solidFill>
                <a:ea typeface="ＭＳ Ｐゴシック" pitchFamily="50" charset="-128"/>
              </a:rPr>
              <a:t>when enlarging a circle to keep it </a:t>
            </a:r>
            <a:r>
              <a:rPr lang="en-GB" sz="900" b="0" dirty="0" smtClean="0">
                <a:solidFill>
                  <a:schemeClr val="tx2"/>
                </a:solidFill>
                <a:ea typeface="ＭＳ Ｐゴシック" pitchFamily="50" charset="-128"/>
              </a:rPr>
              <a:t>circular.</a:t>
            </a:r>
            <a:endParaRPr lang="en-GB" sz="900" b="0" dirty="0">
              <a:solidFill>
                <a:schemeClr val="tx2"/>
              </a:solidFill>
              <a:ea typeface="ＭＳ Ｐゴシック" pitchFamily="50" charset="-128"/>
            </a:endParaRPr>
          </a:p>
        </p:txBody>
      </p:sp>
      <p:grpSp>
        <p:nvGrpSpPr>
          <p:cNvPr id="2" name="Group 97"/>
          <p:cNvGrpSpPr/>
          <p:nvPr/>
        </p:nvGrpSpPr>
        <p:grpSpPr>
          <a:xfrm>
            <a:off x="3379788" y="1204913"/>
            <a:ext cx="2160587" cy="2447925"/>
            <a:chOff x="3379788" y="1204913"/>
            <a:chExt cx="2160587" cy="2447925"/>
          </a:xfrm>
        </p:grpSpPr>
        <p:sp>
          <p:nvSpPr>
            <p:cNvPr id="52" name="Freeform 8"/>
            <p:cNvSpPr>
              <a:spLocks/>
            </p:cNvSpPr>
            <p:nvPr/>
          </p:nvSpPr>
          <p:spPr bwMode="blackWhite">
            <a:xfrm>
              <a:off x="4330700" y="1376363"/>
              <a:ext cx="1209675" cy="2276475"/>
            </a:xfrm>
            <a:custGeom>
              <a:avLst/>
              <a:gdLst>
                <a:gd name="T0" fmla="*/ 2147483647 w 976"/>
                <a:gd name="T1" fmla="*/ 2147483647 h 1811"/>
                <a:gd name="T2" fmla="*/ 2147483647 w 976"/>
                <a:gd name="T3" fmla="*/ 2147483647 h 1811"/>
                <a:gd name="T4" fmla="*/ 2147483647 w 976"/>
                <a:gd name="T5" fmla="*/ 2147483647 h 1811"/>
                <a:gd name="T6" fmla="*/ 2147483647 w 976"/>
                <a:gd name="T7" fmla="*/ 2147483647 h 1811"/>
                <a:gd name="T8" fmla="*/ 2147483647 w 976"/>
                <a:gd name="T9" fmla="*/ 2147483647 h 1811"/>
                <a:gd name="T10" fmla="*/ 2147483647 w 976"/>
                <a:gd name="T11" fmla="*/ 2147483647 h 1811"/>
                <a:gd name="T12" fmla="*/ 2147483647 w 976"/>
                <a:gd name="T13" fmla="*/ 2147483647 h 1811"/>
                <a:gd name="T14" fmla="*/ 2147483647 w 976"/>
                <a:gd name="T15" fmla="*/ 2147483647 h 1811"/>
                <a:gd name="T16" fmla="*/ 2147483647 w 976"/>
                <a:gd name="T17" fmla="*/ 2147483647 h 1811"/>
                <a:gd name="T18" fmla="*/ 2147483647 w 976"/>
                <a:gd name="T19" fmla="*/ 2147483647 h 1811"/>
                <a:gd name="T20" fmla="*/ 2147483647 w 976"/>
                <a:gd name="T21" fmla="*/ 2147483647 h 1811"/>
                <a:gd name="T22" fmla="*/ 2147483647 w 976"/>
                <a:gd name="T23" fmla="*/ 2147483647 h 1811"/>
                <a:gd name="T24" fmla="*/ 2147483647 w 976"/>
                <a:gd name="T25" fmla="*/ 2147483647 h 1811"/>
                <a:gd name="T26" fmla="*/ 2147483647 w 976"/>
                <a:gd name="T27" fmla="*/ 2147483647 h 1811"/>
                <a:gd name="T28" fmla="*/ 2147483647 w 976"/>
                <a:gd name="T29" fmla="*/ 2147483647 h 1811"/>
                <a:gd name="T30" fmla="*/ 2147483647 w 976"/>
                <a:gd name="T31" fmla="*/ 2147483647 h 1811"/>
                <a:gd name="T32" fmla="*/ 2147483647 w 976"/>
                <a:gd name="T33" fmla="*/ 2147483647 h 1811"/>
                <a:gd name="T34" fmla="*/ 2147483647 w 976"/>
                <a:gd name="T35" fmla="*/ 2147483647 h 1811"/>
                <a:gd name="T36" fmla="*/ 2147483647 w 976"/>
                <a:gd name="T37" fmla="*/ 2147483647 h 1811"/>
                <a:gd name="T38" fmla="*/ 2147483647 w 976"/>
                <a:gd name="T39" fmla="*/ 2147483647 h 1811"/>
                <a:gd name="T40" fmla="*/ 2147483647 w 976"/>
                <a:gd name="T41" fmla="*/ 2147483647 h 1811"/>
                <a:gd name="T42" fmla="*/ 2147483647 w 976"/>
                <a:gd name="T43" fmla="*/ 2147483647 h 1811"/>
                <a:gd name="T44" fmla="*/ 2147483647 w 976"/>
                <a:gd name="T45" fmla="*/ 2147483647 h 1811"/>
                <a:gd name="T46" fmla="*/ 2147483647 w 976"/>
                <a:gd name="T47" fmla="*/ 2147483647 h 1811"/>
                <a:gd name="T48" fmla="*/ 2147483647 w 976"/>
                <a:gd name="T49" fmla="*/ 2147483647 h 1811"/>
                <a:gd name="T50" fmla="*/ 2147483647 w 976"/>
                <a:gd name="T51" fmla="*/ 2147483647 h 1811"/>
                <a:gd name="T52" fmla="*/ 2147483647 w 976"/>
                <a:gd name="T53" fmla="*/ 2147483647 h 1811"/>
                <a:gd name="T54" fmla="*/ 2147483647 w 976"/>
                <a:gd name="T55" fmla="*/ 2147483647 h 1811"/>
                <a:gd name="T56" fmla="*/ 2147483647 w 976"/>
                <a:gd name="T57" fmla="*/ 2147483647 h 1811"/>
                <a:gd name="T58" fmla="*/ 2147483647 w 976"/>
                <a:gd name="T59" fmla="*/ 2147483647 h 1811"/>
                <a:gd name="T60" fmla="*/ 2147483647 w 976"/>
                <a:gd name="T61" fmla="*/ 2147483647 h 1811"/>
                <a:gd name="T62" fmla="*/ 2147483647 w 976"/>
                <a:gd name="T63" fmla="*/ 2147483647 h 1811"/>
                <a:gd name="T64" fmla="*/ 2147483647 w 976"/>
                <a:gd name="T65" fmla="*/ 2147483647 h 1811"/>
                <a:gd name="T66" fmla="*/ 2147483647 w 976"/>
                <a:gd name="T67" fmla="*/ 2147483647 h 1811"/>
                <a:gd name="T68" fmla="*/ 2147483647 w 976"/>
                <a:gd name="T69" fmla="*/ 2147483647 h 1811"/>
                <a:gd name="T70" fmla="*/ 2147483647 w 976"/>
                <a:gd name="T71" fmla="*/ 2147483647 h 18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76"/>
                <a:gd name="T109" fmla="*/ 0 h 1811"/>
                <a:gd name="T110" fmla="*/ 976 w 976"/>
                <a:gd name="T111" fmla="*/ 1811 h 18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76" h="1811">
                  <a:moveTo>
                    <a:pt x="279" y="1669"/>
                  </a:moveTo>
                  <a:lnTo>
                    <a:pt x="338" y="1654"/>
                  </a:lnTo>
                  <a:lnTo>
                    <a:pt x="394" y="1635"/>
                  </a:lnTo>
                  <a:lnTo>
                    <a:pt x="449" y="1612"/>
                  </a:lnTo>
                  <a:lnTo>
                    <a:pt x="502" y="1585"/>
                  </a:lnTo>
                  <a:lnTo>
                    <a:pt x="553" y="1555"/>
                  </a:lnTo>
                  <a:lnTo>
                    <a:pt x="601" y="1520"/>
                  </a:lnTo>
                  <a:lnTo>
                    <a:pt x="651" y="1485"/>
                  </a:lnTo>
                  <a:lnTo>
                    <a:pt x="697" y="1447"/>
                  </a:lnTo>
                  <a:lnTo>
                    <a:pt x="741" y="1405"/>
                  </a:lnTo>
                  <a:lnTo>
                    <a:pt x="782" y="1361"/>
                  </a:lnTo>
                  <a:lnTo>
                    <a:pt x="818" y="1313"/>
                  </a:lnTo>
                  <a:lnTo>
                    <a:pt x="851" y="1263"/>
                  </a:lnTo>
                  <a:lnTo>
                    <a:pt x="882" y="1210"/>
                  </a:lnTo>
                  <a:lnTo>
                    <a:pt x="908" y="1156"/>
                  </a:lnTo>
                  <a:lnTo>
                    <a:pt x="929" y="1100"/>
                  </a:lnTo>
                  <a:lnTo>
                    <a:pt x="947" y="1043"/>
                  </a:lnTo>
                  <a:lnTo>
                    <a:pt x="961" y="984"/>
                  </a:lnTo>
                  <a:lnTo>
                    <a:pt x="970" y="924"/>
                  </a:lnTo>
                  <a:lnTo>
                    <a:pt x="975" y="865"/>
                  </a:lnTo>
                  <a:lnTo>
                    <a:pt x="975" y="804"/>
                  </a:lnTo>
                  <a:lnTo>
                    <a:pt x="972" y="744"/>
                  </a:lnTo>
                  <a:lnTo>
                    <a:pt x="963" y="685"/>
                  </a:lnTo>
                  <a:lnTo>
                    <a:pt x="950" y="625"/>
                  </a:lnTo>
                  <a:lnTo>
                    <a:pt x="935" y="567"/>
                  </a:lnTo>
                  <a:lnTo>
                    <a:pt x="913" y="511"/>
                  </a:lnTo>
                  <a:lnTo>
                    <a:pt x="889" y="456"/>
                  </a:lnTo>
                  <a:lnTo>
                    <a:pt x="859" y="403"/>
                  </a:lnTo>
                  <a:lnTo>
                    <a:pt x="826" y="352"/>
                  </a:lnTo>
                  <a:lnTo>
                    <a:pt x="790" y="304"/>
                  </a:lnTo>
                  <a:lnTo>
                    <a:pt x="751" y="259"/>
                  </a:lnTo>
                  <a:lnTo>
                    <a:pt x="708" y="216"/>
                  </a:lnTo>
                  <a:lnTo>
                    <a:pt x="662" y="178"/>
                  </a:lnTo>
                  <a:lnTo>
                    <a:pt x="614" y="142"/>
                  </a:lnTo>
                  <a:lnTo>
                    <a:pt x="563" y="109"/>
                  </a:lnTo>
                  <a:lnTo>
                    <a:pt x="510" y="81"/>
                  </a:lnTo>
                  <a:lnTo>
                    <a:pt x="455" y="56"/>
                  </a:lnTo>
                  <a:lnTo>
                    <a:pt x="398" y="36"/>
                  </a:lnTo>
                  <a:lnTo>
                    <a:pt x="340" y="20"/>
                  </a:lnTo>
                  <a:lnTo>
                    <a:pt x="281" y="8"/>
                  </a:lnTo>
                  <a:lnTo>
                    <a:pt x="222" y="0"/>
                  </a:lnTo>
                  <a:lnTo>
                    <a:pt x="294" y="112"/>
                  </a:lnTo>
                  <a:lnTo>
                    <a:pt x="369" y="222"/>
                  </a:lnTo>
                  <a:lnTo>
                    <a:pt x="226" y="434"/>
                  </a:lnTo>
                  <a:lnTo>
                    <a:pt x="268" y="446"/>
                  </a:lnTo>
                  <a:lnTo>
                    <a:pt x="306" y="463"/>
                  </a:lnTo>
                  <a:lnTo>
                    <a:pt x="344" y="483"/>
                  </a:lnTo>
                  <a:lnTo>
                    <a:pt x="379" y="508"/>
                  </a:lnTo>
                  <a:lnTo>
                    <a:pt x="411" y="536"/>
                  </a:lnTo>
                  <a:lnTo>
                    <a:pt x="440" y="567"/>
                  </a:lnTo>
                  <a:lnTo>
                    <a:pt x="467" y="601"/>
                  </a:lnTo>
                  <a:lnTo>
                    <a:pt x="489" y="637"/>
                  </a:lnTo>
                  <a:lnTo>
                    <a:pt x="508" y="676"/>
                  </a:lnTo>
                  <a:lnTo>
                    <a:pt x="521" y="716"/>
                  </a:lnTo>
                  <a:lnTo>
                    <a:pt x="531" y="758"/>
                  </a:lnTo>
                  <a:lnTo>
                    <a:pt x="538" y="801"/>
                  </a:lnTo>
                  <a:lnTo>
                    <a:pt x="539" y="843"/>
                  </a:lnTo>
                  <a:lnTo>
                    <a:pt x="536" y="886"/>
                  </a:lnTo>
                  <a:lnTo>
                    <a:pt x="529" y="928"/>
                  </a:lnTo>
                  <a:lnTo>
                    <a:pt x="517" y="969"/>
                  </a:lnTo>
                  <a:lnTo>
                    <a:pt x="501" y="1009"/>
                  </a:lnTo>
                  <a:lnTo>
                    <a:pt x="482" y="1046"/>
                  </a:lnTo>
                  <a:lnTo>
                    <a:pt x="458" y="1082"/>
                  </a:lnTo>
                  <a:lnTo>
                    <a:pt x="431" y="1115"/>
                  </a:lnTo>
                  <a:lnTo>
                    <a:pt x="401" y="1145"/>
                  </a:lnTo>
                  <a:lnTo>
                    <a:pt x="367" y="1172"/>
                  </a:lnTo>
                  <a:lnTo>
                    <a:pt x="331" y="1196"/>
                  </a:lnTo>
                  <a:lnTo>
                    <a:pt x="293" y="1215"/>
                  </a:lnTo>
                  <a:lnTo>
                    <a:pt x="253" y="1230"/>
                  </a:lnTo>
                  <a:lnTo>
                    <a:pt x="253" y="1093"/>
                  </a:lnTo>
                  <a:lnTo>
                    <a:pt x="0" y="1420"/>
                  </a:lnTo>
                  <a:lnTo>
                    <a:pt x="279" y="1810"/>
                  </a:lnTo>
                  <a:lnTo>
                    <a:pt x="279" y="1669"/>
                  </a:lnTo>
                </a:path>
              </a:pathLst>
            </a:custGeom>
            <a:solidFill>
              <a:schemeClr val="accent1"/>
            </a:solidFill>
            <a:ln w="12700" cap="rnd">
              <a:noFill/>
              <a:round/>
              <a:headEnd/>
              <a:tailEnd/>
            </a:ln>
          </p:spPr>
          <p:txBody>
            <a:bodyPr/>
            <a:lstStyle/>
            <a:p>
              <a:endParaRPr lang="en-GB" sz="1200">
                <a:solidFill>
                  <a:schemeClr val="bg1"/>
                </a:solidFill>
              </a:endParaRPr>
            </a:p>
          </p:txBody>
        </p:sp>
        <p:sp>
          <p:nvSpPr>
            <p:cNvPr id="53" name="Freeform 9"/>
            <p:cNvSpPr>
              <a:spLocks/>
            </p:cNvSpPr>
            <p:nvPr/>
          </p:nvSpPr>
          <p:spPr bwMode="blackWhite">
            <a:xfrm>
              <a:off x="3379788" y="1204913"/>
              <a:ext cx="1343025" cy="2290763"/>
            </a:xfrm>
            <a:custGeom>
              <a:avLst/>
              <a:gdLst>
                <a:gd name="T0" fmla="*/ 2147483647 w 1084"/>
                <a:gd name="T1" fmla="*/ 2147483647 h 1823"/>
                <a:gd name="T2" fmla="*/ 2147483647 w 1084"/>
                <a:gd name="T3" fmla="*/ 2147483647 h 1823"/>
                <a:gd name="T4" fmla="*/ 2147483647 w 1084"/>
                <a:gd name="T5" fmla="*/ 2147483647 h 1823"/>
                <a:gd name="T6" fmla="*/ 2147483647 w 1084"/>
                <a:gd name="T7" fmla="*/ 2147483647 h 1823"/>
                <a:gd name="T8" fmla="*/ 2147483647 w 1084"/>
                <a:gd name="T9" fmla="*/ 2147483647 h 1823"/>
                <a:gd name="T10" fmla="*/ 2147483647 w 1084"/>
                <a:gd name="T11" fmla="*/ 2147483647 h 1823"/>
                <a:gd name="T12" fmla="*/ 2147483647 w 1084"/>
                <a:gd name="T13" fmla="*/ 2147483647 h 1823"/>
                <a:gd name="T14" fmla="*/ 2147483647 w 1084"/>
                <a:gd name="T15" fmla="*/ 2147483647 h 1823"/>
                <a:gd name="T16" fmla="*/ 2147483647 w 1084"/>
                <a:gd name="T17" fmla="*/ 2147483647 h 1823"/>
                <a:gd name="T18" fmla="*/ 2147483647 w 1084"/>
                <a:gd name="T19" fmla="*/ 2147483647 h 1823"/>
                <a:gd name="T20" fmla="*/ 2147483647 w 1084"/>
                <a:gd name="T21" fmla="*/ 2147483647 h 1823"/>
                <a:gd name="T22" fmla="*/ 2147483647 w 1084"/>
                <a:gd name="T23" fmla="*/ 2147483647 h 1823"/>
                <a:gd name="T24" fmla="*/ 2147483647 w 1084"/>
                <a:gd name="T25" fmla="*/ 2147483647 h 1823"/>
                <a:gd name="T26" fmla="*/ 2147483647 w 1084"/>
                <a:gd name="T27" fmla="*/ 2147483647 h 1823"/>
                <a:gd name="T28" fmla="*/ 2147483647 w 1084"/>
                <a:gd name="T29" fmla="*/ 2147483647 h 1823"/>
                <a:gd name="T30" fmla="*/ 2147483647 w 1084"/>
                <a:gd name="T31" fmla="*/ 2147483647 h 1823"/>
                <a:gd name="T32" fmla="*/ 2147483647 w 1084"/>
                <a:gd name="T33" fmla="*/ 0 h 1823"/>
                <a:gd name="T34" fmla="*/ 2147483647 w 1084"/>
                <a:gd name="T35" fmla="*/ 2147483647 h 1823"/>
                <a:gd name="T36" fmla="*/ 2147483647 w 1084"/>
                <a:gd name="T37" fmla="*/ 2147483647 h 1823"/>
                <a:gd name="T38" fmla="*/ 2147483647 w 1084"/>
                <a:gd name="T39" fmla="*/ 2147483647 h 1823"/>
                <a:gd name="T40" fmla="*/ 2147483647 w 1084"/>
                <a:gd name="T41" fmla="*/ 2147483647 h 1823"/>
                <a:gd name="T42" fmla="*/ 2147483647 w 1084"/>
                <a:gd name="T43" fmla="*/ 2147483647 h 1823"/>
                <a:gd name="T44" fmla="*/ 2147483647 w 1084"/>
                <a:gd name="T45" fmla="*/ 2147483647 h 1823"/>
                <a:gd name="T46" fmla="*/ 2147483647 w 1084"/>
                <a:gd name="T47" fmla="*/ 2147483647 h 1823"/>
                <a:gd name="T48" fmla="*/ 2147483647 w 1084"/>
                <a:gd name="T49" fmla="*/ 2147483647 h 1823"/>
                <a:gd name="T50" fmla="*/ 2147483647 w 1084"/>
                <a:gd name="T51" fmla="*/ 2147483647 h 1823"/>
                <a:gd name="T52" fmla="*/ 2147483647 w 1084"/>
                <a:gd name="T53" fmla="*/ 2147483647 h 1823"/>
                <a:gd name="T54" fmla="*/ 2147483647 w 1084"/>
                <a:gd name="T55" fmla="*/ 2147483647 h 1823"/>
                <a:gd name="T56" fmla="*/ 2147483647 w 1084"/>
                <a:gd name="T57" fmla="*/ 2147483647 h 1823"/>
                <a:gd name="T58" fmla="*/ 2147483647 w 1084"/>
                <a:gd name="T59" fmla="*/ 2147483647 h 1823"/>
                <a:gd name="T60" fmla="*/ 2147483647 w 1084"/>
                <a:gd name="T61" fmla="*/ 2147483647 h 1823"/>
                <a:gd name="T62" fmla="*/ 2147483647 w 1084"/>
                <a:gd name="T63" fmla="*/ 2147483647 h 1823"/>
                <a:gd name="T64" fmla="*/ 2147483647 w 1084"/>
                <a:gd name="T65" fmla="*/ 2147483647 h 1823"/>
                <a:gd name="T66" fmla="*/ 2147483647 w 1084"/>
                <a:gd name="T67" fmla="*/ 2147483647 h 1823"/>
                <a:gd name="T68" fmla="*/ 2147483647 w 1084"/>
                <a:gd name="T69" fmla="*/ 2147483647 h 1823"/>
                <a:gd name="T70" fmla="*/ 2147483647 w 1084"/>
                <a:gd name="T71" fmla="*/ 2147483647 h 1823"/>
                <a:gd name="T72" fmla="*/ 2147483647 w 1084"/>
                <a:gd name="T73" fmla="*/ 2147483647 h 1823"/>
                <a:gd name="T74" fmla="*/ 2147483647 w 1084"/>
                <a:gd name="T75" fmla="*/ 2147483647 h 1823"/>
                <a:gd name="T76" fmla="*/ 2147483647 w 1084"/>
                <a:gd name="T77" fmla="*/ 2147483647 h 1823"/>
                <a:gd name="T78" fmla="*/ 2147483647 w 1084"/>
                <a:gd name="T79" fmla="*/ 2147483647 h 1823"/>
                <a:gd name="T80" fmla="*/ 2147483647 w 1084"/>
                <a:gd name="T81" fmla="*/ 2147483647 h 18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84"/>
                <a:gd name="T124" fmla="*/ 0 h 1823"/>
                <a:gd name="T125" fmla="*/ 1084 w 1084"/>
                <a:gd name="T126" fmla="*/ 1823 h 18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84" h="1823">
                  <a:moveTo>
                    <a:pt x="832" y="1394"/>
                  </a:moveTo>
                  <a:lnTo>
                    <a:pt x="789" y="1389"/>
                  </a:lnTo>
                  <a:lnTo>
                    <a:pt x="746" y="1380"/>
                  </a:lnTo>
                  <a:lnTo>
                    <a:pt x="705" y="1367"/>
                  </a:lnTo>
                  <a:lnTo>
                    <a:pt x="665" y="1349"/>
                  </a:lnTo>
                  <a:lnTo>
                    <a:pt x="628" y="1327"/>
                  </a:lnTo>
                  <a:lnTo>
                    <a:pt x="592" y="1301"/>
                  </a:lnTo>
                  <a:lnTo>
                    <a:pt x="559" y="1273"/>
                  </a:lnTo>
                  <a:lnTo>
                    <a:pt x="530" y="1240"/>
                  </a:lnTo>
                  <a:lnTo>
                    <a:pt x="504" y="1206"/>
                  </a:lnTo>
                  <a:lnTo>
                    <a:pt x="482" y="1168"/>
                  </a:lnTo>
                  <a:lnTo>
                    <a:pt x="464" y="1129"/>
                  </a:lnTo>
                  <a:lnTo>
                    <a:pt x="450" y="1087"/>
                  </a:lnTo>
                  <a:lnTo>
                    <a:pt x="440" y="1044"/>
                  </a:lnTo>
                  <a:lnTo>
                    <a:pt x="434" y="1002"/>
                  </a:lnTo>
                  <a:lnTo>
                    <a:pt x="434" y="958"/>
                  </a:lnTo>
                  <a:lnTo>
                    <a:pt x="438" y="915"/>
                  </a:lnTo>
                  <a:lnTo>
                    <a:pt x="446" y="872"/>
                  </a:lnTo>
                  <a:lnTo>
                    <a:pt x="458" y="831"/>
                  </a:lnTo>
                  <a:lnTo>
                    <a:pt x="475" y="790"/>
                  </a:lnTo>
                  <a:lnTo>
                    <a:pt x="495" y="752"/>
                  </a:lnTo>
                  <a:lnTo>
                    <a:pt x="520" y="716"/>
                  </a:lnTo>
                  <a:lnTo>
                    <a:pt x="548" y="683"/>
                  </a:lnTo>
                  <a:lnTo>
                    <a:pt x="580" y="653"/>
                  </a:lnTo>
                  <a:lnTo>
                    <a:pt x="613" y="626"/>
                  </a:lnTo>
                  <a:lnTo>
                    <a:pt x="651" y="603"/>
                  </a:lnTo>
                  <a:lnTo>
                    <a:pt x="688" y="584"/>
                  </a:lnTo>
                  <a:lnTo>
                    <a:pt x="727" y="569"/>
                  </a:lnTo>
                  <a:lnTo>
                    <a:pt x="768" y="559"/>
                  </a:lnTo>
                  <a:lnTo>
                    <a:pt x="809" y="552"/>
                  </a:lnTo>
                  <a:lnTo>
                    <a:pt x="851" y="549"/>
                  </a:lnTo>
                  <a:lnTo>
                    <a:pt x="851" y="675"/>
                  </a:lnTo>
                  <a:lnTo>
                    <a:pt x="1083" y="353"/>
                  </a:lnTo>
                  <a:lnTo>
                    <a:pt x="846" y="0"/>
                  </a:lnTo>
                  <a:lnTo>
                    <a:pt x="846" y="121"/>
                  </a:lnTo>
                  <a:lnTo>
                    <a:pt x="786" y="125"/>
                  </a:lnTo>
                  <a:lnTo>
                    <a:pt x="726" y="133"/>
                  </a:lnTo>
                  <a:lnTo>
                    <a:pt x="668" y="145"/>
                  </a:lnTo>
                  <a:lnTo>
                    <a:pt x="610" y="161"/>
                  </a:lnTo>
                  <a:lnTo>
                    <a:pt x="554" y="181"/>
                  </a:lnTo>
                  <a:lnTo>
                    <a:pt x="499" y="206"/>
                  </a:lnTo>
                  <a:lnTo>
                    <a:pt x="446" y="234"/>
                  </a:lnTo>
                  <a:lnTo>
                    <a:pt x="394" y="264"/>
                  </a:lnTo>
                  <a:lnTo>
                    <a:pt x="344" y="298"/>
                  </a:lnTo>
                  <a:lnTo>
                    <a:pt x="297" y="335"/>
                  </a:lnTo>
                  <a:lnTo>
                    <a:pt x="252" y="376"/>
                  </a:lnTo>
                  <a:lnTo>
                    <a:pt x="211" y="420"/>
                  </a:lnTo>
                  <a:lnTo>
                    <a:pt x="173" y="466"/>
                  </a:lnTo>
                  <a:lnTo>
                    <a:pt x="138" y="515"/>
                  </a:lnTo>
                  <a:lnTo>
                    <a:pt x="107" y="566"/>
                  </a:lnTo>
                  <a:lnTo>
                    <a:pt x="79" y="620"/>
                  </a:lnTo>
                  <a:lnTo>
                    <a:pt x="56" y="675"/>
                  </a:lnTo>
                  <a:lnTo>
                    <a:pt x="37" y="733"/>
                  </a:lnTo>
                  <a:lnTo>
                    <a:pt x="21" y="790"/>
                  </a:lnTo>
                  <a:lnTo>
                    <a:pt x="10" y="850"/>
                  </a:lnTo>
                  <a:lnTo>
                    <a:pt x="3" y="909"/>
                  </a:lnTo>
                  <a:lnTo>
                    <a:pt x="0" y="969"/>
                  </a:lnTo>
                  <a:lnTo>
                    <a:pt x="2" y="1029"/>
                  </a:lnTo>
                  <a:lnTo>
                    <a:pt x="7" y="1090"/>
                  </a:lnTo>
                  <a:lnTo>
                    <a:pt x="18" y="1148"/>
                  </a:lnTo>
                  <a:lnTo>
                    <a:pt x="31" y="1207"/>
                  </a:lnTo>
                  <a:lnTo>
                    <a:pt x="50" y="1264"/>
                  </a:lnTo>
                  <a:lnTo>
                    <a:pt x="73" y="1320"/>
                  </a:lnTo>
                  <a:lnTo>
                    <a:pt x="99" y="1374"/>
                  </a:lnTo>
                  <a:lnTo>
                    <a:pt x="129" y="1426"/>
                  </a:lnTo>
                  <a:lnTo>
                    <a:pt x="163" y="1476"/>
                  </a:lnTo>
                  <a:lnTo>
                    <a:pt x="200" y="1523"/>
                  </a:lnTo>
                  <a:lnTo>
                    <a:pt x="241" y="1568"/>
                  </a:lnTo>
                  <a:lnTo>
                    <a:pt x="283" y="1609"/>
                  </a:lnTo>
                  <a:lnTo>
                    <a:pt x="330" y="1647"/>
                  </a:lnTo>
                  <a:lnTo>
                    <a:pt x="379" y="1682"/>
                  </a:lnTo>
                  <a:lnTo>
                    <a:pt x="431" y="1713"/>
                  </a:lnTo>
                  <a:lnTo>
                    <a:pt x="484" y="1741"/>
                  </a:lnTo>
                  <a:lnTo>
                    <a:pt x="539" y="1765"/>
                  </a:lnTo>
                  <a:lnTo>
                    <a:pt x="595" y="1784"/>
                  </a:lnTo>
                  <a:lnTo>
                    <a:pt x="654" y="1800"/>
                  </a:lnTo>
                  <a:lnTo>
                    <a:pt x="713" y="1812"/>
                  </a:lnTo>
                  <a:lnTo>
                    <a:pt x="772" y="1819"/>
                  </a:lnTo>
                  <a:lnTo>
                    <a:pt x="833" y="1822"/>
                  </a:lnTo>
                  <a:lnTo>
                    <a:pt x="893" y="1821"/>
                  </a:lnTo>
                  <a:lnTo>
                    <a:pt x="708" y="1557"/>
                  </a:lnTo>
                  <a:lnTo>
                    <a:pt x="832" y="1394"/>
                  </a:lnTo>
                </a:path>
              </a:pathLst>
            </a:custGeom>
            <a:solidFill>
              <a:schemeClr val="accent2"/>
            </a:solidFill>
            <a:ln w="12700" cap="rnd">
              <a:noFill/>
              <a:round/>
              <a:headEnd/>
              <a:tailEnd/>
            </a:ln>
          </p:spPr>
          <p:txBody>
            <a:bodyPr/>
            <a:lstStyle/>
            <a:p>
              <a:endParaRPr lang="en-GB" sz="1200">
                <a:solidFill>
                  <a:schemeClr val="bg1"/>
                </a:solidFill>
              </a:endParaRPr>
            </a:p>
          </p:txBody>
        </p:sp>
        <p:sp>
          <p:nvSpPr>
            <p:cNvPr id="54" name="Rectangle 10"/>
            <p:cNvSpPr>
              <a:spLocks noChangeArrowheads="1"/>
            </p:cNvSpPr>
            <p:nvPr/>
          </p:nvSpPr>
          <p:spPr bwMode="blackWhite">
            <a:xfrm>
              <a:off x="3398838" y="2332038"/>
              <a:ext cx="515937"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a:solidFill>
                    <a:schemeClr val="bg1"/>
                  </a:solidFill>
                </a:rPr>
                <a:t>Text</a:t>
              </a:r>
            </a:p>
          </p:txBody>
        </p:sp>
        <p:sp>
          <p:nvSpPr>
            <p:cNvPr id="55" name="Rectangle 11"/>
            <p:cNvSpPr>
              <a:spLocks noChangeArrowheads="1"/>
            </p:cNvSpPr>
            <p:nvPr/>
          </p:nvSpPr>
          <p:spPr bwMode="blackWhite">
            <a:xfrm>
              <a:off x="5021263" y="2332038"/>
              <a:ext cx="514350"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1"/>
                  </a:solidFill>
                </a:rPr>
                <a:t>Text</a:t>
              </a:r>
            </a:p>
          </p:txBody>
        </p:sp>
      </p:grpSp>
      <p:sp>
        <p:nvSpPr>
          <p:cNvPr id="75" name="Freeform 4"/>
          <p:cNvSpPr>
            <a:spLocks/>
          </p:cNvSpPr>
          <p:nvPr/>
        </p:nvSpPr>
        <p:spPr bwMode="blackWhite">
          <a:xfrm>
            <a:off x="571500" y="1343026"/>
            <a:ext cx="2160588" cy="2159000"/>
          </a:xfrm>
          <a:custGeom>
            <a:avLst/>
            <a:gdLst>
              <a:gd name="T0" fmla="*/ 15 w 1725"/>
              <a:gd name="T1" fmla="*/ 217 h 1724"/>
              <a:gd name="T2" fmla="*/ 3 w 1725"/>
              <a:gd name="T3" fmla="*/ 286 h 1724"/>
              <a:gd name="T4" fmla="*/ 1 w 1725"/>
              <a:gd name="T5" fmla="*/ 357 h 1724"/>
              <a:gd name="T6" fmla="*/ 9 w 1725"/>
              <a:gd name="T7" fmla="*/ 428 h 1724"/>
              <a:gd name="T8" fmla="*/ 30 w 1725"/>
              <a:gd name="T9" fmla="*/ 494 h 1724"/>
              <a:gd name="T10" fmla="*/ 60 w 1725"/>
              <a:gd name="T11" fmla="*/ 552 h 1724"/>
              <a:gd name="T12" fmla="*/ 97 w 1725"/>
              <a:gd name="T13" fmla="*/ 601 h 1724"/>
              <a:gd name="T14" fmla="*/ 141 w 1725"/>
              <a:gd name="T15" fmla="*/ 637 h 1724"/>
              <a:gd name="T16" fmla="*/ 191 w 1725"/>
              <a:gd name="T17" fmla="*/ 659 h 1724"/>
              <a:gd name="T18" fmla="*/ 242 w 1725"/>
              <a:gd name="T19" fmla="*/ 667 h 1724"/>
              <a:gd name="T20" fmla="*/ 294 w 1725"/>
              <a:gd name="T21" fmla="*/ 659 h 1724"/>
              <a:gd name="T22" fmla="*/ 343 w 1725"/>
              <a:gd name="T23" fmla="*/ 637 h 1724"/>
              <a:gd name="T24" fmla="*/ 387 w 1725"/>
              <a:gd name="T25" fmla="*/ 601 h 1724"/>
              <a:gd name="T26" fmla="*/ 425 w 1725"/>
              <a:gd name="T27" fmla="*/ 552 h 1724"/>
              <a:gd name="T28" fmla="*/ 455 w 1725"/>
              <a:gd name="T29" fmla="*/ 494 h 1724"/>
              <a:gd name="T30" fmla="*/ 475 w 1725"/>
              <a:gd name="T31" fmla="*/ 428 h 1724"/>
              <a:gd name="T32" fmla="*/ 484 w 1725"/>
              <a:gd name="T33" fmla="*/ 357 h 1724"/>
              <a:gd name="T34" fmla="*/ 482 w 1725"/>
              <a:gd name="T35" fmla="*/ 285 h 1724"/>
              <a:gd name="T36" fmla="*/ 469 w 1725"/>
              <a:gd name="T37" fmla="*/ 215 h 1724"/>
              <a:gd name="T38" fmla="*/ 446 w 1725"/>
              <a:gd name="T39" fmla="*/ 151 h 1724"/>
              <a:gd name="T40" fmla="*/ 411 w 1725"/>
              <a:gd name="T41" fmla="*/ 94 h 1724"/>
              <a:gd name="T42" fmla="*/ 370 w 1725"/>
              <a:gd name="T43" fmla="*/ 50 h 1724"/>
              <a:gd name="T44" fmla="*/ 323 w 1725"/>
              <a:gd name="T45" fmla="*/ 18 h 1724"/>
              <a:gd name="T46" fmla="*/ 271 w 1725"/>
              <a:gd name="T47" fmla="*/ 2 h 1724"/>
              <a:gd name="T48" fmla="*/ 218 w 1725"/>
              <a:gd name="T49" fmla="*/ 2 h 1724"/>
              <a:gd name="T50" fmla="*/ 167 w 1725"/>
              <a:gd name="T51" fmla="*/ 17 h 1724"/>
              <a:gd name="T52" fmla="*/ 119 w 1725"/>
              <a:gd name="T53" fmla="*/ 47 h 1724"/>
              <a:gd name="T54" fmla="*/ 77 w 1725"/>
              <a:gd name="T55" fmla="*/ 90 h 1724"/>
              <a:gd name="T56" fmla="*/ 126 w 1725"/>
              <a:gd name="T57" fmla="*/ 118 h 1724"/>
              <a:gd name="T58" fmla="*/ 186 w 1725"/>
              <a:gd name="T59" fmla="*/ 187 h 1724"/>
              <a:gd name="T60" fmla="*/ 218 w 1725"/>
              <a:gd name="T61" fmla="*/ 170 h 1724"/>
              <a:gd name="T62" fmla="*/ 254 w 1725"/>
              <a:gd name="T63" fmla="*/ 167 h 1724"/>
              <a:gd name="T64" fmla="*/ 289 w 1725"/>
              <a:gd name="T65" fmla="*/ 178 h 1724"/>
              <a:gd name="T66" fmla="*/ 320 w 1725"/>
              <a:gd name="T67" fmla="*/ 205 h 1724"/>
              <a:gd name="T68" fmla="*/ 344 w 1725"/>
              <a:gd name="T69" fmla="*/ 241 h 1724"/>
              <a:gd name="T70" fmla="*/ 358 w 1725"/>
              <a:gd name="T71" fmla="*/ 285 h 1724"/>
              <a:gd name="T72" fmla="*/ 363 w 1725"/>
              <a:gd name="T73" fmla="*/ 334 h 1724"/>
              <a:gd name="T74" fmla="*/ 358 w 1725"/>
              <a:gd name="T75" fmla="*/ 384 h 1724"/>
              <a:gd name="T76" fmla="*/ 341 w 1725"/>
              <a:gd name="T77" fmla="*/ 429 h 1724"/>
              <a:gd name="T78" fmla="*/ 317 w 1725"/>
              <a:gd name="T79" fmla="*/ 465 h 1724"/>
              <a:gd name="T80" fmla="*/ 285 w 1725"/>
              <a:gd name="T81" fmla="*/ 491 h 1724"/>
              <a:gd name="T82" fmla="*/ 248 w 1725"/>
              <a:gd name="T83" fmla="*/ 500 h 1724"/>
              <a:gd name="T84" fmla="*/ 212 w 1725"/>
              <a:gd name="T85" fmla="*/ 495 h 1724"/>
              <a:gd name="T86" fmla="*/ 178 w 1725"/>
              <a:gd name="T87" fmla="*/ 476 h 1724"/>
              <a:gd name="T88" fmla="*/ 151 w 1725"/>
              <a:gd name="T89" fmla="*/ 443 h 1724"/>
              <a:gd name="T90" fmla="*/ 131 w 1725"/>
              <a:gd name="T91" fmla="*/ 399 h 1724"/>
              <a:gd name="T92" fmla="*/ 122 w 1725"/>
              <a:gd name="T93" fmla="*/ 350 h 1724"/>
              <a:gd name="T94" fmla="*/ 124 w 1725"/>
              <a:gd name="T95" fmla="*/ 302 h 1724"/>
              <a:gd name="T96" fmla="*/ 135 w 1725"/>
              <a:gd name="T97" fmla="*/ 256 h 1724"/>
              <a:gd name="T98" fmla="*/ 157 w 1725"/>
              <a:gd name="T99" fmla="*/ 217 h 1724"/>
              <a:gd name="T100" fmla="*/ 80 w 1725"/>
              <a:gd name="T101" fmla="*/ 136 h 1724"/>
              <a:gd name="T102" fmla="*/ 30 w 1725"/>
              <a:gd name="T103" fmla="*/ 174 h 17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5"/>
              <a:gd name="T157" fmla="*/ 0 h 1724"/>
              <a:gd name="T158" fmla="*/ 1725 w 1725"/>
              <a:gd name="T159" fmla="*/ 1724 h 17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5" h="1724">
                <a:moveTo>
                  <a:pt x="106" y="450"/>
                </a:moveTo>
                <a:lnTo>
                  <a:pt x="78" y="504"/>
                </a:lnTo>
                <a:lnTo>
                  <a:pt x="54" y="561"/>
                </a:lnTo>
                <a:lnTo>
                  <a:pt x="35" y="619"/>
                </a:lnTo>
                <a:lnTo>
                  <a:pt x="19" y="678"/>
                </a:lnTo>
                <a:lnTo>
                  <a:pt x="9" y="739"/>
                </a:lnTo>
                <a:lnTo>
                  <a:pt x="2" y="800"/>
                </a:lnTo>
                <a:lnTo>
                  <a:pt x="0" y="861"/>
                </a:lnTo>
                <a:lnTo>
                  <a:pt x="2" y="923"/>
                </a:lnTo>
                <a:lnTo>
                  <a:pt x="9" y="984"/>
                </a:lnTo>
                <a:lnTo>
                  <a:pt x="21" y="1045"/>
                </a:lnTo>
                <a:lnTo>
                  <a:pt x="35" y="1105"/>
                </a:lnTo>
                <a:lnTo>
                  <a:pt x="55" y="1162"/>
                </a:lnTo>
                <a:lnTo>
                  <a:pt x="78" y="1220"/>
                </a:lnTo>
                <a:lnTo>
                  <a:pt x="106" y="1275"/>
                </a:lnTo>
                <a:lnTo>
                  <a:pt x="137" y="1328"/>
                </a:lnTo>
                <a:lnTo>
                  <a:pt x="172" y="1378"/>
                </a:lnTo>
                <a:lnTo>
                  <a:pt x="211" y="1426"/>
                </a:lnTo>
                <a:lnTo>
                  <a:pt x="253" y="1471"/>
                </a:lnTo>
                <a:lnTo>
                  <a:pt x="298" y="1513"/>
                </a:lnTo>
                <a:lnTo>
                  <a:pt x="346" y="1552"/>
                </a:lnTo>
                <a:lnTo>
                  <a:pt x="396" y="1586"/>
                </a:lnTo>
                <a:lnTo>
                  <a:pt x="449" y="1618"/>
                </a:lnTo>
                <a:lnTo>
                  <a:pt x="504" y="1646"/>
                </a:lnTo>
                <a:lnTo>
                  <a:pt x="561" y="1669"/>
                </a:lnTo>
                <a:lnTo>
                  <a:pt x="619" y="1689"/>
                </a:lnTo>
                <a:lnTo>
                  <a:pt x="679" y="1703"/>
                </a:lnTo>
                <a:lnTo>
                  <a:pt x="740" y="1715"/>
                </a:lnTo>
                <a:lnTo>
                  <a:pt x="801" y="1721"/>
                </a:lnTo>
                <a:lnTo>
                  <a:pt x="862" y="1723"/>
                </a:lnTo>
                <a:lnTo>
                  <a:pt x="924" y="1721"/>
                </a:lnTo>
                <a:lnTo>
                  <a:pt x="985" y="1715"/>
                </a:lnTo>
                <a:lnTo>
                  <a:pt x="1046" y="1703"/>
                </a:lnTo>
                <a:lnTo>
                  <a:pt x="1105" y="1689"/>
                </a:lnTo>
                <a:lnTo>
                  <a:pt x="1163" y="1669"/>
                </a:lnTo>
                <a:lnTo>
                  <a:pt x="1220" y="1646"/>
                </a:lnTo>
                <a:lnTo>
                  <a:pt x="1276" y="1618"/>
                </a:lnTo>
                <a:lnTo>
                  <a:pt x="1329" y="1586"/>
                </a:lnTo>
                <a:lnTo>
                  <a:pt x="1379" y="1552"/>
                </a:lnTo>
                <a:lnTo>
                  <a:pt x="1427" y="1513"/>
                </a:lnTo>
                <a:lnTo>
                  <a:pt x="1472" y="1471"/>
                </a:lnTo>
                <a:lnTo>
                  <a:pt x="1514" y="1426"/>
                </a:lnTo>
                <a:lnTo>
                  <a:pt x="1553" y="1378"/>
                </a:lnTo>
                <a:lnTo>
                  <a:pt x="1587" y="1328"/>
                </a:lnTo>
                <a:lnTo>
                  <a:pt x="1619" y="1275"/>
                </a:lnTo>
                <a:lnTo>
                  <a:pt x="1647" y="1220"/>
                </a:lnTo>
                <a:lnTo>
                  <a:pt x="1670" y="1162"/>
                </a:lnTo>
                <a:lnTo>
                  <a:pt x="1689" y="1105"/>
                </a:lnTo>
                <a:lnTo>
                  <a:pt x="1704" y="1045"/>
                </a:lnTo>
                <a:lnTo>
                  <a:pt x="1716" y="984"/>
                </a:lnTo>
                <a:lnTo>
                  <a:pt x="1722" y="923"/>
                </a:lnTo>
                <a:lnTo>
                  <a:pt x="1724" y="861"/>
                </a:lnTo>
                <a:lnTo>
                  <a:pt x="1722" y="799"/>
                </a:lnTo>
                <a:lnTo>
                  <a:pt x="1715" y="737"/>
                </a:lnTo>
                <a:lnTo>
                  <a:pt x="1704" y="675"/>
                </a:lnTo>
                <a:lnTo>
                  <a:pt x="1688" y="615"/>
                </a:lnTo>
                <a:lnTo>
                  <a:pt x="1668" y="555"/>
                </a:lnTo>
                <a:lnTo>
                  <a:pt x="1643" y="498"/>
                </a:lnTo>
                <a:lnTo>
                  <a:pt x="1616" y="442"/>
                </a:lnTo>
                <a:lnTo>
                  <a:pt x="1583" y="389"/>
                </a:lnTo>
                <a:lnTo>
                  <a:pt x="1547" y="337"/>
                </a:lnTo>
                <a:lnTo>
                  <a:pt x="1507" y="289"/>
                </a:lnTo>
                <a:lnTo>
                  <a:pt x="1464" y="244"/>
                </a:lnTo>
                <a:lnTo>
                  <a:pt x="1417" y="201"/>
                </a:lnTo>
                <a:lnTo>
                  <a:pt x="1367" y="163"/>
                </a:lnTo>
                <a:lnTo>
                  <a:pt x="1316" y="129"/>
                </a:lnTo>
                <a:lnTo>
                  <a:pt x="1262" y="98"/>
                </a:lnTo>
                <a:lnTo>
                  <a:pt x="1205" y="70"/>
                </a:lnTo>
                <a:lnTo>
                  <a:pt x="1147" y="47"/>
                </a:lnTo>
                <a:lnTo>
                  <a:pt x="1087" y="29"/>
                </a:lnTo>
                <a:lnTo>
                  <a:pt x="1026" y="15"/>
                </a:lnTo>
                <a:lnTo>
                  <a:pt x="964" y="6"/>
                </a:lnTo>
                <a:lnTo>
                  <a:pt x="902" y="0"/>
                </a:lnTo>
                <a:lnTo>
                  <a:pt x="839" y="0"/>
                </a:lnTo>
                <a:lnTo>
                  <a:pt x="777" y="4"/>
                </a:lnTo>
                <a:lnTo>
                  <a:pt x="715" y="12"/>
                </a:lnTo>
                <a:lnTo>
                  <a:pt x="654" y="26"/>
                </a:lnTo>
                <a:lnTo>
                  <a:pt x="594" y="43"/>
                </a:lnTo>
                <a:lnTo>
                  <a:pt x="534" y="64"/>
                </a:lnTo>
                <a:lnTo>
                  <a:pt x="478" y="90"/>
                </a:lnTo>
                <a:lnTo>
                  <a:pt x="423" y="120"/>
                </a:lnTo>
                <a:lnTo>
                  <a:pt x="370" y="154"/>
                </a:lnTo>
                <a:lnTo>
                  <a:pt x="321" y="191"/>
                </a:lnTo>
                <a:lnTo>
                  <a:pt x="273" y="232"/>
                </a:lnTo>
                <a:lnTo>
                  <a:pt x="229" y="277"/>
                </a:lnTo>
                <a:lnTo>
                  <a:pt x="188" y="324"/>
                </a:lnTo>
                <a:lnTo>
                  <a:pt x="447" y="304"/>
                </a:lnTo>
                <a:lnTo>
                  <a:pt x="591" y="532"/>
                </a:lnTo>
                <a:lnTo>
                  <a:pt x="624" y="507"/>
                </a:lnTo>
                <a:lnTo>
                  <a:pt x="660" y="484"/>
                </a:lnTo>
                <a:lnTo>
                  <a:pt x="697" y="466"/>
                </a:lnTo>
                <a:lnTo>
                  <a:pt x="738" y="451"/>
                </a:lnTo>
                <a:lnTo>
                  <a:pt x="778" y="440"/>
                </a:lnTo>
                <a:lnTo>
                  <a:pt x="821" y="433"/>
                </a:lnTo>
                <a:lnTo>
                  <a:pt x="863" y="431"/>
                </a:lnTo>
                <a:lnTo>
                  <a:pt x="904" y="432"/>
                </a:lnTo>
                <a:lnTo>
                  <a:pt x="947" y="438"/>
                </a:lnTo>
                <a:lnTo>
                  <a:pt x="988" y="448"/>
                </a:lnTo>
                <a:lnTo>
                  <a:pt x="1027" y="462"/>
                </a:lnTo>
                <a:lnTo>
                  <a:pt x="1066" y="481"/>
                </a:lnTo>
                <a:lnTo>
                  <a:pt x="1103" y="502"/>
                </a:lnTo>
                <a:lnTo>
                  <a:pt x="1137" y="528"/>
                </a:lnTo>
                <a:lnTo>
                  <a:pt x="1169" y="555"/>
                </a:lnTo>
                <a:lnTo>
                  <a:pt x="1196" y="587"/>
                </a:lnTo>
                <a:lnTo>
                  <a:pt x="1222" y="621"/>
                </a:lnTo>
                <a:lnTo>
                  <a:pt x="1243" y="658"/>
                </a:lnTo>
                <a:lnTo>
                  <a:pt x="1262" y="696"/>
                </a:lnTo>
                <a:lnTo>
                  <a:pt x="1276" y="736"/>
                </a:lnTo>
                <a:lnTo>
                  <a:pt x="1286" y="777"/>
                </a:lnTo>
                <a:lnTo>
                  <a:pt x="1292" y="820"/>
                </a:lnTo>
                <a:lnTo>
                  <a:pt x="1293" y="861"/>
                </a:lnTo>
                <a:lnTo>
                  <a:pt x="1291" y="905"/>
                </a:lnTo>
                <a:lnTo>
                  <a:pt x="1285" y="948"/>
                </a:lnTo>
                <a:lnTo>
                  <a:pt x="1273" y="991"/>
                </a:lnTo>
                <a:lnTo>
                  <a:pt x="1258" y="1031"/>
                </a:lnTo>
                <a:lnTo>
                  <a:pt x="1239" y="1070"/>
                </a:lnTo>
                <a:lnTo>
                  <a:pt x="1216" y="1108"/>
                </a:lnTo>
                <a:lnTo>
                  <a:pt x="1189" y="1143"/>
                </a:lnTo>
                <a:lnTo>
                  <a:pt x="1160" y="1174"/>
                </a:lnTo>
                <a:lnTo>
                  <a:pt x="1126" y="1202"/>
                </a:lnTo>
                <a:lnTo>
                  <a:pt x="1091" y="1228"/>
                </a:lnTo>
                <a:lnTo>
                  <a:pt x="1053" y="1248"/>
                </a:lnTo>
                <a:lnTo>
                  <a:pt x="1012" y="1266"/>
                </a:lnTo>
                <a:lnTo>
                  <a:pt x="970" y="1278"/>
                </a:lnTo>
                <a:lnTo>
                  <a:pt x="927" y="1287"/>
                </a:lnTo>
                <a:lnTo>
                  <a:pt x="884" y="1292"/>
                </a:lnTo>
                <a:lnTo>
                  <a:pt x="840" y="1292"/>
                </a:lnTo>
                <a:lnTo>
                  <a:pt x="797" y="1287"/>
                </a:lnTo>
                <a:lnTo>
                  <a:pt x="754" y="1278"/>
                </a:lnTo>
                <a:lnTo>
                  <a:pt x="712" y="1266"/>
                </a:lnTo>
                <a:lnTo>
                  <a:pt x="672" y="1248"/>
                </a:lnTo>
                <a:lnTo>
                  <a:pt x="634" y="1228"/>
                </a:lnTo>
                <a:lnTo>
                  <a:pt x="599" y="1202"/>
                </a:lnTo>
                <a:lnTo>
                  <a:pt x="565" y="1174"/>
                </a:lnTo>
                <a:lnTo>
                  <a:pt x="535" y="1143"/>
                </a:lnTo>
                <a:lnTo>
                  <a:pt x="509" y="1108"/>
                </a:lnTo>
                <a:lnTo>
                  <a:pt x="485" y="1070"/>
                </a:lnTo>
                <a:lnTo>
                  <a:pt x="466" y="1031"/>
                </a:lnTo>
                <a:lnTo>
                  <a:pt x="452" y="991"/>
                </a:lnTo>
                <a:lnTo>
                  <a:pt x="440" y="948"/>
                </a:lnTo>
                <a:lnTo>
                  <a:pt x="433" y="905"/>
                </a:lnTo>
                <a:lnTo>
                  <a:pt x="431" y="861"/>
                </a:lnTo>
                <a:lnTo>
                  <a:pt x="435" y="820"/>
                </a:lnTo>
                <a:lnTo>
                  <a:pt x="442" y="779"/>
                </a:lnTo>
                <a:lnTo>
                  <a:pt x="452" y="739"/>
                </a:lnTo>
                <a:lnTo>
                  <a:pt x="465" y="699"/>
                </a:lnTo>
                <a:lnTo>
                  <a:pt x="481" y="661"/>
                </a:lnTo>
                <a:lnTo>
                  <a:pt x="501" y="624"/>
                </a:lnTo>
                <a:lnTo>
                  <a:pt x="623" y="670"/>
                </a:lnTo>
                <a:lnTo>
                  <a:pt x="560" y="559"/>
                </a:lnTo>
                <a:lnTo>
                  <a:pt x="494" y="447"/>
                </a:lnTo>
                <a:lnTo>
                  <a:pt x="426" y="339"/>
                </a:lnTo>
                <a:lnTo>
                  <a:pt x="285" y="350"/>
                </a:lnTo>
                <a:lnTo>
                  <a:pt x="146" y="365"/>
                </a:lnTo>
                <a:lnTo>
                  <a:pt x="6" y="382"/>
                </a:lnTo>
                <a:lnTo>
                  <a:pt x="106" y="450"/>
                </a:lnTo>
              </a:path>
            </a:pathLst>
          </a:custGeom>
          <a:solidFill>
            <a:schemeClr val="accent1"/>
          </a:solidFill>
          <a:ln w="12700" cap="rnd">
            <a:noFill/>
            <a:round/>
            <a:headEnd/>
            <a:tailEnd/>
          </a:ln>
        </p:spPr>
        <p:txBody>
          <a:bodyPr/>
          <a:lstStyle/>
          <a:p>
            <a:endParaRPr lang="en-GB" sz="1400">
              <a:solidFill>
                <a:schemeClr val="bg1"/>
              </a:solidFill>
            </a:endParaRPr>
          </a:p>
        </p:txBody>
      </p:sp>
      <p:sp>
        <p:nvSpPr>
          <p:cNvPr id="76" name="Rectangle 5"/>
          <p:cNvSpPr>
            <a:spLocks noChangeArrowheads="1"/>
          </p:cNvSpPr>
          <p:nvPr/>
        </p:nvSpPr>
        <p:spPr bwMode="auto">
          <a:xfrm>
            <a:off x="621386" y="2240353"/>
            <a:ext cx="454136"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a:solidFill>
                  <a:schemeClr val="bg1"/>
                </a:solidFill>
              </a:rPr>
              <a:t>Text</a:t>
            </a:r>
          </a:p>
        </p:txBody>
      </p:sp>
      <p:sp>
        <p:nvSpPr>
          <p:cNvPr id="77" name="Rectangle 6"/>
          <p:cNvSpPr>
            <a:spLocks noChangeArrowheads="1"/>
          </p:cNvSpPr>
          <p:nvPr/>
        </p:nvSpPr>
        <p:spPr bwMode="auto">
          <a:xfrm>
            <a:off x="1419565" y="1529153"/>
            <a:ext cx="454136"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78" name="Rectangle 7"/>
          <p:cNvSpPr>
            <a:spLocks noChangeArrowheads="1"/>
          </p:cNvSpPr>
          <p:nvPr/>
        </p:nvSpPr>
        <p:spPr bwMode="auto">
          <a:xfrm>
            <a:off x="1419565" y="3143641"/>
            <a:ext cx="454136"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a:solidFill>
                  <a:schemeClr val="bg1"/>
                </a:solidFill>
              </a:rPr>
              <a:t>Text</a:t>
            </a:r>
          </a:p>
        </p:txBody>
      </p:sp>
      <p:grpSp>
        <p:nvGrpSpPr>
          <p:cNvPr id="5" name="Group 98"/>
          <p:cNvGrpSpPr/>
          <p:nvPr/>
        </p:nvGrpSpPr>
        <p:grpSpPr>
          <a:xfrm>
            <a:off x="6188075" y="1314451"/>
            <a:ext cx="2376488" cy="2217737"/>
            <a:chOff x="6188075" y="1314451"/>
            <a:chExt cx="2376488" cy="2217737"/>
          </a:xfrm>
        </p:grpSpPr>
        <p:sp>
          <p:nvSpPr>
            <p:cNvPr id="56" name="Freeform 12"/>
            <p:cNvSpPr>
              <a:spLocks/>
            </p:cNvSpPr>
            <p:nvPr/>
          </p:nvSpPr>
          <p:spPr bwMode="blackWhite">
            <a:xfrm>
              <a:off x="6365875" y="1314451"/>
              <a:ext cx="1976438" cy="939800"/>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solidFill>
              <a:schemeClr val="accent1"/>
            </a:solidFill>
            <a:ln w="12700" cap="rnd">
              <a:noFill/>
              <a:round/>
              <a:headEnd/>
              <a:tailEnd/>
            </a:ln>
          </p:spPr>
          <p:txBody>
            <a:bodyPr/>
            <a:lstStyle/>
            <a:p>
              <a:endParaRPr lang="en-GB" sz="1200">
                <a:solidFill>
                  <a:schemeClr val="bg1"/>
                </a:solidFill>
              </a:endParaRPr>
            </a:p>
          </p:txBody>
        </p:sp>
        <p:sp>
          <p:nvSpPr>
            <p:cNvPr id="57" name="Freeform 13"/>
            <p:cNvSpPr>
              <a:spLocks/>
            </p:cNvSpPr>
            <p:nvPr/>
          </p:nvSpPr>
          <p:spPr bwMode="blackWhite">
            <a:xfrm>
              <a:off x="6188075" y="2143126"/>
              <a:ext cx="1554163" cy="1336675"/>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solidFill>
              <a:schemeClr val="accent3"/>
            </a:solidFill>
            <a:ln w="12700" cap="rnd">
              <a:noFill/>
              <a:round/>
              <a:headEnd/>
              <a:tailEnd/>
            </a:ln>
          </p:spPr>
          <p:txBody>
            <a:bodyPr/>
            <a:lstStyle/>
            <a:p>
              <a:pPr>
                <a:defRPr/>
              </a:pPr>
              <a:endParaRPr lang="en-GB" sz="1200">
                <a:solidFill>
                  <a:schemeClr val="bg1"/>
                </a:solidFill>
              </a:endParaRPr>
            </a:p>
          </p:txBody>
        </p:sp>
        <p:sp>
          <p:nvSpPr>
            <p:cNvPr id="58" name="Freeform 14"/>
            <p:cNvSpPr>
              <a:spLocks/>
            </p:cNvSpPr>
            <p:nvPr/>
          </p:nvSpPr>
          <p:spPr bwMode="blackWhite">
            <a:xfrm>
              <a:off x="7554913" y="1735138"/>
              <a:ext cx="1009650" cy="1797050"/>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solidFill>
              <a:schemeClr val="accent2"/>
            </a:solidFill>
            <a:ln w="12700" cap="rnd">
              <a:noFill/>
              <a:round/>
              <a:headEnd/>
              <a:tailEnd/>
            </a:ln>
          </p:spPr>
          <p:txBody>
            <a:bodyPr/>
            <a:lstStyle/>
            <a:p>
              <a:endParaRPr lang="en-GB" sz="1200">
                <a:solidFill>
                  <a:schemeClr val="bg1"/>
                </a:solidFill>
              </a:endParaRPr>
            </a:p>
          </p:txBody>
        </p:sp>
        <p:sp>
          <p:nvSpPr>
            <p:cNvPr id="79" name="Rectangle 33"/>
            <p:cNvSpPr>
              <a:spLocks noChangeArrowheads="1"/>
            </p:cNvSpPr>
            <p:nvPr/>
          </p:nvSpPr>
          <p:spPr bwMode="blackWhite">
            <a:xfrm>
              <a:off x="7038975" y="1579563"/>
              <a:ext cx="514350"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a:solidFill>
                    <a:schemeClr val="bg1"/>
                  </a:solidFill>
                </a:rPr>
                <a:t>Text</a:t>
              </a:r>
            </a:p>
          </p:txBody>
        </p:sp>
        <p:sp>
          <p:nvSpPr>
            <p:cNvPr id="83" name="Rectangle 37"/>
            <p:cNvSpPr>
              <a:spLocks noChangeArrowheads="1"/>
            </p:cNvSpPr>
            <p:nvPr/>
          </p:nvSpPr>
          <p:spPr bwMode="blackWhite">
            <a:xfrm>
              <a:off x="8029575" y="2570163"/>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a:solidFill>
                    <a:schemeClr val="bg1"/>
                  </a:solidFill>
                </a:rPr>
                <a:t>Text</a:t>
              </a:r>
            </a:p>
          </p:txBody>
        </p:sp>
        <p:sp>
          <p:nvSpPr>
            <p:cNvPr id="84" name="Rectangle 38"/>
            <p:cNvSpPr>
              <a:spLocks noChangeArrowheads="1"/>
            </p:cNvSpPr>
            <p:nvPr/>
          </p:nvSpPr>
          <p:spPr bwMode="blackWhite">
            <a:xfrm>
              <a:off x="6581775" y="2798763"/>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a:solidFill>
                    <a:schemeClr val="bg1"/>
                  </a:solidFill>
                </a:rPr>
                <a:t>Text</a:t>
              </a:r>
            </a:p>
          </p:txBody>
        </p:sp>
      </p:grpSp>
      <p:grpSp>
        <p:nvGrpSpPr>
          <p:cNvPr id="6" name="Group 96"/>
          <p:cNvGrpSpPr/>
          <p:nvPr/>
        </p:nvGrpSpPr>
        <p:grpSpPr>
          <a:xfrm>
            <a:off x="6230938" y="3571641"/>
            <a:ext cx="2295525" cy="2530215"/>
            <a:chOff x="6230938" y="3571641"/>
            <a:chExt cx="2295525" cy="2530215"/>
          </a:xfrm>
        </p:grpSpPr>
        <p:sp>
          <p:nvSpPr>
            <p:cNvPr id="68" name="Freeform 24"/>
            <p:cNvSpPr>
              <a:spLocks/>
            </p:cNvSpPr>
            <p:nvPr/>
          </p:nvSpPr>
          <p:spPr bwMode="blackWhite">
            <a:xfrm>
              <a:off x="7405688" y="3741244"/>
              <a:ext cx="1065212" cy="868362"/>
            </a:xfrm>
            <a:custGeom>
              <a:avLst/>
              <a:gdLst>
                <a:gd name="T0" fmla="*/ 2147483647 w 869"/>
                <a:gd name="T1" fmla="*/ 2147483647 h 712"/>
                <a:gd name="T2" fmla="*/ 2147483647 w 869"/>
                <a:gd name="T3" fmla="*/ 2147483647 h 712"/>
                <a:gd name="T4" fmla="*/ 2147483647 w 869"/>
                <a:gd name="T5" fmla="*/ 2147483647 h 712"/>
                <a:gd name="T6" fmla="*/ 2147483647 w 869"/>
                <a:gd name="T7" fmla="*/ 2147483647 h 712"/>
                <a:gd name="T8" fmla="*/ 2147483647 w 869"/>
                <a:gd name="T9" fmla="*/ 2147483647 h 712"/>
                <a:gd name="T10" fmla="*/ 2147483647 w 869"/>
                <a:gd name="T11" fmla="*/ 2147483647 h 712"/>
                <a:gd name="T12" fmla="*/ 2147483647 w 869"/>
                <a:gd name="T13" fmla="*/ 2147483647 h 712"/>
                <a:gd name="T14" fmla="*/ 2147483647 w 869"/>
                <a:gd name="T15" fmla="*/ 2147483647 h 712"/>
                <a:gd name="T16" fmla="*/ 2147483647 w 869"/>
                <a:gd name="T17" fmla="*/ 2147483647 h 712"/>
                <a:gd name="T18" fmla="*/ 2147483647 w 869"/>
                <a:gd name="T19" fmla="*/ 2147483647 h 712"/>
                <a:gd name="T20" fmla="*/ 2147483647 w 869"/>
                <a:gd name="T21" fmla="*/ 2147483647 h 712"/>
                <a:gd name="T22" fmla="*/ 2147483647 w 869"/>
                <a:gd name="T23" fmla="*/ 2147483647 h 712"/>
                <a:gd name="T24" fmla="*/ 2147483647 w 869"/>
                <a:gd name="T25" fmla="*/ 2147483647 h 712"/>
                <a:gd name="T26" fmla="*/ 2147483647 w 869"/>
                <a:gd name="T27" fmla="*/ 2147483647 h 712"/>
                <a:gd name="T28" fmla="*/ 2147483647 w 869"/>
                <a:gd name="T29" fmla="*/ 2147483647 h 712"/>
                <a:gd name="T30" fmla="*/ 2147483647 w 869"/>
                <a:gd name="T31" fmla="*/ 2147483647 h 712"/>
                <a:gd name="T32" fmla="*/ 2147483647 w 869"/>
                <a:gd name="T33" fmla="*/ 2147483647 h 712"/>
                <a:gd name="T34" fmla="*/ 2147483647 w 869"/>
                <a:gd name="T35" fmla="*/ 2147483647 h 712"/>
                <a:gd name="T36" fmla="*/ 2147483647 w 869"/>
                <a:gd name="T37" fmla="*/ 2147483647 h 712"/>
                <a:gd name="T38" fmla="*/ 0 w 869"/>
                <a:gd name="T39" fmla="*/ 0 h 712"/>
                <a:gd name="T40" fmla="*/ 2147483647 w 869"/>
                <a:gd name="T41" fmla="*/ 2147483647 h 712"/>
                <a:gd name="T42" fmla="*/ 2147483647 w 869"/>
                <a:gd name="T43" fmla="*/ 2147483647 h 712"/>
                <a:gd name="T44" fmla="*/ 2147483647 w 869"/>
                <a:gd name="T45" fmla="*/ 2147483647 h 712"/>
                <a:gd name="T46" fmla="*/ 2147483647 w 869"/>
                <a:gd name="T47" fmla="*/ 2147483647 h 712"/>
                <a:gd name="T48" fmla="*/ 2147483647 w 869"/>
                <a:gd name="T49" fmla="*/ 2147483647 h 712"/>
                <a:gd name="T50" fmla="*/ 2147483647 w 869"/>
                <a:gd name="T51" fmla="*/ 2147483647 h 712"/>
                <a:gd name="T52" fmla="*/ 2147483647 w 869"/>
                <a:gd name="T53" fmla="*/ 2147483647 h 712"/>
                <a:gd name="T54" fmla="*/ 2147483647 w 869"/>
                <a:gd name="T55" fmla="*/ 2147483647 h 712"/>
                <a:gd name="T56" fmla="*/ 2147483647 w 869"/>
                <a:gd name="T57" fmla="*/ 2147483647 h 712"/>
                <a:gd name="T58" fmla="*/ 2147483647 w 869"/>
                <a:gd name="T59" fmla="*/ 2147483647 h 712"/>
                <a:gd name="T60" fmla="*/ 2147483647 w 869"/>
                <a:gd name="T61" fmla="*/ 2147483647 h 7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69"/>
                <a:gd name="T94" fmla="*/ 0 h 712"/>
                <a:gd name="T95" fmla="*/ 869 w 869"/>
                <a:gd name="T96" fmla="*/ 712 h 7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69" h="712">
                  <a:moveTo>
                    <a:pt x="192" y="710"/>
                  </a:moveTo>
                  <a:lnTo>
                    <a:pt x="657" y="711"/>
                  </a:lnTo>
                  <a:lnTo>
                    <a:pt x="731" y="583"/>
                  </a:lnTo>
                  <a:lnTo>
                    <a:pt x="801" y="452"/>
                  </a:lnTo>
                  <a:lnTo>
                    <a:pt x="868" y="319"/>
                  </a:lnTo>
                  <a:lnTo>
                    <a:pt x="729" y="400"/>
                  </a:lnTo>
                  <a:lnTo>
                    <a:pt x="694" y="349"/>
                  </a:lnTo>
                  <a:lnTo>
                    <a:pt x="655" y="301"/>
                  </a:lnTo>
                  <a:lnTo>
                    <a:pt x="613" y="256"/>
                  </a:lnTo>
                  <a:lnTo>
                    <a:pt x="567" y="213"/>
                  </a:lnTo>
                  <a:lnTo>
                    <a:pt x="519" y="175"/>
                  </a:lnTo>
                  <a:lnTo>
                    <a:pt x="467" y="140"/>
                  </a:lnTo>
                  <a:lnTo>
                    <a:pt x="415" y="108"/>
                  </a:lnTo>
                  <a:lnTo>
                    <a:pt x="360" y="80"/>
                  </a:lnTo>
                  <a:lnTo>
                    <a:pt x="302" y="56"/>
                  </a:lnTo>
                  <a:lnTo>
                    <a:pt x="244" y="36"/>
                  </a:lnTo>
                  <a:lnTo>
                    <a:pt x="184" y="21"/>
                  </a:lnTo>
                  <a:lnTo>
                    <a:pt x="123" y="9"/>
                  </a:lnTo>
                  <a:lnTo>
                    <a:pt x="61" y="2"/>
                  </a:lnTo>
                  <a:lnTo>
                    <a:pt x="0" y="0"/>
                  </a:lnTo>
                  <a:lnTo>
                    <a:pt x="164" y="206"/>
                  </a:lnTo>
                  <a:lnTo>
                    <a:pt x="63" y="445"/>
                  </a:lnTo>
                  <a:lnTo>
                    <a:pt x="104" y="455"/>
                  </a:lnTo>
                  <a:lnTo>
                    <a:pt x="145" y="468"/>
                  </a:lnTo>
                  <a:lnTo>
                    <a:pt x="184" y="485"/>
                  </a:lnTo>
                  <a:lnTo>
                    <a:pt x="221" y="505"/>
                  </a:lnTo>
                  <a:lnTo>
                    <a:pt x="256" y="530"/>
                  </a:lnTo>
                  <a:lnTo>
                    <a:pt x="290" y="557"/>
                  </a:lnTo>
                  <a:lnTo>
                    <a:pt x="320" y="587"/>
                  </a:lnTo>
                  <a:lnTo>
                    <a:pt x="348" y="620"/>
                  </a:lnTo>
                  <a:lnTo>
                    <a:pt x="192" y="710"/>
                  </a:lnTo>
                </a:path>
              </a:pathLst>
            </a:custGeom>
            <a:solidFill>
              <a:schemeClr val="accent1"/>
            </a:solidFill>
            <a:ln w="12700" cap="rnd">
              <a:noFill/>
              <a:round/>
              <a:headEnd/>
              <a:tailEnd/>
            </a:ln>
          </p:spPr>
          <p:txBody>
            <a:bodyPr/>
            <a:lstStyle/>
            <a:p>
              <a:endParaRPr lang="en-GB" sz="1200">
                <a:solidFill>
                  <a:schemeClr val="bg1"/>
                </a:solidFill>
              </a:endParaRPr>
            </a:p>
          </p:txBody>
        </p:sp>
        <p:sp>
          <p:nvSpPr>
            <p:cNvPr id="69" name="Freeform 25"/>
            <p:cNvSpPr>
              <a:spLocks/>
            </p:cNvSpPr>
            <p:nvPr/>
          </p:nvSpPr>
          <p:spPr bwMode="blackWhite">
            <a:xfrm>
              <a:off x="7708900" y="4379419"/>
              <a:ext cx="817563" cy="1044575"/>
            </a:xfrm>
            <a:custGeom>
              <a:avLst/>
              <a:gdLst>
                <a:gd name="T0" fmla="*/ 2147483647 w 667"/>
                <a:gd name="T1" fmla="*/ 2147483647 h 856"/>
                <a:gd name="T2" fmla="*/ 2147483647 w 667"/>
                <a:gd name="T3" fmla="*/ 2147483647 h 856"/>
                <a:gd name="T4" fmla="*/ 2147483647 w 667"/>
                <a:gd name="T5" fmla="*/ 2147483647 h 856"/>
                <a:gd name="T6" fmla="*/ 2147483647 w 667"/>
                <a:gd name="T7" fmla="*/ 2147483647 h 856"/>
                <a:gd name="T8" fmla="*/ 2147483647 w 667"/>
                <a:gd name="T9" fmla="*/ 2147483647 h 856"/>
                <a:gd name="T10" fmla="*/ 2147483647 w 667"/>
                <a:gd name="T11" fmla="*/ 2147483647 h 856"/>
                <a:gd name="T12" fmla="*/ 2147483647 w 667"/>
                <a:gd name="T13" fmla="*/ 2147483647 h 856"/>
                <a:gd name="T14" fmla="*/ 2147483647 w 667"/>
                <a:gd name="T15" fmla="*/ 2147483647 h 856"/>
                <a:gd name="T16" fmla="*/ 2147483647 w 667"/>
                <a:gd name="T17" fmla="*/ 2147483647 h 856"/>
                <a:gd name="T18" fmla="*/ 2147483647 w 667"/>
                <a:gd name="T19" fmla="*/ 2147483647 h 856"/>
                <a:gd name="T20" fmla="*/ 2147483647 w 667"/>
                <a:gd name="T21" fmla="*/ 2147483647 h 856"/>
                <a:gd name="T22" fmla="*/ 2147483647 w 667"/>
                <a:gd name="T23" fmla="*/ 2147483647 h 856"/>
                <a:gd name="T24" fmla="*/ 2147483647 w 667"/>
                <a:gd name="T25" fmla="*/ 2147483647 h 856"/>
                <a:gd name="T26" fmla="*/ 2147483647 w 667"/>
                <a:gd name="T27" fmla="*/ 2147483647 h 856"/>
                <a:gd name="T28" fmla="*/ 2147483647 w 667"/>
                <a:gd name="T29" fmla="*/ 2147483647 h 856"/>
                <a:gd name="T30" fmla="*/ 2147483647 w 667"/>
                <a:gd name="T31" fmla="*/ 0 h 856"/>
                <a:gd name="T32" fmla="*/ 2147483647 w 667"/>
                <a:gd name="T33" fmla="*/ 2147483647 h 856"/>
                <a:gd name="T34" fmla="*/ 2147483647 w 667"/>
                <a:gd name="T35" fmla="*/ 2147483647 h 856"/>
                <a:gd name="T36" fmla="*/ 2147483647 w 667"/>
                <a:gd name="T37" fmla="*/ 2147483647 h 856"/>
                <a:gd name="T38" fmla="*/ 2147483647 w 667"/>
                <a:gd name="T39" fmla="*/ 2147483647 h 856"/>
                <a:gd name="T40" fmla="*/ 2147483647 w 667"/>
                <a:gd name="T41" fmla="*/ 2147483647 h 856"/>
                <a:gd name="T42" fmla="*/ 2147483647 w 667"/>
                <a:gd name="T43" fmla="*/ 2147483647 h 856"/>
                <a:gd name="T44" fmla="*/ 2147483647 w 667"/>
                <a:gd name="T45" fmla="*/ 2147483647 h 856"/>
                <a:gd name="T46" fmla="*/ 2147483647 w 667"/>
                <a:gd name="T47" fmla="*/ 2147483647 h 856"/>
                <a:gd name="T48" fmla="*/ 2147483647 w 667"/>
                <a:gd name="T49" fmla="*/ 2147483647 h 856"/>
                <a:gd name="T50" fmla="*/ 2147483647 w 667"/>
                <a:gd name="T51" fmla="*/ 2147483647 h 856"/>
                <a:gd name="T52" fmla="*/ 0 w 667"/>
                <a:gd name="T53" fmla="*/ 2147483647 h 856"/>
                <a:gd name="T54" fmla="*/ 2147483647 w 667"/>
                <a:gd name="T55" fmla="*/ 2147483647 h 85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7"/>
                <a:gd name="T85" fmla="*/ 0 h 856"/>
                <a:gd name="T86" fmla="*/ 667 w 667"/>
                <a:gd name="T87" fmla="*/ 856 h 85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7" h="856">
                  <a:moveTo>
                    <a:pt x="205" y="855"/>
                  </a:moveTo>
                  <a:lnTo>
                    <a:pt x="666" y="846"/>
                  </a:lnTo>
                  <a:lnTo>
                    <a:pt x="523" y="764"/>
                  </a:lnTo>
                  <a:lnTo>
                    <a:pt x="551" y="709"/>
                  </a:lnTo>
                  <a:lnTo>
                    <a:pt x="574" y="653"/>
                  </a:lnTo>
                  <a:lnTo>
                    <a:pt x="593" y="595"/>
                  </a:lnTo>
                  <a:lnTo>
                    <a:pt x="608" y="535"/>
                  </a:lnTo>
                  <a:lnTo>
                    <a:pt x="619" y="476"/>
                  </a:lnTo>
                  <a:lnTo>
                    <a:pt x="625" y="415"/>
                  </a:lnTo>
                  <a:lnTo>
                    <a:pt x="627" y="354"/>
                  </a:lnTo>
                  <a:lnTo>
                    <a:pt x="625" y="293"/>
                  </a:lnTo>
                  <a:lnTo>
                    <a:pt x="618" y="233"/>
                  </a:lnTo>
                  <a:lnTo>
                    <a:pt x="607" y="172"/>
                  </a:lnTo>
                  <a:lnTo>
                    <a:pt x="592" y="114"/>
                  </a:lnTo>
                  <a:lnTo>
                    <a:pt x="572" y="56"/>
                  </a:lnTo>
                  <a:lnTo>
                    <a:pt x="549" y="0"/>
                  </a:lnTo>
                  <a:lnTo>
                    <a:pt x="427" y="219"/>
                  </a:lnTo>
                  <a:lnTo>
                    <a:pt x="163" y="216"/>
                  </a:lnTo>
                  <a:lnTo>
                    <a:pt x="174" y="255"/>
                  </a:lnTo>
                  <a:lnTo>
                    <a:pt x="181" y="298"/>
                  </a:lnTo>
                  <a:lnTo>
                    <a:pt x="184" y="340"/>
                  </a:lnTo>
                  <a:lnTo>
                    <a:pt x="183" y="381"/>
                  </a:lnTo>
                  <a:lnTo>
                    <a:pt x="178" y="423"/>
                  </a:lnTo>
                  <a:lnTo>
                    <a:pt x="170" y="464"/>
                  </a:lnTo>
                  <a:lnTo>
                    <a:pt x="158" y="505"/>
                  </a:lnTo>
                  <a:lnTo>
                    <a:pt x="142" y="544"/>
                  </a:lnTo>
                  <a:lnTo>
                    <a:pt x="0" y="465"/>
                  </a:lnTo>
                  <a:lnTo>
                    <a:pt x="205" y="855"/>
                  </a:lnTo>
                </a:path>
              </a:pathLst>
            </a:custGeom>
            <a:solidFill>
              <a:schemeClr val="accent2"/>
            </a:solidFill>
            <a:ln w="12700" cap="rnd">
              <a:noFill/>
              <a:round/>
              <a:headEnd/>
              <a:tailEnd/>
            </a:ln>
          </p:spPr>
          <p:txBody>
            <a:bodyPr/>
            <a:lstStyle/>
            <a:p>
              <a:endParaRPr lang="en-GB" sz="1200">
                <a:solidFill>
                  <a:schemeClr val="bg1"/>
                </a:solidFill>
              </a:endParaRPr>
            </a:p>
          </p:txBody>
        </p:sp>
        <p:sp>
          <p:nvSpPr>
            <p:cNvPr id="70" name="Freeform 26"/>
            <p:cNvSpPr>
              <a:spLocks/>
            </p:cNvSpPr>
            <p:nvPr/>
          </p:nvSpPr>
          <p:spPr bwMode="blackWhite">
            <a:xfrm>
              <a:off x="7192963" y="5146181"/>
              <a:ext cx="1074737" cy="955675"/>
            </a:xfrm>
            <a:custGeom>
              <a:avLst/>
              <a:gdLst>
                <a:gd name="T0" fmla="*/ 0 w 877"/>
                <a:gd name="T1" fmla="*/ 476619 h 784"/>
                <a:gd name="T2" fmla="*/ 269603 w 877"/>
                <a:gd name="T3" fmla="*/ 954456 h 784"/>
                <a:gd name="T4" fmla="*/ 269603 w 877"/>
                <a:gd name="T5" fmla="*/ 735041 h 784"/>
                <a:gd name="T6" fmla="*/ 341906 w 877"/>
                <a:gd name="T7" fmla="*/ 730165 h 784"/>
                <a:gd name="T8" fmla="*/ 412983 w 877"/>
                <a:gd name="T9" fmla="*/ 716756 h 784"/>
                <a:gd name="T10" fmla="*/ 482835 w 877"/>
                <a:gd name="T11" fmla="*/ 700910 h 784"/>
                <a:gd name="T12" fmla="*/ 551461 w 877"/>
                <a:gd name="T13" fmla="*/ 680187 h 784"/>
                <a:gd name="T14" fmla="*/ 618862 w 877"/>
                <a:gd name="T15" fmla="*/ 654589 h 784"/>
                <a:gd name="T16" fmla="*/ 685038 w 877"/>
                <a:gd name="T17" fmla="*/ 625333 h 784"/>
                <a:gd name="T18" fmla="*/ 748762 w 877"/>
                <a:gd name="T19" fmla="*/ 591202 h 784"/>
                <a:gd name="T20" fmla="*/ 810036 w 877"/>
                <a:gd name="T21" fmla="*/ 553414 h 784"/>
                <a:gd name="T22" fmla="*/ 867633 w 877"/>
                <a:gd name="T23" fmla="*/ 509531 h 784"/>
                <a:gd name="T24" fmla="*/ 925230 w 877"/>
                <a:gd name="T25" fmla="*/ 463210 h 784"/>
                <a:gd name="T26" fmla="*/ 979150 w 877"/>
                <a:gd name="T27" fmla="*/ 412013 h 784"/>
                <a:gd name="T28" fmla="*/ 1026944 w 877"/>
                <a:gd name="T29" fmla="*/ 357159 h 784"/>
                <a:gd name="T30" fmla="*/ 1073512 w 877"/>
                <a:gd name="T31" fmla="*/ 299867 h 784"/>
                <a:gd name="T32" fmla="*/ 747537 w 877"/>
                <a:gd name="T33" fmla="*/ 316933 h 784"/>
                <a:gd name="T34" fmla="*/ 599255 w 877"/>
                <a:gd name="T35" fmla="*/ 32912 h 784"/>
                <a:gd name="T36" fmla="*/ 568618 w 877"/>
                <a:gd name="T37" fmla="*/ 60949 h 784"/>
                <a:gd name="T38" fmla="*/ 536756 w 877"/>
                <a:gd name="T39" fmla="*/ 88985 h 784"/>
                <a:gd name="T40" fmla="*/ 496315 w 877"/>
                <a:gd name="T41" fmla="*/ 115802 h 784"/>
                <a:gd name="T42" fmla="*/ 454649 w 877"/>
                <a:gd name="T43" fmla="*/ 141401 h 784"/>
                <a:gd name="T44" fmla="*/ 411758 w 877"/>
                <a:gd name="T45" fmla="*/ 160904 h 784"/>
                <a:gd name="T46" fmla="*/ 365190 w 877"/>
                <a:gd name="T47" fmla="*/ 179189 h 784"/>
                <a:gd name="T48" fmla="*/ 317397 w 877"/>
                <a:gd name="T49" fmla="*/ 190160 h 784"/>
                <a:gd name="T50" fmla="*/ 269603 w 877"/>
                <a:gd name="T51" fmla="*/ 198693 h 784"/>
                <a:gd name="T52" fmla="*/ 269603 w 877"/>
                <a:gd name="T53" fmla="*/ 0 h 784"/>
                <a:gd name="T54" fmla="*/ 0 w 877"/>
                <a:gd name="T55" fmla="*/ 476619 h 7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77"/>
                <a:gd name="T85" fmla="*/ 0 h 784"/>
                <a:gd name="T86" fmla="*/ 877 w 877"/>
                <a:gd name="T87" fmla="*/ 784 h 7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77" h="784">
                  <a:moveTo>
                    <a:pt x="0" y="391"/>
                  </a:moveTo>
                  <a:lnTo>
                    <a:pt x="220" y="783"/>
                  </a:lnTo>
                  <a:lnTo>
                    <a:pt x="220" y="603"/>
                  </a:lnTo>
                  <a:lnTo>
                    <a:pt x="279" y="599"/>
                  </a:lnTo>
                  <a:lnTo>
                    <a:pt x="337" y="588"/>
                  </a:lnTo>
                  <a:lnTo>
                    <a:pt x="394" y="575"/>
                  </a:lnTo>
                  <a:lnTo>
                    <a:pt x="450" y="558"/>
                  </a:lnTo>
                  <a:lnTo>
                    <a:pt x="505" y="537"/>
                  </a:lnTo>
                  <a:lnTo>
                    <a:pt x="559" y="513"/>
                  </a:lnTo>
                  <a:lnTo>
                    <a:pt x="611" y="485"/>
                  </a:lnTo>
                  <a:lnTo>
                    <a:pt x="661" y="454"/>
                  </a:lnTo>
                  <a:lnTo>
                    <a:pt x="708" y="418"/>
                  </a:lnTo>
                  <a:lnTo>
                    <a:pt x="755" y="380"/>
                  </a:lnTo>
                  <a:lnTo>
                    <a:pt x="799" y="338"/>
                  </a:lnTo>
                  <a:lnTo>
                    <a:pt x="838" y="293"/>
                  </a:lnTo>
                  <a:lnTo>
                    <a:pt x="876" y="246"/>
                  </a:lnTo>
                  <a:lnTo>
                    <a:pt x="610" y="260"/>
                  </a:lnTo>
                  <a:lnTo>
                    <a:pt x="489" y="27"/>
                  </a:lnTo>
                  <a:lnTo>
                    <a:pt x="464" y="50"/>
                  </a:lnTo>
                  <a:lnTo>
                    <a:pt x="438" y="73"/>
                  </a:lnTo>
                  <a:lnTo>
                    <a:pt x="405" y="95"/>
                  </a:lnTo>
                  <a:lnTo>
                    <a:pt x="371" y="116"/>
                  </a:lnTo>
                  <a:lnTo>
                    <a:pt x="336" y="132"/>
                  </a:lnTo>
                  <a:lnTo>
                    <a:pt x="298" y="147"/>
                  </a:lnTo>
                  <a:lnTo>
                    <a:pt x="259" y="156"/>
                  </a:lnTo>
                  <a:lnTo>
                    <a:pt x="220" y="163"/>
                  </a:lnTo>
                  <a:lnTo>
                    <a:pt x="220" y="0"/>
                  </a:lnTo>
                  <a:lnTo>
                    <a:pt x="0" y="391"/>
                  </a:lnTo>
                </a:path>
              </a:pathLst>
            </a:custGeom>
            <a:solidFill>
              <a:schemeClr val="accent3"/>
            </a:solidFill>
            <a:ln w="12700" cap="rnd">
              <a:noFill/>
              <a:round/>
              <a:headEnd/>
              <a:tailEnd/>
            </a:ln>
          </p:spPr>
          <p:txBody>
            <a:bodyPr/>
            <a:lstStyle/>
            <a:p>
              <a:pPr>
                <a:defRPr/>
              </a:pPr>
              <a:endParaRPr lang="en-GB" sz="1200"/>
            </a:p>
          </p:txBody>
        </p:sp>
        <p:sp>
          <p:nvSpPr>
            <p:cNvPr id="71" name="Freeform 27"/>
            <p:cNvSpPr>
              <a:spLocks/>
            </p:cNvSpPr>
            <p:nvPr/>
          </p:nvSpPr>
          <p:spPr bwMode="blackWhite">
            <a:xfrm>
              <a:off x="6286500" y="5027119"/>
              <a:ext cx="1020763" cy="852487"/>
            </a:xfrm>
            <a:custGeom>
              <a:avLst/>
              <a:gdLst>
                <a:gd name="T0" fmla="*/ 357819 w 833"/>
                <a:gd name="T1" fmla="*/ 0 h 699"/>
                <a:gd name="T2" fmla="*/ 0 w 833"/>
                <a:gd name="T3" fmla="*/ 429292 h 699"/>
                <a:gd name="T4" fmla="*/ 199741 w 833"/>
                <a:gd name="T5" fmla="*/ 357337 h 699"/>
                <a:gd name="T6" fmla="*/ 242630 w 833"/>
                <a:gd name="T7" fmla="*/ 419536 h 699"/>
                <a:gd name="T8" fmla="*/ 289196 w 833"/>
                <a:gd name="T9" fmla="*/ 478076 h 699"/>
                <a:gd name="T10" fmla="*/ 339437 w 833"/>
                <a:gd name="T11" fmla="*/ 534176 h 699"/>
                <a:gd name="T12" fmla="*/ 394581 w 833"/>
                <a:gd name="T13" fmla="*/ 585399 h 699"/>
                <a:gd name="T14" fmla="*/ 453400 w 833"/>
                <a:gd name="T15" fmla="*/ 634182 h 699"/>
                <a:gd name="T16" fmla="*/ 513445 w 833"/>
                <a:gd name="T17" fmla="*/ 676867 h 699"/>
                <a:gd name="T18" fmla="*/ 578391 w 833"/>
                <a:gd name="T19" fmla="*/ 717114 h 699"/>
                <a:gd name="T20" fmla="*/ 645789 w 833"/>
                <a:gd name="T21" fmla="*/ 751262 h 699"/>
                <a:gd name="T22" fmla="*/ 714412 w 833"/>
                <a:gd name="T23" fmla="*/ 781751 h 699"/>
                <a:gd name="T24" fmla="*/ 785485 w 833"/>
                <a:gd name="T25" fmla="*/ 807363 h 699"/>
                <a:gd name="T26" fmla="*/ 857784 w 833"/>
                <a:gd name="T27" fmla="*/ 826876 h 699"/>
                <a:gd name="T28" fmla="*/ 933759 w 833"/>
                <a:gd name="T29" fmla="*/ 841511 h 699"/>
                <a:gd name="T30" fmla="*/ 1007284 w 833"/>
                <a:gd name="T31" fmla="*/ 851267 h 699"/>
                <a:gd name="T32" fmla="*/ 860235 w 833"/>
                <a:gd name="T33" fmla="*/ 602473 h 699"/>
                <a:gd name="T34" fmla="*/ 1019538 w 833"/>
                <a:gd name="T35" fmla="*/ 312213 h 699"/>
                <a:gd name="T36" fmla="*/ 964394 w 833"/>
                <a:gd name="T37" fmla="*/ 301236 h 699"/>
                <a:gd name="T38" fmla="*/ 912927 w 833"/>
                <a:gd name="T39" fmla="*/ 284162 h 699"/>
                <a:gd name="T40" fmla="*/ 862686 w 833"/>
                <a:gd name="T41" fmla="*/ 260990 h 699"/>
                <a:gd name="T42" fmla="*/ 814895 w 833"/>
                <a:gd name="T43" fmla="*/ 234160 h 699"/>
                <a:gd name="T44" fmla="*/ 772006 w 833"/>
                <a:gd name="T45" fmla="*/ 201231 h 699"/>
                <a:gd name="T46" fmla="*/ 730342 w 833"/>
                <a:gd name="T47" fmla="*/ 165863 h 699"/>
                <a:gd name="T48" fmla="*/ 901899 w 833"/>
                <a:gd name="T49" fmla="*/ 102445 h 699"/>
                <a:gd name="T50" fmla="*/ 357819 w 833"/>
                <a:gd name="T51" fmla="*/ 0 h 69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33"/>
                <a:gd name="T79" fmla="*/ 0 h 699"/>
                <a:gd name="T80" fmla="*/ 833 w 833"/>
                <a:gd name="T81" fmla="*/ 699 h 69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33" h="699">
                  <a:moveTo>
                    <a:pt x="292" y="0"/>
                  </a:moveTo>
                  <a:lnTo>
                    <a:pt x="0" y="352"/>
                  </a:lnTo>
                  <a:lnTo>
                    <a:pt x="163" y="293"/>
                  </a:lnTo>
                  <a:lnTo>
                    <a:pt x="198" y="344"/>
                  </a:lnTo>
                  <a:lnTo>
                    <a:pt x="236" y="392"/>
                  </a:lnTo>
                  <a:lnTo>
                    <a:pt x="277" y="438"/>
                  </a:lnTo>
                  <a:lnTo>
                    <a:pt x="322" y="480"/>
                  </a:lnTo>
                  <a:lnTo>
                    <a:pt x="370" y="520"/>
                  </a:lnTo>
                  <a:lnTo>
                    <a:pt x="419" y="555"/>
                  </a:lnTo>
                  <a:lnTo>
                    <a:pt x="472" y="588"/>
                  </a:lnTo>
                  <a:lnTo>
                    <a:pt x="527" y="616"/>
                  </a:lnTo>
                  <a:lnTo>
                    <a:pt x="583" y="641"/>
                  </a:lnTo>
                  <a:lnTo>
                    <a:pt x="641" y="662"/>
                  </a:lnTo>
                  <a:lnTo>
                    <a:pt x="700" y="678"/>
                  </a:lnTo>
                  <a:lnTo>
                    <a:pt x="762" y="690"/>
                  </a:lnTo>
                  <a:lnTo>
                    <a:pt x="822" y="698"/>
                  </a:lnTo>
                  <a:lnTo>
                    <a:pt x="702" y="494"/>
                  </a:lnTo>
                  <a:lnTo>
                    <a:pt x="832" y="256"/>
                  </a:lnTo>
                  <a:lnTo>
                    <a:pt x="787" y="247"/>
                  </a:lnTo>
                  <a:lnTo>
                    <a:pt x="745" y="233"/>
                  </a:lnTo>
                  <a:lnTo>
                    <a:pt x="704" y="214"/>
                  </a:lnTo>
                  <a:lnTo>
                    <a:pt x="665" y="192"/>
                  </a:lnTo>
                  <a:lnTo>
                    <a:pt x="630" y="165"/>
                  </a:lnTo>
                  <a:lnTo>
                    <a:pt x="596" y="136"/>
                  </a:lnTo>
                  <a:lnTo>
                    <a:pt x="736" y="84"/>
                  </a:lnTo>
                  <a:lnTo>
                    <a:pt x="292" y="0"/>
                  </a:lnTo>
                </a:path>
              </a:pathLst>
            </a:custGeom>
            <a:solidFill>
              <a:schemeClr val="accent4"/>
            </a:solidFill>
            <a:ln w="12700" cap="rnd">
              <a:noFill/>
              <a:round/>
              <a:headEnd/>
              <a:tailEnd/>
            </a:ln>
          </p:spPr>
          <p:txBody>
            <a:bodyPr/>
            <a:lstStyle/>
            <a:p>
              <a:pPr>
                <a:defRPr/>
              </a:pPr>
              <a:endParaRPr lang="en-GB" sz="1200">
                <a:solidFill>
                  <a:schemeClr val="bg1"/>
                </a:solidFill>
              </a:endParaRPr>
            </a:p>
          </p:txBody>
        </p:sp>
        <p:sp>
          <p:nvSpPr>
            <p:cNvPr id="72" name="Freeform 28"/>
            <p:cNvSpPr>
              <a:spLocks/>
            </p:cNvSpPr>
            <p:nvPr/>
          </p:nvSpPr>
          <p:spPr bwMode="blackWhite">
            <a:xfrm>
              <a:off x="6496050" y="3571641"/>
              <a:ext cx="1062038" cy="949325"/>
            </a:xfrm>
            <a:custGeom>
              <a:avLst/>
              <a:gdLst>
                <a:gd name="T0" fmla="*/ 2147483647 w 867"/>
                <a:gd name="T1" fmla="*/ 2147483647 h 779"/>
                <a:gd name="T2" fmla="*/ 2147483647 w 867"/>
                <a:gd name="T3" fmla="*/ 2147483647 h 779"/>
                <a:gd name="T4" fmla="*/ 2147483647 w 867"/>
                <a:gd name="T5" fmla="*/ 2147483647 h 779"/>
                <a:gd name="T6" fmla="*/ 2147483647 w 867"/>
                <a:gd name="T7" fmla="*/ 2147483647 h 779"/>
                <a:gd name="T8" fmla="*/ 2147483647 w 867"/>
                <a:gd name="T9" fmla="*/ 2147483647 h 779"/>
                <a:gd name="T10" fmla="*/ 2147483647 w 867"/>
                <a:gd name="T11" fmla="*/ 2147483647 h 779"/>
                <a:gd name="T12" fmla="*/ 2147483647 w 867"/>
                <a:gd name="T13" fmla="*/ 2147483647 h 779"/>
                <a:gd name="T14" fmla="*/ 2147483647 w 867"/>
                <a:gd name="T15" fmla="*/ 2147483647 h 779"/>
                <a:gd name="T16" fmla="*/ 2147483647 w 867"/>
                <a:gd name="T17" fmla="*/ 2147483647 h 779"/>
                <a:gd name="T18" fmla="*/ 2147483647 w 867"/>
                <a:gd name="T19" fmla="*/ 2147483647 h 779"/>
                <a:gd name="T20" fmla="*/ 2147483647 w 867"/>
                <a:gd name="T21" fmla="*/ 2147483647 h 779"/>
                <a:gd name="T22" fmla="*/ 2147483647 w 867"/>
                <a:gd name="T23" fmla="*/ 2147483647 h 779"/>
                <a:gd name="T24" fmla="*/ 2147483647 w 867"/>
                <a:gd name="T25" fmla="*/ 0 h 779"/>
                <a:gd name="T26" fmla="*/ 2147483647 w 867"/>
                <a:gd name="T27" fmla="*/ 2147483647 h 779"/>
                <a:gd name="T28" fmla="*/ 2147483647 w 867"/>
                <a:gd name="T29" fmla="*/ 2147483647 h 779"/>
                <a:gd name="T30" fmla="*/ 2147483647 w 867"/>
                <a:gd name="T31" fmla="*/ 2147483647 h 779"/>
                <a:gd name="T32" fmla="*/ 2147483647 w 867"/>
                <a:gd name="T33" fmla="*/ 2147483647 h 779"/>
                <a:gd name="T34" fmla="*/ 2147483647 w 867"/>
                <a:gd name="T35" fmla="*/ 2147483647 h 779"/>
                <a:gd name="T36" fmla="*/ 2147483647 w 867"/>
                <a:gd name="T37" fmla="*/ 2147483647 h 779"/>
                <a:gd name="T38" fmla="*/ 2147483647 w 867"/>
                <a:gd name="T39" fmla="*/ 2147483647 h 779"/>
                <a:gd name="T40" fmla="*/ 2147483647 w 867"/>
                <a:gd name="T41" fmla="*/ 2147483647 h 779"/>
                <a:gd name="T42" fmla="*/ 2147483647 w 867"/>
                <a:gd name="T43" fmla="*/ 2147483647 h 779"/>
                <a:gd name="T44" fmla="*/ 2147483647 w 867"/>
                <a:gd name="T45" fmla="*/ 2147483647 h 779"/>
                <a:gd name="T46" fmla="*/ 2147483647 w 867"/>
                <a:gd name="T47" fmla="*/ 2147483647 h 779"/>
                <a:gd name="T48" fmla="*/ 2147483647 w 867"/>
                <a:gd name="T49" fmla="*/ 2147483647 h 779"/>
                <a:gd name="T50" fmla="*/ 0 w 867"/>
                <a:gd name="T51" fmla="*/ 2147483647 h 779"/>
                <a:gd name="T52" fmla="*/ 2147483647 w 867"/>
                <a:gd name="T53" fmla="*/ 2147483647 h 779"/>
                <a:gd name="T54" fmla="*/ 2147483647 w 867"/>
                <a:gd name="T55" fmla="*/ 2147483647 h 7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67"/>
                <a:gd name="T85" fmla="*/ 0 h 779"/>
                <a:gd name="T86" fmla="*/ 867 w 867"/>
                <a:gd name="T87" fmla="*/ 779 h 7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67" h="779">
                  <a:moveTo>
                    <a:pt x="379" y="778"/>
                  </a:moveTo>
                  <a:lnTo>
                    <a:pt x="402" y="748"/>
                  </a:lnTo>
                  <a:lnTo>
                    <a:pt x="425" y="721"/>
                  </a:lnTo>
                  <a:lnTo>
                    <a:pt x="452" y="694"/>
                  </a:lnTo>
                  <a:lnTo>
                    <a:pt x="480" y="671"/>
                  </a:lnTo>
                  <a:lnTo>
                    <a:pt x="514" y="646"/>
                  </a:lnTo>
                  <a:lnTo>
                    <a:pt x="550" y="626"/>
                  </a:lnTo>
                  <a:lnTo>
                    <a:pt x="588" y="609"/>
                  </a:lnTo>
                  <a:lnTo>
                    <a:pt x="627" y="594"/>
                  </a:lnTo>
                  <a:lnTo>
                    <a:pt x="668" y="585"/>
                  </a:lnTo>
                  <a:lnTo>
                    <a:pt x="692" y="750"/>
                  </a:lnTo>
                  <a:lnTo>
                    <a:pt x="866" y="349"/>
                  </a:lnTo>
                  <a:lnTo>
                    <a:pt x="605" y="0"/>
                  </a:lnTo>
                  <a:lnTo>
                    <a:pt x="606" y="149"/>
                  </a:lnTo>
                  <a:lnTo>
                    <a:pt x="545" y="162"/>
                  </a:lnTo>
                  <a:lnTo>
                    <a:pt x="484" y="180"/>
                  </a:lnTo>
                  <a:lnTo>
                    <a:pt x="425" y="201"/>
                  </a:lnTo>
                  <a:lnTo>
                    <a:pt x="368" y="225"/>
                  </a:lnTo>
                  <a:lnTo>
                    <a:pt x="313" y="255"/>
                  </a:lnTo>
                  <a:lnTo>
                    <a:pt x="259" y="287"/>
                  </a:lnTo>
                  <a:lnTo>
                    <a:pt x="208" y="325"/>
                  </a:lnTo>
                  <a:lnTo>
                    <a:pt x="160" y="366"/>
                  </a:lnTo>
                  <a:lnTo>
                    <a:pt x="115" y="411"/>
                  </a:lnTo>
                  <a:lnTo>
                    <a:pt x="74" y="458"/>
                  </a:lnTo>
                  <a:lnTo>
                    <a:pt x="35" y="509"/>
                  </a:lnTo>
                  <a:lnTo>
                    <a:pt x="0" y="563"/>
                  </a:lnTo>
                  <a:lnTo>
                    <a:pt x="247" y="564"/>
                  </a:lnTo>
                  <a:lnTo>
                    <a:pt x="379" y="778"/>
                  </a:lnTo>
                </a:path>
              </a:pathLst>
            </a:custGeom>
            <a:solidFill>
              <a:schemeClr val="accent6"/>
            </a:solidFill>
            <a:ln w="12700" cap="rnd">
              <a:noFill/>
              <a:round/>
              <a:headEnd/>
              <a:tailEnd/>
            </a:ln>
          </p:spPr>
          <p:txBody>
            <a:bodyPr/>
            <a:lstStyle/>
            <a:p>
              <a:endParaRPr lang="en-GB" sz="1200">
                <a:solidFill>
                  <a:schemeClr val="bg1"/>
                </a:solidFill>
              </a:endParaRPr>
            </a:p>
          </p:txBody>
        </p:sp>
        <p:sp>
          <p:nvSpPr>
            <p:cNvPr id="73" name="Freeform 29"/>
            <p:cNvSpPr>
              <a:spLocks/>
            </p:cNvSpPr>
            <p:nvPr/>
          </p:nvSpPr>
          <p:spPr bwMode="blackWhite">
            <a:xfrm>
              <a:off x="6230938" y="4296869"/>
              <a:ext cx="833437" cy="950912"/>
            </a:xfrm>
            <a:custGeom>
              <a:avLst/>
              <a:gdLst>
                <a:gd name="T0" fmla="*/ 2147483647 w 680"/>
                <a:gd name="T1" fmla="*/ 0 h 780"/>
                <a:gd name="T2" fmla="*/ 0 w 680"/>
                <a:gd name="T3" fmla="*/ 2147483647 h 780"/>
                <a:gd name="T4" fmla="*/ 2147483647 w 680"/>
                <a:gd name="T5" fmla="*/ 2147483647 h 780"/>
                <a:gd name="T6" fmla="*/ 2147483647 w 680"/>
                <a:gd name="T7" fmla="*/ 2147483647 h 780"/>
                <a:gd name="T8" fmla="*/ 2147483647 w 680"/>
                <a:gd name="T9" fmla="*/ 2147483647 h 780"/>
                <a:gd name="T10" fmla="*/ 2147483647 w 680"/>
                <a:gd name="T11" fmla="*/ 2147483647 h 780"/>
                <a:gd name="T12" fmla="*/ 2147483647 w 680"/>
                <a:gd name="T13" fmla="*/ 2147483647 h 780"/>
                <a:gd name="T14" fmla="*/ 2147483647 w 680"/>
                <a:gd name="T15" fmla="*/ 2147483647 h 780"/>
                <a:gd name="T16" fmla="*/ 2147483647 w 680"/>
                <a:gd name="T17" fmla="*/ 2147483647 h 780"/>
                <a:gd name="T18" fmla="*/ 2147483647 w 680"/>
                <a:gd name="T19" fmla="*/ 2147483647 h 780"/>
                <a:gd name="T20" fmla="*/ 2147483647 w 680"/>
                <a:gd name="T21" fmla="*/ 2147483647 h 780"/>
                <a:gd name="T22" fmla="*/ 2147483647 w 680"/>
                <a:gd name="T23" fmla="*/ 2147483647 h 780"/>
                <a:gd name="T24" fmla="*/ 2147483647 w 680"/>
                <a:gd name="T25" fmla="*/ 2147483647 h 780"/>
                <a:gd name="T26" fmla="*/ 2147483647 w 680"/>
                <a:gd name="T27" fmla="*/ 2147483647 h 780"/>
                <a:gd name="T28" fmla="*/ 2147483647 w 680"/>
                <a:gd name="T29" fmla="*/ 2147483647 h 780"/>
                <a:gd name="T30" fmla="*/ 2147483647 w 680"/>
                <a:gd name="T31" fmla="*/ 2147483647 h 780"/>
                <a:gd name="T32" fmla="*/ 2147483647 w 680"/>
                <a:gd name="T33" fmla="*/ 2147483647 h 780"/>
                <a:gd name="T34" fmla="*/ 2147483647 w 680"/>
                <a:gd name="T35" fmla="*/ 2147483647 h 780"/>
                <a:gd name="T36" fmla="*/ 2147483647 w 680"/>
                <a:gd name="T37" fmla="*/ 2147483647 h 780"/>
                <a:gd name="T38" fmla="*/ 2147483647 w 680"/>
                <a:gd name="T39" fmla="*/ 2147483647 h 780"/>
                <a:gd name="T40" fmla="*/ 2147483647 w 680"/>
                <a:gd name="T41" fmla="*/ 2147483647 h 780"/>
                <a:gd name="T42" fmla="*/ 2147483647 w 680"/>
                <a:gd name="T43" fmla="*/ 2147483647 h 780"/>
                <a:gd name="T44" fmla="*/ 2147483647 w 680"/>
                <a:gd name="T45" fmla="*/ 2147483647 h 780"/>
                <a:gd name="T46" fmla="*/ 2147483647 w 680"/>
                <a:gd name="T47" fmla="*/ 2147483647 h 780"/>
                <a:gd name="T48" fmla="*/ 2147483647 w 680"/>
                <a:gd name="T49" fmla="*/ 2147483647 h 780"/>
                <a:gd name="T50" fmla="*/ 2147483647 w 680"/>
                <a:gd name="T51" fmla="*/ 0 h 78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80"/>
                <a:gd name="T79" fmla="*/ 0 h 780"/>
                <a:gd name="T80" fmla="*/ 680 w 680"/>
                <a:gd name="T81" fmla="*/ 780 h 78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80" h="780">
                  <a:moveTo>
                    <a:pt x="448" y="0"/>
                  </a:moveTo>
                  <a:lnTo>
                    <a:pt x="0" y="1"/>
                  </a:lnTo>
                  <a:lnTo>
                    <a:pt x="141" y="82"/>
                  </a:lnTo>
                  <a:lnTo>
                    <a:pt x="120" y="138"/>
                  </a:lnTo>
                  <a:lnTo>
                    <a:pt x="102" y="196"/>
                  </a:lnTo>
                  <a:lnTo>
                    <a:pt x="89" y="253"/>
                  </a:lnTo>
                  <a:lnTo>
                    <a:pt x="80" y="313"/>
                  </a:lnTo>
                  <a:lnTo>
                    <a:pt x="74" y="373"/>
                  </a:lnTo>
                  <a:lnTo>
                    <a:pt x="73" y="431"/>
                  </a:lnTo>
                  <a:lnTo>
                    <a:pt x="75" y="491"/>
                  </a:lnTo>
                  <a:lnTo>
                    <a:pt x="82" y="551"/>
                  </a:lnTo>
                  <a:lnTo>
                    <a:pt x="93" y="609"/>
                  </a:lnTo>
                  <a:lnTo>
                    <a:pt x="107" y="668"/>
                  </a:lnTo>
                  <a:lnTo>
                    <a:pt x="126" y="724"/>
                  </a:lnTo>
                  <a:lnTo>
                    <a:pt x="148" y="779"/>
                  </a:lnTo>
                  <a:lnTo>
                    <a:pt x="324" y="566"/>
                  </a:lnTo>
                  <a:lnTo>
                    <a:pt x="551" y="603"/>
                  </a:lnTo>
                  <a:lnTo>
                    <a:pt x="535" y="562"/>
                  </a:lnTo>
                  <a:lnTo>
                    <a:pt x="523" y="521"/>
                  </a:lnTo>
                  <a:lnTo>
                    <a:pt x="516" y="478"/>
                  </a:lnTo>
                  <a:lnTo>
                    <a:pt x="512" y="435"/>
                  </a:lnTo>
                  <a:lnTo>
                    <a:pt x="513" y="391"/>
                  </a:lnTo>
                  <a:lnTo>
                    <a:pt x="518" y="348"/>
                  </a:lnTo>
                  <a:lnTo>
                    <a:pt x="528" y="306"/>
                  </a:lnTo>
                  <a:lnTo>
                    <a:pt x="679" y="392"/>
                  </a:lnTo>
                  <a:lnTo>
                    <a:pt x="448" y="0"/>
                  </a:lnTo>
                </a:path>
              </a:pathLst>
            </a:custGeom>
            <a:solidFill>
              <a:schemeClr val="accent5"/>
            </a:solidFill>
            <a:ln w="12700" cap="rnd">
              <a:noFill/>
              <a:round/>
              <a:headEnd/>
              <a:tailEnd/>
            </a:ln>
          </p:spPr>
          <p:txBody>
            <a:bodyPr/>
            <a:lstStyle/>
            <a:p>
              <a:endParaRPr lang="en-GB" sz="1200">
                <a:solidFill>
                  <a:schemeClr val="bg1"/>
                </a:solidFill>
              </a:endParaRPr>
            </a:p>
          </p:txBody>
        </p:sp>
        <p:sp>
          <p:nvSpPr>
            <p:cNvPr id="80" name="Rectangle 34"/>
            <p:cNvSpPr>
              <a:spLocks noChangeArrowheads="1"/>
            </p:cNvSpPr>
            <p:nvPr/>
          </p:nvSpPr>
          <p:spPr bwMode="blackWhite">
            <a:xfrm>
              <a:off x="7648575" y="4136531"/>
              <a:ext cx="514350"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a:solidFill>
                    <a:schemeClr val="bg1"/>
                  </a:solidFill>
                </a:rPr>
                <a:t>Text</a:t>
              </a:r>
            </a:p>
          </p:txBody>
        </p:sp>
        <p:sp>
          <p:nvSpPr>
            <p:cNvPr id="85" name="Rectangle 39"/>
            <p:cNvSpPr>
              <a:spLocks noChangeArrowheads="1"/>
            </p:cNvSpPr>
            <p:nvPr/>
          </p:nvSpPr>
          <p:spPr bwMode="blackWhite">
            <a:xfrm>
              <a:off x="7953375" y="4822331"/>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a:solidFill>
                    <a:schemeClr val="bg1"/>
                  </a:solidFill>
                </a:rPr>
                <a:t>Text</a:t>
              </a:r>
            </a:p>
          </p:txBody>
        </p:sp>
        <p:sp>
          <p:nvSpPr>
            <p:cNvPr id="86" name="Rectangle 40"/>
            <p:cNvSpPr>
              <a:spLocks noChangeArrowheads="1"/>
            </p:cNvSpPr>
            <p:nvPr/>
          </p:nvSpPr>
          <p:spPr bwMode="blackWhite">
            <a:xfrm>
              <a:off x="7419975" y="5508131"/>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a:solidFill>
                    <a:schemeClr val="bg1"/>
                  </a:solidFill>
                </a:rPr>
                <a:t>Text</a:t>
              </a:r>
            </a:p>
          </p:txBody>
        </p:sp>
        <p:sp>
          <p:nvSpPr>
            <p:cNvPr id="87" name="Rectangle 41"/>
            <p:cNvSpPr>
              <a:spLocks noChangeArrowheads="1"/>
            </p:cNvSpPr>
            <p:nvPr/>
          </p:nvSpPr>
          <p:spPr bwMode="blackWhite">
            <a:xfrm>
              <a:off x="6581775" y="5355731"/>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a:solidFill>
                    <a:schemeClr val="bg1"/>
                  </a:solidFill>
                </a:rPr>
                <a:t>Text</a:t>
              </a:r>
            </a:p>
          </p:txBody>
        </p:sp>
        <p:sp>
          <p:nvSpPr>
            <p:cNvPr id="88" name="Rectangle 42"/>
            <p:cNvSpPr>
              <a:spLocks noChangeArrowheads="1"/>
            </p:cNvSpPr>
            <p:nvPr/>
          </p:nvSpPr>
          <p:spPr bwMode="blackWhite">
            <a:xfrm>
              <a:off x="6353175" y="4669931"/>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2"/>
                  </a:solidFill>
                </a:rPr>
                <a:t>Text</a:t>
              </a:r>
            </a:p>
          </p:txBody>
        </p:sp>
        <p:sp>
          <p:nvSpPr>
            <p:cNvPr id="89" name="Rectangle 43"/>
            <p:cNvSpPr>
              <a:spLocks noChangeArrowheads="1"/>
            </p:cNvSpPr>
            <p:nvPr/>
          </p:nvSpPr>
          <p:spPr bwMode="blackWhite">
            <a:xfrm>
              <a:off x="6773863" y="3995244"/>
              <a:ext cx="515937"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2"/>
                  </a:solidFill>
                </a:rPr>
                <a:t>Text</a:t>
              </a:r>
            </a:p>
          </p:txBody>
        </p:sp>
      </p:grpSp>
      <p:grpSp>
        <p:nvGrpSpPr>
          <p:cNvPr id="7" name="Group 73"/>
          <p:cNvGrpSpPr/>
          <p:nvPr/>
        </p:nvGrpSpPr>
        <p:grpSpPr>
          <a:xfrm>
            <a:off x="3375025" y="3696794"/>
            <a:ext cx="2387600" cy="2282825"/>
            <a:chOff x="3375025" y="3696794"/>
            <a:chExt cx="2387600" cy="2282825"/>
          </a:xfrm>
        </p:grpSpPr>
        <p:sp>
          <p:nvSpPr>
            <p:cNvPr id="63" name="Freeform 19"/>
            <p:cNvSpPr>
              <a:spLocks/>
            </p:cNvSpPr>
            <p:nvPr/>
          </p:nvSpPr>
          <p:spPr bwMode="blackWhite">
            <a:xfrm>
              <a:off x="3617913" y="3696794"/>
              <a:ext cx="1195387" cy="974725"/>
            </a:xfrm>
            <a:custGeom>
              <a:avLst/>
              <a:gdLst>
                <a:gd name="T0" fmla="*/ 2147483647 w 973"/>
                <a:gd name="T1" fmla="*/ 2147483647 h 805"/>
                <a:gd name="T2" fmla="*/ 2147483647 w 973"/>
                <a:gd name="T3" fmla="*/ 2147483647 h 805"/>
                <a:gd name="T4" fmla="*/ 2147483647 w 973"/>
                <a:gd name="T5" fmla="*/ 2147483647 h 805"/>
                <a:gd name="T6" fmla="*/ 2147483647 w 973"/>
                <a:gd name="T7" fmla="*/ 2147483647 h 805"/>
                <a:gd name="T8" fmla="*/ 2147483647 w 973"/>
                <a:gd name="T9" fmla="*/ 2147483647 h 805"/>
                <a:gd name="T10" fmla="*/ 2147483647 w 973"/>
                <a:gd name="T11" fmla="*/ 2147483647 h 805"/>
                <a:gd name="T12" fmla="*/ 2147483647 w 973"/>
                <a:gd name="T13" fmla="*/ 2147483647 h 805"/>
                <a:gd name="T14" fmla="*/ 2147483647 w 973"/>
                <a:gd name="T15" fmla="*/ 2147483647 h 805"/>
                <a:gd name="T16" fmla="*/ 2147483647 w 973"/>
                <a:gd name="T17" fmla="*/ 2147483647 h 805"/>
                <a:gd name="T18" fmla="*/ 2147483647 w 973"/>
                <a:gd name="T19" fmla="*/ 2147483647 h 805"/>
                <a:gd name="T20" fmla="*/ 2147483647 w 973"/>
                <a:gd name="T21" fmla="*/ 2147483647 h 805"/>
                <a:gd name="T22" fmla="*/ 2147483647 w 973"/>
                <a:gd name="T23" fmla="*/ 2147483647 h 805"/>
                <a:gd name="T24" fmla="*/ 2147483647 w 973"/>
                <a:gd name="T25" fmla="*/ 2147483647 h 805"/>
                <a:gd name="T26" fmla="*/ 2147483647 w 973"/>
                <a:gd name="T27" fmla="*/ 0 h 805"/>
                <a:gd name="T28" fmla="*/ 2147483647 w 973"/>
                <a:gd name="T29" fmla="*/ 2147483647 h 805"/>
                <a:gd name="T30" fmla="*/ 2147483647 w 973"/>
                <a:gd name="T31" fmla="*/ 2147483647 h 805"/>
                <a:gd name="T32" fmla="*/ 2147483647 w 973"/>
                <a:gd name="T33" fmla="*/ 2147483647 h 805"/>
                <a:gd name="T34" fmla="*/ 2147483647 w 973"/>
                <a:gd name="T35" fmla="*/ 2147483647 h 805"/>
                <a:gd name="T36" fmla="*/ 2147483647 w 973"/>
                <a:gd name="T37" fmla="*/ 2147483647 h 805"/>
                <a:gd name="T38" fmla="*/ 2147483647 w 973"/>
                <a:gd name="T39" fmla="*/ 2147483647 h 805"/>
                <a:gd name="T40" fmla="*/ 2147483647 w 973"/>
                <a:gd name="T41" fmla="*/ 2147483647 h 805"/>
                <a:gd name="T42" fmla="*/ 2147483647 w 973"/>
                <a:gd name="T43" fmla="*/ 2147483647 h 805"/>
                <a:gd name="T44" fmla="*/ 2147483647 w 973"/>
                <a:gd name="T45" fmla="*/ 2147483647 h 805"/>
                <a:gd name="T46" fmla="*/ 2147483647 w 973"/>
                <a:gd name="T47" fmla="*/ 2147483647 h 805"/>
                <a:gd name="T48" fmla="*/ 2147483647 w 973"/>
                <a:gd name="T49" fmla="*/ 2147483647 h 805"/>
                <a:gd name="T50" fmla="*/ 2147483647 w 973"/>
                <a:gd name="T51" fmla="*/ 2147483647 h 805"/>
                <a:gd name="T52" fmla="*/ 2147483647 w 973"/>
                <a:gd name="T53" fmla="*/ 2147483647 h 805"/>
                <a:gd name="T54" fmla="*/ 2147483647 w 973"/>
                <a:gd name="T55" fmla="*/ 2147483647 h 805"/>
                <a:gd name="T56" fmla="*/ 2147483647 w 973"/>
                <a:gd name="T57" fmla="*/ 2147483647 h 805"/>
                <a:gd name="T58" fmla="*/ 0 w 973"/>
                <a:gd name="T59" fmla="*/ 2147483647 h 805"/>
                <a:gd name="T60" fmla="*/ 2147483647 w 973"/>
                <a:gd name="T61" fmla="*/ 2147483647 h 805"/>
                <a:gd name="T62" fmla="*/ 2147483647 w 973"/>
                <a:gd name="T63" fmla="*/ 2147483647 h 80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73"/>
                <a:gd name="T97" fmla="*/ 0 h 805"/>
                <a:gd name="T98" fmla="*/ 973 w 973"/>
                <a:gd name="T99" fmla="*/ 805 h 80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73" h="805">
                  <a:moveTo>
                    <a:pt x="402" y="804"/>
                  </a:moveTo>
                  <a:lnTo>
                    <a:pt x="424" y="765"/>
                  </a:lnTo>
                  <a:lnTo>
                    <a:pt x="450" y="730"/>
                  </a:lnTo>
                  <a:lnTo>
                    <a:pt x="479" y="698"/>
                  </a:lnTo>
                  <a:lnTo>
                    <a:pt x="512" y="668"/>
                  </a:lnTo>
                  <a:lnTo>
                    <a:pt x="548" y="642"/>
                  </a:lnTo>
                  <a:lnTo>
                    <a:pt x="583" y="621"/>
                  </a:lnTo>
                  <a:lnTo>
                    <a:pt x="620" y="603"/>
                  </a:lnTo>
                  <a:lnTo>
                    <a:pt x="660" y="589"/>
                  </a:lnTo>
                  <a:lnTo>
                    <a:pt x="699" y="579"/>
                  </a:lnTo>
                  <a:lnTo>
                    <a:pt x="740" y="572"/>
                  </a:lnTo>
                  <a:lnTo>
                    <a:pt x="752" y="722"/>
                  </a:lnTo>
                  <a:lnTo>
                    <a:pt x="972" y="356"/>
                  </a:lnTo>
                  <a:lnTo>
                    <a:pt x="712" y="0"/>
                  </a:lnTo>
                  <a:lnTo>
                    <a:pt x="713" y="134"/>
                  </a:lnTo>
                  <a:lnTo>
                    <a:pt x="651" y="142"/>
                  </a:lnTo>
                  <a:lnTo>
                    <a:pt x="590" y="154"/>
                  </a:lnTo>
                  <a:lnTo>
                    <a:pt x="530" y="170"/>
                  </a:lnTo>
                  <a:lnTo>
                    <a:pt x="471" y="191"/>
                  </a:lnTo>
                  <a:lnTo>
                    <a:pt x="414" y="216"/>
                  </a:lnTo>
                  <a:lnTo>
                    <a:pt x="359" y="245"/>
                  </a:lnTo>
                  <a:lnTo>
                    <a:pt x="305" y="278"/>
                  </a:lnTo>
                  <a:lnTo>
                    <a:pt x="257" y="312"/>
                  </a:lnTo>
                  <a:lnTo>
                    <a:pt x="212" y="349"/>
                  </a:lnTo>
                  <a:lnTo>
                    <a:pt x="170" y="390"/>
                  </a:lnTo>
                  <a:lnTo>
                    <a:pt x="129" y="432"/>
                  </a:lnTo>
                  <a:lnTo>
                    <a:pt x="92" y="478"/>
                  </a:lnTo>
                  <a:lnTo>
                    <a:pt x="58" y="526"/>
                  </a:lnTo>
                  <a:lnTo>
                    <a:pt x="27" y="576"/>
                  </a:lnTo>
                  <a:lnTo>
                    <a:pt x="0" y="628"/>
                  </a:lnTo>
                  <a:lnTo>
                    <a:pt x="264" y="607"/>
                  </a:lnTo>
                  <a:lnTo>
                    <a:pt x="402" y="804"/>
                  </a:lnTo>
                </a:path>
              </a:pathLst>
            </a:custGeom>
            <a:solidFill>
              <a:schemeClr val="accent5"/>
            </a:solidFill>
            <a:ln w="12700" cap="rnd">
              <a:noFill/>
              <a:round/>
              <a:headEnd/>
              <a:tailEnd/>
            </a:ln>
          </p:spPr>
          <p:txBody>
            <a:bodyPr/>
            <a:lstStyle/>
            <a:p>
              <a:endParaRPr lang="en-GB" sz="1200">
                <a:solidFill>
                  <a:schemeClr val="tx2"/>
                </a:solidFill>
              </a:endParaRPr>
            </a:p>
          </p:txBody>
        </p:sp>
        <p:sp>
          <p:nvSpPr>
            <p:cNvPr id="64" name="Freeform 20"/>
            <p:cNvSpPr>
              <a:spLocks/>
            </p:cNvSpPr>
            <p:nvPr/>
          </p:nvSpPr>
          <p:spPr bwMode="blackWhite">
            <a:xfrm>
              <a:off x="4679950" y="3858719"/>
              <a:ext cx="1082675" cy="992187"/>
            </a:xfrm>
            <a:custGeom>
              <a:avLst/>
              <a:gdLst>
                <a:gd name="T0" fmla="*/ 2147483647 w 881"/>
                <a:gd name="T1" fmla="*/ 2147483647 h 819"/>
                <a:gd name="T2" fmla="*/ 2147483647 w 881"/>
                <a:gd name="T3" fmla="*/ 2147483647 h 819"/>
                <a:gd name="T4" fmla="*/ 2147483647 w 881"/>
                <a:gd name="T5" fmla="*/ 2147483647 h 819"/>
                <a:gd name="T6" fmla="*/ 2147483647 w 881"/>
                <a:gd name="T7" fmla="*/ 2147483647 h 819"/>
                <a:gd name="T8" fmla="*/ 2147483647 w 881"/>
                <a:gd name="T9" fmla="*/ 2147483647 h 819"/>
                <a:gd name="T10" fmla="*/ 2147483647 w 881"/>
                <a:gd name="T11" fmla="*/ 2147483647 h 819"/>
                <a:gd name="T12" fmla="*/ 2147483647 w 881"/>
                <a:gd name="T13" fmla="*/ 2147483647 h 819"/>
                <a:gd name="T14" fmla="*/ 2147483647 w 881"/>
                <a:gd name="T15" fmla="*/ 2147483647 h 819"/>
                <a:gd name="T16" fmla="*/ 2147483647 w 881"/>
                <a:gd name="T17" fmla="*/ 2147483647 h 819"/>
                <a:gd name="T18" fmla="*/ 2147483647 w 881"/>
                <a:gd name="T19" fmla="*/ 2147483647 h 819"/>
                <a:gd name="T20" fmla="*/ 2147483647 w 881"/>
                <a:gd name="T21" fmla="*/ 2147483647 h 819"/>
                <a:gd name="T22" fmla="*/ 2147483647 w 881"/>
                <a:gd name="T23" fmla="*/ 2147483647 h 819"/>
                <a:gd name="T24" fmla="*/ 2147483647 w 881"/>
                <a:gd name="T25" fmla="*/ 2147483647 h 819"/>
                <a:gd name="T26" fmla="*/ 2147483647 w 881"/>
                <a:gd name="T27" fmla="*/ 2147483647 h 819"/>
                <a:gd name="T28" fmla="*/ 2147483647 w 881"/>
                <a:gd name="T29" fmla="*/ 2147483647 h 819"/>
                <a:gd name="T30" fmla="*/ 2147483647 w 881"/>
                <a:gd name="T31" fmla="*/ 2147483647 h 819"/>
                <a:gd name="T32" fmla="*/ 2147483647 w 881"/>
                <a:gd name="T33" fmla="*/ 2147483647 h 819"/>
                <a:gd name="T34" fmla="*/ 2147483647 w 881"/>
                <a:gd name="T35" fmla="*/ 2147483647 h 819"/>
                <a:gd name="T36" fmla="*/ 2147483647 w 881"/>
                <a:gd name="T37" fmla="*/ 2147483647 h 819"/>
                <a:gd name="T38" fmla="*/ 2147483647 w 881"/>
                <a:gd name="T39" fmla="*/ 2147483647 h 819"/>
                <a:gd name="T40" fmla="*/ 0 w 881"/>
                <a:gd name="T41" fmla="*/ 0 h 819"/>
                <a:gd name="T42" fmla="*/ 2147483647 w 881"/>
                <a:gd name="T43" fmla="*/ 2147483647 h 819"/>
                <a:gd name="T44" fmla="*/ 2147483647 w 881"/>
                <a:gd name="T45" fmla="*/ 2147483647 h 819"/>
                <a:gd name="T46" fmla="*/ 2147483647 w 881"/>
                <a:gd name="T47" fmla="*/ 2147483647 h 819"/>
                <a:gd name="T48" fmla="*/ 2147483647 w 881"/>
                <a:gd name="T49" fmla="*/ 2147483647 h 819"/>
                <a:gd name="T50" fmla="*/ 2147483647 w 881"/>
                <a:gd name="T51" fmla="*/ 2147483647 h 819"/>
                <a:gd name="T52" fmla="*/ 2147483647 w 881"/>
                <a:gd name="T53" fmla="*/ 2147483647 h 819"/>
                <a:gd name="T54" fmla="*/ 2147483647 w 881"/>
                <a:gd name="T55" fmla="*/ 2147483647 h 819"/>
                <a:gd name="T56" fmla="*/ 2147483647 w 881"/>
                <a:gd name="T57" fmla="*/ 2147483647 h 819"/>
                <a:gd name="T58" fmla="*/ 2147483647 w 881"/>
                <a:gd name="T59" fmla="*/ 2147483647 h 819"/>
                <a:gd name="T60" fmla="*/ 2147483647 w 881"/>
                <a:gd name="T61" fmla="*/ 2147483647 h 819"/>
                <a:gd name="T62" fmla="*/ 2147483647 w 881"/>
                <a:gd name="T63" fmla="*/ 2147483647 h 819"/>
                <a:gd name="T64" fmla="*/ 2147483647 w 881"/>
                <a:gd name="T65" fmla="*/ 2147483647 h 8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81"/>
                <a:gd name="T100" fmla="*/ 0 h 819"/>
                <a:gd name="T101" fmla="*/ 881 w 881"/>
                <a:gd name="T102" fmla="*/ 819 h 8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solidFill>
              <a:schemeClr val="accent1"/>
            </a:solidFill>
            <a:ln w="12700" cap="rnd">
              <a:noFill/>
              <a:round/>
              <a:headEnd/>
              <a:tailEnd/>
            </a:ln>
          </p:spPr>
          <p:txBody>
            <a:bodyPr/>
            <a:lstStyle/>
            <a:p>
              <a:endParaRPr lang="en-GB" sz="1200">
                <a:solidFill>
                  <a:schemeClr val="bg1"/>
                </a:solidFill>
              </a:endParaRPr>
            </a:p>
          </p:txBody>
        </p:sp>
        <p:sp>
          <p:nvSpPr>
            <p:cNvPr id="65" name="Freeform 21"/>
            <p:cNvSpPr>
              <a:spLocks/>
            </p:cNvSpPr>
            <p:nvPr/>
          </p:nvSpPr>
          <p:spPr bwMode="blackWhite">
            <a:xfrm>
              <a:off x="4845050" y="4671519"/>
              <a:ext cx="817563" cy="1250950"/>
            </a:xfrm>
            <a:custGeom>
              <a:avLst/>
              <a:gdLst>
                <a:gd name="T0" fmla="*/ 2147483647 w 666"/>
                <a:gd name="T1" fmla="*/ 2147483647 h 1033"/>
                <a:gd name="T2" fmla="*/ 2147483647 w 666"/>
                <a:gd name="T3" fmla="*/ 2147483647 h 1033"/>
                <a:gd name="T4" fmla="*/ 2147483647 w 666"/>
                <a:gd name="T5" fmla="*/ 2147483647 h 1033"/>
                <a:gd name="T6" fmla="*/ 2147483647 w 666"/>
                <a:gd name="T7" fmla="*/ 2147483647 h 1033"/>
                <a:gd name="T8" fmla="*/ 2147483647 w 666"/>
                <a:gd name="T9" fmla="*/ 2147483647 h 1033"/>
                <a:gd name="T10" fmla="*/ 2147483647 w 666"/>
                <a:gd name="T11" fmla="*/ 2147483647 h 1033"/>
                <a:gd name="T12" fmla="*/ 2147483647 w 666"/>
                <a:gd name="T13" fmla="*/ 2147483647 h 1033"/>
                <a:gd name="T14" fmla="*/ 2147483647 w 666"/>
                <a:gd name="T15" fmla="*/ 2147483647 h 1033"/>
                <a:gd name="T16" fmla="*/ 2147483647 w 666"/>
                <a:gd name="T17" fmla="*/ 2147483647 h 1033"/>
                <a:gd name="T18" fmla="*/ 2147483647 w 666"/>
                <a:gd name="T19" fmla="*/ 2147483647 h 1033"/>
                <a:gd name="T20" fmla="*/ 2147483647 w 666"/>
                <a:gd name="T21" fmla="*/ 2147483647 h 1033"/>
                <a:gd name="T22" fmla="*/ 0 w 666"/>
                <a:gd name="T23" fmla="*/ 2147483647 h 1033"/>
                <a:gd name="T24" fmla="*/ 0 w 666"/>
                <a:gd name="T25" fmla="*/ 2147483647 h 1033"/>
                <a:gd name="T26" fmla="*/ 2147483647 w 666"/>
                <a:gd name="T27" fmla="*/ 2147483647 h 1033"/>
                <a:gd name="T28" fmla="*/ 2147483647 w 666"/>
                <a:gd name="T29" fmla="*/ 2147483647 h 1033"/>
                <a:gd name="T30" fmla="*/ 2147483647 w 666"/>
                <a:gd name="T31" fmla="*/ 2147483647 h 1033"/>
                <a:gd name="T32" fmla="*/ 2147483647 w 666"/>
                <a:gd name="T33" fmla="*/ 2147483647 h 1033"/>
                <a:gd name="T34" fmla="*/ 2147483647 w 666"/>
                <a:gd name="T35" fmla="*/ 2147483647 h 1033"/>
                <a:gd name="T36" fmla="*/ 2147483647 w 666"/>
                <a:gd name="T37" fmla="*/ 2147483647 h 1033"/>
                <a:gd name="T38" fmla="*/ 2147483647 w 666"/>
                <a:gd name="T39" fmla="*/ 2147483647 h 1033"/>
                <a:gd name="T40" fmla="*/ 2147483647 w 666"/>
                <a:gd name="T41" fmla="*/ 2147483647 h 1033"/>
                <a:gd name="T42" fmla="*/ 2147483647 w 666"/>
                <a:gd name="T43" fmla="*/ 2147483647 h 1033"/>
                <a:gd name="T44" fmla="*/ 2147483647 w 666"/>
                <a:gd name="T45" fmla="*/ 2147483647 h 1033"/>
                <a:gd name="T46" fmla="*/ 2147483647 w 666"/>
                <a:gd name="T47" fmla="*/ 2147483647 h 1033"/>
                <a:gd name="T48" fmla="*/ 2147483647 w 666"/>
                <a:gd name="T49" fmla="*/ 2147483647 h 1033"/>
                <a:gd name="T50" fmla="*/ 2147483647 w 666"/>
                <a:gd name="T51" fmla="*/ 2147483647 h 1033"/>
                <a:gd name="T52" fmla="*/ 2147483647 w 666"/>
                <a:gd name="T53" fmla="*/ 2147483647 h 1033"/>
                <a:gd name="T54" fmla="*/ 2147483647 w 666"/>
                <a:gd name="T55" fmla="*/ 2147483647 h 1033"/>
                <a:gd name="T56" fmla="*/ 2147483647 w 666"/>
                <a:gd name="T57" fmla="*/ 2147483647 h 1033"/>
                <a:gd name="T58" fmla="*/ 2147483647 w 666"/>
                <a:gd name="T59" fmla="*/ 2147483647 h 1033"/>
                <a:gd name="T60" fmla="*/ 2147483647 w 666"/>
                <a:gd name="T61" fmla="*/ 2147483647 h 1033"/>
                <a:gd name="T62" fmla="*/ 2147483647 w 666"/>
                <a:gd name="T63" fmla="*/ 0 h 1033"/>
                <a:gd name="T64" fmla="*/ 2147483647 w 666"/>
                <a:gd name="T65" fmla="*/ 2147483647 h 1033"/>
                <a:gd name="T66" fmla="*/ 2147483647 w 666"/>
                <a:gd name="T67" fmla="*/ 2147483647 h 10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66"/>
                <a:gd name="T103" fmla="*/ 0 h 1033"/>
                <a:gd name="T104" fmla="*/ 666 w 666"/>
                <a:gd name="T105" fmla="*/ 1033 h 103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solidFill>
              <a:schemeClr val="accent2"/>
            </a:solidFill>
            <a:ln w="12700" cap="rnd">
              <a:noFill/>
              <a:round/>
              <a:headEnd/>
              <a:tailEnd/>
            </a:ln>
          </p:spPr>
          <p:txBody>
            <a:bodyPr/>
            <a:lstStyle/>
            <a:p>
              <a:endParaRPr lang="en-GB" sz="1200">
                <a:solidFill>
                  <a:schemeClr val="bg1"/>
                </a:solidFill>
              </a:endParaRPr>
            </a:p>
          </p:txBody>
        </p:sp>
        <p:sp>
          <p:nvSpPr>
            <p:cNvPr id="66" name="Freeform 22"/>
            <p:cNvSpPr>
              <a:spLocks/>
            </p:cNvSpPr>
            <p:nvPr/>
          </p:nvSpPr>
          <p:spPr bwMode="blackWhite">
            <a:xfrm>
              <a:off x="3822700" y="5208094"/>
              <a:ext cx="1265238" cy="771525"/>
            </a:xfrm>
            <a:custGeom>
              <a:avLst/>
              <a:gdLst>
                <a:gd name="T0" fmla="*/ 972882 w 1030"/>
                <a:gd name="T1" fmla="*/ 195001 h 637"/>
                <a:gd name="T2" fmla="*/ 924975 w 1030"/>
                <a:gd name="T3" fmla="*/ 211957 h 637"/>
                <a:gd name="T4" fmla="*/ 874611 w 1030"/>
                <a:gd name="T5" fmla="*/ 226492 h 637"/>
                <a:gd name="T6" fmla="*/ 823019 w 1030"/>
                <a:gd name="T7" fmla="*/ 233759 h 637"/>
                <a:gd name="T8" fmla="*/ 771427 w 1030"/>
                <a:gd name="T9" fmla="*/ 237392 h 637"/>
                <a:gd name="T10" fmla="*/ 719834 w 1030"/>
                <a:gd name="T11" fmla="*/ 234970 h 637"/>
                <a:gd name="T12" fmla="*/ 668242 w 1030"/>
                <a:gd name="T13" fmla="*/ 227703 h 637"/>
                <a:gd name="T14" fmla="*/ 616650 w 1030"/>
                <a:gd name="T15" fmla="*/ 216802 h 637"/>
                <a:gd name="T16" fmla="*/ 567514 w 1030"/>
                <a:gd name="T17" fmla="*/ 201057 h 637"/>
                <a:gd name="T18" fmla="*/ 520836 w 1030"/>
                <a:gd name="T19" fmla="*/ 179255 h 637"/>
                <a:gd name="T20" fmla="*/ 476614 w 1030"/>
                <a:gd name="T21" fmla="*/ 153821 h 637"/>
                <a:gd name="T22" fmla="*/ 605594 w 1030"/>
                <a:gd name="T23" fmla="*/ 0 h 637"/>
                <a:gd name="T24" fmla="*/ 89672 w 1030"/>
                <a:gd name="T25" fmla="*/ 184100 h 637"/>
                <a:gd name="T26" fmla="*/ 38080 w 1030"/>
                <a:gd name="T27" fmla="*/ 488108 h 637"/>
                <a:gd name="T28" fmla="*/ 40537 w 1030"/>
                <a:gd name="T29" fmla="*/ 490530 h 637"/>
                <a:gd name="T30" fmla="*/ 0 w 1030"/>
                <a:gd name="T31" fmla="*/ 712177 h 637"/>
                <a:gd name="T32" fmla="*/ 127752 w 1030"/>
                <a:gd name="T33" fmla="*/ 560779 h 637"/>
                <a:gd name="T34" fmla="*/ 190400 w 1030"/>
                <a:gd name="T35" fmla="*/ 603170 h 637"/>
                <a:gd name="T36" fmla="*/ 255504 w 1030"/>
                <a:gd name="T37" fmla="*/ 641928 h 637"/>
                <a:gd name="T38" fmla="*/ 321837 w 1030"/>
                <a:gd name="T39" fmla="*/ 674630 h 637"/>
                <a:gd name="T40" fmla="*/ 391855 w 1030"/>
                <a:gd name="T41" fmla="*/ 702487 h 637"/>
                <a:gd name="T42" fmla="*/ 463102 w 1030"/>
                <a:gd name="T43" fmla="*/ 726711 h 637"/>
                <a:gd name="T44" fmla="*/ 534348 w 1030"/>
                <a:gd name="T45" fmla="*/ 744879 h 637"/>
                <a:gd name="T46" fmla="*/ 609280 w 1030"/>
                <a:gd name="T47" fmla="*/ 759413 h 637"/>
                <a:gd name="T48" fmla="*/ 684211 w 1030"/>
                <a:gd name="T49" fmla="*/ 767891 h 637"/>
                <a:gd name="T50" fmla="*/ 759143 w 1030"/>
                <a:gd name="T51" fmla="*/ 770314 h 637"/>
                <a:gd name="T52" fmla="*/ 834074 w 1030"/>
                <a:gd name="T53" fmla="*/ 767891 h 637"/>
                <a:gd name="T54" fmla="*/ 909006 w 1030"/>
                <a:gd name="T55" fmla="*/ 760624 h 637"/>
                <a:gd name="T56" fmla="*/ 983937 w 1030"/>
                <a:gd name="T57" fmla="*/ 747301 h 637"/>
                <a:gd name="T58" fmla="*/ 1055184 w 1030"/>
                <a:gd name="T59" fmla="*/ 730345 h 637"/>
                <a:gd name="T60" fmla="*/ 1126430 w 1030"/>
                <a:gd name="T61" fmla="*/ 708543 h 637"/>
                <a:gd name="T62" fmla="*/ 1196448 w 1030"/>
                <a:gd name="T63" fmla="*/ 679475 h 637"/>
                <a:gd name="T64" fmla="*/ 1264010 w 1030"/>
                <a:gd name="T65" fmla="*/ 646773 h 637"/>
                <a:gd name="T66" fmla="*/ 976567 w 1030"/>
                <a:gd name="T67" fmla="*/ 482052 h 637"/>
                <a:gd name="T68" fmla="*/ 972882 w 1030"/>
                <a:gd name="T69" fmla="*/ 195001 h 63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30"/>
                <a:gd name="T106" fmla="*/ 0 h 637"/>
                <a:gd name="T107" fmla="*/ 1030 w 1030"/>
                <a:gd name="T108" fmla="*/ 637 h 63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solidFill>
              <a:schemeClr val="accent3"/>
            </a:solidFill>
            <a:ln w="12700" cap="rnd">
              <a:noFill/>
              <a:round/>
              <a:headEnd/>
              <a:tailEnd/>
            </a:ln>
          </p:spPr>
          <p:txBody>
            <a:bodyPr/>
            <a:lstStyle/>
            <a:p>
              <a:pPr>
                <a:defRPr/>
              </a:pPr>
              <a:endParaRPr lang="en-GB" sz="1200">
                <a:solidFill>
                  <a:schemeClr val="bg1"/>
                </a:solidFill>
              </a:endParaRPr>
            </a:p>
          </p:txBody>
        </p:sp>
        <p:sp>
          <p:nvSpPr>
            <p:cNvPr id="67" name="Freeform 23"/>
            <p:cNvSpPr>
              <a:spLocks/>
            </p:cNvSpPr>
            <p:nvPr/>
          </p:nvSpPr>
          <p:spPr bwMode="blackWhite">
            <a:xfrm>
              <a:off x="3375025" y="4476256"/>
              <a:ext cx="855663" cy="1174750"/>
            </a:xfrm>
            <a:custGeom>
              <a:avLst/>
              <a:gdLst>
                <a:gd name="T0" fmla="*/ 795509 w 697"/>
                <a:gd name="T1" fmla="*/ 773085 h 971"/>
                <a:gd name="T2" fmla="*/ 762363 w 697"/>
                <a:gd name="T3" fmla="*/ 729531 h 971"/>
                <a:gd name="T4" fmla="*/ 735355 w 697"/>
                <a:gd name="T5" fmla="*/ 681137 h 971"/>
                <a:gd name="T6" fmla="*/ 712030 w 697"/>
                <a:gd name="T7" fmla="*/ 631534 h 971"/>
                <a:gd name="T8" fmla="*/ 694843 w 697"/>
                <a:gd name="T9" fmla="*/ 580721 h 971"/>
                <a:gd name="T10" fmla="*/ 682566 w 697"/>
                <a:gd name="T11" fmla="*/ 527488 h 971"/>
                <a:gd name="T12" fmla="*/ 676428 w 697"/>
                <a:gd name="T13" fmla="*/ 474255 h 971"/>
                <a:gd name="T14" fmla="*/ 675200 w 697"/>
                <a:gd name="T15" fmla="*/ 419813 h 971"/>
                <a:gd name="T16" fmla="*/ 680111 w 697"/>
                <a:gd name="T17" fmla="*/ 365370 h 971"/>
                <a:gd name="T18" fmla="*/ 854435 w 697"/>
                <a:gd name="T19" fmla="*/ 445219 h 971"/>
                <a:gd name="T20" fmla="*/ 546298 w 697"/>
                <a:gd name="T21" fmla="*/ 0 h 971"/>
                <a:gd name="T22" fmla="*/ 0 w 697"/>
                <a:gd name="T23" fmla="*/ 53233 h 971"/>
                <a:gd name="T24" fmla="*/ 181690 w 697"/>
                <a:gd name="T25" fmla="*/ 136711 h 971"/>
                <a:gd name="T26" fmla="*/ 163276 w 697"/>
                <a:gd name="T27" fmla="*/ 209302 h 971"/>
                <a:gd name="T28" fmla="*/ 148544 w 697"/>
                <a:gd name="T29" fmla="*/ 281892 h 971"/>
                <a:gd name="T30" fmla="*/ 142406 w 697"/>
                <a:gd name="T31" fmla="*/ 356901 h 971"/>
                <a:gd name="T32" fmla="*/ 137495 w 697"/>
                <a:gd name="T33" fmla="*/ 431911 h 971"/>
                <a:gd name="T34" fmla="*/ 139951 w 697"/>
                <a:gd name="T35" fmla="*/ 505711 h 971"/>
                <a:gd name="T36" fmla="*/ 147316 w 697"/>
                <a:gd name="T37" fmla="*/ 579511 h 971"/>
                <a:gd name="T38" fmla="*/ 160820 w 697"/>
                <a:gd name="T39" fmla="*/ 653311 h 971"/>
                <a:gd name="T40" fmla="*/ 178007 w 697"/>
                <a:gd name="T41" fmla="*/ 724691 h 971"/>
                <a:gd name="T42" fmla="*/ 200105 w 697"/>
                <a:gd name="T43" fmla="*/ 797282 h 971"/>
                <a:gd name="T44" fmla="*/ 229568 w 697"/>
                <a:gd name="T45" fmla="*/ 866242 h 971"/>
                <a:gd name="T46" fmla="*/ 262714 w 697"/>
                <a:gd name="T47" fmla="*/ 932783 h 971"/>
                <a:gd name="T48" fmla="*/ 299543 w 697"/>
                <a:gd name="T49" fmla="*/ 998114 h 971"/>
                <a:gd name="T50" fmla="*/ 341283 w 697"/>
                <a:gd name="T51" fmla="*/ 1059816 h 971"/>
                <a:gd name="T52" fmla="*/ 387933 w 697"/>
                <a:gd name="T53" fmla="*/ 1119098 h 971"/>
                <a:gd name="T54" fmla="*/ 438266 w 697"/>
                <a:gd name="T55" fmla="*/ 1173540 h 971"/>
                <a:gd name="T56" fmla="*/ 489827 w 697"/>
                <a:gd name="T57" fmla="*/ 883180 h 971"/>
                <a:gd name="T58" fmla="*/ 795509 w 697"/>
                <a:gd name="T59" fmla="*/ 773085 h 97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97"/>
                <a:gd name="T91" fmla="*/ 0 h 971"/>
                <a:gd name="T92" fmla="*/ 697 w 697"/>
                <a:gd name="T93" fmla="*/ 971 h 97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solidFill>
              <a:schemeClr val="accent4"/>
            </a:solidFill>
            <a:ln w="12700" cap="rnd">
              <a:noFill/>
              <a:round/>
              <a:headEnd/>
              <a:tailEnd/>
            </a:ln>
          </p:spPr>
          <p:txBody>
            <a:bodyPr/>
            <a:lstStyle/>
            <a:p>
              <a:pPr>
                <a:defRPr/>
              </a:pPr>
              <a:endParaRPr lang="en-GB" sz="1200">
                <a:solidFill>
                  <a:schemeClr val="bg1"/>
                </a:solidFill>
              </a:endParaRPr>
            </a:p>
          </p:txBody>
        </p:sp>
        <p:sp>
          <p:nvSpPr>
            <p:cNvPr id="81" name="Rectangle 35"/>
            <p:cNvSpPr>
              <a:spLocks noChangeArrowheads="1"/>
            </p:cNvSpPr>
            <p:nvPr/>
          </p:nvSpPr>
          <p:spPr bwMode="blackWhite">
            <a:xfrm>
              <a:off x="4829175" y="4212731"/>
              <a:ext cx="514350"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a:solidFill>
                    <a:schemeClr val="bg1"/>
                  </a:solidFill>
                </a:rPr>
                <a:t>Text</a:t>
              </a:r>
            </a:p>
          </p:txBody>
        </p:sp>
        <p:sp>
          <p:nvSpPr>
            <p:cNvPr id="90" name="Rectangle 44"/>
            <p:cNvSpPr>
              <a:spLocks noChangeArrowheads="1"/>
            </p:cNvSpPr>
            <p:nvPr/>
          </p:nvSpPr>
          <p:spPr bwMode="blackWhite">
            <a:xfrm>
              <a:off x="4981575" y="5203331"/>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a:solidFill>
                    <a:schemeClr val="bg1"/>
                  </a:solidFill>
                </a:rPr>
                <a:t>Text</a:t>
              </a:r>
            </a:p>
          </p:txBody>
        </p:sp>
        <p:sp>
          <p:nvSpPr>
            <p:cNvPr id="91" name="Rectangle 45"/>
            <p:cNvSpPr>
              <a:spLocks noChangeArrowheads="1"/>
            </p:cNvSpPr>
            <p:nvPr/>
          </p:nvSpPr>
          <p:spPr bwMode="blackWhite">
            <a:xfrm>
              <a:off x="4143375" y="5584331"/>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a:solidFill>
                    <a:schemeClr val="bg1"/>
                  </a:solidFill>
                </a:rPr>
                <a:t>Text</a:t>
              </a:r>
            </a:p>
          </p:txBody>
        </p:sp>
        <p:sp>
          <p:nvSpPr>
            <p:cNvPr id="92" name="Rectangle 46"/>
            <p:cNvSpPr>
              <a:spLocks noChangeArrowheads="1"/>
            </p:cNvSpPr>
            <p:nvPr/>
          </p:nvSpPr>
          <p:spPr bwMode="blackWhite">
            <a:xfrm>
              <a:off x="3533775" y="4898531"/>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a:solidFill>
                    <a:schemeClr val="bg1"/>
                  </a:solidFill>
                </a:rPr>
                <a:t>Text</a:t>
              </a:r>
            </a:p>
          </p:txBody>
        </p:sp>
        <p:sp>
          <p:nvSpPr>
            <p:cNvPr id="93" name="Rectangle 47"/>
            <p:cNvSpPr>
              <a:spLocks noChangeArrowheads="1"/>
            </p:cNvSpPr>
            <p:nvPr/>
          </p:nvSpPr>
          <p:spPr bwMode="blackWhite">
            <a:xfrm>
              <a:off x="3914775" y="4136531"/>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2"/>
                  </a:solidFill>
                </a:rPr>
                <a:t>Text</a:t>
              </a:r>
            </a:p>
          </p:txBody>
        </p:sp>
      </p:grpSp>
      <p:grpSp>
        <p:nvGrpSpPr>
          <p:cNvPr id="8" name="Group 50"/>
          <p:cNvGrpSpPr/>
          <p:nvPr/>
        </p:nvGrpSpPr>
        <p:grpSpPr>
          <a:xfrm>
            <a:off x="396875" y="3586120"/>
            <a:ext cx="2509838" cy="2512561"/>
            <a:chOff x="396875" y="3586120"/>
            <a:chExt cx="2509838" cy="2512561"/>
          </a:xfrm>
        </p:grpSpPr>
        <p:sp>
          <p:nvSpPr>
            <p:cNvPr id="59" name="Freeform 15"/>
            <p:cNvSpPr>
              <a:spLocks/>
            </p:cNvSpPr>
            <p:nvPr/>
          </p:nvSpPr>
          <p:spPr bwMode="blackWhite">
            <a:xfrm>
              <a:off x="547688" y="3586120"/>
              <a:ext cx="1308100" cy="1117600"/>
            </a:xfrm>
            <a:custGeom>
              <a:avLst/>
              <a:gdLst>
                <a:gd name="T0" fmla="*/ 563089 w 1057"/>
                <a:gd name="T1" fmla="*/ 1091523 h 900"/>
                <a:gd name="T2" fmla="*/ 582890 w 1057"/>
                <a:gd name="T3" fmla="*/ 1040610 h 900"/>
                <a:gd name="T4" fmla="*/ 606404 w 1057"/>
                <a:gd name="T5" fmla="*/ 992180 h 900"/>
                <a:gd name="T6" fmla="*/ 636105 w 1057"/>
                <a:gd name="T7" fmla="*/ 946235 h 900"/>
                <a:gd name="T8" fmla="*/ 669519 w 1057"/>
                <a:gd name="T9" fmla="*/ 904014 h 900"/>
                <a:gd name="T10" fmla="*/ 705409 w 1057"/>
                <a:gd name="T11" fmla="*/ 864277 h 900"/>
                <a:gd name="T12" fmla="*/ 746248 w 1057"/>
                <a:gd name="T13" fmla="*/ 828266 h 900"/>
                <a:gd name="T14" fmla="*/ 790800 w 1057"/>
                <a:gd name="T15" fmla="*/ 797221 h 900"/>
                <a:gd name="T16" fmla="*/ 836590 w 1057"/>
                <a:gd name="T17" fmla="*/ 771144 h 900"/>
                <a:gd name="T18" fmla="*/ 882380 w 1057"/>
                <a:gd name="T19" fmla="*/ 751276 h 900"/>
                <a:gd name="T20" fmla="*/ 931882 w 1057"/>
                <a:gd name="T21" fmla="*/ 733891 h 900"/>
                <a:gd name="T22" fmla="*/ 981384 w 1057"/>
                <a:gd name="T23" fmla="*/ 721473 h 900"/>
                <a:gd name="T24" fmla="*/ 1032124 w 1057"/>
                <a:gd name="T25" fmla="*/ 714022 h 900"/>
                <a:gd name="T26" fmla="*/ 1030887 w 1057"/>
                <a:gd name="T27" fmla="*/ 882904 h 900"/>
                <a:gd name="T28" fmla="*/ 1306862 w 1057"/>
                <a:gd name="T29" fmla="*/ 464425 h 900"/>
                <a:gd name="T30" fmla="*/ 1012323 w 1057"/>
                <a:gd name="T31" fmla="*/ 0 h 900"/>
                <a:gd name="T32" fmla="*/ 1013561 w 1057"/>
                <a:gd name="T33" fmla="*/ 170124 h 900"/>
                <a:gd name="T34" fmla="*/ 936832 w 1057"/>
                <a:gd name="T35" fmla="*/ 177574 h 900"/>
                <a:gd name="T36" fmla="*/ 858866 w 1057"/>
                <a:gd name="T37" fmla="*/ 191234 h 900"/>
                <a:gd name="T38" fmla="*/ 784612 w 1057"/>
                <a:gd name="T39" fmla="*/ 208619 h 900"/>
                <a:gd name="T40" fmla="*/ 710359 w 1057"/>
                <a:gd name="T41" fmla="*/ 233454 h 900"/>
                <a:gd name="T42" fmla="*/ 638581 w 1057"/>
                <a:gd name="T43" fmla="*/ 262015 h 900"/>
                <a:gd name="T44" fmla="*/ 569277 w 1057"/>
                <a:gd name="T45" fmla="*/ 295543 h 900"/>
                <a:gd name="T46" fmla="*/ 501211 w 1057"/>
                <a:gd name="T47" fmla="*/ 335280 h 900"/>
                <a:gd name="T48" fmla="*/ 435621 w 1057"/>
                <a:gd name="T49" fmla="*/ 379984 h 900"/>
                <a:gd name="T50" fmla="*/ 373743 w 1057"/>
                <a:gd name="T51" fmla="*/ 429655 h 900"/>
                <a:gd name="T52" fmla="*/ 315578 w 1057"/>
                <a:gd name="T53" fmla="*/ 484293 h 900"/>
                <a:gd name="T54" fmla="*/ 261125 w 1057"/>
                <a:gd name="T55" fmla="*/ 542657 h 900"/>
                <a:gd name="T56" fmla="*/ 210385 w 1057"/>
                <a:gd name="T57" fmla="*/ 603504 h 900"/>
                <a:gd name="T58" fmla="*/ 165833 w 1057"/>
                <a:gd name="T59" fmla="*/ 669318 h 900"/>
                <a:gd name="T60" fmla="*/ 124993 w 1057"/>
                <a:gd name="T61" fmla="*/ 738858 h 900"/>
                <a:gd name="T62" fmla="*/ 89104 w 1057"/>
                <a:gd name="T63" fmla="*/ 810881 h 900"/>
                <a:gd name="T64" fmla="*/ 58165 w 1057"/>
                <a:gd name="T65" fmla="*/ 882904 h 900"/>
                <a:gd name="T66" fmla="*/ 33414 w 1057"/>
                <a:gd name="T67" fmla="*/ 959894 h 900"/>
                <a:gd name="T68" fmla="*/ 13613 w 1057"/>
                <a:gd name="T69" fmla="*/ 1036884 h 900"/>
                <a:gd name="T70" fmla="*/ 0 w 1057"/>
                <a:gd name="T71" fmla="*/ 1116358 h 900"/>
                <a:gd name="T72" fmla="*/ 294539 w 1057"/>
                <a:gd name="T73" fmla="*/ 920157 h 900"/>
                <a:gd name="T74" fmla="*/ 563089 w 1057"/>
                <a:gd name="T75" fmla="*/ 1091523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accent4"/>
            </a:solidFill>
            <a:ln w="12700" cap="rnd">
              <a:noFill/>
              <a:round/>
              <a:headEnd/>
              <a:tailEnd/>
            </a:ln>
          </p:spPr>
          <p:txBody>
            <a:bodyPr/>
            <a:lstStyle/>
            <a:p>
              <a:pPr>
                <a:defRPr/>
              </a:pPr>
              <a:endParaRPr lang="en-GB" sz="1200">
                <a:solidFill>
                  <a:schemeClr val="bg1"/>
                </a:solidFill>
              </a:endParaRPr>
            </a:p>
          </p:txBody>
        </p:sp>
        <p:sp>
          <p:nvSpPr>
            <p:cNvPr id="60" name="Freeform 16"/>
            <p:cNvSpPr>
              <a:spLocks/>
            </p:cNvSpPr>
            <p:nvPr/>
          </p:nvSpPr>
          <p:spPr bwMode="blackWhite">
            <a:xfrm>
              <a:off x="1422400" y="4974731"/>
              <a:ext cx="1277938" cy="1123950"/>
            </a:xfrm>
            <a:custGeom>
              <a:avLst/>
              <a:gdLst>
                <a:gd name="T0" fmla="*/ 2147483647 w 1033"/>
                <a:gd name="T1" fmla="*/ 2147483647 h 904"/>
                <a:gd name="T2" fmla="*/ 2147483647 w 1033"/>
                <a:gd name="T3" fmla="*/ 2147483647 h 904"/>
                <a:gd name="T4" fmla="*/ 2147483647 w 1033"/>
                <a:gd name="T5" fmla="*/ 2147483647 h 904"/>
                <a:gd name="T6" fmla="*/ 2147483647 w 1033"/>
                <a:gd name="T7" fmla="*/ 2147483647 h 904"/>
                <a:gd name="T8" fmla="*/ 2147483647 w 1033"/>
                <a:gd name="T9" fmla="*/ 2147483647 h 904"/>
                <a:gd name="T10" fmla="*/ 2147483647 w 1033"/>
                <a:gd name="T11" fmla="*/ 2147483647 h 904"/>
                <a:gd name="T12" fmla="*/ 2147483647 w 1033"/>
                <a:gd name="T13" fmla="*/ 2147483647 h 904"/>
                <a:gd name="T14" fmla="*/ 2147483647 w 1033"/>
                <a:gd name="T15" fmla="*/ 2147483647 h 904"/>
                <a:gd name="T16" fmla="*/ 2147483647 w 1033"/>
                <a:gd name="T17" fmla="*/ 2147483647 h 904"/>
                <a:gd name="T18" fmla="*/ 2147483647 w 1033"/>
                <a:gd name="T19" fmla="*/ 2147483647 h 904"/>
                <a:gd name="T20" fmla="*/ 2147483647 w 1033"/>
                <a:gd name="T21" fmla="*/ 2147483647 h 904"/>
                <a:gd name="T22" fmla="*/ 2147483647 w 1033"/>
                <a:gd name="T23" fmla="*/ 2147483647 h 904"/>
                <a:gd name="T24" fmla="*/ 2147483647 w 1033"/>
                <a:gd name="T25" fmla="*/ 2147483647 h 904"/>
                <a:gd name="T26" fmla="*/ 2147483647 w 1033"/>
                <a:gd name="T27" fmla="*/ 2147483647 h 904"/>
                <a:gd name="T28" fmla="*/ 2147483647 w 1033"/>
                <a:gd name="T29" fmla="*/ 2147483647 h 904"/>
                <a:gd name="T30" fmla="*/ 2147483647 w 1033"/>
                <a:gd name="T31" fmla="*/ 2147483647 h 904"/>
                <a:gd name="T32" fmla="*/ 0 w 1033"/>
                <a:gd name="T33" fmla="*/ 2147483647 h 904"/>
                <a:gd name="T34" fmla="*/ 2147483647 w 1033"/>
                <a:gd name="T35" fmla="*/ 2147483647 h 904"/>
                <a:gd name="T36" fmla="*/ 2147483647 w 1033"/>
                <a:gd name="T37" fmla="*/ 2147483647 h 904"/>
                <a:gd name="T38" fmla="*/ 2147483647 w 1033"/>
                <a:gd name="T39" fmla="*/ 2147483647 h 904"/>
                <a:gd name="T40" fmla="*/ 2147483647 w 1033"/>
                <a:gd name="T41" fmla="*/ 2147483647 h 904"/>
                <a:gd name="T42" fmla="*/ 2147483647 w 1033"/>
                <a:gd name="T43" fmla="*/ 2147483647 h 904"/>
                <a:gd name="T44" fmla="*/ 2147483647 w 1033"/>
                <a:gd name="T45" fmla="*/ 2147483647 h 904"/>
                <a:gd name="T46" fmla="*/ 2147483647 w 1033"/>
                <a:gd name="T47" fmla="*/ 2147483647 h 904"/>
                <a:gd name="T48" fmla="*/ 2147483647 w 1033"/>
                <a:gd name="T49" fmla="*/ 2147483647 h 904"/>
                <a:gd name="T50" fmla="*/ 2147483647 w 1033"/>
                <a:gd name="T51" fmla="*/ 2147483647 h 904"/>
                <a:gd name="T52" fmla="*/ 2147483647 w 1033"/>
                <a:gd name="T53" fmla="*/ 2147483647 h 904"/>
                <a:gd name="T54" fmla="*/ 2147483647 w 1033"/>
                <a:gd name="T55" fmla="*/ 2147483647 h 904"/>
                <a:gd name="T56" fmla="*/ 2147483647 w 1033"/>
                <a:gd name="T57" fmla="*/ 2147483647 h 904"/>
                <a:gd name="T58" fmla="*/ 2147483647 w 1033"/>
                <a:gd name="T59" fmla="*/ 2147483647 h 904"/>
                <a:gd name="T60" fmla="*/ 2147483647 w 1033"/>
                <a:gd name="T61" fmla="*/ 2147483647 h 904"/>
                <a:gd name="T62" fmla="*/ 2147483647 w 1033"/>
                <a:gd name="T63" fmla="*/ 2147483647 h 904"/>
                <a:gd name="T64" fmla="*/ 2147483647 w 1033"/>
                <a:gd name="T65" fmla="*/ 2147483647 h 904"/>
                <a:gd name="T66" fmla="*/ 2147483647 w 1033"/>
                <a:gd name="T67" fmla="*/ 2147483647 h 904"/>
                <a:gd name="T68" fmla="*/ 2147483647 w 1033"/>
                <a:gd name="T69" fmla="*/ 2147483647 h 904"/>
                <a:gd name="T70" fmla="*/ 2147483647 w 1033"/>
                <a:gd name="T71" fmla="*/ 2147483647 h 904"/>
                <a:gd name="T72" fmla="*/ 2147483647 w 1033"/>
                <a:gd name="T73" fmla="*/ 2147483647 h 904"/>
                <a:gd name="T74" fmla="*/ 2147483647 w 1033"/>
                <a:gd name="T75" fmla="*/ 2147483647 h 904"/>
                <a:gd name="T76" fmla="*/ 2147483647 w 1033"/>
                <a:gd name="T77" fmla="*/ 0 h 904"/>
                <a:gd name="T78" fmla="*/ 2147483647 w 1033"/>
                <a:gd name="T79" fmla="*/ 2147483647 h 904"/>
                <a:gd name="T80" fmla="*/ 2147483647 w 1033"/>
                <a:gd name="T81" fmla="*/ 2147483647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accent2"/>
            </a:solidFill>
            <a:ln w="12700" cap="rnd">
              <a:noFill/>
              <a:round/>
              <a:headEnd/>
              <a:tailEnd/>
            </a:ln>
          </p:spPr>
          <p:txBody>
            <a:bodyPr/>
            <a:lstStyle/>
            <a:p>
              <a:endParaRPr lang="en-GB" sz="1200"/>
            </a:p>
          </p:txBody>
        </p:sp>
        <p:sp>
          <p:nvSpPr>
            <p:cNvPr id="61" name="Freeform 17"/>
            <p:cNvSpPr>
              <a:spLocks/>
            </p:cNvSpPr>
            <p:nvPr/>
          </p:nvSpPr>
          <p:spPr bwMode="blackWhite">
            <a:xfrm>
              <a:off x="396875" y="4566744"/>
              <a:ext cx="1150938" cy="1335087"/>
            </a:xfrm>
            <a:custGeom>
              <a:avLst/>
              <a:gdLst>
                <a:gd name="T0" fmla="*/ 1149700 w 930"/>
                <a:gd name="T1" fmla="*/ 801052 h 1075"/>
                <a:gd name="T2" fmla="*/ 1097723 w 930"/>
                <a:gd name="T3" fmla="*/ 787391 h 1075"/>
                <a:gd name="T4" fmla="*/ 1048220 w 930"/>
                <a:gd name="T5" fmla="*/ 770004 h 1075"/>
                <a:gd name="T6" fmla="*/ 998717 w 930"/>
                <a:gd name="T7" fmla="*/ 748891 h 1075"/>
                <a:gd name="T8" fmla="*/ 954165 w 930"/>
                <a:gd name="T9" fmla="*/ 722810 h 1075"/>
                <a:gd name="T10" fmla="*/ 909612 w 930"/>
                <a:gd name="T11" fmla="*/ 691761 h 1075"/>
                <a:gd name="T12" fmla="*/ 870010 w 930"/>
                <a:gd name="T13" fmla="*/ 656987 h 1075"/>
                <a:gd name="T14" fmla="*/ 832883 w 930"/>
                <a:gd name="T15" fmla="*/ 617245 h 1075"/>
                <a:gd name="T16" fmla="*/ 801944 w 930"/>
                <a:gd name="T17" fmla="*/ 577503 h 1075"/>
                <a:gd name="T18" fmla="*/ 772242 w 930"/>
                <a:gd name="T19" fmla="*/ 531551 h 1075"/>
                <a:gd name="T20" fmla="*/ 751204 w 930"/>
                <a:gd name="T21" fmla="*/ 494293 h 1075"/>
                <a:gd name="T22" fmla="*/ 735115 w 930"/>
                <a:gd name="T23" fmla="*/ 454550 h 1075"/>
                <a:gd name="T24" fmla="*/ 721502 w 930"/>
                <a:gd name="T25" fmla="*/ 412325 h 1075"/>
                <a:gd name="T26" fmla="*/ 714077 w 930"/>
                <a:gd name="T27" fmla="*/ 370099 h 1075"/>
                <a:gd name="T28" fmla="*/ 711602 w 930"/>
                <a:gd name="T29" fmla="*/ 327873 h 1075"/>
                <a:gd name="T30" fmla="*/ 712839 w 930"/>
                <a:gd name="T31" fmla="*/ 284405 h 1075"/>
                <a:gd name="T32" fmla="*/ 925701 w 930"/>
                <a:gd name="T33" fmla="*/ 284405 h 1075"/>
                <a:gd name="T34" fmla="*/ 445524 w 930"/>
                <a:gd name="T35" fmla="*/ 0 h 1075"/>
                <a:gd name="T36" fmla="*/ 0 w 930"/>
                <a:gd name="T37" fmla="*/ 293098 h 1075"/>
                <a:gd name="T38" fmla="*/ 168309 w 930"/>
                <a:gd name="T39" fmla="*/ 294340 h 1075"/>
                <a:gd name="T40" fmla="*/ 174497 w 930"/>
                <a:gd name="T41" fmla="*/ 371340 h 1075"/>
                <a:gd name="T42" fmla="*/ 185635 w 930"/>
                <a:gd name="T43" fmla="*/ 449583 h 1075"/>
                <a:gd name="T44" fmla="*/ 204199 w 930"/>
                <a:gd name="T45" fmla="*/ 524099 h 1075"/>
                <a:gd name="T46" fmla="*/ 225237 w 930"/>
                <a:gd name="T47" fmla="*/ 599858 h 1075"/>
                <a:gd name="T48" fmla="*/ 252464 w 930"/>
                <a:gd name="T49" fmla="*/ 671890 h 1075"/>
                <a:gd name="T50" fmla="*/ 285878 w 930"/>
                <a:gd name="T51" fmla="*/ 742681 h 1075"/>
                <a:gd name="T52" fmla="*/ 324243 w 930"/>
                <a:gd name="T53" fmla="*/ 810988 h 1075"/>
                <a:gd name="T54" fmla="*/ 366320 w 930"/>
                <a:gd name="T55" fmla="*/ 874327 h 1075"/>
                <a:gd name="T56" fmla="*/ 412110 w 930"/>
                <a:gd name="T57" fmla="*/ 933940 h 1075"/>
                <a:gd name="T58" fmla="*/ 462850 w 930"/>
                <a:gd name="T59" fmla="*/ 989827 h 1075"/>
                <a:gd name="T60" fmla="*/ 518541 w 930"/>
                <a:gd name="T61" fmla="*/ 1044473 h 1075"/>
                <a:gd name="T62" fmla="*/ 575469 w 930"/>
                <a:gd name="T63" fmla="*/ 1092908 h 1075"/>
                <a:gd name="T64" fmla="*/ 636110 w 930"/>
                <a:gd name="T65" fmla="*/ 1138860 h 1075"/>
                <a:gd name="T66" fmla="*/ 700463 w 930"/>
                <a:gd name="T67" fmla="*/ 1181086 h 1075"/>
                <a:gd name="T68" fmla="*/ 767292 w 930"/>
                <a:gd name="T69" fmla="*/ 1217102 h 1075"/>
                <a:gd name="T70" fmla="*/ 835358 w 930"/>
                <a:gd name="T71" fmla="*/ 1250635 h 1075"/>
                <a:gd name="T72" fmla="*/ 905900 w 930"/>
                <a:gd name="T73" fmla="*/ 1277958 h 1075"/>
                <a:gd name="T74" fmla="*/ 977679 w 930"/>
                <a:gd name="T75" fmla="*/ 1301555 h 1075"/>
                <a:gd name="T76" fmla="*/ 1050695 w 930"/>
                <a:gd name="T77" fmla="*/ 1318942 h 1075"/>
                <a:gd name="T78" fmla="*/ 1126187 w 930"/>
                <a:gd name="T79" fmla="*/ 1333845 h 1075"/>
                <a:gd name="T80" fmla="*/ 955402 w 930"/>
                <a:gd name="T81" fmla="*/ 1049440 h 1075"/>
                <a:gd name="T82" fmla="*/ 1149700 w 930"/>
                <a:gd name="T83" fmla="*/ 801052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accent3"/>
            </a:solidFill>
            <a:ln w="12700" cap="rnd">
              <a:noFill/>
              <a:round/>
              <a:headEnd/>
              <a:tailEnd/>
            </a:ln>
          </p:spPr>
          <p:txBody>
            <a:bodyPr/>
            <a:lstStyle/>
            <a:p>
              <a:pPr>
                <a:defRPr/>
              </a:pPr>
              <a:endParaRPr lang="en-GB" sz="1200">
                <a:solidFill>
                  <a:schemeClr val="bg1"/>
                </a:solidFill>
              </a:endParaRPr>
            </a:p>
          </p:txBody>
        </p:sp>
        <p:sp>
          <p:nvSpPr>
            <p:cNvPr id="62" name="Freeform 18"/>
            <p:cNvSpPr>
              <a:spLocks/>
            </p:cNvSpPr>
            <p:nvPr/>
          </p:nvSpPr>
          <p:spPr bwMode="blackWhite">
            <a:xfrm>
              <a:off x="1739900" y="3753944"/>
              <a:ext cx="1166813" cy="1323975"/>
            </a:xfrm>
            <a:custGeom>
              <a:avLst/>
              <a:gdLst>
                <a:gd name="T0" fmla="*/ 2147483647 w 943"/>
                <a:gd name="T1" fmla="*/ 2147483647 h 1065"/>
                <a:gd name="T2" fmla="*/ 2147483647 w 943"/>
                <a:gd name="T3" fmla="*/ 2147483647 h 1065"/>
                <a:gd name="T4" fmla="*/ 2147483647 w 943"/>
                <a:gd name="T5" fmla="*/ 2147483647 h 1065"/>
                <a:gd name="T6" fmla="*/ 2147483647 w 943"/>
                <a:gd name="T7" fmla="*/ 2147483647 h 1065"/>
                <a:gd name="T8" fmla="*/ 2147483647 w 943"/>
                <a:gd name="T9" fmla="*/ 2147483647 h 1065"/>
                <a:gd name="T10" fmla="*/ 2147483647 w 943"/>
                <a:gd name="T11" fmla="*/ 2147483647 h 1065"/>
                <a:gd name="T12" fmla="*/ 2147483647 w 943"/>
                <a:gd name="T13" fmla="*/ 2147483647 h 1065"/>
                <a:gd name="T14" fmla="*/ 2147483647 w 943"/>
                <a:gd name="T15" fmla="*/ 2147483647 h 1065"/>
                <a:gd name="T16" fmla="*/ 2147483647 w 943"/>
                <a:gd name="T17" fmla="*/ 2147483647 h 1065"/>
                <a:gd name="T18" fmla="*/ 2147483647 w 943"/>
                <a:gd name="T19" fmla="*/ 2147483647 h 1065"/>
                <a:gd name="T20" fmla="*/ 2147483647 w 943"/>
                <a:gd name="T21" fmla="*/ 2147483647 h 1065"/>
                <a:gd name="T22" fmla="*/ 2147483647 w 943"/>
                <a:gd name="T23" fmla="*/ 2147483647 h 1065"/>
                <a:gd name="T24" fmla="*/ 2147483647 w 943"/>
                <a:gd name="T25" fmla="*/ 2147483647 h 1065"/>
                <a:gd name="T26" fmla="*/ 2147483647 w 943"/>
                <a:gd name="T27" fmla="*/ 2147483647 h 1065"/>
                <a:gd name="T28" fmla="*/ 2147483647 w 943"/>
                <a:gd name="T29" fmla="*/ 2147483647 h 1065"/>
                <a:gd name="T30" fmla="*/ 2147483647 w 943"/>
                <a:gd name="T31" fmla="*/ 2147483647 h 1065"/>
                <a:gd name="T32" fmla="*/ 2147483647 w 943"/>
                <a:gd name="T33" fmla="*/ 2147483647 h 1065"/>
                <a:gd name="T34" fmla="*/ 2147483647 w 943"/>
                <a:gd name="T35" fmla="*/ 2147483647 h 1065"/>
                <a:gd name="T36" fmla="*/ 2147483647 w 943"/>
                <a:gd name="T37" fmla="*/ 2147483647 h 1065"/>
                <a:gd name="T38" fmla="*/ 2147483647 w 943"/>
                <a:gd name="T39" fmla="*/ 2147483647 h 1065"/>
                <a:gd name="T40" fmla="*/ 2147483647 w 943"/>
                <a:gd name="T41" fmla="*/ 2147483647 h 1065"/>
                <a:gd name="T42" fmla="*/ 2147483647 w 943"/>
                <a:gd name="T43" fmla="*/ 2147483647 h 1065"/>
                <a:gd name="T44" fmla="*/ 0 w 943"/>
                <a:gd name="T45" fmla="*/ 0 h 1065"/>
                <a:gd name="T46" fmla="*/ 2147483647 w 943"/>
                <a:gd name="T47" fmla="*/ 2147483647 h 1065"/>
                <a:gd name="T48" fmla="*/ 2147483647 w 943"/>
                <a:gd name="T49" fmla="*/ 2147483647 h 1065"/>
                <a:gd name="T50" fmla="*/ 2147483647 w 943"/>
                <a:gd name="T51" fmla="*/ 2147483647 h 1065"/>
                <a:gd name="T52" fmla="*/ 2147483647 w 943"/>
                <a:gd name="T53" fmla="*/ 2147483647 h 1065"/>
                <a:gd name="T54" fmla="*/ 2147483647 w 943"/>
                <a:gd name="T55" fmla="*/ 2147483647 h 1065"/>
                <a:gd name="T56" fmla="*/ 2147483647 w 943"/>
                <a:gd name="T57" fmla="*/ 2147483647 h 1065"/>
                <a:gd name="T58" fmla="*/ 2147483647 w 943"/>
                <a:gd name="T59" fmla="*/ 2147483647 h 1065"/>
                <a:gd name="T60" fmla="*/ 2147483647 w 943"/>
                <a:gd name="T61" fmla="*/ 2147483647 h 1065"/>
                <a:gd name="T62" fmla="*/ 2147483647 w 943"/>
                <a:gd name="T63" fmla="*/ 2147483647 h 1065"/>
                <a:gd name="T64" fmla="*/ 2147483647 w 943"/>
                <a:gd name="T65" fmla="*/ 2147483647 h 1065"/>
                <a:gd name="T66" fmla="*/ 2147483647 w 943"/>
                <a:gd name="T67" fmla="*/ 2147483647 h 1065"/>
                <a:gd name="T68" fmla="*/ 2147483647 w 943"/>
                <a:gd name="T69" fmla="*/ 2147483647 h 1065"/>
                <a:gd name="T70" fmla="*/ 2147483647 w 943"/>
                <a:gd name="T71" fmla="*/ 2147483647 h 1065"/>
                <a:gd name="T72" fmla="*/ 2147483647 w 943"/>
                <a:gd name="T73" fmla="*/ 2147483647 h 1065"/>
                <a:gd name="T74" fmla="*/ 2147483647 w 943"/>
                <a:gd name="T75" fmla="*/ 2147483647 h 1065"/>
                <a:gd name="T76" fmla="*/ 2147483647 w 943"/>
                <a:gd name="T77" fmla="*/ 2147483647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1"/>
            </a:solidFill>
            <a:ln w="12700" cap="rnd">
              <a:noFill/>
              <a:round/>
              <a:headEnd/>
              <a:tailEnd/>
            </a:ln>
          </p:spPr>
          <p:txBody>
            <a:bodyPr/>
            <a:lstStyle/>
            <a:p>
              <a:endParaRPr lang="en-GB" sz="1200">
                <a:solidFill>
                  <a:schemeClr val="bg1"/>
                </a:solidFill>
              </a:endParaRPr>
            </a:p>
          </p:txBody>
        </p:sp>
        <p:sp>
          <p:nvSpPr>
            <p:cNvPr id="82" name="Rectangle 36"/>
            <p:cNvSpPr>
              <a:spLocks noChangeArrowheads="1"/>
            </p:cNvSpPr>
            <p:nvPr/>
          </p:nvSpPr>
          <p:spPr bwMode="blackWhite">
            <a:xfrm>
              <a:off x="2009775" y="4288931"/>
              <a:ext cx="514350"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a:solidFill>
                    <a:schemeClr val="bg1"/>
                  </a:solidFill>
                </a:rPr>
                <a:t>Text</a:t>
              </a:r>
            </a:p>
          </p:txBody>
        </p:sp>
        <p:sp>
          <p:nvSpPr>
            <p:cNvPr id="94" name="Rectangle 48"/>
            <p:cNvSpPr>
              <a:spLocks noChangeArrowheads="1"/>
            </p:cNvSpPr>
            <p:nvPr/>
          </p:nvSpPr>
          <p:spPr bwMode="blackWhite">
            <a:xfrm>
              <a:off x="1019175" y="4060331"/>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a:solidFill>
                    <a:schemeClr val="bg1"/>
                  </a:solidFill>
                </a:rPr>
                <a:t>Text</a:t>
              </a:r>
            </a:p>
          </p:txBody>
        </p:sp>
        <p:sp>
          <p:nvSpPr>
            <p:cNvPr id="95" name="Rectangle 49"/>
            <p:cNvSpPr>
              <a:spLocks noChangeArrowheads="1"/>
            </p:cNvSpPr>
            <p:nvPr/>
          </p:nvSpPr>
          <p:spPr bwMode="blackWhite">
            <a:xfrm>
              <a:off x="714375" y="5203331"/>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a:solidFill>
                    <a:schemeClr val="bg1"/>
                  </a:solidFill>
                </a:rPr>
                <a:t>Text</a:t>
              </a:r>
            </a:p>
          </p:txBody>
        </p:sp>
        <p:sp>
          <p:nvSpPr>
            <p:cNvPr id="96" name="Rectangle 50"/>
            <p:cNvSpPr>
              <a:spLocks noChangeArrowheads="1"/>
            </p:cNvSpPr>
            <p:nvPr/>
          </p:nvSpPr>
          <p:spPr bwMode="blackWhite">
            <a:xfrm>
              <a:off x="1781175" y="5431931"/>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a:solidFill>
                    <a:schemeClr val="bg1"/>
                  </a:solidFill>
                </a:rPr>
                <a:t>Text</a:t>
              </a:r>
            </a:p>
          </p:txBody>
        </p:sp>
      </p:grpSp>
      <p:sp>
        <p:nvSpPr>
          <p:cNvPr id="50" name="Text Placeholder 36"/>
          <p:cNvSpPr txBox="1">
            <a:spLocks/>
          </p:cNvSpPr>
          <p:nvPr/>
        </p:nvSpPr>
        <p:spPr bwMode="gray">
          <a:xfrm>
            <a:off x="411479" y="6163148"/>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41" name="Title 1"/>
          <p:cNvSpPr>
            <a:spLocks noGrp="1"/>
          </p:cNvSpPr>
          <p:nvPr>
            <p:ph type="title"/>
          </p:nvPr>
        </p:nvSpPr>
        <p:spPr>
          <a:xfrm>
            <a:off x="414338" y="446038"/>
            <a:ext cx="8330184" cy="333425"/>
          </a:xfrm>
        </p:spPr>
        <p:txBody>
          <a:bodyPr/>
          <a:lstStyle/>
          <a:p>
            <a:r>
              <a:rPr lang="nl-NL"/>
              <a:t>Circles </a:t>
            </a:r>
            <a:r>
              <a:rPr lang="en-US"/>
              <a:t>—</a:t>
            </a:r>
            <a:r>
              <a:rPr lang="nl-NL" smtClean="0"/>
              <a:t> </a:t>
            </a:r>
            <a:r>
              <a:rPr lang="nl-NL"/>
              <a:t>chevrons</a:t>
            </a:r>
          </a:p>
        </p:txBody>
      </p:sp>
      <p:sp>
        <p:nvSpPr>
          <p:cNvPr id="5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grpSp>
        <p:nvGrpSpPr>
          <p:cNvPr id="106" name="Group 105"/>
          <p:cNvGrpSpPr/>
          <p:nvPr/>
        </p:nvGrpSpPr>
        <p:grpSpPr>
          <a:xfrm>
            <a:off x="257354" y="1013029"/>
            <a:ext cx="2766702" cy="2773914"/>
            <a:chOff x="257354" y="1013029"/>
            <a:chExt cx="2766702" cy="2773914"/>
          </a:xfrm>
        </p:grpSpPr>
        <p:pic>
          <p:nvPicPr>
            <p:cNvPr id="102" name="Picture 101" descr="3 segment_chevron circle_RGB.wmf"/>
            <p:cNvPicPr>
              <a:picLocks noChangeAspect="1"/>
            </p:cNvPicPr>
            <p:nvPr/>
          </p:nvPicPr>
          <p:blipFill>
            <a:blip r:embed="rId2" cstate="print"/>
            <a:stretch>
              <a:fillRect/>
            </a:stretch>
          </p:blipFill>
          <p:spPr>
            <a:xfrm>
              <a:off x="257354" y="1013029"/>
              <a:ext cx="2766702" cy="2773914"/>
            </a:xfrm>
            <a:prstGeom prst="rect">
              <a:avLst/>
            </a:prstGeom>
          </p:spPr>
        </p:pic>
        <p:sp>
          <p:nvSpPr>
            <p:cNvPr id="72" name="Rectangle 38"/>
            <p:cNvSpPr>
              <a:spLocks noChangeArrowheads="1"/>
            </p:cNvSpPr>
            <p:nvPr/>
          </p:nvSpPr>
          <p:spPr bwMode="blackWhite">
            <a:xfrm>
              <a:off x="2403882" y="2058292"/>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103" name="Rectangle 38"/>
            <p:cNvSpPr>
              <a:spLocks noChangeArrowheads="1"/>
            </p:cNvSpPr>
            <p:nvPr/>
          </p:nvSpPr>
          <p:spPr bwMode="blackWhite">
            <a:xfrm>
              <a:off x="520239" y="1797997"/>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104" name="Rectangle 38"/>
            <p:cNvSpPr>
              <a:spLocks noChangeArrowheads="1"/>
            </p:cNvSpPr>
            <p:nvPr/>
          </p:nvSpPr>
          <p:spPr bwMode="blackWhite">
            <a:xfrm>
              <a:off x="1407815" y="3338452"/>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smtClean="0">
                  <a:solidFill>
                    <a:schemeClr val="bg1"/>
                  </a:solidFill>
                </a:rPr>
                <a:t>Text</a:t>
              </a:r>
              <a:endParaRPr lang="en-GB" sz="1200" dirty="0">
                <a:solidFill>
                  <a:schemeClr val="bg1"/>
                </a:solidFill>
              </a:endParaRPr>
            </a:p>
          </p:txBody>
        </p:sp>
      </p:grpSp>
      <p:grpSp>
        <p:nvGrpSpPr>
          <p:cNvPr id="111" name="Group 110"/>
          <p:cNvGrpSpPr/>
          <p:nvPr/>
        </p:nvGrpSpPr>
        <p:grpSpPr>
          <a:xfrm>
            <a:off x="3770890" y="1013029"/>
            <a:ext cx="2766702" cy="2766702"/>
            <a:chOff x="3990997" y="1020241"/>
            <a:chExt cx="2766702" cy="2766702"/>
          </a:xfrm>
        </p:grpSpPr>
        <p:pic>
          <p:nvPicPr>
            <p:cNvPr id="105" name="Picture 104" descr="4 segment_chevron circle_RGB.wmf"/>
            <p:cNvPicPr>
              <a:picLocks noChangeAspect="1"/>
            </p:cNvPicPr>
            <p:nvPr/>
          </p:nvPicPr>
          <p:blipFill>
            <a:blip r:embed="rId3" cstate="print"/>
            <a:stretch>
              <a:fillRect/>
            </a:stretch>
          </p:blipFill>
          <p:spPr>
            <a:xfrm>
              <a:off x="3990997" y="1020241"/>
              <a:ext cx="2766702" cy="2766702"/>
            </a:xfrm>
            <a:prstGeom prst="rect">
              <a:avLst/>
            </a:prstGeom>
          </p:spPr>
        </p:pic>
        <p:sp>
          <p:nvSpPr>
            <p:cNvPr id="107" name="Rectangle 41"/>
            <p:cNvSpPr>
              <a:spLocks noChangeArrowheads="1"/>
            </p:cNvSpPr>
            <p:nvPr/>
          </p:nvSpPr>
          <p:spPr bwMode="blackWhite">
            <a:xfrm>
              <a:off x="4381280" y="1596437"/>
              <a:ext cx="514350"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108" name="Rectangle 41"/>
            <p:cNvSpPr>
              <a:spLocks noChangeArrowheads="1"/>
            </p:cNvSpPr>
            <p:nvPr/>
          </p:nvSpPr>
          <p:spPr bwMode="blackWhite">
            <a:xfrm>
              <a:off x="5747366" y="3102056"/>
              <a:ext cx="514350"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109" name="Rectangle 41"/>
            <p:cNvSpPr>
              <a:spLocks noChangeArrowheads="1"/>
            </p:cNvSpPr>
            <p:nvPr/>
          </p:nvSpPr>
          <p:spPr bwMode="blackWhite">
            <a:xfrm>
              <a:off x="5923623" y="1684153"/>
              <a:ext cx="514350"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110" name="Rectangle 41"/>
            <p:cNvSpPr>
              <a:spLocks noChangeArrowheads="1"/>
            </p:cNvSpPr>
            <p:nvPr/>
          </p:nvSpPr>
          <p:spPr bwMode="blackWhite">
            <a:xfrm>
              <a:off x="4292980" y="2926623"/>
              <a:ext cx="514350"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1"/>
                  </a:solidFill>
                </a:rPr>
                <a:t>Text</a:t>
              </a:r>
            </a:p>
          </p:txBody>
        </p:sp>
      </p:grpSp>
      <p:pic>
        <p:nvPicPr>
          <p:cNvPr id="114" name="Picture 113" descr="5 segment_chevron circle_RGB.wmf"/>
          <p:cNvPicPr>
            <a:picLocks noChangeAspect="1"/>
          </p:cNvPicPr>
          <p:nvPr/>
        </p:nvPicPr>
        <p:blipFill>
          <a:blip r:embed="rId4" cstate="print"/>
          <a:stretch>
            <a:fillRect/>
          </a:stretch>
        </p:blipFill>
        <p:spPr>
          <a:xfrm>
            <a:off x="2023987" y="3486929"/>
            <a:ext cx="2772713" cy="2773914"/>
          </a:xfrm>
          <a:prstGeom prst="rect">
            <a:avLst/>
          </a:prstGeom>
        </p:spPr>
      </p:pic>
      <p:sp>
        <p:nvSpPr>
          <p:cNvPr id="91" name="Rectangle 41"/>
          <p:cNvSpPr>
            <a:spLocks noChangeArrowheads="1"/>
          </p:cNvSpPr>
          <p:nvPr/>
        </p:nvSpPr>
        <p:spPr bwMode="blackWhite">
          <a:xfrm>
            <a:off x="2653496" y="3847648"/>
            <a:ext cx="514350"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92" name="Rectangle 42"/>
          <p:cNvSpPr>
            <a:spLocks noChangeArrowheads="1"/>
          </p:cNvSpPr>
          <p:nvPr/>
        </p:nvSpPr>
        <p:spPr bwMode="blackWhite">
          <a:xfrm>
            <a:off x="3886419" y="4110317"/>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93" name="Rectangle 43"/>
          <p:cNvSpPr>
            <a:spLocks noChangeArrowheads="1"/>
          </p:cNvSpPr>
          <p:nvPr/>
        </p:nvSpPr>
        <p:spPr bwMode="blackWhite">
          <a:xfrm>
            <a:off x="4092134" y="5225477"/>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94" name="Rectangle 44"/>
          <p:cNvSpPr>
            <a:spLocks noChangeArrowheads="1"/>
          </p:cNvSpPr>
          <p:nvPr/>
        </p:nvSpPr>
        <p:spPr bwMode="blackWhite">
          <a:xfrm>
            <a:off x="3034749" y="5773500"/>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95" name="Rectangle 45"/>
          <p:cNvSpPr>
            <a:spLocks noChangeArrowheads="1"/>
          </p:cNvSpPr>
          <p:nvPr/>
        </p:nvSpPr>
        <p:spPr bwMode="blackWhite">
          <a:xfrm>
            <a:off x="2137811" y="5018971"/>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2"/>
                </a:solidFill>
              </a:rPr>
              <a:t>Text</a:t>
            </a:r>
          </a:p>
        </p:txBody>
      </p:sp>
      <p:pic>
        <p:nvPicPr>
          <p:cNvPr id="115" name="Picture 114" descr="6 segment_chevron circle_RGB.wmf"/>
          <p:cNvPicPr>
            <a:picLocks noChangeAspect="1"/>
          </p:cNvPicPr>
          <p:nvPr/>
        </p:nvPicPr>
        <p:blipFill>
          <a:blip r:embed="rId5" cstate="print"/>
          <a:stretch>
            <a:fillRect/>
          </a:stretch>
        </p:blipFill>
        <p:spPr>
          <a:xfrm>
            <a:off x="5703516" y="3481774"/>
            <a:ext cx="2779069" cy="2779069"/>
          </a:xfrm>
          <a:prstGeom prst="rect">
            <a:avLst/>
          </a:prstGeom>
        </p:spPr>
      </p:pic>
      <p:sp>
        <p:nvSpPr>
          <p:cNvPr id="116" name="Rectangle 46"/>
          <p:cNvSpPr>
            <a:spLocks noChangeArrowheads="1"/>
          </p:cNvSpPr>
          <p:nvPr/>
        </p:nvSpPr>
        <p:spPr bwMode="blackWhite">
          <a:xfrm>
            <a:off x="6360178" y="3831985"/>
            <a:ext cx="514350"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117" name="Rectangle 47"/>
          <p:cNvSpPr>
            <a:spLocks noChangeArrowheads="1"/>
          </p:cNvSpPr>
          <p:nvPr/>
        </p:nvSpPr>
        <p:spPr bwMode="blackWhite">
          <a:xfrm>
            <a:off x="7457467" y="3997426"/>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118" name="Rectangle 48"/>
          <p:cNvSpPr>
            <a:spLocks noChangeArrowheads="1"/>
          </p:cNvSpPr>
          <p:nvPr/>
        </p:nvSpPr>
        <p:spPr bwMode="blackWhite">
          <a:xfrm>
            <a:off x="7834135" y="4918354"/>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119" name="Rectangle 49"/>
          <p:cNvSpPr>
            <a:spLocks noChangeArrowheads="1"/>
          </p:cNvSpPr>
          <p:nvPr/>
        </p:nvSpPr>
        <p:spPr bwMode="blackWhite">
          <a:xfrm>
            <a:off x="7191895" y="5741332"/>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120" name="Rectangle 50"/>
          <p:cNvSpPr>
            <a:spLocks noChangeArrowheads="1"/>
          </p:cNvSpPr>
          <p:nvPr/>
        </p:nvSpPr>
        <p:spPr bwMode="blackWhite">
          <a:xfrm>
            <a:off x="6203461" y="5606365"/>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2"/>
                </a:solidFill>
              </a:rPr>
              <a:t>Text</a:t>
            </a:r>
          </a:p>
        </p:txBody>
      </p:sp>
      <p:sp>
        <p:nvSpPr>
          <p:cNvPr id="121" name="Rectangle 51"/>
          <p:cNvSpPr>
            <a:spLocks noChangeArrowheads="1"/>
          </p:cNvSpPr>
          <p:nvPr/>
        </p:nvSpPr>
        <p:spPr bwMode="blackWhite">
          <a:xfrm>
            <a:off x="5820265" y="4644073"/>
            <a:ext cx="515938" cy="175433"/>
          </a:xfrm>
          <a:prstGeom prst="rect">
            <a:avLst/>
          </a:prstGeom>
          <a:noFill/>
          <a:ln w="9525">
            <a:noFill/>
            <a:miter lim="800000"/>
            <a:headEnd/>
            <a:tailEnd/>
          </a:ln>
        </p:spPr>
        <p:txBody>
          <a:bodyPr lIns="0" tIns="0" rIns="0" bIns="0" anchor="ctr" anchorCtr="1">
            <a:spAutoFit/>
          </a:bodyPr>
          <a:lstStyle/>
          <a:p>
            <a:pPr algn="ctr" defTabSz="787400" eaLnBrk="1" hangingPunct="1">
              <a:lnSpc>
                <a:spcPct val="95000"/>
              </a:lnSpc>
              <a:spcBef>
                <a:spcPct val="80000"/>
              </a:spcBef>
              <a:buClr>
                <a:schemeClr val="tx1"/>
              </a:buClr>
              <a:buFont typeface="Wingdings 2" pitchFamily="18" charset="2"/>
              <a:buNone/>
            </a:pPr>
            <a:r>
              <a:rPr lang="en-GB" sz="1200" dirty="0">
                <a:solidFill>
                  <a:schemeClr val="bg2"/>
                </a:solidFill>
              </a:rPr>
              <a:t>Text</a:t>
            </a:r>
          </a:p>
        </p:txBody>
      </p:sp>
    </p:spTree>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6865" name="Title 1"/>
          <p:cNvSpPr>
            <a:spLocks noGrp="1"/>
          </p:cNvSpPr>
          <p:nvPr>
            <p:ph type="title"/>
          </p:nvPr>
        </p:nvSpPr>
        <p:spPr>
          <a:xfrm>
            <a:off x="414338" y="446038"/>
            <a:ext cx="8330184" cy="333425"/>
          </a:xfrm>
        </p:spPr>
        <p:txBody>
          <a:bodyPr/>
          <a:lstStyle/>
          <a:p>
            <a:r>
              <a:rPr lang="en-US"/>
              <a:t>Circles — process ending in a closed loop</a:t>
            </a:r>
            <a:endParaRPr lang="nl-NL"/>
          </a:p>
        </p:txBody>
      </p:sp>
      <p:sp>
        <p:nvSpPr>
          <p:cNvPr id="16" name="Freeform 2"/>
          <p:cNvSpPr>
            <a:spLocks/>
          </p:cNvSpPr>
          <p:nvPr/>
        </p:nvSpPr>
        <p:spPr bwMode="blackWhite">
          <a:xfrm>
            <a:off x="5793940" y="3003847"/>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3"/>
          </a:solidFill>
          <a:ln w="12700" cap="rnd">
            <a:noFill/>
            <a:round/>
            <a:headEnd/>
            <a:tailEnd/>
          </a:ln>
        </p:spPr>
        <p:txBody>
          <a:bodyPr/>
          <a:lstStyle/>
          <a:p>
            <a:pPr>
              <a:defRPr/>
            </a:pPr>
            <a:endParaRPr lang="en-GB" sz="1400">
              <a:solidFill>
                <a:schemeClr val="bg1"/>
              </a:solidFill>
            </a:endParaRPr>
          </a:p>
        </p:txBody>
      </p:sp>
      <p:sp>
        <p:nvSpPr>
          <p:cNvPr id="676868" name="Freeform 3"/>
          <p:cNvSpPr>
            <a:spLocks/>
          </p:cNvSpPr>
          <p:nvPr/>
        </p:nvSpPr>
        <p:spPr bwMode="blackWhite">
          <a:xfrm>
            <a:off x="5294649" y="1857672"/>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2"/>
          </a:solidFill>
          <a:ln w="12700" cap="rnd">
            <a:noFill/>
            <a:round/>
            <a:headEnd/>
            <a:tailEnd/>
          </a:ln>
        </p:spPr>
        <p:txBody>
          <a:bodyPr/>
          <a:lstStyle/>
          <a:p>
            <a:endParaRPr lang="en-GB" sz="1400">
              <a:solidFill>
                <a:schemeClr val="bg1"/>
              </a:solidFill>
            </a:endParaRPr>
          </a:p>
        </p:txBody>
      </p:sp>
      <p:sp>
        <p:nvSpPr>
          <p:cNvPr id="676869" name="Freeform 4"/>
          <p:cNvSpPr>
            <a:spLocks/>
          </p:cNvSpPr>
          <p:nvPr/>
        </p:nvSpPr>
        <p:spPr bwMode="blackWhite">
          <a:xfrm>
            <a:off x="1724298" y="1539611"/>
            <a:ext cx="3857686" cy="1721293"/>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 name="connsiteX0" fmla="*/ 0 w 2205"/>
              <a:gd name="connsiteY0" fmla="*/ 864 h 1098"/>
              <a:gd name="connsiteX1" fmla="*/ 1339 w 2205"/>
              <a:gd name="connsiteY1" fmla="*/ 864 h 1098"/>
              <a:gd name="connsiteX2" fmla="*/ 1191 w 2205"/>
              <a:gd name="connsiteY2" fmla="*/ 1011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98"/>
              <a:gd name="connsiteX1" fmla="*/ 881 w 2205"/>
              <a:gd name="connsiteY1" fmla="*/ 864 h 1098"/>
              <a:gd name="connsiteX2" fmla="*/ 1191 w 2205"/>
              <a:gd name="connsiteY2" fmla="*/ 1011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98"/>
              <a:gd name="connsiteX1" fmla="*/ 881 w 2205"/>
              <a:gd name="connsiteY1" fmla="*/ 864 h 1098"/>
              <a:gd name="connsiteX2" fmla="*/ 760 w 2205"/>
              <a:gd name="connsiteY2" fmla="*/ 787 h 1098"/>
              <a:gd name="connsiteX3" fmla="*/ 1552 w 2205"/>
              <a:gd name="connsiteY3" fmla="*/ 1098 h 1098"/>
              <a:gd name="connsiteX4" fmla="*/ 1587 w 2205"/>
              <a:gd name="connsiteY4" fmla="*/ 1045 h 1098"/>
              <a:gd name="connsiteX5" fmla="*/ 1625 w 2205"/>
              <a:gd name="connsiteY5" fmla="*/ 996 h 1098"/>
              <a:gd name="connsiteX6" fmla="*/ 1666 w 2205"/>
              <a:gd name="connsiteY6" fmla="*/ 948 h 1098"/>
              <a:gd name="connsiteX7" fmla="*/ 1711 w 2205"/>
              <a:gd name="connsiteY7" fmla="*/ 906 h 1098"/>
              <a:gd name="connsiteX8" fmla="*/ 1754 w 2205"/>
              <a:gd name="connsiteY8" fmla="*/ 872 h 1098"/>
              <a:gd name="connsiteX9" fmla="*/ 1800 w 2205"/>
              <a:gd name="connsiteY9" fmla="*/ 845 h 1098"/>
              <a:gd name="connsiteX10" fmla="*/ 1850 w 2205"/>
              <a:gd name="connsiteY10" fmla="*/ 822 h 1098"/>
              <a:gd name="connsiteX11" fmla="*/ 1900 w 2205"/>
              <a:gd name="connsiteY11" fmla="*/ 803 h 1098"/>
              <a:gd name="connsiteX12" fmla="*/ 1953 w 2205"/>
              <a:gd name="connsiteY12" fmla="*/ 790 h 1098"/>
              <a:gd name="connsiteX13" fmla="*/ 1983 w 2205"/>
              <a:gd name="connsiteY13" fmla="*/ 1013 h 1098"/>
              <a:gd name="connsiteX14" fmla="*/ 2205 w 2205"/>
              <a:gd name="connsiteY14" fmla="*/ 471 h 1098"/>
              <a:gd name="connsiteX15" fmla="*/ 1872 w 2205"/>
              <a:gd name="connsiteY15" fmla="*/ 0 h 1098"/>
              <a:gd name="connsiteX16" fmla="*/ 1873 w 2205"/>
              <a:gd name="connsiteY16" fmla="*/ 196 h 1098"/>
              <a:gd name="connsiteX17" fmla="*/ 0 w 2205"/>
              <a:gd name="connsiteY17" fmla="*/ 196 h 1098"/>
              <a:gd name="connsiteX18" fmla="*/ 0 w 2205"/>
              <a:gd name="connsiteY18" fmla="*/ 864 h 1098"/>
              <a:gd name="connsiteX0" fmla="*/ 0 w 2205"/>
              <a:gd name="connsiteY0" fmla="*/ 864 h 1063"/>
              <a:gd name="connsiteX1" fmla="*/ 881 w 2205"/>
              <a:gd name="connsiteY1" fmla="*/ 864 h 1063"/>
              <a:gd name="connsiteX2" fmla="*/ 760 w 2205"/>
              <a:gd name="connsiteY2" fmla="*/ 787 h 1063"/>
              <a:gd name="connsiteX3" fmla="*/ 1419 w 2205"/>
              <a:gd name="connsiteY3" fmla="*/ 805 h 1063"/>
              <a:gd name="connsiteX4" fmla="*/ 1587 w 2205"/>
              <a:gd name="connsiteY4" fmla="*/ 1045 h 1063"/>
              <a:gd name="connsiteX5" fmla="*/ 1625 w 2205"/>
              <a:gd name="connsiteY5" fmla="*/ 996 h 1063"/>
              <a:gd name="connsiteX6" fmla="*/ 1666 w 2205"/>
              <a:gd name="connsiteY6" fmla="*/ 948 h 1063"/>
              <a:gd name="connsiteX7" fmla="*/ 1711 w 2205"/>
              <a:gd name="connsiteY7" fmla="*/ 906 h 1063"/>
              <a:gd name="connsiteX8" fmla="*/ 1754 w 2205"/>
              <a:gd name="connsiteY8" fmla="*/ 872 h 1063"/>
              <a:gd name="connsiteX9" fmla="*/ 1800 w 2205"/>
              <a:gd name="connsiteY9" fmla="*/ 845 h 1063"/>
              <a:gd name="connsiteX10" fmla="*/ 1850 w 2205"/>
              <a:gd name="connsiteY10" fmla="*/ 822 h 1063"/>
              <a:gd name="connsiteX11" fmla="*/ 1900 w 2205"/>
              <a:gd name="connsiteY11" fmla="*/ 803 h 1063"/>
              <a:gd name="connsiteX12" fmla="*/ 1953 w 2205"/>
              <a:gd name="connsiteY12" fmla="*/ 790 h 1063"/>
              <a:gd name="connsiteX13" fmla="*/ 1983 w 2205"/>
              <a:gd name="connsiteY13" fmla="*/ 1013 h 1063"/>
              <a:gd name="connsiteX14" fmla="*/ 2205 w 2205"/>
              <a:gd name="connsiteY14" fmla="*/ 471 h 1063"/>
              <a:gd name="connsiteX15" fmla="*/ 1872 w 2205"/>
              <a:gd name="connsiteY15" fmla="*/ 0 h 1063"/>
              <a:gd name="connsiteX16" fmla="*/ 1873 w 2205"/>
              <a:gd name="connsiteY16" fmla="*/ 196 h 1063"/>
              <a:gd name="connsiteX17" fmla="*/ 0 w 2205"/>
              <a:gd name="connsiteY17" fmla="*/ 196 h 1063"/>
              <a:gd name="connsiteX18" fmla="*/ 0 w 2205"/>
              <a:gd name="connsiteY18" fmla="*/ 864 h 1063"/>
              <a:gd name="connsiteX0" fmla="*/ 0 w 2205"/>
              <a:gd name="connsiteY0" fmla="*/ 864 h 1063"/>
              <a:gd name="connsiteX1" fmla="*/ 881 w 2205"/>
              <a:gd name="connsiteY1" fmla="*/ 864 h 1063"/>
              <a:gd name="connsiteX2" fmla="*/ 760 w 2205"/>
              <a:gd name="connsiteY2" fmla="*/ 787 h 1063"/>
              <a:gd name="connsiteX3" fmla="*/ 1419 w 2205"/>
              <a:gd name="connsiteY3" fmla="*/ 805 h 1063"/>
              <a:gd name="connsiteX4" fmla="*/ 1587 w 2205"/>
              <a:gd name="connsiteY4" fmla="*/ 1045 h 1063"/>
              <a:gd name="connsiteX5" fmla="*/ 1625 w 2205"/>
              <a:gd name="connsiteY5" fmla="*/ 996 h 1063"/>
              <a:gd name="connsiteX6" fmla="*/ 1666 w 2205"/>
              <a:gd name="connsiteY6" fmla="*/ 948 h 1063"/>
              <a:gd name="connsiteX7" fmla="*/ 1711 w 2205"/>
              <a:gd name="connsiteY7" fmla="*/ 906 h 1063"/>
              <a:gd name="connsiteX8" fmla="*/ 1754 w 2205"/>
              <a:gd name="connsiteY8" fmla="*/ 872 h 1063"/>
              <a:gd name="connsiteX9" fmla="*/ 1800 w 2205"/>
              <a:gd name="connsiteY9" fmla="*/ 845 h 1063"/>
              <a:gd name="connsiteX10" fmla="*/ 1850 w 2205"/>
              <a:gd name="connsiteY10" fmla="*/ 822 h 1063"/>
              <a:gd name="connsiteX11" fmla="*/ 1900 w 2205"/>
              <a:gd name="connsiteY11" fmla="*/ 803 h 1063"/>
              <a:gd name="connsiteX12" fmla="*/ 1953 w 2205"/>
              <a:gd name="connsiteY12" fmla="*/ 790 h 1063"/>
              <a:gd name="connsiteX13" fmla="*/ 1983 w 2205"/>
              <a:gd name="connsiteY13" fmla="*/ 1013 h 1063"/>
              <a:gd name="connsiteX14" fmla="*/ 2205 w 2205"/>
              <a:gd name="connsiteY14" fmla="*/ 471 h 1063"/>
              <a:gd name="connsiteX15" fmla="*/ 1872 w 2205"/>
              <a:gd name="connsiteY15" fmla="*/ 0 h 1063"/>
              <a:gd name="connsiteX16" fmla="*/ 1873 w 2205"/>
              <a:gd name="connsiteY16" fmla="*/ 196 h 1063"/>
              <a:gd name="connsiteX17" fmla="*/ 0 w 2205"/>
              <a:gd name="connsiteY17" fmla="*/ 196 h 1063"/>
              <a:gd name="connsiteX18" fmla="*/ 0 w 2205"/>
              <a:gd name="connsiteY18" fmla="*/ 864 h 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5" h="1063">
                <a:moveTo>
                  <a:pt x="0" y="864"/>
                </a:moveTo>
                <a:lnTo>
                  <a:pt x="881" y="864"/>
                </a:lnTo>
                <a:cubicBezTo>
                  <a:pt x="881" y="869"/>
                  <a:pt x="760" y="782"/>
                  <a:pt x="760" y="787"/>
                </a:cubicBezTo>
                <a:cubicBezTo>
                  <a:pt x="983" y="797"/>
                  <a:pt x="1199" y="799"/>
                  <a:pt x="1419" y="805"/>
                </a:cubicBezTo>
                <a:cubicBezTo>
                  <a:pt x="1431" y="787"/>
                  <a:pt x="1575" y="1063"/>
                  <a:pt x="1587" y="1045"/>
                </a:cubicBezTo>
                <a:cubicBezTo>
                  <a:pt x="1600" y="1029"/>
                  <a:pt x="1612" y="1012"/>
                  <a:pt x="1625" y="996"/>
                </a:cubicBezTo>
                <a:cubicBezTo>
                  <a:pt x="1639" y="980"/>
                  <a:pt x="1652" y="964"/>
                  <a:pt x="1666" y="948"/>
                </a:cubicBezTo>
                <a:lnTo>
                  <a:pt x="1711" y="906"/>
                </a:lnTo>
                <a:lnTo>
                  <a:pt x="1754" y="872"/>
                </a:lnTo>
                <a:cubicBezTo>
                  <a:pt x="1769" y="863"/>
                  <a:pt x="1785" y="854"/>
                  <a:pt x="1800" y="845"/>
                </a:cubicBezTo>
                <a:cubicBezTo>
                  <a:pt x="1817" y="837"/>
                  <a:pt x="1833" y="830"/>
                  <a:pt x="1850" y="822"/>
                </a:cubicBezTo>
                <a:cubicBezTo>
                  <a:pt x="1867" y="816"/>
                  <a:pt x="1883" y="809"/>
                  <a:pt x="1900" y="803"/>
                </a:cubicBezTo>
                <a:cubicBezTo>
                  <a:pt x="1918" y="799"/>
                  <a:pt x="1935" y="794"/>
                  <a:pt x="1953" y="790"/>
                </a:cubicBezTo>
                <a:cubicBezTo>
                  <a:pt x="1963" y="864"/>
                  <a:pt x="1973" y="939"/>
                  <a:pt x="1983" y="1013"/>
                </a:cubicBezTo>
                <a:lnTo>
                  <a:pt x="2205" y="471"/>
                </a:lnTo>
                <a:lnTo>
                  <a:pt x="1872" y="0"/>
                </a:lnTo>
                <a:cubicBezTo>
                  <a:pt x="1872" y="65"/>
                  <a:pt x="1873" y="131"/>
                  <a:pt x="1873" y="196"/>
                </a:cubicBezTo>
                <a:lnTo>
                  <a:pt x="0" y="196"/>
                </a:lnTo>
                <a:lnTo>
                  <a:pt x="0" y="864"/>
                </a:lnTo>
              </a:path>
            </a:pathLst>
          </a:custGeom>
          <a:solidFill>
            <a:schemeClr val="accent1"/>
          </a:solidFill>
          <a:ln w="12700" cap="rnd">
            <a:noFill/>
            <a:round/>
            <a:headEnd/>
            <a:tailEnd/>
          </a:ln>
        </p:spPr>
        <p:txBody>
          <a:bodyPr/>
          <a:lstStyle/>
          <a:p>
            <a:endParaRPr lang="en-GB" sz="1400" dirty="0">
              <a:solidFill>
                <a:schemeClr val="bg1"/>
              </a:solidFill>
            </a:endParaRPr>
          </a:p>
        </p:txBody>
      </p:sp>
      <p:sp>
        <p:nvSpPr>
          <p:cNvPr id="19" name="Freeform 5"/>
          <p:cNvSpPr>
            <a:spLocks/>
          </p:cNvSpPr>
          <p:nvPr/>
        </p:nvSpPr>
        <p:spPr bwMode="blackWhite">
          <a:xfrm>
            <a:off x="4931927" y="4380210"/>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4"/>
          </a:solidFill>
          <a:ln w="12700" cap="rnd">
            <a:noFill/>
            <a:round/>
            <a:headEnd/>
            <a:tailEnd/>
          </a:ln>
        </p:spPr>
        <p:txBody>
          <a:bodyPr/>
          <a:lstStyle/>
          <a:p>
            <a:pPr>
              <a:defRPr/>
            </a:pPr>
            <a:endParaRPr lang="en-GB" sz="1400">
              <a:solidFill>
                <a:schemeClr val="bg1"/>
              </a:solidFill>
            </a:endParaRPr>
          </a:p>
        </p:txBody>
      </p:sp>
      <p:sp>
        <p:nvSpPr>
          <p:cNvPr id="21" name="Freeform 7"/>
          <p:cNvSpPr>
            <a:spLocks/>
          </p:cNvSpPr>
          <p:nvPr/>
        </p:nvSpPr>
        <p:spPr bwMode="blackWhite">
          <a:xfrm rot="120000">
            <a:off x="3164474" y="2886255"/>
            <a:ext cx="1568406" cy="1760363"/>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12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557 w 865"/>
              <a:gd name="connsiteY16" fmla="*/ 786 h 1125"/>
              <a:gd name="connsiteX17" fmla="*/ 702 w 865"/>
              <a:gd name="connsiteY17" fmla="*/ 816 h 1125"/>
              <a:gd name="connsiteX18" fmla="*/ 681 w 865"/>
              <a:gd name="connsiteY18" fmla="*/ 760 h 1125"/>
              <a:gd name="connsiteX19" fmla="*/ 666 w 865"/>
              <a:gd name="connsiteY19" fmla="*/ 705 h 1125"/>
              <a:gd name="connsiteX20" fmla="*/ 658 w 865"/>
              <a:gd name="connsiteY20" fmla="*/ 647 h 1125"/>
              <a:gd name="connsiteX21" fmla="*/ 652 w 865"/>
              <a:gd name="connsiteY21" fmla="*/ 588 h 1125"/>
              <a:gd name="connsiteX22" fmla="*/ 652 w 865"/>
              <a:gd name="connsiteY22" fmla="*/ 529 h 1125"/>
              <a:gd name="connsiteX23" fmla="*/ 660 w 865"/>
              <a:gd name="connsiteY23" fmla="*/ 470 h 1125"/>
              <a:gd name="connsiteX24" fmla="*/ 672 w 865"/>
              <a:gd name="connsiteY24" fmla="*/ 413 h 1125"/>
              <a:gd name="connsiteX25" fmla="*/ 865 w 865"/>
              <a:gd name="connsiteY25" fmla="*/ 531 h 1125"/>
              <a:gd name="connsiteX26" fmla="*/ 571 w 865"/>
              <a:gd name="connsiteY26"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65"/>
              <a:gd name="connsiteY0" fmla="*/ 0 h 1125"/>
              <a:gd name="connsiteX1" fmla="*/ 0 w 865"/>
              <a:gd name="connsiteY1" fmla="*/ 1 h 1125"/>
              <a:gd name="connsiteX2" fmla="*/ 178 w 865"/>
              <a:gd name="connsiteY2" fmla="*/ 111 h 1125"/>
              <a:gd name="connsiteX3" fmla="*/ 153 w 865"/>
              <a:gd name="connsiteY3" fmla="*/ 187 h 1125"/>
              <a:gd name="connsiteX4" fmla="*/ 130 w 865"/>
              <a:gd name="connsiteY4" fmla="*/ 264 h 1125"/>
              <a:gd name="connsiteX5" fmla="*/ 113 w 865"/>
              <a:gd name="connsiteY5" fmla="*/ 343 h 1125"/>
              <a:gd name="connsiteX6" fmla="*/ 100 w 865"/>
              <a:gd name="connsiteY6" fmla="*/ 423 h 1125"/>
              <a:gd name="connsiteX7" fmla="*/ 94 w 865"/>
              <a:gd name="connsiteY7" fmla="*/ 504 h 1125"/>
              <a:gd name="connsiteX8" fmla="*/ 93 w 865"/>
              <a:gd name="connsiteY8" fmla="*/ 583 h 1125"/>
              <a:gd name="connsiteX9" fmla="*/ 95 w 865"/>
              <a:gd name="connsiteY9" fmla="*/ 664 h 1125"/>
              <a:gd name="connsiteX10" fmla="*/ 104 w 865"/>
              <a:gd name="connsiteY10" fmla="*/ 744 h 1125"/>
              <a:gd name="connsiteX11" fmla="*/ 118 w 865"/>
              <a:gd name="connsiteY11" fmla="*/ 824 h 1125"/>
              <a:gd name="connsiteX12" fmla="*/ 136 w 865"/>
              <a:gd name="connsiteY12" fmla="*/ 903 h 1125"/>
              <a:gd name="connsiteX13" fmla="*/ 159 w 865"/>
              <a:gd name="connsiteY13" fmla="*/ 979 h 1125"/>
              <a:gd name="connsiteX14" fmla="*/ 227 w 865"/>
              <a:gd name="connsiteY14" fmla="*/ 1125 h 1125"/>
              <a:gd name="connsiteX15" fmla="*/ 460 w 865"/>
              <a:gd name="connsiteY15" fmla="*/ 766 h 1125"/>
              <a:gd name="connsiteX16" fmla="*/ 702 w 865"/>
              <a:gd name="connsiteY16" fmla="*/ 816 h 1125"/>
              <a:gd name="connsiteX17" fmla="*/ 681 w 865"/>
              <a:gd name="connsiteY17" fmla="*/ 760 h 1125"/>
              <a:gd name="connsiteX18" fmla="*/ 666 w 865"/>
              <a:gd name="connsiteY18" fmla="*/ 705 h 1125"/>
              <a:gd name="connsiteX19" fmla="*/ 658 w 865"/>
              <a:gd name="connsiteY19" fmla="*/ 647 h 1125"/>
              <a:gd name="connsiteX20" fmla="*/ 652 w 865"/>
              <a:gd name="connsiteY20" fmla="*/ 588 h 1125"/>
              <a:gd name="connsiteX21" fmla="*/ 652 w 865"/>
              <a:gd name="connsiteY21" fmla="*/ 529 h 1125"/>
              <a:gd name="connsiteX22" fmla="*/ 660 w 865"/>
              <a:gd name="connsiteY22" fmla="*/ 470 h 1125"/>
              <a:gd name="connsiteX23" fmla="*/ 672 w 865"/>
              <a:gd name="connsiteY23" fmla="*/ 413 h 1125"/>
              <a:gd name="connsiteX24" fmla="*/ 865 w 865"/>
              <a:gd name="connsiteY24" fmla="*/ 531 h 1125"/>
              <a:gd name="connsiteX25" fmla="*/ 571 w 865"/>
              <a:gd name="connsiteY25" fmla="*/ 0 h 1125"/>
              <a:gd name="connsiteX0" fmla="*/ 571 w 887"/>
              <a:gd name="connsiteY0" fmla="*/ 0 h 1125"/>
              <a:gd name="connsiteX1" fmla="*/ 0 w 887"/>
              <a:gd name="connsiteY1" fmla="*/ 1 h 1125"/>
              <a:gd name="connsiteX2" fmla="*/ 178 w 887"/>
              <a:gd name="connsiteY2" fmla="*/ 111 h 1125"/>
              <a:gd name="connsiteX3" fmla="*/ 153 w 887"/>
              <a:gd name="connsiteY3" fmla="*/ 187 h 1125"/>
              <a:gd name="connsiteX4" fmla="*/ 130 w 887"/>
              <a:gd name="connsiteY4" fmla="*/ 264 h 1125"/>
              <a:gd name="connsiteX5" fmla="*/ 113 w 887"/>
              <a:gd name="connsiteY5" fmla="*/ 343 h 1125"/>
              <a:gd name="connsiteX6" fmla="*/ 100 w 887"/>
              <a:gd name="connsiteY6" fmla="*/ 423 h 1125"/>
              <a:gd name="connsiteX7" fmla="*/ 94 w 887"/>
              <a:gd name="connsiteY7" fmla="*/ 504 h 1125"/>
              <a:gd name="connsiteX8" fmla="*/ 93 w 887"/>
              <a:gd name="connsiteY8" fmla="*/ 583 h 1125"/>
              <a:gd name="connsiteX9" fmla="*/ 95 w 887"/>
              <a:gd name="connsiteY9" fmla="*/ 664 h 1125"/>
              <a:gd name="connsiteX10" fmla="*/ 104 w 887"/>
              <a:gd name="connsiteY10" fmla="*/ 744 h 1125"/>
              <a:gd name="connsiteX11" fmla="*/ 118 w 887"/>
              <a:gd name="connsiteY11" fmla="*/ 824 h 1125"/>
              <a:gd name="connsiteX12" fmla="*/ 136 w 887"/>
              <a:gd name="connsiteY12" fmla="*/ 903 h 1125"/>
              <a:gd name="connsiteX13" fmla="*/ 159 w 887"/>
              <a:gd name="connsiteY13" fmla="*/ 979 h 1125"/>
              <a:gd name="connsiteX14" fmla="*/ 227 w 887"/>
              <a:gd name="connsiteY14" fmla="*/ 1125 h 1125"/>
              <a:gd name="connsiteX15" fmla="*/ 460 w 887"/>
              <a:gd name="connsiteY15" fmla="*/ 766 h 1125"/>
              <a:gd name="connsiteX16" fmla="*/ 702 w 887"/>
              <a:gd name="connsiteY16" fmla="*/ 816 h 1125"/>
              <a:gd name="connsiteX17" fmla="*/ 681 w 887"/>
              <a:gd name="connsiteY17" fmla="*/ 760 h 1125"/>
              <a:gd name="connsiteX18" fmla="*/ 666 w 887"/>
              <a:gd name="connsiteY18" fmla="*/ 705 h 1125"/>
              <a:gd name="connsiteX19" fmla="*/ 658 w 887"/>
              <a:gd name="connsiteY19" fmla="*/ 647 h 1125"/>
              <a:gd name="connsiteX20" fmla="*/ 652 w 887"/>
              <a:gd name="connsiteY20" fmla="*/ 588 h 1125"/>
              <a:gd name="connsiteX21" fmla="*/ 652 w 887"/>
              <a:gd name="connsiteY21" fmla="*/ 529 h 1125"/>
              <a:gd name="connsiteX22" fmla="*/ 660 w 887"/>
              <a:gd name="connsiteY22" fmla="*/ 470 h 1125"/>
              <a:gd name="connsiteX23" fmla="*/ 672 w 887"/>
              <a:gd name="connsiteY23" fmla="*/ 413 h 1125"/>
              <a:gd name="connsiteX24" fmla="*/ 887 w 887"/>
              <a:gd name="connsiteY24" fmla="*/ 508 h 1125"/>
              <a:gd name="connsiteX25" fmla="*/ 571 w 887"/>
              <a:gd name="connsiteY25" fmla="*/ 0 h 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87" h="1125">
                <a:moveTo>
                  <a:pt x="571" y="0"/>
                </a:moveTo>
                <a:lnTo>
                  <a:pt x="0" y="1"/>
                </a:lnTo>
                <a:lnTo>
                  <a:pt x="178" y="111"/>
                </a:lnTo>
                <a:cubicBezTo>
                  <a:pt x="170" y="136"/>
                  <a:pt x="161" y="162"/>
                  <a:pt x="153" y="187"/>
                </a:cubicBezTo>
                <a:cubicBezTo>
                  <a:pt x="145" y="213"/>
                  <a:pt x="138" y="238"/>
                  <a:pt x="130" y="264"/>
                </a:cubicBezTo>
                <a:cubicBezTo>
                  <a:pt x="124" y="290"/>
                  <a:pt x="119" y="317"/>
                  <a:pt x="113" y="343"/>
                </a:cubicBezTo>
                <a:cubicBezTo>
                  <a:pt x="109" y="370"/>
                  <a:pt x="104" y="396"/>
                  <a:pt x="100" y="423"/>
                </a:cubicBezTo>
                <a:lnTo>
                  <a:pt x="94" y="504"/>
                </a:lnTo>
                <a:cubicBezTo>
                  <a:pt x="94" y="530"/>
                  <a:pt x="93" y="557"/>
                  <a:pt x="93" y="583"/>
                </a:cubicBezTo>
                <a:cubicBezTo>
                  <a:pt x="94" y="610"/>
                  <a:pt x="94" y="637"/>
                  <a:pt x="95" y="664"/>
                </a:cubicBezTo>
                <a:cubicBezTo>
                  <a:pt x="98" y="691"/>
                  <a:pt x="101" y="717"/>
                  <a:pt x="104" y="744"/>
                </a:cubicBezTo>
                <a:cubicBezTo>
                  <a:pt x="109" y="771"/>
                  <a:pt x="113" y="797"/>
                  <a:pt x="118" y="824"/>
                </a:cubicBezTo>
                <a:cubicBezTo>
                  <a:pt x="124" y="850"/>
                  <a:pt x="130" y="877"/>
                  <a:pt x="136" y="903"/>
                </a:cubicBezTo>
                <a:cubicBezTo>
                  <a:pt x="144" y="928"/>
                  <a:pt x="151" y="954"/>
                  <a:pt x="159" y="979"/>
                </a:cubicBezTo>
                <a:cubicBezTo>
                  <a:pt x="182" y="1028"/>
                  <a:pt x="204" y="1076"/>
                  <a:pt x="227" y="1125"/>
                </a:cubicBezTo>
                <a:lnTo>
                  <a:pt x="460" y="766"/>
                </a:lnTo>
                <a:lnTo>
                  <a:pt x="702" y="816"/>
                </a:lnTo>
                <a:cubicBezTo>
                  <a:pt x="695" y="797"/>
                  <a:pt x="688" y="779"/>
                  <a:pt x="681" y="760"/>
                </a:cubicBezTo>
                <a:cubicBezTo>
                  <a:pt x="676" y="742"/>
                  <a:pt x="671" y="723"/>
                  <a:pt x="666" y="705"/>
                </a:cubicBezTo>
                <a:cubicBezTo>
                  <a:pt x="663" y="686"/>
                  <a:pt x="661" y="666"/>
                  <a:pt x="658" y="647"/>
                </a:cubicBezTo>
                <a:cubicBezTo>
                  <a:pt x="656" y="627"/>
                  <a:pt x="654" y="608"/>
                  <a:pt x="652" y="588"/>
                </a:cubicBezTo>
                <a:lnTo>
                  <a:pt x="652" y="529"/>
                </a:lnTo>
                <a:cubicBezTo>
                  <a:pt x="655" y="509"/>
                  <a:pt x="657" y="490"/>
                  <a:pt x="660" y="470"/>
                </a:cubicBezTo>
                <a:lnTo>
                  <a:pt x="672" y="413"/>
                </a:lnTo>
                <a:lnTo>
                  <a:pt x="887" y="508"/>
                </a:lnTo>
                <a:lnTo>
                  <a:pt x="571" y="0"/>
                </a:lnTo>
              </a:path>
            </a:pathLst>
          </a:custGeom>
          <a:solidFill>
            <a:schemeClr val="accent6"/>
          </a:solidFill>
          <a:ln w="57150" cap="rnd">
            <a:noFill/>
            <a:miter lim="800000"/>
            <a:headEnd/>
            <a:tailEnd/>
          </a:ln>
        </p:spPr>
        <p:txBody>
          <a:bodyPr/>
          <a:lstStyle/>
          <a:p>
            <a:pPr>
              <a:defRPr/>
            </a:pPr>
            <a:endParaRPr lang="en-GB" sz="1400">
              <a:ln cap="flat">
                <a:noFill/>
                <a:round/>
              </a:ln>
              <a:solidFill>
                <a:schemeClr val="bg1"/>
              </a:solidFill>
            </a:endParaRPr>
          </a:p>
        </p:txBody>
      </p:sp>
      <p:sp>
        <p:nvSpPr>
          <p:cNvPr id="676873" name="Rectangle 8"/>
          <p:cNvSpPr>
            <a:spLocks noChangeArrowheads="1"/>
          </p:cNvSpPr>
          <p:nvPr/>
        </p:nvSpPr>
        <p:spPr bwMode="blackWhite">
          <a:xfrm>
            <a:off x="2110940" y="2325985"/>
            <a:ext cx="3117850" cy="204787"/>
          </a:xfrm>
          <a:prstGeom prst="rect">
            <a:avLst/>
          </a:prstGeom>
          <a:noFill/>
          <a:ln w="9525">
            <a:noFill/>
            <a:miter lim="800000"/>
            <a:headEnd/>
            <a:tailEnd/>
          </a:ln>
        </p:spPr>
        <p:txBody>
          <a:bodyPr lIns="0" tIns="0" rIns="0" bIns="0" anchor="ctr">
            <a:spAutoFit/>
          </a:bodyPr>
          <a:lstStyle/>
          <a:p>
            <a:pPr algn="ctr" defTabSz="787400">
              <a:lnSpc>
                <a:spcPct val="95000"/>
              </a:lnSpc>
              <a:spcBef>
                <a:spcPct val="80000"/>
              </a:spcBef>
              <a:buClr>
                <a:schemeClr val="tx1"/>
              </a:buClr>
              <a:buFont typeface="Wingdings 2" pitchFamily="18" charset="2"/>
              <a:buNone/>
            </a:pPr>
            <a:r>
              <a:rPr lang="en-GB" sz="1400">
                <a:solidFill>
                  <a:schemeClr val="bg1"/>
                </a:solidFill>
              </a:rPr>
              <a:t>Text</a:t>
            </a:r>
          </a:p>
        </p:txBody>
      </p:sp>
      <p:sp>
        <p:nvSpPr>
          <p:cNvPr id="676874" name="Rectangle 9"/>
          <p:cNvSpPr>
            <a:spLocks noChangeArrowheads="1"/>
          </p:cNvSpPr>
          <p:nvPr/>
        </p:nvSpPr>
        <p:spPr bwMode="blackWhite">
          <a:xfrm>
            <a:off x="5597090" y="2592685"/>
            <a:ext cx="1044575" cy="204787"/>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400">
                <a:solidFill>
                  <a:schemeClr val="bg1"/>
                </a:solidFill>
              </a:rPr>
              <a:t>Text</a:t>
            </a:r>
          </a:p>
        </p:txBody>
      </p:sp>
      <p:sp>
        <p:nvSpPr>
          <p:cNvPr id="676875" name="Rectangle 10"/>
          <p:cNvSpPr>
            <a:spLocks noChangeArrowheads="1"/>
          </p:cNvSpPr>
          <p:nvPr/>
        </p:nvSpPr>
        <p:spPr bwMode="blackWhite">
          <a:xfrm>
            <a:off x="6074927" y="3934122"/>
            <a:ext cx="1047750" cy="204788"/>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400">
                <a:solidFill>
                  <a:schemeClr val="bg1"/>
                </a:solidFill>
              </a:rPr>
              <a:t>Text</a:t>
            </a:r>
          </a:p>
        </p:txBody>
      </p:sp>
      <p:sp>
        <p:nvSpPr>
          <p:cNvPr id="676876" name="Rectangle 11"/>
          <p:cNvSpPr>
            <a:spLocks noChangeArrowheads="1"/>
          </p:cNvSpPr>
          <p:nvPr/>
        </p:nvSpPr>
        <p:spPr bwMode="blackWhite">
          <a:xfrm>
            <a:off x="5208152" y="5046960"/>
            <a:ext cx="1044575" cy="204787"/>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400">
                <a:solidFill>
                  <a:schemeClr val="bg1"/>
                </a:solidFill>
              </a:rPr>
              <a:t>Text</a:t>
            </a:r>
          </a:p>
        </p:txBody>
      </p:sp>
      <p:sp>
        <p:nvSpPr>
          <p:cNvPr id="676878" name="Rectangle 13"/>
          <p:cNvSpPr>
            <a:spLocks noChangeArrowheads="1"/>
          </p:cNvSpPr>
          <p:nvPr/>
        </p:nvSpPr>
        <p:spPr bwMode="blackWhite">
          <a:xfrm>
            <a:off x="3333976" y="3480097"/>
            <a:ext cx="1044575" cy="204788"/>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400" dirty="0">
                <a:solidFill>
                  <a:schemeClr val="bg2"/>
                </a:solidFill>
              </a:rPr>
              <a:t>Text</a:t>
            </a:r>
          </a:p>
        </p:txBody>
      </p:sp>
      <p:sp>
        <p:nvSpPr>
          <p:cNvPr id="20" name="Freeform 6"/>
          <p:cNvSpPr>
            <a:spLocks/>
          </p:cNvSpPr>
          <p:nvPr/>
        </p:nvSpPr>
        <p:spPr bwMode="blackWhite">
          <a:xfrm>
            <a:off x="3396815" y="4165897"/>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5"/>
          </a:solidFill>
          <a:ln w="12700" cap="rnd">
            <a:noFill/>
            <a:round/>
            <a:headEnd/>
            <a:tailEnd/>
          </a:ln>
        </p:spPr>
        <p:txBody>
          <a:bodyPr/>
          <a:lstStyle/>
          <a:p>
            <a:pPr>
              <a:defRPr/>
            </a:pPr>
            <a:endParaRPr lang="en-GB" sz="1400">
              <a:solidFill>
                <a:schemeClr val="tx2"/>
              </a:solidFill>
            </a:endParaRPr>
          </a:p>
        </p:txBody>
      </p:sp>
      <p:sp>
        <p:nvSpPr>
          <p:cNvPr id="676877" name="Rectangle 12"/>
          <p:cNvSpPr>
            <a:spLocks noChangeArrowheads="1"/>
          </p:cNvSpPr>
          <p:nvPr/>
        </p:nvSpPr>
        <p:spPr bwMode="blackWhite">
          <a:xfrm>
            <a:off x="3873065" y="4750097"/>
            <a:ext cx="1044575" cy="204788"/>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400" dirty="0">
                <a:solidFill>
                  <a:schemeClr val="bg2"/>
                </a:solidFill>
              </a:rPr>
              <a:t>Text</a:t>
            </a:r>
          </a:p>
        </p:txBody>
      </p:sp>
      <p:sp>
        <p:nvSpPr>
          <p:cNvPr id="17"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7889" name="Title 1"/>
          <p:cNvSpPr>
            <a:spLocks noGrp="1"/>
          </p:cNvSpPr>
          <p:nvPr>
            <p:ph type="title"/>
          </p:nvPr>
        </p:nvSpPr>
        <p:spPr>
          <a:xfrm>
            <a:off x="414338" y="446038"/>
            <a:ext cx="8330184" cy="333425"/>
          </a:xfrm>
        </p:spPr>
        <p:txBody>
          <a:bodyPr/>
          <a:lstStyle/>
          <a:p>
            <a:r>
              <a:rPr lang="nl-NL"/>
              <a:t>Spheres </a:t>
            </a:r>
            <a:r>
              <a:rPr lang="en-US"/>
              <a:t>—</a:t>
            </a:r>
            <a:r>
              <a:rPr lang="nl-NL" smtClean="0"/>
              <a:t> </a:t>
            </a:r>
            <a:r>
              <a:rPr lang="nl-NL"/>
              <a:t>interrelated</a:t>
            </a:r>
          </a:p>
        </p:txBody>
      </p:sp>
      <p:sp>
        <p:nvSpPr>
          <p:cNvPr id="8" name="Rectangle 6"/>
          <p:cNvSpPr>
            <a:spLocks noChangeArrowheads="1"/>
          </p:cNvSpPr>
          <p:nvPr/>
        </p:nvSpPr>
        <p:spPr bwMode="auto">
          <a:xfrm>
            <a:off x="6471247" y="317798"/>
            <a:ext cx="2374900" cy="461665"/>
          </a:xfrm>
          <a:prstGeom prst="rect">
            <a:avLst/>
          </a:prstGeom>
          <a:noFill/>
          <a:ln w="12700" algn="ctr">
            <a:solidFill>
              <a:schemeClr val="accent1"/>
            </a:solidFill>
            <a:miter lim="800000"/>
            <a:headEnd/>
            <a:tailEnd/>
          </a:ln>
        </p:spPr>
        <p:txBody>
          <a:bodyPr tIns="91440" bIns="91440">
            <a:spAutoFit/>
          </a:bodyPr>
          <a:lstStyle/>
          <a:p>
            <a:pPr algn="l">
              <a:defRPr/>
            </a:pPr>
            <a:r>
              <a:rPr lang="en-GB" sz="900" b="0">
                <a:solidFill>
                  <a:schemeClr val="tx2"/>
                </a:solidFill>
                <a:ea typeface="ＭＳ Ｐゴシック" pitchFamily="50" charset="-128"/>
              </a:rPr>
              <a:t>Tip! Hold the Shift key when enlarging the spheres to keep them circular</a:t>
            </a:r>
          </a:p>
        </p:txBody>
      </p:sp>
      <p:sp>
        <p:nvSpPr>
          <p:cNvPr id="11" name="Oval 3"/>
          <p:cNvSpPr>
            <a:spLocks noChangeArrowheads="1"/>
          </p:cNvSpPr>
          <p:nvPr/>
        </p:nvSpPr>
        <p:spPr bwMode="auto">
          <a:xfrm>
            <a:off x="1858834" y="1589381"/>
            <a:ext cx="2830513" cy="2689225"/>
          </a:xfrm>
          <a:prstGeom prst="ellipse">
            <a:avLst/>
          </a:prstGeom>
          <a:solidFill>
            <a:schemeClr val="accent2"/>
          </a:solidFill>
          <a:ln w="12700" algn="ctr">
            <a:solidFill>
              <a:schemeClr val="bg1"/>
            </a:solidFill>
            <a:round/>
            <a:headEnd/>
            <a:tailEnd/>
          </a:ln>
        </p:spPr>
        <p:txBody>
          <a:bodyPr lIns="93600" tIns="46800" rIns="93600" bIns="46800" anchor="ctr"/>
          <a:lstStyle/>
          <a:p>
            <a:pPr algn="ctr" eaLnBrk="1" hangingPunct="1">
              <a:spcBef>
                <a:spcPct val="0"/>
              </a:spcBef>
              <a:buClr>
                <a:schemeClr val="bg1"/>
              </a:buClr>
              <a:buSzPct val="100000"/>
              <a:buFontTx/>
              <a:buChar char=" "/>
            </a:pPr>
            <a:r>
              <a:rPr lang="en-GB" altLang="ja-JP" sz="1400">
                <a:solidFill>
                  <a:schemeClr val="bg1"/>
                </a:solidFill>
                <a:ea typeface="ＭＳ Ｐゴシック" pitchFamily="50" charset="-128"/>
              </a:rPr>
              <a:t>Text</a:t>
            </a:r>
          </a:p>
        </p:txBody>
      </p:sp>
      <p:sp>
        <p:nvSpPr>
          <p:cNvPr id="12" name="Oval 4"/>
          <p:cNvSpPr>
            <a:spLocks noChangeArrowheads="1"/>
          </p:cNvSpPr>
          <p:nvPr/>
        </p:nvSpPr>
        <p:spPr bwMode="auto">
          <a:xfrm>
            <a:off x="4430584" y="1589381"/>
            <a:ext cx="2828925" cy="2689225"/>
          </a:xfrm>
          <a:prstGeom prst="ellipse">
            <a:avLst/>
          </a:prstGeom>
          <a:solidFill>
            <a:schemeClr val="accent3"/>
          </a:solidFill>
          <a:ln w="12700" algn="ctr">
            <a:solidFill>
              <a:schemeClr val="bg1"/>
            </a:solidFill>
            <a:round/>
            <a:headEnd/>
            <a:tailEnd/>
          </a:ln>
        </p:spPr>
        <p:txBody>
          <a:bodyPr lIns="93600" tIns="46800" rIns="93600" bIns="46800" anchor="ctr"/>
          <a:lstStyle/>
          <a:p>
            <a:pPr algn="ctr" eaLnBrk="1" hangingPunct="1">
              <a:spcBef>
                <a:spcPct val="0"/>
              </a:spcBef>
              <a:buClr>
                <a:schemeClr val="bg1"/>
              </a:buClr>
              <a:buSzPct val="100000"/>
              <a:buFontTx/>
              <a:buChar char=" "/>
              <a:defRPr/>
            </a:pPr>
            <a:r>
              <a:rPr lang="en-GB" altLang="ja-JP" sz="1400">
                <a:solidFill>
                  <a:schemeClr val="bg1"/>
                </a:solidFill>
                <a:ea typeface="ＭＳ Ｐゴシック" pitchFamily="50" charset="-128"/>
              </a:rPr>
              <a:t>Text</a:t>
            </a:r>
          </a:p>
        </p:txBody>
      </p:sp>
      <p:sp>
        <p:nvSpPr>
          <p:cNvPr id="13" name="Oval 5"/>
          <p:cNvSpPr>
            <a:spLocks noChangeArrowheads="1"/>
          </p:cNvSpPr>
          <p:nvPr/>
        </p:nvSpPr>
        <p:spPr bwMode="auto">
          <a:xfrm>
            <a:off x="3143122" y="3234031"/>
            <a:ext cx="2828925" cy="2689225"/>
          </a:xfrm>
          <a:prstGeom prst="ellipse">
            <a:avLst/>
          </a:prstGeom>
          <a:solidFill>
            <a:schemeClr val="tx2"/>
          </a:solidFill>
          <a:ln w="12700" algn="ctr">
            <a:solidFill>
              <a:schemeClr val="bg1"/>
            </a:solidFill>
            <a:round/>
            <a:headEnd/>
            <a:tailEnd/>
          </a:ln>
        </p:spPr>
        <p:txBody>
          <a:bodyPr lIns="93600" tIns="46800" rIns="93600" bIns="46800" anchor="ctr"/>
          <a:lstStyle/>
          <a:p>
            <a:pPr algn="ctr" eaLnBrk="1" hangingPunct="1">
              <a:spcBef>
                <a:spcPct val="0"/>
              </a:spcBef>
              <a:buClr>
                <a:schemeClr val="bg1"/>
              </a:buClr>
              <a:buSzPct val="100000"/>
              <a:buFontTx/>
              <a:buChar char=" "/>
              <a:defRPr/>
            </a:pPr>
            <a:r>
              <a:rPr lang="en-GB" altLang="ja-JP" sz="1400">
                <a:solidFill>
                  <a:schemeClr val="bg1"/>
                </a:solidFill>
                <a:ea typeface="ＭＳ Ｐゴシック" pitchFamily="50" charset="-128"/>
              </a:rPr>
              <a:t>Text</a:t>
            </a:r>
          </a:p>
        </p:txBody>
      </p:sp>
      <p:sp>
        <p:nvSpPr>
          <p:cNvPr id="9"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0"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8919" name="Oval 59"/>
          <p:cNvSpPr>
            <a:spLocks noChangeArrowheads="1"/>
          </p:cNvSpPr>
          <p:nvPr/>
        </p:nvSpPr>
        <p:spPr bwMode="gray">
          <a:xfrm>
            <a:off x="3857479" y="4708476"/>
            <a:ext cx="1281931" cy="1243012"/>
          </a:xfrm>
          <a:prstGeom prst="ellipse">
            <a:avLst/>
          </a:prstGeom>
          <a:solidFill>
            <a:srgbClr val="00A1DE">
              <a:alpha val="69803"/>
            </a:srgbClr>
          </a:solidFill>
          <a:ln w="12700" algn="ctr">
            <a:solidFill>
              <a:schemeClr val="bg2"/>
            </a:solidFill>
            <a:round/>
            <a:headEnd/>
            <a:tailEnd/>
          </a:ln>
        </p:spPr>
        <p:txBody>
          <a:bodyPr lIns="0" tIns="0" rIns="0" bIns="0" anchor="ctr" anchorCtr="1"/>
          <a:lstStyle/>
          <a:p>
            <a:pPr algn="ctr"/>
            <a:r>
              <a:rPr lang="en-GB" sz="1200" dirty="0">
                <a:solidFill>
                  <a:schemeClr val="bg1"/>
                </a:solidFill>
              </a:rPr>
              <a:t>Text</a:t>
            </a:r>
          </a:p>
        </p:txBody>
      </p:sp>
      <p:sp>
        <p:nvSpPr>
          <p:cNvPr id="678921" name="Oval 61"/>
          <p:cNvSpPr>
            <a:spLocks noChangeArrowheads="1"/>
          </p:cNvSpPr>
          <p:nvPr/>
        </p:nvSpPr>
        <p:spPr bwMode="gray">
          <a:xfrm>
            <a:off x="4767162" y="3835351"/>
            <a:ext cx="1281932" cy="1243012"/>
          </a:xfrm>
          <a:prstGeom prst="ellipse">
            <a:avLst/>
          </a:prstGeom>
          <a:solidFill>
            <a:srgbClr val="00A1DE">
              <a:alpha val="69803"/>
            </a:srgbClr>
          </a:solidFill>
          <a:ln w="12700" algn="ctr">
            <a:solidFill>
              <a:schemeClr val="bg2"/>
            </a:solidFill>
            <a:round/>
            <a:headEnd/>
            <a:tailEnd/>
          </a:ln>
        </p:spPr>
        <p:txBody>
          <a:bodyPr lIns="0" tIns="0" rIns="0" bIns="0" anchor="ctr" anchorCtr="1"/>
          <a:lstStyle/>
          <a:p>
            <a:pPr algn="ctr"/>
            <a:r>
              <a:rPr lang="en-GB" sz="1200" dirty="0">
                <a:solidFill>
                  <a:schemeClr val="bg1"/>
                </a:solidFill>
              </a:rPr>
              <a:t>Text</a:t>
            </a:r>
          </a:p>
        </p:txBody>
      </p:sp>
      <p:sp>
        <p:nvSpPr>
          <p:cNvPr id="678924" name="Oval 64"/>
          <p:cNvSpPr>
            <a:spLocks noChangeArrowheads="1"/>
          </p:cNvSpPr>
          <p:nvPr/>
        </p:nvSpPr>
        <p:spPr bwMode="gray">
          <a:xfrm>
            <a:off x="1606668" y="3835350"/>
            <a:ext cx="1254749" cy="1243013"/>
          </a:xfrm>
          <a:prstGeom prst="ellipse">
            <a:avLst/>
          </a:prstGeom>
          <a:solidFill>
            <a:srgbClr val="00A1DE">
              <a:alpha val="69803"/>
            </a:srgbClr>
          </a:solidFill>
          <a:ln w="12700" algn="ctr">
            <a:noFill/>
            <a:round/>
            <a:headEnd/>
            <a:tailEnd/>
          </a:ln>
        </p:spPr>
        <p:txBody>
          <a:bodyPr lIns="0" tIns="0" rIns="0" bIns="0" anchor="ctr" anchorCtr="1"/>
          <a:lstStyle/>
          <a:p>
            <a:pPr algn="ctr"/>
            <a:r>
              <a:rPr lang="en-GB" sz="1200" dirty="0">
                <a:solidFill>
                  <a:schemeClr val="bg1"/>
                </a:solidFill>
              </a:rPr>
              <a:t>Text</a:t>
            </a:r>
          </a:p>
        </p:txBody>
      </p:sp>
      <p:sp>
        <p:nvSpPr>
          <p:cNvPr id="678923" name="Oval 63"/>
          <p:cNvSpPr>
            <a:spLocks noChangeArrowheads="1"/>
          </p:cNvSpPr>
          <p:nvPr/>
        </p:nvSpPr>
        <p:spPr bwMode="gray">
          <a:xfrm>
            <a:off x="2071775" y="4642169"/>
            <a:ext cx="1254749" cy="1243012"/>
          </a:xfrm>
          <a:prstGeom prst="ellipse">
            <a:avLst/>
          </a:prstGeom>
          <a:solidFill>
            <a:srgbClr val="00A1DE">
              <a:alpha val="69803"/>
            </a:srgbClr>
          </a:solidFill>
          <a:ln w="12700" algn="ctr">
            <a:noFill/>
            <a:round/>
            <a:headEnd/>
            <a:tailEnd/>
          </a:ln>
        </p:spPr>
        <p:txBody>
          <a:bodyPr lIns="0" tIns="0" rIns="0" bIns="0" anchor="ctr" anchorCtr="1"/>
          <a:lstStyle/>
          <a:p>
            <a:pPr algn="ctr"/>
            <a:r>
              <a:rPr lang="en-GB" sz="1200" dirty="0">
                <a:solidFill>
                  <a:schemeClr val="bg1"/>
                </a:solidFill>
              </a:rPr>
              <a:t>Text</a:t>
            </a:r>
          </a:p>
        </p:txBody>
      </p:sp>
      <p:sp>
        <p:nvSpPr>
          <p:cNvPr id="678922" name="Oval 62"/>
          <p:cNvSpPr>
            <a:spLocks noChangeArrowheads="1"/>
          </p:cNvSpPr>
          <p:nvPr/>
        </p:nvSpPr>
        <p:spPr bwMode="gray">
          <a:xfrm>
            <a:off x="1148616" y="4650961"/>
            <a:ext cx="1254750" cy="1243012"/>
          </a:xfrm>
          <a:prstGeom prst="ellipse">
            <a:avLst/>
          </a:prstGeom>
          <a:solidFill>
            <a:srgbClr val="00A1DE">
              <a:alpha val="69803"/>
            </a:srgbClr>
          </a:solidFill>
          <a:ln w="12700" algn="ctr">
            <a:noFill/>
            <a:round/>
            <a:headEnd/>
            <a:tailEnd/>
          </a:ln>
        </p:spPr>
        <p:txBody>
          <a:bodyPr lIns="0" tIns="0" rIns="0" bIns="0" anchor="ctr" anchorCtr="1"/>
          <a:lstStyle/>
          <a:p>
            <a:pPr algn="ctr"/>
            <a:r>
              <a:rPr lang="en-GB" sz="1200" dirty="0">
                <a:solidFill>
                  <a:schemeClr val="bg1"/>
                </a:solidFill>
              </a:rPr>
              <a:t>Text</a:t>
            </a:r>
          </a:p>
        </p:txBody>
      </p:sp>
      <p:sp>
        <p:nvSpPr>
          <p:cNvPr id="44" name="Oval 49"/>
          <p:cNvSpPr>
            <a:spLocks noChangeArrowheads="1"/>
          </p:cNvSpPr>
          <p:nvPr/>
        </p:nvSpPr>
        <p:spPr bwMode="auto">
          <a:xfrm>
            <a:off x="3693796" y="1996074"/>
            <a:ext cx="1576294" cy="1586251"/>
          </a:xfrm>
          <a:prstGeom prst="ellipse">
            <a:avLst/>
          </a:prstGeom>
          <a:solidFill>
            <a:schemeClr val="accent3"/>
          </a:solidFill>
          <a:ln w="12700">
            <a:noFill/>
            <a:round/>
            <a:headEnd/>
            <a:tailEnd/>
          </a:ln>
        </p:spPr>
        <p:txBody>
          <a:bodyPr wrap="none" anchor="ctr"/>
          <a:lstStyle/>
          <a:p>
            <a:pPr algn="ctr">
              <a:defRPr/>
            </a:pPr>
            <a:endParaRPr lang="en-GB"/>
          </a:p>
        </p:txBody>
      </p:sp>
      <p:sp>
        <p:nvSpPr>
          <p:cNvPr id="43" name="Oval 49"/>
          <p:cNvSpPr>
            <a:spLocks noChangeArrowheads="1"/>
          </p:cNvSpPr>
          <p:nvPr/>
        </p:nvSpPr>
        <p:spPr bwMode="auto">
          <a:xfrm>
            <a:off x="4504215" y="1996074"/>
            <a:ext cx="1576294" cy="1586251"/>
          </a:xfrm>
          <a:prstGeom prst="ellipse">
            <a:avLst/>
          </a:prstGeom>
          <a:solidFill>
            <a:schemeClr val="accent3"/>
          </a:solidFill>
          <a:ln w="12700">
            <a:noFill/>
            <a:round/>
            <a:headEnd/>
            <a:tailEnd/>
          </a:ln>
        </p:spPr>
        <p:txBody>
          <a:bodyPr wrap="none" anchor="ctr"/>
          <a:lstStyle/>
          <a:p>
            <a:pPr algn="ctr">
              <a:defRPr/>
            </a:pPr>
            <a:endParaRPr lang="en-GB"/>
          </a:p>
        </p:txBody>
      </p:sp>
      <p:sp>
        <p:nvSpPr>
          <p:cNvPr id="678913" name="Title 1"/>
          <p:cNvSpPr>
            <a:spLocks noGrp="1"/>
          </p:cNvSpPr>
          <p:nvPr>
            <p:ph type="title"/>
          </p:nvPr>
        </p:nvSpPr>
        <p:spPr>
          <a:xfrm>
            <a:off x="414338" y="446038"/>
            <a:ext cx="8330184" cy="333425"/>
          </a:xfrm>
        </p:spPr>
        <p:txBody>
          <a:bodyPr/>
          <a:lstStyle/>
          <a:p>
            <a:r>
              <a:rPr lang="nl-NL" dirty="0"/>
              <a:t>Spheres </a:t>
            </a:r>
            <a:r>
              <a:rPr lang="en-US" dirty="0"/>
              <a:t>—</a:t>
            </a:r>
            <a:r>
              <a:rPr lang="nl-NL" dirty="0" smtClean="0"/>
              <a:t> </a:t>
            </a:r>
            <a:r>
              <a:rPr lang="nl-NL" dirty="0"/>
              <a:t>overlapping</a:t>
            </a:r>
          </a:p>
        </p:txBody>
      </p:sp>
      <p:sp>
        <p:nvSpPr>
          <p:cNvPr id="51" name="Oval 49"/>
          <p:cNvSpPr>
            <a:spLocks noChangeArrowheads="1"/>
          </p:cNvSpPr>
          <p:nvPr/>
        </p:nvSpPr>
        <p:spPr bwMode="auto">
          <a:xfrm>
            <a:off x="4097251" y="1149757"/>
            <a:ext cx="1576294" cy="1586251"/>
          </a:xfrm>
          <a:prstGeom prst="ellipse">
            <a:avLst/>
          </a:prstGeom>
          <a:solidFill>
            <a:schemeClr val="accent3"/>
          </a:solidFill>
          <a:ln w="12700">
            <a:noFill/>
            <a:round/>
            <a:headEnd/>
            <a:tailEnd/>
          </a:ln>
        </p:spPr>
        <p:txBody>
          <a:bodyPr wrap="none" anchor="ctr"/>
          <a:lstStyle/>
          <a:p>
            <a:pPr algn="ctr">
              <a:defRPr/>
            </a:pPr>
            <a:endParaRPr lang="en-GB"/>
          </a:p>
        </p:txBody>
      </p:sp>
      <p:sp>
        <p:nvSpPr>
          <p:cNvPr id="678941" name="Freeform 52"/>
          <p:cNvSpPr>
            <a:spLocks/>
          </p:cNvSpPr>
          <p:nvPr/>
        </p:nvSpPr>
        <p:spPr bwMode="auto">
          <a:xfrm>
            <a:off x="4517344" y="2119834"/>
            <a:ext cx="735240" cy="604969"/>
          </a:xfrm>
          <a:custGeom>
            <a:avLst/>
            <a:gdLst>
              <a:gd name="T0" fmla="*/ 234 w 310"/>
              <a:gd name="T1" fmla="*/ 0 h 256"/>
              <a:gd name="T2" fmla="*/ 221 w 310"/>
              <a:gd name="T3" fmla="*/ 6 h 256"/>
              <a:gd name="T4" fmla="*/ 208 w 310"/>
              <a:gd name="T5" fmla="*/ 12 h 256"/>
              <a:gd name="T6" fmla="*/ 192 w 310"/>
              <a:gd name="T7" fmla="*/ 20 h 256"/>
              <a:gd name="T8" fmla="*/ 178 w 310"/>
              <a:gd name="T9" fmla="*/ 27 h 256"/>
              <a:gd name="T10" fmla="*/ 164 w 310"/>
              <a:gd name="T11" fmla="*/ 35 h 256"/>
              <a:gd name="T12" fmla="*/ 153 w 310"/>
              <a:gd name="T13" fmla="*/ 43 h 256"/>
              <a:gd name="T14" fmla="*/ 138 w 310"/>
              <a:gd name="T15" fmla="*/ 51 h 256"/>
              <a:gd name="T16" fmla="*/ 126 w 310"/>
              <a:gd name="T17" fmla="*/ 59 h 256"/>
              <a:gd name="T18" fmla="*/ 109 w 310"/>
              <a:gd name="T19" fmla="*/ 71 h 256"/>
              <a:gd name="T20" fmla="*/ 96 w 310"/>
              <a:gd name="T21" fmla="*/ 81 h 256"/>
              <a:gd name="T22" fmla="*/ 86 w 310"/>
              <a:gd name="T23" fmla="*/ 91 h 256"/>
              <a:gd name="T24" fmla="*/ 72 w 310"/>
              <a:gd name="T25" fmla="*/ 104 h 256"/>
              <a:gd name="T26" fmla="*/ 60 w 310"/>
              <a:gd name="T27" fmla="*/ 115 h 256"/>
              <a:gd name="T28" fmla="*/ 51 w 310"/>
              <a:gd name="T29" fmla="*/ 126 h 256"/>
              <a:gd name="T30" fmla="*/ 40 w 310"/>
              <a:gd name="T31" fmla="*/ 138 h 256"/>
              <a:gd name="T32" fmla="*/ 31 w 310"/>
              <a:gd name="T33" fmla="*/ 150 h 256"/>
              <a:gd name="T34" fmla="*/ 20 w 310"/>
              <a:gd name="T35" fmla="*/ 165 h 256"/>
              <a:gd name="T36" fmla="*/ 14 w 310"/>
              <a:gd name="T37" fmla="*/ 180 h 256"/>
              <a:gd name="T38" fmla="*/ 5 w 310"/>
              <a:gd name="T39" fmla="*/ 194 h 256"/>
              <a:gd name="T40" fmla="*/ 3 w 310"/>
              <a:gd name="T41" fmla="*/ 206 h 256"/>
              <a:gd name="T42" fmla="*/ 0 w 310"/>
              <a:gd name="T43" fmla="*/ 215 h 256"/>
              <a:gd name="T44" fmla="*/ 16 w 310"/>
              <a:gd name="T45" fmla="*/ 223 h 256"/>
              <a:gd name="T46" fmla="*/ 36 w 310"/>
              <a:gd name="T47" fmla="*/ 228 h 256"/>
              <a:gd name="T48" fmla="*/ 60 w 310"/>
              <a:gd name="T49" fmla="*/ 234 h 256"/>
              <a:gd name="T50" fmla="*/ 85 w 310"/>
              <a:gd name="T51" fmla="*/ 239 h 256"/>
              <a:gd name="T52" fmla="*/ 113 w 310"/>
              <a:gd name="T53" fmla="*/ 245 h 256"/>
              <a:gd name="T54" fmla="*/ 141 w 310"/>
              <a:gd name="T55" fmla="*/ 249 h 256"/>
              <a:gd name="T56" fmla="*/ 164 w 310"/>
              <a:gd name="T57" fmla="*/ 251 h 256"/>
              <a:gd name="T58" fmla="*/ 185 w 310"/>
              <a:gd name="T59" fmla="*/ 254 h 256"/>
              <a:gd name="T60" fmla="*/ 210 w 310"/>
              <a:gd name="T61" fmla="*/ 254 h 256"/>
              <a:gd name="T62" fmla="*/ 230 w 310"/>
              <a:gd name="T63" fmla="*/ 255 h 256"/>
              <a:gd name="T64" fmla="*/ 257 w 310"/>
              <a:gd name="T65" fmla="*/ 254 h 256"/>
              <a:gd name="T66" fmla="*/ 284 w 310"/>
              <a:gd name="T67" fmla="*/ 252 h 256"/>
              <a:gd name="T68" fmla="*/ 316 w 310"/>
              <a:gd name="T69" fmla="*/ 249 h 256"/>
              <a:gd name="T70" fmla="*/ 340 w 310"/>
              <a:gd name="T71" fmla="*/ 246 h 256"/>
              <a:gd name="T72" fmla="*/ 362 w 310"/>
              <a:gd name="T73" fmla="*/ 243 h 256"/>
              <a:gd name="T74" fmla="*/ 386 w 310"/>
              <a:gd name="T75" fmla="*/ 238 h 256"/>
              <a:gd name="T76" fmla="*/ 403 w 310"/>
              <a:gd name="T77" fmla="*/ 233 h 256"/>
              <a:gd name="T78" fmla="*/ 418 w 310"/>
              <a:gd name="T79" fmla="*/ 229 h 256"/>
              <a:gd name="T80" fmla="*/ 435 w 310"/>
              <a:gd name="T81" fmla="*/ 225 h 256"/>
              <a:gd name="T82" fmla="*/ 453 w 310"/>
              <a:gd name="T83" fmla="*/ 218 h 256"/>
              <a:gd name="T84" fmla="*/ 462 w 310"/>
              <a:gd name="T85" fmla="*/ 215 h 256"/>
              <a:gd name="T86" fmla="*/ 460 w 310"/>
              <a:gd name="T87" fmla="*/ 202 h 256"/>
              <a:gd name="T88" fmla="*/ 453 w 310"/>
              <a:gd name="T89" fmla="*/ 190 h 256"/>
              <a:gd name="T90" fmla="*/ 449 w 310"/>
              <a:gd name="T91" fmla="*/ 178 h 256"/>
              <a:gd name="T92" fmla="*/ 439 w 310"/>
              <a:gd name="T93" fmla="*/ 161 h 256"/>
              <a:gd name="T94" fmla="*/ 426 w 310"/>
              <a:gd name="T95" fmla="*/ 143 h 256"/>
              <a:gd name="T96" fmla="*/ 410 w 310"/>
              <a:gd name="T97" fmla="*/ 125 h 256"/>
              <a:gd name="T98" fmla="*/ 398 w 310"/>
              <a:gd name="T99" fmla="*/ 112 h 256"/>
              <a:gd name="T100" fmla="*/ 386 w 310"/>
              <a:gd name="T101" fmla="*/ 97 h 256"/>
              <a:gd name="T102" fmla="*/ 375 w 310"/>
              <a:gd name="T103" fmla="*/ 86 h 256"/>
              <a:gd name="T104" fmla="*/ 359 w 310"/>
              <a:gd name="T105" fmla="*/ 72 h 256"/>
              <a:gd name="T106" fmla="*/ 345 w 310"/>
              <a:gd name="T107" fmla="*/ 61 h 256"/>
              <a:gd name="T108" fmla="*/ 328 w 310"/>
              <a:gd name="T109" fmla="*/ 51 h 256"/>
              <a:gd name="T110" fmla="*/ 309 w 310"/>
              <a:gd name="T111" fmla="*/ 39 h 256"/>
              <a:gd name="T112" fmla="*/ 295 w 310"/>
              <a:gd name="T113" fmla="*/ 30 h 256"/>
              <a:gd name="T114" fmla="*/ 279 w 310"/>
              <a:gd name="T115" fmla="*/ 21 h 256"/>
              <a:gd name="T116" fmla="*/ 256 w 310"/>
              <a:gd name="T117" fmla="*/ 10 h 256"/>
              <a:gd name="T118" fmla="*/ 234 w 310"/>
              <a:gd name="T119" fmla="*/ 0 h 2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10"/>
              <a:gd name="T181" fmla="*/ 0 h 256"/>
              <a:gd name="T182" fmla="*/ 310 w 310"/>
              <a:gd name="T183" fmla="*/ 256 h 2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10" h="256">
                <a:moveTo>
                  <a:pt x="157" y="0"/>
                </a:moveTo>
                <a:lnTo>
                  <a:pt x="148" y="6"/>
                </a:lnTo>
                <a:lnTo>
                  <a:pt x="138" y="12"/>
                </a:lnTo>
                <a:lnTo>
                  <a:pt x="127" y="20"/>
                </a:lnTo>
                <a:lnTo>
                  <a:pt x="118" y="27"/>
                </a:lnTo>
                <a:lnTo>
                  <a:pt x="109" y="35"/>
                </a:lnTo>
                <a:lnTo>
                  <a:pt x="102" y="43"/>
                </a:lnTo>
                <a:lnTo>
                  <a:pt x="92" y="51"/>
                </a:lnTo>
                <a:lnTo>
                  <a:pt x="84" y="59"/>
                </a:lnTo>
                <a:lnTo>
                  <a:pt x="73" y="71"/>
                </a:lnTo>
                <a:lnTo>
                  <a:pt x="65" y="81"/>
                </a:lnTo>
                <a:lnTo>
                  <a:pt x="57" y="91"/>
                </a:lnTo>
                <a:lnTo>
                  <a:pt x="48" y="104"/>
                </a:lnTo>
                <a:lnTo>
                  <a:pt x="40" y="115"/>
                </a:lnTo>
                <a:lnTo>
                  <a:pt x="34" y="126"/>
                </a:lnTo>
                <a:lnTo>
                  <a:pt x="27" y="138"/>
                </a:lnTo>
                <a:lnTo>
                  <a:pt x="21" y="150"/>
                </a:lnTo>
                <a:lnTo>
                  <a:pt x="14" y="165"/>
                </a:lnTo>
                <a:lnTo>
                  <a:pt x="9" y="180"/>
                </a:lnTo>
                <a:lnTo>
                  <a:pt x="5" y="194"/>
                </a:lnTo>
                <a:lnTo>
                  <a:pt x="3" y="206"/>
                </a:lnTo>
                <a:lnTo>
                  <a:pt x="0" y="215"/>
                </a:lnTo>
                <a:lnTo>
                  <a:pt x="11" y="223"/>
                </a:lnTo>
                <a:lnTo>
                  <a:pt x="24" y="228"/>
                </a:lnTo>
                <a:lnTo>
                  <a:pt x="40" y="234"/>
                </a:lnTo>
                <a:lnTo>
                  <a:pt x="56" y="239"/>
                </a:lnTo>
                <a:lnTo>
                  <a:pt x="76" y="245"/>
                </a:lnTo>
                <a:lnTo>
                  <a:pt x="94" y="249"/>
                </a:lnTo>
                <a:lnTo>
                  <a:pt x="109" y="251"/>
                </a:lnTo>
                <a:lnTo>
                  <a:pt x="125" y="254"/>
                </a:lnTo>
                <a:lnTo>
                  <a:pt x="140" y="254"/>
                </a:lnTo>
                <a:lnTo>
                  <a:pt x="154" y="255"/>
                </a:lnTo>
                <a:lnTo>
                  <a:pt x="172" y="254"/>
                </a:lnTo>
                <a:lnTo>
                  <a:pt x="190" y="252"/>
                </a:lnTo>
                <a:lnTo>
                  <a:pt x="211" y="249"/>
                </a:lnTo>
                <a:lnTo>
                  <a:pt x="228" y="246"/>
                </a:lnTo>
                <a:lnTo>
                  <a:pt x="242" y="243"/>
                </a:lnTo>
                <a:lnTo>
                  <a:pt x="258" y="238"/>
                </a:lnTo>
                <a:lnTo>
                  <a:pt x="269" y="233"/>
                </a:lnTo>
                <a:lnTo>
                  <a:pt x="280" y="229"/>
                </a:lnTo>
                <a:lnTo>
                  <a:pt x="291" y="225"/>
                </a:lnTo>
                <a:lnTo>
                  <a:pt x="303" y="218"/>
                </a:lnTo>
                <a:lnTo>
                  <a:pt x="309" y="215"/>
                </a:lnTo>
                <a:lnTo>
                  <a:pt x="307" y="202"/>
                </a:lnTo>
                <a:lnTo>
                  <a:pt x="303" y="190"/>
                </a:lnTo>
                <a:lnTo>
                  <a:pt x="300" y="178"/>
                </a:lnTo>
                <a:lnTo>
                  <a:pt x="293" y="161"/>
                </a:lnTo>
                <a:lnTo>
                  <a:pt x="285" y="143"/>
                </a:lnTo>
                <a:lnTo>
                  <a:pt x="274" y="125"/>
                </a:lnTo>
                <a:lnTo>
                  <a:pt x="267" y="112"/>
                </a:lnTo>
                <a:lnTo>
                  <a:pt x="258" y="97"/>
                </a:lnTo>
                <a:lnTo>
                  <a:pt x="250" y="86"/>
                </a:lnTo>
                <a:lnTo>
                  <a:pt x="239" y="72"/>
                </a:lnTo>
                <a:lnTo>
                  <a:pt x="230" y="61"/>
                </a:lnTo>
                <a:lnTo>
                  <a:pt x="220" y="51"/>
                </a:lnTo>
                <a:lnTo>
                  <a:pt x="207" y="39"/>
                </a:lnTo>
                <a:lnTo>
                  <a:pt x="197" y="30"/>
                </a:lnTo>
                <a:lnTo>
                  <a:pt x="186" y="21"/>
                </a:lnTo>
                <a:lnTo>
                  <a:pt x="171" y="10"/>
                </a:lnTo>
                <a:lnTo>
                  <a:pt x="157" y="0"/>
                </a:lnTo>
              </a:path>
            </a:pathLst>
          </a:custGeom>
          <a:solidFill>
            <a:schemeClr val="bg1"/>
          </a:solidFill>
          <a:ln w="12700" cap="rnd">
            <a:solidFill>
              <a:schemeClr val="bg1"/>
            </a:solidFill>
            <a:round/>
            <a:headEnd/>
            <a:tailEnd/>
          </a:ln>
        </p:spPr>
        <p:txBody>
          <a:bodyPr/>
          <a:lstStyle/>
          <a:p>
            <a:endParaRPr lang="en-GB"/>
          </a:p>
        </p:txBody>
      </p:sp>
      <p:sp>
        <p:nvSpPr>
          <p:cNvPr id="678942" name="Freeform 53"/>
          <p:cNvSpPr>
            <a:spLocks/>
          </p:cNvSpPr>
          <p:nvPr/>
        </p:nvSpPr>
        <p:spPr bwMode="auto">
          <a:xfrm>
            <a:off x="4114713" y="1997693"/>
            <a:ext cx="781192" cy="623874"/>
          </a:xfrm>
          <a:custGeom>
            <a:avLst/>
            <a:gdLst>
              <a:gd name="T0" fmla="*/ 13 w 329"/>
              <a:gd name="T1" fmla="*/ 34 h 264"/>
              <a:gd name="T2" fmla="*/ 52 w 329"/>
              <a:gd name="T3" fmla="*/ 22 h 264"/>
              <a:gd name="T4" fmla="*/ 87 w 329"/>
              <a:gd name="T5" fmla="*/ 14 h 264"/>
              <a:gd name="T6" fmla="*/ 130 w 329"/>
              <a:gd name="T7" fmla="*/ 6 h 264"/>
              <a:gd name="T8" fmla="*/ 171 w 329"/>
              <a:gd name="T9" fmla="*/ 2 h 264"/>
              <a:gd name="T10" fmla="*/ 211 w 329"/>
              <a:gd name="T11" fmla="*/ 0 h 264"/>
              <a:gd name="T12" fmla="*/ 252 w 329"/>
              <a:gd name="T13" fmla="*/ 0 h 264"/>
              <a:gd name="T14" fmla="*/ 301 w 329"/>
              <a:gd name="T15" fmla="*/ 3 h 264"/>
              <a:gd name="T16" fmla="*/ 340 w 329"/>
              <a:gd name="T17" fmla="*/ 7 h 264"/>
              <a:gd name="T18" fmla="*/ 378 w 329"/>
              <a:gd name="T19" fmla="*/ 14 h 264"/>
              <a:gd name="T20" fmla="*/ 419 w 329"/>
              <a:gd name="T21" fmla="*/ 24 h 264"/>
              <a:gd name="T22" fmla="*/ 459 w 329"/>
              <a:gd name="T23" fmla="*/ 36 h 264"/>
              <a:gd name="T24" fmla="*/ 494 w 329"/>
              <a:gd name="T25" fmla="*/ 47 h 264"/>
              <a:gd name="T26" fmla="*/ 467 w 329"/>
              <a:gd name="T27" fmla="*/ 58 h 264"/>
              <a:gd name="T28" fmla="*/ 441 w 329"/>
              <a:gd name="T29" fmla="*/ 70 h 264"/>
              <a:gd name="T30" fmla="*/ 419 w 329"/>
              <a:gd name="T31" fmla="*/ 83 h 264"/>
              <a:gd name="T32" fmla="*/ 395 w 329"/>
              <a:gd name="T33" fmla="*/ 98 h 264"/>
              <a:gd name="T34" fmla="*/ 371 w 329"/>
              <a:gd name="T35" fmla="*/ 116 h 264"/>
              <a:gd name="T36" fmla="*/ 352 w 329"/>
              <a:gd name="T37" fmla="*/ 129 h 264"/>
              <a:gd name="T38" fmla="*/ 330 w 329"/>
              <a:gd name="T39" fmla="*/ 149 h 264"/>
              <a:gd name="T40" fmla="*/ 305 w 329"/>
              <a:gd name="T41" fmla="*/ 174 h 264"/>
              <a:gd name="T42" fmla="*/ 288 w 329"/>
              <a:gd name="T43" fmla="*/ 195 h 264"/>
              <a:gd name="T44" fmla="*/ 271 w 329"/>
              <a:gd name="T45" fmla="*/ 225 h 264"/>
              <a:gd name="T46" fmla="*/ 262 w 329"/>
              <a:gd name="T47" fmla="*/ 245 h 264"/>
              <a:gd name="T48" fmla="*/ 255 w 329"/>
              <a:gd name="T49" fmla="*/ 263 h 264"/>
              <a:gd name="T50" fmla="*/ 226 w 329"/>
              <a:gd name="T51" fmla="*/ 252 h 264"/>
              <a:gd name="T52" fmla="*/ 196 w 329"/>
              <a:gd name="T53" fmla="*/ 239 h 264"/>
              <a:gd name="T54" fmla="*/ 163 w 329"/>
              <a:gd name="T55" fmla="*/ 222 h 264"/>
              <a:gd name="T56" fmla="*/ 125 w 329"/>
              <a:gd name="T57" fmla="*/ 200 h 264"/>
              <a:gd name="T58" fmla="*/ 100 w 329"/>
              <a:gd name="T59" fmla="*/ 180 h 264"/>
              <a:gd name="T60" fmla="*/ 74 w 329"/>
              <a:gd name="T61" fmla="*/ 157 h 264"/>
              <a:gd name="T62" fmla="*/ 51 w 329"/>
              <a:gd name="T63" fmla="*/ 132 h 264"/>
              <a:gd name="T64" fmla="*/ 30 w 329"/>
              <a:gd name="T65" fmla="*/ 104 h 264"/>
              <a:gd name="T66" fmla="*/ 15 w 329"/>
              <a:gd name="T67" fmla="*/ 78 h 264"/>
              <a:gd name="T68" fmla="*/ 4 w 329"/>
              <a:gd name="T69" fmla="*/ 56 h 264"/>
              <a:gd name="T70" fmla="*/ 0 w 329"/>
              <a:gd name="T71" fmla="*/ 37 h 26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9"/>
              <a:gd name="T109" fmla="*/ 0 h 264"/>
              <a:gd name="T110" fmla="*/ 329 w 329"/>
              <a:gd name="T111" fmla="*/ 264 h 26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9" h="264">
                <a:moveTo>
                  <a:pt x="1" y="38"/>
                </a:moveTo>
                <a:lnTo>
                  <a:pt x="8" y="34"/>
                </a:lnTo>
                <a:lnTo>
                  <a:pt x="21" y="27"/>
                </a:lnTo>
                <a:lnTo>
                  <a:pt x="35" y="22"/>
                </a:lnTo>
                <a:lnTo>
                  <a:pt x="45" y="18"/>
                </a:lnTo>
                <a:lnTo>
                  <a:pt x="58" y="14"/>
                </a:lnTo>
                <a:lnTo>
                  <a:pt x="74" y="10"/>
                </a:lnTo>
                <a:lnTo>
                  <a:pt x="87" y="6"/>
                </a:lnTo>
                <a:lnTo>
                  <a:pt x="101" y="4"/>
                </a:lnTo>
                <a:lnTo>
                  <a:pt x="114" y="2"/>
                </a:lnTo>
                <a:lnTo>
                  <a:pt x="127" y="1"/>
                </a:lnTo>
                <a:lnTo>
                  <a:pt x="140" y="0"/>
                </a:lnTo>
                <a:lnTo>
                  <a:pt x="154" y="0"/>
                </a:lnTo>
                <a:lnTo>
                  <a:pt x="168" y="0"/>
                </a:lnTo>
                <a:lnTo>
                  <a:pt x="183" y="1"/>
                </a:lnTo>
                <a:lnTo>
                  <a:pt x="200" y="3"/>
                </a:lnTo>
                <a:lnTo>
                  <a:pt x="212" y="5"/>
                </a:lnTo>
                <a:lnTo>
                  <a:pt x="225" y="7"/>
                </a:lnTo>
                <a:lnTo>
                  <a:pt x="239" y="11"/>
                </a:lnTo>
                <a:lnTo>
                  <a:pt x="252" y="14"/>
                </a:lnTo>
                <a:lnTo>
                  <a:pt x="265" y="19"/>
                </a:lnTo>
                <a:lnTo>
                  <a:pt x="278" y="24"/>
                </a:lnTo>
                <a:lnTo>
                  <a:pt x="291" y="29"/>
                </a:lnTo>
                <a:lnTo>
                  <a:pt x="305" y="36"/>
                </a:lnTo>
                <a:lnTo>
                  <a:pt x="316" y="41"/>
                </a:lnTo>
                <a:lnTo>
                  <a:pt x="328" y="47"/>
                </a:lnTo>
                <a:lnTo>
                  <a:pt x="319" y="52"/>
                </a:lnTo>
                <a:lnTo>
                  <a:pt x="310" y="58"/>
                </a:lnTo>
                <a:lnTo>
                  <a:pt x="302" y="65"/>
                </a:lnTo>
                <a:lnTo>
                  <a:pt x="293" y="70"/>
                </a:lnTo>
                <a:lnTo>
                  <a:pt x="288" y="75"/>
                </a:lnTo>
                <a:lnTo>
                  <a:pt x="278" y="83"/>
                </a:lnTo>
                <a:lnTo>
                  <a:pt x="271" y="91"/>
                </a:lnTo>
                <a:lnTo>
                  <a:pt x="263" y="98"/>
                </a:lnTo>
                <a:lnTo>
                  <a:pt x="255" y="106"/>
                </a:lnTo>
                <a:lnTo>
                  <a:pt x="246" y="116"/>
                </a:lnTo>
                <a:lnTo>
                  <a:pt x="239" y="123"/>
                </a:lnTo>
                <a:lnTo>
                  <a:pt x="234" y="129"/>
                </a:lnTo>
                <a:lnTo>
                  <a:pt x="226" y="139"/>
                </a:lnTo>
                <a:lnTo>
                  <a:pt x="219" y="149"/>
                </a:lnTo>
                <a:lnTo>
                  <a:pt x="211" y="160"/>
                </a:lnTo>
                <a:lnTo>
                  <a:pt x="203" y="174"/>
                </a:lnTo>
                <a:lnTo>
                  <a:pt x="198" y="184"/>
                </a:lnTo>
                <a:lnTo>
                  <a:pt x="191" y="195"/>
                </a:lnTo>
                <a:lnTo>
                  <a:pt x="186" y="209"/>
                </a:lnTo>
                <a:lnTo>
                  <a:pt x="180" y="225"/>
                </a:lnTo>
                <a:lnTo>
                  <a:pt x="177" y="236"/>
                </a:lnTo>
                <a:lnTo>
                  <a:pt x="174" y="245"/>
                </a:lnTo>
                <a:lnTo>
                  <a:pt x="171" y="255"/>
                </a:lnTo>
                <a:lnTo>
                  <a:pt x="170" y="263"/>
                </a:lnTo>
                <a:lnTo>
                  <a:pt x="161" y="259"/>
                </a:lnTo>
                <a:lnTo>
                  <a:pt x="150" y="252"/>
                </a:lnTo>
                <a:lnTo>
                  <a:pt x="141" y="246"/>
                </a:lnTo>
                <a:lnTo>
                  <a:pt x="131" y="239"/>
                </a:lnTo>
                <a:lnTo>
                  <a:pt x="122" y="233"/>
                </a:lnTo>
                <a:lnTo>
                  <a:pt x="108" y="222"/>
                </a:lnTo>
                <a:lnTo>
                  <a:pt x="94" y="209"/>
                </a:lnTo>
                <a:lnTo>
                  <a:pt x="83" y="200"/>
                </a:lnTo>
                <a:lnTo>
                  <a:pt x="75" y="190"/>
                </a:lnTo>
                <a:lnTo>
                  <a:pt x="66" y="180"/>
                </a:lnTo>
                <a:lnTo>
                  <a:pt x="57" y="168"/>
                </a:lnTo>
                <a:lnTo>
                  <a:pt x="49" y="157"/>
                </a:lnTo>
                <a:lnTo>
                  <a:pt x="42" y="145"/>
                </a:lnTo>
                <a:lnTo>
                  <a:pt x="34" y="132"/>
                </a:lnTo>
                <a:lnTo>
                  <a:pt x="27" y="119"/>
                </a:lnTo>
                <a:lnTo>
                  <a:pt x="20" y="104"/>
                </a:lnTo>
                <a:lnTo>
                  <a:pt x="14" y="92"/>
                </a:lnTo>
                <a:lnTo>
                  <a:pt x="10" y="78"/>
                </a:lnTo>
                <a:lnTo>
                  <a:pt x="6" y="66"/>
                </a:lnTo>
                <a:lnTo>
                  <a:pt x="4" y="56"/>
                </a:lnTo>
                <a:lnTo>
                  <a:pt x="1" y="47"/>
                </a:lnTo>
                <a:lnTo>
                  <a:pt x="0" y="37"/>
                </a:lnTo>
                <a:lnTo>
                  <a:pt x="1" y="38"/>
                </a:lnTo>
              </a:path>
            </a:pathLst>
          </a:custGeom>
          <a:solidFill>
            <a:schemeClr val="accent2"/>
          </a:solidFill>
          <a:ln w="12700" cap="rnd">
            <a:solidFill>
              <a:schemeClr val="bg1"/>
            </a:solidFill>
            <a:round/>
            <a:headEnd/>
            <a:tailEnd/>
          </a:ln>
        </p:spPr>
        <p:txBody>
          <a:bodyPr/>
          <a:lstStyle/>
          <a:p>
            <a:endParaRPr lang="en-GB"/>
          </a:p>
        </p:txBody>
      </p:sp>
      <p:sp>
        <p:nvSpPr>
          <p:cNvPr id="678943" name="Freeform 54"/>
          <p:cNvSpPr>
            <a:spLocks/>
          </p:cNvSpPr>
          <p:nvPr/>
        </p:nvSpPr>
        <p:spPr bwMode="auto">
          <a:xfrm>
            <a:off x="4887152" y="1997693"/>
            <a:ext cx="761498" cy="626238"/>
          </a:xfrm>
          <a:custGeom>
            <a:avLst/>
            <a:gdLst>
              <a:gd name="T0" fmla="*/ 479 w 321"/>
              <a:gd name="T1" fmla="*/ 41 h 265"/>
              <a:gd name="T2" fmla="*/ 448 w 321"/>
              <a:gd name="T3" fmla="*/ 28 h 265"/>
              <a:gd name="T4" fmla="*/ 409 w 321"/>
              <a:gd name="T5" fmla="*/ 18 h 265"/>
              <a:gd name="T6" fmla="*/ 370 w 321"/>
              <a:gd name="T7" fmla="*/ 10 h 265"/>
              <a:gd name="T8" fmla="*/ 331 w 321"/>
              <a:gd name="T9" fmla="*/ 5 h 265"/>
              <a:gd name="T10" fmla="*/ 293 w 321"/>
              <a:gd name="T11" fmla="*/ 2 h 265"/>
              <a:gd name="T12" fmla="*/ 252 w 321"/>
              <a:gd name="T13" fmla="*/ 0 h 265"/>
              <a:gd name="T14" fmla="*/ 209 w 321"/>
              <a:gd name="T15" fmla="*/ 2 h 265"/>
              <a:gd name="T16" fmla="*/ 164 w 321"/>
              <a:gd name="T17" fmla="*/ 5 h 265"/>
              <a:gd name="T18" fmla="*/ 125 w 321"/>
              <a:gd name="T19" fmla="*/ 12 h 265"/>
              <a:gd name="T20" fmla="*/ 85 w 321"/>
              <a:gd name="T21" fmla="*/ 20 h 265"/>
              <a:gd name="T22" fmla="*/ 40 w 321"/>
              <a:gd name="T23" fmla="*/ 32 h 265"/>
              <a:gd name="T24" fmla="*/ 5 w 321"/>
              <a:gd name="T25" fmla="*/ 43 h 265"/>
              <a:gd name="T26" fmla="*/ 12 w 321"/>
              <a:gd name="T27" fmla="*/ 53 h 265"/>
              <a:gd name="T28" fmla="*/ 30 w 321"/>
              <a:gd name="T29" fmla="*/ 62 h 265"/>
              <a:gd name="T30" fmla="*/ 48 w 321"/>
              <a:gd name="T31" fmla="*/ 72 h 265"/>
              <a:gd name="T32" fmla="*/ 75 w 321"/>
              <a:gd name="T33" fmla="*/ 88 h 265"/>
              <a:gd name="T34" fmla="*/ 102 w 321"/>
              <a:gd name="T35" fmla="*/ 104 h 265"/>
              <a:gd name="T36" fmla="*/ 125 w 321"/>
              <a:gd name="T37" fmla="*/ 120 h 265"/>
              <a:gd name="T38" fmla="*/ 144 w 321"/>
              <a:gd name="T39" fmla="*/ 137 h 265"/>
              <a:gd name="T40" fmla="*/ 166 w 321"/>
              <a:gd name="T41" fmla="*/ 160 h 265"/>
              <a:gd name="T42" fmla="*/ 184 w 321"/>
              <a:gd name="T43" fmla="*/ 184 h 265"/>
              <a:gd name="T44" fmla="*/ 207 w 321"/>
              <a:gd name="T45" fmla="*/ 209 h 265"/>
              <a:gd name="T46" fmla="*/ 218 w 321"/>
              <a:gd name="T47" fmla="*/ 235 h 265"/>
              <a:gd name="T48" fmla="*/ 227 w 321"/>
              <a:gd name="T49" fmla="*/ 258 h 265"/>
              <a:gd name="T50" fmla="*/ 243 w 321"/>
              <a:gd name="T51" fmla="*/ 259 h 265"/>
              <a:gd name="T52" fmla="*/ 273 w 321"/>
              <a:gd name="T53" fmla="*/ 247 h 265"/>
              <a:gd name="T54" fmla="*/ 301 w 321"/>
              <a:gd name="T55" fmla="*/ 233 h 265"/>
              <a:gd name="T56" fmla="*/ 344 w 321"/>
              <a:gd name="T57" fmla="*/ 209 h 265"/>
              <a:gd name="T58" fmla="*/ 370 w 321"/>
              <a:gd name="T59" fmla="*/ 191 h 265"/>
              <a:gd name="T60" fmla="*/ 396 w 321"/>
              <a:gd name="T61" fmla="*/ 168 h 265"/>
              <a:gd name="T62" fmla="*/ 421 w 321"/>
              <a:gd name="T63" fmla="*/ 145 h 265"/>
              <a:gd name="T64" fmla="*/ 442 w 321"/>
              <a:gd name="T65" fmla="*/ 119 h 265"/>
              <a:gd name="T66" fmla="*/ 460 w 321"/>
              <a:gd name="T67" fmla="*/ 93 h 265"/>
              <a:gd name="T68" fmla="*/ 474 w 321"/>
              <a:gd name="T69" fmla="*/ 64 h 265"/>
              <a:gd name="T70" fmla="*/ 479 w 321"/>
              <a:gd name="T71" fmla="*/ 46 h 26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1"/>
              <a:gd name="T109" fmla="*/ 0 h 265"/>
              <a:gd name="T110" fmla="*/ 321 w 321"/>
              <a:gd name="T111" fmla="*/ 265 h 26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1" h="265">
                <a:moveTo>
                  <a:pt x="320" y="46"/>
                </a:moveTo>
                <a:lnTo>
                  <a:pt x="320" y="41"/>
                </a:lnTo>
                <a:lnTo>
                  <a:pt x="310" y="35"/>
                </a:lnTo>
                <a:lnTo>
                  <a:pt x="299" y="28"/>
                </a:lnTo>
                <a:lnTo>
                  <a:pt x="287" y="22"/>
                </a:lnTo>
                <a:lnTo>
                  <a:pt x="273" y="18"/>
                </a:lnTo>
                <a:lnTo>
                  <a:pt x="260" y="14"/>
                </a:lnTo>
                <a:lnTo>
                  <a:pt x="247" y="10"/>
                </a:lnTo>
                <a:lnTo>
                  <a:pt x="232" y="6"/>
                </a:lnTo>
                <a:lnTo>
                  <a:pt x="220" y="5"/>
                </a:lnTo>
                <a:lnTo>
                  <a:pt x="207" y="3"/>
                </a:lnTo>
                <a:lnTo>
                  <a:pt x="196" y="2"/>
                </a:lnTo>
                <a:lnTo>
                  <a:pt x="183" y="1"/>
                </a:lnTo>
                <a:lnTo>
                  <a:pt x="168" y="0"/>
                </a:lnTo>
                <a:lnTo>
                  <a:pt x="153" y="1"/>
                </a:lnTo>
                <a:lnTo>
                  <a:pt x="139" y="2"/>
                </a:lnTo>
                <a:lnTo>
                  <a:pt x="125" y="3"/>
                </a:lnTo>
                <a:lnTo>
                  <a:pt x="109" y="5"/>
                </a:lnTo>
                <a:lnTo>
                  <a:pt x="96" y="8"/>
                </a:lnTo>
                <a:lnTo>
                  <a:pt x="83" y="12"/>
                </a:lnTo>
                <a:lnTo>
                  <a:pt x="70" y="15"/>
                </a:lnTo>
                <a:lnTo>
                  <a:pt x="56" y="20"/>
                </a:lnTo>
                <a:lnTo>
                  <a:pt x="41" y="25"/>
                </a:lnTo>
                <a:lnTo>
                  <a:pt x="27" y="32"/>
                </a:lnTo>
                <a:lnTo>
                  <a:pt x="17" y="37"/>
                </a:lnTo>
                <a:lnTo>
                  <a:pt x="5" y="43"/>
                </a:lnTo>
                <a:lnTo>
                  <a:pt x="0" y="48"/>
                </a:lnTo>
                <a:lnTo>
                  <a:pt x="7" y="53"/>
                </a:lnTo>
                <a:lnTo>
                  <a:pt x="14" y="58"/>
                </a:lnTo>
                <a:lnTo>
                  <a:pt x="20" y="62"/>
                </a:lnTo>
                <a:lnTo>
                  <a:pt x="27" y="67"/>
                </a:lnTo>
                <a:lnTo>
                  <a:pt x="32" y="72"/>
                </a:lnTo>
                <a:lnTo>
                  <a:pt x="43" y="81"/>
                </a:lnTo>
                <a:lnTo>
                  <a:pt x="50" y="88"/>
                </a:lnTo>
                <a:lnTo>
                  <a:pt x="59" y="95"/>
                </a:lnTo>
                <a:lnTo>
                  <a:pt x="68" y="104"/>
                </a:lnTo>
                <a:lnTo>
                  <a:pt x="76" y="111"/>
                </a:lnTo>
                <a:lnTo>
                  <a:pt x="83" y="120"/>
                </a:lnTo>
                <a:lnTo>
                  <a:pt x="90" y="129"/>
                </a:lnTo>
                <a:lnTo>
                  <a:pt x="96" y="137"/>
                </a:lnTo>
                <a:lnTo>
                  <a:pt x="103" y="148"/>
                </a:lnTo>
                <a:lnTo>
                  <a:pt x="111" y="160"/>
                </a:lnTo>
                <a:lnTo>
                  <a:pt x="119" y="174"/>
                </a:lnTo>
                <a:lnTo>
                  <a:pt x="124" y="184"/>
                </a:lnTo>
                <a:lnTo>
                  <a:pt x="130" y="196"/>
                </a:lnTo>
                <a:lnTo>
                  <a:pt x="137" y="209"/>
                </a:lnTo>
                <a:lnTo>
                  <a:pt x="142" y="223"/>
                </a:lnTo>
                <a:lnTo>
                  <a:pt x="146" y="235"/>
                </a:lnTo>
                <a:lnTo>
                  <a:pt x="150" y="247"/>
                </a:lnTo>
                <a:lnTo>
                  <a:pt x="151" y="258"/>
                </a:lnTo>
                <a:lnTo>
                  <a:pt x="151" y="264"/>
                </a:lnTo>
                <a:lnTo>
                  <a:pt x="162" y="259"/>
                </a:lnTo>
                <a:lnTo>
                  <a:pt x="173" y="252"/>
                </a:lnTo>
                <a:lnTo>
                  <a:pt x="182" y="247"/>
                </a:lnTo>
                <a:lnTo>
                  <a:pt x="191" y="239"/>
                </a:lnTo>
                <a:lnTo>
                  <a:pt x="201" y="233"/>
                </a:lnTo>
                <a:lnTo>
                  <a:pt x="215" y="222"/>
                </a:lnTo>
                <a:lnTo>
                  <a:pt x="229" y="209"/>
                </a:lnTo>
                <a:lnTo>
                  <a:pt x="239" y="200"/>
                </a:lnTo>
                <a:lnTo>
                  <a:pt x="247" y="191"/>
                </a:lnTo>
                <a:lnTo>
                  <a:pt x="256" y="180"/>
                </a:lnTo>
                <a:lnTo>
                  <a:pt x="265" y="168"/>
                </a:lnTo>
                <a:lnTo>
                  <a:pt x="273" y="157"/>
                </a:lnTo>
                <a:lnTo>
                  <a:pt x="280" y="145"/>
                </a:lnTo>
                <a:lnTo>
                  <a:pt x="288" y="132"/>
                </a:lnTo>
                <a:lnTo>
                  <a:pt x="295" y="119"/>
                </a:lnTo>
                <a:lnTo>
                  <a:pt x="302" y="105"/>
                </a:lnTo>
                <a:lnTo>
                  <a:pt x="307" y="93"/>
                </a:lnTo>
                <a:lnTo>
                  <a:pt x="312" y="78"/>
                </a:lnTo>
                <a:lnTo>
                  <a:pt x="316" y="64"/>
                </a:lnTo>
                <a:lnTo>
                  <a:pt x="320" y="45"/>
                </a:lnTo>
                <a:lnTo>
                  <a:pt x="320" y="46"/>
                </a:lnTo>
              </a:path>
            </a:pathLst>
          </a:custGeom>
          <a:solidFill>
            <a:schemeClr val="accent2"/>
          </a:solidFill>
          <a:ln w="12700" cap="rnd">
            <a:solidFill>
              <a:schemeClr val="bg1"/>
            </a:solidFill>
            <a:round/>
            <a:headEnd/>
            <a:tailEnd/>
          </a:ln>
        </p:spPr>
        <p:txBody>
          <a:bodyPr/>
          <a:lstStyle/>
          <a:p>
            <a:endParaRPr lang="en-GB"/>
          </a:p>
        </p:txBody>
      </p:sp>
      <p:sp>
        <p:nvSpPr>
          <p:cNvPr id="678944" name="Freeform 55"/>
          <p:cNvSpPr>
            <a:spLocks/>
          </p:cNvSpPr>
          <p:nvPr/>
        </p:nvSpPr>
        <p:spPr bwMode="auto">
          <a:xfrm>
            <a:off x="4504215" y="2610496"/>
            <a:ext cx="765875" cy="853101"/>
          </a:xfrm>
          <a:custGeom>
            <a:avLst/>
            <a:gdLst>
              <a:gd name="T0" fmla="*/ 24 w 323"/>
              <a:gd name="T1" fmla="*/ 6 h 361"/>
              <a:gd name="T2" fmla="*/ 52 w 323"/>
              <a:gd name="T3" fmla="*/ 14 h 361"/>
              <a:gd name="T4" fmla="*/ 92 w 323"/>
              <a:gd name="T5" fmla="*/ 23 h 361"/>
              <a:gd name="T6" fmla="*/ 130 w 323"/>
              <a:gd name="T7" fmla="*/ 30 h 361"/>
              <a:gd name="T8" fmla="*/ 171 w 323"/>
              <a:gd name="T9" fmla="*/ 36 h 361"/>
              <a:gd name="T10" fmla="*/ 225 w 323"/>
              <a:gd name="T11" fmla="*/ 40 h 361"/>
              <a:gd name="T12" fmla="*/ 275 w 323"/>
              <a:gd name="T13" fmla="*/ 40 h 361"/>
              <a:gd name="T14" fmla="*/ 328 w 323"/>
              <a:gd name="T15" fmla="*/ 34 h 361"/>
              <a:gd name="T16" fmla="*/ 367 w 323"/>
              <a:gd name="T17" fmla="*/ 28 h 361"/>
              <a:gd name="T18" fmla="*/ 399 w 323"/>
              <a:gd name="T19" fmla="*/ 21 h 361"/>
              <a:gd name="T20" fmla="*/ 435 w 323"/>
              <a:gd name="T21" fmla="*/ 12 h 361"/>
              <a:gd name="T22" fmla="*/ 461 w 323"/>
              <a:gd name="T23" fmla="*/ 4 h 361"/>
              <a:gd name="T24" fmla="*/ 474 w 323"/>
              <a:gd name="T25" fmla="*/ 10 h 361"/>
              <a:gd name="T26" fmla="*/ 477 w 323"/>
              <a:gd name="T27" fmla="*/ 28 h 361"/>
              <a:gd name="T28" fmla="*/ 480 w 323"/>
              <a:gd name="T29" fmla="*/ 56 h 361"/>
              <a:gd name="T30" fmla="*/ 481 w 323"/>
              <a:gd name="T31" fmla="*/ 76 h 361"/>
              <a:gd name="T32" fmla="*/ 480 w 323"/>
              <a:gd name="T33" fmla="*/ 102 h 361"/>
              <a:gd name="T34" fmla="*/ 472 w 323"/>
              <a:gd name="T35" fmla="*/ 131 h 361"/>
              <a:gd name="T36" fmla="*/ 463 w 323"/>
              <a:gd name="T37" fmla="*/ 162 h 361"/>
              <a:gd name="T38" fmla="*/ 448 w 323"/>
              <a:gd name="T39" fmla="*/ 191 h 361"/>
              <a:gd name="T40" fmla="*/ 429 w 323"/>
              <a:gd name="T41" fmla="*/ 219 h 361"/>
              <a:gd name="T42" fmla="*/ 410 w 323"/>
              <a:gd name="T43" fmla="*/ 244 h 361"/>
              <a:gd name="T44" fmla="*/ 381 w 323"/>
              <a:gd name="T45" fmla="*/ 270 h 361"/>
              <a:gd name="T46" fmla="*/ 352 w 323"/>
              <a:gd name="T47" fmla="*/ 296 h 361"/>
              <a:gd name="T48" fmla="*/ 315 w 323"/>
              <a:gd name="T49" fmla="*/ 320 h 361"/>
              <a:gd name="T50" fmla="*/ 281 w 323"/>
              <a:gd name="T51" fmla="*/ 339 h 361"/>
              <a:gd name="T52" fmla="*/ 249 w 323"/>
              <a:gd name="T53" fmla="*/ 354 h 361"/>
              <a:gd name="T54" fmla="*/ 222 w 323"/>
              <a:gd name="T55" fmla="*/ 354 h 361"/>
              <a:gd name="T56" fmla="*/ 194 w 323"/>
              <a:gd name="T57" fmla="*/ 339 h 361"/>
              <a:gd name="T58" fmla="*/ 164 w 323"/>
              <a:gd name="T59" fmla="*/ 324 h 361"/>
              <a:gd name="T60" fmla="*/ 135 w 323"/>
              <a:gd name="T61" fmla="*/ 305 h 361"/>
              <a:gd name="T62" fmla="*/ 101 w 323"/>
              <a:gd name="T63" fmla="*/ 276 h 361"/>
              <a:gd name="T64" fmla="*/ 75 w 323"/>
              <a:gd name="T65" fmla="*/ 252 h 361"/>
              <a:gd name="T66" fmla="*/ 52 w 323"/>
              <a:gd name="T67" fmla="*/ 225 h 361"/>
              <a:gd name="T68" fmla="*/ 33 w 323"/>
              <a:gd name="T69" fmla="*/ 196 h 361"/>
              <a:gd name="T70" fmla="*/ 17 w 323"/>
              <a:gd name="T71" fmla="*/ 166 h 361"/>
              <a:gd name="T72" fmla="*/ 4 w 323"/>
              <a:gd name="T73" fmla="*/ 136 h 361"/>
              <a:gd name="T74" fmla="*/ 0 w 323"/>
              <a:gd name="T75" fmla="*/ 102 h 361"/>
              <a:gd name="T76" fmla="*/ 0 w 323"/>
              <a:gd name="T77" fmla="*/ 69 h 361"/>
              <a:gd name="T78" fmla="*/ 1 w 323"/>
              <a:gd name="T79" fmla="*/ 37 h 361"/>
              <a:gd name="T80" fmla="*/ 5 w 323"/>
              <a:gd name="T81" fmla="*/ 9 h 36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3"/>
              <a:gd name="T124" fmla="*/ 0 h 361"/>
              <a:gd name="T125" fmla="*/ 323 w 323"/>
              <a:gd name="T126" fmla="*/ 361 h 36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3" h="361">
                <a:moveTo>
                  <a:pt x="7" y="1"/>
                </a:moveTo>
                <a:lnTo>
                  <a:pt x="16" y="6"/>
                </a:lnTo>
                <a:lnTo>
                  <a:pt x="26" y="11"/>
                </a:lnTo>
                <a:lnTo>
                  <a:pt x="35" y="14"/>
                </a:lnTo>
                <a:lnTo>
                  <a:pt x="48" y="20"/>
                </a:lnTo>
                <a:lnTo>
                  <a:pt x="61" y="23"/>
                </a:lnTo>
                <a:lnTo>
                  <a:pt x="73" y="27"/>
                </a:lnTo>
                <a:lnTo>
                  <a:pt x="87" y="30"/>
                </a:lnTo>
                <a:lnTo>
                  <a:pt x="101" y="34"/>
                </a:lnTo>
                <a:lnTo>
                  <a:pt x="115" y="36"/>
                </a:lnTo>
                <a:lnTo>
                  <a:pt x="133" y="38"/>
                </a:lnTo>
                <a:lnTo>
                  <a:pt x="150" y="40"/>
                </a:lnTo>
                <a:lnTo>
                  <a:pt x="165" y="40"/>
                </a:lnTo>
                <a:lnTo>
                  <a:pt x="184" y="40"/>
                </a:lnTo>
                <a:lnTo>
                  <a:pt x="205" y="36"/>
                </a:lnTo>
                <a:lnTo>
                  <a:pt x="220" y="34"/>
                </a:lnTo>
                <a:lnTo>
                  <a:pt x="231" y="32"/>
                </a:lnTo>
                <a:lnTo>
                  <a:pt x="246" y="28"/>
                </a:lnTo>
                <a:lnTo>
                  <a:pt x="257" y="25"/>
                </a:lnTo>
                <a:lnTo>
                  <a:pt x="268" y="21"/>
                </a:lnTo>
                <a:lnTo>
                  <a:pt x="281" y="15"/>
                </a:lnTo>
                <a:lnTo>
                  <a:pt x="291" y="12"/>
                </a:lnTo>
                <a:lnTo>
                  <a:pt x="300" y="7"/>
                </a:lnTo>
                <a:lnTo>
                  <a:pt x="308" y="4"/>
                </a:lnTo>
                <a:lnTo>
                  <a:pt x="314" y="0"/>
                </a:lnTo>
                <a:lnTo>
                  <a:pt x="317" y="10"/>
                </a:lnTo>
                <a:lnTo>
                  <a:pt x="318" y="20"/>
                </a:lnTo>
                <a:lnTo>
                  <a:pt x="319" y="28"/>
                </a:lnTo>
                <a:lnTo>
                  <a:pt x="321" y="44"/>
                </a:lnTo>
                <a:lnTo>
                  <a:pt x="321" y="56"/>
                </a:lnTo>
                <a:lnTo>
                  <a:pt x="322" y="66"/>
                </a:lnTo>
                <a:lnTo>
                  <a:pt x="322" y="76"/>
                </a:lnTo>
                <a:lnTo>
                  <a:pt x="321" y="91"/>
                </a:lnTo>
                <a:lnTo>
                  <a:pt x="321" y="102"/>
                </a:lnTo>
                <a:lnTo>
                  <a:pt x="319" y="115"/>
                </a:lnTo>
                <a:lnTo>
                  <a:pt x="316" y="131"/>
                </a:lnTo>
                <a:lnTo>
                  <a:pt x="314" y="144"/>
                </a:lnTo>
                <a:lnTo>
                  <a:pt x="310" y="162"/>
                </a:lnTo>
                <a:lnTo>
                  <a:pt x="305" y="177"/>
                </a:lnTo>
                <a:lnTo>
                  <a:pt x="300" y="191"/>
                </a:lnTo>
                <a:lnTo>
                  <a:pt x="295" y="203"/>
                </a:lnTo>
                <a:lnTo>
                  <a:pt x="287" y="219"/>
                </a:lnTo>
                <a:lnTo>
                  <a:pt x="281" y="232"/>
                </a:lnTo>
                <a:lnTo>
                  <a:pt x="274" y="244"/>
                </a:lnTo>
                <a:lnTo>
                  <a:pt x="266" y="255"/>
                </a:lnTo>
                <a:lnTo>
                  <a:pt x="256" y="270"/>
                </a:lnTo>
                <a:lnTo>
                  <a:pt x="246" y="284"/>
                </a:lnTo>
                <a:lnTo>
                  <a:pt x="236" y="296"/>
                </a:lnTo>
                <a:lnTo>
                  <a:pt x="224" y="308"/>
                </a:lnTo>
                <a:lnTo>
                  <a:pt x="211" y="320"/>
                </a:lnTo>
                <a:lnTo>
                  <a:pt x="198" y="330"/>
                </a:lnTo>
                <a:lnTo>
                  <a:pt x="188" y="339"/>
                </a:lnTo>
                <a:lnTo>
                  <a:pt x="179" y="346"/>
                </a:lnTo>
                <a:lnTo>
                  <a:pt x="167" y="354"/>
                </a:lnTo>
                <a:lnTo>
                  <a:pt x="158" y="360"/>
                </a:lnTo>
                <a:lnTo>
                  <a:pt x="149" y="354"/>
                </a:lnTo>
                <a:lnTo>
                  <a:pt x="140" y="348"/>
                </a:lnTo>
                <a:lnTo>
                  <a:pt x="129" y="339"/>
                </a:lnTo>
                <a:lnTo>
                  <a:pt x="120" y="332"/>
                </a:lnTo>
                <a:lnTo>
                  <a:pt x="109" y="324"/>
                </a:lnTo>
                <a:lnTo>
                  <a:pt x="101" y="315"/>
                </a:lnTo>
                <a:lnTo>
                  <a:pt x="90" y="305"/>
                </a:lnTo>
                <a:lnTo>
                  <a:pt x="80" y="292"/>
                </a:lnTo>
                <a:lnTo>
                  <a:pt x="67" y="276"/>
                </a:lnTo>
                <a:lnTo>
                  <a:pt x="58" y="263"/>
                </a:lnTo>
                <a:lnTo>
                  <a:pt x="50" y="252"/>
                </a:lnTo>
                <a:lnTo>
                  <a:pt x="41" y="237"/>
                </a:lnTo>
                <a:lnTo>
                  <a:pt x="35" y="225"/>
                </a:lnTo>
                <a:lnTo>
                  <a:pt x="28" y="209"/>
                </a:lnTo>
                <a:lnTo>
                  <a:pt x="22" y="196"/>
                </a:lnTo>
                <a:lnTo>
                  <a:pt x="17" y="184"/>
                </a:lnTo>
                <a:lnTo>
                  <a:pt x="12" y="166"/>
                </a:lnTo>
                <a:lnTo>
                  <a:pt x="8" y="153"/>
                </a:lnTo>
                <a:lnTo>
                  <a:pt x="4" y="136"/>
                </a:lnTo>
                <a:lnTo>
                  <a:pt x="3" y="123"/>
                </a:lnTo>
                <a:lnTo>
                  <a:pt x="0" y="102"/>
                </a:lnTo>
                <a:lnTo>
                  <a:pt x="0" y="87"/>
                </a:lnTo>
                <a:lnTo>
                  <a:pt x="0" y="69"/>
                </a:lnTo>
                <a:lnTo>
                  <a:pt x="0" y="51"/>
                </a:lnTo>
                <a:lnTo>
                  <a:pt x="1" y="37"/>
                </a:lnTo>
                <a:lnTo>
                  <a:pt x="3" y="22"/>
                </a:lnTo>
                <a:lnTo>
                  <a:pt x="5" y="9"/>
                </a:lnTo>
                <a:lnTo>
                  <a:pt x="7" y="1"/>
                </a:lnTo>
              </a:path>
            </a:pathLst>
          </a:custGeom>
          <a:solidFill>
            <a:schemeClr val="accent2"/>
          </a:solidFill>
          <a:ln w="12700" cap="rnd">
            <a:solidFill>
              <a:schemeClr val="bg1"/>
            </a:solidFill>
            <a:round/>
            <a:headEnd/>
            <a:tailEnd/>
          </a:ln>
        </p:spPr>
        <p:txBody>
          <a:bodyPr/>
          <a:lstStyle/>
          <a:p>
            <a:endParaRPr lang="en-GB"/>
          </a:p>
        </p:txBody>
      </p:sp>
      <p:sp>
        <p:nvSpPr>
          <p:cNvPr id="678916" name="Oval 56"/>
          <p:cNvSpPr>
            <a:spLocks noChangeArrowheads="1"/>
          </p:cNvSpPr>
          <p:nvPr/>
        </p:nvSpPr>
        <p:spPr bwMode="gray">
          <a:xfrm>
            <a:off x="6433027" y="4224778"/>
            <a:ext cx="1254750" cy="1243012"/>
          </a:xfrm>
          <a:prstGeom prst="ellipse">
            <a:avLst/>
          </a:prstGeom>
          <a:solidFill>
            <a:srgbClr val="00A1DE">
              <a:alpha val="69803"/>
            </a:srgbClr>
          </a:solidFill>
          <a:ln w="12700" algn="ctr">
            <a:noFill/>
            <a:round/>
            <a:headEnd/>
            <a:tailEnd/>
          </a:ln>
        </p:spPr>
        <p:txBody>
          <a:bodyPr lIns="0" tIns="0" rIns="0" bIns="0" anchor="ctr" anchorCtr="1"/>
          <a:lstStyle/>
          <a:p>
            <a:pPr algn="ctr"/>
            <a:r>
              <a:rPr lang="en-GB" sz="1200" dirty="0">
                <a:solidFill>
                  <a:schemeClr val="bg1"/>
                </a:solidFill>
              </a:rPr>
              <a:t>Text</a:t>
            </a:r>
          </a:p>
        </p:txBody>
      </p:sp>
      <p:sp>
        <p:nvSpPr>
          <p:cNvPr id="678917" name="Oval 57"/>
          <p:cNvSpPr>
            <a:spLocks noChangeArrowheads="1"/>
          </p:cNvSpPr>
          <p:nvPr/>
        </p:nvSpPr>
        <p:spPr bwMode="gray">
          <a:xfrm>
            <a:off x="7328533" y="4224778"/>
            <a:ext cx="1254750" cy="1243012"/>
          </a:xfrm>
          <a:prstGeom prst="ellipse">
            <a:avLst/>
          </a:prstGeom>
          <a:solidFill>
            <a:srgbClr val="00A1DE">
              <a:alpha val="69803"/>
            </a:srgbClr>
          </a:solidFill>
          <a:ln w="12700" algn="ctr">
            <a:noFill/>
            <a:round/>
            <a:headEnd/>
            <a:tailEnd/>
          </a:ln>
        </p:spPr>
        <p:txBody>
          <a:bodyPr lIns="0" tIns="0" rIns="0" bIns="0" anchor="ctr" anchorCtr="1"/>
          <a:lstStyle/>
          <a:p>
            <a:pPr algn="ctr"/>
            <a:r>
              <a:rPr lang="en-GB" sz="1200" dirty="0">
                <a:solidFill>
                  <a:schemeClr val="bg1"/>
                </a:solidFill>
              </a:rPr>
              <a:t>Text</a:t>
            </a:r>
          </a:p>
        </p:txBody>
      </p:sp>
      <p:sp>
        <p:nvSpPr>
          <p:cNvPr id="678933" name="Oval 62"/>
          <p:cNvSpPr>
            <a:spLocks noChangeArrowheads="1"/>
          </p:cNvSpPr>
          <p:nvPr/>
        </p:nvSpPr>
        <p:spPr bwMode="gray">
          <a:xfrm>
            <a:off x="1141560" y="4647786"/>
            <a:ext cx="1254749" cy="1243012"/>
          </a:xfrm>
          <a:prstGeom prst="ellipse">
            <a:avLst/>
          </a:prstGeom>
          <a:noFill/>
          <a:ln w="12700" algn="ctr">
            <a:solidFill>
              <a:schemeClr val="bg1"/>
            </a:solidFill>
            <a:round/>
            <a:headEnd/>
            <a:tailEnd/>
          </a:ln>
        </p:spPr>
        <p:txBody>
          <a:bodyPr lIns="0" tIns="0" rIns="0" bIns="0" anchor="ctr" anchorCtr="1"/>
          <a:lstStyle/>
          <a:p>
            <a:pPr algn="ctr"/>
            <a:endParaRPr lang="en-GB" sz="1400">
              <a:solidFill>
                <a:schemeClr val="bg1"/>
              </a:solidFill>
            </a:endParaRPr>
          </a:p>
        </p:txBody>
      </p:sp>
      <p:sp>
        <p:nvSpPr>
          <p:cNvPr id="678934" name="Oval 62"/>
          <p:cNvSpPr>
            <a:spLocks noChangeArrowheads="1"/>
          </p:cNvSpPr>
          <p:nvPr/>
        </p:nvSpPr>
        <p:spPr bwMode="gray">
          <a:xfrm>
            <a:off x="2066568" y="4640581"/>
            <a:ext cx="1254750" cy="1243013"/>
          </a:xfrm>
          <a:prstGeom prst="ellipse">
            <a:avLst/>
          </a:prstGeom>
          <a:noFill/>
          <a:ln w="12700" algn="ctr">
            <a:solidFill>
              <a:schemeClr val="bg1"/>
            </a:solidFill>
            <a:round/>
            <a:headEnd/>
            <a:tailEnd/>
          </a:ln>
        </p:spPr>
        <p:txBody>
          <a:bodyPr lIns="0" tIns="0" rIns="0" bIns="0" anchor="ctr" anchorCtr="1"/>
          <a:lstStyle/>
          <a:p>
            <a:pPr algn="ctr"/>
            <a:endParaRPr lang="en-GB" sz="1400">
              <a:solidFill>
                <a:schemeClr val="bg1"/>
              </a:solidFill>
            </a:endParaRPr>
          </a:p>
        </p:txBody>
      </p:sp>
      <p:sp>
        <p:nvSpPr>
          <p:cNvPr id="678935" name="Oval 62"/>
          <p:cNvSpPr>
            <a:spLocks noChangeArrowheads="1"/>
          </p:cNvSpPr>
          <p:nvPr/>
        </p:nvSpPr>
        <p:spPr bwMode="gray">
          <a:xfrm>
            <a:off x="1604932" y="3827413"/>
            <a:ext cx="1254750" cy="1243012"/>
          </a:xfrm>
          <a:prstGeom prst="ellipse">
            <a:avLst/>
          </a:prstGeom>
          <a:noFill/>
          <a:ln w="12700" algn="ctr">
            <a:solidFill>
              <a:schemeClr val="bg1"/>
            </a:solidFill>
            <a:round/>
            <a:headEnd/>
            <a:tailEnd/>
          </a:ln>
        </p:spPr>
        <p:txBody>
          <a:bodyPr lIns="0" tIns="0" rIns="0" bIns="0" anchor="ctr" anchorCtr="1"/>
          <a:lstStyle/>
          <a:p>
            <a:pPr algn="ctr"/>
            <a:endParaRPr lang="en-GB" sz="1400">
              <a:solidFill>
                <a:schemeClr val="bg1"/>
              </a:solidFill>
            </a:endParaRPr>
          </a:p>
        </p:txBody>
      </p:sp>
      <p:sp>
        <p:nvSpPr>
          <p:cNvPr id="678936" name="Oval 56"/>
          <p:cNvSpPr>
            <a:spLocks noChangeArrowheads="1"/>
          </p:cNvSpPr>
          <p:nvPr/>
        </p:nvSpPr>
        <p:spPr bwMode="gray">
          <a:xfrm>
            <a:off x="7328533" y="4224778"/>
            <a:ext cx="1254750" cy="1243012"/>
          </a:xfrm>
          <a:prstGeom prst="ellipse">
            <a:avLst/>
          </a:prstGeom>
          <a:noFill/>
          <a:ln w="12700" algn="ctr">
            <a:solidFill>
              <a:schemeClr val="bg1"/>
            </a:solidFill>
            <a:round/>
            <a:headEnd/>
            <a:tailEnd/>
          </a:ln>
        </p:spPr>
        <p:txBody>
          <a:bodyPr lIns="0" tIns="0" rIns="0" bIns="0" anchor="ctr" anchorCtr="1"/>
          <a:lstStyle/>
          <a:p>
            <a:pPr algn="ctr"/>
            <a:endParaRPr lang="en-GB" sz="1400">
              <a:solidFill>
                <a:schemeClr val="bg1"/>
              </a:solidFill>
            </a:endParaRPr>
          </a:p>
        </p:txBody>
      </p:sp>
      <p:sp>
        <p:nvSpPr>
          <p:cNvPr id="678937" name="Oval 56"/>
          <p:cNvSpPr>
            <a:spLocks noChangeArrowheads="1"/>
          </p:cNvSpPr>
          <p:nvPr/>
        </p:nvSpPr>
        <p:spPr bwMode="gray">
          <a:xfrm>
            <a:off x="6433959" y="4226365"/>
            <a:ext cx="1254749" cy="1243013"/>
          </a:xfrm>
          <a:prstGeom prst="ellipse">
            <a:avLst/>
          </a:prstGeom>
          <a:noFill/>
          <a:ln w="12700" algn="ctr">
            <a:solidFill>
              <a:schemeClr val="bg1"/>
            </a:solidFill>
            <a:round/>
            <a:headEnd/>
            <a:tailEnd/>
          </a:ln>
        </p:spPr>
        <p:txBody>
          <a:bodyPr lIns="0" tIns="0" rIns="0" bIns="0" anchor="ctr" anchorCtr="1"/>
          <a:lstStyle/>
          <a:p>
            <a:pPr algn="ctr"/>
            <a:endParaRPr lang="en-GB" sz="1400">
              <a:solidFill>
                <a:schemeClr val="bg1"/>
              </a:solidFill>
            </a:endParaRPr>
          </a:p>
        </p:txBody>
      </p:sp>
      <p:sp>
        <p:nvSpPr>
          <p:cNvPr id="35"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678918" name="Oval 58"/>
          <p:cNvSpPr>
            <a:spLocks noChangeArrowheads="1"/>
          </p:cNvSpPr>
          <p:nvPr/>
        </p:nvSpPr>
        <p:spPr bwMode="gray">
          <a:xfrm>
            <a:off x="3866105" y="3840113"/>
            <a:ext cx="1281931" cy="1243013"/>
          </a:xfrm>
          <a:prstGeom prst="ellipse">
            <a:avLst/>
          </a:prstGeom>
          <a:solidFill>
            <a:srgbClr val="00A1DE">
              <a:alpha val="69803"/>
            </a:srgbClr>
          </a:solidFill>
          <a:ln w="12700" algn="ctr">
            <a:solidFill>
              <a:schemeClr val="bg2"/>
            </a:solidFill>
            <a:round/>
            <a:headEnd/>
            <a:tailEnd/>
          </a:ln>
        </p:spPr>
        <p:txBody>
          <a:bodyPr lIns="0" tIns="0" rIns="0" bIns="0" anchor="ctr" anchorCtr="1"/>
          <a:lstStyle/>
          <a:p>
            <a:pPr algn="ctr"/>
            <a:r>
              <a:rPr lang="en-GB" sz="1200" dirty="0">
                <a:solidFill>
                  <a:schemeClr val="bg1"/>
                </a:solidFill>
              </a:rPr>
              <a:t>Text</a:t>
            </a:r>
          </a:p>
        </p:txBody>
      </p:sp>
      <p:sp>
        <p:nvSpPr>
          <p:cNvPr id="678920" name="Oval 60"/>
          <p:cNvSpPr>
            <a:spLocks noChangeArrowheads="1"/>
          </p:cNvSpPr>
          <p:nvPr/>
        </p:nvSpPr>
        <p:spPr bwMode="gray">
          <a:xfrm>
            <a:off x="4767162" y="4718001"/>
            <a:ext cx="1281932" cy="1243012"/>
          </a:xfrm>
          <a:prstGeom prst="ellipse">
            <a:avLst/>
          </a:prstGeom>
          <a:solidFill>
            <a:srgbClr val="00A1DE">
              <a:alpha val="69803"/>
            </a:srgbClr>
          </a:solidFill>
          <a:ln w="12700" algn="ctr">
            <a:solidFill>
              <a:schemeClr val="bg2"/>
            </a:solidFill>
            <a:round/>
            <a:headEnd/>
            <a:tailEnd/>
          </a:ln>
        </p:spPr>
        <p:txBody>
          <a:bodyPr lIns="0" tIns="0" rIns="0" bIns="0" anchor="ctr" anchorCtr="1"/>
          <a:lstStyle/>
          <a:p>
            <a:pPr algn="ctr"/>
            <a:r>
              <a:rPr lang="en-GB" sz="1200" dirty="0">
                <a:solidFill>
                  <a:schemeClr val="bg1"/>
                </a:solidFill>
              </a:rPr>
              <a:t>Text</a:t>
            </a:r>
          </a:p>
        </p:txBody>
      </p:sp>
      <p:sp>
        <p:nvSpPr>
          <p:cNvPr id="37" name="Oval 60"/>
          <p:cNvSpPr>
            <a:spLocks noChangeArrowheads="1"/>
          </p:cNvSpPr>
          <p:nvPr/>
        </p:nvSpPr>
        <p:spPr bwMode="gray">
          <a:xfrm>
            <a:off x="3858960" y="4711841"/>
            <a:ext cx="1281932" cy="1243012"/>
          </a:xfrm>
          <a:prstGeom prst="ellipse">
            <a:avLst/>
          </a:prstGeom>
          <a:noFill/>
          <a:ln w="12700" algn="ctr">
            <a:solidFill>
              <a:schemeClr val="bg2"/>
            </a:solidFill>
            <a:round/>
            <a:headEnd/>
            <a:tailEnd/>
          </a:ln>
        </p:spPr>
        <p:txBody>
          <a:bodyPr lIns="0" tIns="0" rIns="0" bIns="0" anchor="ctr" anchorCtr="1"/>
          <a:lstStyle/>
          <a:p>
            <a:pPr algn="ctr"/>
            <a:endParaRPr lang="en-GB" sz="1200" dirty="0">
              <a:solidFill>
                <a:schemeClr val="bg1"/>
              </a:solidFill>
            </a:endParaRPr>
          </a:p>
        </p:txBody>
      </p:sp>
      <p:sp>
        <p:nvSpPr>
          <p:cNvPr id="39" name="Oval 60"/>
          <p:cNvSpPr>
            <a:spLocks noChangeArrowheads="1"/>
          </p:cNvSpPr>
          <p:nvPr/>
        </p:nvSpPr>
        <p:spPr bwMode="gray">
          <a:xfrm>
            <a:off x="4767162" y="3827413"/>
            <a:ext cx="1281932" cy="1243012"/>
          </a:xfrm>
          <a:prstGeom prst="ellipse">
            <a:avLst/>
          </a:prstGeom>
          <a:noFill/>
          <a:ln w="12700" algn="ctr">
            <a:solidFill>
              <a:schemeClr val="bg2"/>
            </a:solidFill>
            <a:round/>
            <a:headEnd/>
            <a:tailEnd/>
          </a:ln>
        </p:spPr>
        <p:txBody>
          <a:bodyPr lIns="0" tIns="0" rIns="0" bIns="0" anchor="ctr" anchorCtr="1"/>
          <a:lstStyle/>
          <a:p>
            <a:pPr algn="ctr"/>
            <a:endParaRPr lang="en-GB" sz="1200" dirty="0">
              <a:solidFill>
                <a:schemeClr val="bg1"/>
              </a:solidFill>
            </a:endParaRPr>
          </a:p>
        </p:txBody>
      </p:sp>
      <p:sp>
        <p:nvSpPr>
          <p:cNvPr id="45" name="TextBox 44"/>
          <p:cNvSpPr txBox="1"/>
          <p:nvPr/>
        </p:nvSpPr>
        <p:spPr>
          <a:xfrm>
            <a:off x="4448618" y="1541417"/>
            <a:ext cx="894574" cy="307777"/>
          </a:xfrm>
          <a:prstGeom prst="rect">
            <a:avLst/>
          </a:prstGeom>
          <a:noFill/>
        </p:spPr>
        <p:txBody>
          <a:bodyPr wrap="square" rtlCol="0">
            <a:spAutoFit/>
          </a:bodyPr>
          <a:lstStyle/>
          <a:p>
            <a:pPr>
              <a:spcBef>
                <a:spcPts val="600"/>
              </a:spcBef>
            </a:pPr>
            <a:r>
              <a:rPr lang="en-US" sz="1400" dirty="0" smtClean="0">
                <a:solidFill>
                  <a:schemeClr val="bg1"/>
                </a:solidFill>
              </a:rPr>
              <a:t>Text</a:t>
            </a:r>
          </a:p>
        </p:txBody>
      </p:sp>
      <p:sp>
        <p:nvSpPr>
          <p:cNvPr id="46" name="TextBox 45"/>
          <p:cNvSpPr txBox="1"/>
          <p:nvPr/>
        </p:nvSpPr>
        <p:spPr>
          <a:xfrm>
            <a:off x="5156828" y="2693603"/>
            <a:ext cx="894574" cy="307777"/>
          </a:xfrm>
          <a:prstGeom prst="rect">
            <a:avLst/>
          </a:prstGeom>
          <a:noFill/>
        </p:spPr>
        <p:txBody>
          <a:bodyPr wrap="square" rtlCol="0">
            <a:spAutoFit/>
          </a:bodyPr>
          <a:lstStyle/>
          <a:p>
            <a:pPr>
              <a:spcBef>
                <a:spcPts val="600"/>
              </a:spcBef>
            </a:pPr>
            <a:r>
              <a:rPr lang="en-US" sz="1400" dirty="0" smtClean="0">
                <a:solidFill>
                  <a:schemeClr val="bg1"/>
                </a:solidFill>
              </a:rPr>
              <a:t>Text</a:t>
            </a:r>
          </a:p>
        </p:txBody>
      </p:sp>
      <p:sp>
        <p:nvSpPr>
          <p:cNvPr id="47" name="TextBox 46"/>
          <p:cNvSpPr txBox="1"/>
          <p:nvPr/>
        </p:nvSpPr>
        <p:spPr>
          <a:xfrm>
            <a:off x="3706444" y="2693603"/>
            <a:ext cx="894574" cy="307777"/>
          </a:xfrm>
          <a:prstGeom prst="rect">
            <a:avLst/>
          </a:prstGeom>
          <a:noFill/>
        </p:spPr>
        <p:txBody>
          <a:bodyPr wrap="square" rtlCol="0">
            <a:spAutoFit/>
          </a:bodyPr>
          <a:lstStyle/>
          <a:p>
            <a:pPr>
              <a:spcBef>
                <a:spcPts val="600"/>
              </a:spcBef>
            </a:pPr>
            <a:r>
              <a:rPr lang="en-US" sz="1400" dirty="0" smtClean="0">
                <a:solidFill>
                  <a:schemeClr val="bg1"/>
                </a:solidFill>
              </a:rPr>
              <a:t>Text</a:t>
            </a:r>
          </a:p>
        </p:txBody>
      </p:sp>
    </p:spTree>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9937" name="Title 1"/>
          <p:cNvSpPr>
            <a:spLocks noGrp="1"/>
          </p:cNvSpPr>
          <p:nvPr>
            <p:ph type="title"/>
          </p:nvPr>
        </p:nvSpPr>
        <p:spPr>
          <a:xfrm>
            <a:off x="414338" y="446038"/>
            <a:ext cx="8330184" cy="333425"/>
          </a:xfrm>
        </p:spPr>
        <p:txBody>
          <a:bodyPr/>
          <a:lstStyle/>
          <a:p>
            <a:r>
              <a:rPr lang="nl-NL"/>
              <a:t>Spheres </a:t>
            </a:r>
            <a:r>
              <a:rPr lang="en-US"/>
              <a:t>—</a:t>
            </a:r>
            <a:r>
              <a:rPr lang="nl-NL" smtClean="0"/>
              <a:t> </a:t>
            </a:r>
            <a:r>
              <a:rPr lang="nl-NL"/>
              <a:t>blades</a:t>
            </a:r>
          </a:p>
        </p:txBody>
      </p:sp>
      <p:grpSp>
        <p:nvGrpSpPr>
          <p:cNvPr id="2" name="Group 13"/>
          <p:cNvGrpSpPr>
            <a:grpSpLocks/>
          </p:cNvGrpSpPr>
          <p:nvPr/>
        </p:nvGrpSpPr>
        <p:grpSpPr bwMode="auto">
          <a:xfrm>
            <a:off x="2473036" y="1584329"/>
            <a:ext cx="4186238" cy="4479925"/>
            <a:chOff x="2668588" y="1685925"/>
            <a:chExt cx="4535487" cy="4479925"/>
          </a:xfrm>
        </p:grpSpPr>
        <p:sp>
          <p:nvSpPr>
            <p:cNvPr id="679941" name="Freeform 4"/>
            <p:cNvSpPr>
              <a:spLocks/>
            </p:cNvSpPr>
            <p:nvPr/>
          </p:nvSpPr>
          <p:spPr bwMode="blackWhite">
            <a:xfrm>
              <a:off x="2668588" y="2828811"/>
              <a:ext cx="2731230" cy="1141333"/>
            </a:xfrm>
            <a:custGeom>
              <a:avLst/>
              <a:gdLst>
                <a:gd name="T0" fmla="*/ 15642060 w 1136"/>
                <a:gd name="T1" fmla="*/ 5102294 h 491"/>
                <a:gd name="T2" fmla="*/ 15442507 w 1136"/>
                <a:gd name="T3" fmla="*/ 4270120 h 491"/>
                <a:gd name="T4" fmla="*/ 15069848 w 1136"/>
                <a:gd name="T5" fmla="*/ 3479787 h 491"/>
                <a:gd name="T6" fmla="*/ 14519275 w 1136"/>
                <a:gd name="T7" fmla="*/ 2717349 h 491"/>
                <a:gd name="T8" fmla="*/ 13853297 w 1136"/>
                <a:gd name="T9" fmla="*/ 2024646 h 491"/>
                <a:gd name="T10" fmla="*/ 13033448 w 1136"/>
                <a:gd name="T11" fmla="*/ 1434221 h 491"/>
                <a:gd name="T12" fmla="*/ 12105407 w 1136"/>
                <a:gd name="T13" fmla="*/ 911207 h 491"/>
                <a:gd name="T14" fmla="*/ 11098026 w 1136"/>
                <a:gd name="T15" fmla="*/ 516041 h 491"/>
                <a:gd name="T16" fmla="*/ 10006496 w 1136"/>
                <a:gd name="T17" fmla="*/ 218504 h 491"/>
                <a:gd name="T18" fmla="*/ 8871688 w 1136"/>
                <a:gd name="T19" fmla="*/ 44166 h 491"/>
                <a:gd name="T20" fmla="*/ 7729668 w 1136"/>
                <a:gd name="T21" fmla="*/ 0 h 491"/>
                <a:gd name="T22" fmla="*/ 6556394 w 1136"/>
                <a:gd name="T23" fmla="*/ 65086 h 491"/>
                <a:gd name="T24" fmla="*/ 5445630 w 1136"/>
                <a:gd name="T25" fmla="*/ 281265 h 491"/>
                <a:gd name="T26" fmla="*/ 4363716 w 1136"/>
                <a:gd name="T27" fmla="*/ 595074 h 491"/>
                <a:gd name="T28" fmla="*/ 3353931 w 1136"/>
                <a:gd name="T29" fmla="*/ 1029757 h 491"/>
                <a:gd name="T30" fmla="*/ 2471571 w 1136"/>
                <a:gd name="T31" fmla="*/ 1569042 h 491"/>
                <a:gd name="T32" fmla="*/ 1690189 w 1136"/>
                <a:gd name="T33" fmla="*/ 2182712 h 491"/>
                <a:gd name="T34" fmla="*/ 1038637 w 1136"/>
                <a:gd name="T35" fmla="*/ 2884714 h 491"/>
                <a:gd name="T36" fmla="*/ 536148 w 1136"/>
                <a:gd name="T37" fmla="*/ 3640178 h 491"/>
                <a:gd name="T38" fmla="*/ 197149 w 1136"/>
                <a:gd name="T39" fmla="*/ 4458405 h 491"/>
                <a:gd name="T40" fmla="*/ 28851 w 1136"/>
                <a:gd name="T41" fmla="*/ 5302202 h 491"/>
                <a:gd name="T42" fmla="*/ 7854689 w 1136"/>
                <a:gd name="T43" fmla="*/ 5722937 h 491"/>
                <a:gd name="T44" fmla="*/ 8999113 w 1136"/>
                <a:gd name="T45" fmla="*/ 5448646 h 491"/>
                <a:gd name="T46" fmla="*/ 9376580 w 1136"/>
                <a:gd name="T47" fmla="*/ 4958175 h 491"/>
                <a:gd name="T48" fmla="*/ 9898305 w 1136"/>
                <a:gd name="T49" fmla="*/ 4537438 h 491"/>
                <a:gd name="T50" fmla="*/ 10513793 w 1136"/>
                <a:gd name="T51" fmla="*/ 4209682 h 491"/>
                <a:gd name="T52" fmla="*/ 11213430 w 1136"/>
                <a:gd name="T53" fmla="*/ 3970258 h 491"/>
                <a:gd name="T54" fmla="*/ 11941918 w 1136"/>
                <a:gd name="T55" fmla="*/ 3849384 h 491"/>
                <a:gd name="T56" fmla="*/ 12699257 w 1136"/>
                <a:gd name="T57" fmla="*/ 3849384 h 491"/>
                <a:gd name="T58" fmla="*/ 13461405 w 1136"/>
                <a:gd name="T59" fmla="*/ 3974907 h 491"/>
                <a:gd name="T60" fmla="*/ 14161041 w 1136"/>
                <a:gd name="T61" fmla="*/ 4223630 h 491"/>
                <a:gd name="T62" fmla="*/ 14790955 w 1136"/>
                <a:gd name="T63" fmla="*/ 4579279 h 491"/>
                <a:gd name="T64" fmla="*/ 15295848 w 1136"/>
                <a:gd name="T65" fmla="*/ 5006989 h 491"/>
                <a:gd name="T66" fmla="*/ 15682932 w 1136"/>
                <a:gd name="T67" fmla="*/ 5523030 h 4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36"/>
                <a:gd name="T103" fmla="*/ 0 h 491"/>
                <a:gd name="T104" fmla="*/ 1136 w 1136"/>
                <a:gd name="T105" fmla="*/ 491 h 49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36" h="491">
                  <a:moveTo>
                    <a:pt x="1135" y="473"/>
                  </a:moveTo>
                  <a:lnTo>
                    <a:pt x="1132" y="437"/>
                  </a:lnTo>
                  <a:lnTo>
                    <a:pt x="1126" y="401"/>
                  </a:lnTo>
                  <a:lnTo>
                    <a:pt x="1117" y="366"/>
                  </a:lnTo>
                  <a:lnTo>
                    <a:pt x="1104" y="331"/>
                  </a:lnTo>
                  <a:lnTo>
                    <a:pt x="1090" y="298"/>
                  </a:lnTo>
                  <a:lnTo>
                    <a:pt x="1072" y="264"/>
                  </a:lnTo>
                  <a:lnTo>
                    <a:pt x="1051" y="233"/>
                  </a:lnTo>
                  <a:lnTo>
                    <a:pt x="1027" y="203"/>
                  </a:lnTo>
                  <a:lnTo>
                    <a:pt x="1002" y="174"/>
                  </a:lnTo>
                  <a:lnTo>
                    <a:pt x="974" y="148"/>
                  </a:lnTo>
                  <a:lnTo>
                    <a:pt x="943" y="123"/>
                  </a:lnTo>
                  <a:lnTo>
                    <a:pt x="911" y="99"/>
                  </a:lnTo>
                  <a:lnTo>
                    <a:pt x="876" y="78"/>
                  </a:lnTo>
                  <a:lnTo>
                    <a:pt x="840" y="60"/>
                  </a:lnTo>
                  <a:lnTo>
                    <a:pt x="803" y="44"/>
                  </a:lnTo>
                  <a:lnTo>
                    <a:pt x="764" y="30"/>
                  </a:lnTo>
                  <a:lnTo>
                    <a:pt x="724" y="19"/>
                  </a:lnTo>
                  <a:lnTo>
                    <a:pt x="683" y="10"/>
                  </a:lnTo>
                  <a:lnTo>
                    <a:pt x="642" y="4"/>
                  </a:lnTo>
                  <a:lnTo>
                    <a:pt x="600" y="1"/>
                  </a:lnTo>
                  <a:lnTo>
                    <a:pt x="559" y="0"/>
                  </a:lnTo>
                  <a:lnTo>
                    <a:pt x="517" y="2"/>
                  </a:lnTo>
                  <a:lnTo>
                    <a:pt x="474" y="6"/>
                  </a:lnTo>
                  <a:lnTo>
                    <a:pt x="433" y="14"/>
                  </a:lnTo>
                  <a:lnTo>
                    <a:pt x="394" y="24"/>
                  </a:lnTo>
                  <a:lnTo>
                    <a:pt x="354" y="37"/>
                  </a:lnTo>
                  <a:lnTo>
                    <a:pt x="316" y="51"/>
                  </a:lnTo>
                  <a:lnTo>
                    <a:pt x="279" y="68"/>
                  </a:lnTo>
                  <a:lnTo>
                    <a:pt x="243" y="88"/>
                  </a:lnTo>
                  <a:lnTo>
                    <a:pt x="210" y="110"/>
                  </a:lnTo>
                  <a:lnTo>
                    <a:pt x="179" y="134"/>
                  </a:lnTo>
                  <a:lnTo>
                    <a:pt x="149" y="159"/>
                  </a:lnTo>
                  <a:lnTo>
                    <a:pt x="122" y="187"/>
                  </a:lnTo>
                  <a:lnTo>
                    <a:pt x="97" y="217"/>
                  </a:lnTo>
                  <a:lnTo>
                    <a:pt x="75" y="247"/>
                  </a:lnTo>
                  <a:lnTo>
                    <a:pt x="56" y="280"/>
                  </a:lnTo>
                  <a:lnTo>
                    <a:pt x="39" y="312"/>
                  </a:lnTo>
                  <a:lnTo>
                    <a:pt x="25" y="347"/>
                  </a:lnTo>
                  <a:lnTo>
                    <a:pt x="14" y="382"/>
                  </a:lnTo>
                  <a:lnTo>
                    <a:pt x="7" y="417"/>
                  </a:lnTo>
                  <a:lnTo>
                    <a:pt x="2" y="454"/>
                  </a:lnTo>
                  <a:lnTo>
                    <a:pt x="0" y="490"/>
                  </a:lnTo>
                  <a:lnTo>
                    <a:pt x="568" y="490"/>
                  </a:lnTo>
                  <a:lnTo>
                    <a:pt x="640" y="490"/>
                  </a:lnTo>
                  <a:lnTo>
                    <a:pt x="651" y="467"/>
                  </a:lnTo>
                  <a:lnTo>
                    <a:pt x="664" y="445"/>
                  </a:lnTo>
                  <a:lnTo>
                    <a:pt x="679" y="425"/>
                  </a:lnTo>
                  <a:lnTo>
                    <a:pt x="696" y="406"/>
                  </a:lnTo>
                  <a:lnTo>
                    <a:pt x="716" y="389"/>
                  </a:lnTo>
                  <a:lnTo>
                    <a:pt x="738" y="374"/>
                  </a:lnTo>
                  <a:lnTo>
                    <a:pt x="761" y="361"/>
                  </a:lnTo>
                  <a:lnTo>
                    <a:pt x="785" y="350"/>
                  </a:lnTo>
                  <a:lnTo>
                    <a:pt x="811" y="340"/>
                  </a:lnTo>
                  <a:lnTo>
                    <a:pt x="837" y="334"/>
                  </a:lnTo>
                  <a:lnTo>
                    <a:pt x="864" y="330"/>
                  </a:lnTo>
                  <a:lnTo>
                    <a:pt x="891" y="330"/>
                  </a:lnTo>
                  <a:lnTo>
                    <a:pt x="919" y="330"/>
                  </a:lnTo>
                  <a:lnTo>
                    <a:pt x="947" y="335"/>
                  </a:lnTo>
                  <a:lnTo>
                    <a:pt x="974" y="341"/>
                  </a:lnTo>
                  <a:lnTo>
                    <a:pt x="1000" y="351"/>
                  </a:lnTo>
                  <a:lnTo>
                    <a:pt x="1025" y="362"/>
                  </a:lnTo>
                  <a:lnTo>
                    <a:pt x="1048" y="375"/>
                  </a:lnTo>
                  <a:lnTo>
                    <a:pt x="1070" y="392"/>
                  </a:lnTo>
                  <a:lnTo>
                    <a:pt x="1090" y="410"/>
                  </a:lnTo>
                  <a:lnTo>
                    <a:pt x="1107" y="429"/>
                  </a:lnTo>
                  <a:lnTo>
                    <a:pt x="1122" y="451"/>
                  </a:lnTo>
                  <a:lnTo>
                    <a:pt x="1135" y="473"/>
                  </a:lnTo>
                </a:path>
              </a:pathLst>
            </a:custGeom>
            <a:solidFill>
              <a:srgbClr val="00A1DE"/>
            </a:solidFill>
            <a:ln w="12700" cap="rnd">
              <a:solidFill>
                <a:schemeClr val="bg1"/>
              </a:solidFill>
              <a:round/>
              <a:headEnd/>
              <a:tailEnd/>
            </a:ln>
          </p:spPr>
          <p:txBody>
            <a:bodyPr/>
            <a:lstStyle/>
            <a:p>
              <a:pPr algn="ctr"/>
              <a:endParaRPr lang="en-GB" sz="1400">
                <a:solidFill>
                  <a:schemeClr val="bg1"/>
                </a:solidFill>
              </a:endParaRPr>
            </a:p>
          </p:txBody>
        </p:sp>
        <p:sp>
          <p:nvSpPr>
            <p:cNvPr id="679942" name="Freeform 5"/>
            <p:cNvSpPr>
              <a:spLocks/>
            </p:cNvSpPr>
            <p:nvPr/>
          </p:nvSpPr>
          <p:spPr bwMode="blackWhite">
            <a:xfrm>
              <a:off x="3825362" y="3527586"/>
              <a:ext cx="1186276" cy="2638264"/>
            </a:xfrm>
            <a:custGeom>
              <a:avLst/>
              <a:gdLst>
                <a:gd name="T0" fmla="*/ 6090193 w 493"/>
                <a:gd name="T1" fmla="*/ 30245 h 1134"/>
                <a:gd name="T2" fmla="*/ 5096416 w 493"/>
                <a:gd name="T3" fmla="*/ 209386 h 1134"/>
                <a:gd name="T4" fmla="*/ 4150763 w 493"/>
                <a:gd name="T5" fmla="*/ 523465 h 1134"/>
                <a:gd name="T6" fmla="*/ 3250830 w 493"/>
                <a:gd name="T7" fmla="*/ 986441 h 1134"/>
                <a:gd name="T8" fmla="*/ 2447145 w 493"/>
                <a:gd name="T9" fmla="*/ 1554110 h 1134"/>
                <a:gd name="T10" fmla="*/ 1710836 w 493"/>
                <a:gd name="T11" fmla="*/ 2233451 h 1134"/>
                <a:gd name="T12" fmla="*/ 1111683 w 493"/>
                <a:gd name="T13" fmla="*/ 3029118 h 1134"/>
                <a:gd name="T14" fmla="*/ 623216 w 493"/>
                <a:gd name="T15" fmla="*/ 3889927 h 1134"/>
                <a:gd name="T16" fmla="*/ 276718 w 493"/>
                <a:gd name="T17" fmla="*/ 4820532 h 1134"/>
                <a:gd name="T18" fmla="*/ 69781 w 493"/>
                <a:gd name="T19" fmla="*/ 5765095 h 1134"/>
                <a:gd name="T20" fmla="*/ 0 w 493"/>
                <a:gd name="T21" fmla="*/ 6751536 h 1134"/>
                <a:gd name="T22" fmla="*/ 96250 w 493"/>
                <a:gd name="T23" fmla="*/ 7724017 h 1134"/>
                <a:gd name="T24" fmla="*/ 346499 w 493"/>
                <a:gd name="T25" fmla="*/ 8687192 h 1134"/>
                <a:gd name="T26" fmla="*/ 726684 w 493"/>
                <a:gd name="T27" fmla="*/ 9592207 h 1134"/>
                <a:gd name="T28" fmla="*/ 1236807 w 493"/>
                <a:gd name="T29" fmla="*/ 10429751 h 1134"/>
                <a:gd name="T30" fmla="*/ 1872054 w 493"/>
                <a:gd name="T31" fmla="*/ 11195173 h 1134"/>
                <a:gd name="T32" fmla="*/ 2605958 w 493"/>
                <a:gd name="T33" fmla="*/ 11855902 h 1134"/>
                <a:gd name="T34" fmla="*/ 3457766 w 493"/>
                <a:gd name="T35" fmla="*/ 12402632 h 1134"/>
                <a:gd name="T36" fmla="*/ 4362512 w 493"/>
                <a:gd name="T37" fmla="*/ 12842342 h 1134"/>
                <a:gd name="T38" fmla="*/ 5329821 w 493"/>
                <a:gd name="T39" fmla="*/ 13123850 h 1134"/>
                <a:gd name="T40" fmla="*/ 6316379 w 493"/>
                <a:gd name="T41" fmla="*/ 13265767 h 1134"/>
                <a:gd name="T42" fmla="*/ 6824095 w 493"/>
                <a:gd name="T43" fmla="*/ 6637537 h 1134"/>
                <a:gd name="T44" fmla="*/ 6496847 w 493"/>
                <a:gd name="T45" fmla="*/ 5672035 h 1134"/>
                <a:gd name="T46" fmla="*/ 5909725 w 493"/>
                <a:gd name="T47" fmla="*/ 5343997 h 1134"/>
                <a:gd name="T48" fmla="*/ 5426071 w 493"/>
                <a:gd name="T49" fmla="*/ 4897307 h 1134"/>
                <a:gd name="T50" fmla="*/ 5021823 w 493"/>
                <a:gd name="T51" fmla="*/ 4380820 h 1134"/>
                <a:gd name="T52" fmla="*/ 4742698 w 493"/>
                <a:gd name="T53" fmla="*/ 3796866 h 1134"/>
                <a:gd name="T54" fmla="*/ 4605542 w 493"/>
                <a:gd name="T55" fmla="*/ 3175688 h 1134"/>
                <a:gd name="T56" fmla="*/ 4605542 w 493"/>
                <a:gd name="T57" fmla="*/ 2517285 h 1134"/>
                <a:gd name="T58" fmla="*/ 4761948 w 493"/>
                <a:gd name="T59" fmla="*/ 1886801 h 1134"/>
                <a:gd name="T60" fmla="*/ 5038666 w 493"/>
                <a:gd name="T61" fmla="*/ 1288887 h 1134"/>
                <a:gd name="T62" fmla="*/ 5454946 w 493"/>
                <a:gd name="T63" fmla="*/ 756116 h 1134"/>
                <a:gd name="T64" fmla="*/ 5981912 w 493"/>
                <a:gd name="T65" fmla="*/ 328038 h 1134"/>
                <a:gd name="T66" fmla="*/ 6593097 w 493"/>
                <a:gd name="T67" fmla="*/ 0 h 113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93"/>
                <a:gd name="T103" fmla="*/ 0 h 1134"/>
                <a:gd name="T104" fmla="*/ 493 w 493"/>
                <a:gd name="T105" fmla="*/ 1134 h 113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93" h="1134">
                  <a:moveTo>
                    <a:pt x="475" y="0"/>
                  </a:moveTo>
                  <a:lnTo>
                    <a:pt x="439" y="3"/>
                  </a:lnTo>
                  <a:lnTo>
                    <a:pt x="403" y="9"/>
                  </a:lnTo>
                  <a:lnTo>
                    <a:pt x="367" y="18"/>
                  </a:lnTo>
                  <a:lnTo>
                    <a:pt x="333" y="30"/>
                  </a:lnTo>
                  <a:lnTo>
                    <a:pt x="299" y="45"/>
                  </a:lnTo>
                  <a:lnTo>
                    <a:pt x="266" y="63"/>
                  </a:lnTo>
                  <a:lnTo>
                    <a:pt x="234" y="84"/>
                  </a:lnTo>
                  <a:lnTo>
                    <a:pt x="204" y="107"/>
                  </a:lnTo>
                  <a:lnTo>
                    <a:pt x="176" y="133"/>
                  </a:lnTo>
                  <a:lnTo>
                    <a:pt x="148" y="161"/>
                  </a:lnTo>
                  <a:lnTo>
                    <a:pt x="123" y="191"/>
                  </a:lnTo>
                  <a:lnTo>
                    <a:pt x="101" y="224"/>
                  </a:lnTo>
                  <a:lnTo>
                    <a:pt x="80" y="258"/>
                  </a:lnTo>
                  <a:lnTo>
                    <a:pt x="61" y="294"/>
                  </a:lnTo>
                  <a:lnTo>
                    <a:pt x="45" y="332"/>
                  </a:lnTo>
                  <a:lnTo>
                    <a:pt x="31" y="370"/>
                  </a:lnTo>
                  <a:lnTo>
                    <a:pt x="20" y="411"/>
                  </a:lnTo>
                  <a:lnTo>
                    <a:pt x="11" y="451"/>
                  </a:lnTo>
                  <a:lnTo>
                    <a:pt x="5" y="492"/>
                  </a:lnTo>
                  <a:lnTo>
                    <a:pt x="1" y="534"/>
                  </a:lnTo>
                  <a:lnTo>
                    <a:pt x="0" y="576"/>
                  </a:lnTo>
                  <a:lnTo>
                    <a:pt x="3" y="617"/>
                  </a:lnTo>
                  <a:lnTo>
                    <a:pt x="7" y="659"/>
                  </a:lnTo>
                  <a:lnTo>
                    <a:pt x="14" y="701"/>
                  </a:lnTo>
                  <a:lnTo>
                    <a:pt x="25" y="741"/>
                  </a:lnTo>
                  <a:lnTo>
                    <a:pt x="37" y="780"/>
                  </a:lnTo>
                  <a:lnTo>
                    <a:pt x="52" y="818"/>
                  </a:lnTo>
                  <a:lnTo>
                    <a:pt x="69" y="855"/>
                  </a:lnTo>
                  <a:lnTo>
                    <a:pt x="89" y="890"/>
                  </a:lnTo>
                  <a:lnTo>
                    <a:pt x="111" y="924"/>
                  </a:lnTo>
                  <a:lnTo>
                    <a:pt x="135" y="955"/>
                  </a:lnTo>
                  <a:lnTo>
                    <a:pt x="161" y="984"/>
                  </a:lnTo>
                  <a:lnTo>
                    <a:pt x="188" y="1011"/>
                  </a:lnTo>
                  <a:lnTo>
                    <a:pt x="218" y="1036"/>
                  </a:lnTo>
                  <a:lnTo>
                    <a:pt x="249" y="1058"/>
                  </a:lnTo>
                  <a:lnTo>
                    <a:pt x="281" y="1078"/>
                  </a:lnTo>
                  <a:lnTo>
                    <a:pt x="314" y="1095"/>
                  </a:lnTo>
                  <a:lnTo>
                    <a:pt x="349" y="1108"/>
                  </a:lnTo>
                  <a:lnTo>
                    <a:pt x="384" y="1119"/>
                  </a:lnTo>
                  <a:lnTo>
                    <a:pt x="419" y="1126"/>
                  </a:lnTo>
                  <a:lnTo>
                    <a:pt x="455" y="1131"/>
                  </a:lnTo>
                  <a:lnTo>
                    <a:pt x="492" y="1133"/>
                  </a:lnTo>
                  <a:lnTo>
                    <a:pt x="492" y="566"/>
                  </a:lnTo>
                  <a:lnTo>
                    <a:pt x="492" y="494"/>
                  </a:lnTo>
                  <a:lnTo>
                    <a:pt x="468" y="484"/>
                  </a:lnTo>
                  <a:lnTo>
                    <a:pt x="447" y="470"/>
                  </a:lnTo>
                  <a:lnTo>
                    <a:pt x="426" y="456"/>
                  </a:lnTo>
                  <a:lnTo>
                    <a:pt x="408" y="438"/>
                  </a:lnTo>
                  <a:lnTo>
                    <a:pt x="391" y="418"/>
                  </a:lnTo>
                  <a:lnTo>
                    <a:pt x="375" y="397"/>
                  </a:lnTo>
                  <a:lnTo>
                    <a:pt x="362" y="374"/>
                  </a:lnTo>
                  <a:lnTo>
                    <a:pt x="351" y="349"/>
                  </a:lnTo>
                  <a:lnTo>
                    <a:pt x="342" y="324"/>
                  </a:lnTo>
                  <a:lnTo>
                    <a:pt x="336" y="298"/>
                  </a:lnTo>
                  <a:lnTo>
                    <a:pt x="332" y="271"/>
                  </a:lnTo>
                  <a:lnTo>
                    <a:pt x="331" y="243"/>
                  </a:lnTo>
                  <a:lnTo>
                    <a:pt x="332" y="215"/>
                  </a:lnTo>
                  <a:lnTo>
                    <a:pt x="336" y="188"/>
                  </a:lnTo>
                  <a:lnTo>
                    <a:pt x="343" y="161"/>
                  </a:lnTo>
                  <a:lnTo>
                    <a:pt x="352" y="135"/>
                  </a:lnTo>
                  <a:lnTo>
                    <a:pt x="363" y="110"/>
                  </a:lnTo>
                  <a:lnTo>
                    <a:pt x="377" y="86"/>
                  </a:lnTo>
                  <a:lnTo>
                    <a:pt x="393" y="65"/>
                  </a:lnTo>
                  <a:lnTo>
                    <a:pt x="412" y="45"/>
                  </a:lnTo>
                  <a:lnTo>
                    <a:pt x="431" y="28"/>
                  </a:lnTo>
                  <a:lnTo>
                    <a:pt x="452" y="12"/>
                  </a:lnTo>
                  <a:lnTo>
                    <a:pt x="475" y="0"/>
                  </a:lnTo>
                </a:path>
              </a:pathLst>
            </a:custGeom>
            <a:solidFill>
              <a:srgbClr val="00A1DE"/>
            </a:solidFill>
            <a:ln w="12700" cap="rnd">
              <a:solidFill>
                <a:schemeClr val="bg1"/>
              </a:solidFill>
              <a:round/>
              <a:headEnd/>
              <a:tailEnd/>
            </a:ln>
          </p:spPr>
          <p:txBody>
            <a:bodyPr/>
            <a:lstStyle/>
            <a:p>
              <a:pPr algn="ctr"/>
              <a:endParaRPr lang="en-GB" sz="1400">
                <a:solidFill>
                  <a:schemeClr val="bg1"/>
                </a:solidFill>
              </a:endParaRPr>
            </a:p>
          </p:txBody>
        </p:sp>
        <p:sp>
          <p:nvSpPr>
            <p:cNvPr id="679943" name="Freeform 6"/>
            <p:cNvSpPr>
              <a:spLocks/>
            </p:cNvSpPr>
            <p:nvPr/>
          </p:nvSpPr>
          <p:spPr bwMode="blackWhite">
            <a:xfrm>
              <a:off x="4472845" y="3912688"/>
              <a:ext cx="2731230" cy="1142886"/>
            </a:xfrm>
            <a:custGeom>
              <a:avLst/>
              <a:gdLst>
                <a:gd name="T0" fmla="*/ 45681 w 1136"/>
                <a:gd name="T1" fmla="*/ 616833 h 491"/>
                <a:gd name="T2" fmla="*/ 250042 w 1136"/>
                <a:gd name="T3" fmla="*/ 1466432 h 491"/>
                <a:gd name="T4" fmla="*/ 622701 w 1136"/>
                <a:gd name="T5" fmla="*/ 2264823 h 491"/>
                <a:gd name="T6" fmla="*/ 1158849 w 1136"/>
                <a:gd name="T7" fmla="*/ 3018988 h 491"/>
                <a:gd name="T8" fmla="*/ 1839252 w 1136"/>
                <a:gd name="T9" fmla="*/ 3719617 h 491"/>
                <a:gd name="T10" fmla="*/ 2649485 w 1136"/>
                <a:gd name="T11" fmla="*/ 4327139 h 491"/>
                <a:gd name="T12" fmla="*/ 3582335 w 1136"/>
                <a:gd name="T13" fmla="*/ 4843882 h 491"/>
                <a:gd name="T14" fmla="*/ 4589716 w 1136"/>
                <a:gd name="T15" fmla="*/ 5251225 h 491"/>
                <a:gd name="T16" fmla="*/ 5676438 w 1136"/>
                <a:gd name="T17" fmla="*/ 5546839 h 491"/>
                <a:gd name="T18" fmla="*/ 6808840 w 1136"/>
                <a:gd name="T19" fmla="*/ 5714431 h 491"/>
                <a:gd name="T20" fmla="*/ 7960477 w 1136"/>
                <a:gd name="T21" fmla="*/ 5763312 h 491"/>
                <a:gd name="T22" fmla="*/ 9121730 w 1136"/>
                <a:gd name="T23" fmla="*/ 5691154 h 491"/>
                <a:gd name="T24" fmla="*/ 10237304 w 1136"/>
                <a:gd name="T25" fmla="*/ 5483992 h 491"/>
                <a:gd name="T26" fmla="*/ 11316813 w 1136"/>
                <a:gd name="T27" fmla="*/ 5169756 h 491"/>
                <a:gd name="T28" fmla="*/ 12326598 w 1136"/>
                <a:gd name="T29" fmla="*/ 4727498 h 491"/>
                <a:gd name="T30" fmla="*/ 13211362 w 1136"/>
                <a:gd name="T31" fmla="*/ 4194462 h 491"/>
                <a:gd name="T32" fmla="*/ 14002361 w 1136"/>
                <a:gd name="T33" fmla="*/ 3561335 h 491"/>
                <a:gd name="T34" fmla="*/ 14649104 w 1136"/>
                <a:gd name="T35" fmla="*/ 2853724 h 491"/>
                <a:gd name="T36" fmla="*/ 15149189 w 1136"/>
                <a:gd name="T37" fmla="*/ 2092575 h 491"/>
                <a:gd name="T38" fmla="*/ 15495401 w 1136"/>
                <a:gd name="T39" fmla="*/ 1270908 h 491"/>
                <a:gd name="T40" fmla="*/ 15654081 w 1136"/>
                <a:gd name="T41" fmla="*/ 428291 h 491"/>
                <a:gd name="T42" fmla="*/ 7840264 w 1136"/>
                <a:gd name="T43" fmla="*/ 0 h 491"/>
                <a:gd name="T44" fmla="*/ 6686224 w 1136"/>
                <a:gd name="T45" fmla="*/ 253716 h 491"/>
                <a:gd name="T46" fmla="*/ 6294331 w 1136"/>
                <a:gd name="T47" fmla="*/ 726233 h 491"/>
                <a:gd name="T48" fmla="*/ 5748566 w 1136"/>
                <a:gd name="T49" fmla="*/ 1112626 h 491"/>
                <a:gd name="T50" fmla="*/ 5125865 w 1136"/>
                <a:gd name="T51" fmla="*/ 1396602 h 491"/>
                <a:gd name="T52" fmla="*/ 4414206 w 1136"/>
                <a:gd name="T53" fmla="*/ 1573505 h 491"/>
                <a:gd name="T54" fmla="*/ 3707356 w 1136"/>
                <a:gd name="T55" fmla="*/ 1622386 h 491"/>
                <a:gd name="T56" fmla="*/ 2899528 w 1136"/>
                <a:gd name="T57" fmla="*/ 1634025 h 491"/>
                <a:gd name="T58" fmla="*/ 2125358 w 1136"/>
                <a:gd name="T59" fmla="*/ 1510658 h 491"/>
                <a:gd name="T60" fmla="*/ 1396870 w 1136"/>
                <a:gd name="T61" fmla="*/ 1270908 h 491"/>
                <a:gd name="T62" fmla="*/ 747722 w 1136"/>
                <a:gd name="T63" fmla="*/ 900808 h 491"/>
                <a:gd name="T64" fmla="*/ 223595 w 1136"/>
                <a:gd name="T65" fmla="*/ 453896 h 4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6"/>
                <a:gd name="T100" fmla="*/ 0 h 491"/>
                <a:gd name="T101" fmla="*/ 1136 w 1136"/>
                <a:gd name="T102" fmla="*/ 491 h 4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6" h="491">
                  <a:moveTo>
                    <a:pt x="0" y="17"/>
                  </a:moveTo>
                  <a:lnTo>
                    <a:pt x="3" y="53"/>
                  </a:lnTo>
                  <a:lnTo>
                    <a:pt x="9" y="89"/>
                  </a:lnTo>
                  <a:lnTo>
                    <a:pt x="18" y="125"/>
                  </a:lnTo>
                  <a:lnTo>
                    <a:pt x="31" y="159"/>
                  </a:lnTo>
                  <a:lnTo>
                    <a:pt x="45" y="193"/>
                  </a:lnTo>
                  <a:lnTo>
                    <a:pt x="63" y="226"/>
                  </a:lnTo>
                  <a:lnTo>
                    <a:pt x="84" y="257"/>
                  </a:lnTo>
                  <a:lnTo>
                    <a:pt x="108" y="287"/>
                  </a:lnTo>
                  <a:lnTo>
                    <a:pt x="133" y="316"/>
                  </a:lnTo>
                  <a:lnTo>
                    <a:pt x="161" y="343"/>
                  </a:lnTo>
                  <a:lnTo>
                    <a:pt x="192" y="368"/>
                  </a:lnTo>
                  <a:lnTo>
                    <a:pt x="224" y="391"/>
                  </a:lnTo>
                  <a:lnTo>
                    <a:pt x="259" y="412"/>
                  </a:lnTo>
                  <a:lnTo>
                    <a:pt x="295" y="430"/>
                  </a:lnTo>
                  <a:lnTo>
                    <a:pt x="332" y="447"/>
                  </a:lnTo>
                  <a:lnTo>
                    <a:pt x="371" y="460"/>
                  </a:lnTo>
                  <a:lnTo>
                    <a:pt x="411" y="472"/>
                  </a:lnTo>
                  <a:lnTo>
                    <a:pt x="452" y="480"/>
                  </a:lnTo>
                  <a:lnTo>
                    <a:pt x="493" y="486"/>
                  </a:lnTo>
                  <a:lnTo>
                    <a:pt x="534" y="489"/>
                  </a:lnTo>
                  <a:lnTo>
                    <a:pt x="576" y="490"/>
                  </a:lnTo>
                  <a:lnTo>
                    <a:pt x="618" y="489"/>
                  </a:lnTo>
                  <a:lnTo>
                    <a:pt x="660" y="484"/>
                  </a:lnTo>
                  <a:lnTo>
                    <a:pt x="701" y="476"/>
                  </a:lnTo>
                  <a:lnTo>
                    <a:pt x="741" y="467"/>
                  </a:lnTo>
                  <a:lnTo>
                    <a:pt x="781" y="454"/>
                  </a:lnTo>
                  <a:lnTo>
                    <a:pt x="819" y="440"/>
                  </a:lnTo>
                  <a:lnTo>
                    <a:pt x="856" y="422"/>
                  </a:lnTo>
                  <a:lnTo>
                    <a:pt x="892" y="402"/>
                  </a:lnTo>
                  <a:lnTo>
                    <a:pt x="925" y="381"/>
                  </a:lnTo>
                  <a:lnTo>
                    <a:pt x="956" y="357"/>
                  </a:lnTo>
                  <a:lnTo>
                    <a:pt x="986" y="331"/>
                  </a:lnTo>
                  <a:lnTo>
                    <a:pt x="1013" y="303"/>
                  </a:lnTo>
                  <a:lnTo>
                    <a:pt x="1038" y="274"/>
                  </a:lnTo>
                  <a:lnTo>
                    <a:pt x="1060" y="243"/>
                  </a:lnTo>
                  <a:lnTo>
                    <a:pt x="1079" y="211"/>
                  </a:lnTo>
                  <a:lnTo>
                    <a:pt x="1096" y="178"/>
                  </a:lnTo>
                  <a:lnTo>
                    <a:pt x="1110" y="143"/>
                  </a:lnTo>
                  <a:lnTo>
                    <a:pt x="1121" y="108"/>
                  </a:lnTo>
                  <a:lnTo>
                    <a:pt x="1128" y="73"/>
                  </a:lnTo>
                  <a:lnTo>
                    <a:pt x="1133" y="37"/>
                  </a:lnTo>
                  <a:lnTo>
                    <a:pt x="1135" y="0"/>
                  </a:lnTo>
                  <a:lnTo>
                    <a:pt x="567" y="0"/>
                  </a:lnTo>
                  <a:lnTo>
                    <a:pt x="495" y="0"/>
                  </a:lnTo>
                  <a:lnTo>
                    <a:pt x="484" y="22"/>
                  </a:lnTo>
                  <a:lnTo>
                    <a:pt x="470" y="43"/>
                  </a:lnTo>
                  <a:lnTo>
                    <a:pt x="455" y="62"/>
                  </a:lnTo>
                  <a:lnTo>
                    <a:pt x="436" y="80"/>
                  </a:lnTo>
                  <a:lnTo>
                    <a:pt x="416" y="95"/>
                  </a:lnTo>
                  <a:lnTo>
                    <a:pt x="394" y="108"/>
                  </a:lnTo>
                  <a:lnTo>
                    <a:pt x="371" y="119"/>
                  </a:lnTo>
                  <a:lnTo>
                    <a:pt x="346" y="128"/>
                  </a:lnTo>
                  <a:lnTo>
                    <a:pt x="320" y="134"/>
                  </a:lnTo>
                  <a:lnTo>
                    <a:pt x="295" y="137"/>
                  </a:lnTo>
                  <a:lnTo>
                    <a:pt x="268" y="138"/>
                  </a:lnTo>
                  <a:lnTo>
                    <a:pt x="238" y="140"/>
                  </a:lnTo>
                  <a:lnTo>
                    <a:pt x="210" y="139"/>
                  </a:lnTo>
                  <a:lnTo>
                    <a:pt x="181" y="136"/>
                  </a:lnTo>
                  <a:lnTo>
                    <a:pt x="154" y="129"/>
                  </a:lnTo>
                  <a:lnTo>
                    <a:pt x="126" y="119"/>
                  </a:lnTo>
                  <a:lnTo>
                    <a:pt x="101" y="108"/>
                  </a:lnTo>
                  <a:lnTo>
                    <a:pt x="76" y="94"/>
                  </a:lnTo>
                  <a:lnTo>
                    <a:pt x="54" y="77"/>
                  </a:lnTo>
                  <a:lnTo>
                    <a:pt x="34" y="60"/>
                  </a:lnTo>
                  <a:lnTo>
                    <a:pt x="16" y="39"/>
                  </a:lnTo>
                  <a:lnTo>
                    <a:pt x="0" y="17"/>
                  </a:lnTo>
                </a:path>
              </a:pathLst>
            </a:custGeom>
            <a:solidFill>
              <a:srgbClr val="00A1DE"/>
            </a:solidFill>
            <a:ln w="12700" cap="rnd">
              <a:solidFill>
                <a:schemeClr val="bg1"/>
              </a:solidFill>
              <a:round/>
              <a:headEnd/>
              <a:tailEnd/>
            </a:ln>
          </p:spPr>
          <p:txBody>
            <a:bodyPr/>
            <a:lstStyle/>
            <a:p>
              <a:pPr algn="ctr"/>
              <a:endParaRPr lang="en-GB" sz="1400" dirty="0">
                <a:solidFill>
                  <a:schemeClr val="bg1"/>
                </a:solidFill>
              </a:endParaRPr>
            </a:p>
          </p:txBody>
        </p:sp>
        <p:sp>
          <p:nvSpPr>
            <p:cNvPr id="679944" name="Freeform 7"/>
            <p:cNvSpPr>
              <a:spLocks/>
            </p:cNvSpPr>
            <p:nvPr/>
          </p:nvSpPr>
          <p:spPr bwMode="blackWhite">
            <a:xfrm>
              <a:off x="4868788" y="1685925"/>
              <a:ext cx="1192487" cy="2646028"/>
            </a:xfrm>
            <a:custGeom>
              <a:avLst/>
              <a:gdLst>
                <a:gd name="T0" fmla="*/ 778963 w 496"/>
                <a:gd name="T1" fmla="*/ 13318572 h 1137"/>
                <a:gd name="T2" fmla="*/ 1743051 w 496"/>
                <a:gd name="T3" fmla="*/ 13134724 h 1137"/>
                <a:gd name="T4" fmla="*/ 2668671 w 496"/>
                <a:gd name="T5" fmla="*/ 12832188 h 1137"/>
                <a:gd name="T6" fmla="*/ 3531781 w 496"/>
                <a:gd name="T7" fmla="*/ 12380711 h 1137"/>
                <a:gd name="T8" fmla="*/ 4358829 w 496"/>
                <a:gd name="T9" fmla="*/ 11840800 h 1137"/>
                <a:gd name="T10" fmla="*/ 5058454 w 496"/>
                <a:gd name="T11" fmla="*/ 11163585 h 1137"/>
                <a:gd name="T12" fmla="*/ 5676335 w 496"/>
                <a:gd name="T13" fmla="*/ 10411899 h 1137"/>
                <a:gd name="T14" fmla="*/ 6169198 w 496"/>
                <a:gd name="T15" fmla="*/ 9581089 h 1137"/>
                <a:gd name="T16" fmla="*/ 6525020 w 496"/>
                <a:gd name="T17" fmla="*/ 8687441 h 1137"/>
                <a:gd name="T18" fmla="*/ 6748612 w 496"/>
                <a:gd name="T19" fmla="*/ 7747252 h 1137"/>
                <a:gd name="T20" fmla="*/ 6835163 w 496"/>
                <a:gd name="T21" fmla="*/ 6783791 h 1137"/>
                <a:gd name="T22" fmla="*/ 6782270 w 496"/>
                <a:gd name="T23" fmla="*/ 5824985 h 1137"/>
                <a:gd name="T24" fmla="*/ 6577913 w 496"/>
                <a:gd name="T25" fmla="*/ 4882469 h 1137"/>
                <a:gd name="T26" fmla="*/ 6246132 w 496"/>
                <a:gd name="T27" fmla="*/ 3974859 h 1137"/>
                <a:gd name="T28" fmla="*/ 5774908 w 496"/>
                <a:gd name="T29" fmla="*/ 3125431 h 1137"/>
                <a:gd name="T30" fmla="*/ 5193090 w 496"/>
                <a:gd name="T31" fmla="*/ 2350473 h 1137"/>
                <a:gd name="T32" fmla="*/ 4512698 w 496"/>
                <a:gd name="T33" fmla="*/ 1666276 h 1137"/>
                <a:gd name="T34" fmla="*/ 3728926 w 496"/>
                <a:gd name="T35" fmla="*/ 1082148 h 1137"/>
                <a:gd name="T36" fmla="*/ 2865816 w 496"/>
                <a:gd name="T37" fmla="*/ 609727 h 1137"/>
                <a:gd name="T38" fmla="*/ 1947408 w 496"/>
                <a:gd name="T39" fmla="*/ 281591 h 1137"/>
                <a:gd name="T40" fmla="*/ 978513 w 496"/>
                <a:gd name="T41" fmla="*/ 76798 h 1137"/>
                <a:gd name="T42" fmla="*/ 0 w 496"/>
                <a:gd name="T43" fmla="*/ 0 h 1137"/>
                <a:gd name="T44" fmla="*/ 346206 w 496"/>
                <a:gd name="T45" fmla="*/ 7181743 h 1137"/>
                <a:gd name="T46" fmla="*/ 964087 w 496"/>
                <a:gd name="T47" fmla="*/ 7693727 h 1137"/>
                <a:gd name="T48" fmla="*/ 1493013 w 496"/>
                <a:gd name="T49" fmla="*/ 8289490 h 1137"/>
                <a:gd name="T50" fmla="*/ 1892112 w 496"/>
                <a:gd name="T51" fmla="*/ 8973687 h 1137"/>
                <a:gd name="T52" fmla="*/ 2163787 w 496"/>
                <a:gd name="T53" fmla="*/ 9723048 h 1137"/>
                <a:gd name="T54" fmla="*/ 2267168 w 496"/>
                <a:gd name="T55" fmla="*/ 10495678 h 1137"/>
                <a:gd name="T56" fmla="*/ 2197446 w 496"/>
                <a:gd name="T57" fmla="*/ 11140313 h 1137"/>
                <a:gd name="T58" fmla="*/ 1988280 w 496"/>
                <a:gd name="T59" fmla="*/ 11768657 h 1137"/>
                <a:gd name="T60" fmla="*/ 1642074 w 496"/>
                <a:gd name="T61" fmla="*/ 12329512 h 1137"/>
                <a:gd name="T62" fmla="*/ 1158828 w 496"/>
                <a:gd name="T63" fmla="*/ 12806588 h 1137"/>
                <a:gd name="T64" fmla="*/ 598648 w 496"/>
                <a:gd name="T65" fmla="*/ 13197558 h 11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1137"/>
                <a:gd name="T101" fmla="*/ 496 w 496"/>
                <a:gd name="T102" fmla="*/ 1137 h 113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1137">
                  <a:moveTo>
                    <a:pt x="20" y="1136"/>
                  </a:moveTo>
                  <a:lnTo>
                    <a:pt x="56" y="1134"/>
                  </a:lnTo>
                  <a:lnTo>
                    <a:pt x="91" y="1128"/>
                  </a:lnTo>
                  <a:lnTo>
                    <a:pt x="126" y="1119"/>
                  </a:lnTo>
                  <a:lnTo>
                    <a:pt x="160" y="1107"/>
                  </a:lnTo>
                  <a:lnTo>
                    <a:pt x="193" y="1093"/>
                  </a:lnTo>
                  <a:lnTo>
                    <a:pt x="225" y="1076"/>
                  </a:lnTo>
                  <a:lnTo>
                    <a:pt x="256" y="1055"/>
                  </a:lnTo>
                  <a:lnTo>
                    <a:pt x="287" y="1033"/>
                  </a:lnTo>
                  <a:lnTo>
                    <a:pt x="315" y="1008"/>
                  </a:lnTo>
                  <a:lnTo>
                    <a:pt x="341" y="981"/>
                  </a:lnTo>
                  <a:lnTo>
                    <a:pt x="366" y="951"/>
                  </a:lnTo>
                  <a:lnTo>
                    <a:pt x="390" y="920"/>
                  </a:lnTo>
                  <a:lnTo>
                    <a:pt x="411" y="887"/>
                  </a:lnTo>
                  <a:lnTo>
                    <a:pt x="429" y="852"/>
                  </a:lnTo>
                  <a:lnTo>
                    <a:pt x="446" y="816"/>
                  </a:lnTo>
                  <a:lnTo>
                    <a:pt x="460" y="779"/>
                  </a:lnTo>
                  <a:lnTo>
                    <a:pt x="472" y="740"/>
                  </a:lnTo>
                  <a:lnTo>
                    <a:pt x="481" y="700"/>
                  </a:lnTo>
                  <a:lnTo>
                    <a:pt x="488" y="660"/>
                  </a:lnTo>
                  <a:lnTo>
                    <a:pt x="492" y="619"/>
                  </a:lnTo>
                  <a:lnTo>
                    <a:pt x="495" y="578"/>
                  </a:lnTo>
                  <a:lnTo>
                    <a:pt x="494" y="537"/>
                  </a:lnTo>
                  <a:lnTo>
                    <a:pt x="491" y="496"/>
                  </a:lnTo>
                  <a:lnTo>
                    <a:pt x="485" y="456"/>
                  </a:lnTo>
                  <a:lnTo>
                    <a:pt x="476" y="416"/>
                  </a:lnTo>
                  <a:lnTo>
                    <a:pt x="465" y="377"/>
                  </a:lnTo>
                  <a:lnTo>
                    <a:pt x="452" y="339"/>
                  </a:lnTo>
                  <a:lnTo>
                    <a:pt x="436" y="302"/>
                  </a:lnTo>
                  <a:lnTo>
                    <a:pt x="418" y="266"/>
                  </a:lnTo>
                  <a:lnTo>
                    <a:pt x="399" y="232"/>
                  </a:lnTo>
                  <a:lnTo>
                    <a:pt x="376" y="200"/>
                  </a:lnTo>
                  <a:lnTo>
                    <a:pt x="352" y="170"/>
                  </a:lnTo>
                  <a:lnTo>
                    <a:pt x="327" y="142"/>
                  </a:lnTo>
                  <a:lnTo>
                    <a:pt x="299" y="115"/>
                  </a:lnTo>
                  <a:lnTo>
                    <a:pt x="270" y="92"/>
                  </a:lnTo>
                  <a:lnTo>
                    <a:pt x="239" y="71"/>
                  </a:lnTo>
                  <a:lnTo>
                    <a:pt x="207" y="52"/>
                  </a:lnTo>
                  <a:lnTo>
                    <a:pt x="175" y="37"/>
                  </a:lnTo>
                  <a:lnTo>
                    <a:pt x="141" y="24"/>
                  </a:lnTo>
                  <a:lnTo>
                    <a:pt x="106" y="14"/>
                  </a:lnTo>
                  <a:lnTo>
                    <a:pt x="71" y="7"/>
                  </a:lnTo>
                  <a:lnTo>
                    <a:pt x="36" y="2"/>
                  </a:lnTo>
                  <a:lnTo>
                    <a:pt x="0" y="0"/>
                  </a:lnTo>
                  <a:lnTo>
                    <a:pt x="0" y="594"/>
                  </a:lnTo>
                  <a:lnTo>
                    <a:pt x="25" y="612"/>
                  </a:lnTo>
                  <a:lnTo>
                    <a:pt x="49" y="632"/>
                  </a:lnTo>
                  <a:lnTo>
                    <a:pt x="70" y="655"/>
                  </a:lnTo>
                  <a:lnTo>
                    <a:pt x="91" y="680"/>
                  </a:lnTo>
                  <a:lnTo>
                    <a:pt x="108" y="706"/>
                  </a:lnTo>
                  <a:lnTo>
                    <a:pt x="124" y="735"/>
                  </a:lnTo>
                  <a:lnTo>
                    <a:pt x="137" y="765"/>
                  </a:lnTo>
                  <a:lnTo>
                    <a:pt x="148" y="796"/>
                  </a:lnTo>
                  <a:lnTo>
                    <a:pt x="156" y="828"/>
                  </a:lnTo>
                  <a:lnTo>
                    <a:pt x="161" y="860"/>
                  </a:lnTo>
                  <a:lnTo>
                    <a:pt x="164" y="894"/>
                  </a:lnTo>
                  <a:lnTo>
                    <a:pt x="164" y="921"/>
                  </a:lnTo>
                  <a:lnTo>
                    <a:pt x="159" y="949"/>
                  </a:lnTo>
                  <a:lnTo>
                    <a:pt x="153" y="976"/>
                  </a:lnTo>
                  <a:lnTo>
                    <a:pt x="144" y="1002"/>
                  </a:lnTo>
                  <a:lnTo>
                    <a:pt x="132" y="1027"/>
                  </a:lnTo>
                  <a:lnTo>
                    <a:pt x="119" y="1050"/>
                  </a:lnTo>
                  <a:lnTo>
                    <a:pt x="102" y="1072"/>
                  </a:lnTo>
                  <a:lnTo>
                    <a:pt x="84" y="1091"/>
                  </a:lnTo>
                  <a:lnTo>
                    <a:pt x="65" y="1109"/>
                  </a:lnTo>
                  <a:lnTo>
                    <a:pt x="43" y="1124"/>
                  </a:lnTo>
                  <a:lnTo>
                    <a:pt x="20" y="1136"/>
                  </a:lnTo>
                </a:path>
              </a:pathLst>
            </a:custGeom>
            <a:solidFill>
              <a:srgbClr val="00A1DE"/>
            </a:solidFill>
            <a:ln w="12700" cap="rnd">
              <a:solidFill>
                <a:schemeClr val="bg1"/>
              </a:solidFill>
              <a:round/>
              <a:headEnd/>
              <a:tailEnd/>
            </a:ln>
          </p:spPr>
          <p:txBody>
            <a:bodyPr/>
            <a:lstStyle/>
            <a:p>
              <a:pPr algn="ctr"/>
              <a:endParaRPr lang="en-GB" sz="1400">
                <a:solidFill>
                  <a:schemeClr val="bg1"/>
                </a:solidFill>
              </a:endParaRPr>
            </a:p>
          </p:txBody>
        </p:sp>
        <p:sp>
          <p:nvSpPr>
            <p:cNvPr id="679945" name="Oval 8"/>
            <p:cNvSpPr>
              <a:spLocks noChangeArrowheads="1"/>
            </p:cNvSpPr>
            <p:nvPr/>
          </p:nvSpPr>
          <p:spPr bwMode="blackWhite">
            <a:xfrm>
              <a:off x="4473575" y="3514725"/>
              <a:ext cx="852488" cy="828675"/>
            </a:xfrm>
            <a:prstGeom prst="ellipse">
              <a:avLst/>
            </a:prstGeom>
            <a:solidFill>
              <a:schemeClr val="accent2"/>
            </a:solidFill>
            <a:ln w="12700">
              <a:solidFill>
                <a:schemeClr val="bg1"/>
              </a:solidFill>
              <a:round/>
              <a:headEnd/>
              <a:tailEnd/>
            </a:ln>
          </p:spPr>
          <p:txBody>
            <a:bodyPr wrap="none" anchor="ctr"/>
            <a:lstStyle/>
            <a:p>
              <a:pPr algn="ctr"/>
              <a:endParaRPr lang="en-GB" sz="1400">
                <a:solidFill>
                  <a:schemeClr val="bg1"/>
                </a:solidFill>
              </a:endParaRPr>
            </a:p>
          </p:txBody>
        </p:sp>
        <p:sp>
          <p:nvSpPr>
            <p:cNvPr id="679946" name="Rectangle 9"/>
            <p:cNvSpPr>
              <a:spLocks noChangeArrowheads="1"/>
            </p:cNvSpPr>
            <p:nvPr/>
          </p:nvSpPr>
          <p:spPr bwMode="auto">
            <a:xfrm rot="5400000">
              <a:off x="4841876" y="2913905"/>
              <a:ext cx="1233487" cy="190069"/>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b="1" dirty="0">
                  <a:solidFill>
                    <a:schemeClr val="bg1"/>
                  </a:solidFill>
                </a:rPr>
                <a:t>Text</a:t>
              </a:r>
            </a:p>
          </p:txBody>
        </p:sp>
        <p:sp>
          <p:nvSpPr>
            <p:cNvPr id="679947" name="Rectangle 10"/>
            <p:cNvSpPr>
              <a:spLocks noChangeArrowheads="1"/>
            </p:cNvSpPr>
            <p:nvPr/>
          </p:nvSpPr>
          <p:spPr bwMode="auto">
            <a:xfrm>
              <a:off x="5201873" y="4389769"/>
              <a:ext cx="1273175"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b="1" dirty="0" smtClean="0">
                  <a:solidFill>
                    <a:schemeClr val="bg1"/>
                  </a:solidFill>
                </a:rPr>
                <a:t>Text</a:t>
              </a:r>
              <a:endParaRPr lang="en-GB" sz="1200" b="1" dirty="0">
                <a:solidFill>
                  <a:schemeClr val="bg1"/>
                </a:solidFill>
              </a:endParaRPr>
            </a:p>
          </p:txBody>
        </p:sp>
        <p:sp>
          <p:nvSpPr>
            <p:cNvPr id="679948" name="Rectangle 11"/>
            <p:cNvSpPr>
              <a:spLocks noChangeArrowheads="1"/>
            </p:cNvSpPr>
            <p:nvPr/>
          </p:nvSpPr>
          <p:spPr bwMode="auto">
            <a:xfrm rot="16200000" flipH="1">
              <a:off x="3801269" y="4751684"/>
              <a:ext cx="1228725" cy="190069"/>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b="1" dirty="0">
                  <a:solidFill>
                    <a:schemeClr val="bg1"/>
                  </a:solidFill>
                </a:rPr>
                <a:t>Text</a:t>
              </a:r>
            </a:p>
          </p:txBody>
        </p:sp>
        <p:sp>
          <p:nvSpPr>
            <p:cNvPr id="679949" name="Rectangle 12"/>
            <p:cNvSpPr>
              <a:spLocks noChangeArrowheads="1"/>
            </p:cNvSpPr>
            <p:nvPr/>
          </p:nvSpPr>
          <p:spPr bwMode="auto">
            <a:xfrm>
              <a:off x="3399203" y="3318207"/>
              <a:ext cx="1270000"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b="1" dirty="0">
                  <a:solidFill>
                    <a:schemeClr val="bg1"/>
                  </a:solidFill>
                </a:rPr>
                <a:t>Text</a:t>
              </a:r>
            </a:p>
          </p:txBody>
        </p:sp>
      </p:grpSp>
      <p:sp>
        <p:nvSpPr>
          <p:cNvPr id="16"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7"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2417" name="Title 1"/>
          <p:cNvSpPr>
            <a:spLocks noGrp="1"/>
          </p:cNvSpPr>
          <p:nvPr>
            <p:ph type="title"/>
          </p:nvPr>
        </p:nvSpPr>
        <p:spPr>
          <a:xfrm>
            <a:off x="414338" y="446038"/>
            <a:ext cx="8330184" cy="333425"/>
          </a:xfrm>
        </p:spPr>
        <p:txBody>
          <a:bodyPr/>
          <a:lstStyle/>
          <a:p>
            <a:r>
              <a:rPr lang="en-US">
                <a:cs typeface="Arial" charset="0"/>
              </a:rPr>
              <a:t>Tables </a:t>
            </a:r>
            <a:r>
              <a:rPr lang="en-US"/>
              <a:t>—</a:t>
            </a:r>
            <a:r>
              <a:rPr lang="en-US" smtClean="0">
                <a:cs typeface="Arial" charset="0"/>
              </a:rPr>
              <a:t> </a:t>
            </a:r>
            <a:r>
              <a:rPr lang="en-US">
                <a:cs typeface="Arial" charset="0"/>
              </a:rPr>
              <a:t>chevron table</a:t>
            </a:r>
            <a:endParaRPr lang="nl-NL"/>
          </a:p>
        </p:txBody>
      </p:sp>
      <p:graphicFrame>
        <p:nvGraphicFramePr>
          <p:cNvPr id="4" name="Group 3"/>
          <p:cNvGraphicFramePr>
            <a:graphicFrameLocks/>
          </p:cNvGraphicFramePr>
          <p:nvPr/>
        </p:nvGraphicFramePr>
        <p:xfrm>
          <a:off x="479997" y="2240873"/>
          <a:ext cx="8151704" cy="3943582"/>
        </p:xfrm>
        <a:graphic>
          <a:graphicData uri="http://schemas.openxmlformats.org/drawingml/2006/table">
            <a:tbl>
              <a:tblPr/>
              <a:tblGrid>
                <a:gridCol w="2037926"/>
                <a:gridCol w="2037926"/>
                <a:gridCol w="2037926"/>
                <a:gridCol w="2037926"/>
              </a:tblGrid>
              <a:tr h="331551">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b="1" i="0" u="none" strike="noStrike" cap="none" normalizeH="0" baseline="0" dirty="0">
                          <a:ln>
                            <a:noFill/>
                          </a:ln>
                          <a:solidFill>
                            <a:schemeClr val="bg1"/>
                          </a:solidFill>
                          <a:effectLst/>
                          <a:latin typeface="Arial" charset="0"/>
                        </a:rPr>
                        <a:t>Subhead</a:t>
                      </a:r>
                    </a:p>
                  </a:txBody>
                  <a:tcPr marT="72000" marB="72000" anchor="ctr" horzOverflow="overflow">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b="1" i="0" u="none" strike="noStrike" cap="none" normalizeH="0" baseline="0" dirty="0">
                          <a:ln>
                            <a:noFill/>
                          </a:ln>
                          <a:solidFill>
                            <a:schemeClr val="bg1"/>
                          </a:solidFill>
                          <a:effectLst/>
                          <a:latin typeface="Arial" charset="0"/>
                        </a:rPr>
                        <a:t>Subhead</a:t>
                      </a:r>
                    </a:p>
                  </a:txBody>
                  <a:tcPr marT="72000" marB="72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b="1" i="0" u="none" strike="noStrike" cap="none" normalizeH="0" baseline="0" dirty="0">
                          <a:ln>
                            <a:noFill/>
                          </a:ln>
                          <a:solidFill>
                            <a:schemeClr val="bg1"/>
                          </a:solidFill>
                          <a:effectLst/>
                          <a:latin typeface="Arial" charset="0"/>
                        </a:rPr>
                        <a:t>Subhead</a:t>
                      </a:r>
                    </a:p>
                  </a:txBody>
                  <a:tcPr marT="72000" marB="72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b="1" i="0" u="none" strike="noStrike" cap="none" normalizeH="0" baseline="0" dirty="0">
                          <a:ln>
                            <a:noFill/>
                          </a:ln>
                          <a:solidFill>
                            <a:schemeClr val="bg1"/>
                          </a:solidFill>
                          <a:effectLst/>
                          <a:latin typeface="Arial" charset="0"/>
                        </a:rPr>
                        <a:t>Subhead</a:t>
                      </a:r>
                    </a:p>
                  </a:txBody>
                  <a:tcPr marT="72000" marB="72000" anchor="ctr"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r>
              <a:tr h="1122371">
                <a:tc>
                  <a:txBody>
                    <a:bodyPr/>
                    <a:lstStyle/>
                    <a:p>
                      <a:pPr marL="359623" marR="0" lvl="0" indent="-359623" algn="l" defTabSz="957998" rtl="0" eaLnBrk="0" fontAlgn="base" latinLnBrk="0" hangingPunct="0">
                        <a:lnSpc>
                          <a:spcPct val="100000"/>
                        </a:lnSpc>
                        <a:spcBef>
                          <a:spcPts val="400"/>
                        </a:spcBef>
                        <a:spcAft>
                          <a:spcPts val="0"/>
                        </a:spcAft>
                        <a:buClrTx/>
                        <a:buSzTx/>
                        <a:buFont typeface="Arial" charset="0"/>
                        <a:buNone/>
                        <a:tabLst/>
                        <a:defRPr/>
                      </a:pPr>
                      <a:r>
                        <a:rPr kumimoji="0" lang="en-US" sz="1400" b="1" i="0" u="none" strike="noStrike" kern="1200" cap="none" spc="0" normalizeH="0" baseline="0" noProof="0" dirty="0">
                          <a:ln>
                            <a:noFill/>
                          </a:ln>
                          <a:solidFill>
                            <a:srgbClr val="002776"/>
                          </a:solidFill>
                          <a:effectLst/>
                          <a:uLnTx/>
                          <a:uFillTx/>
                          <a:latin typeface="+mn-lt"/>
                          <a:ea typeface="+mn-ea"/>
                          <a:cs typeface="+mn-cs"/>
                        </a:rPr>
                        <a:t>Heading</a:t>
                      </a:r>
                    </a:p>
                    <a:p>
                      <a:pPr marL="117475" marR="0" lvl="1"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400" b="0" i="0" u="none" strike="noStrike" kern="1200" cap="none" spc="0" normalizeH="0" baseline="0" noProof="0" dirty="0">
                          <a:ln>
                            <a:noFill/>
                          </a:ln>
                          <a:solidFill>
                            <a:srgbClr val="002776"/>
                          </a:solidFill>
                          <a:effectLst/>
                          <a:uLnTx/>
                          <a:uFillTx/>
                          <a:latin typeface="+mn-lt"/>
                          <a:ea typeface="+mn-ea"/>
                          <a:cs typeface="+mn-cs"/>
                        </a:rPr>
                        <a:t>Bullet</a:t>
                      </a:r>
                    </a:p>
                    <a:p>
                      <a:pPr marL="227013" marR="0" lvl="2" indent="-109538"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a:ln>
                            <a:noFill/>
                          </a:ln>
                          <a:solidFill>
                            <a:srgbClr val="002776"/>
                          </a:solidFill>
                          <a:effectLst/>
                          <a:uLnTx/>
                          <a:uFillTx/>
                          <a:latin typeface="+mn-lt"/>
                          <a:ea typeface="+mn-ea"/>
                          <a:cs typeface="+mn-cs"/>
                        </a:rPr>
                        <a:t>Dash</a:t>
                      </a:r>
                    </a:p>
                    <a:p>
                      <a:pPr marL="344488" marR="0" lvl="3"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err="1" smtClean="0">
                          <a:ln>
                            <a:noFill/>
                          </a:ln>
                          <a:solidFill>
                            <a:srgbClr val="002776"/>
                          </a:solidFill>
                          <a:effectLst/>
                          <a:uLnTx/>
                          <a:uFillTx/>
                          <a:latin typeface="+mn-lt"/>
                          <a:ea typeface="+mn-ea"/>
                          <a:cs typeface="+mn-cs"/>
                        </a:rPr>
                        <a:t>Subbullet</a:t>
                      </a:r>
                      <a:endParaRPr kumimoji="0" lang="en-US" sz="1200" b="0" i="0" u="none" strike="noStrike" kern="1200" cap="none" spc="0" normalizeH="0" baseline="0" noProof="0" dirty="0">
                        <a:ln>
                          <a:noFill/>
                        </a:ln>
                        <a:solidFill>
                          <a:srgbClr val="002776"/>
                        </a:solidFill>
                        <a:effectLst/>
                        <a:uLnTx/>
                        <a:uFillTx/>
                        <a:latin typeface="+mn-lt"/>
                        <a:ea typeface="+mn-ea"/>
                        <a:cs typeface="+mn-cs"/>
                      </a:endParaRPr>
                    </a:p>
                  </a:txBody>
                  <a:tcPr marL="66462" marR="66462"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359623" marR="0" lvl="0" indent="-359623" algn="l" defTabSz="957998" rtl="0" eaLnBrk="0" fontAlgn="base" latinLnBrk="0" hangingPunct="0">
                        <a:lnSpc>
                          <a:spcPct val="100000"/>
                        </a:lnSpc>
                        <a:spcBef>
                          <a:spcPts val="400"/>
                        </a:spcBef>
                        <a:spcAft>
                          <a:spcPts val="0"/>
                        </a:spcAft>
                        <a:buClrTx/>
                        <a:buSzTx/>
                        <a:buFont typeface="Arial" charset="0"/>
                        <a:buNone/>
                        <a:tabLst/>
                        <a:defRPr/>
                      </a:pPr>
                      <a:r>
                        <a:rPr kumimoji="0" lang="en-US" sz="1400" b="1" i="0" u="none" strike="noStrike" kern="1200" cap="none" spc="0" normalizeH="0" baseline="0" noProof="0" dirty="0" smtClean="0">
                          <a:ln>
                            <a:noFill/>
                          </a:ln>
                          <a:solidFill>
                            <a:srgbClr val="002776"/>
                          </a:solidFill>
                          <a:effectLst/>
                          <a:uLnTx/>
                          <a:uFillTx/>
                          <a:latin typeface="+mn-lt"/>
                          <a:ea typeface="+mn-ea"/>
                          <a:cs typeface="+mn-cs"/>
                        </a:rPr>
                        <a:t>Heading</a:t>
                      </a:r>
                    </a:p>
                    <a:p>
                      <a:pPr marL="117475" marR="0" lvl="1"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002776"/>
                          </a:solidFill>
                          <a:effectLst/>
                          <a:uLnTx/>
                          <a:uFillTx/>
                          <a:latin typeface="+mn-lt"/>
                          <a:ea typeface="+mn-ea"/>
                          <a:cs typeface="+mn-cs"/>
                        </a:rPr>
                        <a:t>Bullet</a:t>
                      </a:r>
                    </a:p>
                    <a:p>
                      <a:pPr marL="227013" marR="0" lvl="2" indent="-109538"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smtClean="0">
                          <a:ln>
                            <a:noFill/>
                          </a:ln>
                          <a:solidFill>
                            <a:srgbClr val="002776"/>
                          </a:solidFill>
                          <a:effectLst/>
                          <a:uLnTx/>
                          <a:uFillTx/>
                          <a:latin typeface="+mn-lt"/>
                          <a:ea typeface="+mn-ea"/>
                          <a:cs typeface="+mn-cs"/>
                        </a:rPr>
                        <a:t>Dash</a:t>
                      </a:r>
                    </a:p>
                    <a:p>
                      <a:pPr marL="344488" marR="0" lvl="3"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err="1" smtClean="0">
                          <a:ln>
                            <a:noFill/>
                          </a:ln>
                          <a:solidFill>
                            <a:srgbClr val="002776"/>
                          </a:solidFill>
                          <a:effectLst/>
                          <a:uLnTx/>
                          <a:uFillTx/>
                          <a:latin typeface="+mn-lt"/>
                          <a:ea typeface="+mn-ea"/>
                          <a:cs typeface="+mn-cs"/>
                        </a:rPr>
                        <a:t>Subbullet</a:t>
                      </a:r>
                      <a:endParaRPr kumimoji="0" lang="en-US" sz="1200" b="0" i="0" u="none" strike="noStrike" kern="1200" cap="none" spc="0" normalizeH="0" baseline="0" noProof="0" dirty="0">
                        <a:ln>
                          <a:noFill/>
                        </a:ln>
                        <a:solidFill>
                          <a:srgbClr val="002776"/>
                        </a:solidFill>
                        <a:effectLst/>
                        <a:uLnTx/>
                        <a:uFillTx/>
                        <a:latin typeface="+mn-lt"/>
                        <a:ea typeface="+mn-ea"/>
                        <a:cs typeface="+mn-cs"/>
                      </a:endParaRPr>
                    </a:p>
                  </a:txBody>
                  <a:tcPr marL="66462" marR="66462" marT="72000" marB="72000"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359623" marR="0" lvl="0" indent="-359623" algn="l" defTabSz="957998" rtl="0" eaLnBrk="0" fontAlgn="base" latinLnBrk="0" hangingPunct="0">
                        <a:lnSpc>
                          <a:spcPct val="100000"/>
                        </a:lnSpc>
                        <a:spcBef>
                          <a:spcPts val="400"/>
                        </a:spcBef>
                        <a:spcAft>
                          <a:spcPts val="0"/>
                        </a:spcAft>
                        <a:buClrTx/>
                        <a:buSzTx/>
                        <a:buFont typeface="Arial" charset="0"/>
                        <a:buNone/>
                        <a:tabLst/>
                        <a:defRPr/>
                      </a:pPr>
                      <a:r>
                        <a:rPr kumimoji="0" lang="en-US" sz="1400" b="1" i="0" u="none" strike="noStrike" kern="1200" cap="none" spc="0" normalizeH="0" baseline="0" noProof="0" dirty="0" smtClean="0">
                          <a:ln>
                            <a:noFill/>
                          </a:ln>
                          <a:solidFill>
                            <a:srgbClr val="002776"/>
                          </a:solidFill>
                          <a:effectLst/>
                          <a:uLnTx/>
                          <a:uFillTx/>
                          <a:latin typeface="+mn-lt"/>
                          <a:ea typeface="+mn-ea"/>
                          <a:cs typeface="+mn-cs"/>
                        </a:rPr>
                        <a:t>Heading</a:t>
                      </a:r>
                    </a:p>
                    <a:p>
                      <a:pPr marL="117475" marR="0" lvl="1"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002776"/>
                          </a:solidFill>
                          <a:effectLst/>
                          <a:uLnTx/>
                          <a:uFillTx/>
                          <a:latin typeface="+mn-lt"/>
                          <a:ea typeface="+mn-ea"/>
                          <a:cs typeface="+mn-cs"/>
                        </a:rPr>
                        <a:t>Bullet</a:t>
                      </a:r>
                    </a:p>
                    <a:p>
                      <a:pPr marL="227013" marR="0" lvl="2" indent="-109538"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smtClean="0">
                          <a:ln>
                            <a:noFill/>
                          </a:ln>
                          <a:solidFill>
                            <a:srgbClr val="002776"/>
                          </a:solidFill>
                          <a:effectLst/>
                          <a:uLnTx/>
                          <a:uFillTx/>
                          <a:latin typeface="+mn-lt"/>
                          <a:ea typeface="+mn-ea"/>
                          <a:cs typeface="+mn-cs"/>
                        </a:rPr>
                        <a:t>Dash</a:t>
                      </a:r>
                    </a:p>
                    <a:p>
                      <a:pPr marL="344488" marR="0" lvl="3"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err="1" smtClean="0">
                          <a:ln>
                            <a:noFill/>
                          </a:ln>
                          <a:solidFill>
                            <a:srgbClr val="002776"/>
                          </a:solidFill>
                          <a:effectLst/>
                          <a:uLnTx/>
                          <a:uFillTx/>
                          <a:latin typeface="+mn-lt"/>
                          <a:ea typeface="+mn-ea"/>
                          <a:cs typeface="+mn-cs"/>
                        </a:rPr>
                        <a:t>Subbullet</a:t>
                      </a:r>
                      <a:endParaRPr kumimoji="0" lang="en-US" sz="1200" b="0" i="0" u="none" strike="noStrike" kern="1200" cap="none" spc="0" normalizeH="0" baseline="0" noProof="0" dirty="0">
                        <a:ln>
                          <a:noFill/>
                        </a:ln>
                        <a:solidFill>
                          <a:srgbClr val="002776"/>
                        </a:solidFill>
                        <a:effectLst/>
                        <a:uLnTx/>
                        <a:uFillTx/>
                        <a:latin typeface="+mn-lt"/>
                        <a:ea typeface="+mn-ea"/>
                        <a:cs typeface="+mn-cs"/>
                      </a:endParaRPr>
                    </a:p>
                  </a:txBody>
                  <a:tcPr marL="66462" marR="66462" marT="72000" marB="72000" horzOverflow="overflow">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359623" marR="0" lvl="0" indent="-359623" algn="l" defTabSz="957998" rtl="0" eaLnBrk="0" fontAlgn="base" latinLnBrk="0" hangingPunct="0">
                        <a:lnSpc>
                          <a:spcPct val="100000"/>
                        </a:lnSpc>
                        <a:spcBef>
                          <a:spcPts val="400"/>
                        </a:spcBef>
                        <a:spcAft>
                          <a:spcPts val="0"/>
                        </a:spcAft>
                        <a:buClrTx/>
                        <a:buSzTx/>
                        <a:buFont typeface="Arial" charset="0"/>
                        <a:buNone/>
                        <a:tabLst/>
                        <a:defRPr/>
                      </a:pPr>
                      <a:r>
                        <a:rPr kumimoji="0" lang="en-US" sz="1400" b="1" i="0" u="none" strike="noStrike" kern="1200" cap="none" spc="0" normalizeH="0" baseline="0" noProof="0" dirty="0" smtClean="0">
                          <a:ln>
                            <a:noFill/>
                          </a:ln>
                          <a:solidFill>
                            <a:srgbClr val="002776"/>
                          </a:solidFill>
                          <a:effectLst/>
                          <a:uLnTx/>
                          <a:uFillTx/>
                          <a:latin typeface="+mn-lt"/>
                          <a:ea typeface="+mn-ea"/>
                          <a:cs typeface="+mn-cs"/>
                        </a:rPr>
                        <a:t>Heading</a:t>
                      </a:r>
                    </a:p>
                    <a:p>
                      <a:pPr marL="117475" marR="0" lvl="1"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002776"/>
                          </a:solidFill>
                          <a:effectLst/>
                          <a:uLnTx/>
                          <a:uFillTx/>
                          <a:latin typeface="+mn-lt"/>
                          <a:ea typeface="+mn-ea"/>
                          <a:cs typeface="+mn-cs"/>
                        </a:rPr>
                        <a:t>Bullet</a:t>
                      </a:r>
                    </a:p>
                    <a:p>
                      <a:pPr marL="227013" marR="0" lvl="2" indent="-109538"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smtClean="0">
                          <a:ln>
                            <a:noFill/>
                          </a:ln>
                          <a:solidFill>
                            <a:srgbClr val="002776"/>
                          </a:solidFill>
                          <a:effectLst/>
                          <a:uLnTx/>
                          <a:uFillTx/>
                          <a:latin typeface="+mn-lt"/>
                          <a:ea typeface="+mn-ea"/>
                          <a:cs typeface="+mn-cs"/>
                        </a:rPr>
                        <a:t>Dash</a:t>
                      </a:r>
                    </a:p>
                    <a:p>
                      <a:pPr marL="344488" marR="0" lvl="3"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err="1" smtClean="0">
                          <a:ln>
                            <a:noFill/>
                          </a:ln>
                          <a:solidFill>
                            <a:srgbClr val="002776"/>
                          </a:solidFill>
                          <a:effectLst/>
                          <a:uLnTx/>
                          <a:uFillTx/>
                          <a:latin typeface="+mn-lt"/>
                          <a:ea typeface="+mn-ea"/>
                          <a:cs typeface="+mn-cs"/>
                        </a:rPr>
                        <a:t>Subbullet</a:t>
                      </a:r>
                      <a:endParaRPr kumimoji="0" lang="en-US" sz="1200" b="0" i="0" u="none" strike="noStrike" kern="1200" cap="none" spc="0" normalizeH="0" baseline="0" noProof="0" dirty="0">
                        <a:ln>
                          <a:noFill/>
                        </a:ln>
                        <a:solidFill>
                          <a:srgbClr val="002776"/>
                        </a:solidFill>
                        <a:effectLst/>
                        <a:uLnTx/>
                        <a:uFillTx/>
                        <a:latin typeface="+mn-lt"/>
                        <a:ea typeface="+mn-ea"/>
                        <a:cs typeface="+mn-cs"/>
                      </a:endParaRPr>
                    </a:p>
                  </a:txBody>
                  <a:tcPr marL="66462" marR="66462" marT="72000" marB="72000"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1132514">
                <a:tc>
                  <a:txBody>
                    <a:bodyPr/>
                    <a:lstStyle/>
                    <a:p>
                      <a:pPr marL="359623" marR="0" lvl="0" indent="-359623" algn="l" defTabSz="957998" rtl="0" eaLnBrk="0" fontAlgn="base" latinLnBrk="0" hangingPunct="0">
                        <a:lnSpc>
                          <a:spcPct val="100000"/>
                        </a:lnSpc>
                        <a:spcBef>
                          <a:spcPts val="400"/>
                        </a:spcBef>
                        <a:spcAft>
                          <a:spcPts val="0"/>
                        </a:spcAft>
                        <a:buClrTx/>
                        <a:buSzTx/>
                        <a:buFont typeface="Arial" charset="0"/>
                        <a:buNone/>
                        <a:tabLst/>
                        <a:defRPr/>
                      </a:pPr>
                      <a:r>
                        <a:rPr kumimoji="0" lang="en-US" sz="1400" b="1" i="0" u="none" strike="noStrike" kern="1200" cap="none" spc="0" normalizeH="0" baseline="0" noProof="0" dirty="0" smtClean="0">
                          <a:ln>
                            <a:noFill/>
                          </a:ln>
                          <a:solidFill>
                            <a:srgbClr val="002776"/>
                          </a:solidFill>
                          <a:effectLst/>
                          <a:uLnTx/>
                          <a:uFillTx/>
                          <a:latin typeface="+mn-lt"/>
                          <a:ea typeface="+mn-ea"/>
                          <a:cs typeface="+mn-cs"/>
                        </a:rPr>
                        <a:t>Heading</a:t>
                      </a:r>
                    </a:p>
                    <a:p>
                      <a:pPr marL="117475" marR="0" lvl="1"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002776"/>
                          </a:solidFill>
                          <a:effectLst/>
                          <a:uLnTx/>
                          <a:uFillTx/>
                          <a:latin typeface="+mn-lt"/>
                          <a:ea typeface="+mn-ea"/>
                          <a:cs typeface="+mn-cs"/>
                        </a:rPr>
                        <a:t>Bullet</a:t>
                      </a:r>
                    </a:p>
                    <a:p>
                      <a:pPr marL="227013" marR="0" lvl="2" indent="-109538"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smtClean="0">
                          <a:ln>
                            <a:noFill/>
                          </a:ln>
                          <a:solidFill>
                            <a:srgbClr val="002776"/>
                          </a:solidFill>
                          <a:effectLst/>
                          <a:uLnTx/>
                          <a:uFillTx/>
                          <a:latin typeface="+mn-lt"/>
                          <a:ea typeface="+mn-ea"/>
                          <a:cs typeface="+mn-cs"/>
                        </a:rPr>
                        <a:t>Dash</a:t>
                      </a:r>
                    </a:p>
                    <a:p>
                      <a:pPr marL="344488" marR="0" lvl="3"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err="1" smtClean="0">
                          <a:ln>
                            <a:noFill/>
                          </a:ln>
                          <a:solidFill>
                            <a:srgbClr val="002776"/>
                          </a:solidFill>
                          <a:effectLst/>
                          <a:uLnTx/>
                          <a:uFillTx/>
                          <a:latin typeface="+mn-lt"/>
                          <a:ea typeface="+mn-ea"/>
                          <a:cs typeface="+mn-cs"/>
                        </a:rPr>
                        <a:t>Subbullet</a:t>
                      </a:r>
                      <a:endParaRPr kumimoji="0" lang="en-US" sz="1200" b="0" i="0" u="none" strike="noStrike" kern="1200" cap="none" spc="0" normalizeH="0" baseline="0" noProof="0" dirty="0">
                        <a:ln>
                          <a:noFill/>
                        </a:ln>
                        <a:solidFill>
                          <a:srgbClr val="002776"/>
                        </a:solidFill>
                        <a:effectLst/>
                        <a:uLnTx/>
                        <a:uFillTx/>
                        <a:latin typeface="+mn-lt"/>
                        <a:ea typeface="+mn-ea"/>
                        <a:cs typeface="+mn-cs"/>
                      </a:endParaRPr>
                    </a:p>
                  </a:txBody>
                  <a:tcPr marL="66462" marR="66462" marT="72000" marB="72000" horzOverflow="overflow">
                    <a:lnL w="1270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359623" marR="0" lvl="0" indent="-359623" algn="l" defTabSz="957998" rtl="0" eaLnBrk="0" fontAlgn="base" latinLnBrk="0" hangingPunct="0">
                        <a:lnSpc>
                          <a:spcPct val="100000"/>
                        </a:lnSpc>
                        <a:spcBef>
                          <a:spcPts val="400"/>
                        </a:spcBef>
                        <a:spcAft>
                          <a:spcPts val="0"/>
                        </a:spcAft>
                        <a:buClrTx/>
                        <a:buSzTx/>
                        <a:buFont typeface="Arial" charset="0"/>
                        <a:buNone/>
                        <a:tabLst/>
                        <a:defRPr/>
                      </a:pPr>
                      <a:r>
                        <a:rPr kumimoji="0" lang="en-US" sz="1400" b="1" i="0" u="none" strike="noStrike" kern="1200" cap="none" spc="0" normalizeH="0" baseline="0" noProof="0" dirty="0" smtClean="0">
                          <a:ln>
                            <a:noFill/>
                          </a:ln>
                          <a:solidFill>
                            <a:srgbClr val="002776"/>
                          </a:solidFill>
                          <a:effectLst/>
                          <a:uLnTx/>
                          <a:uFillTx/>
                          <a:latin typeface="+mn-lt"/>
                          <a:ea typeface="+mn-ea"/>
                          <a:cs typeface="+mn-cs"/>
                        </a:rPr>
                        <a:t>Heading</a:t>
                      </a:r>
                    </a:p>
                    <a:p>
                      <a:pPr marL="117475" marR="0" lvl="1"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002776"/>
                          </a:solidFill>
                          <a:effectLst/>
                          <a:uLnTx/>
                          <a:uFillTx/>
                          <a:latin typeface="+mn-lt"/>
                          <a:ea typeface="+mn-ea"/>
                          <a:cs typeface="+mn-cs"/>
                        </a:rPr>
                        <a:t>Bullet</a:t>
                      </a:r>
                    </a:p>
                    <a:p>
                      <a:pPr marL="227013" marR="0" lvl="2" indent="-109538"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smtClean="0">
                          <a:ln>
                            <a:noFill/>
                          </a:ln>
                          <a:solidFill>
                            <a:srgbClr val="002776"/>
                          </a:solidFill>
                          <a:effectLst/>
                          <a:uLnTx/>
                          <a:uFillTx/>
                          <a:latin typeface="+mn-lt"/>
                          <a:ea typeface="+mn-ea"/>
                          <a:cs typeface="+mn-cs"/>
                        </a:rPr>
                        <a:t>Dash</a:t>
                      </a:r>
                    </a:p>
                    <a:p>
                      <a:pPr marL="344488" marR="0" lvl="3"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err="1" smtClean="0">
                          <a:ln>
                            <a:noFill/>
                          </a:ln>
                          <a:solidFill>
                            <a:srgbClr val="002776"/>
                          </a:solidFill>
                          <a:effectLst/>
                          <a:uLnTx/>
                          <a:uFillTx/>
                          <a:latin typeface="+mn-lt"/>
                          <a:ea typeface="+mn-ea"/>
                          <a:cs typeface="+mn-cs"/>
                        </a:rPr>
                        <a:t>Subbullet</a:t>
                      </a:r>
                      <a:endParaRPr kumimoji="0" lang="en-US" sz="1200" b="0" i="0" u="none" strike="noStrike" kern="1200" cap="none" spc="0" normalizeH="0" baseline="0" noProof="0" dirty="0">
                        <a:ln>
                          <a:noFill/>
                        </a:ln>
                        <a:solidFill>
                          <a:srgbClr val="002776"/>
                        </a:solidFill>
                        <a:effectLst/>
                        <a:uLnTx/>
                        <a:uFillTx/>
                        <a:latin typeface="+mn-lt"/>
                        <a:ea typeface="+mn-ea"/>
                        <a:cs typeface="+mn-cs"/>
                      </a:endParaRPr>
                    </a:p>
                  </a:txBody>
                  <a:tcPr marL="66462" marR="66462" marT="72000" marB="72000"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359623" marR="0" lvl="0" indent="-359623" algn="l" defTabSz="957998" rtl="0" eaLnBrk="0" fontAlgn="base" latinLnBrk="0" hangingPunct="0">
                        <a:lnSpc>
                          <a:spcPct val="100000"/>
                        </a:lnSpc>
                        <a:spcBef>
                          <a:spcPts val="400"/>
                        </a:spcBef>
                        <a:spcAft>
                          <a:spcPts val="0"/>
                        </a:spcAft>
                        <a:buClrTx/>
                        <a:buSzTx/>
                        <a:buFont typeface="Arial" charset="0"/>
                        <a:buNone/>
                        <a:tabLst/>
                        <a:defRPr/>
                      </a:pPr>
                      <a:r>
                        <a:rPr kumimoji="0" lang="en-US" sz="1400" b="1" i="0" u="none" strike="noStrike" kern="1200" cap="none" spc="0" normalizeH="0" baseline="0" noProof="0" dirty="0" smtClean="0">
                          <a:ln>
                            <a:noFill/>
                          </a:ln>
                          <a:solidFill>
                            <a:srgbClr val="002776"/>
                          </a:solidFill>
                          <a:effectLst/>
                          <a:uLnTx/>
                          <a:uFillTx/>
                          <a:latin typeface="+mn-lt"/>
                          <a:ea typeface="+mn-ea"/>
                          <a:cs typeface="+mn-cs"/>
                        </a:rPr>
                        <a:t>Heading</a:t>
                      </a:r>
                    </a:p>
                    <a:p>
                      <a:pPr marL="117475" marR="0" lvl="1"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002776"/>
                          </a:solidFill>
                          <a:effectLst/>
                          <a:uLnTx/>
                          <a:uFillTx/>
                          <a:latin typeface="+mn-lt"/>
                          <a:ea typeface="+mn-ea"/>
                          <a:cs typeface="+mn-cs"/>
                        </a:rPr>
                        <a:t>Bullet</a:t>
                      </a:r>
                    </a:p>
                    <a:p>
                      <a:pPr marL="227013" marR="0" lvl="2" indent="-109538"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smtClean="0">
                          <a:ln>
                            <a:noFill/>
                          </a:ln>
                          <a:solidFill>
                            <a:srgbClr val="002776"/>
                          </a:solidFill>
                          <a:effectLst/>
                          <a:uLnTx/>
                          <a:uFillTx/>
                          <a:latin typeface="+mn-lt"/>
                          <a:ea typeface="+mn-ea"/>
                          <a:cs typeface="+mn-cs"/>
                        </a:rPr>
                        <a:t>Dash</a:t>
                      </a:r>
                    </a:p>
                    <a:p>
                      <a:pPr marL="344488" marR="0" lvl="3"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err="1" smtClean="0">
                          <a:ln>
                            <a:noFill/>
                          </a:ln>
                          <a:solidFill>
                            <a:srgbClr val="002776"/>
                          </a:solidFill>
                          <a:effectLst/>
                          <a:uLnTx/>
                          <a:uFillTx/>
                          <a:latin typeface="+mn-lt"/>
                          <a:ea typeface="+mn-ea"/>
                          <a:cs typeface="+mn-cs"/>
                        </a:rPr>
                        <a:t>Subbullet</a:t>
                      </a:r>
                      <a:endParaRPr kumimoji="0" lang="en-US" sz="1200" b="0" i="0" u="none" strike="noStrike" kern="1200" cap="none" spc="0" normalizeH="0" baseline="0" noProof="0" dirty="0">
                        <a:ln>
                          <a:noFill/>
                        </a:ln>
                        <a:solidFill>
                          <a:srgbClr val="002776"/>
                        </a:solidFill>
                        <a:effectLst/>
                        <a:uLnTx/>
                        <a:uFillTx/>
                        <a:latin typeface="+mn-lt"/>
                        <a:ea typeface="+mn-ea"/>
                        <a:cs typeface="+mn-cs"/>
                      </a:endParaRPr>
                    </a:p>
                  </a:txBody>
                  <a:tcPr marL="66462" marR="66462" marT="72000" marB="72000"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359623" marR="0" lvl="0" indent="-359623" algn="l" defTabSz="957998" rtl="0" eaLnBrk="0" fontAlgn="base" latinLnBrk="0" hangingPunct="0">
                        <a:lnSpc>
                          <a:spcPct val="100000"/>
                        </a:lnSpc>
                        <a:spcBef>
                          <a:spcPts val="400"/>
                        </a:spcBef>
                        <a:spcAft>
                          <a:spcPts val="0"/>
                        </a:spcAft>
                        <a:buClrTx/>
                        <a:buSzTx/>
                        <a:buFont typeface="Arial" charset="0"/>
                        <a:buNone/>
                        <a:tabLst/>
                        <a:defRPr/>
                      </a:pPr>
                      <a:r>
                        <a:rPr kumimoji="0" lang="en-US" sz="1400" b="1" i="0" u="none" strike="noStrike" kern="1200" cap="none" spc="0" normalizeH="0" baseline="0" noProof="0" dirty="0" smtClean="0">
                          <a:ln>
                            <a:noFill/>
                          </a:ln>
                          <a:solidFill>
                            <a:srgbClr val="002776"/>
                          </a:solidFill>
                          <a:effectLst/>
                          <a:uLnTx/>
                          <a:uFillTx/>
                          <a:latin typeface="+mn-lt"/>
                          <a:ea typeface="+mn-ea"/>
                          <a:cs typeface="+mn-cs"/>
                        </a:rPr>
                        <a:t>Heading</a:t>
                      </a:r>
                    </a:p>
                    <a:p>
                      <a:pPr marL="117475" marR="0" lvl="1"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002776"/>
                          </a:solidFill>
                          <a:effectLst/>
                          <a:uLnTx/>
                          <a:uFillTx/>
                          <a:latin typeface="+mn-lt"/>
                          <a:ea typeface="+mn-ea"/>
                          <a:cs typeface="+mn-cs"/>
                        </a:rPr>
                        <a:t>Bullet</a:t>
                      </a:r>
                    </a:p>
                    <a:p>
                      <a:pPr marL="227013" marR="0" lvl="2" indent="-109538"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smtClean="0">
                          <a:ln>
                            <a:noFill/>
                          </a:ln>
                          <a:solidFill>
                            <a:srgbClr val="002776"/>
                          </a:solidFill>
                          <a:effectLst/>
                          <a:uLnTx/>
                          <a:uFillTx/>
                          <a:latin typeface="+mn-lt"/>
                          <a:ea typeface="+mn-ea"/>
                          <a:cs typeface="+mn-cs"/>
                        </a:rPr>
                        <a:t>Dash</a:t>
                      </a:r>
                    </a:p>
                    <a:p>
                      <a:pPr marL="344488" marR="0" lvl="3"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err="1" smtClean="0">
                          <a:ln>
                            <a:noFill/>
                          </a:ln>
                          <a:solidFill>
                            <a:srgbClr val="002776"/>
                          </a:solidFill>
                          <a:effectLst/>
                          <a:uLnTx/>
                          <a:uFillTx/>
                          <a:latin typeface="+mn-lt"/>
                          <a:ea typeface="+mn-ea"/>
                          <a:cs typeface="+mn-cs"/>
                        </a:rPr>
                        <a:t>Subbullet</a:t>
                      </a:r>
                      <a:endParaRPr kumimoji="0" lang="en-US" sz="1200" b="0" i="0" u="none" strike="noStrike" kern="1200" cap="none" spc="0" normalizeH="0" baseline="0" noProof="0" dirty="0">
                        <a:ln>
                          <a:noFill/>
                        </a:ln>
                        <a:solidFill>
                          <a:srgbClr val="002776"/>
                        </a:solidFill>
                        <a:effectLst/>
                        <a:uLnTx/>
                        <a:uFillTx/>
                        <a:latin typeface="+mn-lt"/>
                        <a:ea typeface="+mn-ea"/>
                        <a:cs typeface="+mn-cs"/>
                      </a:endParaRPr>
                    </a:p>
                  </a:txBody>
                  <a:tcPr marL="66462" marR="66462" marT="72000" marB="72000" horzOverflow="overflow">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1318510">
                <a:tc>
                  <a:txBody>
                    <a:bodyPr/>
                    <a:lstStyle/>
                    <a:p>
                      <a:pPr marL="359623" marR="0" lvl="0" indent="-359623" algn="l" defTabSz="957998" rtl="0" eaLnBrk="0" fontAlgn="base" latinLnBrk="0" hangingPunct="0">
                        <a:lnSpc>
                          <a:spcPct val="100000"/>
                        </a:lnSpc>
                        <a:spcBef>
                          <a:spcPts val="400"/>
                        </a:spcBef>
                        <a:spcAft>
                          <a:spcPts val="0"/>
                        </a:spcAft>
                        <a:buClrTx/>
                        <a:buSzTx/>
                        <a:buFont typeface="Arial" charset="0"/>
                        <a:buNone/>
                        <a:tabLst/>
                        <a:defRPr/>
                      </a:pPr>
                      <a:r>
                        <a:rPr kumimoji="0" lang="en-US" sz="1400" b="1" i="0" u="none" strike="noStrike" kern="1200" cap="none" spc="0" normalizeH="0" baseline="0" noProof="0" dirty="0" smtClean="0">
                          <a:ln>
                            <a:noFill/>
                          </a:ln>
                          <a:solidFill>
                            <a:srgbClr val="002776"/>
                          </a:solidFill>
                          <a:effectLst/>
                          <a:uLnTx/>
                          <a:uFillTx/>
                          <a:latin typeface="+mn-lt"/>
                          <a:ea typeface="+mn-ea"/>
                          <a:cs typeface="+mn-cs"/>
                        </a:rPr>
                        <a:t>Heading</a:t>
                      </a:r>
                    </a:p>
                    <a:p>
                      <a:pPr marL="117475" marR="0" lvl="1"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002776"/>
                          </a:solidFill>
                          <a:effectLst/>
                          <a:uLnTx/>
                          <a:uFillTx/>
                          <a:latin typeface="+mn-lt"/>
                          <a:ea typeface="+mn-ea"/>
                          <a:cs typeface="+mn-cs"/>
                        </a:rPr>
                        <a:t>Bullet</a:t>
                      </a:r>
                    </a:p>
                    <a:p>
                      <a:pPr marL="227013" marR="0" lvl="2" indent="-109538"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smtClean="0">
                          <a:ln>
                            <a:noFill/>
                          </a:ln>
                          <a:solidFill>
                            <a:srgbClr val="002776"/>
                          </a:solidFill>
                          <a:effectLst/>
                          <a:uLnTx/>
                          <a:uFillTx/>
                          <a:latin typeface="+mn-lt"/>
                          <a:ea typeface="+mn-ea"/>
                          <a:cs typeface="+mn-cs"/>
                        </a:rPr>
                        <a:t>Dash</a:t>
                      </a:r>
                    </a:p>
                    <a:p>
                      <a:pPr marL="344488" marR="0" lvl="3"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err="1" smtClean="0">
                          <a:ln>
                            <a:noFill/>
                          </a:ln>
                          <a:solidFill>
                            <a:srgbClr val="002776"/>
                          </a:solidFill>
                          <a:effectLst/>
                          <a:uLnTx/>
                          <a:uFillTx/>
                          <a:latin typeface="+mn-lt"/>
                          <a:ea typeface="+mn-ea"/>
                          <a:cs typeface="+mn-cs"/>
                        </a:rPr>
                        <a:t>Subbullet</a:t>
                      </a:r>
                      <a:endParaRPr kumimoji="0" lang="en-US" sz="1200" b="0" i="0" u="none" strike="noStrike" kern="1200" cap="none" spc="0" normalizeH="0" baseline="0" noProof="0" dirty="0">
                        <a:ln>
                          <a:noFill/>
                        </a:ln>
                        <a:solidFill>
                          <a:srgbClr val="002776"/>
                        </a:solidFill>
                        <a:effectLst/>
                        <a:uLnTx/>
                        <a:uFillTx/>
                        <a:latin typeface="+mn-lt"/>
                        <a:ea typeface="+mn-ea"/>
                        <a:cs typeface="+mn-cs"/>
                      </a:endParaRPr>
                    </a:p>
                  </a:txBody>
                  <a:tcPr marL="66462" marR="66462" marT="72000" marB="72000" horzOverflow="overflow">
                    <a:lnL w="1270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359623" marR="0" lvl="0" indent="-359623" algn="l" defTabSz="957998" rtl="0" eaLnBrk="0" fontAlgn="base" latinLnBrk="0" hangingPunct="0">
                        <a:lnSpc>
                          <a:spcPct val="100000"/>
                        </a:lnSpc>
                        <a:spcBef>
                          <a:spcPts val="400"/>
                        </a:spcBef>
                        <a:spcAft>
                          <a:spcPts val="0"/>
                        </a:spcAft>
                        <a:buClrTx/>
                        <a:buSzTx/>
                        <a:buFont typeface="Arial" charset="0"/>
                        <a:buNone/>
                        <a:tabLst/>
                        <a:defRPr/>
                      </a:pPr>
                      <a:r>
                        <a:rPr kumimoji="0" lang="en-US" sz="1400" b="1" i="0" u="none" strike="noStrike" kern="1200" cap="none" spc="0" normalizeH="0" baseline="0" noProof="0" dirty="0" smtClean="0">
                          <a:ln>
                            <a:noFill/>
                          </a:ln>
                          <a:solidFill>
                            <a:srgbClr val="002776"/>
                          </a:solidFill>
                          <a:effectLst/>
                          <a:uLnTx/>
                          <a:uFillTx/>
                          <a:latin typeface="+mn-lt"/>
                          <a:ea typeface="+mn-ea"/>
                          <a:cs typeface="+mn-cs"/>
                        </a:rPr>
                        <a:t>Heading</a:t>
                      </a:r>
                    </a:p>
                    <a:p>
                      <a:pPr marL="117475" marR="0" lvl="1"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002776"/>
                          </a:solidFill>
                          <a:effectLst/>
                          <a:uLnTx/>
                          <a:uFillTx/>
                          <a:latin typeface="+mn-lt"/>
                          <a:ea typeface="+mn-ea"/>
                          <a:cs typeface="+mn-cs"/>
                        </a:rPr>
                        <a:t>Bullet</a:t>
                      </a:r>
                    </a:p>
                    <a:p>
                      <a:pPr marL="227013" marR="0" lvl="2" indent="-109538"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smtClean="0">
                          <a:ln>
                            <a:noFill/>
                          </a:ln>
                          <a:solidFill>
                            <a:srgbClr val="002776"/>
                          </a:solidFill>
                          <a:effectLst/>
                          <a:uLnTx/>
                          <a:uFillTx/>
                          <a:latin typeface="+mn-lt"/>
                          <a:ea typeface="+mn-ea"/>
                          <a:cs typeface="+mn-cs"/>
                        </a:rPr>
                        <a:t>Dash</a:t>
                      </a:r>
                    </a:p>
                    <a:p>
                      <a:pPr marL="344488" marR="0" lvl="3"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err="1" smtClean="0">
                          <a:ln>
                            <a:noFill/>
                          </a:ln>
                          <a:solidFill>
                            <a:srgbClr val="002776"/>
                          </a:solidFill>
                          <a:effectLst/>
                          <a:uLnTx/>
                          <a:uFillTx/>
                          <a:latin typeface="+mn-lt"/>
                          <a:ea typeface="+mn-ea"/>
                          <a:cs typeface="+mn-cs"/>
                        </a:rPr>
                        <a:t>Subbullet</a:t>
                      </a:r>
                      <a:endParaRPr kumimoji="0" lang="en-US" sz="1200" b="0" i="0" u="none" strike="noStrike" kern="1200" cap="none" spc="0" normalizeH="0" baseline="0" noProof="0" dirty="0">
                        <a:ln>
                          <a:noFill/>
                        </a:ln>
                        <a:solidFill>
                          <a:srgbClr val="002776"/>
                        </a:solidFill>
                        <a:effectLst/>
                        <a:uLnTx/>
                        <a:uFillTx/>
                        <a:latin typeface="+mn-lt"/>
                        <a:ea typeface="+mn-ea"/>
                        <a:cs typeface="+mn-cs"/>
                      </a:endParaRPr>
                    </a:p>
                  </a:txBody>
                  <a:tcPr marL="66462" marR="66462" marT="72000" marB="72000" horzOverflow="overflow">
                    <a:lnL>
                      <a:noFill/>
                    </a:lnL>
                    <a:lnR>
                      <a:noFill/>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359623" marR="0" lvl="0" indent="-359623" algn="l" defTabSz="957998" rtl="0" eaLnBrk="0" fontAlgn="base" latinLnBrk="0" hangingPunct="0">
                        <a:lnSpc>
                          <a:spcPct val="100000"/>
                        </a:lnSpc>
                        <a:spcBef>
                          <a:spcPts val="400"/>
                        </a:spcBef>
                        <a:spcAft>
                          <a:spcPts val="0"/>
                        </a:spcAft>
                        <a:buClrTx/>
                        <a:buSzTx/>
                        <a:buFont typeface="Arial" charset="0"/>
                        <a:buNone/>
                        <a:tabLst/>
                        <a:defRPr/>
                      </a:pPr>
                      <a:r>
                        <a:rPr kumimoji="0" lang="en-US" sz="1400" b="1" i="0" u="none" strike="noStrike" kern="1200" cap="none" spc="0" normalizeH="0" baseline="0" noProof="0" dirty="0" smtClean="0">
                          <a:ln>
                            <a:noFill/>
                          </a:ln>
                          <a:solidFill>
                            <a:srgbClr val="002776"/>
                          </a:solidFill>
                          <a:effectLst/>
                          <a:uLnTx/>
                          <a:uFillTx/>
                          <a:latin typeface="+mn-lt"/>
                          <a:ea typeface="+mn-ea"/>
                          <a:cs typeface="+mn-cs"/>
                        </a:rPr>
                        <a:t>Heading</a:t>
                      </a:r>
                    </a:p>
                    <a:p>
                      <a:pPr marL="117475" marR="0" lvl="1"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002776"/>
                          </a:solidFill>
                          <a:effectLst/>
                          <a:uLnTx/>
                          <a:uFillTx/>
                          <a:latin typeface="+mn-lt"/>
                          <a:ea typeface="+mn-ea"/>
                          <a:cs typeface="+mn-cs"/>
                        </a:rPr>
                        <a:t>Bullet</a:t>
                      </a:r>
                    </a:p>
                    <a:p>
                      <a:pPr marL="227013" marR="0" lvl="2" indent="-109538"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smtClean="0">
                          <a:ln>
                            <a:noFill/>
                          </a:ln>
                          <a:solidFill>
                            <a:srgbClr val="002776"/>
                          </a:solidFill>
                          <a:effectLst/>
                          <a:uLnTx/>
                          <a:uFillTx/>
                          <a:latin typeface="+mn-lt"/>
                          <a:ea typeface="+mn-ea"/>
                          <a:cs typeface="+mn-cs"/>
                        </a:rPr>
                        <a:t>Dash</a:t>
                      </a:r>
                    </a:p>
                    <a:p>
                      <a:pPr marL="344488" marR="0" lvl="3"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err="1" smtClean="0">
                          <a:ln>
                            <a:noFill/>
                          </a:ln>
                          <a:solidFill>
                            <a:srgbClr val="002776"/>
                          </a:solidFill>
                          <a:effectLst/>
                          <a:uLnTx/>
                          <a:uFillTx/>
                          <a:latin typeface="+mn-lt"/>
                          <a:ea typeface="+mn-ea"/>
                          <a:cs typeface="+mn-cs"/>
                        </a:rPr>
                        <a:t>Subbullet</a:t>
                      </a:r>
                      <a:endParaRPr kumimoji="0" lang="en-US" sz="1200" b="0" i="0" u="none" strike="noStrike" kern="1200" cap="none" spc="0" normalizeH="0" baseline="0" noProof="0" dirty="0">
                        <a:ln>
                          <a:noFill/>
                        </a:ln>
                        <a:solidFill>
                          <a:srgbClr val="002776"/>
                        </a:solidFill>
                        <a:effectLst/>
                        <a:uLnTx/>
                        <a:uFillTx/>
                        <a:latin typeface="+mn-lt"/>
                        <a:ea typeface="+mn-ea"/>
                        <a:cs typeface="+mn-cs"/>
                      </a:endParaRPr>
                    </a:p>
                  </a:txBody>
                  <a:tcPr marL="66462" marR="66462" marT="72000" marB="72000" horzOverflow="overflow">
                    <a:lnL>
                      <a:noFill/>
                    </a:lnL>
                    <a:lnR>
                      <a:noFill/>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359623" marR="0" lvl="0" indent="-359623" algn="l" defTabSz="957998" rtl="0" eaLnBrk="0" fontAlgn="base" latinLnBrk="0" hangingPunct="0">
                        <a:lnSpc>
                          <a:spcPct val="100000"/>
                        </a:lnSpc>
                        <a:spcBef>
                          <a:spcPts val="400"/>
                        </a:spcBef>
                        <a:spcAft>
                          <a:spcPts val="0"/>
                        </a:spcAft>
                        <a:buClrTx/>
                        <a:buSzTx/>
                        <a:buFont typeface="Arial" charset="0"/>
                        <a:buNone/>
                        <a:tabLst/>
                        <a:defRPr/>
                      </a:pPr>
                      <a:r>
                        <a:rPr kumimoji="0" lang="en-US" sz="1400" b="1" i="0" u="none" strike="noStrike" kern="1200" cap="none" spc="0" normalizeH="0" baseline="0" noProof="0" dirty="0" smtClean="0">
                          <a:ln>
                            <a:noFill/>
                          </a:ln>
                          <a:solidFill>
                            <a:srgbClr val="002776"/>
                          </a:solidFill>
                          <a:effectLst/>
                          <a:uLnTx/>
                          <a:uFillTx/>
                          <a:latin typeface="+mn-lt"/>
                          <a:ea typeface="+mn-ea"/>
                          <a:cs typeface="+mn-cs"/>
                        </a:rPr>
                        <a:t>Heading</a:t>
                      </a:r>
                    </a:p>
                    <a:p>
                      <a:pPr marL="117475" marR="0" lvl="1"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400" b="0" i="0" u="none" strike="noStrike" kern="1200" cap="none" spc="0" normalizeH="0" baseline="0" noProof="0" dirty="0" smtClean="0">
                          <a:ln>
                            <a:noFill/>
                          </a:ln>
                          <a:solidFill>
                            <a:srgbClr val="002776"/>
                          </a:solidFill>
                          <a:effectLst/>
                          <a:uLnTx/>
                          <a:uFillTx/>
                          <a:latin typeface="+mn-lt"/>
                          <a:ea typeface="+mn-ea"/>
                          <a:cs typeface="+mn-cs"/>
                        </a:rPr>
                        <a:t>Bullet</a:t>
                      </a:r>
                    </a:p>
                    <a:p>
                      <a:pPr marL="227013" marR="0" lvl="2" indent="-109538"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smtClean="0">
                          <a:ln>
                            <a:noFill/>
                          </a:ln>
                          <a:solidFill>
                            <a:srgbClr val="002776"/>
                          </a:solidFill>
                          <a:effectLst/>
                          <a:uLnTx/>
                          <a:uFillTx/>
                          <a:latin typeface="+mn-lt"/>
                          <a:ea typeface="+mn-ea"/>
                          <a:cs typeface="+mn-cs"/>
                        </a:rPr>
                        <a:t>Dash</a:t>
                      </a:r>
                    </a:p>
                    <a:p>
                      <a:pPr marL="344488" marR="0" lvl="3" indent="-117475" algn="l" defTabSz="957998" rtl="0" eaLnBrk="0" fontAlgn="base" latinLnBrk="0" hangingPunct="0">
                        <a:lnSpc>
                          <a:spcPct val="100000"/>
                        </a:lnSpc>
                        <a:spcBef>
                          <a:spcPts val="400"/>
                        </a:spcBef>
                        <a:spcAft>
                          <a:spcPts val="0"/>
                        </a:spcAft>
                        <a:buClrTx/>
                        <a:buSzTx/>
                        <a:buFont typeface="Arial" charset="0"/>
                        <a:buChar char="•"/>
                        <a:tabLst/>
                        <a:defRPr/>
                      </a:pPr>
                      <a:r>
                        <a:rPr kumimoji="0" lang="en-US" sz="1200" b="0" i="0" u="none" strike="noStrike" kern="1200" cap="none" spc="0" normalizeH="0" baseline="0" noProof="0" dirty="0" err="1" smtClean="0">
                          <a:ln>
                            <a:noFill/>
                          </a:ln>
                          <a:solidFill>
                            <a:srgbClr val="002776"/>
                          </a:solidFill>
                          <a:effectLst/>
                          <a:uLnTx/>
                          <a:uFillTx/>
                          <a:latin typeface="+mn-lt"/>
                          <a:ea typeface="+mn-ea"/>
                          <a:cs typeface="+mn-cs"/>
                        </a:rPr>
                        <a:t>Subbullet</a:t>
                      </a:r>
                      <a:endParaRPr kumimoji="0" lang="en-US" sz="1200" b="0" i="0" u="none" strike="noStrike" kern="1200" cap="none" spc="0" normalizeH="0" baseline="0" noProof="0" dirty="0">
                        <a:ln>
                          <a:noFill/>
                        </a:ln>
                        <a:solidFill>
                          <a:srgbClr val="002776"/>
                        </a:solidFill>
                        <a:effectLst/>
                        <a:uLnTx/>
                        <a:uFillTx/>
                        <a:latin typeface="+mn-lt"/>
                        <a:ea typeface="+mn-ea"/>
                        <a:cs typeface="+mn-cs"/>
                      </a:endParaRPr>
                    </a:p>
                  </a:txBody>
                  <a:tcPr marL="66462" marR="66462" marT="72000" marB="72000" horzOverflow="overflow">
                    <a:lnL>
                      <a:noFill/>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sp>
        <p:nvSpPr>
          <p:cNvPr id="5" name="AutoShape 32"/>
          <p:cNvSpPr>
            <a:spLocks noChangeArrowheads="1"/>
          </p:cNvSpPr>
          <p:nvPr/>
        </p:nvSpPr>
        <p:spPr bwMode="gray">
          <a:xfrm>
            <a:off x="500215" y="1595592"/>
            <a:ext cx="2206800" cy="584200"/>
          </a:xfrm>
          <a:prstGeom prst="chevron">
            <a:avLst>
              <a:gd name="adj" fmla="val 34952"/>
            </a:avLst>
          </a:prstGeom>
          <a:solidFill>
            <a:schemeClr val="accent3"/>
          </a:solidFill>
          <a:ln w="12700" cap="rnd" algn="ctr">
            <a:noFill/>
            <a:miter lim="800000"/>
            <a:headEnd/>
            <a:tailEnd/>
          </a:ln>
        </p:spPr>
        <p:txBody>
          <a:bodyPr lIns="182880" anchor="ctr" anchorCtr="1"/>
          <a:lstStyle/>
          <a:p>
            <a:pPr algn="ctr">
              <a:lnSpc>
                <a:spcPct val="106000"/>
              </a:lnSpc>
              <a:defRPr/>
            </a:pPr>
            <a:r>
              <a:rPr lang="en-US" sz="1400" b="1" dirty="0" smtClean="0">
                <a:solidFill>
                  <a:schemeClr val="bg1"/>
                </a:solidFill>
              </a:rPr>
              <a:t>Text</a:t>
            </a:r>
            <a:endParaRPr lang="en-US" sz="1400" b="1" dirty="0">
              <a:solidFill>
                <a:schemeClr val="bg1"/>
              </a:solidFill>
            </a:endParaRPr>
          </a:p>
        </p:txBody>
      </p:sp>
      <p:sp>
        <p:nvSpPr>
          <p:cNvPr id="6" name="AutoShape 33"/>
          <p:cNvSpPr>
            <a:spLocks noChangeArrowheads="1"/>
          </p:cNvSpPr>
          <p:nvPr/>
        </p:nvSpPr>
        <p:spPr bwMode="gray">
          <a:xfrm>
            <a:off x="2529781" y="1595592"/>
            <a:ext cx="2206800" cy="584200"/>
          </a:xfrm>
          <a:prstGeom prst="chevron">
            <a:avLst>
              <a:gd name="adj" fmla="val 34975"/>
            </a:avLst>
          </a:prstGeom>
          <a:solidFill>
            <a:schemeClr val="accent3"/>
          </a:solidFill>
          <a:ln w="12700" cap="rnd" algn="ctr">
            <a:noFill/>
            <a:miter lim="800000"/>
            <a:headEnd/>
            <a:tailEnd/>
          </a:ln>
        </p:spPr>
        <p:txBody>
          <a:bodyPr lIns="182880" anchor="ctr" anchorCtr="1"/>
          <a:lstStyle/>
          <a:p>
            <a:pPr algn="ctr">
              <a:lnSpc>
                <a:spcPct val="106000"/>
              </a:lnSpc>
              <a:defRPr/>
            </a:pPr>
            <a:r>
              <a:rPr lang="en-US" sz="1400" b="1" dirty="0">
                <a:solidFill>
                  <a:schemeClr val="bg1"/>
                </a:solidFill>
              </a:rPr>
              <a:t>Text</a:t>
            </a:r>
          </a:p>
        </p:txBody>
      </p:sp>
      <p:sp>
        <p:nvSpPr>
          <p:cNvPr id="7" name="AutoShape 34"/>
          <p:cNvSpPr>
            <a:spLocks noChangeArrowheads="1"/>
          </p:cNvSpPr>
          <p:nvPr/>
        </p:nvSpPr>
        <p:spPr bwMode="gray">
          <a:xfrm>
            <a:off x="4559347" y="1595592"/>
            <a:ext cx="2206800" cy="584200"/>
          </a:xfrm>
          <a:prstGeom prst="chevron">
            <a:avLst>
              <a:gd name="adj" fmla="val 34975"/>
            </a:avLst>
          </a:prstGeom>
          <a:solidFill>
            <a:schemeClr val="accent3"/>
          </a:solidFill>
          <a:ln w="12700" cap="rnd" algn="ctr">
            <a:noFill/>
            <a:miter lim="800000"/>
            <a:headEnd/>
            <a:tailEnd/>
          </a:ln>
        </p:spPr>
        <p:txBody>
          <a:bodyPr lIns="182880" anchor="ctr" anchorCtr="1"/>
          <a:lstStyle/>
          <a:p>
            <a:pPr algn="ctr">
              <a:lnSpc>
                <a:spcPct val="106000"/>
              </a:lnSpc>
              <a:defRPr/>
            </a:pPr>
            <a:r>
              <a:rPr lang="en-US" sz="1400" b="1">
                <a:solidFill>
                  <a:schemeClr val="bg1"/>
                </a:solidFill>
              </a:rPr>
              <a:t>Text</a:t>
            </a:r>
          </a:p>
        </p:txBody>
      </p:sp>
      <p:sp>
        <p:nvSpPr>
          <p:cNvPr id="8" name="AutoShape 35"/>
          <p:cNvSpPr>
            <a:spLocks noChangeArrowheads="1"/>
          </p:cNvSpPr>
          <p:nvPr/>
        </p:nvSpPr>
        <p:spPr bwMode="gray">
          <a:xfrm>
            <a:off x="6597540" y="1595592"/>
            <a:ext cx="2206800" cy="584200"/>
          </a:xfrm>
          <a:prstGeom prst="chevron">
            <a:avLst>
              <a:gd name="adj" fmla="val 34975"/>
            </a:avLst>
          </a:prstGeom>
          <a:solidFill>
            <a:schemeClr val="accent3"/>
          </a:solidFill>
          <a:ln w="12700" cap="rnd" algn="ctr">
            <a:noFill/>
            <a:miter lim="800000"/>
            <a:headEnd/>
            <a:tailEnd/>
          </a:ln>
        </p:spPr>
        <p:txBody>
          <a:bodyPr lIns="182880" anchor="ctr" anchorCtr="1"/>
          <a:lstStyle/>
          <a:p>
            <a:pPr algn="ctr">
              <a:lnSpc>
                <a:spcPct val="106000"/>
              </a:lnSpc>
              <a:defRPr/>
            </a:pPr>
            <a:r>
              <a:rPr lang="en-US" sz="1400" b="1">
                <a:solidFill>
                  <a:schemeClr val="bg1"/>
                </a:solidFill>
              </a:rPr>
              <a:t>Text</a:t>
            </a:r>
          </a:p>
        </p:txBody>
      </p:sp>
      <p:sp>
        <p:nvSpPr>
          <p:cNvPr id="10"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0961" name="Title 1"/>
          <p:cNvSpPr>
            <a:spLocks noGrp="1"/>
          </p:cNvSpPr>
          <p:nvPr>
            <p:ph type="title"/>
          </p:nvPr>
        </p:nvSpPr>
        <p:spPr>
          <a:xfrm>
            <a:off x="414338" y="446038"/>
            <a:ext cx="8330184" cy="333425"/>
          </a:xfrm>
        </p:spPr>
        <p:txBody>
          <a:bodyPr/>
          <a:lstStyle/>
          <a:p>
            <a:r>
              <a:rPr lang="nl-NL"/>
              <a:t>Spheres </a:t>
            </a:r>
            <a:r>
              <a:rPr lang="en-US"/>
              <a:t>—</a:t>
            </a:r>
            <a:r>
              <a:rPr lang="nl-NL" smtClean="0"/>
              <a:t> </a:t>
            </a:r>
            <a:r>
              <a:rPr lang="nl-NL"/>
              <a:t>sizes in</a:t>
            </a:r>
          </a:p>
        </p:txBody>
      </p:sp>
      <p:sp>
        <p:nvSpPr>
          <p:cNvPr id="4" name="Oval 2"/>
          <p:cNvSpPr>
            <a:spLocks noChangeArrowheads="1"/>
          </p:cNvSpPr>
          <p:nvPr/>
        </p:nvSpPr>
        <p:spPr bwMode="auto">
          <a:xfrm>
            <a:off x="2347046" y="1591831"/>
            <a:ext cx="4456112" cy="4316413"/>
          </a:xfrm>
          <a:prstGeom prst="ellipse">
            <a:avLst/>
          </a:prstGeom>
          <a:solidFill>
            <a:schemeClr val="accent6"/>
          </a:solidFill>
          <a:ln w="12700">
            <a:solidFill>
              <a:schemeClr val="bg1"/>
            </a:solidFill>
            <a:round/>
            <a:headEnd/>
            <a:tailEnd/>
          </a:ln>
        </p:spPr>
        <p:txBody>
          <a:bodyPr wrap="none" anchor="ctr"/>
          <a:lstStyle/>
          <a:p>
            <a:pPr algn="ctr">
              <a:defRPr/>
            </a:pPr>
            <a:endParaRPr lang="en-GB" sz="1400">
              <a:solidFill>
                <a:schemeClr val="tx2"/>
              </a:solidFill>
            </a:endParaRPr>
          </a:p>
        </p:txBody>
      </p:sp>
      <p:sp>
        <p:nvSpPr>
          <p:cNvPr id="5" name="Oval 3"/>
          <p:cNvSpPr>
            <a:spLocks noChangeArrowheads="1"/>
          </p:cNvSpPr>
          <p:nvPr/>
        </p:nvSpPr>
        <p:spPr bwMode="auto">
          <a:xfrm>
            <a:off x="2766146" y="2343439"/>
            <a:ext cx="3619500" cy="3592513"/>
          </a:xfrm>
          <a:prstGeom prst="ellipse">
            <a:avLst/>
          </a:prstGeom>
          <a:solidFill>
            <a:schemeClr val="accent5"/>
          </a:solidFill>
          <a:ln w="12700">
            <a:solidFill>
              <a:schemeClr val="bg1"/>
            </a:solidFill>
            <a:round/>
            <a:headEnd/>
            <a:tailEnd/>
          </a:ln>
        </p:spPr>
        <p:txBody>
          <a:bodyPr wrap="none" anchor="ctr"/>
          <a:lstStyle/>
          <a:p>
            <a:pPr algn="ctr">
              <a:defRPr/>
            </a:pPr>
            <a:endParaRPr lang="en-GB" sz="1400">
              <a:solidFill>
                <a:schemeClr val="tx2"/>
              </a:solidFill>
            </a:endParaRPr>
          </a:p>
        </p:txBody>
      </p:sp>
      <p:sp>
        <p:nvSpPr>
          <p:cNvPr id="6" name="Oval 4"/>
          <p:cNvSpPr>
            <a:spLocks noChangeArrowheads="1"/>
          </p:cNvSpPr>
          <p:nvPr/>
        </p:nvSpPr>
        <p:spPr bwMode="auto">
          <a:xfrm>
            <a:off x="3042371" y="2946689"/>
            <a:ext cx="3067050" cy="2989263"/>
          </a:xfrm>
          <a:prstGeom prst="ellipse">
            <a:avLst/>
          </a:prstGeom>
          <a:solidFill>
            <a:schemeClr val="accent4"/>
          </a:solidFill>
          <a:ln w="12700">
            <a:solidFill>
              <a:schemeClr val="bg1"/>
            </a:solidFill>
            <a:round/>
            <a:headEnd/>
            <a:tailEnd/>
          </a:ln>
        </p:spPr>
        <p:txBody>
          <a:bodyPr wrap="none" anchor="ctr"/>
          <a:lstStyle/>
          <a:p>
            <a:pPr algn="ctr">
              <a:defRPr/>
            </a:pPr>
            <a:endParaRPr lang="en-GB" sz="1400">
              <a:solidFill>
                <a:schemeClr val="bg1"/>
              </a:solidFill>
            </a:endParaRPr>
          </a:p>
        </p:txBody>
      </p:sp>
      <p:sp>
        <p:nvSpPr>
          <p:cNvPr id="7" name="Oval 5"/>
          <p:cNvSpPr>
            <a:spLocks noChangeArrowheads="1"/>
          </p:cNvSpPr>
          <p:nvPr/>
        </p:nvSpPr>
        <p:spPr bwMode="auto">
          <a:xfrm>
            <a:off x="3366221" y="3575339"/>
            <a:ext cx="2419350" cy="2360613"/>
          </a:xfrm>
          <a:prstGeom prst="ellipse">
            <a:avLst/>
          </a:prstGeom>
          <a:solidFill>
            <a:schemeClr val="accent3"/>
          </a:solidFill>
          <a:ln w="12700">
            <a:solidFill>
              <a:schemeClr val="bg1"/>
            </a:solidFill>
            <a:round/>
            <a:headEnd/>
            <a:tailEnd/>
          </a:ln>
        </p:spPr>
        <p:txBody>
          <a:bodyPr wrap="none" anchor="ctr"/>
          <a:lstStyle/>
          <a:p>
            <a:pPr algn="ctr">
              <a:defRPr/>
            </a:pPr>
            <a:endParaRPr lang="en-GB" sz="1400">
              <a:solidFill>
                <a:schemeClr val="bg1"/>
              </a:solidFill>
            </a:endParaRPr>
          </a:p>
        </p:txBody>
      </p:sp>
      <p:sp>
        <p:nvSpPr>
          <p:cNvPr id="680967" name="Oval 6"/>
          <p:cNvSpPr>
            <a:spLocks noChangeArrowheads="1"/>
          </p:cNvSpPr>
          <p:nvPr/>
        </p:nvSpPr>
        <p:spPr bwMode="auto">
          <a:xfrm>
            <a:off x="3698008" y="4205577"/>
            <a:ext cx="1755775" cy="1730375"/>
          </a:xfrm>
          <a:prstGeom prst="ellipse">
            <a:avLst/>
          </a:prstGeom>
          <a:solidFill>
            <a:schemeClr val="accent2"/>
          </a:solidFill>
          <a:ln w="12700">
            <a:solidFill>
              <a:schemeClr val="bg1"/>
            </a:solidFill>
            <a:round/>
            <a:headEnd/>
            <a:tailEnd/>
          </a:ln>
        </p:spPr>
        <p:txBody>
          <a:bodyPr wrap="none" anchor="ctr"/>
          <a:lstStyle/>
          <a:p>
            <a:pPr algn="ctr"/>
            <a:endParaRPr lang="en-GB" sz="1400">
              <a:solidFill>
                <a:schemeClr val="bg1"/>
              </a:solidFill>
            </a:endParaRPr>
          </a:p>
        </p:txBody>
      </p:sp>
      <p:sp>
        <p:nvSpPr>
          <p:cNvPr id="680968" name="Oval 7"/>
          <p:cNvSpPr>
            <a:spLocks noChangeArrowheads="1"/>
          </p:cNvSpPr>
          <p:nvPr/>
        </p:nvSpPr>
        <p:spPr bwMode="auto">
          <a:xfrm>
            <a:off x="3974233" y="4748502"/>
            <a:ext cx="1203325" cy="1169987"/>
          </a:xfrm>
          <a:prstGeom prst="ellipse">
            <a:avLst/>
          </a:prstGeom>
          <a:solidFill>
            <a:schemeClr val="accent1"/>
          </a:solidFill>
          <a:ln w="12700">
            <a:solidFill>
              <a:schemeClr val="bg1"/>
            </a:solidFill>
            <a:round/>
            <a:headEnd/>
            <a:tailEnd/>
          </a:ln>
        </p:spPr>
        <p:txBody>
          <a:bodyPr wrap="none" anchor="ctr"/>
          <a:lstStyle/>
          <a:p>
            <a:pPr algn="ctr"/>
            <a:endParaRPr lang="en-GB" sz="1400">
              <a:solidFill>
                <a:schemeClr val="bg1"/>
              </a:solidFill>
            </a:endParaRPr>
          </a:p>
        </p:txBody>
      </p:sp>
      <p:sp>
        <p:nvSpPr>
          <p:cNvPr id="680969" name="Rectangle 8"/>
          <p:cNvSpPr>
            <a:spLocks noChangeArrowheads="1"/>
          </p:cNvSpPr>
          <p:nvPr>
            <p:custDataLst>
              <p:tags r:id="rId1"/>
            </p:custDataLst>
          </p:nvPr>
        </p:nvSpPr>
        <p:spPr bwMode="auto">
          <a:xfrm>
            <a:off x="3905971" y="1939105"/>
            <a:ext cx="1339850" cy="175433"/>
          </a:xfrm>
          <a:prstGeom prst="rect">
            <a:avLst/>
          </a:prstGeom>
          <a:noFill/>
          <a:ln w="9525">
            <a:noFill/>
            <a:miter lim="800000"/>
            <a:headEnd/>
            <a:tailEnd/>
          </a:ln>
        </p:spPr>
        <p:txBody>
          <a:bodyPr lIns="0" tIns="0" rIns="0" bIns="0">
            <a:spAutoFit/>
          </a:bodyPr>
          <a:lstStyle/>
          <a:p>
            <a:pPr algn="ctr" defTabSz="787400">
              <a:lnSpc>
                <a:spcPct val="95000"/>
              </a:lnSpc>
              <a:spcBef>
                <a:spcPct val="80000"/>
              </a:spcBef>
              <a:buClr>
                <a:schemeClr val="tx1"/>
              </a:buClr>
              <a:buFont typeface="Wingdings 2" pitchFamily="18" charset="2"/>
              <a:buNone/>
            </a:pPr>
            <a:r>
              <a:rPr lang="en-GB" sz="1200" dirty="0">
                <a:solidFill>
                  <a:schemeClr val="bg2"/>
                </a:solidFill>
              </a:rPr>
              <a:t>Text</a:t>
            </a:r>
          </a:p>
        </p:txBody>
      </p:sp>
      <p:sp>
        <p:nvSpPr>
          <p:cNvPr id="680970" name="Rectangle 9"/>
          <p:cNvSpPr>
            <a:spLocks noChangeArrowheads="1"/>
          </p:cNvSpPr>
          <p:nvPr>
            <p:custDataLst>
              <p:tags r:id="rId2"/>
            </p:custDataLst>
          </p:nvPr>
        </p:nvSpPr>
        <p:spPr bwMode="auto">
          <a:xfrm>
            <a:off x="4012333" y="2610885"/>
            <a:ext cx="1125538" cy="175433"/>
          </a:xfrm>
          <a:prstGeom prst="rect">
            <a:avLst/>
          </a:prstGeom>
          <a:noFill/>
          <a:ln w="9525">
            <a:noFill/>
            <a:miter lim="800000"/>
            <a:headEnd/>
            <a:tailEnd/>
          </a:ln>
        </p:spPr>
        <p:txBody>
          <a:bodyPr lIns="0" tIns="0" rIns="0" bIns="0">
            <a:spAutoFit/>
          </a:bodyPr>
          <a:lstStyle/>
          <a:p>
            <a:pPr algn="ctr" defTabSz="787400">
              <a:lnSpc>
                <a:spcPct val="95000"/>
              </a:lnSpc>
              <a:spcBef>
                <a:spcPct val="80000"/>
              </a:spcBef>
              <a:buClr>
                <a:schemeClr val="tx1"/>
              </a:buClr>
              <a:buFont typeface="Wingdings 2" pitchFamily="18" charset="2"/>
              <a:buNone/>
            </a:pPr>
            <a:r>
              <a:rPr lang="en-GB" sz="1200" dirty="0">
                <a:solidFill>
                  <a:schemeClr val="bg2"/>
                </a:solidFill>
              </a:rPr>
              <a:t>Text</a:t>
            </a:r>
          </a:p>
        </p:txBody>
      </p:sp>
      <p:sp>
        <p:nvSpPr>
          <p:cNvPr id="680971" name="Rectangle 10"/>
          <p:cNvSpPr>
            <a:spLocks noChangeArrowheads="1"/>
          </p:cNvSpPr>
          <p:nvPr>
            <p:custDataLst>
              <p:tags r:id="rId3"/>
            </p:custDataLst>
          </p:nvPr>
        </p:nvSpPr>
        <p:spPr bwMode="auto">
          <a:xfrm>
            <a:off x="4074246" y="3276104"/>
            <a:ext cx="1003300" cy="175433"/>
          </a:xfrm>
          <a:prstGeom prst="rect">
            <a:avLst/>
          </a:prstGeom>
          <a:noFill/>
          <a:ln w="9525">
            <a:noFill/>
            <a:miter lim="800000"/>
            <a:headEnd/>
            <a:tailEnd/>
          </a:ln>
        </p:spPr>
        <p:txBody>
          <a:bodyPr lIns="0" tIns="0" rIns="0" bIns="0">
            <a:spAutoFit/>
          </a:bodyPr>
          <a:lstStyle/>
          <a:p>
            <a:pPr algn="ctr" defTabSz="787400">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680972" name="Rectangle 11"/>
          <p:cNvSpPr>
            <a:spLocks noChangeArrowheads="1"/>
          </p:cNvSpPr>
          <p:nvPr>
            <p:custDataLst>
              <p:tags r:id="rId4"/>
            </p:custDataLst>
          </p:nvPr>
        </p:nvSpPr>
        <p:spPr bwMode="auto">
          <a:xfrm>
            <a:off x="4074246" y="3858239"/>
            <a:ext cx="1003300" cy="175433"/>
          </a:xfrm>
          <a:prstGeom prst="rect">
            <a:avLst/>
          </a:prstGeom>
          <a:noFill/>
          <a:ln w="9525">
            <a:noFill/>
            <a:miter lim="800000"/>
            <a:headEnd/>
            <a:tailEnd/>
          </a:ln>
        </p:spPr>
        <p:txBody>
          <a:bodyPr lIns="0" tIns="0" rIns="0" bIns="0">
            <a:spAutoFit/>
          </a:bodyPr>
          <a:lstStyle/>
          <a:p>
            <a:pPr algn="ctr" defTabSz="787400">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680973" name="Rectangle 12"/>
          <p:cNvSpPr>
            <a:spLocks noChangeArrowheads="1"/>
          </p:cNvSpPr>
          <p:nvPr>
            <p:custDataLst>
              <p:tags r:id="rId5"/>
            </p:custDataLst>
          </p:nvPr>
        </p:nvSpPr>
        <p:spPr bwMode="auto">
          <a:xfrm>
            <a:off x="4237758" y="4464186"/>
            <a:ext cx="674688" cy="175433"/>
          </a:xfrm>
          <a:prstGeom prst="rect">
            <a:avLst/>
          </a:prstGeom>
          <a:noFill/>
          <a:ln w="9525">
            <a:noFill/>
            <a:miter lim="800000"/>
            <a:headEnd/>
            <a:tailEnd/>
          </a:ln>
        </p:spPr>
        <p:txBody>
          <a:bodyPr lIns="0" tIns="0" rIns="0" bIns="0">
            <a:spAutoFit/>
          </a:bodyPr>
          <a:lstStyle/>
          <a:p>
            <a:pPr algn="ctr" defTabSz="787400">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680974" name="Rectangle 13"/>
          <p:cNvSpPr>
            <a:spLocks noChangeArrowheads="1"/>
          </p:cNvSpPr>
          <p:nvPr>
            <p:custDataLst>
              <p:tags r:id="rId6"/>
            </p:custDataLst>
          </p:nvPr>
        </p:nvSpPr>
        <p:spPr bwMode="auto">
          <a:xfrm>
            <a:off x="4237758" y="5250630"/>
            <a:ext cx="674688" cy="175433"/>
          </a:xfrm>
          <a:prstGeom prst="rect">
            <a:avLst/>
          </a:prstGeom>
          <a:noFill/>
          <a:ln w="9525">
            <a:noFill/>
            <a:miter lim="800000"/>
            <a:headEnd/>
            <a:tailEnd/>
          </a:ln>
        </p:spPr>
        <p:txBody>
          <a:bodyPr lIns="0" tIns="0" rIns="0" bIns="0">
            <a:spAutoFit/>
          </a:bodyPr>
          <a:lstStyle/>
          <a:p>
            <a:pPr algn="ctr" defTabSz="787400">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17" name="Text Placeholder 12"/>
          <p:cNvSpPr>
            <a:spLocks/>
          </p:cNvSpPr>
          <p:nvPr>
            <p:custDataLst>
              <p:tags r:id="rId7"/>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9"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1985" name="Title 1"/>
          <p:cNvSpPr>
            <a:spLocks noGrp="1"/>
          </p:cNvSpPr>
          <p:nvPr>
            <p:ph type="title"/>
          </p:nvPr>
        </p:nvSpPr>
        <p:spPr>
          <a:xfrm>
            <a:off x="414338" y="446038"/>
            <a:ext cx="8330184" cy="333425"/>
          </a:xfrm>
        </p:spPr>
        <p:txBody>
          <a:bodyPr/>
          <a:lstStyle/>
          <a:p>
            <a:r>
              <a:rPr lang="nl-NL"/>
              <a:t>Spheres </a:t>
            </a:r>
            <a:r>
              <a:rPr lang="en-US"/>
              <a:t>—</a:t>
            </a:r>
            <a:r>
              <a:rPr lang="nl-NL" smtClean="0"/>
              <a:t> </a:t>
            </a:r>
            <a:r>
              <a:rPr lang="nl-NL"/>
              <a:t>spotlight and rollers</a:t>
            </a:r>
          </a:p>
        </p:txBody>
      </p:sp>
      <p:sp>
        <p:nvSpPr>
          <p:cNvPr id="4" name="Line 3"/>
          <p:cNvSpPr>
            <a:spLocks noChangeShapeType="1"/>
          </p:cNvSpPr>
          <p:nvPr/>
        </p:nvSpPr>
        <p:spPr bwMode="blackWhite">
          <a:xfrm flipH="1" flipV="1">
            <a:off x="1741303" y="2459038"/>
            <a:ext cx="518548" cy="1023937"/>
          </a:xfrm>
          <a:prstGeom prst="line">
            <a:avLst/>
          </a:prstGeom>
          <a:noFill/>
          <a:ln w="12700">
            <a:solidFill>
              <a:schemeClr val="accent3"/>
            </a:solidFill>
            <a:round/>
            <a:headEnd type="none" w="sm" len="sm"/>
            <a:tailEnd type="none" w="sm" len="sm"/>
          </a:ln>
        </p:spPr>
        <p:txBody>
          <a:bodyPr wrap="none" anchor="ctr"/>
          <a:lstStyle/>
          <a:p>
            <a:pPr>
              <a:defRPr/>
            </a:pPr>
            <a:endParaRPr lang="en-GB" sz="1400">
              <a:solidFill>
                <a:schemeClr val="bg1"/>
              </a:solidFill>
            </a:endParaRPr>
          </a:p>
        </p:txBody>
      </p:sp>
      <p:sp>
        <p:nvSpPr>
          <p:cNvPr id="5" name="Line 4"/>
          <p:cNvSpPr>
            <a:spLocks noChangeShapeType="1"/>
          </p:cNvSpPr>
          <p:nvPr/>
        </p:nvSpPr>
        <p:spPr bwMode="blackWhite">
          <a:xfrm flipV="1">
            <a:off x="2647488" y="3076575"/>
            <a:ext cx="1117006" cy="530225"/>
          </a:xfrm>
          <a:prstGeom prst="line">
            <a:avLst/>
          </a:prstGeom>
          <a:noFill/>
          <a:ln w="12700">
            <a:solidFill>
              <a:schemeClr val="accent3"/>
            </a:solidFill>
            <a:round/>
            <a:headEnd type="none" w="sm" len="sm"/>
            <a:tailEnd type="none" w="sm" len="sm"/>
          </a:ln>
        </p:spPr>
        <p:txBody>
          <a:bodyPr wrap="none" anchor="ctr"/>
          <a:lstStyle/>
          <a:p>
            <a:pPr>
              <a:defRPr/>
            </a:pPr>
            <a:endParaRPr lang="en-GB" sz="1400">
              <a:solidFill>
                <a:schemeClr val="bg1"/>
              </a:solidFill>
            </a:endParaRPr>
          </a:p>
        </p:txBody>
      </p:sp>
      <p:sp>
        <p:nvSpPr>
          <p:cNvPr id="6" name="Line 5"/>
          <p:cNvSpPr>
            <a:spLocks noChangeShapeType="1"/>
          </p:cNvSpPr>
          <p:nvPr/>
        </p:nvSpPr>
        <p:spPr bwMode="blackWhite">
          <a:xfrm flipH="1">
            <a:off x="1071440" y="3873500"/>
            <a:ext cx="1072801" cy="531813"/>
          </a:xfrm>
          <a:prstGeom prst="line">
            <a:avLst/>
          </a:prstGeom>
          <a:noFill/>
          <a:ln w="12700">
            <a:solidFill>
              <a:schemeClr val="accent3"/>
            </a:solidFill>
            <a:round/>
            <a:headEnd type="none" w="sm" len="sm"/>
            <a:tailEnd type="none" w="sm" len="sm"/>
          </a:ln>
        </p:spPr>
        <p:txBody>
          <a:bodyPr wrap="none" anchor="ctr"/>
          <a:lstStyle/>
          <a:p>
            <a:pPr>
              <a:defRPr/>
            </a:pPr>
            <a:endParaRPr lang="en-GB" sz="1400">
              <a:solidFill>
                <a:schemeClr val="bg1"/>
              </a:solidFill>
            </a:endParaRPr>
          </a:p>
        </p:txBody>
      </p:sp>
      <p:sp>
        <p:nvSpPr>
          <p:cNvPr id="7" name="Line 6"/>
          <p:cNvSpPr>
            <a:spLocks noChangeShapeType="1"/>
          </p:cNvSpPr>
          <p:nvPr/>
        </p:nvSpPr>
        <p:spPr bwMode="blackWhite">
          <a:xfrm flipV="1">
            <a:off x="2525077" y="2413000"/>
            <a:ext cx="561053" cy="1076325"/>
          </a:xfrm>
          <a:prstGeom prst="line">
            <a:avLst/>
          </a:prstGeom>
          <a:noFill/>
          <a:ln w="12700">
            <a:solidFill>
              <a:schemeClr val="accent3"/>
            </a:solidFill>
            <a:round/>
            <a:headEnd type="none" w="sm" len="sm"/>
            <a:tailEnd type="none" w="sm" len="sm"/>
          </a:ln>
        </p:spPr>
        <p:txBody>
          <a:bodyPr wrap="none" anchor="ctr"/>
          <a:lstStyle/>
          <a:p>
            <a:pPr>
              <a:defRPr/>
            </a:pPr>
            <a:endParaRPr lang="en-GB" sz="1400">
              <a:solidFill>
                <a:schemeClr val="bg1"/>
              </a:solidFill>
            </a:endParaRPr>
          </a:p>
        </p:txBody>
      </p:sp>
      <p:sp>
        <p:nvSpPr>
          <p:cNvPr id="8" name="Line 7"/>
          <p:cNvSpPr>
            <a:spLocks noChangeShapeType="1"/>
          </p:cNvSpPr>
          <p:nvPr/>
        </p:nvSpPr>
        <p:spPr bwMode="blackWhite">
          <a:xfrm>
            <a:off x="2513176" y="4003675"/>
            <a:ext cx="583155" cy="1093788"/>
          </a:xfrm>
          <a:prstGeom prst="line">
            <a:avLst/>
          </a:prstGeom>
          <a:noFill/>
          <a:ln w="12700">
            <a:solidFill>
              <a:schemeClr val="accent3"/>
            </a:solidFill>
            <a:round/>
            <a:headEnd type="none" w="sm" len="sm"/>
            <a:tailEnd type="none" w="sm" len="sm"/>
          </a:ln>
        </p:spPr>
        <p:txBody>
          <a:bodyPr wrap="none" anchor="ctr"/>
          <a:lstStyle/>
          <a:p>
            <a:pPr>
              <a:defRPr/>
            </a:pPr>
            <a:endParaRPr lang="en-GB" sz="1400">
              <a:solidFill>
                <a:schemeClr val="bg1"/>
              </a:solidFill>
            </a:endParaRPr>
          </a:p>
        </p:txBody>
      </p:sp>
      <p:sp>
        <p:nvSpPr>
          <p:cNvPr id="9" name="Line 8"/>
          <p:cNvSpPr>
            <a:spLocks noChangeShapeType="1"/>
          </p:cNvSpPr>
          <p:nvPr/>
        </p:nvSpPr>
        <p:spPr bwMode="blackWhite">
          <a:xfrm>
            <a:off x="2621987" y="3852863"/>
            <a:ext cx="1066000" cy="555625"/>
          </a:xfrm>
          <a:prstGeom prst="line">
            <a:avLst/>
          </a:prstGeom>
          <a:noFill/>
          <a:ln w="12700">
            <a:solidFill>
              <a:schemeClr val="accent3"/>
            </a:solidFill>
            <a:round/>
            <a:headEnd type="none" w="sm" len="sm"/>
            <a:tailEnd type="none" w="sm" len="sm"/>
          </a:ln>
        </p:spPr>
        <p:txBody>
          <a:bodyPr wrap="none" anchor="ctr"/>
          <a:lstStyle/>
          <a:p>
            <a:pPr>
              <a:defRPr/>
            </a:pPr>
            <a:endParaRPr lang="en-GB" sz="1400">
              <a:solidFill>
                <a:schemeClr val="bg1"/>
              </a:solidFill>
            </a:endParaRPr>
          </a:p>
        </p:txBody>
      </p:sp>
      <p:sp>
        <p:nvSpPr>
          <p:cNvPr id="10" name="Line 9"/>
          <p:cNvSpPr>
            <a:spLocks noChangeShapeType="1"/>
          </p:cNvSpPr>
          <p:nvPr/>
        </p:nvSpPr>
        <p:spPr bwMode="blackWhite">
          <a:xfrm flipH="1">
            <a:off x="1763405" y="3984625"/>
            <a:ext cx="550852" cy="1004888"/>
          </a:xfrm>
          <a:prstGeom prst="line">
            <a:avLst/>
          </a:prstGeom>
          <a:noFill/>
          <a:ln w="12700">
            <a:solidFill>
              <a:schemeClr val="accent3"/>
            </a:solidFill>
            <a:round/>
            <a:headEnd type="none" w="sm" len="sm"/>
            <a:tailEnd type="none" w="sm" len="sm"/>
          </a:ln>
        </p:spPr>
        <p:txBody>
          <a:bodyPr wrap="none" anchor="ctr"/>
          <a:lstStyle/>
          <a:p>
            <a:pPr>
              <a:defRPr/>
            </a:pPr>
            <a:endParaRPr lang="en-GB" sz="1400">
              <a:solidFill>
                <a:schemeClr val="bg1"/>
              </a:solidFill>
            </a:endParaRPr>
          </a:p>
        </p:txBody>
      </p:sp>
      <p:sp>
        <p:nvSpPr>
          <p:cNvPr id="11" name="Line 10"/>
          <p:cNvSpPr>
            <a:spLocks noChangeShapeType="1"/>
          </p:cNvSpPr>
          <p:nvPr/>
        </p:nvSpPr>
        <p:spPr bwMode="blackWhite">
          <a:xfrm flipH="1" flipV="1">
            <a:off x="1032336" y="3068638"/>
            <a:ext cx="1103405" cy="546100"/>
          </a:xfrm>
          <a:prstGeom prst="line">
            <a:avLst/>
          </a:prstGeom>
          <a:noFill/>
          <a:ln w="12700">
            <a:solidFill>
              <a:schemeClr val="accent3"/>
            </a:solidFill>
            <a:round/>
            <a:headEnd type="none" w="sm" len="sm"/>
            <a:tailEnd type="none" w="sm" len="sm"/>
          </a:ln>
        </p:spPr>
        <p:txBody>
          <a:bodyPr wrap="none" anchor="ctr"/>
          <a:lstStyle/>
          <a:p>
            <a:pPr>
              <a:defRPr/>
            </a:pPr>
            <a:endParaRPr lang="en-GB" sz="1400">
              <a:solidFill>
                <a:schemeClr val="bg1"/>
              </a:solidFill>
            </a:endParaRPr>
          </a:p>
        </p:txBody>
      </p:sp>
      <p:sp>
        <p:nvSpPr>
          <p:cNvPr id="12" name="Oval 11"/>
          <p:cNvSpPr>
            <a:spLocks noChangeArrowheads="1"/>
          </p:cNvSpPr>
          <p:nvPr/>
        </p:nvSpPr>
        <p:spPr bwMode="blackWhite">
          <a:xfrm>
            <a:off x="3024924" y="4357688"/>
            <a:ext cx="992894" cy="976312"/>
          </a:xfrm>
          <a:prstGeom prst="ellipse">
            <a:avLst/>
          </a:prstGeom>
          <a:solidFill>
            <a:schemeClr val="accent3"/>
          </a:solidFill>
          <a:ln w="12700">
            <a:solidFill>
              <a:schemeClr val="bg2"/>
            </a:solidFill>
            <a:round/>
            <a:headEnd/>
            <a:tailEnd/>
          </a:ln>
        </p:spPr>
        <p:txBody>
          <a:bodyPr wrap="none" anchor="ctr"/>
          <a:lstStyle/>
          <a:p>
            <a:pPr algn="ctr">
              <a:defRPr/>
            </a:pPr>
            <a:r>
              <a:rPr lang="en-GB" sz="1200" b="1">
                <a:solidFill>
                  <a:schemeClr val="bg1"/>
                </a:solidFill>
              </a:rPr>
              <a:t>Text</a:t>
            </a:r>
          </a:p>
        </p:txBody>
      </p:sp>
      <p:sp>
        <p:nvSpPr>
          <p:cNvPr id="681996" name="Oval 12"/>
          <p:cNvSpPr>
            <a:spLocks noChangeArrowheads="1"/>
          </p:cNvSpPr>
          <p:nvPr/>
        </p:nvSpPr>
        <p:spPr bwMode="blackWhite">
          <a:xfrm>
            <a:off x="2208847" y="3557588"/>
            <a:ext cx="374035" cy="369887"/>
          </a:xfrm>
          <a:prstGeom prst="ellipse">
            <a:avLst/>
          </a:prstGeom>
          <a:solidFill>
            <a:schemeClr val="accent3"/>
          </a:solidFill>
          <a:ln w="12700">
            <a:solidFill>
              <a:schemeClr val="bg1"/>
            </a:solidFill>
            <a:round/>
            <a:headEnd/>
            <a:tailEnd/>
          </a:ln>
        </p:spPr>
        <p:txBody>
          <a:bodyPr wrap="none" anchor="ctr"/>
          <a:lstStyle/>
          <a:p>
            <a:pPr algn="ctr"/>
            <a:endParaRPr lang="en-GB" sz="1400">
              <a:solidFill>
                <a:schemeClr val="bg1"/>
              </a:solidFill>
            </a:endParaRPr>
          </a:p>
        </p:txBody>
      </p:sp>
      <p:sp>
        <p:nvSpPr>
          <p:cNvPr id="14" name="Oval 13"/>
          <p:cNvSpPr>
            <a:spLocks noChangeArrowheads="1"/>
          </p:cNvSpPr>
          <p:nvPr/>
        </p:nvSpPr>
        <p:spPr bwMode="blackWhite">
          <a:xfrm>
            <a:off x="785813" y="2162175"/>
            <a:ext cx="992894" cy="976313"/>
          </a:xfrm>
          <a:prstGeom prst="ellipse">
            <a:avLst/>
          </a:prstGeom>
          <a:solidFill>
            <a:schemeClr val="accent3"/>
          </a:solidFill>
          <a:ln w="12700">
            <a:solidFill>
              <a:schemeClr val="bg2"/>
            </a:solidFill>
            <a:round/>
            <a:headEnd/>
            <a:tailEnd/>
          </a:ln>
        </p:spPr>
        <p:txBody>
          <a:bodyPr wrap="none" anchor="ctr"/>
          <a:lstStyle/>
          <a:p>
            <a:pPr algn="ctr">
              <a:defRPr/>
            </a:pPr>
            <a:r>
              <a:rPr lang="en-GB" sz="1200" b="1" dirty="0">
                <a:solidFill>
                  <a:schemeClr val="bg1"/>
                </a:solidFill>
              </a:rPr>
              <a:t>Text</a:t>
            </a:r>
          </a:p>
        </p:txBody>
      </p:sp>
      <p:sp>
        <p:nvSpPr>
          <p:cNvPr id="15" name="Oval 14"/>
          <p:cNvSpPr>
            <a:spLocks noChangeArrowheads="1"/>
          </p:cNvSpPr>
          <p:nvPr/>
        </p:nvSpPr>
        <p:spPr bwMode="blackWhite">
          <a:xfrm>
            <a:off x="3024924" y="2162175"/>
            <a:ext cx="992894" cy="976313"/>
          </a:xfrm>
          <a:prstGeom prst="ellipse">
            <a:avLst/>
          </a:prstGeom>
          <a:solidFill>
            <a:schemeClr val="accent3"/>
          </a:solidFill>
          <a:ln w="12700">
            <a:solidFill>
              <a:schemeClr val="bg2"/>
            </a:solidFill>
            <a:round/>
            <a:headEnd/>
            <a:tailEnd/>
          </a:ln>
        </p:spPr>
        <p:txBody>
          <a:bodyPr wrap="none" anchor="ctr"/>
          <a:lstStyle/>
          <a:p>
            <a:pPr algn="ctr">
              <a:defRPr/>
            </a:pPr>
            <a:r>
              <a:rPr lang="en-GB" sz="1200" b="1" dirty="0">
                <a:solidFill>
                  <a:schemeClr val="bg1"/>
                </a:solidFill>
              </a:rPr>
              <a:t>Text</a:t>
            </a:r>
          </a:p>
        </p:txBody>
      </p:sp>
      <p:sp>
        <p:nvSpPr>
          <p:cNvPr id="16" name="Oval 15"/>
          <p:cNvSpPr>
            <a:spLocks noChangeArrowheads="1"/>
          </p:cNvSpPr>
          <p:nvPr/>
        </p:nvSpPr>
        <p:spPr bwMode="blackWhite">
          <a:xfrm>
            <a:off x="785813" y="4357688"/>
            <a:ext cx="992894" cy="976312"/>
          </a:xfrm>
          <a:prstGeom prst="ellipse">
            <a:avLst/>
          </a:prstGeom>
          <a:solidFill>
            <a:schemeClr val="accent3"/>
          </a:solidFill>
          <a:ln w="12700">
            <a:solidFill>
              <a:schemeClr val="bg2"/>
            </a:solidFill>
            <a:round/>
            <a:headEnd/>
            <a:tailEnd/>
          </a:ln>
        </p:spPr>
        <p:txBody>
          <a:bodyPr wrap="none" anchor="ctr"/>
          <a:lstStyle/>
          <a:p>
            <a:pPr algn="ctr">
              <a:defRPr/>
            </a:pPr>
            <a:r>
              <a:rPr lang="en-GB" sz="1200" b="1">
                <a:solidFill>
                  <a:schemeClr val="bg1"/>
                </a:solidFill>
              </a:rPr>
              <a:t>Text</a:t>
            </a:r>
          </a:p>
        </p:txBody>
      </p:sp>
      <p:grpSp>
        <p:nvGrpSpPr>
          <p:cNvPr id="32" name="Group 31"/>
          <p:cNvGrpSpPr/>
          <p:nvPr/>
        </p:nvGrpSpPr>
        <p:grpSpPr>
          <a:xfrm>
            <a:off x="4770405" y="2359025"/>
            <a:ext cx="3998314" cy="2746375"/>
            <a:chOff x="4770405" y="2359025"/>
            <a:chExt cx="3998314" cy="2746375"/>
          </a:xfrm>
        </p:grpSpPr>
        <p:sp>
          <p:nvSpPr>
            <p:cNvPr id="17" name="Oval 16"/>
            <p:cNvSpPr>
              <a:spLocks noChangeArrowheads="1"/>
            </p:cNvSpPr>
            <p:nvPr/>
          </p:nvSpPr>
          <p:spPr bwMode="blackWhite">
            <a:xfrm>
              <a:off x="5047505" y="2986930"/>
              <a:ext cx="898178" cy="900112"/>
            </a:xfrm>
            <a:prstGeom prst="ellipse">
              <a:avLst/>
            </a:prstGeom>
            <a:solidFill>
              <a:schemeClr val="accent3"/>
            </a:solidFill>
            <a:ln w="12700">
              <a:solidFill>
                <a:schemeClr val="bg2"/>
              </a:solidFill>
              <a:round/>
              <a:headEnd/>
              <a:tailEnd/>
            </a:ln>
          </p:spPr>
          <p:txBody>
            <a:bodyPr wrap="none" anchor="ctr"/>
            <a:lstStyle/>
            <a:p>
              <a:pPr algn="ctr">
                <a:defRPr/>
              </a:pPr>
              <a:r>
                <a:rPr lang="en-GB" sz="1200" b="1" dirty="0">
                  <a:solidFill>
                    <a:schemeClr val="bg1"/>
                  </a:solidFill>
                </a:rPr>
                <a:t>Text</a:t>
              </a:r>
            </a:p>
          </p:txBody>
        </p:sp>
        <p:sp>
          <p:nvSpPr>
            <p:cNvPr id="18" name="Oval 17"/>
            <p:cNvSpPr>
              <a:spLocks noChangeArrowheads="1"/>
            </p:cNvSpPr>
            <p:nvPr/>
          </p:nvSpPr>
          <p:spPr bwMode="blackWhite">
            <a:xfrm>
              <a:off x="6181836" y="4092365"/>
              <a:ext cx="896465" cy="900112"/>
            </a:xfrm>
            <a:prstGeom prst="ellipse">
              <a:avLst/>
            </a:prstGeom>
            <a:solidFill>
              <a:schemeClr val="accent3"/>
            </a:solidFill>
            <a:ln w="12700">
              <a:solidFill>
                <a:schemeClr val="bg2"/>
              </a:solidFill>
              <a:round/>
              <a:headEnd/>
              <a:tailEnd/>
            </a:ln>
          </p:spPr>
          <p:txBody>
            <a:bodyPr wrap="none" anchor="ctr"/>
            <a:lstStyle/>
            <a:p>
              <a:pPr algn="ctr">
                <a:defRPr/>
              </a:pPr>
              <a:r>
                <a:rPr lang="en-GB" sz="1200" b="1">
                  <a:solidFill>
                    <a:schemeClr val="bg1"/>
                  </a:solidFill>
                </a:rPr>
                <a:t>Text</a:t>
              </a:r>
            </a:p>
          </p:txBody>
        </p:sp>
        <p:sp>
          <p:nvSpPr>
            <p:cNvPr id="19" name="Oval 18"/>
            <p:cNvSpPr>
              <a:spLocks noChangeArrowheads="1"/>
            </p:cNvSpPr>
            <p:nvPr/>
          </p:nvSpPr>
          <p:spPr bwMode="blackWhite">
            <a:xfrm>
              <a:off x="7305551" y="2471470"/>
              <a:ext cx="898178" cy="900113"/>
            </a:xfrm>
            <a:prstGeom prst="ellipse">
              <a:avLst/>
            </a:prstGeom>
            <a:solidFill>
              <a:schemeClr val="accent3"/>
            </a:solidFill>
            <a:ln w="12700">
              <a:solidFill>
                <a:schemeClr val="bg2"/>
              </a:solidFill>
              <a:round/>
              <a:headEnd/>
              <a:tailEnd/>
            </a:ln>
          </p:spPr>
          <p:txBody>
            <a:bodyPr wrap="none" anchor="ctr"/>
            <a:lstStyle/>
            <a:p>
              <a:pPr algn="ctr">
                <a:defRPr/>
              </a:pPr>
              <a:r>
                <a:rPr lang="en-GB" sz="1200" b="1" dirty="0">
                  <a:solidFill>
                    <a:schemeClr val="bg1"/>
                  </a:solidFill>
                </a:rPr>
                <a:t>Text</a:t>
              </a:r>
            </a:p>
          </p:txBody>
        </p:sp>
        <p:sp>
          <p:nvSpPr>
            <p:cNvPr id="21" name="Arc 20"/>
            <p:cNvSpPr>
              <a:spLocks/>
            </p:cNvSpPr>
            <p:nvPr/>
          </p:nvSpPr>
          <p:spPr bwMode="auto">
            <a:xfrm>
              <a:off x="5484580" y="2867025"/>
              <a:ext cx="580769" cy="608013"/>
            </a:xfrm>
            <a:custGeom>
              <a:avLst/>
              <a:gdLst>
                <a:gd name="T0" fmla="*/ 0 w 21646"/>
                <a:gd name="T1" fmla="*/ 0 h 21600"/>
                <a:gd name="T2" fmla="*/ 0 w 21646"/>
                <a:gd name="T3" fmla="*/ 0 h 21600"/>
                <a:gd name="T4" fmla="*/ 0 w 21646"/>
                <a:gd name="T5" fmla="*/ 0 h 21600"/>
                <a:gd name="T6" fmla="*/ 0 60000 65536"/>
                <a:gd name="T7" fmla="*/ 0 60000 65536"/>
                <a:gd name="T8" fmla="*/ 0 60000 65536"/>
                <a:gd name="T9" fmla="*/ 0 w 21646"/>
                <a:gd name="T10" fmla="*/ 0 h 21600"/>
                <a:gd name="T11" fmla="*/ 21646 w 21646"/>
                <a:gd name="T12" fmla="*/ 21600 h 21600"/>
              </a:gdLst>
              <a:ahLst/>
              <a:cxnLst>
                <a:cxn ang="T6">
                  <a:pos x="T0" y="T1"/>
                </a:cxn>
                <a:cxn ang="T7">
                  <a:pos x="T2" y="T3"/>
                </a:cxn>
                <a:cxn ang="T8">
                  <a:pos x="T4" y="T5"/>
                </a:cxn>
              </a:cxnLst>
              <a:rect l="T9" t="T10" r="T11" b="T12"/>
              <a:pathLst>
                <a:path w="21646" h="21600" fill="none" extrusionOk="0">
                  <a:moveTo>
                    <a:pt x="0" y="0"/>
                  </a:moveTo>
                  <a:cubicBezTo>
                    <a:pt x="17" y="0"/>
                    <a:pt x="35" y="-1"/>
                    <a:pt x="53" y="0"/>
                  </a:cubicBezTo>
                  <a:cubicBezTo>
                    <a:pt x="11761" y="0"/>
                    <a:pt x="21337" y="9327"/>
                    <a:pt x="21645" y="21032"/>
                  </a:cubicBezTo>
                </a:path>
                <a:path w="21646" h="21600" stroke="0" extrusionOk="0">
                  <a:moveTo>
                    <a:pt x="0" y="0"/>
                  </a:moveTo>
                  <a:cubicBezTo>
                    <a:pt x="17" y="0"/>
                    <a:pt x="35" y="-1"/>
                    <a:pt x="53" y="0"/>
                  </a:cubicBezTo>
                  <a:cubicBezTo>
                    <a:pt x="11761" y="0"/>
                    <a:pt x="21337" y="9327"/>
                    <a:pt x="21645" y="21032"/>
                  </a:cubicBezTo>
                  <a:lnTo>
                    <a:pt x="53" y="21600"/>
                  </a:lnTo>
                  <a:close/>
                </a:path>
              </a:pathLst>
            </a:custGeom>
            <a:noFill/>
            <a:ln w="19050" cap="rnd">
              <a:solidFill>
                <a:schemeClr val="accent3"/>
              </a:solidFill>
              <a:round/>
              <a:headEnd type="none" w="sm" len="sm"/>
              <a:tailEnd type="none" w="sm" len="sm"/>
            </a:ln>
          </p:spPr>
          <p:txBody>
            <a:bodyPr wrap="none" anchor="ctr"/>
            <a:lstStyle/>
            <a:p>
              <a:pPr algn="ctr">
                <a:defRPr/>
              </a:pPr>
              <a:endParaRPr lang="en-GB" sz="1400">
                <a:solidFill>
                  <a:schemeClr val="bg1"/>
                </a:solidFill>
              </a:endParaRPr>
            </a:p>
          </p:txBody>
        </p:sp>
        <p:sp>
          <p:nvSpPr>
            <p:cNvPr id="22" name="Line 21"/>
            <p:cNvSpPr>
              <a:spLocks noChangeShapeType="1"/>
            </p:cNvSpPr>
            <p:nvPr/>
          </p:nvSpPr>
          <p:spPr bwMode="auto">
            <a:xfrm flipH="1">
              <a:off x="4770405" y="2867819"/>
              <a:ext cx="726372" cy="0"/>
            </a:xfrm>
            <a:prstGeom prst="line">
              <a:avLst/>
            </a:prstGeom>
            <a:noFill/>
            <a:ln w="19050">
              <a:solidFill>
                <a:schemeClr val="accent3"/>
              </a:solidFill>
              <a:round/>
              <a:headEnd type="none" w="sm" len="sm"/>
              <a:tailEnd type="none" w="sm" len="sm"/>
            </a:ln>
          </p:spPr>
          <p:txBody>
            <a:bodyPr wrap="none" anchor="ctr"/>
            <a:lstStyle/>
            <a:p>
              <a:pPr>
                <a:defRPr/>
              </a:pPr>
              <a:endParaRPr lang="en-GB" sz="1400">
                <a:solidFill>
                  <a:schemeClr val="bg1"/>
                </a:solidFill>
              </a:endParaRPr>
            </a:p>
          </p:txBody>
        </p:sp>
        <p:sp>
          <p:nvSpPr>
            <p:cNvPr id="23" name="Arc 22"/>
            <p:cNvSpPr>
              <a:spLocks/>
            </p:cNvSpPr>
            <p:nvPr/>
          </p:nvSpPr>
          <p:spPr bwMode="auto">
            <a:xfrm>
              <a:off x="6066094" y="4506913"/>
              <a:ext cx="1119005" cy="598487"/>
            </a:xfrm>
            <a:custGeom>
              <a:avLst/>
              <a:gdLst>
                <a:gd name="T0" fmla="*/ 0 w 43200"/>
                <a:gd name="T1" fmla="*/ 0 h 21705"/>
                <a:gd name="T2" fmla="*/ 0 w 43200"/>
                <a:gd name="T3" fmla="*/ 0 h 21705"/>
                <a:gd name="T4" fmla="*/ 0 w 43200"/>
                <a:gd name="T5" fmla="*/ 0 h 21705"/>
                <a:gd name="T6" fmla="*/ 0 60000 65536"/>
                <a:gd name="T7" fmla="*/ 0 60000 65536"/>
                <a:gd name="T8" fmla="*/ 0 60000 65536"/>
                <a:gd name="T9" fmla="*/ 0 w 43200"/>
                <a:gd name="T10" fmla="*/ 0 h 21705"/>
                <a:gd name="T11" fmla="*/ 43200 w 43200"/>
                <a:gd name="T12" fmla="*/ 21705 h 21705"/>
              </a:gdLst>
              <a:ahLst/>
              <a:cxnLst>
                <a:cxn ang="T6">
                  <a:pos x="T0" y="T1"/>
                </a:cxn>
                <a:cxn ang="T7">
                  <a:pos x="T2" y="T3"/>
                </a:cxn>
                <a:cxn ang="T8">
                  <a:pos x="T4" y="T5"/>
                </a:cxn>
              </a:cxnLst>
              <a:rect l="T9" t="T10" r="T11" b="T12"/>
              <a:pathLst>
                <a:path w="43200" h="21705" fill="none"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path>
                <a:path w="43200" h="21705" stroke="0"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lnTo>
                    <a:pt x="21600" y="105"/>
                  </a:lnTo>
                  <a:close/>
                </a:path>
              </a:pathLst>
            </a:custGeom>
            <a:noFill/>
            <a:ln w="19050" cap="rnd">
              <a:solidFill>
                <a:schemeClr val="accent3"/>
              </a:solidFill>
              <a:round/>
              <a:headEnd type="none" w="sm" len="sm"/>
              <a:tailEnd type="none" w="sm" len="sm"/>
            </a:ln>
          </p:spPr>
          <p:txBody>
            <a:bodyPr wrap="none" anchor="ctr"/>
            <a:lstStyle/>
            <a:p>
              <a:pPr algn="ctr">
                <a:defRPr/>
              </a:pPr>
              <a:endParaRPr lang="en-GB" sz="1400">
                <a:solidFill>
                  <a:schemeClr val="bg1"/>
                </a:solidFill>
              </a:endParaRPr>
            </a:p>
          </p:txBody>
        </p:sp>
        <p:sp>
          <p:nvSpPr>
            <p:cNvPr id="24" name="Line 23"/>
            <p:cNvSpPr>
              <a:spLocks noChangeShapeType="1"/>
            </p:cNvSpPr>
            <p:nvPr/>
          </p:nvSpPr>
          <p:spPr bwMode="auto">
            <a:xfrm flipV="1">
              <a:off x="6065349" y="3443288"/>
              <a:ext cx="0" cy="1073150"/>
            </a:xfrm>
            <a:prstGeom prst="line">
              <a:avLst/>
            </a:prstGeom>
            <a:noFill/>
            <a:ln w="19050">
              <a:solidFill>
                <a:schemeClr val="accent3"/>
              </a:solidFill>
              <a:round/>
              <a:headEnd type="none" w="sm" len="sm"/>
              <a:tailEnd type="none" w="sm" len="sm"/>
            </a:ln>
          </p:spPr>
          <p:txBody>
            <a:bodyPr wrap="none" anchor="ctr"/>
            <a:lstStyle/>
            <a:p>
              <a:pPr>
                <a:defRPr/>
              </a:pPr>
              <a:endParaRPr lang="en-GB" sz="1400">
                <a:solidFill>
                  <a:schemeClr val="bg1"/>
                </a:solidFill>
              </a:endParaRPr>
            </a:p>
          </p:txBody>
        </p:sp>
        <p:sp>
          <p:nvSpPr>
            <p:cNvPr id="25" name="Line 24"/>
            <p:cNvSpPr>
              <a:spLocks noChangeShapeType="1"/>
            </p:cNvSpPr>
            <p:nvPr/>
          </p:nvSpPr>
          <p:spPr bwMode="auto">
            <a:xfrm flipV="1">
              <a:off x="7185099" y="2962275"/>
              <a:ext cx="0" cy="1565275"/>
            </a:xfrm>
            <a:prstGeom prst="line">
              <a:avLst/>
            </a:prstGeom>
            <a:noFill/>
            <a:ln w="19050">
              <a:solidFill>
                <a:schemeClr val="accent3"/>
              </a:solidFill>
              <a:round/>
              <a:headEnd type="none" w="sm" len="sm"/>
              <a:tailEnd type="none" w="sm" len="sm"/>
            </a:ln>
          </p:spPr>
          <p:txBody>
            <a:bodyPr wrap="none" anchor="ctr"/>
            <a:lstStyle/>
            <a:p>
              <a:pPr>
                <a:defRPr/>
              </a:pPr>
              <a:endParaRPr lang="en-GB" sz="1400">
                <a:solidFill>
                  <a:schemeClr val="bg1"/>
                </a:solidFill>
              </a:endParaRPr>
            </a:p>
          </p:txBody>
        </p:sp>
        <p:sp>
          <p:nvSpPr>
            <p:cNvPr id="26" name="Arc 25"/>
            <p:cNvSpPr>
              <a:spLocks/>
            </p:cNvSpPr>
            <p:nvPr/>
          </p:nvSpPr>
          <p:spPr bwMode="auto">
            <a:xfrm>
              <a:off x="7184354" y="2359025"/>
              <a:ext cx="580770" cy="60483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548"/>
                  </a:moveTo>
                  <a:cubicBezTo>
                    <a:pt x="28" y="9659"/>
                    <a:pt x="9658" y="29"/>
                    <a:pt x="21547" y="0"/>
                  </a:cubicBezTo>
                </a:path>
                <a:path w="21600" h="21600" stroke="0" extrusionOk="0">
                  <a:moveTo>
                    <a:pt x="0" y="21548"/>
                  </a:moveTo>
                  <a:cubicBezTo>
                    <a:pt x="28" y="9659"/>
                    <a:pt x="9658" y="29"/>
                    <a:pt x="21547" y="0"/>
                  </a:cubicBezTo>
                  <a:lnTo>
                    <a:pt x="21600" y="21600"/>
                  </a:lnTo>
                  <a:close/>
                </a:path>
              </a:pathLst>
            </a:custGeom>
            <a:noFill/>
            <a:ln w="19050" cap="rnd">
              <a:solidFill>
                <a:schemeClr val="accent3"/>
              </a:solidFill>
              <a:round/>
              <a:headEnd type="none" w="sm" len="sm"/>
              <a:tailEnd type="none" w="sm" len="sm"/>
            </a:ln>
          </p:spPr>
          <p:txBody>
            <a:bodyPr wrap="none" anchor="ctr"/>
            <a:lstStyle/>
            <a:p>
              <a:pPr algn="ctr">
                <a:defRPr/>
              </a:pPr>
              <a:endParaRPr lang="en-GB" sz="1400">
                <a:solidFill>
                  <a:schemeClr val="bg1"/>
                </a:solidFill>
              </a:endParaRPr>
            </a:p>
          </p:txBody>
        </p:sp>
        <p:sp>
          <p:nvSpPr>
            <p:cNvPr id="27" name="Line 26"/>
            <p:cNvSpPr>
              <a:spLocks noChangeShapeType="1"/>
            </p:cNvSpPr>
            <p:nvPr/>
          </p:nvSpPr>
          <p:spPr bwMode="auto">
            <a:xfrm flipH="1">
              <a:off x="7759324" y="2360086"/>
              <a:ext cx="1009395" cy="0"/>
            </a:xfrm>
            <a:prstGeom prst="line">
              <a:avLst/>
            </a:prstGeom>
            <a:noFill/>
            <a:ln w="19050">
              <a:solidFill>
                <a:schemeClr val="accent3"/>
              </a:solidFill>
              <a:round/>
              <a:headEnd type="none" w="sm" len="sm"/>
              <a:tailEnd type="none" w="sm" len="sm"/>
            </a:ln>
          </p:spPr>
          <p:txBody>
            <a:bodyPr wrap="none" anchor="ctr"/>
            <a:lstStyle/>
            <a:p>
              <a:pPr>
                <a:defRPr/>
              </a:pPr>
              <a:endParaRPr lang="en-GB" sz="1400">
                <a:solidFill>
                  <a:schemeClr val="bg1"/>
                </a:solidFill>
              </a:endParaRPr>
            </a:p>
          </p:txBody>
        </p:sp>
      </p:grpSp>
      <p:sp>
        <p:nvSpPr>
          <p:cNvPr id="30"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1" name="Text Placeholder 12"/>
          <p:cNvSpPr>
            <a:spLocks/>
          </p:cNvSpPr>
          <p:nvPr>
            <p:custDataLst>
              <p:tags r:id="rId2"/>
            </p:custDataLst>
          </p:nvPr>
        </p:nvSpPr>
        <p:spPr bwMode="auto">
          <a:xfrm>
            <a:off x="4854531"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3009" name="Title 1"/>
          <p:cNvSpPr>
            <a:spLocks noGrp="1"/>
          </p:cNvSpPr>
          <p:nvPr>
            <p:ph type="title"/>
          </p:nvPr>
        </p:nvSpPr>
        <p:spPr>
          <a:xfrm>
            <a:off x="414338" y="446038"/>
            <a:ext cx="8330184" cy="333425"/>
          </a:xfrm>
        </p:spPr>
        <p:txBody>
          <a:bodyPr/>
          <a:lstStyle/>
          <a:p>
            <a:r>
              <a:rPr lang="nl-NL"/>
              <a:t>Spheres </a:t>
            </a:r>
            <a:r>
              <a:rPr lang="en-US"/>
              <a:t>—</a:t>
            </a:r>
            <a:r>
              <a:rPr lang="nl-NL" smtClean="0"/>
              <a:t> </a:t>
            </a:r>
            <a:r>
              <a:rPr lang="nl-NL"/>
              <a:t>closed loop</a:t>
            </a:r>
          </a:p>
        </p:txBody>
      </p:sp>
      <p:sp>
        <p:nvSpPr>
          <p:cNvPr id="15" name="Arc 3"/>
          <p:cNvSpPr>
            <a:spLocks/>
          </p:cNvSpPr>
          <p:nvPr/>
        </p:nvSpPr>
        <p:spPr bwMode="auto">
          <a:xfrm>
            <a:off x="4500563" y="2043113"/>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12700">
            <a:solidFill>
              <a:schemeClr val="tx2"/>
            </a:solidFill>
            <a:round/>
            <a:headEnd/>
            <a:tailEnd type="triangle" w="med" len="med"/>
          </a:ln>
        </p:spPr>
        <p:txBody>
          <a:bodyPr wrap="none" lIns="0" tIns="0" rIns="0" bIns="0" anchor="ctr"/>
          <a:lstStyle/>
          <a:p>
            <a:pPr algn="ctr">
              <a:defRPr/>
            </a:pPr>
            <a:endParaRPr lang="en-GB" sz="1400">
              <a:solidFill>
                <a:schemeClr val="bg1"/>
              </a:solidFill>
            </a:endParaRPr>
          </a:p>
        </p:txBody>
      </p:sp>
      <p:sp>
        <p:nvSpPr>
          <p:cNvPr id="17" name="Arc 4"/>
          <p:cNvSpPr>
            <a:spLocks/>
          </p:cNvSpPr>
          <p:nvPr/>
        </p:nvSpPr>
        <p:spPr bwMode="auto">
          <a:xfrm flipV="1">
            <a:off x="4500563" y="3844925"/>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12700">
            <a:solidFill>
              <a:schemeClr val="tx2"/>
            </a:solidFill>
            <a:round/>
            <a:headEnd type="triangle" w="med" len="med"/>
            <a:tailEnd/>
          </a:ln>
        </p:spPr>
        <p:txBody>
          <a:bodyPr rot="10800000" wrap="none" lIns="0" tIns="0" rIns="0" bIns="0" anchor="ctr"/>
          <a:lstStyle/>
          <a:p>
            <a:pPr algn="ctr">
              <a:defRPr/>
            </a:pPr>
            <a:endParaRPr lang="en-GB" sz="1400">
              <a:solidFill>
                <a:schemeClr val="bg1"/>
              </a:solidFill>
            </a:endParaRPr>
          </a:p>
        </p:txBody>
      </p:sp>
      <p:sp>
        <p:nvSpPr>
          <p:cNvPr id="18" name="Arc 5"/>
          <p:cNvSpPr>
            <a:spLocks/>
          </p:cNvSpPr>
          <p:nvPr/>
        </p:nvSpPr>
        <p:spPr bwMode="auto">
          <a:xfrm rot="364299" flipV="1">
            <a:off x="4230906" y="4003675"/>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12700">
            <a:solidFill>
              <a:schemeClr val="tx2"/>
            </a:solidFill>
            <a:round/>
            <a:headEnd type="triangle" w="med" len="med"/>
            <a:tailEnd/>
          </a:ln>
        </p:spPr>
        <p:txBody>
          <a:bodyPr rot="10800000" wrap="none" lIns="0" tIns="0" rIns="0" bIns="0" anchor="ctr"/>
          <a:lstStyle/>
          <a:p>
            <a:pPr algn="ctr">
              <a:defRPr/>
            </a:pPr>
            <a:endParaRPr lang="en-GB" sz="1400">
              <a:solidFill>
                <a:schemeClr val="bg1"/>
              </a:solidFill>
            </a:endParaRPr>
          </a:p>
        </p:txBody>
      </p:sp>
      <p:sp>
        <p:nvSpPr>
          <p:cNvPr id="19" name="Arc 6"/>
          <p:cNvSpPr>
            <a:spLocks/>
          </p:cNvSpPr>
          <p:nvPr/>
        </p:nvSpPr>
        <p:spPr bwMode="auto">
          <a:xfrm flipH="1" flipV="1">
            <a:off x="2257425" y="3844925"/>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12700">
            <a:solidFill>
              <a:schemeClr val="tx2"/>
            </a:solidFill>
            <a:round/>
            <a:headEnd/>
            <a:tailEnd type="triangle" w="med" len="med"/>
          </a:ln>
        </p:spPr>
        <p:txBody>
          <a:bodyPr rot="10800000" wrap="none" lIns="0" tIns="0" rIns="0" bIns="0" anchor="ctr"/>
          <a:lstStyle/>
          <a:p>
            <a:pPr algn="ctr">
              <a:defRPr/>
            </a:pPr>
            <a:endParaRPr lang="en-GB" sz="1400">
              <a:solidFill>
                <a:schemeClr val="bg1"/>
              </a:solidFill>
            </a:endParaRPr>
          </a:p>
        </p:txBody>
      </p:sp>
      <p:sp>
        <p:nvSpPr>
          <p:cNvPr id="20" name="Arc 7"/>
          <p:cNvSpPr>
            <a:spLocks/>
          </p:cNvSpPr>
          <p:nvPr/>
        </p:nvSpPr>
        <p:spPr bwMode="auto">
          <a:xfrm flipH="1">
            <a:off x="2224088" y="2185988"/>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12700">
            <a:solidFill>
              <a:schemeClr val="tx2"/>
            </a:solidFill>
            <a:round/>
            <a:headEnd type="triangle" w="med" len="med"/>
            <a:tailEnd/>
          </a:ln>
        </p:spPr>
        <p:txBody>
          <a:bodyPr wrap="none" lIns="0" tIns="0" rIns="0" bIns="0" anchor="ctr"/>
          <a:lstStyle/>
          <a:p>
            <a:pPr algn="ctr">
              <a:defRPr/>
            </a:pPr>
            <a:endParaRPr lang="en-GB" sz="1400">
              <a:solidFill>
                <a:schemeClr val="bg1"/>
              </a:solidFill>
            </a:endParaRPr>
          </a:p>
        </p:txBody>
      </p:sp>
      <p:sp>
        <p:nvSpPr>
          <p:cNvPr id="21" name="Oval 8"/>
          <p:cNvSpPr>
            <a:spLocks noChangeArrowheads="1"/>
          </p:cNvSpPr>
          <p:nvPr/>
        </p:nvSpPr>
        <p:spPr bwMode="auto">
          <a:xfrm>
            <a:off x="5140325" y="4754563"/>
            <a:ext cx="1743075" cy="1238250"/>
          </a:xfrm>
          <a:prstGeom prst="ellipse">
            <a:avLst/>
          </a:prstGeom>
          <a:solidFill>
            <a:schemeClr val="accent3"/>
          </a:solidFill>
          <a:ln w="12700" algn="ctr">
            <a:solidFill>
              <a:schemeClr val="accent3"/>
            </a:solidFill>
            <a:round/>
            <a:headEnd/>
            <a:tailEnd/>
          </a:ln>
        </p:spPr>
        <p:txBody>
          <a:bodyPr lIns="0" tIns="0" rIns="0" bIns="0" anchor="ctr"/>
          <a:lstStyle/>
          <a:p>
            <a:pPr algn="ctr">
              <a:lnSpc>
                <a:spcPct val="95000"/>
              </a:lnSpc>
              <a:defRPr/>
            </a:pPr>
            <a:r>
              <a:rPr lang="en-GB" sz="1400" b="1">
                <a:solidFill>
                  <a:schemeClr val="bg1"/>
                </a:solidFill>
                <a:ea typeface="ＭＳ Ｐゴシック" pitchFamily="50" charset="-128"/>
              </a:rPr>
              <a:t>Text</a:t>
            </a:r>
          </a:p>
        </p:txBody>
      </p:sp>
      <p:sp>
        <p:nvSpPr>
          <p:cNvPr id="32" name="Oval 9"/>
          <p:cNvSpPr>
            <a:spLocks noChangeArrowheads="1"/>
          </p:cNvSpPr>
          <p:nvPr/>
        </p:nvSpPr>
        <p:spPr bwMode="auto">
          <a:xfrm>
            <a:off x="1557338" y="3013075"/>
            <a:ext cx="1738312" cy="1235075"/>
          </a:xfrm>
          <a:prstGeom prst="ellipse">
            <a:avLst/>
          </a:prstGeom>
          <a:solidFill>
            <a:schemeClr val="accent3"/>
          </a:solidFill>
          <a:ln w="12700" algn="ctr">
            <a:solidFill>
              <a:schemeClr val="accent3"/>
            </a:solidFill>
            <a:round/>
            <a:headEnd/>
            <a:tailEnd/>
          </a:ln>
        </p:spPr>
        <p:txBody>
          <a:bodyPr lIns="0" tIns="0" rIns="0" bIns="0" anchor="ctr"/>
          <a:lstStyle/>
          <a:p>
            <a:pPr algn="ctr">
              <a:lnSpc>
                <a:spcPct val="95000"/>
              </a:lnSpc>
              <a:defRPr/>
            </a:pPr>
            <a:r>
              <a:rPr lang="en-GB" sz="1400" b="1">
                <a:solidFill>
                  <a:schemeClr val="bg1"/>
                </a:solidFill>
                <a:ea typeface="ＭＳ Ｐゴシック" pitchFamily="50" charset="-128"/>
              </a:rPr>
              <a:t>Text</a:t>
            </a:r>
          </a:p>
        </p:txBody>
      </p:sp>
      <p:sp>
        <p:nvSpPr>
          <p:cNvPr id="33" name="Oval 10"/>
          <p:cNvSpPr>
            <a:spLocks noChangeArrowheads="1"/>
          </p:cNvSpPr>
          <p:nvPr/>
        </p:nvSpPr>
        <p:spPr bwMode="auto">
          <a:xfrm>
            <a:off x="2516188" y="4754563"/>
            <a:ext cx="1738312" cy="1238250"/>
          </a:xfrm>
          <a:prstGeom prst="ellipse">
            <a:avLst/>
          </a:prstGeom>
          <a:solidFill>
            <a:schemeClr val="accent3"/>
          </a:solidFill>
          <a:ln w="12700" algn="ctr">
            <a:solidFill>
              <a:schemeClr val="accent3"/>
            </a:solidFill>
            <a:round/>
            <a:headEnd/>
            <a:tailEnd/>
          </a:ln>
        </p:spPr>
        <p:txBody>
          <a:bodyPr lIns="0" tIns="0" rIns="0" bIns="0" anchor="ctr"/>
          <a:lstStyle/>
          <a:p>
            <a:pPr algn="ctr">
              <a:lnSpc>
                <a:spcPct val="95000"/>
              </a:lnSpc>
              <a:defRPr/>
            </a:pPr>
            <a:r>
              <a:rPr lang="en-GB" sz="1400" b="1">
                <a:solidFill>
                  <a:schemeClr val="bg1"/>
                </a:solidFill>
                <a:ea typeface="ＭＳ Ｐゴシック" pitchFamily="50" charset="-128"/>
              </a:rPr>
              <a:t>Text</a:t>
            </a:r>
          </a:p>
        </p:txBody>
      </p:sp>
      <p:sp>
        <p:nvSpPr>
          <p:cNvPr id="34" name="Oval 11"/>
          <p:cNvSpPr>
            <a:spLocks noChangeArrowheads="1"/>
          </p:cNvSpPr>
          <p:nvPr/>
        </p:nvSpPr>
        <p:spPr bwMode="auto">
          <a:xfrm>
            <a:off x="5780088" y="3013075"/>
            <a:ext cx="1744662" cy="1235075"/>
          </a:xfrm>
          <a:prstGeom prst="ellipse">
            <a:avLst/>
          </a:prstGeom>
          <a:solidFill>
            <a:schemeClr val="accent3"/>
          </a:solidFill>
          <a:ln w="12700" algn="ctr">
            <a:solidFill>
              <a:schemeClr val="accent3"/>
            </a:solidFill>
            <a:round/>
            <a:headEnd/>
            <a:tailEnd/>
          </a:ln>
        </p:spPr>
        <p:txBody>
          <a:bodyPr lIns="0" tIns="0" rIns="0" bIns="0" anchor="ctr"/>
          <a:lstStyle/>
          <a:p>
            <a:pPr algn="ctr">
              <a:lnSpc>
                <a:spcPct val="95000"/>
              </a:lnSpc>
              <a:defRPr/>
            </a:pPr>
            <a:r>
              <a:rPr lang="en-GB" sz="1400" b="1">
                <a:solidFill>
                  <a:schemeClr val="bg1"/>
                </a:solidFill>
                <a:ea typeface="ＭＳ Ｐゴシック" pitchFamily="50" charset="-128"/>
              </a:rPr>
              <a:t>Text</a:t>
            </a:r>
          </a:p>
        </p:txBody>
      </p:sp>
      <p:sp>
        <p:nvSpPr>
          <p:cNvPr id="35" name="Oval 12"/>
          <p:cNvSpPr>
            <a:spLocks noChangeArrowheads="1"/>
          </p:cNvSpPr>
          <p:nvPr/>
        </p:nvSpPr>
        <p:spPr bwMode="auto">
          <a:xfrm>
            <a:off x="3629025" y="1557338"/>
            <a:ext cx="1739900" cy="1189037"/>
          </a:xfrm>
          <a:prstGeom prst="ellipse">
            <a:avLst/>
          </a:prstGeom>
          <a:solidFill>
            <a:schemeClr val="accent3"/>
          </a:solidFill>
          <a:ln w="12700" algn="ctr">
            <a:solidFill>
              <a:schemeClr val="accent3"/>
            </a:solidFill>
            <a:round/>
            <a:headEnd/>
            <a:tailEnd/>
          </a:ln>
        </p:spPr>
        <p:txBody>
          <a:bodyPr lIns="0" tIns="0" rIns="0" bIns="0" anchor="ctr"/>
          <a:lstStyle/>
          <a:p>
            <a:pPr algn="ctr">
              <a:lnSpc>
                <a:spcPct val="95000"/>
              </a:lnSpc>
              <a:defRPr/>
            </a:pPr>
            <a:r>
              <a:rPr lang="en-GB" sz="1400" b="1">
                <a:solidFill>
                  <a:schemeClr val="bg1"/>
                </a:solidFill>
                <a:ea typeface="ＭＳ Ｐゴシック" pitchFamily="50" charset="-128"/>
              </a:rPr>
              <a:t>Text</a:t>
            </a:r>
          </a:p>
        </p:txBody>
      </p:sp>
      <p:sp>
        <p:nvSpPr>
          <p:cNvPr id="22"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4033" name="Title 1"/>
          <p:cNvSpPr>
            <a:spLocks noGrp="1"/>
          </p:cNvSpPr>
          <p:nvPr>
            <p:ph type="title"/>
          </p:nvPr>
        </p:nvSpPr>
        <p:spPr>
          <a:xfrm>
            <a:off x="414338" y="446038"/>
            <a:ext cx="8330184" cy="333425"/>
          </a:xfrm>
        </p:spPr>
        <p:txBody>
          <a:bodyPr/>
          <a:lstStyle/>
          <a:p>
            <a:r>
              <a:rPr lang="nl-NL"/>
              <a:t>Spheres </a:t>
            </a:r>
            <a:r>
              <a:rPr lang="en-US"/>
              <a:t>—</a:t>
            </a:r>
            <a:r>
              <a:rPr lang="nl-NL" smtClean="0"/>
              <a:t> </a:t>
            </a:r>
            <a:r>
              <a:rPr lang="nl-NL"/>
              <a:t>two around</a:t>
            </a:r>
          </a:p>
        </p:txBody>
      </p:sp>
      <p:sp>
        <p:nvSpPr>
          <p:cNvPr id="10" name="AutoShape 3"/>
          <p:cNvSpPr>
            <a:spLocks noChangeArrowheads="1"/>
          </p:cNvSpPr>
          <p:nvPr/>
        </p:nvSpPr>
        <p:spPr bwMode="blackWhite">
          <a:xfrm flipV="1">
            <a:off x="2704811" y="1776860"/>
            <a:ext cx="3729038" cy="3662363"/>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chemeClr val="accent3"/>
          </a:solidFill>
          <a:ln w="12700">
            <a:solidFill>
              <a:schemeClr val="accent3"/>
            </a:solidFill>
            <a:miter lim="800000"/>
            <a:headEnd/>
            <a:tailEnd/>
          </a:ln>
        </p:spPr>
        <p:txBody>
          <a:bodyPr rot="10800000" lIns="0" tIns="0" rIns="0" bIns="0" anchor="ctr"/>
          <a:lstStyle/>
          <a:p>
            <a:pPr algn="ctr">
              <a:defRPr/>
            </a:pPr>
            <a:endParaRPr lang="en-GB" sz="1400">
              <a:solidFill>
                <a:schemeClr val="bg1"/>
              </a:solidFill>
            </a:endParaRPr>
          </a:p>
        </p:txBody>
      </p:sp>
      <p:sp>
        <p:nvSpPr>
          <p:cNvPr id="12" name="AutoShape 4"/>
          <p:cNvSpPr>
            <a:spLocks noChangeArrowheads="1"/>
          </p:cNvSpPr>
          <p:nvPr/>
        </p:nvSpPr>
        <p:spPr bwMode="blackWhite">
          <a:xfrm>
            <a:off x="2704811" y="1611760"/>
            <a:ext cx="3729038" cy="3662363"/>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chemeClr val="accent3"/>
          </a:solidFill>
          <a:ln w="12700">
            <a:solidFill>
              <a:schemeClr val="accent3"/>
            </a:solidFill>
            <a:miter lim="800000"/>
            <a:headEnd/>
            <a:tailEnd/>
          </a:ln>
        </p:spPr>
        <p:txBody>
          <a:bodyPr lIns="0" tIns="0" rIns="0" bIns="0" anchor="ctr"/>
          <a:lstStyle/>
          <a:p>
            <a:pPr algn="ctr">
              <a:defRPr/>
            </a:pPr>
            <a:endParaRPr lang="en-GB" sz="1400">
              <a:solidFill>
                <a:schemeClr val="bg1"/>
              </a:solidFill>
            </a:endParaRPr>
          </a:p>
        </p:txBody>
      </p:sp>
      <p:sp>
        <p:nvSpPr>
          <p:cNvPr id="13" name="Oval 12"/>
          <p:cNvSpPr>
            <a:spLocks noChangeArrowheads="1"/>
          </p:cNvSpPr>
          <p:nvPr/>
        </p:nvSpPr>
        <p:spPr bwMode="blackWhite">
          <a:xfrm>
            <a:off x="4198649" y="3140523"/>
            <a:ext cx="741362" cy="768350"/>
          </a:xfrm>
          <a:prstGeom prst="ellipse">
            <a:avLst/>
          </a:prstGeom>
          <a:solidFill>
            <a:schemeClr val="accent3"/>
          </a:solidFill>
          <a:ln w="12700">
            <a:solidFill>
              <a:schemeClr val="accent3"/>
            </a:solidFill>
            <a:round/>
            <a:headEnd/>
            <a:tailEnd/>
          </a:ln>
        </p:spPr>
        <p:txBody>
          <a:bodyPr lIns="0" tIns="0" rIns="0" bIns="0" anchor="ctr"/>
          <a:lstStyle/>
          <a:p>
            <a:pPr algn="ctr">
              <a:defRPr/>
            </a:pPr>
            <a:endParaRPr lang="en-GB" sz="1400">
              <a:solidFill>
                <a:schemeClr val="bg1"/>
              </a:solidFill>
            </a:endParaRPr>
          </a:p>
        </p:txBody>
      </p:sp>
      <p:sp>
        <p:nvSpPr>
          <p:cNvPr id="14" name="Rectangle 13"/>
          <p:cNvSpPr>
            <a:spLocks noChangeArrowheads="1"/>
          </p:cNvSpPr>
          <p:nvPr/>
        </p:nvSpPr>
        <p:spPr bwMode="gray">
          <a:xfrm>
            <a:off x="4429841" y="1924498"/>
            <a:ext cx="304378" cy="181909"/>
          </a:xfrm>
          <a:prstGeom prst="rect">
            <a:avLst/>
          </a:prstGeom>
          <a:noFill/>
          <a:ln w="9525" algn="ctr">
            <a:noFill/>
            <a:miter lim="800000"/>
            <a:headEnd/>
            <a:tailEnd/>
          </a:ln>
        </p:spPr>
        <p:txBody>
          <a:bodyPr wrap="none" lIns="0" tIns="0" rIns="0" bIns="0">
            <a:spAutoFit/>
          </a:bodyPr>
          <a:lstStyle/>
          <a:p>
            <a:pPr>
              <a:lnSpc>
                <a:spcPct val="106000"/>
              </a:lnSpc>
              <a:spcBef>
                <a:spcPct val="80000"/>
              </a:spcBef>
              <a:buClr>
                <a:schemeClr val="tx1"/>
              </a:buClr>
              <a:buFont typeface="Wingdings 2" pitchFamily="18" charset="2"/>
              <a:buNone/>
              <a:defRPr/>
            </a:pPr>
            <a:r>
              <a:rPr lang="en-US" sz="1200" dirty="0">
                <a:solidFill>
                  <a:schemeClr val="bg1"/>
                </a:solidFill>
              </a:rPr>
              <a:t>Text</a:t>
            </a:r>
          </a:p>
        </p:txBody>
      </p:sp>
      <p:sp>
        <p:nvSpPr>
          <p:cNvPr id="15" name="Rectangle 14"/>
          <p:cNvSpPr>
            <a:spLocks noChangeArrowheads="1"/>
          </p:cNvSpPr>
          <p:nvPr/>
        </p:nvSpPr>
        <p:spPr bwMode="gray">
          <a:xfrm>
            <a:off x="4429841" y="4823273"/>
            <a:ext cx="304378" cy="181909"/>
          </a:xfrm>
          <a:prstGeom prst="rect">
            <a:avLst/>
          </a:prstGeom>
          <a:noFill/>
          <a:ln w="9525" algn="ctr">
            <a:noFill/>
            <a:miter lim="800000"/>
            <a:headEnd/>
            <a:tailEnd/>
          </a:ln>
        </p:spPr>
        <p:txBody>
          <a:bodyPr wrap="none" lIns="0" tIns="0" rIns="0" bIns="0">
            <a:spAutoFit/>
          </a:bodyPr>
          <a:lstStyle/>
          <a:p>
            <a:pPr>
              <a:lnSpc>
                <a:spcPct val="106000"/>
              </a:lnSpc>
              <a:spcBef>
                <a:spcPct val="80000"/>
              </a:spcBef>
              <a:buClr>
                <a:schemeClr val="tx1"/>
              </a:buClr>
              <a:buFont typeface="Wingdings 2" pitchFamily="18" charset="2"/>
              <a:buNone/>
              <a:defRPr/>
            </a:pPr>
            <a:r>
              <a:rPr lang="en-US" sz="1200" dirty="0">
                <a:solidFill>
                  <a:schemeClr val="bg1"/>
                </a:solidFill>
              </a:rPr>
              <a:t>Text</a:t>
            </a:r>
          </a:p>
        </p:txBody>
      </p:sp>
      <p:sp>
        <p:nvSpPr>
          <p:cNvPr id="16"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7"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5057" name="Title 1"/>
          <p:cNvSpPr>
            <a:spLocks noGrp="1"/>
          </p:cNvSpPr>
          <p:nvPr>
            <p:ph type="title"/>
          </p:nvPr>
        </p:nvSpPr>
        <p:spPr>
          <a:xfrm>
            <a:off x="414338" y="446038"/>
            <a:ext cx="8330184" cy="333425"/>
          </a:xfrm>
        </p:spPr>
        <p:txBody>
          <a:bodyPr/>
          <a:lstStyle/>
          <a:p>
            <a:r>
              <a:rPr lang="nl-NL"/>
              <a:t>Spheres </a:t>
            </a:r>
            <a:r>
              <a:rPr lang="en-US"/>
              <a:t>—</a:t>
            </a:r>
            <a:r>
              <a:rPr lang="nl-NL" smtClean="0"/>
              <a:t> </a:t>
            </a:r>
            <a:r>
              <a:rPr lang="nl-NL"/>
              <a:t>visor</a:t>
            </a:r>
          </a:p>
        </p:txBody>
      </p:sp>
      <p:sp>
        <p:nvSpPr>
          <p:cNvPr id="13" name="Oval 12"/>
          <p:cNvSpPr>
            <a:spLocks noChangeArrowheads="1"/>
          </p:cNvSpPr>
          <p:nvPr/>
        </p:nvSpPr>
        <p:spPr bwMode="auto">
          <a:xfrm>
            <a:off x="2393230" y="1593134"/>
            <a:ext cx="4346575" cy="4246562"/>
          </a:xfrm>
          <a:prstGeom prst="ellipse">
            <a:avLst/>
          </a:prstGeom>
          <a:solidFill>
            <a:schemeClr val="accent3"/>
          </a:solidFill>
          <a:ln w="12700">
            <a:solidFill>
              <a:schemeClr val="bg2"/>
            </a:solidFill>
            <a:round/>
            <a:headEnd/>
            <a:tailEnd/>
          </a:ln>
        </p:spPr>
        <p:txBody>
          <a:bodyPr wrap="none" lIns="86493" tIns="43247" rIns="86493" bIns="43247" anchor="ctr"/>
          <a:lstStyle/>
          <a:p>
            <a:pPr algn="ctr" defTabSz="865188">
              <a:defRPr/>
            </a:pPr>
            <a:endParaRPr lang="de-DE" sz="1700">
              <a:ea typeface="ＭＳ Ｐゴシック" pitchFamily="50" charset="-128"/>
            </a:endParaRPr>
          </a:p>
        </p:txBody>
      </p:sp>
      <p:sp>
        <p:nvSpPr>
          <p:cNvPr id="15" name="Oval 14"/>
          <p:cNvSpPr>
            <a:spLocks noChangeArrowheads="1"/>
          </p:cNvSpPr>
          <p:nvPr/>
        </p:nvSpPr>
        <p:spPr bwMode="auto">
          <a:xfrm>
            <a:off x="2940917" y="2126534"/>
            <a:ext cx="3249613" cy="3176587"/>
          </a:xfrm>
          <a:prstGeom prst="ellipse">
            <a:avLst/>
          </a:prstGeom>
          <a:solidFill>
            <a:schemeClr val="accent3"/>
          </a:solidFill>
          <a:ln w="12700">
            <a:solidFill>
              <a:schemeClr val="bg2"/>
            </a:solidFill>
            <a:round/>
            <a:headEnd/>
            <a:tailEnd/>
          </a:ln>
        </p:spPr>
        <p:txBody>
          <a:bodyPr wrap="none" lIns="86493" tIns="43247" rIns="86493" bIns="43247" anchor="ctr"/>
          <a:lstStyle/>
          <a:p>
            <a:pPr algn="ctr">
              <a:defRPr/>
            </a:pPr>
            <a:endParaRPr lang="en-GB"/>
          </a:p>
        </p:txBody>
      </p:sp>
      <p:sp>
        <p:nvSpPr>
          <p:cNvPr id="16" name="Oval 15"/>
          <p:cNvSpPr>
            <a:spLocks noChangeArrowheads="1"/>
          </p:cNvSpPr>
          <p:nvPr/>
        </p:nvSpPr>
        <p:spPr bwMode="auto">
          <a:xfrm>
            <a:off x="3493367" y="2667871"/>
            <a:ext cx="2132013" cy="2085975"/>
          </a:xfrm>
          <a:prstGeom prst="ellipse">
            <a:avLst/>
          </a:prstGeom>
          <a:solidFill>
            <a:schemeClr val="accent3"/>
          </a:solidFill>
          <a:ln w="12700">
            <a:solidFill>
              <a:schemeClr val="bg2"/>
            </a:solidFill>
            <a:round/>
            <a:headEnd/>
            <a:tailEnd/>
          </a:ln>
        </p:spPr>
        <p:txBody>
          <a:bodyPr wrap="none" lIns="86493" tIns="43247" rIns="86493" bIns="43247" anchor="ctr"/>
          <a:lstStyle/>
          <a:p>
            <a:pPr algn="ctr">
              <a:defRPr/>
            </a:pPr>
            <a:endParaRPr lang="en-GB"/>
          </a:p>
        </p:txBody>
      </p:sp>
      <p:sp>
        <p:nvSpPr>
          <p:cNvPr id="17" name="Oval 16"/>
          <p:cNvSpPr>
            <a:spLocks noChangeArrowheads="1"/>
          </p:cNvSpPr>
          <p:nvPr/>
        </p:nvSpPr>
        <p:spPr bwMode="auto">
          <a:xfrm>
            <a:off x="4069630" y="3228259"/>
            <a:ext cx="981075" cy="962025"/>
          </a:xfrm>
          <a:prstGeom prst="ellipse">
            <a:avLst/>
          </a:prstGeom>
          <a:solidFill>
            <a:schemeClr val="accent3"/>
          </a:solidFill>
          <a:ln w="12700">
            <a:solidFill>
              <a:schemeClr val="bg2"/>
            </a:solidFill>
            <a:round/>
            <a:headEnd/>
            <a:tailEnd/>
          </a:ln>
        </p:spPr>
        <p:txBody>
          <a:bodyPr wrap="none" lIns="86493" tIns="43247" rIns="86493" bIns="43247" anchor="ctr"/>
          <a:lstStyle/>
          <a:p>
            <a:pPr algn="ctr">
              <a:defRPr/>
            </a:pPr>
            <a:endParaRPr lang="en-GB"/>
          </a:p>
        </p:txBody>
      </p:sp>
      <p:sp>
        <p:nvSpPr>
          <p:cNvPr id="18" name="Line 7"/>
          <p:cNvSpPr>
            <a:spLocks noChangeShapeType="1"/>
          </p:cNvSpPr>
          <p:nvPr/>
        </p:nvSpPr>
        <p:spPr bwMode="auto">
          <a:xfrm>
            <a:off x="5058642" y="3710859"/>
            <a:ext cx="1657350" cy="0"/>
          </a:xfrm>
          <a:prstGeom prst="line">
            <a:avLst/>
          </a:prstGeom>
          <a:noFill/>
          <a:ln w="12700">
            <a:solidFill>
              <a:schemeClr val="bg2"/>
            </a:solidFill>
            <a:round/>
            <a:headEnd type="none" w="sm" len="sm"/>
            <a:tailEnd type="none" w="sm" len="sm"/>
          </a:ln>
        </p:spPr>
        <p:txBody>
          <a:bodyPr wrap="none" lIns="86493" tIns="43247" rIns="86493" bIns="43247" anchor="ctr"/>
          <a:lstStyle/>
          <a:p>
            <a:endParaRPr lang="en-US"/>
          </a:p>
        </p:txBody>
      </p:sp>
      <p:sp>
        <p:nvSpPr>
          <p:cNvPr id="19" name="Line 8"/>
          <p:cNvSpPr>
            <a:spLocks noChangeShapeType="1"/>
          </p:cNvSpPr>
          <p:nvPr/>
        </p:nvSpPr>
        <p:spPr bwMode="auto">
          <a:xfrm>
            <a:off x="4560167" y="1604246"/>
            <a:ext cx="0" cy="1619250"/>
          </a:xfrm>
          <a:prstGeom prst="line">
            <a:avLst/>
          </a:prstGeom>
          <a:noFill/>
          <a:ln w="12700">
            <a:solidFill>
              <a:schemeClr val="bg2"/>
            </a:solidFill>
            <a:round/>
            <a:headEnd type="none" w="sm" len="sm"/>
            <a:tailEnd type="none" w="sm" len="sm"/>
          </a:ln>
        </p:spPr>
        <p:txBody>
          <a:bodyPr wrap="none" lIns="86493" tIns="43247" rIns="86493" bIns="43247" anchor="ctr"/>
          <a:lstStyle/>
          <a:p>
            <a:endParaRPr lang="en-US"/>
          </a:p>
        </p:txBody>
      </p:sp>
      <p:sp>
        <p:nvSpPr>
          <p:cNvPr id="20" name="Line 9"/>
          <p:cNvSpPr>
            <a:spLocks noChangeShapeType="1"/>
          </p:cNvSpPr>
          <p:nvPr/>
        </p:nvSpPr>
        <p:spPr bwMode="auto">
          <a:xfrm>
            <a:off x="2417042" y="3710859"/>
            <a:ext cx="1649413" cy="0"/>
          </a:xfrm>
          <a:prstGeom prst="line">
            <a:avLst/>
          </a:prstGeom>
          <a:noFill/>
          <a:ln w="12700">
            <a:solidFill>
              <a:schemeClr val="bg2"/>
            </a:solidFill>
            <a:round/>
            <a:headEnd type="none" w="sm" len="sm"/>
            <a:tailEnd type="none" w="sm" len="sm"/>
          </a:ln>
        </p:spPr>
        <p:txBody>
          <a:bodyPr wrap="none" lIns="86493" tIns="43247" rIns="86493" bIns="43247" anchor="ctr"/>
          <a:lstStyle/>
          <a:p>
            <a:endParaRPr lang="en-US"/>
          </a:p>
        </p:txBody>
      </p:sp>
      <p:sp>
        <p:nvSpPr>
          <p:cNvPr id="21" name="Line 10"/>
          <p:cNvSpPr>
            <a:spLocks noChangeShapeType="1"/>
          </p:cNvSpPr>
          <p:nvPr/>
        </p:nvSpPr>
        <p:spPr bwMode="auto">
          <a:xfrm>
            <a:off x="4560167" y="4195046"/>
            <a:ext cx="0" cy="1631950"/>
          </a:xfrm>
          <a:prstGeom prst="line">
            <a:avLst/>
          </a:prstGeom>
          <a:noFill/>
          <a:ln w="12700">
            <a:solidFill>
              <a:schemeClr val="bg2"/>
            </a:solidFill>
            <a:round/>
            <a:headEnd type="none" w="sm" len="sm"/>
            <a:tailEnd type="none" w="sm" len="sm"/>
          </a:ln>
        </p:spPr>
        <p:txBody>
          <a:bodyPr wrap="none" lIns="86493" tIns="43247" rIns="86493" bIns="43247" anchor="ctr"/>
          <a:lstStyle/>
          <a:p>
            <a:endParaRPr lang="en-US"/>
          </a:p>
        </p:txBody>
      </p:sp>
      <p:sp>
        <p:nvSpPr>
          <p:cNvPr id="2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81" name="Title 1"/>
          <p:cNvSpPr>
            <a:spLocks noGrp="1"/>
          </p:cNvSpPr>
          <p:nvPr>
            <p:ph type="title"/>
          </p:nvPr>
        </p:nvSpPr>
        <p:spPr>
          <a:xfrm>
            <a:off x="414338" y="446038"/>
            <a:ext cx="8330184" cy="333425"/>
          </a:xfrm>
        </p:spPr>
        <p:txBody>
          <a:bodyPr/>
          <a:lstStyle/>
          <a:p>
            <a:r>
              <a:rPr lang="nl-NL"/>
              <a:t>Spheres </a:t>
            </a:r>
            <a:r>
              <a:rPr lang="en-US"/>
              <a:t>—</a:t>
            </a:r>
            <a:r>
              <a:rPr lang="nl-NL" smtClean="0"/>
              <a:t> </a:t>
            </a:r>
            <a:r>
              <a:rPr lang="nl-NL"/>
              <a:t>pieces</a:t>
            </a:r>
          </a:p>
        </p:txBody>
      </p:sp>
      <p:grpSp>
        <p:nvGrpSpPr>
          <p:cNvPr id="2" name="Group 3"/>
          <p:cNvGrpSpPr>
            <a:grpSpLocks/>
          </p:cNvGrpSpPr>
          <p:nvPr/>
        </p:nvGrpSpPr>
        <p:grpSpPr bwMode="auto">
          <a:xfrm>
            <a:off x="4562475" y="1596069"/>
            <a:ext cx="1350963" cy="2293938"/>
            <a:chOff x="3356" y="1728"/>
            <a:chExt cx="678" cy="1153"/>
          </a:xfrm>
        </p:grpSpPr>
        <p:sp>
          <p:nvSpPr>
            <p:cNvPr id="5" name="Arc 4"/>
            <p:cNvSpPr>
              <a:spLocks/>
            </p:cNvSpPr>
            <p:nvPr/>
          </p:nvSpPr>
          <p:spPr bwMode="auto">
            <a:xfrm>
              <a:off x="3356"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 y="0"/>
                  </a:moveTo>
                  <a:cubicBezTo>
                    <a:pt x="4561" y="0"/>
                    <a:pt x="9005" y="1444"/>
                    <a:pt x="12695" y="4125"/>
                  </a:cubicBezTo>
                </a:path>
                <a:path w="12696" h="21600" stroke="0" extrusionOk="0">
                  <a:moveTo>
                    <a:pt x="-1" y="0"/>
                  </a:moveTo>
                  <a:cubicBezTo>
                    <a:pt x="4561" y="0"/>
                    <a:pt x="9005" y="1444"/>
                    <a:pt x="12695" y="4125"/>
                  </a:cubicBezTo>
                  <a:lnTo>
                    <a:pt x="0" y="21600"/>
                  </a:lnTo>
                  <a:close/>
                </a:path>
              </a:pathLst>
            </a:custGeom>
            <a:solidFill>
              <a:schemeClr val="bg1"/>
            </a:solidFill>
            <a:ln w="12700">
              <a:solidFill>
                <a:schemeClr val="accent3"/>
              </a:solidFill>
              <a:round/>
              <a:headEnd/>
              <a:tailEnd/>
            </a:ln>
          </p:spPr>
          <p:txBody>
            <a:bodyPr anchor="ctr"/>
            <a:lstStyle/>
            <a:p>
              <a:pPr algn="ctr">
                <a:defRPr/>
              </a:pPr>
              <a:endParaRPr lang="en-GB" sz="1200">
                <a:ln>
                  <a:solidFill>
                    <a:schemeClr val="accent3"/>
                  </a:solidFill>
                </a:ln>
                <a:solidFill>
                  <a:schemeClr val="accent3"/>
                </a:solidFill>
              </a:endParaRPr>
            </a:p>
          </p:txBody>
        </p:sp>
        <p:sp>
          <p:nvSpPr>
            <p:cNvPr id="6" name="Freeform 5"/>
            <p:cNvSpPr>
              <a:spLocks/>
            </p:cNvSpPr>
            <p:nvPr/>
          </p:nvSpPr>
          <p:spPr bwMode="auto">
            <a:xfrm>
              <a:off x="3356" y="1728"/>
              <a:ext cx="678" cy="1153"/>
            </a:xfrm>
            <a:custGeom>
              <a:avLst/>
              <a:gdLst>
                <a:gd name="T0" fmla="*/ 0 w 678"/>
                <a:gd name="T1" fmla="*/ 0 h 1153"/>
                <a:gd name="T2" fmla="*/ 0 w 678"/>
                <a:gd name="T3" fmla="*/ 1152 h 1153"/>
                <a:gd name="T4" fmla="*/ 677 w 678"/>
                <a:gd name="T5" fmla="*/ 22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0"/>
                  </a:moveTo>
                  <a:lnTo>
                    <a:pt x="0" y="1152"/>
                  </a:lnTo>
                  <a:lnTo>
                    <a:pt x="677" y="220"/>
                  </a:lnTo>
                </a:path>
              </a:pathLst>
            </a:custGeom>
            <a:solidFill>
              <a:schemeClr val="bg1"/>
            </a:solidFill>
            <a:ln w="12700">
              <a:solidFill>
                <a:schemeClr val="accent3"/>
              </a:solidFill>
              <a:round/>
              <a:headEnd/>
              <a:tailEnd/>
            </a:ln>
          </p:spPr>
          <p:txBody>
            <a:bodyPr anchor="ctr"/>
            <a:lstStyle/>
            <a:p>
              <a:pPr>
                <a:defRPr/>
              </a:pPr>
              <a:endParaRPr lang="en-GB" sz="1200">
                <a:ln>
                  <a:solidFill>
                    <a:schemeClr val="accent3"/>
                  </a:solidFill>
                </a:ln>
                <a:solidFill>
                  <a:schemeClr val="accent3"/>
                </a:solidFill>
              </a:endParaRPr>
            </a:p>
          </p:txBody>
        </p:sp>
      </p:grpSp>
      <p:grpSp>
        <p:nvGrpSpPr>
          <p:cNvPr id="3" name="Group 6"/>
          <p:cNvGrpSpPr>
            <a:grpSpLocks/>
          </p:cNvGrpSpPr>
          <p:nvPr/>
        </p:nvGrpSpPr>
        <p:grpSpPr bwMode="auto">
          <a:xfrm>
            <a:off x="4562475" y="2034219"/>
            <a:ext cx="2182813" cy="1855788"/>
            <a:chOff x="3356" y="1948"/>
            <a:chExt cx="1097" cy="933"/>
          </a:xfrm>
        </p:grpSpPr>
        <p:sp>
          <p:nvSpPr>
            <p:cNvPr id="8" name="Arc 7"/>
            <p:cNvSpPr>
              <a:spLocks/>
            </p:cNvSpPr>
            <p:nvPr/>
          </p:nvSpPr>
          <p:spPr bwMode="auto">
            <a:xfrm>
              <a:off x="3356"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12695" y="0"/>
                  </a:moveTo>
                  <a:cubicBezTo>
                    <a:pt x="16386" y="2681"/>
                    <a:pt x="19133" y="6461"/>
                    <a:pt x="20542" y="10800"/>
                  </a:cubicBezTo>
                </a:path>
                <a:path w="20543" h="17475" stroke="0" extrusionOk="0">
                  <a:moveTo>
                    <a:pt x="12695" y="0"/>
                  </a:moveTo>
                  <a:cubicBezTo>
                    <a:pt x="16386" y="2681"/>
                    <a:pt x="19133" y="6461"/>
                    <a:pt x="20542" y="10800"/>
                  </a:cubicBezTo>
                  <a:lnTo>
                    <a:pt x="0" y="17475"/>
                  </a:lnTo>
                  <a:close/>
                </a:path>
              </a:pathLst>
            </a:custGeom>
            <a:solidFill>
              <a:schemeClr val="bg1"/>
            </a:solidFill>
            <a:ln w="12700">
              <a:solidFill>
                <a:schemeClr val="accent3"/>
              </a:solidFill>
              <a:round/>
              <a:headEnd/>
              <a:tailEnd/>
            </a:ln>
          </p:spPr>
          <p:txBody>
            <a:bodyPr anchor="ctr"/>
            <a:lstStyle/>
            <a:p>
              <a:pPr algn="ctr">
                <a:defRPr/>
              </a:pPr>
              <a:endParaRPr lang="en-GB" sz="1200">
                <a:ln>
                  <a:solidFill>
                    <a:schemeClr val="accent3"/>
                  </a:solidFill>
                </a:ln>
                <a:solidFill>
                  <a:schemeClr val="tx2"/>
                </a:solidFill>
              </a:endParaRPr>
            </a:p>
          </p:txBody>
        </p:sp>
        <p:sp>
          <p:nvSpPr>
            <p:cNvPr id="9" name="Freeform 8"/>
            <p:cNvSpPr>
              <a:spLocks/>
            </p:cNvSpPr>
            <p:nvPr/>
          </p:nvSpPr>
          <p:spPr bwMode="auto">
            <a:xfrm>
              <a:off x="3356" y="1948"/>
              <a:ext cx="1097" cy="933"/>
            </a:xfrm>
            <a:custGeom>
              <a:avLst/>
              <a:gdLst>
                <a:gd name="T0" fmla="*/ 677 w 1097"/>
                <a:gd name="T1" fmla="*/ 0 h 933"/>
                <a:gd name="T2" fmla="*/ 0 w 1097"/>
                <a:gd name="T3" fmla="*/ 932 h 933"/>
                <a:gd name="T4" fmla="*/ 1096 w 1097"/>
                <a:gd name="T5" fmla="*/ 57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677" y="0"/>
                  </a:moveTo>
                  <a:lnTo>
                    <a:pt x="0" y="932"/>
                  </a:lnTo>
                  <a:lnTo>
                    <a:pt x="1096" y="576"/>
                  </a:lnTo>
                </a:path>
              </a:pathLst>
            </a:custGeom>
            <a:solidFill>
              <a:schemeClr val="bg1"/>
            </a:solidFill>
            <a:ln w="12700">
              <a:solidFill>
                <a:schemeClr val="accent3"/>
              </a:solidFill>
              <a:round/>
              <a:headEnd/>
              <a:tailEnd/>
            </a:ln>
          </p:spPr>
          <p:txBody>
            <a:bodyPr anchor="ctr"/>
            <a:lstStyle/>
            <a:p>
              <a:pPr>
                <a:defRPr/>
              </a:pPr>
              <a:endParaRPr lang="en-GB" sz="1200">
                <a:ln>
                  <a:solidFill>
                    <a:schemeClr val="accent3"/>
                  </a:solidFill>
                </a:ln>
                <a:solidFill>
                  <a:schemeClr val="tx2"/>
                </a:solidFill>
              </a:endParaRPr>
            </a:p>
          </p:txBody>
        </p:sp>
      </p:grpSp>
      <p:grpSp>
        <p:nvGrpSpPr>
          <p:cNvPr id="4" name="Group 9"/>
          <p:cNvGrpSpPr>
            <a:grpSpLocks/>
          </p:cNvGrpSpPr>
          <p:nvPr/>
        </p:nvGrpSpPr>
        <p:grpSpPr bwMode="auto">
          <a:xfrm>
            <a:off x="4562475" y="3178807"/>
            <a:ext cx="2292350" cy="1419225"/>
            <a:chOff x="3356" y="2524"/>
            <a:chExt cx="1152" cy="713"/>
          </a:xfrm>
        </p:grpSpPr>
        <p:sp>
          <p:nvSpPr>
            <p:cNvPr id="11" name="Arc 10"/>
            <p:cNvSpPr>
              <a:spLocks/>
            </p:cNvSpPr>
            <p:nvPr/>
          </p:nvSpPr>
          <p:spPr bwMode="auto">
            <a:xfrm>
              <a:off x="3356"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20542" y="0"/>
                  </a:moveTo>
                  <a:cubicBezTo>
                    <a:pt x="21243" y="2155"/>
                    <a:pt x="21600" y="4408"/>
                    <a:pt x="21600" y="6675"/>
                  </a:cubicBezTo>
                  <a:cubicBezTo>
                    <a:pt x="21600" y="8941"/>
                    <a:pt x="21243" y="11194"/>
                    <a:pt x="20542" y="13349"/>
                  </a:cubicBezTo>
                </a:path>
                <a:path w="21600" h="13350" stroke="0" extrusionOk="0">
                  <a:moveTo>
                    <a:pt x="20542" y="0"/>
                  </a:moveTo>
                  <a:cubicBezTo>
                    <a:pt x="21243" y="2155"/>
                    <a:pt x="21600" y="4408"/>
                    <a:pt x="21600" y="6675"/>
                  </a:cubicBezTo>
                  <a:cubicBezTo>
                    <a:pt x="21600" y="8941"/>
                    <a:pt x="21243" y="11194"/>
                    <a:pt x="20542" y="13349"/>
                  </a:cubicBezTo>
                  <a:lnTo>
                    <a:pt x="0" y="6675"/>
                  </a:lnTo>
                  <a:close/>
                </a:path>
              </a:pathLst>
            </a:custGeom>
            <a:solidFill>
              <a:schemeClr val="bg1"/>
            </a:solidFill>
            <a:ln w="12700">
              <a:solidFill>
                <a:schemeClr val="accent3"/>
              </a:solidFill>
              <a:round/>
              <a:headEnd/>
              <a:tailEnd/>
            </a:ln>
          </p:spPr>
          <p:txBody>
            <a:bodyPr anchor="ctr"/>
            <a:lstStyle/>
            <a:p>
              <a:pPr algn="ctr">
                <a:defRPr/>
              </a:pPr>
              <a:endParaRPr lang="en-GB" sz="1200">
                <a:ln>
                  <a:solidFill>
                    <a:schemeClr val="accent3"/>
                  </a:solidFill>
                </a:ln>
                <a:solidFill>
                  <a:schemeClr val="tx2"/>
                </a:solidFill>
              </a:endParaRPr>
            </a:p>
          </p:txBody>
        </p:sp>
        <p:sp>
          <p:nvSpPr>
            <p:cNvPr id="12" name="Freeform 11"/>
            <p:cNvSpPr>
              <a:spLocks/>
            </p:cNvSpPr>
            <p:nvPr/>
          </p:nvSpPr>
          <p:spPr bwMode="auto">
            <a:xfrm>
              <a:off x="3356" y="2524"/>
              <a:ext cx="1097" cy="713"/>
            </a:xfrm>
            <a:custGeom>
              <a:avLst/>
              <a:gdLst>
                <a:gd name="T0" fmla="*/ 1096 w 1097"/>
                <a:gd name="T1" fmla="*/ 0 h 713"/>
                <a:gd name="T2" fmla="*/ 0 w 1097"/>
                <a:gd name="T3" fmla="*/ 356 h 713"/>
                <a:gd name="T4" fmla="*/ 1096 w 1097"/>
                <a:gd name="T5" fmla="*/ 712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1096" y="0"/>
                  </a:moveTo>
                  <a:lnTo>
                    <a:pt x="0" y="356"/>
                  </a:lnTo>
                  <a:lnTo>
                    <a:pt x="1096" y="712"/>
                  </a:lnTo>
                </a:path>
              </a:pathLst>
            </a:custGeom>
            <a:solidFill>
              <a:schemeClr val="bg1"/>
            </a:solidFill>
            <a:ln w="12700">
              <a:solidFill>
                <a:schemeClr val="accent3"/>
              </a:solidFill>
              <a:round/>
              <a:headEnd/>
              <a:tailEnd/>
            </a:ln>
          </p:spPr>
          <p:txBody>
            <a:bodyPr anchor="ctr"/>
            <a:lstStyle/>
            <a:p>
              <a:pPr>
                <a:defRPr/>
              </a:pPr>
              <a:endParaRPr lang="en-GB" sz="1200">
                <a:ln>
                  <a:solidFill>
                    <a:schemeClr val="accent3"/>
                  </a:solidFill>
                </a:ln>
                <a:solidFill>
                  <a:schemeClr val="tx2"/>
                </a:solidFill>
              </a:endParaRPr>
            </a:p>
          </p:txBody>
        </p:sp>
      </p:grpSp>
      <p:grpSp>
        <p:nvGrpSpPr>
          <p:cNvPr id="7" name="Group 12"/>
          <p:cNvGrpSpPr>
            <a:grpSpLocks/>
          </p:cNvGrpSpPr>
          <p:nvPr/>
        </p:nvGrpSpPr>
        <p:grpSpPr bwMode="auto">
          <a:xfrm>
            <a:off x="4562475" y="3886832"/>
            <a:ext cx="2182813" cy="1855787"/>
            <a:chOff x="3356" y="2880"/>
            <a:chExt cx="1097" cy="933"/>
          </a:xfrm>
        </p:grpSpPr>
        <p:sp>
          <p:nvSpPr>
            <p:cNvPr id="14" name="Arc 13"/>
            <p:cNvSpPr>
              <a:spLocks/>
            </p:cNvSpPr>
            <p:nvPr/>
          </p:nvSpPr>
          <p:spPr bwMode="auto">
            <a:xfrm>
              <a:off x="3356"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20542" y="6674"/>
                  </a:moveTo>
                  <a:cubicBezTo>
                    <a:pt x="19133" y="11013"/>
                    <a:pt x="16386" y="14793"/>
                    <a:pt x="12695" y="17474"/>
                  </a:cubicBezTo>
                </a:path>
                <a:path w="20543" h="17475" stroke="0" extrusionOk="0">
                  <a:moveTo>
                    <a:pt x="20542" y="6674"/>
                  </a:moveTo>
                  <a:cubicBezTo>
                    <a:pt x="19133" y="11013"/>
                    <a:pt x="16386" y="14793"/>
                    <a:pt x="12695" y="17474"/>
                  </a:cubicBezTo>
                  <a:lnTo>
                    <a:pt x="0" y="0"/>
                  </a:lnTo>
                  <a:close/>
                </a:path>
              </a:pathLst>
            </a:custGeom>
            <a:solidFill>
              <a:schemeClr val="bg1"/>
            </a:solidFill>
            <a:ln w="12700">
              <a:solidFill>
                <a:schemeClr val="accent3"/>
              </a:solidFill>
              <a:round/>
              <a:headEnd/>
              <a:tailEnd/>
            </a:ln>
          </p:spPr>
          <p:txBody>
            <a:bodyPr anchor="ctr"/>
            <a:lstStyle/>
            <a:p>
              <a:pPr algn="ctr">
                <a:defRPr/>
              </a:pPr>
              <a:endParaRPr lang="en-GB" sz="1200">
                <a:ln>
                  <a:solidFill>
                    <a:schemeClr val="accent3"/>
                  </a:solidFill>
                </a:ln>
                <a:solidFill>
                  <a:schemeClr val="tx2"/>
                </a:solidFill>
              </a:endParaRPr>
            </a:p>
          </p:txBody>
        </p:sp>
        <p:sp>
          <p:nvSpPr>
            <p:cNvPr id="15" name="Freeform 14"/>
            <p:cNvSpPr>
              <a:spLocks/>
            </p:cNvSpPr>
            <p:nvPr/>
          </p:nvSpPr>
          <p:spPr bwMode="auto">
            <a:xfrm>
              <a:off x="3356" y="2880"/>
              <a:ext cx="1097" cy="933"/>
            </a:xfrm>
            <a:custGeom>
              <a:avLst/>
              <a:gdLst>
                <a:gd name="T0" fmla="*/ 1096 w 1097"/>
                <a:gd name="T1" fmla="*/ 356 h 933"/>
                <a:gd name="T2" fmla="*/ 0 w 1097"/>
                <a:gd name="T3" fmla="*/ 0 h 933"/>
                <a:gd name="T4" fmla="*/ 677 w 1097"/>
                <a:gd name="T5" fmla="*/ 932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1096" y="356"/>
                  </a:moveTo>
                  <a:lnTo>
                    <a:pt x="0" y="0"/>
                  </a:lnTo>
                  <a:lnTo>
                    <a:pt x="677" y="932"/>
                  </a:lnTo>
                </a:path>
              </a:pathLst>
            </a:custGeom>
            <a:solidFill>
              <a:schemeClr val="bg1"/>
            </a:solidFill>
            <a:ln w="12700">
              <a:solidFill>
                <a:schemeClr val="accent3"/>
              </a:solidFill>
              <a:round/>
              <a:headEnd/>
              <a:tailEnd/>
            </a:ln>
          </p:spPr>
          <p:txBody>
            <a:bodyPr anchor="ctr"/>
            <a:lstStyle/>
            <a:p>
              <a:pPr>
                <a:defRPr/>
              </a:pPr>
              <a:endParaRPr lang="en-GB" sz="1200">
                <a:ln>
                  <a:solidFill>
                    <a:schemeClr val="accent3"/>
                  </a:solidFill>
                </a:ln>
                <a:solidFill>
                  <a:schemeClr val="tx2"/>
                </a:solidFill>
              </a:endParaRPr>
            </a:p>
          </p:txBody>
        </p:sp>
      </p:grpSp>
      <p:grpSp>
        <p:nvGrpSpPr>
          <p:cNvPr id="10" name="Group 15"/>
          <p:cNvGrpSpPr>
            <a:grpSpLocks/>
          </p:cNvGrpSpPr>
          <p:nvPr/>
        </p:nvGrpSpPr>
        <p:grpSpPr bwMode="auto">
          <a:xfrm>
            <a:off x="4562475" y="3886832"/>
            <a:ext cx="1350963" cy="2293937"/>
            <a:chOff x="3356" y="2880"/>
            <a:chExt cx="678" cy="1153"/>
          </a:xfrm>
        </p:grpSpPr>
        <p:sp>
          <p:nvSpPr>
            <p:cNvPr id="17" name="Arc 16"/>
            <p:cNvSpPr>
              <a:spLocks/>
            </p:cNvSpPr>
            <p:nvPr/>
          </p:nvSpPr>
          <p:spPr bwMode="auto">
            <a:xfrm>
              <a:off x="3356"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5" y="17474"/>
                  </a:moveTo>
                  <a:cubicBezTo>
                    <a:pt x="9005" y="20155"/>
                    <a:pt x="4561" y="21599"/>
                    <a:pt x="0" y="21600"/>
                  </a:cubicBezTo>
                </a:path>
                <a:path w="12696" h="21600" stroke="0" extrusionOk="0">
                  <a:moveTo>
                    <a:pt x="12695" y="17474"/>
                  </a:moveTo>
                  <a:cubicBezTo>
                    <a:pt x="9005" y="20155"/>
                    <a:pt x="4561" y="21599"/>
                    <a:pt x="0" y="21600"/>
                  </a:cubicBezTo>
                  <a:lnTo>
                    <a:pt x="0" y="0"/>
                  </a:lnTo>
                  <a:close/>
                </a:path>
              </a:pathLst>
            </a:custGeom>
            <a:solidFill>
              <a:schemeClr val="bg1"/>
            </a:solidFill>
            <a:ln w="12700">
              <a:solidFill>
                <a:schemeClr val="accent3"/>
              </a:solidFill>
              <a:round/>
              <a:headEnd/>
              <a:tailEnd/>
            </a:ln>
          </p:spPr>
          <p:txBody>
            <a:bodyPr anchor="ctr"/>
            <a:lstStyle/>
            <a:p>
              <a:pPr algn="ctr">
                <a:defRPr/>
              </a:pPr>
              <a:endParaRPr lang="en-GB" sz="1200">
                <a:ln>
                  <a:solidFill>
                    <a:schemeClr val="accent3"/>
                  </a:solidFill>
                </a:ln>
                <a:solidFill>
                  <a:schemeClr val="tx2"/>
                </a:solidFill>
              </a:endParaRPr>
            </a:p>
          </p:txBody>
        </p:sp>
        <p:sp>
          <p:nvSpPr>
            <p:cNvPr id="18" name="Freeform 17"/>
            <p:cNvSpPr>
              <a:spLocks/>
            </p:cNvSpPr>
            <p:nvPr/>
          </p:nvSpPr>
          <p:spPr bwMode="auto">
            <a:xfrm>
              <a:off x="3356" y="2880"/>
              <a:ext cx="678" cy="1153"/>
            </a:xfrm>
            <a:custGeom>
              <a:avLst/>
              <a:gdLst>
                <a:gd name="T0" fmla="*/ 677 w 678"/>
                <a:gd name="T1" fmla="*/ 932 h 1153"/>
                <a:gd name="T2" fmla="*/ 0 w 678"/>
                <a:gd name="T3" fmla="*/ 0 h 1153"/>
                <a:gd name="T4" fmla="*/ 0 w 678"/>
                <a:gd name="T5" fmla="*/ 115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932"/>
                  </a:moveTo>
                  <a:lnTo>
                    <a:pt x="0" y="0"/>
                  </a:lnTo>
                  <a:lnTo>
                    <a:pt x="0" y="1152"/>
                  </a:lnTo>
                </a:path>
              </a:pathLst>
            </a:custGeom>
            <a:solidFill>
              <a:schemeClr val="bg1"/>
            </a:solidFill>
            <a:ln w="12700">
              <a:solidFill>
                <a:schemeClr val="accent3"/>
              </a:solidFill>
              <a:round/>
              <a:headEnd/>
              <a:tailEnd/>
            </a:ln>
          </p:spPr>
          <p:txBody>
            <a:bodyPr anchor="ctr"/>
            <a:lstStyle/>
            <a:p>
              <a:pPr>
                <a:defRPr/>
              </a:pPr>
              <a:endParaRPr lang="en-GB" sz="1200">
                <a:ln>
                  <a:solidFill>
                    <a:schemeClr val="accent3"/>
                  </a:solidFill>
                </a:ln>
                <a:solidFill>
                  <a:schemeClr val="tx2"/>
                </a:solidFill>
              </a:endParaRPr>
            </a:p>
          </p:txBody>
        </p:sp>
      </p:grpSp>
      <p:grpSp>
        <p:nvGrpSpPr>
          <p:cNvPr id="13" name="Group 18"/>
          <p:cNvGrpSpPr>
            <a:grpSpLocks/>
          </p:cNvGrpSpPr>
          <p:nvPr/>
        </p:nvGrpSpPr>
        <p:grpSpPr bwMode="auto">
          <a:xfrm>
            <a:off x="3216275" y="3886832"/>
            <a:ext cx="1347788" cy="2293937"/>
            <a:chOff x="2679" y="2880"/>
            <a:chExt cx="678" cy="1153"/>
          </a:xfrm>
        </p:grpSpPr>
        <p:sp>
          <p:nvSpPr>
            <p:cNvPr id="20" name="Arc 19"/>
            <p:cNvSpPr>
              <a:spLocks/>
            </p:cNvSpPr>
            <p:nvPr/>
          </p:nvSpPr>
          <p:spPr bwMode="auto">
            <a:xfrm>
              <a:off x="2679"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6" y="21600"/>
                  </a:moveTo>
                  <a:cubicBezTo>
                    <a:pt x="8134" y="21600"/>
                    <a:pt x="3690" y="20155"/>
                    <a:pt x="0" y="17474"/>
                  </a:cubicBezTo>
                </a:path>
                <a:path w="12696" h="21600" stroke="0" extrusionOk="0">
                  <a:moveTo>
                    <a:pt x="12696" y="21600"/>
                  </a:moveTo>
                  <a:cubicBezTo>
                    <a:pt x="8134" y="21600"/>
                    <a:pt x="3690" y="20155"/>
                    <a:pt x="0" y="17474"/>
                  </a:cubicBezTo>
                  <a:lnTo>
                    <a:pt x="12696" y="0"/>
                  </a:lnTo>
                  <a:close/>
                </a:path>
              </a:pathLst>
            </a:custGeom>
            <a:solidFill>
              <a:schemeClr val="bg1"/>
            </a:solidFill>
            <a:ln w="12700">
              <a:solidFill>
                <a:schemeClr val="accent3"/>
              </a:solidFill>
              <a:round/>
              <a:headEnd/>
              <a:tailEnd/>
            </a:ln>
          </p:spPr>
          <p:txBody>
            <a:bodyPr anchor="ctr"/>
            <a:lstStyle/>
            <a:p>
              <a:pPr algn="ctr">
                <a:defRPr/>
              </a:pPr>
              <a:endParaRPr lang="en-GB" sz="1200">
                <a:ln>
                  <a:solidFill>
                    <a:schemeClr val="accent3"/>
                  </a:solidFill>
                </a:ln>
                <a:solidFill>
                  <a:schemeClr val="tx2"/>
                </a:solidFill>
              </a:endParaRPr>
            </a:p>
          </p:txBody>
        </p:sp>
        <p:sp>
          <p:nvSpPr>
            <p:cNvPr id="21" name="Freeform 20"/>
            <p:cNvSpPr>
              <a:spLocks/>
            </p:cNvSpPr>
            <p:nvPr/>
          </p:nvSpPr>
          <p:spPr bwMode="auto">
            <a:xfrm>
              <a:off x="2679" y="2880"/>
              <a:ext cx="678" cy="1153"/>
            </a:xfrm>
            <a:custGeom>
              <a:avLst/>
              <a:gdLst>
                <a:gd name="T0" fmla="*/ 677 w 678"/>
                <a:gd name="T1" fmla="*/ 1152 h 1153"/>
                <a:gd name="T2" fmla="*/ 677 w 678"/>
                <a:gd name="T3" fmla="*/ 0 h 1153"/>
                <a:gd name="T4" fmla="*/ 0 w 678"/>
                <a:gd name="T5" fmla="*/ 93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1152"/>
                  </a:moveTo>
                  <a:lnTo>
                    <a:pt x="677" y="0"/>
                  </a:lnTo>
                  <a:lnTo>
                    <a:pt x="0" y="932"/>
                  </a:lnTo>
                </a:path>
              </a:pathLst>
            </a:custGeom>
            <a:solidFill>
              <a:schemeClr val="bg1"/>
            </a:solidFill>
            <a:ln w="12700">
              <a:solidFill>
                <a:schemeClr val="accent3"/>
              </a:solidFill>
              <a:round/>
              <a:headEnd/>
              <a:tailEnd/>
            </a:ln>
          </p:spPr>
          <p:txBody>
            <a:bodyPr anchor="ctr"/>
            <a:lstStyle/>
            <a:p>
              <a:pPr>
                <a:defRPr/>
              </a:pPr>
              <a:endParaRPr lang="en-GB" sz="1200">
                <a:ln>
                  <a:solidFill>
                    <a:schemeClr val="accent3"/>
                  </a:solidFill>
                </a:ln>
                <a:solidFill>
                  <a:schemeClr val="tx2"/>
                </a:solidFill>
              </a:endParaRPr>
            </a:p>
          </p:txBody>
        </p:sp>
      </p:grpSp>
      <p:grpSp>
        <p:nvGrpSpPr>
          <p:cNvPr id="16" name="Group 21"/>
          <p:cNvGrpSpPr>
            <a:grpSpLocks/>
          </p:cNvGrpSpPr>
          <p:nvPr/>
        </p:nvGrpSpPr>
        <p:grpSpPr bwMode="auto">
          <a:xfrm>
            <a:off x="2382838" y="3886832"/>
            <a:ext cx="2181225" cy="1855787"/>
            <a:chOff x="2260" y="2880"/>
            <a:chExt cx="1097" cy="933"/>
          </a:xfrm>
        </p:grpSpPr>
        <p:sp>
          <p:nvSpPr>
            <p:cNvPr id="23" name="Arc 22"/>
            <p:cNvSpPr>
              <a:spLocks/>
            </p:cNvSpPr>
            <p:nvPr/>
          </p:nvSpPr>
          <p:spPr bwMode="auto">
            <a:xfrm>
              <a:off x="2260"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7847" y="17474"/>
                  </a:moveTo>
                  <a:cubicBezTo>
                    <a:pt x="4156" y="14793"/>
                    <a:pt x="1409" y="11013"/>
                    <a:pt x="0" y="6674"/>
                  </a:cubicBezTo>
                </a:path>
                <a:path w="20543" h="17475" stroke="0" extrusionOk="0">
                  <a:moveTo>
                    <a:pt x="7847" y="17474"/>
                  </a:moveTo>
                  <a:cubicBezTo>
                    <a:pt x="4156" y="14793"/>
                    <a:pt x="1409" y="11013"/>
                    <a:pt x="0" y="6674"/>
                  </a:cubicBezTo>
                  <a:lnTo>
                    <a:pt x="20543" y="0"/>
                  </a:lnTo>
                  <a:close/>
                </a:path>
              </a:pathLst>
            </a:custGeom>
            <a:solidFill>
              <a:schemeClr val="bg1"/>
            </a:solidFill>
            <a:ln w="12700">
              <a:solidFill>
                <a:schemeClr val="accent3"/>
              </a:solidFill>
              <a:round/>
              <a:headEnd/>
              <a:tailEnd/>
            </a:ln>
          </p:spPr>
          <p:txBody>
            <a:bodyPr anchor="ctr"/>
            <a:lstStyle/>
            <a:p>
              <a:pPr algn="ctr">
                <a:defRPr/>
              </a:pPr>
              <a:endParaRPr lang="en-GB" sz="1200">
                <a:solidFill>
                  <a:schemeClr val="tx2"/>
                </a:solidFill>
              </a:endParaRPr>
            </a:p>
          </p:txBody>
        </p:sp>
        <p:sp>
          <p:nvSpPr>
            <p:cNvPr id="24" name="Freeform 23"/>
            <p:cNvSpPr>
              <a:spLocks/>
            </p:cNvSpPr>
            <p:nvPr/>
          </p:nvSpPr>
          <p:spPr bwMode="auto">
            <a:xfrm>
              <a:off x="2260" y="2880"/>
              <a:ext cx="1097" cy="933"/>
            </a:xfrm>
            <a:custGeom>
              <a:avLst/>
              <a:gdLst>
                <a:gd name="T0" fmla="*/ 419 w 1097"/>
                <a:gd name="T1" fmla="*/ 932 h 933"/>
                <a:gd name="T2" fmla="*/ 1096 w 1097"/>
                <a:gd name="T3" fmla="*/ 0 h 933"/>
                <a:gd name="T4" fmla="*/ 0 w 1097"/>
                <a:gd name="T5" fmla="*/ 35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419" y="932"/>
                  </a:moveTo>
                  <a:lnTo>
                    <a:pt x="1096" y="0"/>
                  </a:lnTo>
                  <a:lnTo>
                    <a:pt x="0" y="356"/>
                  </a:lnTo>
                </a:path>
              </a:pathLst>
            </a:custGeom>
            <a:solidFill>
              <a:schemeClr val="bg1"/>
            </a:solidFill>
            <a:ln w="12700">
              <a:solidFill>
                <a:schemeClr val="accent3"/>
              </a:solidFill>
              <a:round/>
              <a:headEnd/>
              <a:tailEnd/>
            </a:ln>
          </p:spPr>
          <p:txBody>
            <a:bodyPr anchor="ctr"/>
            <a:lstStyle/>
            <a:p>
              <a:pPr>
                <a:defRPr/>
              </a:pPr>
              <a:endParaRPr lang="en-GB" sz="1200">
                <a:solidFill>
                  <a:schemeClr val="tx2"/>
                </a:solidFill>
              </a:endParaRPr>
            </a:p>
          </p:txBody>
        </p:sp>
      </p:grpSp>
      <p:grpSp>
        <p:nvGrpSpPr>
          <p:cNvPr id="19" name="Group 24"/>
          <p:cNvGrpSpPr>
            <a:grpSpLocks/>
          </p:cNvGrpSpPr>
          <p:nvPr/>
        </p:nvGrpSpPr>
        <p:grpSpPr bwMode="auto">
          <a:xfrm>
            <a:off x="2271713" y="3178807"/>
            <a:ext cx="2292350" cy="1419225"/>
            <a:chOff x="2204" y="2524"/>
            <a:chExt cx="1153" cy="713"/>
          </a:xfrm>
        </p:grpSpPr>
        <p:sp>
          <p:nvSpPr>
            <p:cNvPr id="26" name="Arc 25"/>
            <p:cNvSpPr>
              <a:spLocks/>
            </p:cNvSpPr>
            <p:nvPr/>
          </p:nvSpPr>
          <p:spPr bwMode="auto">
            <a:xfrm>
              <a:off x="2204"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1057" y="13349"/>
                  </a:moveTo>
                  <a:cubicBezTo>
                    <a:pt x="356" y="11194"/>
                    <a:pt x="0" y="8941"/>
                    <a:pt x="0" y="6675"/>
                  </a:cubicBezTo>
                  <a:cubicBezTo>
                    <a:pt x="-1" y="4408"/>
                    <a:pt x="356" y="2155"/>
                    <a:pt x="1057" y="0"/>
                  </a:cubicBezTo>
                </a:path>
                <a:path w="21600" h="13350" stroke="0" extrusionOk="0">
                  <a:moveTo>
                    <a:pt x="1057" y="13349"/>
                  </a:moveTo>
                  <a:cubicBezTo>
                    <a:pt x="356" y="11194"/>
                    <a:pt x="0" y="8941"/>
                    <a:pt x="0" y="6675"/>
                  </a:cubicBezTo>
                  <a:cubicBezTo>
                    <a:pt x="-1" y="4408"/>
                    <a:pt x="356" y="2155"/>
                    <a:pt x="1057" y="0"/>
                  </a:cubicBezTo>
                  <a:lnTo>
                    <a:pt x="21600" y="6675"/>
                  </a:lnTo>
                  <a:close/>
                </a:path>
              </a:pathLst>
            </a:custGeom>
            <a:solidFill>
              <a:schemeClr val="bg1"/>
            </a:solidFill>
            <a:ln w="12700">
              <a:solidFill>
                <a:schemeClr val="accent3"/>
              </a:solidFill>
              <a:round/>
              <a:headEnd/>
              <a:tailEnd/>
            </a:ln>
          </p:spPr>
          <p:txBody>
            <a:bodyPr anchor="ctr"/>
            <a:lstStyle/>
            <a:p>
              <a:pPr algn="ctr">
                <a:defRPr/>
              </a:pPr>
              <a:endParaRPr lang="en-GB" sz="1200">
                <a:ln>
                  <a:solidFill>
                    <a:schemeClr val="accent3"/>
                  </a:solidFill>
                </a:ln>
                <a:solidFill>
                  <a:schemeClr val="tx2"/>
                </a:solidFill>
              </a:endParaRPr>
            </a:p>
          </p:txBody>
        </p:sp>
        <p:sp>
          <p:nvSpPr>
            <p:cNvPr id="27" name="Freeform 26"/>
            <p:cNvSpPr>
              <a:spLocks/>
            </p:cNvSpPr>
            <p:nvPr/>
          </p:nvSpPr>
          <p:spPr bwMode="auto">
            <a:xfrm>
              <a:off x="2260" y="2524"/>
              <a:ext cx="1097" cy="713"/>
            </a:xfrm>
            <a:custGeom>
              <a:avLst/>
              <a:gdLst>
                <a:gd name="T0" fmla="*/ 0 w 1097"/>
                <a:gd name="T1" fmla="*/ 712 h 713"/>
                <a:gd name="T2" fmla="*/ 1096 w 1097"/>
                <a:gd name="T3" fmla="*/ 356 h 713"/>
                <a:gd name="T4" fmla="*/ 0 w 1097"/>
                <a:gd name="T5" fmla="*/ 0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0" y="712"/>
                  </a:moveTo>
                  <a:lnTo>
                    <a:pt x="1096" y="356"/>
                  </a:lnTo>
                  <a:lnTo>
                    <a:pt x="0" y="0"/>
                  </a:lnTo>
                </a:path>
              </a:pathLst>
            </a:custGeom>
            <a:solidFill>
              <a:schemeClr val="bg1"/>
            </a:solidFill>
            <a:ln w="12700">
              <a:solidFill>
                <a:schemeClr val="accent3"/>
              </a:solidFill>
              <a:round/>
              <a:headEnd/>
              <a:tailEnd/>
            </a:ln>
          </p:spPr>
          <p:txBody>
            <a:bodyPr anchor="ctr"/>
            <a:lstStyle/>
            <a:p>
              <a:pPr>
                <a:defRPr/>
              </a:pPr>
              <a:endParaRPr lang="en-GB" sz="1200">
                <a:ln>
                  <a:solidFill>
                    <a:schemeClr val="accent3"/>
                  </a:solidFill>
                </a:ln>
                <a:solidFill>
                  <a:schemeClr val="tx2"/>
                </a:solidFill>
              </a:endParaRPr>
            </a:p>
          </p:txBody>
        </p:sp>
      </p:grpSp>
      <p:grpSp>
        <p:nvGrpSpPr>
          <p:cNvPr id="22" name="Group 27"/>
          <p:cNvGrpSpPr>
            <a:grpSpLocks/>
          </p:cNvGrpSpPr>
          <p:nvPr/>
        </p:nvGrpSpPr>
        <p:grpSpPr bwMode="auto">
          <a:xfrm>
            <a:off x="2382838" y="2034219"/>
            <a:ext cx="2181225" cy="1855788"/>
            <a:chOff x="2260" y="1948"/>
            <a:chExt cx="1097" cy="933"/>
          </a:xfrm>
        </p:grpSpPr>
        <p:sp>
          <p:nvSpPr>
            <p:cNvPr id="29" name="Arc 28"/>
            <p:cNvSpPr>
              <a:spLocks/>
            </p:cNvSpPr>
            <p:nvPr/>
          </p:nvSpPr>
          <p:spPr bwMode="auto">
            <a:xfrm>
              <a:off x="2260"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0" y="10800"/>
                  </a:moveTo>
                  <a:cubicBezTo>
                    <a:pt x="1409" y="6461"/>
                    <a:pt x="4156" y="2681"/>
                    <a:pt x="7847" y="0"/>
                  </a:cubicBezTo>
                </a:path>
                <a:path w="20543" h="17475" stroke="0" extrusionOk="0">
                  <a:moveTo>
                    <a:pt x="0" y="10800"/>
                  </a:moveTo>
                  <a:cubicBezTo>
                    <a:pt x="1409" y="6461"/>
                    <a:pt x="4156" y="2681"/>
                    <a:pt x="7847" y="0"/>
                  </a:cubicBezTo>
                  <a:lnTo>
                    <a:pt x="20543" y="17475"/>
                  </a:lnTo>
                  <a:close/>
                </a:path>
              </a:pathLst>
            </a:custGeom>
            <a:solidFill>
              <a:schemeClr val="bg1"/>
            </a:solidFill>
            <a:ln w="12700">
              <a:solidFill>
                <a:schemeClr val="accent3"/>
              </a:solidFill>
              <a:round/>
              <a:headEnd/>
              <a:tailEnd/>
            </a:ln>
          </p:spPr>
          <p:txBody>
            <a:bodyPr anchor="ctr"/>
            <a:lstStyle/>
            <a:p>
              <a:pPr algn="ctr">
                <a:defRPr/>
              </a:pPr>
              <a:endParaRPr lang="en-GB" sz="1200">
                <a:ln>
                  <a:solidFill>
                    <a:schemeClr val="accent3"/>
                  </a:solidFill>
                </a:ln>
                <a:solidFill>
                  <a:schemeClr val="tx2"/>
                </a:solidFill>
              </a:endParaRPr>
            </a:p>
          </p:txBody>
        </p:sp>
        <p:sp>
          <p:nvSpPr>
            <p:cNvPr id="30" name="Freeform 29"/>
            <p:cNvSpPr>
              <a:spLocks/>
            </p:cNvSpPr>
            <p:nvPr/>
          </p:nvSpPr>
          <p:spPr bwMode="auto">
            <a:xfrm>
              <a:off x="2260" y="1948"/>
              <a:ext cx="1097" cy="933"/>
            </a:xfrm>
            <a:custGeom>
              <a:avLst/>
              <a:gdLst>
                <a:gd name="T0" fmla="*/ 0 w 1097"/>
                <a:gd name="T1" fmla="*/ 576 h 933"/>
                <a:gd name="T2" fmla="*/ 1096 w 1097"/>
                <a:gd name="T3" fmla="*/ 932 h 933"/>
                <a:gd name="T4" fmla="*/ 419 w 1097"/>
                <a:gd name="T5" fmla="*/ 0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0" y="576"/>
                  </a:moveTo>
                  <a:lnTo>
                    <a:pt x="1096" y="932"/>
                  </a:lnTo>
                  <a:lnTo>
                    <a:pt x="419" y="0"/>
                  </a:lnTo>
                </a:path>
              </a:pathLst>
            </a:custGeom>
            <a:solidFill>
              <a:schemeClr val="bg1"/>
            </a:solidFill>
            <a:ln w="12700">
              <a:solidFill>
                <a:schemeClr val="accent3"/>
              </a:solidFill>
              <a:round/>
              <a:headEnd/>
              <a:tailEnd/>
            </a:ln>
          </p:spPr>
          <p:txBody>
            <a:bodyPr anchor="ctr"/>
            <a:lstStyle/>
            <a:p>
              <a:pPr>
                <a:defRPr/>
              </a:pPr>
              <a:endParaRPr lang="en-GB" sz="1200">
                <a:ln>
                  <a:solidFill>
                    <a:schemeClr val="accent3"/>
                  </a:solidFill>
                </a:ln>
                <a:solidFill>
                  <a:schemeClr val="tx2"/>
                </a:solidFill>
              </a:endParaRPr>
            </a:p>
          </p:txBody>
        </p:sp>
      </p:grpSp>
      <p:grpSp>
        <p:nvGrpSpPr>
          <p:cNvPr id="25" name="Group 30"/>
          <p:cNvGrpSpPr>
            <a:grpSpLocks/>
          </p:cNvGrpSpPr>
          <p:nvPr/>
        </p:nvGrpSpPr>
        <p:grpSpPr bwMode="auto">
          <a:xfrm>
            <a:off x="3216275" y="1596069"/>
            <a:ext cx="1347788" cy="2293938"/>
            <a:chOff x="2679" y="1728"/>
            <a:chExt cx="678" cy="1153"/>
          </a:xfrm>
        </p:grpSpPr>
        <p:sp>
          <p:nvSpPr>
            <p:cNvPr id="32" name="Arc 31"/>
            <p:cNvSpPr>
              <a:spLocks/>
            </p:cNvSpPr>
            <p:nvPr/>
          </p:nvSpPr>
          <p:spPr bwMode="auto">
            <a:xfrm>
              <a:off x="2679"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0" y="4125"/>
                  </a:moveTo>
                  <a:cubicBezTo>
                    <a:pt x="3690" y="1444"/>
                    <a:pt x="8134" y="0"/>
                    <a:pt x="12695" y="0"/>
                  </a:cubicBezTo>
                </a:path>
                <a:path w="12696" h="21600" stroke="0" extrusionOk="0">
                  <a:moveTo>
                    <a:pt x="0" y="4125"/>
                  </a:moveTo>
                  <a:cubicBezTo>
                    <a:pt x="3690" y="1444"/>
                    <a:pt x="8134" y="0"/>
                    <a:pt x="12695" y="0"/>
                  </a:cubicBezTo>
                  <a:lnTo>
                    <a:pt x="12696" y="21600"/>
                  </a:lnTo>
                  <a:close/>
                </a:path>
              </a:pathLst>
            </a:custGeom>
            <a:solidFill>
              <a:schemeClr val="bg1"/>
            </a:solidFill>
            <a:ln w="12700">
              <a:solidFill>
                <a:schemeClr val="accent3"/>
              </a:solidFill>
              <a:round/>
              <a:headEnd/>
              <a:tailEnd/>
            </a:ln>
          </p:spPr>
          <p:txBody>
            <a:bodyPr anchor="ctr"/>
            <a:lstStyle/>
            <a:p>
              <a:pPr algn="ctr">
                <a:defRPr/>
              </a:pPr>
              <a:endParaRPr lang="en-GB" sz="1200">
                <a:ln>
                  <a:solidFill>
                    <a:schemeClr val="accent3"/>
                  </a:solidFill>
                </a:ln>
                <a:solidFill>
                  <a:schemeClr val="tx2"/>
                </a:solidFill>
              </a:endParaRPr>
            </a:p>
          </p:txBody>
        </p:sp>
        <p:sp>
          <p:nvSpPr>
            <p:cNvPr id="33" name="Freeform 32"/>
            <p:cNvSpPr>
              <a:spLocks/>
            </p:cNvSpPr>
            <p:nvPr/>
          </p:nvSpPr>
          <p:spPr bwMode="auto">
            <a:xfrm>
              <a:off x="2679" y="1728"/>
              <a:ext cx="678" cy="1153"/>
            </a:xfrm>
            <a:custGeom>
              <a:avLst/>
              <a:gdLst>
                <a:gd name="T0" fmla="*/ 0 w 678"/>
                <a:gd name="T1" fmla="*/ 220 h 1153"/>
                <a:gd name="T2" fmla="*/ 677 w 678"/>
                <a:gd name="T3" fmla="*/ 1152 h 1153"/>
                <a:gd name="T4" fmla="*/ 677 w 678"/>
                <a:gd name="T5" fmla="*/ 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220"/>
                  </a:moveTo>
                  <a:lnTo>
                    <a:pt x="677" y="1152"/>
                  </a:lnTo>
                  <a:lnTo>
                    <a:pt x="677" y="0"/>
                  </a:lnTo>
                </a:path>
              </a:pathLst>
            </a:custGeom>
            <a:solidFill>
              <a:schemeClr val="bg1"/>
            </a:solidFill>
            <a:ln w="12700">
              <a:solidFill>
                <a:schemeClr val="accent3"/>
              </a:solidFill>
              <a:round/>
              <a:headEnd/>
              <a:tailEnd/>
            </a:ln>
          </p:spPr>
          <p:txBody>
            <a:bodyPr anchor="ctr"/>
            <a:lstStyle/>
            <a:p>
              <a:pPr>
                <a:defRPr/>
              </a:pPr>
              <a:endParaRPr lang="en-GB" sz="1200">
                <a:ln>
                  <a:solidFill>
                    <a:schemeClr val="accent3"/>
                  </a:solidFill>
                </a:ln>
                <a:solidFill>
                  <a:schemeClr val="tx2"/>
                </a:solidFill>
              </a:endParaRPr>
            </a:p>
          </p:txBody>
        </p:sp>
      </p:grpSp>
      <p:sp>
        <p:nvSpPr>
          <p:cNvPr id="34" name="Oval 33"/>
          <p:cNvSpPr>
            <a:spLocks noChangeArrowheads="1"/>
          </p:cNvSpPr>
          <p:nvPr/>
        </p:nvSpPr>
        <p:spPr bwMode="auto">
          <a:xfrm>
            <a:off x="3425825" y="2742244"/>
            <a:ext cx="2292350" cy="2290763"/>
          </a:xfrm>
          <a:prstGeom prst="ellipse">
            <a:avLst/>
          </a:prstGeom>
          <a:solidFill>
            <a:schemeClr val="accent3"/>
          </a:solidFill>
          <a:ln w="12700">
            <a:solidFill>
              <a:schemeClr val="bg2"/>
            </a:solidFill>
            <a:round/>
            <a:headEnd/>
            <a:tailEnd/>
          </a:ln>
        </p:spPr>
        <p:txBody>
          <a:bodyPr anchor="ctr"/>
          <a:lstStyle/>
          <a:p>
            <a:pPr algn="ctr">
              <a:lnSpc>
                <a:spcPct val="95000"/>
              </a:lnSpc>
              <a:spcAft>
                <a:spcPct val="37000"/>
              </a:spcAft>
              <a:defRPr/>
            </a:pPr>
            <a:r>
              <a:rPr lang="en-GB" sz="1200">
                <a:solidFill>
                  <a:schemeClr val="bg1"/>
                </a:solidFill>
                <a:ea typeface="ＭＳ Ｐゴシック" pitchFamily="50" charset="-128"/>
              </a:rPr>
              <a:t>Text</a:t>
            </a:r>
          </a:p>
        </p:txBody>
      </p:sp>
      <p:sp>
        <p:nvSpPr>
          <p:cNvPr id="686094" name="Text Box 34"/>
          <p:cNvSpPr txBox="1">
            <a:spLocks noChangeArrowheads="1"/>
          </p:cNvSpPr>
          <p:nvPr/>
        </p:nvSpPr>
        <p:spPr bwMode="gray">
          <a:xfrm>
            <a:off x="3868155" y="2145344"/>
            <a:ext cx="304378" cy="195759"/>
          </a:xfrm>
          <a:prstGeom prst="rect">
            <a:avLst/>
          </a:prstGeom>
          <a:noFill/>
          <a:ln w="9525" algn="ctr">
            <a:noFill/>
            <a:miter lim="800000"/>
            <a:headEnd/>
            <a:tailEnd/>
          </a:ln>
        </p:spPr>
        <p:txBody>
          <a:bodyPr wrap="none" lIns="0" tIns="0" rIns="0" bIns="0">
            <a:spAutoFit/>
          </a:bodyPr>
          <a:lstStyle/>
          <a:p>
            <a:pPr algn="ctr">
              <a:lnSpc>
                <a:spcPct val="106000"/>
              </a:lnSpc>
              <a:buClr>
                <a:schemeClr val="tx1"/>
              </a:buClr>
              <a:buFont typeface="Wingdings 2" pitchFamily="18" charset="2"/>
              <a:buNone/>
            </a:pPr>
            <a:r>
              <a:rPr lang="en-GB" sz="1200" dirty="0">
                <a:solidFill>
                  <a:schemeClr val="tx2"/>
                </a:solidFill>
              </a:rPr>
              <a:t>Text</a:t>
            </a:r>
          </a:p>
        </p:txBody>
      </p:sp>
      <p:sp>
        <p:nvSpPr>
          <p:cNvPr id="686095" name="Text Box 35"/>
          <p:cNvSpPr txBox="1">
            <a:spLocks noChangeArrowheads="1"/>
          </p:cNvSpPr>
          <p:nvPr/>
        </p:nvSpPr>
        <p:spPr bwMode="gray">
          <a:xfrm>
            <a:off x="4852405" y="2145344"/>
            <a:ext cx="304378" cy="195759"/>
          </a:xfrm>
          <a:prstGeom prst="rect">
            <a:avLst/>
          </a:prstGeom>
          <a:noFill/>
          <a:ln w="9525" algn="ctr">
            <a:noFill/>
            <a:miter lim="800000"/>
            <a:headEnd/>
            <a:tailEnd/>
          </a:ln>
        </p:spPr>
        <p:txBody>
          <a:bodyPr wrap="none" lIns="0" tIns="0" rIns="0" bIns="0">
            <a:spAutoFit/>
          </a:bodyPr>
          <a:lstStyle/>
          <a:p>
            <a:pPr algn="ctr">
              <a:lnSpc>
                <a:spcPct val="106000"/>
              </a:lnSpc>
              <a:buClr>
                <a:schemeClr val="tx1"/>
              </a:buClr>
              <a:buFont typeface="Wingdings 2" pitchFamily="18" charset="2"/>
              <a:buNone/>
            </a:pPr>
            <a:r>
              <a:rPr lang="en-GB" sz="1200">
                <a:solidFill>
                  <a:schemeClr val="tx2"/>
                </a:solidFill>
              </a:rPr>
              <a:t>Text</a:t>
            </a:r>
          </a:p>
        </p:txBody>
      </p:sp>
      <p:sp>
        <p:nvSpPr>
          <p:cNvPr id="686096" name="Text Box 36"/>
          <p:cNvSpPr txBox="1">
            <a:spLocks noChangeArrowheads="1"/>
          </p:cNvSpPr>
          <p:nvPr/>
        </p:nvSpPr>
        <p:spPr bwMode="gray">
          <a:xfrm>
            <a:off x="5696955" y="2754944"/>
            <a:ext cx="304378" cy="195759"/>
          </a:xfrm>
          <a:prstGeom prst="rect">
            <a:avLst/>
          </a:prstGeom>
          <a:noFill/>
          <a:ln w="9525" algn="ctr">
            <a:noFill/>
            <a:miter lim="800000"/>
            <a:headEnd/>
            <a:tailEnd/>
          </a:ln>
        </p:spPr>
        <p:txBody>
          <a:bodyPr wrap="none" lIns="0" tIns="0" rIns="0" bIns="0">
            <a:spAutoFit/>
          </a:bodyPr>
          <a:lstStyle/>
          <a:p>
            <a:pPr algn="ctr">
              <a:lnSpc>
                <a:spcPct val="106000"/>
              </a:lnSpc>
              <a:buClr>
                <a:schemeClr val="tx1"/>
              </a:buClr>
              <a:buFont typeface="Wingdings 2" pitchFamily="18" charset="2"/>
              <a:buNone/>
            </a:pPr>
            <a:r>
              <a:rPr lang="en-GB" sz="1200">
                <a:solidFill>
                  <a:schemeClr val="tx2"/>
                </a:solidFill>
              </a:rPr>
              <a:t>Text</a:t>
            </a:r>
          </a:p>
        </p:txBody>
      </p:sp>
      <p:sp>
        <p:nvSpPr>
          <p:cNvPr id="686097" name="Text Box 37"/>
          <p:cNvSpPr txBox="1">
            <a:spLocks noChangeArrowheads="1"/>
          </p:cNvSpPr>
          <p:nvPr/>
        </p:nvSpPr>
        <p:spPr bwMode="gray">
          <a:xfrm>
            <a:off x="6048586" y="3821744"/>
            <a:ext cx="304378" cy="195759"/>
          </a:xfrm>
          <a:prstGeom prst="rect">
            <a:avLst/>
          </a:prstGeom>
          <a:noFill/>
          <a:ln w="9525" algn="ctr">
            <a:noFill/>
            <a:miter lim="800000"/>
            <a:headEnd/>
            <a:tailEnd/>
          </a:ln>
        </p:spPr>
        <p:txBody>
          <a:bodyPr wrap="none" lIns="0" tIns="0" rIns="0" bIns="0">
            <a:spAutoFit/>
          </a:bodyPr>
          <a:lstStyle/>
          <a:p>
            <a:pPr algn="ctr">
              <a:lnSpc>
                <a:spcPct val="106000"/>
              </a:lnSpc>
              <a:buClr>
                <a:schemeClr val="tx1"/>
              </a:buClr>
              <a:buFont typeface="Wingdings 2" pitchFamily="18" charset="2"/>
              <a:buNone/>
            </a:pPr>
            <a:r>
              <a:rPr lang="en-GB" sz="1200">
                <a:solidFill>
                  <a:schemeClr val="tx2"/>
                </a:solidFill>
              </a:rPr>
              <a:t>Text</a:t>
            </a:r>
          </a:p>
        </p:txBody>
      </p:sp>
      <p:sp>
        <p:nvSpPr>
          <p:cNvPr id="686098" name="Text Box 38"/>
          <p:cNvSpPr txBox="1">
            <a:spLocks noChangeArrowheads="1"/>
          </p:cNvSpPr>
          <p:nvPr/>
        </p:nvSpPr>
        <p:spPr bwMode="gray">
          <a:xfrm>
            <a:off x="5696955" y="4812344"/>
            <a:ext cx="304378" cy="195759"/>
          </a:xfrm>
          <a:prstGeom prst="rect">
            <a:avLst/>
          </a:prstGeom>
          <a:noFill/>
          <a:ln w="9525" algn="ctr">
            <a:noFill/>
            <a:miter lim="800000"/>
            <a:headEnd/>
            <a:tailEnd/>
          </a:ln>
        </p:spPr>
        <p:txBody>
          <a:bodyPr wrap="none" lIns="0" tIns="0" rIns="0" bIns="0">
            <a:spAutoFit/>
          </a:bodyPr>
          <a:lstStyle/>
          <a:p>
            <a:pPr algn="ctr">
              <a:lnSpc>
                <a:spcPct val="106000"/>
              </a:lnSpc>
              <a:buClr>
                <a:schemeClr val="tx1"/>
              </a:buClr>
              <a:buFont typeface="Wingdings 2" pitchFamily="18" charset="2"/>
              <a:buNone/>
            </a:pPr>
            <a:r>
              <a:rPr lang="en-GB" sz="1200">
                <a:solidFill>
                  <a:schemeClr val="tx2"/>
                </a:solidFill>
              </a:rPr>
              <a:t>Text</a:t>
            </a:r>
          </a:p>
        </p:txBody>
      </p:sp>
      <p:sp>
        <p:nvSpPr>
          <p:cNvPr id="686099" name="Text Box 39"/>
          <p:cNvSpPr txBox="1">
            <a:spLocks noChangeArrowheads="1"/>
          </p:cNvSpPr>
          <p:nvPr/>
        </p:nvSpPr>
        <p:spPr bwMode="gray">
          <a:xfrm>
            <a:off x="4852405" y="5440994"/>
            <a:ext cx="304378" cy="195759"/>
          </a:xfrm>
          <a:prstGeom prst="rect">
            <a:avLst/>
          </a:prstGeom>
          <a:noFill/>
          <a:ln w="9525" algn="ctr">
            <a:noFill/>
            <a:miter lim="800000"/>
            <a:headEnd/>
            <a:tailEnd/>
          </a:ln>
        </p:spPr>
        <p:txBody>
          <a:bodyPr wrap="none" lIns="0" tIns="0" rIns="0" bIns="0">
            <a:spAutoFit/>
          </a:bodyPr>
          <a:lstStyle/>
          <a:p>
            <a:pPr algn="ctr">
              <a:lnSpc>
                <a:spcPct val="106000"/>
              </a:lnSpc>
              <a:buClr>
                <a:schemeClr val="tx1"/>
              </a:buClr>
              <a:buFont typeface="Wingdings 2" pitchFamily="18" charset="2"/>
              <a:buNone/>
            </a:pPr>
            <a:r>
              <a:rPr lang="en-GB" sz="1200">
                <a:solidFill>
                  <a:schemeClr val="tx2"/>
                </a:solidFill>
              </a:rPr>
              <a:t>Text</a:t>
            </a:r>
          </a:p>
        </p:txBody>
      </p:sp>
      <p:sp>
        <p:nvSpPr>
          <p:cNvPr id="686100" name="Text Box 40"/>
          <p:cNvSpPr txBox="1">
            <a:spLocks noChangeArrowheads="1"/>
          </p:cNvSpPr>
          <p:nvPr/>
        </p:nvSpPr>
        <p:spPr bwMode="gray">
          <a:xfrm>
            <a:off x="3868155" y="5440994"/>
            <a:ext cx="304378" cy="195759"/>
          </a:xfrm>
          <a:prstGeom prst="rect">
            <a:avLst/>
          </a:prstGeom>
          <a:noFill/>
          <a:ln w="9525" algn="ctr">
            <a:noFill/>
            <a:miter lim="800000"/>
            <a:headEnd/>
            <a:tailEnd/>
          </a:ln>
        </p:spPr>
        <p:txBody>
          <a:bodyPr wrap="none" lIns="0" tIns="0" rIns="0" bIns="0">
            <a:spAutoFit/>
          </a:bodyPr>
          <a:lstStyle/>
          <a:p>
            <a:pPr algn="ctr">
              <a:lnSpc>
                <a:spcPct val="106000"/>
              </a:lnSpc>
              <a:buClr>
                <a:schemeClr val="tx1"/>
              </a:buClr>
              <a:buFont typeface="Wingdings 2" pitchFamily="18" charset="2"/>
              <a:buNone/>
            </a:pPr>
            <a:r>
              <a:rPr lang="en-GB" sz="1200">
                <a:solidFill>
                  <a:schemeClr val="tx2"/>
                </a:solidFill>
              </a:rPr>
              <a:t>Text</a:t>
            </a:r>
          </a:p>
        </p:txBody>
      </p:sp>
      <p:sp>
        <p:nvSpPr>
          <p:cNvPr id="686101" name="Text Box 41"/>
          <p:cNvSpPr txBox="1">
            <a:spLocks noChangeArrowheads="1"/>
          </p:cNvSpPr>
          <p:nvPr/>
        </p:nvSpPr>
        <p:spPr bwMode="gray">
          <a:xfrm>
            <a:off x="2953755" y="4812344"/>
            <a:ext cx="304378" cy="195759"/>
          </a:xfrm>
          <a:prstGeom prst="rect">
            <a:avLst/>
          </a:prstGeom>
          <a:noFill/>
          <a:ln w="9525" algn="ctr">
            <a:noFill/>
            <a:miter lim="800000"/>
            <a:headEnd/>
            <a:tailEnd/>
          </a:ln>
        </p:spPr>
        <p:txBody>
          <a:bodyPr wrap="none" lIns="0" tIns="0" rIns="0" bIns="0">
            <a:spAutoFit/>
          </a:bodyPr>
          <a:lstStyle/>
          <a:p>
            <a:pPr algn="ctr">
              <a:lnSpc>
                <a:spcPct val="106000"/>
              </a:lnSpc>
              <a:buClr>
                <a:schemeClr val="tx1"/>
              </a:buClr>
              <a:buFont typeface="Wingdings 2" pitchFamily="18" charset="2"/>
              <a:buNone/>
            </a:pPr>
            <a:r>
              <a:rPr lang="en-GB" sz="1200">
                <a:solidFill>
                  <a:schemeClr val="tx2"/>
                </a:solidFill>
              </a:rPr>
              <a:t>Text</a:t>
            </a:r>
          </a:p>
        </p:txBody>
      </p:sp>
      <p:sp>
        <p:nvSpPr>
          <p:cNvPr id="686102" name="Text Box 42"/>
          <p:cNvSpPr txBox="1">
            <a:spLocks noChangeArrowheads="1"/>
          </p:cNvSpPr>
          <p:nvPr/>
        </p:nvSpPr>
        <p:spPr bwMode="gray">
          <a:xfrm>
            <a:off x="2601330" y="3821744"/>
            <a:ext cx="304378" cy="195759"/>
          </a:xfrm>
          <a:prstGeom prst="rect">
            <a:avLst/>
          </a:prstGeom>
          <a:noFill/>
          <a:ln w="9525" algn="ctr">
            <a:noFill/>
            <a:miter lim="800000"/>
            <a:headEnd/>
            <a:tailEnd/>
          </a:ln>
        </p:spPr>
        <p:txBody>
          <a:bodyPr wrap="none" lIns="0" tIns="0" rIns="0" bIns="0">
            <a:spAutoFit/>
          </a:bodyPr>
          <a:lstStyle/>
          <a:p>
            <a:pPr algn="ctr">
              <a:lnSpc>
                <a:spcPct val="106000"/>
              </a:lnSpc>
              <a:buClr>
                <a:schemeClr val="tx1"/>
              </a:buClr>
              <a:buFont typeface="Wingdings 2" pitchFamily="18" charset="2"/>
              <a:buNone/>
            </a:pPr>
            <a:r>
              <a:rPr lang="en-GB" sz="1200">
                <a:solidFill>
                  <a:schemeClr val="tx2"/>
                </a:solidFill>
              </a:rPr>
              <a:t>Text</a:t>
            </a:r>
          </a:p>
        </p:txBody>
      </p:sp>
      <p:sp>
        <p:nvSpPr>
          <p:cNvPr id="686103" name="Text Box 43"/>
          <p:cNvSpPr txBox="1">
            <a:spLocks noChangeArrowheads="1"/>
          </p:cNvSpPr>
          <p:nvPr/>
        </p:nvSpPr>
        <p:spPr bwMode="gray">
          <a:xfrm>
            <a:off x="2883111" y="2754944"/>
            <a:ext cx="304378" cy="195759"/>
          </a:xfrm>
          <a:prstGeom prst="rect">
            <a:avLst/>
          </a:prstGeom>
          <a:noFill/>
          <a:ln w="9525" algn="ctr">
            <a:noFill/>
            <a:miter lim="800000"/>
            <a:headEnd/>
            <a:tailEnd/>
          </a:ln>
        </p:spPr>
        <p:txBody>
          <a:bodyPr wrap="none" lIns="0" tIns="0" rIns="0" bIns="0">
            <a:spAutoFit/>
          </a:bodyPr>
          <a:lstStyle/>
          <a:p>
            <a:pPr algn="ctr">
              <a:lnSpc>
                <a:spcPct val="106000"/>
              </a:lnSpc>
              <a:buClr>
                <a:schemeClr val="tx1"/>
              </a:buClr>
              <a:buFont typeface="Wingdings 2" pitchFamily="18" charset="2"/>
              <a:buNone/>
            </a:pPr>
            <a:r>
              <a:rPr lang="en-GB" sz="1200">
                <a:solidFill>
                  <a:schemeClr val="tx2"/>
                </a:solidFill>
              </a:rPr>
              <a:t>Text</a:t>
            </a:r>
          </a:p>
        </p:txBody>
      </p:sp>
      <p:sp>
        <p:nvSpPr>
          <p:cNvPr id="46"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4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7105" name="Title 1"/>
          <p:cNvSpPr>
            <a:spLocks noGrp="1"/>
          </p:cNvSpPr>
          <p:nvPr>
            <p:ph type="title"/>
          </p:nvPr>
        </p:nvSpPr>
        <p:spPr>
          <a:xfrm>
            <a:off x="414338" y="446038"/>
            <a:ext cx="8330184" cy="333425"/>
          </a:xfrm>
        </p:spPr>
        <p:txBody>
          <a:bodyPr/>
          <a:lstStyle/>
          <a:p>
            <a:r>
              <a:rPr lang="nl-NL"/>
              <a:t>Spheres </a:t>
            </a:r>
            <a:r>
              <a:rPr lang="en-US"/>
              <a:t>—</a:t>
            </a:r>
            <a:r>
              <a:rPr lang="nl-NL" smtClean="0"/>
              <a:t> </a:t>
            </a:r>
            <a:r>
              <a:rPr lang="nl-NL"/>
              <a:t>yin and yang</a:t>
            </a:r>
          </a:p>
        </p:txBody>
      </p:sp>
      <p:sp>
        <p:nvSpPr>
          <p:cNvPr id="687107" name="Freeform 3"/>
          <p:cNvSpPr>
            <a:spLocks/>
          </p:cNvSpPr>
          <p:nvPr/>
        </p:nvSpPr>
        <p:spPr bwMode="auto">
          <a:xfrm rot="-5400000">
            <a:off x="3297027" y="2471738"/>
            <a:ext cx="3514725" cy="2632075"/>
          </a:xfrm>
          <a:custGeom>
            <a:avLst/>
            <a:gdLst>
              <a:gd name="T0" fmla="*/ 2147483647 w 1711"/>
              <a:gd name="T1" fmla="*/ 2147483647 h 1280"/>
              <a:gd name="T2" fmla="*/ 2147483647 w 1711"/>
              <a:gd name="T3" fmla="*/ 2147483647 h 1280"/>
              <a:gd name="T4" fmla="*/ 2147483647 w 1711"/>
              <a:gd name="T5" fmla="*/ 2147483647 h 1280"/>
              <a:gd name="T6" fmla="*/ 2147483647 w 1711"/>
              <a:gd name="T7" fmla="*/ 2147483647 h 1280"/>
              <a:gd name="T8" fmla="*/ 2147483647 w 1711"/>
              <a:gd name="T9" fmla="*/ 2147483647 h 1280"/>
              <a:gd name="T10" fmla="*/ 2147483647 w 1711"/>
              <a:gd name="T11" fmla="*/ 2147483647 h 1280"/>
              <a:gd name="T12" fmla="*/ 2147483647 w 1711"/>
              <a:gd name="T13" fmla="*/ 2147483647 h 1280"/>
              <a:gd name="T14" fmla="*/ 2147483647 w 1711"/>
              <a:gd name="T15" fmla="*/ 2147483647 h 1280"/>
              <a:gd name="T16" fmla="*/ 2147483647 w 1711"/>
              <a:gd name="T17" fmla="*/ 2147483647 h 1280"/>
              <a:gd name="T18" fmla="*/ 2147483647 w 1711"/>
              <a:gd name="T19" fmla="*/ 2147483647 h 1280"/>
              <a:gd name="T20" fmla="*/ 2147483647 w 1711"/>
              <a:gd name="T21" fmla="*/ 2147483647 h 1280"/>
              <a:gd name="T22" fmla="*/ 2147483647 w 1711"/>
              <a:gd name="T23" fmla="*/ 2147483647 h 1280"/>
              <a:gd name="T24" fmla="*/ 2147483647 w 1711"/>
              <a:gd name="T25" fmla="*/ 2147483647 h 1280"/>
              <a:gd name="T26" fmla="*/ 2147483647 w 1711"/>
              <a:gd name="T27" fmla="*/ 2147483647 h 1280"/>
              <a:gd name="T28" fmla="*/ 2147483647 w 1711"/>
              <a:gd name="T29" fmla="*/ 2147483647 h 1280"/>
              <a:gd name="T30" fmla="*/ 2147483647 w 1711"/>
              <a:gd name="T31" fmla="*/ 2147483647 h 1280"/>
              <a:gd name="T32" fmla="*/ 2147483647 w 1711"/>
              <a:gd name="T33" fmla="*/ 2147483647 h 1280"/>
              <a:gd name="T34" fmla="*/ 2147483647 w 1711"/>
              <a:gd name="T35" fmla="*/ 2147483647 h 1280"/>
              <a:gd name="T36" fmla="*/ 2147483647 w 1711"/>
              <a:gd name="T37" fmla="*/ 2147483647 h 1280"/>
              <a:gd name="T38" fmla="*/ 2147483647 w 1711"/>
              <a:gd name="T39" fmla="*/ 2147483647 h 1280"/>
              <a:gd name="T40" fmla="*/ 2147483647 w 1711"/>
              <a:gd name="T41" fmla="*/ 2147483647 h 1280"/>
              <a:gd name="T42" fmla="*/ 2147483647 w 1711"/>
              <a:gd name="T43" fmla="*/ 2147483647 h 1280"/>
              <a:gd name="T44" fmla="*/ 2147483647 w 1711"/>
              <a:gd name="T45" fmla="*/ 2147483647 h 1280"/>
              <a:gd name="T46" fmla="*/ 2147483647 w 1711"/>
              <a:gd name="T47" fmla="*/ 2147483647 h 1280"/>
              <a:gd name="T48" fmla="*/ 2147483647 w 1711"/>
              <a:gd name="T49" fmla="*/ 2147483647 h 1280"/>
              <a:gd name="T50" fmla="*/ 2147483647 w 1711"/>
              <a:gd name="T51" fmla="*/ 2147483647 h 1280"/>
              <a:gd name="T52" fmla="*/ 2147483647 w 1711"/>
              <a:gd name="T53" fmla="*/ 2147483647 h 1280"/>
              <a:gd name="T54" fmla="*/ 2147483647 w 1711"/>
              <a:gd name="T55" fmla="*/ 2147483647 h 1280"/>
              <a:gd name="T56" fmla="*/ 2147483647 w 1711"/>
              <a:gd name="T57" fmla="*/ 2147483647 h 1280"/>
              <a:gd name="T58" fmla="*/ 2147483647 w 1711"/>
              <a:gd name="T59" fmla="*/ 2147483647 h 1280"/>
              <a:gd name="T60" fmla="*/ 2147483647 w 1711"/>
              <a:gd name="T61" fmla="*/ 2147483647 h 1280"/>
              <a:gd name="T62" fmla="*/ 2147483647 w 1711"/>
              <a:gd name="T63" fmla="*/ 2147483647 h 1280"/>
              <a:gd name="T64" fmla="*/ 2147483647 w 1711"/>
              <a:gd name="T65" fmla="*/ 2147483647 h 1280"/>
              <a:gd name="T66" fmla="*/ 2147483647 w 1711"/>
              <a:gd name="T67" fmla="*/ 2147483647 h 1280"/>
              <a:gd name="T68" fmla="*/ 2147483647 w 1711"/>
              <a:gd name="T69" fmla="*/ 2147483647 h 1280"/>
              <a:gd name="T70" fmla="*/ 2147483647 w 1711"/>
              <a:gd name="T71" fmla="*/ 2147483647 h 1280"/>
              <a:gd name="T72" fmla="*/ 2147483647 w 1711"/>
              <a:gd name="T73" fmla="*/ 2147483647 h 1280"/>
              <a:gd name="T74" fmla="*/ 2147483647 w 1711"/>
              <a:gd name="T75" fmla="*/ 2147483647 h 1280"/>
              <a:gd name="T76" fmla="*/ 2147483647 w 1711"/>
              <a:gd name="T77" fmla="*/ 2147483647 h 1280"/>
              <a:gd name="T78" fmla="*/ 2147483647 w 1711"/>
              <a:gd name="T79" fmla="*/ 2147483647 h 1280"/>
              <a:gd name="T80" fmla="*/ 2147483647 w 1711"/>
              <a:gd name="T81" fmla="*/ 2147483647 h 1280"/>
              <a:gd name="T82" fmla="*/ 2147483647 w 1711"/>
              <a:gd name="T83" fmla="*/ 2147483647 h 1280"/>
              <a:gd name="T84" fmla="*/ 2147483647 w 1711"/>
              <a:gd name="T85" fmla="*/ 2147483647 h 1280"/>
              <a:gd name="T86" fmla="*/ 2147483647 w 1711"/>
              <a:gd name="T87" fmla="*/ 2147483647 h 1280"/>
              <a:gd name="T88" fmla="*/ 2147483647 w 1711"/>
              <a:gd name="T89" fmla="*/ 2147483647 h 1280"/>
              <a:gd name="T90" fmla="*/ 2147483647 w 1711"/>
              <a:gd name="T91" fmla="*/ 2147483647 h 1280"/>
              <a:gd name="T92" fmla="*/ 2147483647 w 1711"/>
              <a:gd name="T93" fmla="*/ 2147483647 h 1280"/>
              <a:gd name="T94" fmla="*/ 2147483647 w 1711"/>
              <a:gd name="T95" fmla="*/ 2147483647 h 12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11"/>
              <a:gd name="T145" fmla="*/ 0 h 1280"/>
              <a:gd name="T146" fmla="*/ 1711 w 1711"/>
              <a:gd name="T147" fmla="*/ 1280 h 12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11" h="1280">
                <a:moveTo>
                  <a:pt x="1663" y="798"/>
                </a:moveTo>
                <a:lnTo>
                  <a:pt x="1673" y="779"/>
                </a:lnTo>
                <a:lnTo>
                  <a:pt x="1682" y="757"/>
                </a:lnTo>
                <a:lnTo>
                  <a:pt x="1689" y="737"/>
                </a:lnTo>
                <a:lnTo>
                  <a:pt x="1695" y="716"/>
                </a:lnTo>
                <a:lnTo>
                  <a:pt x="1700" y="694"/>
                </a:lnTo>
                <a:lnTo>
                  <a:pt x="1704" y="673"/>
                </a:lnTo>
                <a:lnTo>
                  <a:pt x="1707" y="652"/>
                </a:lnTo>
                <a:lnTo>
                  <a:pt x="1709" y="631"/>
                </a:lnTo>
                <a:lnTo>
                  <a:pt x="1710" y="610"/>
                </a:lnTo>
                <a:lnTo>
                  <a:pt x="1710" y="588"/>
                </a:lnTo>
                <a:lnTo>
                  <a:pt x="1709" y="566"/>
                </a:lnTo>
                <a:lnTo>
                  <a:pt x="1707" y="546"/>
                </a:lnTo>
                <a:lnTo>
                  <a:pt x="1703" y="525"/>
                </a:lnTo>
                <a:lnTo>
                  <a:pt x="1699" y="504"/>
                </a:lnTo>
                <a:lnTo>
                  <a:pt x="1694" y="484"/>
                </a:lnTo>
                <a:lnTo>
                  <a:pt x="1688" y="463"/>
                </a:lnTo>
                <a:lnTo>
                  <a:pt x="1680" y="443"/>
                </a:lnTo>
                <a:lnTo>
                  <a:pt x="1672" y="424"/>
                </a:lnTo>
                <a:lnTo>
                  <a:pt x="1663" y="405"/>
                </a:lnTo>
                <a:lnTo>
                  <a:pt x="1653" y="386"/>
                </a:lnTo>
                <a:lnTo>
                  <a:pt x="1642" y="368"/>
                </a:lnTo>
                <a:lnTo>
                  <a:pt x="1631" y="350"/>
                </a:lnTo>
                <a:lnTo>
                  <a:pt x="1618" y="333"/>
                </a:lnTo>
                <a:lnTo>
                  <a:pt x="1605" y="316"/>
                </a:lnTo>
                <a:lnTo>
                  <a:pt x="1591" y="299"/>
                </a:lnTo>
                <a:lnTo>
                  <a:pt x="1576" y="284"/>
                </a:lnTo>
                <a:lnTo>
                  <a:pt x="1560" y="270"/>
                </a:lnTo>
                <a:lnTo>
                  <a:pt x="1542" y="256"/>
                </a:lnTo>
                <a:lnTo>
                  <a:pt x="1525" y="242"/>
                </a:lnTo>
                <a:lnTo>
                  <a:pt x="1507" y="230"/>
                </a:lnTo>
                <a:lnTo>
                  <a:pt x="1487" y="218"/>
                </a:lnTo>
                <a:lnTo>
                  <a:pt x="1468" y="207"/>
                </a:lnTo>
                <a:lnTo>
                  <a:pt x="1448" y="197"/>
                </a:lnTo>
                <a:lnTo>
                  <a:pt x="1427" y="189"/>
                </a:lnTo>
                <a:lnTo>
                  <a:pt x="1406" y="181"/>
                </a:lnTo>
                <a:lnTo>
                  <a:pt x="1385" y="175"/>
                </a:lnTo>
                <a:lnTo>
                  <a:pt x="1364" y="170"/>
                </a:lnTo>
                <a:lnTo>
                  <a:pt x="1343" y="166"/>
                </a:lnTo>
                <a:lnTo>
                  <a:pt x="1322" y="162"/>
                </a:lnTo>
                <a:lnTo>
                  <a:pt x="1301" y="160"/>
                </a:lnTo>
                <a:lnTo>
                  <a:pt x="1279" y="160"/>
                </a:lnTo>
                <a:lnTo>
                  <a:pt x="1258" y="160"/>
                </a:lnTo>
                <a:lnTo>
                  <a:pt x="1236" y="161"/>
                </a:lnTo>
                <a:lnTo>
                  <a:pt x="1216" y="163"/>
                </a:lnTo>
                <a:lnTo>
                  <a:pt x="1195" y="166"/>
                </a:lnTo>
                <a:lnTo>
                  <a:pt x="1174" y="170"/>
                </a:lnTo>
                <a:lnTo>
                  <a:pt x="1153" y="175"/>
                </a:lnTo>
                <a:lnTo>
                  <a:pt x="1134" y="181"/>
                </a:lnTo>
                <a:lnTo>
                  <a:pt x="1114" y="188"/>
                </a:lnTo>
                <a:lnTo>
                  <a:pt x="1095" y="196"/>
                </a:lnTo>
                <a:lnTo>
                  <a:pt x="1075" y="205"/>
                </a:lnTo>
                <a:lnTo>
                  <a:pt x="1056" y="215"/>
                </a:lnTo>
                <a:lnTo>
                  <a:pt x="1038" y="225"/>
                </a:lnTo>
                <a:lnTo>
                  <a:pt x="1020" y="236"/>
                </a:lnTo>
                <a:lnTo>
                  <a:pt x="1003" y="249"/>
                </a:lnTo>
                <a:lnTo>
                  <a:pt x="987" y="262"/>
                </a:lnTo>
                <a:lnTo>
                  <a:pt x="971" y="276"/>
                </a:lnTo>
                <a:lnTo>
                  <a:pt x="955" y="291"/>
                </a:lnTo>
                <a:lnTo>
                  <a:pt x="941" y="307"/>
                </a:lnTo>
                <a:lnTo>
                  <a:pt x="926" y="324"/>
                </a:lnTo>
                <a:lnTo>
                  <a:pt x="914" y="341"/>
                </a:lnTo>
                <a:lnTo>
                  <a:pt x="901" y="360"/>
                </a:lnTo>
                <a:lnTo>
                  <a:pt x="889" y="379"/>
                </a:lnTo>
                <a:lnTo>
                  <a:pt x="879" y="399"/>
                </a:lnTo>
                <a:lnTo>
                  <a:pt x="868" y="419"/>
                </a:lnTo>
                <a:lnTo>
                  <a:pt x="856" y="437"/>
                </a:lnTo>
                <a:lnTo>
                  <a:pt x="844" y="456"/>
                </a:lnTo>
                <a:lnTo>
                  <a:pt x="831" y="473"/>
                </a:lnTo>
                <a:lnTo>
                  <a:pt x="817" y="490"/>
                </a:lnTo>
                <a:lnTo>
                  <a:pt x="802" y="506"/>
                </a:lnTo>
                <a:lnTo>
                  <a:pt x="786" y="521"/>
                </a:lnTo>
                <a:lnTo>
                  <a:pt x="771" y="535"/>
                </a:lnTo>
                <a:lnTo>
                  <a:pt x="754" y="549"/>
                </a:lnTo>
                <a:lnTo>
                  <a:pt x="737" y="561"/>
                </a:lnTo>
                <a:lnTo>
                  <a:pt x="719" y="572"/>
                </a:lnTo>
                <a:lnTo>
                  <a:pt x="701" y="583"/>
                </a:lnTo>
                <a:lnTo>
                  <a:pt x="682" y="593"/>
                </a:lnTo>
                <a:lnTo>
                  <a:pt x="663" y="602"/>
                </a:lnTo>
                <a:lnTo>
                  <a:pt x="643" y="610"/>
                </a:lnTo>
                <a:lnTo>
                  <a:pt x="623" y="616"/>
                </a:lnTo>
                <a:lnTo>
                  <a:pt x="604" y="623"/>
                </a:lnTo>
                <a:lnTo>
                  <a:pt x="583" y="627"/>
                </a:lnTo>
                <a:lnTo>
                  <a:pt x="562" y="631"/>
                </a:lnTo>
                <a:lnTo>
                  <a:pt x="541" y="635"/>
                </a:lnTo>
                <a:lnTo>
                  <a:pt x="521" y="637"/>
                </a:lnTo>
                <a:lnTo>
                  <a:pt x="499" y="638"/>
                </a:lnTo>
                <a:lnTo>
                  <a:pt x="478" y="638"/>
                </a:lnTo>
                <a:lnTo>
                  <a:pt x="457" y="637"/>
                </a:lnTo>
                <a:lnTo>
                  <a:pt x="436" y="635"/>
                </a:lnTo>
                <a:lnTo>
                  <a:pt x="415" y="632"/>
                </a:lnTo>
                <a:lnTo>
                  <a:pt x="393" y="627"/>
                </a:lnTo>
                <a:lnTo>
                  <a:pt x="372" y="622"/>
                </a:lnTo>
                <a:lnTo>
                  <a:pt x="351" y="616"/>
                </a:lnTo>
                <a:lnTo>
                  <a:pt x="331" y="608"/>
                </a:lnTo>
                <a:lnTo>
                  <a:pt x="309" y="600"/>
                </a:lnTo>
                <a:lnTo>
                  <a:pt x="289" y="590"/>
                </a:lnTo>
                <a:lnTo>
                  <a:pt x="270" y="580"/>
                </a:lnTo>
                <a:lnTo>
                  <a:pt x="250" y="568"/>
                </a:lnTo>
                <a:lnTo>
                  <a:pt x="232" y="555"/>
                </a:lnTo>
                <a:lnTo>
                  <a:pt x="215" y="542"/>
                </a:lnTo>
                <a:lnTo>
                  <a:pt x="198" y="528"/>
                </a:lnTo>
                <a:lnTo>
                  <a:pt x="182" y="513"/>
                </a:lnTo>
                <a:lnTo>
                  <a:pt x="167" y="498"/>
                </a:lnTo>
                <a:lnTo>
                  <a:pt x="153" y="482"/>
                </a:lnTo>
                <a:lnTo>
                  <a:pt x="139" y="465"/>
                </a:lnTo>
                <a:lnTo>
                  <a:pt x="127" y="448"/>
                </a:lnTo>
                <a:lnTo>
                  <a:pt x="115" y="430"/>
                </a:lnTo>
                <a:lnTo>
                  <a:pt x="105" y="412"/>
                </a:lnTo>
                <a:lnTo>
                  <a:pt x="95" y="394"/>
                </a:lnTo>
                <a:lnTo>
                  <a:pt x="85" y="374"/>
                </a:lnTo>
                <a:lnTo>
                  <a:pt x="77" y="354"/>
                </a:lnTo>
                <a:lnTo>
                  <a:pt x="71" y="335"/>
                </a:lnTo>
                <a:lnTo>
                  <a:pt x="65" y="315"/>
                </a:lnTo>
                <a:lnTo>
                  <a:pt x="60" y="294"/>
                </a:lnTo>
                <a:lnTo>
                  <a:pt x="56" y="274"/>
                </a:lnTo>
                <a:lnTo>
                  <a:pt x="52" y="252"/>
                </a:lnTo>
                <a:lnTo>
                  <a:pt x="50" y="231"/>
                </a:lnTo>
                <a:lnTo>
                  <a:pt x="49" y="211"/>
                </a:lnTo>
                <a:lnTo>
                  <a:pt x="49" y="189"/>
                </a:lnTo>
                <a:lnTo>
                  <a:pt x="50" y="168"/>
                </a:lnTo>
                <a:lnTo>
                  <a:pt x="52" y="146"/>
                </a:lnTo>
                <a:lnTo>
                  <a:pt x="55" y="125"/>
                </a:lnTo>
                <a:lnTo>
                  <a:pt x="59" y="104"/>
                </a:lnTo>
                <a:lnTo>
                  <a:pt x="64" y="83"/>
                </a:lnTo>
                <a:lnTo>
                  <a:pt x="70" y="62"/>
                </a:lnTo>
                <a:lnTo>
                  <a:pt x="77" y="41"/>
                </a:lnTo>
                <a:lnTo>
                  <a:pt x="86" y="20"/>
                </a:lnTo>
                <a:lnTo>
                  <a:pt x="96" y="0"/>
                </a:lnTo>
                <a:lnTo>
                  <a:pt x="77" y="41"/>
                </a:lnTo>
                <a:lnTo>
                  <a:pt x="59" y="82"/>
                </a:lnTo>
                <a:lnTo>
                  <a:pt x="44" y="124"/>
                </a:lnTo>
                <a:lnTo>
                  <a:pt x="31" y="166"/>
                </a:lnTo>
                <a:lnTo>
                  <a:pt x="20" y="209"/>
                </a:lnTo>
                <a:lnTo>
                  <a:pt x="12" y="251"/>
                </a:lnTo>
                <a:lnTo>
                  <a:pt x="6" y="294"/>
                </a:lnTo>
                <a:lnTo>
                  <a:pt x="2" y="337"/>
                </a:lnTo>
                <a:lnTo>
                  <a:pt x="0" y="380"/>
                </a:lnTo>
                <a:lnTo>
                  <a:pt x="0" y="422"/>
                </a:lnTo>
                <a:lnTo>
                  <a:pt x="2" y="464"/>
                </a:lnTo>
                <a:lnTo>
                  <a:pt x="6" y="507"/>
                </a:lnTo>
                <a:lnTo>
                  <a:pt x="12" y="549"/>
                </a:lnTo>
                <a:lnTo>
                  <a:pt x="20" y="590"/>
                </a:lnTo>
                <a:lnTo>
                  <a:pt x="30" y="631"/>
                </a:lnTo>
                <a:lnTo>
                  <a:pt x="42" y="671"/>
                </a:lnTo>
                <a:lnTo>
                  <a:pt x="56" y="711"/>
                </a:lnTo>
                <a:lnTo>
                  <a:pt x="72" y="750"/>
                </a:lnTo>
                <a:lnTo>
                  <a:pt x="89" y="788"/>
                </a:lnTo>
                <a:lnTo>
                  <a:pt x="109" y="826"/>
                </a:lnTo>
                <a:lnTo>
                  <a:pt x="130" y="863"/>
                </a:lnTo>
                <a:lnTo>
                  <a:pt x="154" y="898"/>
                </a:lnTo>
                <a:lnTo>
                  <a:pt x="178" y="933"/>
                </a:lnTo>
                <a:lnTo>
                  <a:pt x="205" y="966"/>
                </a:lnTo>
                <a:lnTo>
                  <a:pt x="234" y="998"/>
                </a:lnTo>
                <a:lnTo>
                  <a:pt x="264" y="1029"/>
                </a:lnTo>
                <a:lnTo>
                  <a:pt x="295" y="1059"/>
                </a:lnTo>
                <a:lnTo>
                  <a:pt x="329" y="1087"/>
                </a:lnTo>
                <a:lnTo>
                  <a:pt x="364" y="1113"/>
                </a:lnTo>
                <a:lnTo>
                  <a:pt x="401" y="1138"/>
                </a:lnTo>
                <a:lnTo>
                  <a:pt x="439" y="1161"/>
                </a:lnTo>
                <a:lnTo>
                  <a:pt x="479" y="1183"/>
                </a:lnTo>
                <a:lnTo>
                  <a:pt x="520" y="1203"/>
                </a:lnTo>
                <a:lnTo>
                  <a:pt x="561" y="1220"/>
                </a:lnTo>
                <a:lnTo>
                  <a:pt x="603" y="1235"/>
                </a:lnTo>
                <a:lnTo>
                  <a:pt x="645" y="1248"/>
                </a:lnTo>
                <a:lnTo>
                  <a:pt x="688" y="1258"/>
                </a:lnTo>
                <a:lnTo>
                  <a:pt x="730" y="1267"/>
                </a:lnTo>
                <a:lnTo>
                  <a:pt x="773" y="1273"/>
                </a:lnTo>
                <a:lnTo>
                  <a:pt x="816" y="1277"/>
                </a:lnTo>
                <a:lnTo>
                  <a:pt x="859" y="1279"/>
                </a:lnTo>
                <a:lnTo>
                  <a:pt x="901" y="1279"/>
                </a:lnTo>
                <a:lnTo>
                  <a:pt x="943" y="1277"/>
                </a:lnTo>
                <a:lnTo>
                  <a:pt x="986" y="1273"/>
                </a:lnTo>
                <a:lnTo>
                  <a:pt x="1028" y="1267"/>
                </a:lnTo>
                <a:lnTo>
                  <a:pt x="1069" y="1258"/>
                </a:lnTo>
                <a:lnTo>
                  <a:pt x="1110" y="1248"/>
                </a:lnTo>
                <a:lnTo>
                  <a:pt x="1151" y="1236"/>
                </a:lnTo>
                <a:lnTo>
                  <a:pt x="1191" y="1222"/>
                </a:lnTo>
                <a:lnTo>
                  <a:pt x="1230" y="1207"/>
                </a:lnTo>
                <a:lnTo>
                  <a:pt x="1268" y="1189"/>
                </a:lnTo>
                <a:lnTo>
                  <a:pt x="1306" y="1169"/>
                </a:lnTo>
                <a:lnTo>
                  <a:pt x="1342" y="1148"/>
                </a:lnTo>
                <a:lnTo>
                  <a:pt x="1378" y="1124"/>
                </a:lnTo>
                <a:lnTo>
                  <a:pt x="1413" y="1099"/>
                </a:lnTo>
                <a:lnTo>
                  <a:pt x="1446" y="1073"/>
                </a:lnTo>
                <a:lnTo>
                  <a:pt x="1478" y="1044"/>
                </a:lnTo>
                <a:lnTo>
                  <a:pt x="1509" y="1014"/>
                </a:lnTo>
                <a:lnTo>
                  <a:pt x="1538" y="982"/>
                </a:lnTo>
                <a:lnTo>
                  <a:pt x="1567" y="949"/>
                </a:lnTo>
                <a:lnTo>
                  <a:pt x="1593" y="913"/>
                </a:lnTo>
                <a:lnTo>
                  <a:pt x="1618" y="877"/>
                </a:lnTo>
                <a:lnTo>
                  <a:pt x="1642" y="838"/>
                </a:lnTo>
                <a:lnTo>
                  <a:pt x="1663" y="798"/>
                </a:lnTo>
              </a:path>
            </a:pathLst>
          </a:custGeom>
          <a:solidFill>
            <a:schemeClr val="accent2"/>
          </a:solidFill>
          <a:ln w="12700" cap="rnd">
            <a:solidFill>
              <a:schemeClr val="bg2"/>
            </a:solidFill>
            <a:round/>
            <a:headEnd/>
            <a:tailEnd/>
          </a:ln>
        </p:spPr>
        <p:txBody>
          <a:bodyPr/>
          <a:lstStyle/>
          <a:p>
            <a:endParaRPr lang="en-GB" sz="1400">
              <a:solidFill>
                <a:schemeClr val="bg1"/>
              </a:solidFill>
            </a:endParaRPr>
          </a:p>
        </p:txBody>
      </p:sp>
      <p:sp>
        <p:nvSpPr>
          <p:cNvPr id="5" name="Freeform 4"/>
          <p:cNvSpPr>
            <a:spLocks/>
          </p:cNvSpPr>
          <p:nvPr/>
        </p:nvSpPr>
        <p:spPr bwMode="auto">
          <a:xfrm rot="5400000">
            <a:off x="2289175" y="2370138"/>
            <a:ext cx="3514725" cy="2632075"/>
          </a:xfrm>
          <a:custGeom>
            <a:avLst/>
            <a:gdLst>
              <a:gd name="T0" fmla="*/ 2147483647 w 1711"/>
              <a:gd name="T1" fmla="*/ 2147483647 h 1280"/>
              <a:gd name="T2" fmla="*/ 2147483647 w 1711"/>
              <a:gd name="T3" fmla="*/ 2147483647 h 1280"/>
              <a:gd name="T4" fmla="*/ 2147483647 w 1711"/>
              <a:gd name="T5" fmla="*/ 2147483647 h 1280"/>
              <a:gd name="T6" fmla="*/ 2147483647 w 1711"/>
              <a:gd name="T7" fmla="*/ 2147483647 h 1280"/>
              <a:gd name="T8" fmla="*/ 2147483647 w 1711"/>
              <a:gd name="T9" fmla="*/ 2147483647 h 1280"/>
              <a:gd name="T10" fmla="*/ 2147483647 w 1711"/>
              <a:gd name="T11" fmla="*/ 2147483647 h 1280"/>
              <a:gd name="T12" fmla="*/ 2147483647 w 1711"/>
              <a:gd name="T13" fmla="*/ 2147483647 h 1280"/>
              <a:gd name="T14" fmla="*/ 2147483647 w 1711"/>
              <a:gd name="T15" fmla="*/ 2147483647 h 1280"/>
              <a:gd name="T16" fmla="*/ 2147483647 w 1711"/>
              <a:gd name="T17" fmla="*/ 2147483647 h 1280"/>
              <a:gd name="T18" fmla="*/ 2147483647 w 1711"/>
              <a:gd name="T19" fmla="*/ 2147483647 h 1280"/>
              <a:gd name="T20" fmla="*/ 2147483647 w 1711"/>
              <a:gd name="T21" fmla="*/ 2147483647 h 1280"/>
              <a:gd name="T22" fmla="*/ 2147483647 w 1711"/>
              <a:gd name="T23" fmla="*/ 2147483647 h 1280"/>
              <a:gd name="T24" fmla="*/ 2147483647 w 1711"/>
              <a:gd name="T25" fmla="*/ 2147483647 h 1280"/>
              <a:gd name="T26" fmla="*/ 2147483647 w 1711"/>
              <a:gd name="T27" fmla="*/ 2147483647 h 1280"/>
              <a:gd name="T28" fmla="*/ 2147483647 w 1711"/>
              <a:gd name="T29" fmla="*/ 2147483647 h 1280"/>
              <a:gd name="T30" fmla="*/ 2147483647 w 1711"/>
              <a:gd name="T31" fmla="*/ 2147483647 h 1280"/>
              <a:gd name="T32" fmla="*/ 2147483647 w 1711"/>
              <a:gd name="T33" fmla="*/ 2147483647 h 1280"/>
              <a:gd name="T34" fmla="*/ 2147483647 w 1711"/>
              <a:gd name="T35" fmla="*/ 2147483647 h 1280"/>
              <a:gd name="T36" fmla="*/ 2147483647 w 1711"/>
              <a:gd name="T37" fmla="*/ 2147483647 h 1280"/>
              <a:gd name="T38" fmla="*/ 2147483647 w 1711"/>
              <a:gd name="T39" fmla="*/ 2147483647 h 1280"/>
              <a:gd name="T40" fmla="*/ 2147483647 w 1711"/>
              <a:gd name="T41" fmla="*/ 2147483647 h 1280"/>
              <a:gd name="T42" fmla="*/ 2147483647 w 1711"/>
              <a:gd name="T43" fmla="*/ 2147483647 h 1280"/>
              <a:gd name="T44" fmla="*/ 2147483647 w 1711"/>
              <a:gd name="T45" fmla="*/ 2147483647 h 1280"/>
              <a:gd name="T46" fmla="*/ 2147483647 w 1711"/>
              <a:gd name="T47" fmla="*/ 2147483647 h 1280"/>
              <a:gd name="T48" fmla="*/ 2147483647 w 1711"/>
              <a:gd name="T49" fmla="*/ 2147483647 h 1280"/>
              <a:gd name="T50" fmla="*/ 2147483647 w 1711"/>
              <a:gd name="T51" fmla="*/ 2147483647 h 1280"/>
              <a:gd name="T52" fmla="*/ 2147483647 w 1711"/>
              <a:gd name="T53" fmla="*/ 2147483647 h 1280"/>
              <a:gd name="T54" fmla="*/ 2147483647 w 1711"/>
              <a:gd name="T55" fmla="*/ 2147483647 h 1280"/>
              <a:gd name="T56" fmla="*/ 2147483647 w 1711"/>
              <a:gd name="T57" fmla="*/ 2147483647 h 1280"/>
              <a:gd name="T58" fmla="*/ 2147483647 w 1711"/>
              <a:gd name="T59" fmla="*/ 2147483647 h 1280"/>
              <a:gd name="T60" fmla="*/ 2147483647 w 1711"/>
              <a:gd name="T61" fmla="*/ 2147483647 h 1280"/>
              <a:gd name="T62" fmla="*/ 2147483647 w 1711"/>
              <a:gd name="T63" fmla="*/ 2147483647 h 1280"/>
              <a:gd name="T64" fmla="*/ 2147483647 w 1711"/>
              <a:gd name="T65" fmla="*/ 2147483647 h 1280"/>
              <a:gd name="T66" fmla="*/ 2147483647 w 1711"/>
              <a:gd name="T67" fmla="*/ 2147483647 h 1280"/>
              <a:gd name="T68" fmla="*/ 2147483647 w 1711"/>
              <a:gd name="T69" fmla="*/ 2147483647 h 1280"/>
              <a:gd name="T70" fmla="*/ 2147483647 w 1711"/>
              <a:gd name="T71" fmla="*/ 2147483647 h 1280"/>
              <a:gd name="T72" fmla="*/ 2147483647 w 1711"/>
              <a:gd name="T73" fmla="*/ 2147483647 h 1280"/>
              <a:gd name="T74" fmla="*/ 2147483647 w 1711"/>
              <a:gd name="T75" fmla="*/ 2147483647 h 1280"/>
              <a:gd name="T76" fmla="*/ 2147483647 w 1711"/>
              <a:gd name="T77" fmla="*/ 2147483647 h 1280"/>
              <a:gd name="T78" fmla="*/ 2147483647 w 1711"/>
              <a:gd name="T79" fmla="*/ 2147483647 h 1280"/>
              <a:gd name="T80" fmla="*/ 2147483647 w 1711"/>
              <a:gd name="T81" fmla="*/ 2147483647 h 1280"/>
              <a:gd name="T82" fmla="*/ 2147483647 w 1711"/>
              <a:gd name="T83" fmla="*/ 2147483647 h 1280"/>
              <a:gd name="T84" fmla="*/ 2147483647 w 1711"/>
              <a:gd name="T85" fmla="*/ 2147483647 h 1280"/>
              <a:gd name="T86" fmla="*/ 2147483647 w 1711"/>
              <a:gd name="T87" fmla="*/ 2147483647 h 1280"/>
              <a:gd name="T88" fmla="*/ 2147483647 w 1711"/>
              <a:gd name="T89" fmla="*/ 2147483647 h 1280"/>
              <a:gd name="T90" fmla="*/ 2147483647 w 1711"/>
              <a:gd name="T91" fmla="*/ 2147483647 h 1280"/>
              <a:gd name="T92" fmla="*/ 2147483647 w 1711"/>
              <a:gd name="T93" fmla="*/ 2147483647 h 1280"/>
              <a:gd name="T94" fmla="*/ 2147483647 w 1711"/>
              <a:gd name="T95" fmla="*/ 2147483647 h 12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11"/>
              <a:gd name="T145" fmla="*/ 0 h 1280"/>
              <a:gd name="T146" fmla="*/ 1711 w 1711"/>
              <a:gd name="T147" fmla="*/ 1280 h 12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11" h="1280">
                <a:moveTo>
                  <a:pt x="1663" y="798"/>
                </a:moveTo>
                <a:lnTo>
                  <a:pt x="1673" y="779"/>
                </a:lnTo>
                <a:lnTo>
                  <a:pt x="1682" y="757"/>
                </a:lnTo>
                <a:lnTo>
                  <a:pt x="1689" y="737"/>
                </a:lnTo>
                <a:lnTo>
                  <a:pt x="1695" y="716"/>
                </a:lnTo>
                <a:lnTo>
                  <a:pt x="1700" y="694"/>
                </a:lnTo>
                <a:lnTo>
                  <a:pt x="1704" y="673"/>
                </a:lnTo>
                <a:lnTo>
                  <a:pt x="1707" y="652"/>
                </a:lnTo>
                <a:lnTo>
                  <a:pt x="1709" y="631"/>
                </a:lnTo>
                <a:lnTo>
                  <a:pt x="1710" y="610"/>
                </a:lnTo>
                <a:lnTo>
                  <a:pt x="1710" y="588"/>
                </a:lnTo>
                <a:lnTo>
                  <a:pt x="1709" y="566"/>
                </a:lnTo>
                <a:lnTo>
                  <a:pt x="1707" y="546"/>
                </a:lnTo>
                <a:lnTo>
                  <a:pt x="1703" y="525"/>
                </a:lnTo>
                <a:lnTo>
                  <a:pt x="1699" y="504"/>
                </a:lnTo>
                <a:lnTo>
                  <a:pt x="1694" y="484"/>
                </a:lnTo>
                <a:lnTo>
                  <a:pt x="1688" y="463"/>
                </a:lnTo>
                <a:lnTo>
                  <a:pt x="1680" y="443"/>
                </a:lnTo>
                <a:lnTo>
                  <a:pt x="1672" y="424"/>
                </a:lnTo>
                <a:lnTo>
                  <a:pt x="1663" y="405"/>
                </a:lnTo>
                <a:lnTo>
                  <a:pt x="1653" y="386"/>
                </a:lnTo>
                <a:lnTo>
                  <a:pt x="1642" y="368"/>
                </a:lnTo>
                <a:lnTo>
                  <a:pt x="1631" y="350"/>
                </a:lnTo>
                <a:lnTo>
                  <a:pt x="1618" y="333"/>
                </a:lnTo>
                <a:lnTo>
                  <a:pt x="1605" y="316"/>
                </a:lnTo>
                <a:lnTo>
                  <a:pt x="1591" y="299"/>
                </a:lnTo>
                <a:lnTo>
                  <a:pt x="1576" y="284"/>
                </a:lnTo>
                <a:lnTo>
                  <a:pt x="1560" y="270"/>
                </a:lnTo>
                <a:lnTo>
                  <a:pt x="1542" y="256"/>
                </a:lnTo>
                <a:lnTo>
                  <a:pt x="1525" y="242"/>
                </a:lnTo>
                <a:lnTo>
                  <a:pt x="1507" y="230"/>
                </a:lnTo>
                <a:lnTo>
                  <a:pt x="1487" y="218"/>
                </a:lnTo>
                <a:lnTo>
                  <a:pt x="1468" y="207"/>
                </a:lnTo>
                <a:lnTo>
                  <a:pt x="1448" y="197"/>
                </a:lnTo>
                <a:lnTo>
                  <a:pt x="1427" y="189"/>
                </a:lnTo>
                <a:lnTo>
                  <a:pt x="1406" y="181"/>
                </a:lnTo>
                <a:lnTo>
                  <a:pt x="1385" y="175"/>
                </a:lnTo>
                <a:lnTo>
                  <a:pt x="1364" y="170"/>
                </a:lnTo>
                <a:lnTo>
                  <a:pt x="1343" y="166"/>
                </a:lnTo>
                <a:lnTo>
                  <a:pt x="1322" y="162"/>
                </a:lnTo>
                <a:lnTo>
                  <a:pt x="1301" y="160"/>
                </a:lnTo>
                <a:lnTo>
                  <a:pt x="1279" y="160"/>
                </a:lnTo>
                <a:lnTo>
                  <a:pt x="1258" y="160"/>
                </a:lnTo>
                <a:lnTo>
                  <a:pt x="1236" y="161"/>
                </a:lnTo>
                <a:lnTo>
                  <a:pt x="1216" y="163"/>
                </a:lnTo>
                <a:lnTo>
                  <a:pt x="1195" y="166"/>
                </a:lnTo>
                <a:lnTo>
                  <a:pt x="1174" y="170"/>
                </a:lnTo>
                <a:lnTo>
                  <a:pt x="1153" y="175"/>
                </a:lnTo>
                <a:lnTo>
                  <a:pt x="1134" y="181"/>
                </a:lnTo>
                <a:lnTo>
                  <a:pt x="1114" y="188"/>
                </a:lnTo>
                <a:lnTo>
                  <a:pt x="1095" y="196"/>
                </a:lnTo>
                <a:lnTo>
                  <a:pt x="1075" y="205"/>
                </a:lnTo>
                <a:lnTo>
                  <a:pt x="1056" y="215"/>
                </a:lnTo>
                <a:lnTo>
                  <a:pt x="1038" y="225"/>
                </a:lnTo>
                <a:lnTo>
                  <a:pt x="1020" y="236"/>
                </a:lnTo>
                <a:lnTo>
                  <a:pt x="1003" y="249"/>
                </a:lnTo>
                <a:lnTo>
                  <a:pt x="987" y="262"/>
                </a:lnTo>
                <a:lnTo>
                  <a:pt x="971" y="276"/>
                </a:lnTo>
                <a:lnTo>
                  <a:pt x="955" y="291"/>
                </a:lnTo>
                <a:lnTo>
                  <a:pt x="941" y="307"/>
                </a:lnTo>
                <a:lnTo>
                  <a:pt x="926" y="324"/>
                </a:lnTo>
                <a:lnTo>
                  <a:pt x="914" y="341"/>
                </a:lnTo>
                <a:lnTo>
                  <a:pt x="901" y="360"/>
                </a:lnTo>
                <a:lnTo>
                  <a:pt x="889" y="379"/>
                </a:lnTo>
                <a:lnTo>
                  <a:pt x="879" y="399"/>
                </a:lnTo>
                <a:lnTo>
                  <a:pt x="868" y="419"/>
                </a:lnTo>
                <a:lnTo>
                  <a:pt x="856" y="437"/>
                </a:lnTo>
                <a:lnTo>
                  <a:pt x="844" y="456"/>
                </a:lnTo>
                <a:lnTo>
                  <a:pt x="831" y="473"/>
                </a:lnTo>
                <a:lnTo>
                  <a:pt x="817" y="490"/>
                </a:lnTo>
                <a:lnTo>
                  <a:pt x="802" y="506"/>
                </a:lnTo>
                <a:lnTo>
                  <a:pt x="786" y="521"/>
                </a:lnTo>
                <a:lnTo>
                  <a:pt x="771" y="535"/>
                </a:lnTo>
                <a:lnTo>
                  <a:pt x="754" y="549"/>
                </a:lnTo>
                <a:lnTo>
                  <a:pt x="737" y="561"/>
                </a:lnTo>
                <a:lnTo>
                  <a:pt x="719" y="572"/>
                </a:lnTo>
                <a:lnTo>
                  <a:pt x="701" y="583"/>
                </a:lnTo>
                <a:lnTo>
                  <a:pt x="682" y="593"/>
                </a:lnTo>
                <a:lnTo>
                  <a:pt x="663" y="602"/>
                </a:lnTo>
                <a:lnTo>
                  <a:pt x="643" y="610"/>
                </a:lnTo>
                <a:lnTo>
                  <a:pt x="623" y="616"/>
                </a:lnTo>
                <a:lnTo>
                  <a:pt x="604" y="623"/>
                </a:lnTo>
                <a:lnTo>
                  <a:pt x="583" y="627"/>
                </a:lnTo>
                <a:lnTo>
                  <a:pt x="562" y="631"/>
                </a:lnTo>
                <a:lnTo>
                  <a:pt x="541" y="635"/>
                </a:lnTo>
                <a:lnTo>
                  <a:pt x="521" y="637"/>
                </a:lnTo>
                <a:lnTo>
                  <a:pt x="499" y="638"/>
                </a:lnTo>
                <a:lnTo>
                  <a:pt x="478" y="638"/>
                </a:lnTo>
                <a:lnTo>
                  <a:pt x="457" y="637"/>
                </a:lnTo>
                <a:lnTo>
                  <a:pt x="436" y="635"/>
                </a:lnTo>
                <a:lnTo>
                  <a:pt x="415" y="632"/>
                </a:lnTo>
                <a:lnTo>
                  <a:pt x="393" y="627"/>
                </a:lnTo>
                <a:lnTo>
                  <a:pt x="372" y="622"/>
                </a:lnTo>
                <a:lnTo>
                  <a:pt x="351" y="616"/>
                </a:lnTo>
                <a:lnTo>
                  <a:pt x="331" y="608"/>
                </a:lnTo>
                <a:lnTo>
                  <a:pt x="309" y="600"/>
                </a:lnTo>
                <a:lnTo>
                  <a:pt x="289" y="590"/>
                </a:lnTo>
                <a:lnTo>
                  <a:pt x="270" y="580"/>
                </a:lnTo>
                <a:lnTo>
                  <a:pt x="250" y="568"/>
                </a:lnTo>
                <a:lnTo>
                  <a:pt x="232" y="555"/>
                </a:lnTo>
                <a:lnTo>
                  <a:pt x="215" y="542"/>
                </a:lnTo>
                <a:lnTo>
                  <a:pt x="198" y="528"/>
                </a:lnTo>
                <a:lnTo>
                  <a:pt x="182" y="513"/>
                </a:lnTo>
                <a:lnTo>
                  <a:pt x="167" y="498"/>
                </a:lnTo>
                <a:lnTo>
                  <a:pt x="153" y="482"/>
                </a:lnTo>
                <a:lnTo>
                  <a:pt x="139" y="465"/>
                </a:lnTo>
                <a:lnTo>
                  <a:pt x="127" y="448"/>
                </a:lnTo>
                <a:lnTo>
                  <a:pt x="115" y="430"/>
                </a:lnTo>
                <a:lnTo>
                  <a:pt x="105" y="412"/>
                </a:lnTo>
                <a:lnTo>
                  <a:pt x="95" y="394"/>
                </a:lnTo>
                <a:lnTo>
                  <a:pt x="85" y="374"/>
                </a:lnTo>
                <a:lnTo>
                  <a:pt x="77" y="354"/>
                </a:lnTo>
                <a:lnTo>
                  <a:pt x="71" y="335"/>
                </a:lnTo>
                <a:lnTo>
                  <a:pt x="65" y="315"/>
                </a:lnTo>
                <a:lnTo>
                  <a:pt x="60" y="294"/>
                </a:lnTo>
                <a:lnTo>
                  <a:pt x="56" y="274"/>
                </a:lnTo>
                <a:lnTo>
                  <a:pt x="52" y="252"/>
                </a:lnTo>
                <a:lnTo>
                  <a:pt x="50" y="231"/>
                </a:lnTo>
                <a:lnTo>
                  <a:pt x="49" y="211"/>
                </a:lnTo>
                <a:lnTo>
                  <a:pt x="49" y="189"/>
                </a:lnTo>
                <a:lnTo>
                  <a:pt x="50" y="168"/>
                </a:lnTo>
                <a:lnTo>
                  <a:pt x="52" y="146"/>
                </a:lnTo>
                <a:lnTo>
                  <a:pt x="55" y="125"/>
                </a:lnTo>
                <a:lnTo>
                  <a:pt x="59" y="104"/>
                </a:lnTo>
                <a:lnTo>
                  <a:pt x="64" y="83"/>
                </a:lnTo>
                <a:lnTo>
                  <a:pt x="70" y="62"/>
                </a:lnTo>
                <a:lnTo>
                  <a:pt x="77" y="41"/>
                </a:lnTo>
                <a:lnTo>
                  <a:pt x="86" y="20"/>
                </a:lnTo>
                <a:lnTo>
                  <a:pt x="96" y="0"/>
                </a:lnTo>
                <a:lnTo>
                  <a:pt x="77" y="41"/>
                </a:lnTo>
                <a:lnTo>
                  <a:pt x="59" y="82"/>
                </a:lnTo>
                <a:lnTo>
                  <a:pt x="44" y="124"/>
                </a:lnTo>
                <a:lnTo>
                  <a:pt x="31" y="166"/>
                </a:lnTo>
                <a:lnTo>
                  <a:pt x="20" y="209"/>
                </a:lnTo>
                <a:lnTo>
                  <a:pt x="12" y="251"/>
                </a:lnTo>
                <a:lnTo>
                  <a:pt x="6" y="294"/>
                </a:lnTo>
                <a:lnTo>
                  <a:pt x="2" y="337"/>
                </a:lnTo>
                <a:lnTo>
                  <a:pt x="0" y="380"/>
                </a:lnTo>
                <a:lnTo>
                  <a:pt x="0" y="422"/>
                </a:lnTo>
                <a:lnTo>
                  <a:pt x="2" y="464"/>
                </a:lnTo>
                <a:lnTo>
                  <a:pt x="6" y="507"/>
                </a:lnTo>
                <a:lnTo>
                  <a:pt x="12" y="549"/>
                </a:lnTo>
                <a:lnTo>
                  <a:pt x="20" y="590"/>
                </a:lnTo>
                <a:lnTo>
                  <a:pt x="30" y="631"/>
                </a:lnTo>
                <a:lnTo>
                  <a:pt x="42" y="671"/>
                </a:lnTo>
                <a:lnTo>
                  <a:pt x="56" y="711"/>
                </a:lnTo>
                <a:lnTo>
                  <a:pt x="72" y="750"/>
                </a:lnTo>
                <a:lnTo>
                  <a:pt x="89" y="788"/>
                </a:lnTo>
                <a:lnTo>
                  <a:pt x="109" y="826"/>
                </a:lnTo>
                <a:lnTo>
                  <a:pt x="130" y="863"/>
                </a:lnTo>
                <a:lnTo>
                  <a:pt x="154" y="898"/>
                </a:lnTo>
                <a:lnTo>
                  <a:pt x="178" y="933"/>
                </a:lnTo>
                <a:lnTo>
                  <a:pt x="205" y="966"/>
                </a:lnTo>
                <a:lnTo>
                  <a:pt x="234" y="998"/>
                </a:lnTo>
                <a:lnTo>
                  <a:pt x="264" y="1029"/>
                </a:lnTo>
                <a:lnTo>
                  <a:pt x="295" y="1059"/>
                </a:lnTo>
                <a:lnTo>
                  <a:pt x="329" y="1087"/>
                </a:lnTo>
                <a:lnTo>
                  <a:pt x="364" y="1113"/>
                </a:lnTo>
                <a:lnTo>
                  <a:pt x="401" y="1138"/>
                </a:lnTo>
                <a:lnTo>
                  <a:pt x="439" y="1161"/>
                </a:lnTo>
                <a:lnTo>
                  <a:pt x="479" y="1183"/>
                </a:lnTo>
                <a:lnTo>
                  <a:pt x="520" y="1203"/>
                </a:lnTo>
                <a:lnTo>
                  <a:pt x="561" y="1220"/>
                </a:lnTo>
                <a:lnTo>
                  <a:pt x="603" y="1235"/>
                </a:lnTo>
                <a:lnTo>
                  <a:pt x="645" y="1248"/>
                </a:lnTo>
                <a:lnTo>
                  <a:pt x="688" y="1258"/>
                </a:lnTo>
                <a:lnTo>
                  <a:pt x="730" y="1267"/>
                </a:lnTo>
                <a:lnTo>
                  <a:pt x="773" y="1273"/>
                </a:lnTo>
                <a:lnTo>
                  <a:pt x="816" y="1277"/>
                </a:lnTo>
                <a:lnTo>
                  <a:pt x="859" y="1279"/>
                </a:lnTo>
                <a:lnTo>
                  <a:pt x="901" y="1279"/>
                </a:lnTo>
                <a:lnTo>
                  <a:pt x="943" y="1277"/>
                </a:lnTo>
                <a:lnTo>
                  <a:pt x="986" y="1273"/>
                </a:lnTo>
                <a:lnTo>
                  <a:pt x="1028" y="1267"/>
                </a:lnTo>
                <a:lnTo>
                  <a:pt x="1069" y="1258"/>
                </a:lnTo>
                <a:lnTo>
                  <a:pt x="1110" y="1248"/>
                </a:lnTo>
                <a:lnTo>
                  <a:pt x="1151" y="1236"/>
                </a:lnTo>
                <a:lnTo>
                  <a:pt x="1191" y="1222"/>
                </a:lnTo>
                <a:lnTo>
                  <a:pt x="1230" y="1207"/>
                </a:lnTo>
                <a:lnTo>
                  <a:pt x="1268" y="1189"/>
                </a:lnTo>
                <a:lnTo>
                  <a:pt x="1306" y="1169"/>
                </a:lnTo>
                <a:lnTo>
                  <a:pt x="1342" y="1148"/>
                </a:lnTo>
                <a:lnTo>
                  <a:pt x="1378" y="1124"/>
                </a:lnTo>
                <a:lnTo>
                  <a:pt x="1413" y="1099"/>
                </a:lnTo>
                <a:lnTo>
                  <a:pt x="1446" y="1073"/>
                </a:lnTo>
                <a:lnTo>
                  <a:pt x="1478" y="1044"/>
                </a:lnTo>
                <a:lnTo>
                  <a:pt x="1509" y="1014"/>
                </a:lnTo>
                <a:lnTo>
                  <a:pt x="1538" y="982"/>
                </a:lnTo>
                <a:lnTo>
                  <a:pt x="1567" y="949"/>
                </a:lnTo>
                <a:lnTo>
                  <a:pt x="1593" y="913"/>
                </a:lnTo>
                <a:lnTo>
                  <a:pt x="1618" y="877"/>
                </a:lnTo>
                <a:lnTo>
                  <a:pt x="1642" y="838"/>
                </a:lnTo>
                <a:lnTo>
                  <a:pt x="1663" y="798"/>
                </a:lnTo>
              </a:path>
            </a:pathLst>
          </a:custGeom>
          <a:solidFill>
            <a:schemeClr val="accent1"/>
          </a:solidFill>
          <a:ln w="12700" cap="rnd">
            <a:solidFill>
              <a:schemeClr val="bg2"/>
            </a:solidFill>
            <a:round/>
            <a:headEnd/>
            <a:tailEnd/>
          </a:ln>
        </p:spPr>
        <p:txBody>
          <a:bodyPr/>
          <a:lstStyle/>
          <a:p>
            <a:pPr>
              <a:defRPr/>
            </a:pPr>
            <a:endParaRPr lang="en-GB" sz="1400">
              <a:solidFill>
                <a:schemeClr val="bg1"/>
              </a:solidFill>
            </a:endParaRPr>
          </a:p>
        </p:txBody>
      </p:sp>
      <p:sp>
        <p:nvSpPr>
          <p:cNvPr id="687109" name="Text Box 5"/>
          <p:cNvSpPr txBox="1">
            <a:spLocks noChangeArrowheads="1"/>
          </p:cNvSpPr>
          <p:nvPr/>
        </p:nvSpPr>
        <p:spPr bwMode="gray">
          <a:xfrm>
            <a:off x="4923048" y="2743200"/>
            <a:ext cx="304378" cy="181909"/>
          </a:xfrm>
          <a:prstGeom prst="rect">
            <a:avLst/>
          </a:prstGeom>
          <a:noFill/>
          <a:ln w="9525" algn="ctr">
            <a:noFill/>
            <a:miter lim="800000"/>
            <a:headEnd/>
            <a:tailEnd/>
          </a:ln>
        </p:spPr>
        <p:txBody>
          <a:bodyPr wrap="none" lIns="0" tIns="0" rIns="0" bIns="0">
            <a:spAutoFit/>
          </a:bodyPr>
          <a:lstStyle/>
          <a:p>
            <a:pPr algn="ctr">
              <a:lnSpc>
                <a:spcPct val="106000"/>
              </a:lnSpc>
              <a:buClr>
                <a:schemeClr val="tx1"/>
              </a:buClr>
              <a:buFont typeface="Wingdings 2" pitchFamily="18" charset="2"/>
              <a:buNone/>
            </a:pPr>
            <a:r>
              <a:rPr lang="en-GB" sz="1200" dirty="0">
                <a:solidFill>
                  <a:schemeClr val="bg1"/>
                </a:solidFill>
              </a:rPr>
              <a:t>Text</a:t>
            </a:r>
          </a:p>
        </p:txBody>
      </p:sp>
      <p:sp>
        <p:nvSpPr>
          <p:cNvPr id="687110" name="Text Box 6"/>
          <p:cNvSpPr txBox="1">
            <a:spLocks noChangeArrowheads="1"/>
          </p:cNvSpPr>
          <p:nvPr/>
        </p:nvSpPr>
        <p:spPr bwMode="gray">
          <a:xfrm>
            <a:off x="3657017" y="4267200"/>
            <a:ext cx="304379" cy="181909"/>
          </a:xfrm>
          <a:prstGeom prst="rect">
            <a:avLst/>
          </a:prstGeom>
          <a:noFill/>
          <a:ln w="9525" algn="ctr">
            <a:noFill/>
            <a:miter lim="800000"/>
            <a:headEnd/>
            <a:tailEnd/>
          </a:ln>
        </p:spPr>
        <p:txBody>
          <a:bodyPr wrap="none" lIns="0" tIns="0" rIns="0" bIns="0">
            <a:spAutoFit/>
          </a:bodyPr>
          <a:lstStyle/>
          <a:p>
            <a:pPr algn="ctr">
              <a:lnSpc>
                <a:spcPct val="106000"/>
              </a:lnSpc>
              <a:buClr>
                <a:schemeClr val="tx1"/>
              </a:buClr>
              <a:buFont typeface="Wingdings 2" pitchFamily="18" charset="2"/>
              <a:buNone/>
            </a:pPr>
            <a:r>
              <a:rPr lang="en-GB" sz="1200">
                <a:solidFill>
                  <a:schemeClr val="bg1"/>
                </a:solidFill>
              </a:rPr>
              <a:t>Text</a:t>
            </a:r>
          </a:p>
        </p:txBody>
      </p:sp>
      <p:sp>
        <p:nvSpPr>
          <p:cNvPr id="9"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8129" name="Title 1"/>
          <p:cNvSpPr>
            <a:spLocks noGrp="1"/>
          </p:cNvSpPr>
          <p:nvPr>
            <p:ph type="title"/>
          </p:nvPr>
        </p:nvSpPr>
        <p:spPr>
          <a:xfrm>
            <a:off x="414338" y="446038"/>
            <a:ext cx="8330184" cy="333425"/>
          </a:xfrm>
        </p:spPr>
        <p:txBody>
          <a:bodyPr/>
          <a:lstStyle/>
          <a:p>
            <a:r>
              <a:rPr lang="nl-NL"/>
              <a:t>Spheres </a:t>
            </a:r>
            <a:r>
              <a:rPr lang="en-US"/>
              <a:t>—</a:t>
            </a:r>
            <a:r>
              <a:rPr lang="nl-NL" smtClean="0"/>
              <a:t> </a:t>
            </a:r>
            <a:r>
              <a:rPr lang="nl-NL"/>
              <a:t>circles of influence (colors)</a:t>
            </a:r>
          </a:p>
        </p:txBody>
      </p:sp>
      <p:sp>
        <p:nvSpPr>
          <p:cNvPr id="4" name="Oval 3"/>
          <p:cNvSpPr>
            <a:spLocks noChangeArrowheads="1"/>
          </p:cNvSpPr>
          <p:nvPr/>
        </p:nvSpPr>
        <p:spPr bwMode="auto">
          <a:xfrm>
            <a:off x="1454150" y="1876425"/>
            <a:ext cx="6208713" cy="3746500"/>
          </a:xfrm>
          <a:prstGeom prst="ellipse">
            <a:avLst/>
          </a:prstGeom>
          <a:solidFill>
            <a:schemeClr val="accent3"/>
          </a:solidFill>
          <a:ln w="12700" algn="ctr">
            <a:solidFill>
              <a:schemeClr val="bg2"/>
            </a:solidFill>
            <a:round/>
            <a:headEnd/>
            <a:tailEnd/>
          </a:ln>
        </p:spPr>
        <p:txBody>
          <a:bodyPr wrap="none" tIns="91440" bIns="91440" anchor="ctr"/>
          <a:lstStyle/>
          <a:p>
            <a:pPr algn="ctr">
              <a:defRPr/>
            </a:pPr>
            <a:endParaRPr lang="en-GB" sz="1400"/>
          </a:p>
        </p:txBody>
      </p:sp>
      <p:sp>
        <p:nvSpPr>
          <p:cNvPr id="5" name="Oval 4"/>
          <p:cNvSpPr>
            <a:spLocks noChangeArrowheads="1"/>
          </p:cNvSpPr>
          <p:nvPr/>
        </p:nvSpPr>
        <p:spPr bwMode="auto">
          <a:xfrm>
            <a:off x="2362200" y="2524125"/>
            <a:ext cx="4391025" cy="2452688"/>
          </a:xfrm>
          <a:prstGeom prst="ellipse">
            <a:avLst/>
          </a:prstGeom>
          <a:solidFill>
            <a:schemeClr val="accent3"/>
          </a:solidFill>
          <a:ln w="12700" algn="ctr">
            <a:solidFill>
              <a:schemeClr val="bg2"/>
            </a:solidFill>
            <a:round/>
            <a:headEnd/>
            <a:tailEnd/>
          </a:ln>
        </p:spPr>
        <p:txBody>
          <a:bodyPr tIns="91440" bIns="91440" anchor="ctr"/>
          <a:lstStyle/>
          <a:p>
            <a:pPr algn="ctr">
              <a:buFont typeface="Wingdings" pitchFamily="2" charset="2"/>
              <a:buNone/>
              <a:defRPr/>
            </a:pPr>
            <a:endParaRPr lang="en-GB" sz="1400">
              <a:solidFill>
                <a:srgbClr val="000000"/>
              </a:solidFill>
              <a:ea typeface="ＭＳ Ｐゴシック" pitchFamily="50" charset="-128"/>
            </a:endParaRPr>
          </a:p>
        </p:txBody>
      </p:sp>
      <p:sp>
        <p:nvSpPr>
          <p:cNvPr id="688133" name="Oval 5"/>
          <p:cNvSpPr>
            <a:spLocks noChangeArrowheads="1"/>
          </p:cNvSpPr>
          <p:nvPr/>
        </p:nvSpPr>
        <p:spPr bwMode="auto">
          <a:xfrm>
            <a:off x="3109913" y="2941638"/>
            <a:ext cx="2897187" cy="1617662"/>
          </a:xfrm>
          <a:prstGeom prst="ellipse">
            <a:avLst/>
          </a:prstGeom>
          <a:solidFill>
            <a:schemeClr val="accent3"/>
          </a:solidFill>
          <a:ln w="12700" algn="ctr">
            <a:solidFill>
              <a:schemeClr val="bg2"/>
            </a:solidFill>
            <a:round/>
            <a:headEnd/>
            <a:tailEnd/>
          </a:ln>
        </p:spPr>
        <p:txBody>
          <a:bodyPr tIns="91440" bIns="91440" anchor="ctr"/>
          <a:lstStyle/>
          <a:p>
            <a:pPr algn="ctr"/>
            <a:endParaRPr lang="en-GB" sz="1400"/>
          </a:p>
        </p:txBody>
      </p:sp>
      <p:sp>
        <p:nvSpPr>
          <p:cNvPr id="688134" name="Oval 6"/>
          <p:cNvSpPr>
            <a:spLocks noChangeArrowheads="1"/>
          </p:cNvSpPr>
          <p:nvPr/>
        </p:nvSpPr>
        <p:spPr bwMode="auto">
          <a:xfrm>
            <a:off x="3914775" y="3444875"/>
            <a:ext cx="1285875" cy="609600"/>
          </a:xfrm>
          <a:prstGeom prst="ellipse">
            <a:avLst/>
          </a:prstGeom>
          <a:solidFill>
            <a:schemeClr val="accent3"/>
          </a:solidFill>
          <a:ln w="12700" algn="ctr">
            <a:solidFill>
              <a:schemeClr val="bg2"/>
            </a:solidFill>
            <a:round/>
            <a:headEnd/>
            <a:tailEnd/>
          </a:ln>
        </p:spPr>
        <p:txBody>
          <a:bodyPr lIns="18000" tIns="18000" rIns="18000" bIns="18000" anchor="ctr"/>
          <a:lstStyle/>
          <a:p>
            <a:pPr algn="ctr"/>
            <a:endParaRPr lang="en-GB" sz="1400">
              <a:solidFill>
                <a:srgbClr val="FFFFFF"/>
              </a:solidFill>
              <a:ea typeface="ＭＳ Ｐゴシック" charset="-128"/>
            </a:endParaRPr>
          </a:p>
        </p:txBody>
      </p:sp>
      <p:sp>
        <p:nvSpPr>
          <p:cNvPr id="9"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9153" name="Title 1"/>
          <p:cNvSpPr>
            <a:spLocks noGrp="1"/>
          </p:cNvSpPr>
          <p:nvPr>
            <p:ph type="title"/>
          </p:nvPr>
        </p:nvSpPr>
        <p:spPr>
          <a:xfrm>
            <a:off x="414338" y="446038"/>
            <a:ext cx="8330184" cy="333425"/>
          </a:xfrm>
        </p:spPr>
        <p:txBody>
          <a:bodyPr/>
          <a:lstStyle/>
          <a:p>
            <a:r>
              <a:rPr lang="nl-NL"/>
              <a:t>Spheres </a:t>
            </a:r>
            <a:r>
              <a:rPr lang="en-US"/>
              <a:t>—</a:t>
            </a:r>
            <a:r>
              <a:rPr lang="nl-NL" smtClean="0"/>
              <a:t> </a:t>
            </a:r>
            <a:r>
              <a:rPr lang="nl-NL"/>
              <a:t>circles of influence (white)</a:t>
            </a:r>
          </a:p>
        </p:txBody>
      </p:sp>
      <p:sp>
        <p:nvSpPr>
          <p:cNvPr id="4" name="Oval 3"/>
          <p:cNvSpPr>
            <a:spLocks noChangeArrowheads="1"/>
          </p:cNvSpPr>
          <p:nvPr/>
        </p:nvSpPr>
        <p:spPr bwMode="auto">
          <a:xfrm>
            <a:off x="1454150" y="1876425"/>
            <a:ext cx="6208713" cy="3746500"/>
          </a:xfrm>
          <a:prstGeom prst="ellipse">
            <a:avLst/>
          </a:prstGeom>
          <a:solidFill>
            <a:schemeClr val="bg1"/>
          </a:solidFill>
          <a:ln w="12700" algn="ctr">
            <a:solidFill>
              <a:schemeClr val="tx2"/>
            </a:solidFill>
            <a:round/>
            <a:headEnd/>
            <a:tailEnd/>
          </a:ln>
        </p:spPr>
        <p:txBody>
          <a:bodyPr tIns="0" bIns="0"/>
          <a:lstStyle/>
          <a:p>
            <a:pPr algn="ctr">
              <a:defRPr/>
            </a:pPr>
            <a:endParaRPr lang="en-GB" sz="1400">
              <a:solidFill>
                <a:schemeClr val="tx2"/>
              </a:solidFill>
            </a:endParaRPr>
          </a:p>
        </p:txBody>
      </p:sp>
      <p:sp>
        <p:nvSpPr>
          <p:cNvPr id="5" name="Oval 4"/>
          <p:cNvSpPr>
            <a:spLocks noChangeArrowheads="1"/>
          </p:cNvSpPr>
          <p:nvPr/>
        </p:nvSpPr>
        <p:spPr bwMode="auto">
          <a:xfrm>
            <a:off x="2362200" y="2524125"/>
            <a:ext cx="4391025" cy="2452688"/>
          </a:xfrm>
          <a:prstGeom prst="ellipse">
            <a:avLst/>
          </a:prstGeom>
          <a:solidFill>
            <a:schemeClr val="bg1"/>
          </a:solidFill>
          <a:ln w="12700" algn="ctr">
            <a:solidFill>
              <a:schemeClr val="tx2"/>
            </a:solidFill>
            <a:round/>
            <a:headEnd/>
            <a:tailEnd/>
          </a:ln>
        </p:spPr>
        <p:txBody>
          <a:bodyPr tIns="0" bIns="0"/>
          <a:lstStyle/>
          <a:p>
            <a:pPr algn="ctr">
              <a:buFont typeface="Wingdings" pitchFamily="2" charset="2"/>
              <a:buNone/>
              <a:defRPr/>
            </a:pPr>
            <a:endParaRPr lang="en-GB" sz="1400">
              <a:solidFill>
                <a:schemeClr val="tx2"/>
              </a:solidFill>
              <a:ea typeface="ＭＳ Ｐゴシック" pitchFamily="50" charset="-128"/>
            </a:endParaRPr>
          </a:p>
        </p:txBody>
      </p:sp>
      <p:sp>
        <p:nvSpPr>
          <p:cNvPr id="6" name="Oval 5"/>
          <p:cNvSpPr>
            <a:spLocks noChangeArrowheads="1"/>
          </p:cNvSpPr>
          <p:nvPr/>
        </p:nvSpPr>
        <p:spPr bwMode="auto">
          <a:xfrm>
            <a:off x="3109913" y="2941638"/>
            <a:ext cx="2897187" cy="1617662"/>
          </a:xfrm>
          <a:prstGeom prst="ellipse">
            <a:avLst/>
          </a:prstGeom>
          <a:solidFill>
            <a:schemeClr val="bg1"/>
          </a:solidFill>
          <a:ln w="12700" algn="ctr">
            <a:solidFill>
              <a:schemeClr val="tx2"/>
            </a:solidFill>
            <a:round/>
            <a:headEnd/>
            <a:tailEnd/>
          </a:ln>
        </p:spPr>
        <p:txBody>
          <a:bodyPr tIns="0" bIns="0"/>
          <a:lstStyle/>
          <a:p>
            <a:pPr algn="ctr">
              <a:defRPr/>
            </a:pPr>
            <a:endParaRPr lang="en-GB" sz="1400">
              <a:solidFill>
                <a:schemeClr val="tx2"/>
              </a:solidFill>
            </a:endParaRPr>
          </a:p>
        </p:txBody>
      </p:sp>
      <p:sp>
        <p:nvSpPr>
          <p:cNvPr id="7" name="Oval 6"/>
          <p:cNvSpPr>
            <a:spLocks noChangeArrowheads="1"/>
          </p:cNvSpPr>
          <p:nvPr/>
        </p:nvSpPr>
        <p:spPr bwMode="auto">
          <a:xfrm>
            <a:off x="3914775" y="3444875"/>
            <a:ext cx="1285875" cy="609600"/>
          </a:xfrm>
          <a:prstGeom prst="ellipse">
            <a:avLst/>
          </a:prstGeom>
          <a:solidFill>
            <a:schemeClr val="bg1"/>
          </a:solidFill>
          <a:ln w="12700" algn="ctr">
            <a:solidFill>
              <a:schemeClr val="tx2"/>
            </a:solidFill>
            <a:round/>
            <a:headEnd/>
            <a:tailEnd/>
          </a:ln>
        </p:spPr>
        <p:txBody>
          <a:bodyPr lIns="18000" tIns="18000" rIns="18000" bIns="18000" anchor="ctr"/>
          <a:lstStyle/>
          <a:p>
            <a:pPr algn="ctr">
              <a:defRPr/>
            </a:pPr>
            <a:endParaRPr lang="en-GB" sz="1400">
              <a:solidFill>
                <a:schemeClr val="tx2"/>
              </a:solidFill>
              <a:ea typeface="ＭＳ Ｐゴシック" pitchFamily="50" charset="-128"/>
            </a:endParaRPr>
          </a:p>
        </p:txBody>
      </p:sp>
      <p:sp>
        <p:nvSpPr>
          <p:cNvPr id="9"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0177" name="Title 1"/>
          <p:cNvSpPr>
            <a:spLocks noGrp="1"/>
          </p:cNvSpPr>
          <p:nvPr>
            <p:ph type="title"/>
          </p:nvPr>
        </p:nvSpPr>
        <p:spPr>
          <a:xfrm>
            <a:off x="414338" y="446038"/>
            <a:ext cx="8330184" cy="333425"/>
          </a:xfrm>
        </p:spPr>
        <p:txBody>
          <a:bodyPr/>
          <a:lstStyle/>
          <a:p>
            <a:r>
              <a:rPr lang="nl-NL"/>
              <a:t>Spheres </a:t>
            </a:r>
            <a:r>
              <a:rPr lang="en-US"/>
              <a:t>—</a:t>
            </a:r>
            <a:r>
              <a:rPr lang="nl-NL" smtClean="0"/>
              <a:t> </a:t>
            </a:r>
            <a:r>
              <a:rPr lang="nl-NL"/>
              <a:t>eggs</a:t>
            </a:r>
          </a:p>
        </p:txBody>
      </p:sp>
      <p:sp>
        <p:nvSpPr>
          <p:cNvPr id="690179" name="Oval 3"/>
          <p:cNvSpPr>
            <a:spLocks noChangeArrowheads="1"/>
          </p:cNvSpPr>
          <p:nvPr/>
        </p:nvSpPr>
        <p:spPr bwMode="auto">
          <a:xfrm>
            <a:off x="793750" y="1989138"/>
            <a:ext cx="2867025" cy="3679825"/>
          </a:xfrm>
          <a:prstGeom prst="ellipse">
            <a:avLst/>
          </a:prstGeom>
          <a:solidFill>
            <a:schemeClr val="accent3"/>
          </a:solidFill>
          <a:ln w="12700">
            <a:solidFill>
              <a:schemeClr val="bg2"/>
            </a:solidFill>
            <a:round/>
            <a:headEnd type="none" w="sm" len="sm"/>
            <a:tailEnd type="none" w="med" len="lg"/>
          </a:ln>
        </p:spPr>
        <p:txBody>
          <a:bodyPr anchor="ctr" anchorCtr="1"/>
          <a:lstStyle/>
          <a:p>
            <a:pPr algn="ctr">
              <a:lnSpc>
                <a:spcPct val="90000"/>
              </a:lnSpc>
            </a:pPr>
            <a:r>
              <a:rPr lang="en-GB" altLang="ja-JP" sz="1200" b="1" dirty="0">
                <a:solidFill>
                  <a:schemeClr val="bg1"/>
                </a:solidFill>
                <a:ea typeface="ＭＳ Ｐゴシック" charset="-128"/>
              </a:rPr>
              <a:t>Text</a:t>
            </a:r>
          </a:p>
          <a:p>
            <a:pPr algn="ctr">
              <a:lnSpc>
                <a:spcPct val="90000"/>
              </a:lnSpc>
            </a:pPr>
            <a:endParaRPr lang="en-GB" altLang="ja-JP" sz="1200" b="1" dirty="0">
              <a:solidFill>
                <a:schemeClr val="bg1"/>
              </a:solidFill>
              <a:ea typeface="ＭＳ Ｐゴシック" charset="-128"/>
            </a:endParaRPr>
          </a:p>
          <a:p>
            <a:pPr algn="ctr">
              <a:lnSpc>
                <a:spcPct val="90000"/>
              </a:lnSpc>
            </a:pPr>
            <a:endParaRPr lang="en-GB" altLang="ja-JP" sz="1200" b="1" dirty="0">
              <a:solidFill>
                <a:schemeClr val="bg1"/>
              </a:solidFill>
              <a:ea typeface="ＭＳ Ｐゴシック" charset="-128"/>
            </a:endParaRPr>
          </a:p>
          <a:p>
            <a:pPr algn="ctr"/>
            <a:r>
              <a:rPr lang="en-GB" altLang="ja-JP" sz="1200" b="1" dirty="0">
                <a:solidFill>
                  <a:schemeClr val="bg1"/>
                </a:solidFill>
                <a:ea typeface="ＭＳ Ｐゴシック" charset="-128"/>
              </a:rPr>
              <a:t>Text</a:t>
            </a:r>
          </a:p>
        </p:txBody>
      </p:sp>
      <p:sp>
        <p:nvSpPr>
          <p:cNvPr id="5" name="Oval 4"/>
          <p:cNvSpPr>
            <a:spLocks noChangeArrowheads="1"/>
          </p:cNvSpPr>
          <p:nvPr/>
        </p:nvSpPr>
        <p:spPr bwMode="auto">
          <a:xfrm>
            <a:off x="5507038" y="1989138"/>
            <a:ext cx="2809875" cy="3679825"/>
          </a:xfrm>
          <a:prstGeom prst="ellipse">
            <a:avLst/>
          </a:prstGeom>
          <a:solidFill>
            <a:schemeClr val="accent3"/>
          </a:solidFill>
          <a:ln w="12700">
            <a:solidFill>
              <a:schemeClr val="bg2"/>
            </a:solidFill>
            <a:round/>
            <a:headEnd type="none" w="sm" len="sm"/>
            <a:tailEnd type="none" w="med" len="lg"/>
          </a:ln>
        </p:spPr>
        <p:txBody>
          <a:bodyPr anchor="ctr"/>
          <a:lstStyle/>
          <a:p>
            <a:pPr marL="363538" indent="-188913" algn="ctr">
              <a:defRPr/>
            </a:pPr>
            <a:r>
              <a:rPr lang="en-GB" altLang="ja-JP" sz="1200" b="1">
                <a:solidFill>
                  <a:schemeClr val="bg1"/>
                </a:solidFill>
                <a:ea typeface="ＭＳ Ｐゴシック" pitchFamily="50" charset="-128"/>
              </a:rPr>
              <a:t>Text</a:t>
            </a:r>
          </a:p>
          <a:p>
            <a:pPr marL="363538" indent="-188913" algn="ctr">
              <a:defRPr/>
            </a:pPr>
            <a:endParaRPr lang="en-GB" altLang="ja-JP" sz="1200" b="1">
              <a:solidFill>
                <a:schemeClr val="bg1"/>
              </a:solidFill>
              <a:ea typeface="ＭＳ Ｐゴシック" pitchFamily="50" charset="-128"/>
            </a:endParaRPr>
          </a:p>
          <a:p>
            <a:pPr marL="363538" indent="-188913" algn="ctr">
              <a:defRPr/>
            </a:pPr>
            <a:endParaRPr lang="en-GB" altLang="ja-JP" sz="1200" b="1">
              <a:solidFill>
                <a:schemeClr val="bg1"/>
              </a:solidFill>
              <a:ea typeface="ＭＳ Ｐゴシック" pitchFamily="50" charset="-128"/>
            </a:endParaRPr>
          </a:p>
          <a:p>
            <a:pPr marL="363538" indent="-188913" algn="ctr">
              <a:defRPr/>
            </a:pPr>
            <a:r>
              <a:rPr lang="en-GB" altLang="ja-JP" sz="1200" b="1">
                <a:solidFill>
                  <a:schemeClr val="bg1"/>
                </a:solidFill>
                <a:ea typeface="ＭＳ Ｐゴシック" pitchFamily="50" charset="-128"/>
              </a:rPr>
              <a:t>Text</a:t>
            </a:r>
          </a:p>
          <a:p>
            <a:pPr marL="363538" indent="-188913" algn="ctr">
              <a:defRPr/>
            </a:pPr>
            <a:endParaRPr lang="en-GB" altLang="ja-JP" sz="1200" b="1">
              <a:solidFill>
                <a:schemeClr val="bg1"/>
              </a:solidFill>
              <a:ea typeface="ＭＳ Ｐゴシック" pitchFamily="50" charset="-128"/>
            </a:endParaRPr>
          </a:p>
          <a:p>
            <a:pPr marL="363538" indent="-188913" algn="ctr">
              <a:defRPr/>
            </a:pPr>
            <a:endParaRPr lang="en-GB" altLang="ja-JP" sz="1200" b="1">
              <a:solidFill>
                <a:schemeClr val="bg1"/>
              </a:solidFill>
              <a:ea typeface="ＭＳ Ｐゴシック" pitchFamily="50" charset="-128"/>
            </a:endParaRPr>
          </a:p>
          <a:p>
            <a:pPr marL="363538" indent="-188913" algn="ctr">
              <a:defRPr/>
            </a:pPr>
            <a:r>
              <a:rPr lang="en-GB" altLang="ja-JP" sz="1200" b="1">
                <a:solidFill>
                  <a:schemeClr val="bg1"/>
                </a:solidFill>
                <a:ea typeface="ＭＳ Ｐゴシック" pitchFamily="50" charset="-128"/>
              </a:rPr>
              <a:t>Text</a:t>
            </a:r>
          </a:p>
          <a:p>
            <a:pPr marL="363538" indent="-188913" algn="ctr">
              <a:defRPr/>
            </a:pPr>
            <a:endParaRPr lang="ja-JP" altLang="en-GB" sz="1200" b="1">
              <a:solidFill>
                <a:schemeClr val="bg1"/>
              </a:solidFill>
              <a:ea typeface="ＭＳ Ｐゴシック" pitchFamily="50" charset="-128"/>
            </a:endParaRPr>
          </a:p>
        </p:txBody>
      </p:sp>
      <p:sp>
        <p:nvSpPr>
          <p:cNvPr id="690181" name="Oval 5"/>
          <p:cNvSpPr>
            <a:spLocks noChangeArrowheads="1"/>
          </p:cNvSpPr>
          <p:nvPr/>
        </p:nvSpPr>
        <p:spPr bwMode="auto">
          <a:xfrm>
            <a:off x="3190875" y="1989138"/>
            <a:ext cx="2811463" cy="3679825"/>
          </a:xfrm>
          <a:prstGeom prst="ellipse">
            <a:avLst/>
          </a:prstGeom>
          <a:solidFill>
            <a:schemeClr val="accent3"/>
          </a:solidFill>
          <a:ln w="12700" algn="ctr">
            <a:solidFill>
              <a:schemeClr val="bg2"/>
            </a:solidFill>
            <a:round/>
            <a:headEnd type="none" w="sm" len="sm"/>
            <a:tailEnd type="none" w="med" len="lg"/>
          </a:ln>
        </p:spPr>
        <p:txBody>
          <a:bodyPr anchor="ctr"/>
          <a:lstStyle/>
          <a:p>
            <a:pPr algn="ctr"/>
            <a:r>
              <a:rPr lang="en-GB" altLang="ja-JP" sz="1200" b="1">
                <a:solidFill>
                  <a:schemeClr val="bg1"/>
                </a:solidFill>
                <a:ea typeface="ＭＳ Ｐゴシック" charset="-128"/>
              </a:rPr>
              <a:t>Text</a:t>
            </a:r>
          </a:p>
          <a:p>
            <a:pPr algn="ctr"/>
            <a:endParaRPr lang="en-GB" altLang="ja-JP" sz="1200" b="1">
              <a:solidFill>
                <a:schemeClr val="bg1"/>
              </a:solidFill>
              <a:ea typeface="ＭＳ Ｐゴシック" charset="-128"/>
            </a:endParaRPr>
          </a:p>
          <a:p>
            <a:pPr algn="ctr"/>
            <a:endParaRPr lang="en-GB" altLang="ja-JP" sz="1200" b="1">
              <a:solidFill>
                <a:schemeClr val="bg1"/>
              </a:solidFill>
              <a:ea typeface="ＭＳ Ｐゴシック" charset="-128"/>
            </a:endParaRPr>
          </a:p>
          <a:p>
            <a:pPr algn="ctr"/>
            <a:r>
              <a:rPr lang="en-GB" altLang="ja-JP" sz="1200" b="1">
                <a:solidFill>
                  <a:schemeClr val="bg1"/>
                </a:solidFill>
                <a:ea typeface="ＭＳ Ｐゴシック" charset="-128"/>
              </a:rPr>
              <a:t>Text</a:t>
            </a:r>
          </a:p>
        </p:txBody>
      </p:sp>
      <p:sp>
        <p:nvSpPr>
          <p:cNvPr id="8"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0"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2"/>
          <p:cNvGrpSpPr>
            <a:grpSpLocks/>
          </p:cNvGrpSpPr>
          <p:nvPr/>
        </p:nvGrpSpPr>
        <p:grpSpPr bwMode="auto">
          <a:xfrm>
            <a:off x="384175" y="1592807"/>
            <a:ext cx="4054475" cy="4066332"/>
            <a:chOff x="300" y="881"/>
            <a:chExt cx="1847" cy="3865"/>
          </a:xfrm>
        </p:grpSpPr>
        <p:sp>
          <p:nvSpPr>
            <p:cNvPr id="576520" name="Text Box 10"/>
            <p:cNvSpPr txBox="1">
              <a:spLocks noChangeArrowheads="1"/>
            </p:cNvSpPr>
            <p:nvPr/>
          </p:nvSpPr>
          <p:spPr bwMode="auto">
            <a:xfrm>
              <a:off x="300" y="881"/>
              <a:ext cx="1847" cy="261"/>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spcBef>
                  <a:spcPts val="400"/>
                </a:spcBef>
              </a:pPr>
              <a:r>
                <a:rPr lang="en-US" sz="1400" dirty="0">
                  <a:solidFill>
                    <a:srgbClr val="FFFFFF"/>
                  </a:solidFill>
                </a:rPr>
                <a:t>Text</a:t>
              </a:r>
            </a:p>
          </p:txBody>
        </p:sp>
        <p:sp>
          <p:nvSpPr>
            <p:cNvPr id="12" name="Rectangle 11"/>
            <p:cNvSpPr>
              <a:spLocks noChangeArrowheads="1"/>
            </p:cNvSpPr>
            <p:nvPr/>
          </p:nvSpPr>
          <p:spPr bwMode="auto">
            <a:xfrm>
              <a:off x="300" y="1145"/>
              <a:ext cx="1847" cy="3601"/>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sp>
        <p:nvSpPr>
          <p:cNvPr id="11" name="Title 10"/>
          <p:cNvSpPr>
            <a:spLocks noGrp="1"/>
          </p:cNvSpPr>
          <p:nvPr>
            <p:ph type="title"/>
          </p:nvPr>
        </p:nvSpPr>
        <p:spPr>
          <a:xfrm>
            <a:off x="416941" y="121890"/>
            <a:ext cx="8330184" cy="666849"/>
          </a:xfrm>
        </p:spPr>
        <p:txBody>
          <a:bodyPr anchor="t"/>
          <a:lstStyle/>
          <a:p>
            <a:r>
              <a:rPr lang="en-US" dirty="0"/>
              <a:t>Text boxes — two text boxes with paragraph, bullet, </a:t>
            </a:r>
            <a:br>
              <a:rPr lang="en-US" dirty="0"/>
            </a:br>
            <a:r>
              <a:rPr lang="en-US" dirty="0"/>
              <a:t>and dash points</a:t>
            </a:r>
          </a:p>
        </p:txBody>
      </p:sp>
      <p:sp>
        <p:nvSpPr>
          <p:cNvPr id="10"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2" name="Text Placeholder 36"/>
          <p:cNvSpPr txBox="1">
            <a:spLocks/>
          </p:cNvSpPr>
          <p:nvPr/>
        </p:nvSpPr>
        <p:spPr bwMode="gray">
          <a:xfrm>
            <a:off x="411479" y="6172574"/>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grpSp>
        <p:nvGrpSpPr>
          <p:cNvPr id="23" name="Group 12"/>
          <p:cNvGrpSpPr>
            <a:grpSpLocks/>
          </p:cNvGrpSpPr>
          <p:nvPr/>
        </p:nvGrpSpPr>
        <p:grpSpPr bwMode="auto">
          <a:xfrm>
            <a:off x="4692650" y="1592807"/>
            <a:ext cx="4054475" cy="4066332"/>
            <a:chOff x="300" y="881"/>
            <a:chExt cx="1847" cy="3865"/>
          </a:xfrm>
        </p:grpSpPr>
        <p:sp>
          <p:nvSpPr>
            <p:cNvPr id="24" name="Text Box 10"/>
            <p:cNvSpPr txBox="1">
              <a:spLocks noChangeArrowheads="1"/>
            </p:cNvSpPr>
            <p:nvPr/>
          </p:nvSpPr>
          <p:spPr bwMode="auto">
            <a:xfrm>
              <a:off x="300" y="881"/>
              <a:ext cx="1847" cy="261"/>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spcBef>
                  <a:spcPts val="400"/>
                </a:spcBef>
              </a:pPr>
              <a:r>
                <a:rPr lang="en-US" sz="1400" dirty="0">
                  <a:solidFill>
                    <a:srgbClr val="FFFFFF"/>
                  </a:solidFill>
                </a:rPr>
                <a:t>Text</a:t>
              </a:r>
            </a:p>
          </p:txBody>
        </p:sp>
        <p:sp>
          <p:nvSpPr>
            <p:cNvPr id="25" name="Rectangle 24"/>
            <p:cNvSpPr>
              <a:spLocks noChangeArrowheads="1"/>
            </p:cNvSpPr>
            <p:nvPr/>
          </p:nvSpPr>
          <p:spPr bwMode="auto">
            <a:xfrm>
              <a:off x="300" y="1145"/>
              <a:ext cx="1847" cy="3601"/>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spTree>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1201" name="Title 1"/>
          <p:cNvSpPr>
            <a:spLocks noGrp="1"/>
          </p:cNvSpPr>
          <p:nvPr>
            <p:ph type="title"/>
          </p:nvPr>
        </p:nvSpPr>
        <p:spPr>
          <a:xfrm>
            <a:off x="414338" y="446038"/>
            <a:ext cx="8330184" cy="333425"/>
          </a:xfrm>
        </p:spPr>
        <p:txBody>
          <a:bodyPr/>
          <a:lstStyle/>
          <a:p>
            <a:r>
              <a:rPr lang="nl-NL"/>
              <a:t>Boxes </a:t>
            </a:r>
            <a:r>
              <a:rPr lang="en-US"/>
              <a:t>—</a:t>
            </a:r>
            <a:r>
              <a:rPr lang="nl-NL" smtClean="0"/>
              <a:t> </a:t>
            </a:r>
            <a:r>
              <a:rPr lang="nl-NL"/>
              <a:t>matrices</a:t>
            </a:r>
          </a:p>
        </p:txBody>
      </p:sp>
      <p:grpSp>
        <p:nvGrpSpPr>
          <p:cNvPr id="2" name="Group 3"/>
          <p:cNvGrpSpPr>
            <a:grpSpLocks/>
          </p:cNvGrpSpPr>
          <p:nvPr/>
        </p:nvGrpSpPr>
        <p:grpSpPr bwMode="auto">
          <a:xfrm>
            <a:off x="747713" y="2009205"/>
            <a:ext cx="3684587" cy="2820988"/>
            <a:chOff x="470" y="1382"/>
            <a:chExt cx="2515" cy="1777"/>
          </a:xfrm>
        </p:grpSpPr>
        <p:sp>
          <p:nvSpPr>
            <p:cNvPr id="6" name="Rectangle 4"/>
            <p:cNvSpPr>
              <a:spLocks noChangeArrowheads="1"/>
            </p:cNvSpPr>
            <p:nvPr/>
          </p:nvSpPr>
          <p:spPr bwMode="auto">
            <a:xfrm>
              <a:off x="1727" y="2271"/>
              <a:ext cx="1258" cy="888"/>
            </a:xfrm>
            <a:prstGeom prst="rect">
              <a:avLst/>
            </a:prstGeom>
            <a:solidFill>
              <a:schemeClr val="accent3"/>
            </a:solidFill>
            <a:ln w="9525">
              <a:solidFill>
                <a:schemeClr val="bg1"/>
              </a:solidFill>
              <a:miter lim="800000"/>
              <a:headEnd/>
              <a:tailEnd/>
            </a:ln>
          </p:spPr>
          <p:txBody>
            <a:bodyPr anchor="ctr" anchorCtr="1"/>
            <a:lstStyle/>
            <a:p>
              <a:r>
                <a:rPr lang="en-GB" altLang="ja-JP" sz="1400" dirty="0" smtClean="0">
                  <a:solidFill>
                    <a:schemeClr val="bg1"/>
                  </a:solidFill>
                  <a:ea typeface="ＭＳ Ｐゴシック" charset="-128"/>
                </a:rPr>
                <a:t>Title:</a:t>
              </a:r>
            </a:p>
            <a:p>
              <a:r>
                <a:rPr lang="en-GB" altLang="ja-JP" sz="1200" b="0" dirty="0" smtClean="0">
                  <a:solidFill>
                    <a:schemeClr val="bg1"/>
                  </a:solidFill>
                  <a:ea typeface="ＭＳ Ｐゴシック" charset="-128"/>
                </a:rPr>
                <a:t>Text</a:t>
              </a:r>
              <a:r>
                <a:rPr lang="en-GB" altLang="ja-JP" sz="1200" dirty="0" smtClean="0">
                  <a:solidFill>
                    <a:schemeClr val="bg1"/>
                  </a:solidFill>
                  <a:ea typeface="ＭＳ Ｐゴシック" charset="-128"/>
                </a:rPr>
                <a:t> </a:t>
              </a:r>
              <a:endParaRPr lang="en-GB" altLang="ja-JP" sz="1200" dirty="0">
                <a:solidFill>
                  <a:schemeClr val="bg1"/>
                </a:solidFill>
                <a:ea typeface="ＭＳ Ｐゴシック" charset="-128"/>
              </a:endParaRPr>
            </a:p>
          </p:txBody>
        </p:sp>
        <p:sp>
          <p:nvSpPr>
            <p:cNvPr id="7" name="Rectangle 5"/>
            <p:cNvSpPr>
              <a:spLocks noChangeArrowheads="1"/>
            </p:cNvSpPr>
            <p:nvPr/>
          </p:nvSpPr>
          <p:spPr bwMode="auto">
            <a:xfrm>
              <a:off x="470" y="2271"/>
              <a:ext cx="1257" cy="888"/>
            </a:xfrm>
            <a:prstGeom prst="rect">
              <a:avLst/>
            </a:prstGeom>
            <a:solidFill>
              <a:schemeClr val="accent3"/>
            </a:solidFill>
            <a:ln w="9525" algn="ctr">
              <a:solidFill>
                <a:schemeClr val="bg1"/>
              </a:solidFill>
              <a:miter lim="800000"/>
              <a:headEnd/>
              <a:tailEnd/>
            </a:ln>
          </p:spPr>
          <p:txBody>
            <a:bodyPr anchor="ctr" anchorCtr="1"/>
            <a:lstStyle/>
            <a:p>
              <a:r>
                <a:rPr lang="en-GB" altLang="ja-JP" sz="1400" dirty="0" smtClean="0">
                  <a:solidFill>
                    <a:schemeClr val="bg1"/>
                  </a:solidFill>
                  <a:ea typeface="ＭＳ Ｐゴシック" charset="-128"/>
                </a:rPr>
                <a:t>Title:</a:t>
              </a:r>
            </a:p>
            <a:p>
              <a:r>
                <a:rPr lang="en-GB" altLang="ja-JP" sz="1200" b="0" dirty="0" smtClean="0">
                  <a:solidFill>
                    <a:schemeClr val="bg1"/>
                  </a:solidFill>
                  <a:ea typeface="ＭＳ Ｐゴシック" charset="-128"/>
                </a:rPr>
                <a:t>Text</a:t>
              </a:r>
              <a:r>
                <a:rPr lang="en-GB" altLang="ja-JP" sz="1200" dirty="0" smtClean="0">
                  <a:solidFill>
                    <a:schemeClr val="bg1"/>
                  </a:solidFill>
                  <a:ea typeface="ＭＳ Ｐゴシック" charset="-128"/>
                </a:rPr>
                <a:t> </a:t>
              </a:r>
              <a:endParaRPr lang="en-GB" altLang="ja-JP" sz="1200" dirty="0">
                <a:solidFill>
                  <a:schemeClr val="bg1"/>
                </a:solidFill>
                <a:ea typeface="ＭＳ Ｐゴシック" charset="-128"/>
              </a:endParaRPr>
            </a:p>
          </p:txBody>
        </p:sp>
        <p:sp>
          <p:nvSpPr>
            <p:cNvPr id="691229" name="Rectangle 6"/>
            <p:cNvSpPr>
              <a:spLocks noChangeArrowheads="1"/>
            </p:cNvSpPr>
            <p:nvPr/>
          </p:nvSpPr>
          <p:spPr bwMode="auto">
            <a:xfrm>
              <a:off x="470" y="1382"/>
              <a:ext cx="1257" cy="888"/>
            </a:xfrm>
            <a:prstGeom prst="rect">
              <a:avLst/>
            </a:prstGeom>
            <a:solidFill>
              <a:schemeClr val="accent3"/>
            </a:solidFill>
            <a:ln w="9525" algn="ctr">
              <a:solidFill>
                <a:srgbClr val="FFFFFF"/>
              </a:solidFill>
              <a:miter lim="800000"/>
              <a:headEnd/>
              <a:tailEnd/>
            </a:ln>
          </p:spPr>
          <p:txBody>
            <a:bodyPr anchor="ctr" anchorCtr="1"/>
            <a:lstStyle/>
            <a:p>
              <a:pPr algn="ctr"/>
              <a:r>
                <a:rPr lang="en-GB" altLang="ja-JP" sz="1400" dirty="0">
                  <a:solidFill>
                    <a:schemeClr val="bg1"/>
                  </a:solidFill>
                  <a:ea typeface="ＭＳ Ｐゴシック" charset="-128"/>
                </a:rPr>
                <a:t>Title</a:t>
              </a:r>
              <a:r>
                <a:rPr lang="en-GB" altLang="ja-JP" sz="1400" dirty="0" smtClean="0">
                  <a:solidFill>
                    <a:schemeClr val="bg1"/>
                  </a:solidFill>
                  <a:ea typeface="ＭＳ Ｐゴシック" charset="-128"/>
                </a:rPr>
                <a:t>:</a:t>
              </a:r>
              <a:endParaRPr lang="en-GB" altLang="ja-JP" sz="1400" dirty="0">
                <a:solidFill>
                  <a:schemeClr val="bg1"/>
                </a:solidFill>
                <a:ea typeface="ＭＳ Ｐゴシック" charset="-128"/>
              </a:endParaRPr>
            </a:p>
            <a:p>
              <a:pPr algn="ctr"/>
              <a:r>
                <a:rPr lang="en-GB" altLang="ja-JP" sz="1200" b="0" dirty="0">
                  <a:solidFill>
                    <a:schemeClr val="bg1"/>
                  </a:solidFill>
                  <a:ea typeface="ＭＳ Ｐゴシック" charset="-128"/>
                </a:rPr>
                <a:t>Text</a:t>
              </a:r>
              <a:r>
                <a:rPr lang="en-GB" altLang="ja-JP" sz="1200" dirty="0">
                  <a:solidFill>
                    <a:schemeClr val="bg1"/>
                  </a:solidFill>
                  <a:ea typeface="ＭＳ Ｐゴシック" charset="-128"/>
                </a:rPr>
                <a:t> </a:t>
              </a:r>
            </a:p>
          </p:txBody>
        </p:sp>
        <p:sp>
          <p:nvSpPr>
            <p:cNvPr id="691230" name="Rectangle 7"/>
            <p:cNvSpPr>
              <a:spLocks noChangeArrowheads="1"/>
            </p:cNvSpPr>
            <p:nvPr/>
          </p:nvSpPr>
          <p:spPr bwMode="auto">
            <a:xfrm>
              <a:off x="1727" y="1382"/>
              <a:ext cx="1258" cy="888"/>
            </a:xfrm>
            <a:prstGeom prst="rect">
              <a:avLst/>
            </a:prstGeom>
            <a:solidFill>
              <a:schemeClr val="accent3"/>
            </a:solidFill>
            <a:ln w="9525" algn="ctr">
              <a:solidFill>
                <a:srgbClr val="FFFFFF"/>
              </a:solidFill>
              <a:miter lim="800000"/>
              <a:headEnd/>
              <a:tailEnd/>
            </a:ln>
          </p:spPr>
          <p:txBody>
            <a:bodyPr anchor="ctr" anchorCtr="1"/>
            <a:lstStyle/>
            <a:p>
              <a:r>
                <a:rPr lang="en-GB" altLang="ja-JP" sz="1400" dirty="0" smtClean="0">
                  <a:solidFill>
                    <a:schemeClr val="bg1"/>
                  </a:solidFill>
                  <a:ea typeface="ＭＳ Ｐゴシック" charset="-128"/>
                </a:rPr>
                <a:t>Title:</a:t>
              </a:r>
            </a:p>
            <a:p>
              <a:r>
                <a:rPr lang="en-GB" altLang="ja-JP" sz="1200" b="0" dirty="0" smtClean="0">
                  <a:solidFill>
                    <a:schemeClr val="bg1"/>
                  </a:solidFill>
                  <a:ea typeface="ＭＳ Ｐゴシック" charset="-128"/>
                </a:rPr>
                <a:t>Text</a:t>
              </a:r>
              <a:r>
                <a:rPr lang="en-GB" altLang="ja-JP" sz="1200" dirty="0" smtClean="0">
                  <a:solidFill>
                    <a:schemeClr val="bg1"/>
                  </a:solidFill>
                  <a:ea typeface="ＭＳ Ｐゴシック" charset="-128"/>
                </a:rPr>
                <a:t> </a:t>
              </a:r>
              <a:endParaRPr lang="en-GB" altLang="ja-JP" sz="1200" dirty="0">
                <a:solidFill>
                  <a:schemeClr val="bg1"/>
                </a:solidFill>
                <a:ea typeface="ＭＳ Ｐゴシック" charset="-128"/>
              </a:endParaRPr>
            </a:p>
          </p:txBody>
        </p:sp>
      </p:grpSp>
      <p:sp>
        <p:nvSpPr>
          <p:cNvPr id="691204" name="Text Box 8"/>
          <p:cNvSpPr txBox="1">
            <a:spLocks noChangeAspect="1" noChangeArrowheads="1"/>
          </p:cNvSpPr>
          <p:nvPr/>
        </p:nvSpPr>
        <p:spPr bwMode="auto">
          <a:xfrm rot="-5400000">
            <a:off x="88900" y="3298255"/>
            <a:ext cx="931863" cy="246063"/>
          </a:xfrm>
          <a:prstGeom prst="rect">
            <a:avLst/>
          </a:prstGeom>
          <a:noFill/>
          <a:ln w="9525">
            <a:noFill/>
            <a:miter lim="800000"/>
            <a:headEnd/>
            <a:tailEnd/>
          </a:ln>
        </p:spPr>
        <p:txBody>
          <a:bodyPr>
            <a:spAutoFit/>
          </a:bodyPr>
          <a:lstStyle/>
          <a:p>
            <a:pPr algn="ctr"/>
            <a:r>
              <a:rPr lang="en-GB" sz="1000" b="1">
                <a:solidFill>
                  <a:schemeClr val="tx2"/>
                </a:solidFill>
                <a:ea typeface="ＭＳ Ｐゴシック" charset="-128"/>
              </a:rPr>
              <a:t>Vertical axis</a:t>
            </a:r>
          </a:p>
        </p:txBody>
      </p:sp>
      <p:sp>
        <p:nvSpPr>
          <p:cNvPr id="691205" name="Text Box 9"/>
          <p:cNvSpPr txBox="1">
            <a:spLocks noChangeAspect="1" noChangeArrowheads="1"/>
          </p:cNvSpPr>
          <p:nvPr/>
        </p:nvSpPr>
        <p:spPr bwMode="auto">
          <a:xfrm>
            <a:off x="314325" y="2009205"/>
            <a:ext cx="447675" cy="246063"/>
          </a:xfrm>
          <a:prstGeom prst="rect">
            <a:avLst/>
          </a:prstGeom>
          <a:noFill/>
          <a:ln w="9525">
            <a:noFill/>
            <a:miter lim="800000"/>
            <a:headEnd/>
            <a:tailEnd/>
          </a:ln>
        </p:spPr>
        <p:txBody>
          <a:bodyPr wrap="none">
            <a:spAutoFit/>
          </a:bodyPr>
          <a:lstStyle/>
          <a:p>
            <a:pPr algn="ctr"/>
            <a:r>
              <a:rPr lang="en-GB" sz="1000">
                <a:solidFill>
                  <a:schemeClr val="tx2"/>
                </a:solidFill>
                <a:ea typeface="ＭＳ Ｐゴシック" charset="-128"/>
              </a:rPr>
              <a:t>High</a:t>
            </a:r>
          </a:p>
        </p:txBody>
      </p:sp>
      <p:sp>
        <p:nvSpPr>
          <p:cNvPr id="691206" name="Text Box 10"/>
          <p:cNvSpPr txBox="1">
            <a:spLocks noChangeAspect="1" noChangeArrowheads="1"/>
          </p:cNvSpPr>
          <p:nvPr/>
        </p:nvSpPr>
        <p:spPr bwMode="auto">
          <a:xfrm>
            <a:off x="785813" y="4839718"/>
            <a:ext cx="504825" cy="246062"/>
          </a:xfrm>
          <a:prstGeom prst="rect">
            <a:avLst/>
          </a:prstGeom>
          <a:noFill/>
          <a:ln w="9525">
            <a:noFill/>
            <a:miter lim="800000"/>
            <a:headEnd/>
            <a:tailEnd/>
          </a:ln>
        </p:spPr>
        <p:txBody>
          <a:bodyPr wrap="none">
            <a:spAutoFit/>
          </a:bodyPr>
          <a:lstStyle/>
          <a:p>
            <a:pPr algn="ctr"/>
            <a:r>
              <a:rPr lang="en-GB" sz="1000">
                <a:solidFill>
                  <a:schemeClr val="tx2"/>
                </a:solidFill>
                <a:ea typeface="ＭＳ Ｐゴシック" charset="-128"/>
              </a:rPr>
              <a:t>Small</a:t>
            </a:r>
          </a:p>
        </p:txBody>
      </p:sp>
      <p:sp>
        <p:nvSpPr>
          <p:cNvPr id="691207" name="Text Box 11"/>
          <p:cNvSpPr txBox="1">
            <a:spLocks noChangeAspect="1" noChangeArrowheads="1"/>
          </p:cNvSpPr>
          <p:nvPr/>
        </p:nvSpPr>
        <p:spPr bwMode="auto">
          <a:xfrm>
            <a:off x="2071688" y="4839718"/>
            <a:ext cx="1042987" cy="400050"/>
          </a:xfrm>
          <a:prstGeom prst="rect">
            <a:avLst/>
          </a:prstGeom>
          <a:noFill/>
          <a:ln w="9525">
            <a:noFill/>
            <a:miter lim="800000"/>
            <a:headEnd/>
            <a:tailEnd/>
          </a:ln>
        </p:spPr>
        <p:txBody>
          <a:bodyPr>
            <a:spAutoFit/>
          </a:bodyPr>
          <a:lstStyle/>
          <a:p>
            <a:pPr algn="ctr"/>
            <a:r>
              <a:rPr lang="en-GB" sz="1000" b="1">
                <a:solidFill>
                  <a:schemeClr val="tx2"/>
                </a:solidFill>
                <a:ea typeface="ＭＳ Ｐゴシック" charset="-128"/>
              </a:rPr>
              <a:t>Horizontal axis</a:t>
            </a:r>
          </a:p>
        </p:txBody>
      </p:sp>
      <p:sp>
        <p:nvSpPr>
          <p:cNvPr id="691208" name="Text Box 12"/>
          <p:cNvSpPr txBox="1">
            <a:spLocks noChangeAspect="1" noChangeArrowheads="1"/>
          </p:cNvSpPr>
          <p:nvPr/>
        </p:nvSpPr>
        <p:spPr bwMode="auto">
          <a:xfrm>
            <a:off x="360363" y="4525393"/>
            <a:ext cx="419100" cy="246062"/>
          </a:xfrm>
          <a:prstGeom prst="rect">
            <a:avLst/>
          </a:prstGeom>
          <a:noFill/>
          <a:ln w="9525">
            <a:noFill/>
            <a:miter lim="800000"/>
            <a:headEnd/>
            <a:tailEnd/>
          </a:ln>
        </p:spPr>
        <p:txBody>
          <a:bodyPr wrap="none">
            <a:spAutoFit/>
          </a:bodyPr>
          <a:lstStyle/>
          <a:p>
            <a:pPr algn="ctr"/>
            <a:r>
              <a:rPr lang="en-GB" sz="1000">
                <a:solidFill>
                  <a:schemeClr val="tx2"/>
                </a:solidFill>
                <a:ea typeface="ＭＳ Ｐゴシック" charset="-128"/>
              </a:rPr>
              <a:t>Low</a:t>
            </a:r>
          </a:p>
        </p:txBody>
      </p:sp>
      <p:sp>
        <p:nvSpPr>
          <p:cNvPr id="691209" name="Text Box 13"/>
          <p:cNvSpPr txBox="1">
            <a:spLocks noChangeAspect="1" noChangeArrowheads="1"/>
          </p:cNvSpPr>
          <p:nvPr/>
        </p:nvSpPr>
        <p:spPr bwMode="auto">
          <a:xfrm>
            <a:off x="3884613" y="4839718"/>
            <a:ext cx="509587" cy="246062"/>
          </a:xfrm>
          <a:prstGeom prst="rect">
            <a:avLst/>
          </a:prstGeom>
          <a:noFill/>
          <a:ln w="9525">
            <a:noFill/>
            <a:miter lim="800000"/>
            <a:headEnd/>
            <a:tailEnd/>
          </a:ln>
        </p:spPr>
        <p:txBody>
          <a:bodyPr wrap="none">
            <a:spAutoFit/>
          </a:bodyPr>
          <a:lstStyle/>
          <a:p>
            <a:pPr algn="ctr"/>
            <a:r>
              <a:rPr lang="en-GB" sz="1000">
                <a:solidFill>
                  <a:schemeClr val="tx2"/>
                </a:solidFill>
                <a:ea typeface="ＭＳ Ｐゴシック" charset="-128"/>
              </a:rPr>
              <a:t>Large</a:t>
            </a:r>
          </a:p>
        </p:txBody>
      </p:sp>
      <p:grpSp>
        <p:nvGrpSpPr>
          <p:cNvPr id="3" name="Group 44"/>
          <p:cNvGrpSpPr>
            <a:grpSpLocks/>
          </p:cNvGrpSpPr>
          <p:nvPr/>
        </p:nvGrpSpPr>
        <p:grpSpPr bwMode="auto">
          <a:xfrm>
            <a:off x="5081588" y="2007618"/>
            <a:ext cx="3686175" cy="2822575"/>
            <a:chOff x="5505152" y="2133600"/>
            <a:chExt cx="3992563" cy="2881313"/>
          </a:xfrm>
        </p:grpSpPr>
        <p:sp>
          <p:nvSpPr>
            <p:cNvPr id="23" name="Rectangle 21"/>
            <p:cNvSpPr>
              <a:spLocks noChangeArrowheads="1"/>
            </p:cNvSpPr>
            <p:nvPr/>
          </p:nvSpPr>
          <p:spPr bwMode="auto">
            <a:xfrm>
              <a:off x="6834286" y="4040970"/>
              <a:ext cx="1330854" cy="973943"/>
            </a:xfrm>
            <a:prstGeom prst="rect">
              <a:avLst/>
            </a:prstGeom>
            <a:solidFill>
              <a:schemeClr val="accent3"/>
            </a:solidFill>
            <a:ln w="9525">
              <a:solidFill>
                <a:schemeClr val="bg1"/>
              </a:solidFill>
              <a:miter lim="800000"/>
              <a:headEnd/>
              <a:tailEnd/>
            </a:ln>
          </p:spPr>
          <p:txBody>
            <a:bodyPr anchor="ctr" anchorCtr="1"/>
            <a:lstStyle/>
            <a:p>
              <a:r>
                <a:rPr lang="en-GB" altLang="ja-JP" sz="1400" dirty="0" smtClean="0">
                  <a:solidFill>
                    <a:schemeClr val="bg2"/>
                  </a:solidFill>
                  <a:ea typeface="ＭＳ Ｐゴシック" charset="-128"/>
                </a:rPr>
                <a:t>Title:</a:t>
              </a:r>
            </a:p>
            <a:p>
              <a:r>
                <a:rPr lang="en-GB" altLang="ja-JP" sz="1200" b="0" dirty="0" smtClean="0">
                  <a:solidFill>
                    <a:schemeClr val="bg2"/>
                  </a:solidFill>
                  <a:ea typeface="ＭＳ Ｐゴシック" charset="-128"/>
                </a:rPr>
                <a:t>Text</a:t>
              </a:r>
              <a:r>
                <a:rPr lang="en-GB" altLang="ja-JP" sz="1200" dirty="0" smtClean="0">
                  <a:solidFill>
                    <a:schemeClr val="bg2"/>
                  </a:solidFill>
                  <a:ea typeface="ＭＳ Ｐゴシック" charset="-128"/>
                </a:rPr>
                <a:t> </a:t>
              </a:r>
              <a:endParaRPr lang="en-GB" altLang="ja-JP" sz="1200" dirty="0">
                <a:solidFill>
                  <a:schemeClr val="bg2"/>
                </a:solidFill>
                <a:ea typeface="ＭＳ Ｐゴシック" charset="-128"/>
              </a:endParaRPr>
            </a:p>
          </p:txBody>
        </p:sp>
        <p:sp>
          <p:nvSpPr>
            <p:cNvPr id="24" name="Rectangle 22"/>
            <p:cNvSpPr>
              <a:spLocks noChangeArrowheads="1"/>
            </p:cNvSpPr>
            <p:nvPr/>
          </p:nvSpPr>
          <p:spPr bwMode="auto">
            <a:xfrm>
              <a:off x="5505152" y="4040970"/>
              <a:ext cx="1329134" cy="973943"/>
            </a:xfrm>
            <a:prstGeom prst="rect">
              <a:avLst/>
            </a:prstGeom>
            <a:solidFill>
              <a:schemeClr val="accent3"/>
            </a:solidFill>
            <a:ln w="9525" algn="ctr">
              <a:solidFill>
                <a:schemeClr val="bg1"/>
              </a:solidFill>
              <a:miter lim="800000"/>
              <a:headEnd/>
              <a:tailEnd/>
            </a:ln>
          </p:spPr>
          <p:txBody>
            <a:bodyPr anchor="ctr" anchorCtr="1"/>
            <a:lstStyle/>
            <a:p>
              <a:r>
                <a:rPr lang="en-GB" altLang="ja-JP" sz="1400" dirty="0" smtClean="0">
                  <a:solidFill>
                    <a:schemeClr val="bg1"/>
                  </a:solidFill>
                  <a:ea typeface="ＭＳ Ｐゴシック" charset="-128"/>
                </a:rPr>
                <a:t>Title:</a:t>
              </a:r>
            </a:p>
            <a:p>
              <a:r>
                <a:rPr lang="en-GB" altLang="ja-JP" sz="1200" b="0" dirty="0" smtClean="0">
                  <a:solidFill>
                    <a:schemeClr val="bg1"/>
                  </a:solidFill>
                  <a:ea typeface="ＭＳ Ｐゴシック" charset="-128"/>
                </a:rPr>
                <a:t>Text</a:t>
              </a:r>
              <a:r>
                <a:rPr lang="en-GB" altLang="ja-JP" sz="1200" dirty="0" smtClean="0">
                  <a:solidFill>
                    <a:schemeClr val="bg1"/>
                  </a:solidFill>
                  <a:ea typeface="ＭＳ Ｐゴシック" charset="-128"/>
                </a:rPr>
                <a:t> </a:t>
              </a:r>
              <a:endParaRPr lang="en-GB" altLang="ja-JP" sz="1200" dirty="0">
                <a:solidFill>
                  <a:schemeClr val="bg1"/>
                </a:solidFill>
                <a:ea typeface="ＭＳ Ｐゴシック" charset="-128"/>
              </a:endParaRPr>
            </a:p>
          </p:txBody>
        </p:sp>
        <p:sp>
          <p:nvSpPr>
            <p:cNvPr id="25" name="Rectangle 23"/>
            <p:cNvSpPr>
              <a:spLocks noChangeArrowheads="1"/>
            </p:cNvSpPr>
            <p:nvPr/>
          </p:nvSpPr>
          <p:spPr bwMode="auto">
            <a:xfrm>
              <a:off x="5505152" y="3068649"/>
              <a:ext cx="1329134" cy="972322"/>
            </a:xfrm>
            <a:prstGeom prst="rect">
              <a:avLst/>
            </a:prstGeom>
            <a:solidFill>
              <a:schemeClr val="accent3"/>
            </a:solidFill>
            <a:ln w="9525" algn="ctr">
              <a:solidFill>
                <a:schemeClr val="bg1"/>
              </a:solidFill>
              <a:miter lim="800000"/>
              <a:headEnd/>
              <a:tailEnd/>
            </a:ln>
          </p:spPr>
          <p:txBody>
            <a:bodyPr anchor="ctr" anchorCtr="1"/>
            <a:lstStyle/>
            <a:p>
              <a:r>
                <a:rPr lang="en-GB" altLang="ja-JP" sz="1400" dirty="0" smtClean="0">
                  <a:solidFill>
                    <a:schemeClr val="bg2"/>
                  </a:solidFill>
                  <a:ea typeface="ＭＳ Ｐゴシック" charset="-128"/>
                </a:rPr>
                <a:t>Title:</a:t>
              </a:r>
            </a:p>
            <a:p>
              <a:r>
                <a:rPr lang="en-GB" altLang="ja-JP" sz="1200" b="0" dirty="0" smtClean="0">
                  <a:solidFill>
                    <a:schemeClr val="bg2"/>
                  </a:solidFill>
                  <a:ea typeface="ＭＳ Ｐゴシック" charset="-128"/>
                </a:rPr>
                <a:t>Text</a:t>
              </a:r>
              <a:r>
                <a:rPr lang="en-GB" altLang="ja-JP" sz="1200" dirty="0" smtClean="0">
                  <a:solidFill>
                    <a:schemeClr val="bg2"/>
                  </a:solidFill>
                  <a:ea typeface="ＭＳ Ｐゴシック" charset="-128"/>
                </a:rPr>
                <a:t> </a:t>
              </a:r>
              <a:endParaRPr lang="en-GB" altLang="ja-JP" sz="1200" dirty="0">
                <a:solidFill>
                  <a:schemeClr val="bg2"/>
                </a:solidFill>
                <a:ea typeface="ＭＳ Ｐゴシック" charset="-128"/>
              </a:endParaRPr>
            </a:p>
          </p:txBody>
        </p:sp>
        <p:sp>
          <p:nvSpPr>
            <p:cNvPr id="26" name="Rectangle 24"/>
            <p:cNvSpPr>
              <a:spLocks noChangeArrowheads="1"/>
            </p:cNvSpPr>
            <p:nvPr/>
          </p:nvSpPr>
          <p:spPr bwMode="auto">
            <a:xfrm>
              <a:off x="6834286" y="3068649"/>
              <a:ext cx="1330854" cy="972322"/>
            </a:xfrm>
            <a:prstGeom prst="rect">
              <a:avLst/>
            </a:prstGeom>
            <a:solidFill>
              <a:schemeClr val="accent3"/>
            </a:solidFill>
            <a:ln w="9525" algn="ctr">
              <a:solidFill>
                <a:schemeClr val="bg1"/>
              </a:solidFill>
              <a:miter lim="800000"/>
              <a:headEnd/>
              <a:tailEnd/>
            </a:ln>
          </p:spPr>
          <p:txBody>
            <a:bodyPr anchor="ctr" anchorCtr="1"/>
            <a:lstStyle/>
            <a:p>
              <a:r>
                <a:rPr lang="en-GB" altLang="ja-JP" sz="1400" dirty="0" smtClean="0">
                  <a:solidFill>
                    <a:schemeClr val="bg2"/>
                  </a:solidFill>
                  <a:ea typeface="ＭＳ Ｐゴシック" charset="-128"/>
                </a:rPr>
                <a:t>Title:</a:t>
              </a:r>
            </a:p>
            <a:p>
              <a:r>
                <a:rPr lang="en-GB" altLang="ja-JP" sz="1200" b="0" dirty="0" smtClean="0">
                  <a:solidFill>
                    <a:schemeClr val="bg2"/>
                  </a:solidFill>
                  <a:ea typeface="ＭＳ Ｐゴシック" charset="-128"/>
                </a:rPr>
                <a:t>Text</a:t>
              </a:r>
              <a:r>
                <a:rPr lang="en-GB" altLang="ja-JP" sz="1200" dirty="0" smtClean="0">
                  <a:solidFill>
                    <a:schemeClr val="bg2"/>
                  </a:solidFill>
                  <a:ea typeface="ＭＳ Ｐゴシック" charset="-128"/>
                </a:rPr>
                <a:t> </a:t>
              </a:r>
              <a:endParaRPr lang="en-GB" altLang="ja-JP" sz="1200" dirty="0">
                <a:solidFill>
                  <a:schemeClr val="bg2"/>
                </a:solidFill>
                <a:ea typeface="ＭＳ Ｐゴシック" charset="-128"/>
              </a:endParaRPr>
            </a:p>
          </p:txBody>
        </p:sp>
        <p:sp>
          <p:nvSpPr>
            <p:cNvPr id="691222" name="Rectangle 25"/>
            <p:cNvSpPr>
              <a:spLocks noChangeArrowheads="1"/>
            </p:cNvSpPr>
            <p:nvPr/>
          </p:nvSpPr>
          <p:spPr bwMode="auto">
            <a:xfrm>
              <a:off x="5505152" y="2133600"/>
              <a:ext cx="1328738" cy="973138"/>
            </a:xfrm>
            <a:prstGeom prst="rect">
              <a:avLst/>
            </a:prstGeom>
            <a:solidFill>
              <a:schemeClr val="accent3"/>
            </a:solidFill>
            <a:ln w="9525" algn="ctr">
              <a:solidFill>
                <a:schemeClr val="bg1"/>
              </a:solidFill>
              <a:miter lim="800000"/>
              <a:headEnd/>
              <a:tailEnd/>
            </a:ln>
          </p:spPr>
          <p:txBody>
            <a:bodyPr anchor="ctr" anchorCtr="1"/>
            <a:lstStyle/>
            <a:p>
              <a:r>
                <a:rPr lang="en-GB" altLang="ja-JP" sz="1400" dirty="0" smtClean="0">
                  <a:solidFill>
                    <a:schemeClr val="bg1"/>
                  </a:solidFill>
                  <a:ea typeface="ＭＳ Ｐゴシック" charset="-128"/>
                </a:rPr>
                <a:t>Title:</a:t>
              </a:r>
            </a:p>
            <a:p>
              <a:r>
                <a:rPr lang="en-GB" altLang="ja-JP" sz="1200" b="0" dirty="0" smtClean="0">
                  <a:solidFill>
                    <a:schemeClr val="bg1"/>
                  </a:solidFill>
                  <a:ea typeface="ＭＳ Ｐゴシック" charset="-128"/>
                </a:rPr>
                <a:t>Text</a:t>
              </a:r>
              <a:r>
                <a:rPr lang="en-GB" altLang="ja-JP" sz="1200" dirty="0" smtClean="0">
                  <a:solidFill>
                    <a:schemeClr val="bg1"/>
                  </a:solidFill>
                  <a:ea typeface="ＭＳ Ｐゴシック" charset="-128"/>
                </a:rPr>
                <a:t> </a:t>
              </a:r>
              <a:endParaRPr lang="en-GB" altLang="ja-JP" sz="1200" dirty="0">
                <a:solidFill>
                  <a:schemeClr val="bg1"/>
                </a:solidFill>
                <a:ea typeface="ＭＳ Ｐゴシック" charset="-128"/>
              </a:endParaRPr>
            </a:p>
          </p:txBody>
        </p:sp>
        <p:sp>
          <p:nvSpPr>
            <p:cNvPr id="691223" name="Rectangle 26"/>
            <p:cNvSpPr>
              <a:spLocks noChangeArrowheads="1"/>
            </p:cNvSpPr>
            <p:nvPr/>
          </p:nvSpPr>
          <p:spPr bwMode="auto">
            <a:xfrm>
              <a:off x="6833890" y="2133600"/>
              <a:ext cx="1331913" cy="973138"/>
            </a:xfrm>
            <a:prstGeom prst="rect">
              <a:avLst/>
            </a:prstGeom>
            <a:solidFill>
              <a:schemeClr val="accent3"/>
            </a:solidFill>
            <a:ln w="9525" algn="ctr">
              <a:solidFill>
                <a:schemeClr val="bg1"/>
              </a:solidFill>
              <a:miter lim="800000"/>
              <a:headEnd/>
              <a:tailEnd/>
            </a:ln>
          </p:spPr>
          <p:txBody>
            <a:bodyPr anchor="ctr" anchorCtr="1"/>
            <a:lstStyle/>
            <a:p>
              <a:r>
                <a:rPr lang="en-GB" altLang="ja-JP" sz="1400" dirty="0" smtClean="0">
                  <a:solidFill>
                    <a:schemeClr val="bg1"/>
                  </a:solidFill>
                  <a:ea typeface="ＭＳ Ｐゴシック" charset="-128"/>
                </a:rPr>
                <a:t>Title:</a:t>
              </a:r>
            </a:p>
            <a:p>
              <a:r>
                <a:rPr lang="en-GB" altLang="ja-JP" sz="1200" b="0" dirty="0" smtClean="0">
                  <a:solidFill>
                    <a:schemeClr val="bg1"/>
                  </a:solidFill>
                  <a:ea typeface="ＭＳ Ｐゴシック" charset="-128"/>
                </a:rPr>
                <a:t>Text</a:t>
              </a:r>
              <a:r>
                <a:rPr lang="en-GB" altLang="ja-JP" sz="1200" dirty="0" smtClean="0">
                  <a:solidFill>
                    <a:schemeClr val="bg1"/>
                  </a:solidFill>
                  <a:ea typeface="ＭＳ Ｐゴシック" charset="-128"/>
                </a:rPr>
                <a:t> </a:t>
              </a:r>
              <a:endParaRPr lang="en-GB" altLang="ja-JP" sz="1200" dirty="0">
                <a:solidFill>
                  <a:schemeClr val="bg1"/>
                </a:solidFill>
                <a:ea typeface="ＭＳ Ｐゴシック" charset="-128"/>
              </a:endParaRPr>
            </a:p>
          </p:txBody>
        </p:sp>
        <p:sp>
          <p:nvSpPr>
            <p:cNvPr id="29" name="Rectangle 27"/>
            <p:cNvSpPr>
              <a:spLocks noChangeArrowheads="1"/>
            </p:cNvSpPr>
            <p:nvPr/>
          </p:nvSpPr>
          <p:spPr bwMode="auto">
            <a:xfrm>
              <a:off x="8166861" y="4040970"/>
              <a:ext cx="1330854" cy="973943"/>
            </a:xfrm>
            <a:prstGeom prst="rect">
              <a:avLst/>
            </a:prstGeom>
            <a:solidFill>
              <a:schemeClr val="accent3"/>
            </a:solidFill>
            <a:ln w="9525">
              <a:solidFill>
                <a:schemeClr val="bg1"/>
              </a:solidFill>
              <a:miter lim="800000"/>
              <a:headEnd/>
              <a:tailEnd/>
            </a:ln>
          </p:spPr>
          <p:txBody>
            <a:bodyPr anchor="ctr" anchorCtr="1"/>
            <a:lstStyle/>
            <a:p>
              <a:r>
                <a:rPr lang="en-GB" altLang="ja-JP" sz="1400" dirty="0" smtClean="0">
                  <a:solidFill>
                    <a:schemeClr val="bg2"/>
                  </a:solidFill>
                  <a:ea typeface="ＭＳ Ｐゴシック" charset="-128"/>
                </a:rPr>
                <a:t>Title:</a:t>
              </a:r>
            </a:p>
            <a:p>
              <a:r>
                <a:rPr lang="en-GB" altLang="ja-JP" sz="1200" b="0" dirty="0" smtClean="0">
                  <a:solidFill>
                    <a:schemeClr val="bg2"/>
                  </a:solidFill>
                  <a:ea typeface="ＭＳ Ｐゴシック" charset="-128"/>
                </a:rPr>
                <a:t>Text</a:t>
              </a:r>
              <a:r>
                <a:rPr lang="en-GB" altLang="ja-JP" sz="1200" dirty="0" smtClean="0">
                  <a:solidFill>
                    <a:schemeClr val="bg2"/>
                  </a:solidFill>
                  <a:ea typeface="ＭＳ Ｐゴシック" charset="-128"/>
                </a:rPr>
                <a:t> </a:t>
              </a:r>
              <a:endParaRPr lang="en-GB" altLang="ja-JP" sz="1200" dirty="0">
                <a:solidFill>
                  <a:schemeClr val="bg2"/>
                </a:solidFill>
                <a:ea typeface="ＭＳ Ｐゴシック" charset="-128"/>
              </a:endParaRPr>
            </a:p>
          </p:txBody>
        </p:sp>
        <p:sp>
          <p:nvSpPr>
            <p:cNvPr id="30" name="Rectangle 28"/>
            <p:cNvSpPr>
              <a:spLocks noChangeArrowheads="1"/>
            </p:cNvSpPr>
            <p:nvPr/>
          </p:nvSpPr>
          <p:spPr bwMode="auto">
            <a:xfrm>
              <a:off x="8166861" y="3068649"/>
              <a:ext cx="1330854" cy="972322"/>
            </a:xfrm>
            <a:prstGeom prst="rect">
              <a:avLst/>
            </a:prstGeom>
            <a:solidFill>
              <a:schemeClr val="accent3"/>
            </a:solidFill>
            <a:ln w="9525" algn="ctr">
              <a:solidFill>
                <a:schemeClr val="bg1"/>
              </a:solidFill>
              <a:miter lim="800000"/>
              <a:headEnd/>
              <a:tailEnd/>
            </a:ln>
          </p:spPr>
          <p:txBody>
            <a:bodyPr anchor="ctr" anchorCtr="1"/>
            <a:lstStyle/>
            <a:p>
              <a:r>
                <a:rPr lang="en-GB" altLang="ja-JP" sz="1400" dirty="0" smtClean="0">
                  <a:solidFill>
                    <a:schemeClr val="bg1"/>
                  </a:solidFill>
                  <a:ea typeface="ＭＳ Ｐゴシック" charset="-128"/>
                </a:rPr>
                <a:t>Title:</a:t>
              </a:r>
            </a:p>
            <a:p>
              <a:r>
                <a:rPr lang="en-GB" altLang="ja-JP" sz="1200" b="0" dirty="0" smtClean="0">
                  <a:solidFill>
                    <a:schemeClr val="bg1"/>
                  </a:solidFill>
                  <a:ea typeface="ＭＳ Ｐゴシック" charset="-128"/>
                </a:rPr>
                <a:t>Text</a:t>
              </a:r>
              <a:r>
                <a:rPr lang="en-GB" altLang="ja-JP" sz="1200" dirty="0" smtClean="0">
                  <a:solidFill>
                    <a:schemeClr val="bg1"/>
                  </a:solidFill>
                  <a:ea typeface="ＭＳ Ｐゴシック" charset="-128"/>
                </a:rPr>
                <a:t> </a:t>
              </a:r>
              <a:endParaRPr lang="en-GB" altLang="ja-JP" sz="1200" dirty="0">
                <a:solidFill>
                  <a:schemeClr val="bg1"/>
                </a:solidFill>
                <a:ea typeface="ＭＳ Ｐゴシック" charset="-128"/>
              </a:endParaRPr>
            </a:p>
          </p:txBody>
        </p:sp>
        <p:sp>
          <p:nvSpPr>
            <p:cNvPr id="31" name="Rectangle 29"/>
            <p:cNvSpPr>
              <a:spLocks noChangeArrowheads="1"/>
            </p:cNvSpPr>
            <p:nvPr/>
          </p:nvSpPr>
          <p:spPr bwMode="auto">
            <a:xfrm>
              <a:off x="8166861" y="2133600"/>
              <a:ext cx="1330854" cy="973942"/>
            </a:xfrm>
            <a:prstGeom prst="rect">
              <a:avLst/>
            </a:prstGeom>
            <a:solidFill>
              <a:schemeClr val="accent3"/>
            </a:solidFill>
            <a:ln w="9525" algn="ctr">
              <a:solidFill>
                <a:schemeClr val="bg1"/>
              </a:solidFill>
              <a:miter lim="800000"/>
              <a:headEnd/>
              <a:tailEnd/>
            </a:ln>
          </p:spPr>
          <p:txBody>
            <a:bodyPr anchor="ctr" anchorCtr="1"/>
            <a:lstStyle/>
            <a:p>
              <a:r>
                <a:rPr lang="en-GB" altLang="ja-JP" sz="1400" dirty="0" smtClean="0">
                  <a:solidFill>
                    <a:schemeClr val="bg1"/>
                  </a:solidFill>
                  <a:ea typeface="ＭＳ Ｐゴシック" charset="-128"/>
                </a:rPr>
                <a:t>Title:</a:t>
              </a:r>
            </a:p>
            <a:p>
              <a:r>
                <a:rPr lang="en-GB" altLang="ja-JP" sz="1200" b="0" dirty="0" smtClean="0">
                  <a:solidFill>
                    <a:schemeClr val="bg1"/>
                  </a:solidFill>
                  <a:ea typeface="ＭＳ Ｐゴシック" charset="-128"/>
                </a:rPr>
                <a:t>Text</a:t>
              </a:r>
              <a:r>
                <a:rPr lang="en-GB" altLang="ja-JP" sz="1200" dirty="0" smtClean="0">
                  <a:solidFill>
                    <a:schemeClr val="bg1"/>
                  </a:solidFill>
                  <a:ea typeface="ＭＳ Ｐゴシック" charset="-128"/>
                </a:rPr>
                <a:t> </a:t>
              </a:r>
              <a:endParaRPr lang="en-GB" altLang="ja-JP" sz="1200" dirty="0">
                <a:solidFill>
                  <a:schemeClr val="bg1"/>
                </a:solidFill>
                <a:ea typeface="ＭＳ Ｐゴシック" charset="-128"/>
              </a:endParaRPr>
            </a:p>
          </p:txBody>
        </p:sp>
      </p:grpSp>
      <p:sp>
        <p:nvSpPr>
          <p:cNvPr id="691211" name="Text Box 8"/>
          <p:cNvSpPr txBox="1">
            <a:spLocks noChangeAspect="1" noChangeArrowheads="1"/>
          </p:cNvSpPr>
          <p:nvPr/>
        </p:nvSpPr>
        <p:spPr bwMode="auto">
          <a:xfrm rot="-5400000">
            <a:off x="4405312" y="3310956"/>
            <a:ext cx="931863" cy="246062"/>
          </a:xfrm>
          <a:prstGeom prst="rect">
            <a:avLst/>
          </a:prstGeom>
          <a:noFill/>
          <a:ln w="9525">
            <a:noFill/>
            <a:miter lim="800000"/>
            <a:headEnd/>
            <a:tailEnd/>
          </a:ln>
        </p:spPr>
        <p:txBody>
          <a:bodyPr>
            <a:spAutoFit/>
          </a:bodyPr>
          <a:lstStyle/>
          <a:p>
            <a:pPr algn="ctr"/>
            <a:r>
              <a:rPr lang="en-GB" sz="1000" b="1">
                <a:solidFill>
                  <a:schemeClr val="tx2"/>
                </a:solidFill>
                <a:ea typeface="ＭＳ Ｐゴシック" charset="-128"/>
              </a:rPr>
              <a:t>Vertical axis</a:t>
            </a:r>
          </a:p>
        </p:txBody>
      </p:sp>
      <p:sp>
        <p:nvSpPr>
          <p:cNvPr id="691212" name="Text Box 9"/>
          <p:cNvSpPr txBox="1">
            <a:spLocks noChangeAspect="1" noChangeArrowheads="1"/>
          </p:cNvSpPr>
          <p:nvPr/>
        </p:nvSpPr>
        <p:spPr bwMode="auto">
          <a:xfrm>
            <a:off x="4630738" y="2023493"/>
            <a:ext cx="447675" cy="246062"/>
          </a:xfrm>
          <a:prstGeom prst="rect">
            <a:avLst/>
          </a:prstGeom>
          <a:noFill/>
          <a:ln w="9525">
            <a:noFill/>
            <a:miter lim="800000"/>
            <a:headEnd/>
            <a:tailEnd/>
          </a:ln>
        </p:spPr>
        <p:txBody>
          <a:bodyPr wrap="none">
            <a:spAutoFit/>
          </a:bodyPr>
          <a:lstStyle/>
          <a:p>
            <a:pPr algn="ctr"/>
            <a:r>
              <a:rPr lang="en-GB" sz="1000">
                <a:solidFill>
                  <a:schemeClr val="tx2"/>
                </a:solidFill>
                <a:ea typeface="ＭＳ Ｐゴシック" charset="-128"/>
              </a:rPr>
              <a:t>High</a:t>
            </a:r>
          </a:p>
        </p:txBody>
      </p:sp>
      <p:sp>
        <p:nvSpPr>
          <p:cNvPr id="691213" name="Text Box 10"/>
          <p:cNvSpPr txBox="1">
            <a:spLocks noChangeAspect="1" noChangeArrowheads="1"/>
          </p:cNvSpPr>
          <p:nvPr/>
        </p:nvSpPr>
        <p:spPr bwMode="auto">
          <a:xfrm>
            <a:off x="5119688" y="4831780"/>
            <a:ext cx="504825" cy="247650"/>
          </a:xfrm>
          <a:prstGeom prst="rect">
            <a:avLst/>
          </a:prstGeom>
          <a:noFill/>
          <a:ln w="9525">
            <a:noFill/>
            <a:miter lim="800000"/>
            <a:headEnd/>
            <a:tailEnd/>
          </a:ln>
        </p:spPr>
        <p:txBody>
          <a:bodyPr wrap="none">
            <a:spAutoFit/>
          </a:bodyPr>
          <a:lstStyle/>
          <a:p>
            <a:pPr algn="ctr"/>
            <a:r>
              <a:rPr lang="en-GB" sz="1000">
                <a:solidFill>
                  <a:schemeClr val="tx2"/>
                </a:solidFill>
                <a:ea typeface="ＭＳ Ｐゴシック" charset="-128"/>
              </a:rPr>
              <a:t>Small</a:t>
            </a:r>
          </a:p>
        </p:txBody>
      </p:sp>
      <p:sp>
        <p:nvSpPr>
          <p:cNvPr id="691214" name="Text Box 11"/>
          <p:cNvSpPr txBox="1">
            <a:spLocks noChangeAspect="1" noChangeArrowheads="1"/>
          </p:cNvSpPr>
          <p:nvPr/>
        </p:nvSpPr>
        <p:spPr bwMode="auto">
          <a:xfrm>
            <a:off x="6389688" y="4831780"/>
            <a:ext cx="1041400" cy="400050"/>
          </a:xfrm>
          <a:prstGeom prst="rect">
            <a:avLst/>
          </a:prstGeom>
          <a:noFill/>
          <a:ln w="9525">
            <a:noFill/>
            <a:miter lim="800000"/>
            <a:headEnd/>
            <a:tailEnd/>
          </a:ln>
        </p:spPr>
        <p:txBody>
          <a:bodyPr>
            <a:spAutoFit/>
          </a:bodyPr>
          <a:lstStyle/>
          <a:p>
            <a:pPr algn="ctr"/>
            <a:r>
              <a:rPr lang="en-GB" sz="1000" b="1" dirty="0">
                <a:solidFill>
                  <a:schemeClr val="tx2"/>
                </a:solidFill>
                <a:ea typeface="ＭＳ Ｐゴシック" charset="-128"/>
              </a:rPr>
              <a:t>Horizontal axis</a:t>
            </a:r>
          </a:p>
        </p:txBody>
      </p:sp>
      <p:sp>
        <p:nvSpPr>
          <p:cNvPr id="691215" name="Text Box 12"/>
          <p:cNvSpPr txBox="1">
            <a:spLocks noChangeAspect="1" noChangeArrowheads="1"/>
          </p:cNvSpPr>
          <p:nvPr/>
        </p:nvSpPr>
        <p:spPr bwMode="auto">
          <a:xfrm>
            <a:off x="4676775" y="4539680"/>
            <a:ext cx="419100" cy="246063"/>
          </a:xfrm>
          <a:prstGeom prst="rect">
            <a:avLst/>
          </a:prstGeom>
          <a:noFill/>
          <a:ln w="9525">
            <a:noFill/>
            <a:miter lim="800000"/>
            <a:headEnd/>
            <a:tailEnd/>
          </a:ln>
        </p:spPr>
        <p:txBody>
          <a:bodyPr wrap="none">
            <a:spAutoFit/>
          </a:bodyPr>
          <a:lstStyle/>
          <a:p>
            <a:pPr algn="ctr"/>
            <a:r>
              <a:rPr lang="en-GB" sz="1000">
                <a:solidFill>
                  <a:schemeClr val="tx2"/>
                </a:solidFill>
                <a:ea typeface="ＭＳ Ｐゴシック" charset="-128"/>
              </a:rPr>
              <a:t>Low</a:t>
            </a:r>
          </a:p>
        </p:txBody>
      </p:sp>
      <p:sp>
        <p:nvSpPr>
          <p:cNvPr id="691216" name="Text Box 13"/>
          <p:cNvSpPr txBox="1">
            <a:spLocks noChangeAspect="1" noChangeArrowheads="1"/>
          </p:cNvSpPr>
          <p:nvPr/>
        </p:nvSpPr>
        <p:spPr bwMode="auto">
          <a:xfrm>
            <a:off x="8201025" y="4831780"/>
            <a:ext cx="511175" cy="247650"/>
          </a:xfrm>
          <a:prstGeom prst="rect">
            <a:avLst/>
          </a:prstGeom>
          <a:noFill/>
          <a:ln w="9525">
            <a:noFill/>
            <a:miter lim="800000"/>
            <a:headEnd/>
            <a:tailEnd/>
          </a:ln>
        </p:spPr>
        <p:txBody>
          <a:bodyPr wrap="none">
            <a:spAutoFit/>
          </a:bodyPr>
          <a:lstStyle/>
          <a:p>
            <a:pPr algn="ctr"/>
            <a:r>
              <a:rPr lang="en-GB" sz="1000">
                <a:solidFill>
                  <a:schemeClr val="tx2"/>
                </a:solidFill>
                <a:ea typeface="ＭＳ Ｐゴシック" charset="-128"/>
              </a:rPr>
              <a:t>Large</a:t>
            </a:r>
          </a:p>
        </p:txBody>
      </p:sp>
      <p:sp>
        <p:nvSpPr>
          <p:cNvPr id="44" name="Rectangle 30"/>
          <p:cNvSpPr>
            <a:spLocks noChangeArrowheads="1"/>
          </p:cNvSpPr>
          <p:nvPr/>
        </p:nvSpPr>
        <p:spPr bwMode="auto">
          <a:xfrm>
            <a:off x="6788150" y="446038"/>
            <a:ext cx="1924050" cy="461665"/>
          </a:xfrm>
          <a:prstGeom prst="rect">
            <a:avLst/>
          </a:prstGeom>
          <a:noFill/>
          <a:ln w="12700" algn="ctr">
            <a:solidFill>
              <a:schemeClr val="accent1"/>
            </a:solidFill>
            <a:miter lim="800000"/>
            <a:headEnd/>
            <a:tailEnd/>
          </a:ln>
        </p:spPr>
        <p:txBody>
          <a:bodyPr tIns="91440" bIns="91440">
            <a:spAutoFit/>
          </a:bodyPr>
          <a:lstStyle/>
          <a:p>
            <a:pPr algn="l">
              <a:defRPr/>
            </a:pPr>
            <a:r>
              <a:rPr lang="en-GB" sz="900" b="0" dirty="0">
                <a:solidFill>
                  <a:schemeClr val="tx2"/>
                </a:solidFill>
                <a:ea typeface="ＭＳ Ｐゴシック" pitchFamily="50" charset="-128"/>
              </a:rPr>
              <a:t>Tip! </a:t>
            </a:r>
            <a:r>
              <a:rPr lang="en-GB" sz="900" dirty="0">
                <a:solidFill>
                  <a:schemeClr val="tx2"/>
                </a:solidFill>
                <a:ea typeface="ＭＳ Ｐゴシック" pitchFamily="50" charset="-128"/>
              </a:rPr>
              <a:t>Group</a:t>
            </a:r>
            <a:r>
              <a:rPr lang="en-GB" sz="900" b="0" dirty="0">
                <a:solidFill>
                  <a:schemeClr val="tx2"/>
                </a:solidFill>
                <a:ea typeface="ＭＳ Ｐゴシック" pitchFamily="50" charset="-128"/>
              </a:rPr>
              <a:t> before changing the size of the </a:t>
            </a:r>
            <a:r>
              <a:rPr lang="en-GB" sz="900" b="0" dirty="0" smtClean="0">
                <a:solidFill>
                  <a:schemeClr val="tx2"/>
                </a:solidFill>
                <a:ea typeface="ＭＳ Ｐゴシック" pitchFamily="50" charset="-128"/>
              </a:rPr>
              <a:t>matrix.</a:t>
            </a:r>
            <a:endParaRPr lang="en-GB" sz="900" b="0" dirty="0">
              <a:solidFill>
                <a:schemeClr val="tx2"/>
              </a:solidFill>
              <a:ea typeface="ＭＳ Ｐゴシック" pitchFamily="50" charset="-128"/>
            </a:endParaRPr>
          </a:p>
        </p:txBody>
      </p:sp>
      <p:sp>
        <p:nvSpPr>
          <p:cNvPr id="3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3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2225" name="Title 1"/>
          <p:cNvSpPr>
            <a:spLocks noGrp="1"/>
          </p:cNvSpPr>
          <p:nvPr>
            <p:ph type="title"/>
          </p:nvPr>
        </p:nvSpPr>
        <p:spPr>
          <a:xfrm>
            <a:off x="414338" y="446038"/>
            <a:ext cx="8330184" cy="333425"/>
          </a:xfrm>
        </p:spPr>
        <p:txBody>
          <a:bodyPr/>
          <a:lstStyle/>
          <a:p>
            <a:r>
              <a:rPr lang="nl-NL"/>
              <a:t>Boxes </a:t>
            </a:r>
            <a:r>
              <a:rPr lang="en-US"/>
              <a:t>—</a:t>
            </a:r>
            <a:r>
              <a:rPr lang="nl-NL" smtClean="0"/>
              <a:t> </a:t>
            </a:r>
            <a:r>
              <a:rPr lang="nl-NL"/>
              <a:t>honeycomb</a:t>
            </a:r>
          </a:p>
        </p:txBody>
      </p:sp>
      <p:sp>
        <p:nvSpPr>
          <p:cNvPr id="4" name="Freeform 2"/>
          <p:cNvSpPr>
            <a:spLocks/>
          </p:cNvSpPr>
          <p:nvPr/>
        </p:nvSpPr>
        <p:spPr bwMode="blackWhite">
          <a:xfrm>
            <a:off x="2241550" y="2297667"/>
            <a:ext cx="1738313" cy="1236663"/>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6" h="584">
                <a:moveTo>
                  <a:pt x="224" y="0"/>
                </a:moveTo>
                <a:lnTo>
                  <a:pt x="647" y="0"/>
                </a:lnTo>
                <a:lnTo>
                  <a:pt x="855" y="295"/>
                </a:lnTo>
                <a:lnTo>
                  <a:pt x="647" y="583"/>
                </a:lnTo>
                <a:lnTo>
                  <a:pt x="224" y="583"/>
                </a:lnTo>
                <a:lnTo>
                  <a:pt x="0" y="295"/>
                </a:lnTo>
                <a:lnTo>
                  <a:pt x="224" y="0"/>
                </a:lnTo>
              </a:path>
            </a:pathLst>
          </a:custGeom>
          <a:solidFill>
            <a:schemeClr val="accent3"/>
          </a:solidFill>
          <a:ln w="12700" cap="rnd">
            <a:solidFill>
              <a:schemeClr val="accent3"/>
            </a:solidFill>
            <a:round/>
            <a:headEnd/>
            <a:tailEnd/>
          </a:ln>
        </p:spPr>
        <p:txBody>
          <a:bodyPr/>
          <a:lstStyle/>
          <a:p>
            <a:pPr>
              <a:defRPr/>
            </a:pPr>
            <a:endParaRPr lang="en-GB" sz="1200">
              <a:solidFill>
                <a:schemeClr val="bg1"/>
              </a:solidFill>
            </a:endParaRPr>
          </a:p>
        </p:txBody>
      </p:sp>
      <p:sp>
        <p:nvSpPr>
          <p:cNvPr id="5" name="Freeform 3"/>
          <p:cNvSpPr>
            <a:spLocks/>
          </p:cNvSpPr>
          <p:nvPr/>
        </p:nvSpPr>
        <p:spPr bwMode="blackWhite">
          <a:xfrm>
            <a:off x="3686175" y="1584880"/>
            <a:ext cx="1739900" cy="1238250"/>
          </a:xfrm>
          <a:custGeom>
            <a:avLst/>
            <a:gdLst>
              <a:gd name="T0" fmla="*/ 2147483647 w 857"/>
              <a:gd name="T1" fmla="*/ 0 h 584"/>
              <a:gd name="T2" fmla="*/ 2147483647 w 857"/>
              <a:gd name="T3" fmla="*/ 0 h 584"/>
              <a:gd name="T4" fmla="*/ 2147483647 w 857"/>
              <a:gd name="T5" fmla="*/ 2147483647 h 584"/>
              <a:gd name="T6" fmla="*/ 2147483647 w 857"/>
              <a:gd name="T7" fmla="*/ 2147483647 h 584"/>
              <a:gd name="T8" fmla="*/ 2147483647 w 857"/>
              <a:gd name="T9" fmla="*/ 2147483647 h 584"/>
              <a:gd name="T10" fmla="*/ 0 w 857"/>
              <a:gd name="T11" fmla="*/ 2147483647 h 584"/>
              <a:gd name="T12" fmla="*/ 2147483647 w 857"/>
              <a:gd name="T13" fmla="*/ 0 h 584"/>
              <a:gd name="T14" fmla="*/ 0 60000 65536"/>
              <a:gd name="T15" fmla="*/ 0 60000 65536"/>
              <a:gd name="T16" fmla="*/ 0 60000 65536"/>
              <a:gd name="T17" fmla="*/ 0 60000 65536"/>
              <a:gd name="T18" fmla="*/ 0 60000 65536"/>
              <a:gd name="T19" fmla="*/ 0 60000 65536"/>
              <a:gd name="T20" fmla="*/ 0 60000 65536"/>
              <a:gd name="T21" fmla="*/ 0 w 857"/>
              <a:gd name="T22" fmla="*/ 0 h 584"/>
              <a:gd name="T23" fmla="*/ 857 w 857"/>
              <a:gd name="T24" fmla="*/ 584 h 5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7" h="584">
                <a:moveTo>
                  <a:pt x="224" y="0"/>
                </a:moveTo>
                <a:lnTo>
                  <a:pt x="648" y="0"/>
                </a:lnTo>
                <a:lnTo>
                  <a:pt x="856" y="296"/>
                </a:lnTo>
                <a:lnTo>
                  <a:pt x="648" y="583"/>
                </a:lnTo>
                <a:lnTo>
                  <a:pt x="224" y="583"/>
                </a:lnTo>
                <a:lnTo>
                  <a:pt x="0" y="296"/>
                </a:lnTo>
                <a:lnTo>
                  <a:pt x="224" y="0"/>
                </a:lnTo>
              </a:path>
            </a:pathLst>
          </a:custGeom>
          <a:solidFill>
            <a:schemeClr val="accent3"/>
          </a:solidFill>
          <a:ln w="12700" cap="rnd">
            <a:solidFill>
              <a:schemeClr val="accent3"/>
            </a:solidFill>
            <a:round/>
            <a:headEnd/>
            <a:tailEnd/>
          </a:ln>
        </p:spPr>
        <p:txBody>
          <a:bodyPr/>
          <a:lstStyle/>
          <a:p>
            <a:pPr>
              <a:defRPr/>
            </a:pPr>
            <a:endParaRPr lang="en-GB" sz="1200">
              <a:solidFill>
                <a:schemeClr val="bg1"/>
              </a:solidFill>
            </a:endParaRPr>
          </a:p>
        </p:txBody>
      </p:sp>
      <p:sp>
        <p:nvSpPr>
          <p:cNvPr id="6" name="Freeform 4"/>
          <p:cNvSpPr>
            <a:spLocks/>
          </p:cNvSpPr>
          <p:nvPr/>
        </p:nvSpPr>
        <p:spPr bwMode="blackWhite">
          <a:xfrm>
            <a:off x="5132388" y="2297667"/>
            <a:ext cx="1736725" cy="1236663"/>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6" h="584">
                <a:moveTo>
                  <a:pt x="224" y="0"/>
                </a:moveTo>
                <a:lnTo>
                  <a:pt x="647" y="0"/>
                </a:lnTo>
                <a:lnTo>
                  <a:pt x="855" y="295"/>
                </a:lnTo>
                <a:lnTo>
                  <a:pt x="647" y="583"/>
                </a:lnTo>
                <a:lnTo>
                  <a:pt x="224" y="583"/>
                </a:lnTo>
                <a:lnTo>
                  <a:pt x="0" y="295"/>
                </a:lnTo>
                <a:lnTo>
                  <a:pt x="224" y="0"/>
                </a:lnTo>
              </a:path>
            </a:pathLst>
          </a:custGeom>
          <a:solidFill>
            <a:schemeClr val="accent3"/>
          </a:solidFill>
          <a:ln w="12700" cap="rnd">
            <a:solidFill>
              <a:schemeClr val="accent3"/>
            </a:solidFill>
            <a:round/>
            <a:headEnd/>
            <a:tailEnd/>
          </a:ln>
        </p:spPr>
        <p:txBody>
          <a:bodyPr/>
          <a:lstStyle/>
          <a:p>
            <a:pPr>
              <a:defRPr/>
            </a:pPr>
            <a:endParaRPr lang="en-GB" sz="1200">
              <a:solidFill>
                <a:schemeClr val="bg1"/>
              </a:solidFill>
            </a:endParaRPr>
          </a:p>
        </p:txBody>
      </p:sp>
      <p:sp>
        <p:nvSpPr>
          <p:cNvPr id="7" name="Freeform 5"/>
          <p:cNvSpPr>
            <a:spLocks/>
          </p:cNvSpPr>
          <p:nvPr/>
        </p:nvSpPr>
        <p:spPr bwMode="blackWhite">
          <a:xfrm>
            <a:off x="2241550" y="3720067"/>
            <a:ext cx="1738313" cy="1220788"/>
          </a:xfrm>
          <a:custGeom>
            <a:avLst/>
            <a:gdLst>
              <a:gd name="T0" fmla="*/ 2147483647 w 856"/>
              <a:gd name="T1" fmla="*/ 0 h 576"/>
              <a:gd name="T2" fmla="*/ 2147483647 w 856"/>
              <a:gd name="T3" fmla="*/ 0 h 576"/>
              <a:gd name="T4" fmla="*/ 2147483647 w 856"/>
              <a:gd name="T5" fmla="*/ 2147483647 h 576"/>
              <a:gd name="T6" fmla="*/ 2147483647 w 856"/>
              <a:gd name="T7" fmla="*/ 2147483647 h 576"/>
              <a:gd name="T8" fmla="*/ 2147483647 w 856"/>
              <a:gd name="T9" fmla="*/ 2147483647 h 576"/>
              <a:gd name="T10" fmla="*/ 0 w 856"/>
              <a:gd name="T11" fmla="*/ 2147483647 h 576"/>
              <a:gd name="T12" fmla="*/ 2147483647 w 856"/>
              <a:gd name="T13" fmla="*/ 0 h 576"/>
              <a:gd name="T14" fmla="*/ 0 60000 65536"/>
              <a:gd name="T15" fmla="*/ 0 60000 65536"/>
              <a:gd name="T16" fmla="*/ 0 60000 65536"/>
              <a:gd name="T17" fmla="*/ 0 60000 65536"/>
              <a:gd name="T18" fmla="*/ 0 60000 65536"/>
              <a:gd name="T19" fmla="*/ 0 60000 65536"/>
              <a:gd name="T20" fmla="*/ 0 60000 65536"/>
              <a:gd name="T21" fmla="*/ 0 w 856"/>
              <a:gd name="T22" fmla="*/ 0 h 576"/>
              <a:gd name="T23" fmla="*/ 856 w 856"/>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6" h="576">
                <a:moveTo>
                  <a:pt x="224" y="0"/>
                </a:moveTo>
                <a:lnTo>
                  <a:pt x="647" y="0"/>
                </a:lnTo>
                <a:lnTo>
                  <a:pt x="855" y="288"/>
                </a:lnTo>
                <a:lnTo>
                  <a:pt x="647" y="575"/>
                </a:lnTo>
                <a:lnTo>
                  <a:pt x="224" y="575"/>
                </a:lnTo>
                <a:lnTo>
                  <a:pt x="0" y="288"/>
                </a:lnTo>
                <a:lnTo>
                  <a:pt x="224" y="0"/>
                </a:lnTo>
              </a:path>
            </a:pathLst>
          </a:custGeom>
          <a:solidFill>
            <a:schemeClr val="accent3"/>
          </a:solidFill>
          <a:ln w="12700" cap="rnd">
            <a:solidFill>
              <a:schemeClr val="accent3"/>
            </a:solidFill>
            <a:round/>
            <a:headEnd/>
            <a:tailEnd/>
          </a:ln>
        </p:spPr>
        <p:txBody>
          <a:bodyPr/>
          <a:lstStyle/>
          <a:p>
            <a:pPr>
              <a:defRPr/>
            </a:pPr>
            <a:endParaRPr lang="en-GB" sz="1200">
              <a:solidFill>
                <a:schemeClr val="bg1"/>
              </a:solidFill>
            </a:endParaRPr>
          </a:p>
        </p:txBody>
      </p:sp>
      <p:sp>
        <p:nvSpPr>
          <p:cNvPr id="8" name="Freeform 6"/>
          <p:cNvSpPr>
            <a:spLocks/>
          </p:cNvSpPr>
          <p:nvPr/>
        </p:nvSpPr>
        <p:spPr bwMode="blackWhite">
          <a:xfrm>
            <a:off x="3686175" y="3007280"/>
            <a:ext cx="1739900" cy="1239837"/>
          </a:xfrm>
          <a:custGeom>
            <a:avLst/>
            <a:gdLst>
              <a:gd name="T0" fmla="*/ 2147483647 w 857"/>
              <a:gd name="T1" fmla="*/ 0 h 585"/>
              <a:gd name="T2" fmla="*/ 2147483647 w 857"/>
              <a:gd name="T3" fmla="*/ 0 h 585"/>
              <a:gd name="T4" fmla="*/ 2147483647 w 857"/>
              <a:gd name="T5" fmla="*/ 2147483647 h 585"/>
              <a:gd name="T6" fmla="*/ 2147483647 w 857"/>
              <a:gd name="T7" fmla="*/ 2147483647 h 585"/>
              <a:gd name="T8" fmla="*/ 2147483647 w 857"/>
              <a:gd name="T9" fmla="*/ 2147483647 h 585"/>
              <a:gd name="T10" fmla="*/ 0 w 857"/>
              <a:gd name="T11" fmla="*/ 2147483647 h 585"/>
              <a:gd name="T12" fmla="*/ 2147483647 w 857"/>
              <a:gd name="T13" fmla="*/ 0 h 585"/>
              <a:gd name="T14" fmla="*/ 0 60000 65536"/>
              <a:gd name="T15" fmla="*/ 0 60000 65536"/>
              <a:gd name="T16" fmla="*/ 0 60000 65536"/>
              <a:gd name="T17" fmla="*/ 0 60000 65536"/>
              <a:gd name="T18" fmla="*/ 0 60000 65536"/>
              <a:gd name="T19" fmla="*/ 0 60000 65536"/>
              <a:gd name="T20" fmla="*/ 0 60000 65536"/>
              <a:gd name="T21" fmla="*/ 0 w 857"/>
              <a:gd name="T22" fmla="*/ 0 h 585"/>
              <a:gd name="T23" fmla="*/ 857 w 857"/>
              <a:gd name="T24" fmla="*/ 585 h 5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7" h="585">
                <a:moveTo>
                  <a:pt x="224" y="0"/>
                </a:moveTo>
                <a:lnTo>
                  <a:pt x="648" y="0"/>
                </a:lnTo>
                <a:lnTo>
                  <a:pt x="856" y="288"/>
                </a:lnTo>
                <a:lnTo>
                  <a:pt x="648" y="584"/>
                </a:lnTo>
                <a:lnTo>
                  <a:pt x="224" y="584"/>
                </a:lnTo>
                <a:lnTo>
                  <a:pt x="0" y="288"/>
                </a:lnTo>
                <a:lnTo>
                  <a:pt x="224" y="0"/>
                </a:lnTo>
              </a:path>
            </a:pathLst>
          </a:custGeom>
          <a:solidFill>
            <a:schemeClr val="accent3"/>
          </a:solidFill>
          <a:ln w="12700" cap="rnd">
            <a:solidFill>
              <a:schemeClr val="accent3"/>
            </a:solidFill>
            <a:round/>
            <a:headEnd/>
            <a:tailEnd/>
          </a:ln>
        </p:spPr>
        <p:txBody>
          <a:bodyPr/>
          <a:lstStyle/>
          <a:p>
            <a:pPr>
              <a:defRPr/>
            </a:pPr>
            <a:endParaRPr lang="en-GB" sz="1200">
              <a:solidFill>
                <a:schemeClr val="bg1"/>
              </a:solidFill>
            </a:endParaRPr>
          </a:p>
        </p:txBody>
      </p:sp>
      <p:sp>
        <p:nvSpPr>
          <p:cNvPr id="9" name="Freeform 7"/>
          <p:cNvSpPr>
            <a:spLocks/>
          </p:cNvSpPr>
          <p:nvPr/>
        </p:nvSpPr>
        <p:spPr bwMode="blackWhite">
          <a:xfrm>
            <a:off x="5132388" y="3720067"/>
            <a:ext cx="1736725" cy="1220788"/>
          </a:xfrm>
          <a:custGeom>
            <a:avLst/>
            <a:gdLst>
              <a:gd name="T0" fmla="*/ 2147483647 w 856"/>
              <a:gd name="T1" fmla="*/ 0 h 576"/>
              <a:gd name="T2" fmla="*/ 2147483647 w 856"/>
              <a:gd name="T3" fmla="*/ 0 h 576"/>
              <a:gd name="T4" fmla="*/ 2147483647 w 856"/>
              <a:gd name="T5" fmla="*/ 2147483647 h 576"/>
              <a:gd name="T6" fmla="*/ 2147483647 w 856"/>
              <a:gd name="T7" fmla="*/ 2147483647 h 576"/>
              <a:gd name="T8" fmla="*/ 2147483647 w 856"/>
              <a:gd name="T9" fmla="*/ 2147483647 h 576"/>
              <a:gd name="T10" fmla="*/ 0 w 856"/>
              <a:gd name="T11" fmla="*/ 2147483647 h 576"/>
              <a:gd name="T12" fmla="*/ 2147483647 w 856"/>
              <a:gd name="T13" fmla="*/ 0 h 576"/>
              <a:gd name="T14" fmla="*/ 0 60000 65536"/>
              <a:gd name="T15" fmla="*/ 0 60000 65536"/>
              <a:gd name="T16" fmla="*/ 0 60000 65536"/>
              <a:gd name="T17" fmla="*/ 0 60000 65536"/>
              <a:gd name="T18" fmla="*/ 0 60000 65536"/>
              <a:gd name="T19" fmla="*/ 0 60000 65536"/>
              <a:gd name="T20" fmla="*/ 0 60000 65536"/>
              <a:gd name="T21" fmla="*/ 0 w 856"/>
              <a:gd name="T22" fmla="*/ 0 h 576"/>
              <a:gd name="T23" fmla="*/ 856 w 856"/>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6" h="576">
                <a:moveTo>
                  <a:pt x="224" y="0"/>
                </a:moveTo>
                <a:lnTo>
                  <a:pt x="647" y="0"/>
                </a:lnTo>
                <a:lnTo>
                  <a:pt x="855" y="288"/>
                </a:lnTo>
                <a:lnTo>
                  <a:pt x="647" y="575"/>
                </a:lnTo>
                <a:lnTo>
                  <a:pt x="224" y="575"/>
                </a:lnTo>
                <a:lnTo>
                  <a:pt x="0" y="288"/>
                </a:lnTo>
                <a:lnTo>
                  <a:pt x="224" y="0"/>
                </a:lnTo>
              </a:path>
            </a:pathLst>
          </a:custGeom>
          <a:solidFill>
            <a:schemeClr val="accent3"/>
          </a:solidFill>
          <a:ln w="12700" cap="rnd">
            <a:solidFill>
              <a:schemeClr val="accent3"/>
            </a:solidFill>
            <a:round/>
            <a:headEnd/>
            <a:tailEnd/>
          </a:ln>
        </p:spPr>
        <p:txBody>
          <a:bodyPr/>
          <a:lstStyle/>
          <a:p>
            <a:pPr>
              <a:defRPr/>
            </a:pPr>
            <a:endParaRPr lang="en-GB" sz="1200">
              <a:solidFill>
                <a:schemeClr val="bg1"/>
              </a:solidFill>
            </a:endParaRPr>
          </a:p>
        </p:txBody>
      </p:sp>
      <p:sp>
        <p:nvSpPr>
          <p:cNvPr id="10" name="Freeform 8"/>
          <p:cNvSpPr>
            <a:spLocks/>
          </p:cNvSpPr>
          <p:nvPr/>
        </p:nvSpPr>
        <p:spPr bwMode="blackWhite">
          <a:xfrm>
            <a:off x="3686175" y="4415392"/>
            <a:ext cx="1739900" cy="1238250"/>
          </a:xfrm>
          <a:custGeom>
            <a:avLst/>
            <a:gdLst>
              <a:gd name="T0" fmla="*/ 2147483647 w 857"/>
              <a:gd name="T1" fmla="*/ 0 h 584"/>
              <a:gd name="T2" fmla="*/ 2147483647 w 857"/>
              <a:gd name="T3" fmla="*/ 0 h 584"/>
              <a:gd name="T4" fmla="*/ 2147483647 w 857"/>
              <a:gd name="T5" fmla="*/ 2147483647 h 584"/>
              <a:gd name="T6" fmla="*/ 2147483647 w 857"/>
              <a:gd name="T7" fmla="*/ 2147483647 h 584"/>
              <a:gd name="T8" fmla="*/ 2147483647 w 857"/>
              <a:gd name="T9" fmla="*/ 2147483647 h 584"/>
              <a:gd name="T10" fmla="*/ 0 w 857"/>
              <a:gd name="T11" fmla="*/ 2147483647 h 584"/>
              <a:gd name="T12" fmla="*/ 2147483647 w 857"/>
              <a:gd name="T13" fmla="*/ 0 h 584"/>
              <a:gd name="T14" fmla="*/ 0 60000 65536"/>
              <a:gd name="T15" fmla="*/ 0 60000 65536"/>
              <a:gd name="T16" fmla="*/ 0 60000 65536"/>
              <a:gd name="T17" fmla="*/ 0 60000 65536"/>
              <a:gd name="T18" fmla="*/ 0 60000 65536"/>
              <a:gd name="T19" fmla="*/ 0 60000 65536"/>
              <a:gd name="T20" fmla="*/ 0 60000 65536"/>
              <a:gd name="T21" fmla="*/ 0 w 857"/>
              <a:gd name="T22" fmla="*/ 0 h 584"/>
              <a:gd name="T23" fmla="*/ 857 w 857"/>
              <a:gd name="T24" fmla="*/ 584 h 5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7" h="584">
                <a:moveTo>
                  <a:pt x="224" y="0"/>
                </a:moveTo>
                <a:lnTo>
                  <a:pt x="648" y="0"/>
                </a:lnTo>
                <a:lnTo>
                  <a:pt x="856" y="295"/>
                </a:lnTo>
                <a:lnTo>
                  <a:pt x="648" y="583"/>
                </a:lnTo>
                <a:lnTo>
                  <a:pt x="224" y="583"/>
                </a:lnTo>
                <a:lnTo>
                  <a:pt x="0" y="295"/>
                </a:lnTo>
                <a:lnTo>
                  <a:pt x="224" y="0"/>
                </a:lnTo>
              </a:path>
            </a:pathLst>
          </a:custGeom>
          <a:solidFill>
            <a:schemeClr val="accent3"/>
          </a:solidFill>
          <a:ln w="12700" cap="rnd">
            <a:solidFill>
              <a:schemeClr val="accent3"/>
            </a:solidFill>
            <a:round/>
            <a:headEnd/>
            <a:tailEnd/>
          </a:ln>
        </p:spPr>
        <p:txBody>
          <a:bodyPr/>
          <a:lstStyle/>
          <a:p>
            <a:pPr>
              <a:defRPr/>
            </a:pPr>
            <a:endParaRPr lang="en-GB" sz="1200">
              <a:solidFill>
                <a:schemeClr val="bg1"/>
              </a:solidFill>
            </a:endParaRPr>
          </a:p>
        </p:txBody>
      </p:sp>
      <p:sp>
        <p:nvSpPr>
          <p:cNvPr id="11" name="Text Box 10"/>
          <p:cNvSpPr txBox="1">
            <a:spLocks noChangeArrowheads="1"/>
          </p:cNvSpPr>
          <p:nvPr/>
        </p:nvSpPr>
        <p:spPr bwMode="gray">
          <a:xfrm>
            <a:off x="4403936" y="2106125"/>
            <a:ext cx="304378" cy="195759"/>
          </a:xfrm>
          <a:prstGeom prst="rect">
            <a:avLst/>
          </a:prstGeom>
          <a:noFill/>
          <a:ln w="9525" algn="ctr">
            <a:noFill/>
            <a:miter lim="800000"/>
            <a:headEnd/>
            <a:tailEnd/>
          </a:ln>
        </p:spPr>
        <p:txBody>
          <a:bodyPr wrap="none" lIns="0" tIns="0" rIns="0" bIns="0" anchor="ctr" anchorCtr="1">
            <a:spAutoFit/>
          </a:bodyPr>
          <a:lstStyle/>
          <a:p>
            <a:pPr algn="ctr">
              <a:lnSpc>
                <a:spcPct val="106000"/>
              </a:lnSpc>
              <a:buClr>
                <a:schemeClr val="tx1"/>
              </a:buClr>
              <a:buFont typeface="Wingdings 2" pitchFamily="18" charset="2"/>
              <a:buNone/>
              <a:defRPr/>
            </a:pPr>
            <a:r>
              <a:rPr lang="en-GB" sz="1200" dirty="0">
                <a:solidFill>
                  <a:schemeClr val="bg1"/>
                </a:solidFill>
              </a:rPr>
              <a:t>Text</a:t>
            </a:r>
          </a:p>
        </p:txBody>
      </p:sp>
      <p:sp>
        <p:nvSpPr>
          <p:cNvPr id="12" name="Text Box 11"/>
          <p:cNvSpPr txBox="1">
            <a:spLocks noChangeArrowheads="1"/>
          </p:cNvSpPr>
          <p:nvPr/>
        </p:nvSpPr>
        <p:spPr bwMode="gray">
          <a:xfrm>
            <a:off x="4403936" y="4936637"/>
            <a:ext cx="304378" cy="195759"/>
          </a:xfrm>
          <a:prstGeom prst="rect">
            <a:avLst/>
          </a:prstGeom>
          <a:noFill/>
          <a:ln w="9525" algn="ctr">
            <a:noFill/>
            <a:miter lim="800000"/>
            <a:headEnd/>
            <a:tailEnd/>
          </a:ln>
        </p:spPr>
        <p:txBody>
          <a:bodyPr wrap="none" lIns="0" tIns="0" rIns="0" bIns="0" anchor="ctr" anchorCtr="1">
            <a:spAutoFit/>
          </a:bodyPr>
          <a:lstStyle/>
          <a:p>
            <a:pPr algn="ctr">
              <a:lnSpc>
                <a:spcPct val="106000"/>
              </a:lnSpc>
              <a:buClr>
                <a:schemeClr val="tx1"/>
              </a:buClr>
              <a:buFont typeface="Wingdings 2" pitchFamily="18" charset="2"/>
              <a:buNone/>
              <a:defRPr/>
            </a:pPr>
            <a:r>
              <a:rPr lang="en-GB" sz="1200">
                <a:solidFill>
                  <a:schemeClr val="bg1"/>
                </a:solidFill>
              </a:rPr>
              <a:t>Text</a:t>
            </a:r>
          </a:p>
        </p:txBody>
      </p:sp>
      <p:sp>
        <p:nvSpPr>
          <p:cNvPr id="13" name="Text Box 12"/>
          <p:cNvSpPr txBox="1">
            <a:spLocks noChangeArrowheads="1"/>
          </p:cNvSpPr>
          <p:nvPr/>
        </p:nvSpPr>
        <p:spPr bwMode="gray">
          <a:xfrm>
            <a:off x="4411080" y="3501537"/>
            <a:ext cx="304378" cy="195759"/>
          </a:xfrm>
          <a:prstGeom prst="rect">
            <a:avLst/>
          </a:prstGeom>
          <a:noFill/>
          <a:ln w="9525" algn="ctr">
            <a:noFill/>
            <a:miter lim="800000"/>
            <a:headEnd/>
            <a:tailEnd/>
          </a:ln>
        </p:spPr>
        <p:txBody>
          <a:bodyPr wrap="none" lIns="0" tIns="0" rIns="0" bIns="0" anchor="ctr" anchorCtr="1">
            <a:spAutoFit/>
          </a:bodyPr>
          <a:lstStyle/>
          <a:p>
            <a:pPr algn="ctr">
              <a:lnSpc>
                <a:spcPct val="106000"/>
              </a:lnSpc>
              <a:buClr>
                <a:schemeClr val="tx1"/>
              </a:buClr>
              <a:buFont typeface="Wingdings 2" pitchFamily="18" charset="2"/>
              <a:buNone/>
              <a:defRPr/>
            </a:pPr>
            <a:r>
              <a:rPr lang="en-GB" sz="1200">
                <a:solidFill>
                  <a:schemeClr val="bg1"/>
                </a:solidFill>
              </a:rPr>
              <a:t>Text</a:t>
            </a:r>
          </a:p>
        </p:txBody>
      </p:sp>
      <p:sp>
        <p:nvSpPr>
          <p:cNvPr id="14" name="Text Box 13"/>
          <p:cNvSpPr txBox="1">
            <a:spLocks noChangeArrowheads="1"/>
          </p:cNvSpPr>
          <p:nvPr/>
        </p:nvSpPr>
        <p:spPr bwMode="gray">
          <a:xfrm>
            <a:off x="2958517" y="2818119"/>
            <a:ext cx="304379" cy="195759"/>
          </a:xfrm>
          <a:prstGeom prst="rect">
            <a:avLst/>
          </a:prstGeom>
          <a:noFill/>
          <a:ln w="9525" algn="ctr">
            <a:noFill/>
            <a:miter lim="800000"/>
            <a:headEnd/>
            <a:tailEnd/>
          </a:ln>
        </p:spPr>
        <p:txBody>
          <a:bodyPr wrap="none" lIns="0" tIns="0" rIns="0" bIns="0" anchor="ctr" anchorCtr="1">
            <a:spAutoFit/>
          </a:bodyPr>
          <a:lstStyle/>
          <a:p>
            <a:pPr algn="ctr">
              <a:lnSpc>
                <a:spcPct val="106000"/>
              </a:lnSpc>
              <a:buClr>
                <a:schemeClr val="tx1"/>
              </a:buClr>
              <a:buFont typeface="Wingdings 2" pitchFamily="18" charset="2"/>
              <a:buNone/>
              <a:defRPr/>
            </a:pPr>
            <a:r>
              <a:rPr lang="en-GB" sz="1200">
                <a:solidFill>
                  <a:schemeClr val="bg1"/>
                </a:solidFill>
              </a:rPr>
              <a:t>Text</a:t>
            </a:r>
          </a:p>
        </p:txBody>
      </p:sp>
      <p:sp>
        <p:nvSpPr>
          <p:cNvPr id="15" name="Text Box 14"/>
          <p:cNvSpPr txBox="1">
            <a:spLocks noChangeArrowheads="1"/>
          </p:cNvSpPr>
          <p:nvPr/>
        </p:nvSpPr>
        <p:spPr bwMode="gray">
          <a:xfrm>
            <a:off x="2958517" y="4232581"/>
            <a:ext cx="304379" cy="195759"/>
          </a:xfrm>
          <a:prstGeom prst="rect">
            <a:avLst/>
          </a:prstGeom>
          <a:noFill/>
          <a:ln w="9525" algn="ctr">
            <a:noFill/>
            <a:miter lim="800000"/>
            <a:headEnd/>
            <a:tailEnd/>
          </a:ln>
        </p:spPr>
        <p:txBody>
          <a:bodyPr wrap="none" lIns="0" tIns="0" rIns="0" bIns="0" anchor="ctr" anchorCtr="1">
            <a:spAutoFit/>
          </a:bodyPr>
          <a:lstStyle/>
          <a:p>
            <a:pPr algn="ctr">
              <a:lnSpc>
                <a:spcPct val="106000"/>
              </a:lnSpc>
              <a:buClr>
                <a:schemeClr val="tx1"/>
              </a:buClr>
              <a:buFont typeface="Wingdings 2" pitchFamily="18" charset="2"/>
              <a:buNone/>
              <a:defRPr/>
            </a:pPr>
            <a:r>
              <a:rPr lang="en-GB" sz="1200">
                <a:solidFill>
                  <a:schemeClr val="bg1"/>
                </a:solidFill>
              </a:rPr>
              <a:t>Text</a:t>
            </a:r>
          </a:p>
        </p:txBody>
      </p:sp>
      <p:sp>
        <p:nvSpPr>
          <p:cNvPr id="16" name="Text Box 15"/>
          <p:cNvSpPr txBox="1">
            <a:spLocks noChangeArrowheads="1"/>
          </p:cNvSpPr>
          <p:nvPr/>
        </p:nvSpPr>
        <p:spPr bwMode="gray">
          <a:xfrm>
            <a:off x="5848561" y="2818119"/>
            <a:ext cx="304378" cy="195759"/>
          </a:xfrm>
          <a:prstGeom prst="rect">
            <a:avLst/>
          </a:prstGeom>
          <a:noFill/>
          <a:ln w="9525" algn="ctr">
            <a:noFill/>
            <a:miter lim="800000"/>
            <a:headEnd/>
            <a:tailEnd/>
          </a:ln>
        </p:spPr>
        <p:txBody>
          <a:bodyPr wrap="none" lIns="0" tIns="0" rIns="0" bIns="0" anchor="ctr" anchorCtr="1">
            <a:spAutoFit/>
          </a:bodyPr>
          <a:lstStyle/>
          <a:p>
            <a:pPr algn="ctr">
              <a:lnSpc>
                <a:spcPct val="106000"/>
              </a:lnSpc>
              <a:buClr>
                <a:schemeClr val="tx1"/>
              </a:buClr>
              <a:buFont typeface="Wingdings 2" pitchFamily="18" charset="2"/>
              <a:buNone/>
              <a:defRPr/>
            </a:pPr>
            <a:r>
              <a:rPr lang="en-GB" sz="1200">
                <a:solidFill>
                  <a:schemeClr val="bg1"/>
                </a:solidFill>
              </a:rPr>
              <a:t>Text</a:t>
            </a:r>
          </a:p>
        </p:txBody>
      </p:sp>
      <p:sp>
        <p:nvSpPr>
          <p:cNvPr id="17" name="Text Box 16"/>
          <p:cNvSpPr txBox="1">
            <a:spLocks noChangeArrowheads="1"/>
          </p:cNvSpPr>
          <p:nvPr/>
        </p:nvSpPr>
        <p:spPr bwMode="gray">
          <a:xfrm>
            <a:off x="5848561" y="4232581"/>
            <a:ext cx="304378" cy="195759"/>
          </a:xfrm>
          <a:prstGeom prst="rect">
            <a:avLst/>
          </a:prstGeom>
          <a:noFill/>
          <a:ln w="9525" algn="ctr">
            <a:noFill/>
            <a:miter lim="800000"/>
            <a:headEnd/>
            <a:tailEnd/>
          </a:ln>
        </p:spPr>
        <p:txBody>
          <a:bodyPr wrap="none" lIns="0" tIns="0" rIns="0" bIns="0" anchor="ctr" anchorCtr="1">
            <a:spAutoFit/>
          </a:bodyPr>
          <a:lstStyle/>
          <a:p>
            <a:pPr algn="ctr">
              <a:lnSpc>
                <a:spcPct val="106000"/>
              </a:lnSpc>
              <a:buClr>
                <a:schemeClr val="tx1"/>
              </a:buClr>
              <a:buFont typeface="Wingdings 2" pitchFamily="18" charset="2"/>
              <a:buNone/>
              <a:defRPr/>
            </a:pPr>
            <a:r>
              <a:rPr lang="en-GB" sz="1200">
                <a:solidFill>
                  <a:schemeClr val="bg1"/>
                </a:solidFill>
              </a:rPr>
              <a:t>Text</a:t>
            </a:r>
          </a:p>
        </p:txBody>
      </p:sp>
      <p:sp>
        <p:nvSpPr>
          <p:cNvPr id="21"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3249" name="Title 1"/>
          <p:cNvSpPr>
            <a:spLocks noGrp="1"/>
          </p:cNvSpPr>
          <p:nvPr>
            <p:ph type="title"/>
          </p:nvPr>
        </p:nvSpPr>
        <p:spPr>
          <a:xfrm>
            <a:off x="414338" y="446038"/>
            <a:ext cx="8330184" cy="333425"/>
          </a:xfrm>
        </p:spPr>
        <p:txBody>
          <a:bodyPr/>
          <a:lstStyle/>
          <a:p>
            <a:r>
              <a:rPr lang="nl-NL"/>
              <a:t>Triangles </a:t>
            </a:r>
            <a:r>
              <a:rPr lang="en-US"/>
              <a:t>—</a:t>
            </a:r>
            <a:r>
              <a:rPr lang="nl-NL" smtClean="0"/>
              <a:t> </a:t>
            </a:r>
            <a:r>
              <a:rPr lang="nl-NL"/>
              <a:t>basic</a:t>
            </a:r>
          </a:p>
        </p:txBody>
      </p:sp>
      <p:sp>
        <p:nvSpPr>
          <p:cNvPr id="693251" name="Freeform 7"/>
          <p:cNvSpPr>
            <a:spLocks/>
          </p:cNvSpPr>
          <p:nvPr/>
        </p:nvSpPr>
        <p:spPr bwMode="blackWhite">
          <a:xfrm>
            <a:off x="4783138" y="1928665"/>
            <a:ext cx="3467100" cy="3305175"/>
          </a:xfrm>
          <a:custGeom>
            <a:avLst/>
            <a:gdLst>
              <a:gd name="T0" fmla="*/ 0 w 1527"/>
              <a:gd name="T1" fmla="*/ 2147483647 h 1511"/>
              <a:gd name="T2" fmla="*/ 2147483647 w 1527"/>
              <a:gd name="T3" fmla="*/ 0 h 1511"/>
              <a:gd name="T4" fmla="*/ 2147483647 w 1527"/>
              <a:gd name="T5" fmla="*/ 2147483647 h 1511"/>
              <a:gd name="T6" fmla="*/ 0 w 1527"/>
              <a:gd name="T7" fmla="*/ 2147483647 h 1511"/>
              <a:gd name="T8" fmla="*/ 0 60000 65536"/>
              <a:gd name="T9" fmla="*/ 0 60000 65536"/>
              <a:gd name="T10" fmla="*/ 0 60000 65536"/>
              <a:gd name="T11" fmla="*/ 0 60000 65536"/>
              <a:gd name="T12" fmla="*/ 0 w 1527"/>
              <a:gd name="T13" fmla="*/ 0 h 1511"/>
              <a:gd name="T14" fmla="*/ 1527 w 1527"/>
              <a:gd name="T15" fmla="*/ 1511 h 1511"/>
            </a:gdLst>
            <a:ahLst/>
            <a:cxnLst>
              <a:cxn ang="T8">
                <a:pos x="T0" y="T1"/>
              </a:cxn>
              <a:cxn ang="T9">
                <a:pos x="T2" y="T3"/>
              </a:cxn>
              <a:cxn ang="T10">
                <a:pos x="T4" y="T5"/>
              </a:cxn>
              <a:cxn ang="T11">
                <a:pos x="T6" y="T7"/>
              </a:cxn>
            </a:cxnLst>
            <a:rect l="T12" t="T13" r="T14" b="T15"/>
            <a:pathLst>
              <a:path w="1527" h="1511">
                <a:moveTo>
                  <a:pt x="0" y="1510"/>
                </a:moveTo>
                <a:lnTo>
                  <a:pt x="759" y="0"/>
                </a:lnTo>
                <a:lnTo>
                  <a:pt x="1526" y="1510"/>
                </a:lnTo>
                <a:lnTo>
                  <a:pt x="0" y="1510"/>
                </a:lnTo>
              </a:path>
            </a:pathLst>
          </a:custGeom>
          <a:solidFill>
            <a:schemeClr val="accent2"/>
          </a:solidFill>
          <a:ln w="12700" cap="rnd">
            <a:solidFill>
              <a:schemeClr val="bg1"/>
            </a:solidFill>
            <a:round/>
            <a:headEnd/>
            <a:tailEnd/>
          </a:ln>
        </p:spPr>
        <p:txBody>
          <a:bodyPr/>
          <a:lstStyle/>
          <a:p>
            <a:endParaRPr lang="en-GB">
              <a:solidFill>
                <a:schemeClr val="bg1"/>
              </a:solidFill>
            </a:endParaRPr>
          </a:p>
        </p:txBody>
      </p:sp>
      <p:sp>
        <p:nvSpPr>
          <p:cNvPr id="693252" name="Freeform 8"/>
          <p:cNvSpPr>
            <a:spLocks/>
          </p:cNvSpPr>
          <p:nvPr/>
        </p:nvSpPr>
        <p:spPr bwMode="blackWhite">
          <a:xfrm>
            <a:off x="5645150" y="3590777"/>
            <a:ext cx="1722438" cy="1643063"/>
          </a:xfrm>
          <a:custGeom>
            <a:avLst/>
            <a:gdLst>
              <a:gd name="T0" fmla="*/ 0 w 760"/>
              <a:gd name="T1" fmla="*/ 0 h 752"/>
              <a:gd name="T2" fmla="*/ 2147483647 w 760"/>
              <a:gd name="T3" fmla="*/ 0 h 752"/>
              <a:gd name="T4" fmla="*/ 2147483647 w 760"/>
              <a:gd name="T5" fmla="*/ 2147483647 h 752"/>
              <a:gd name="T6" fmla="*/ 0 w 760"/>
              <a:gd name="T7" fmla="*/ 0 h 752"/>
              <a:gd name="T8" fmla="*/ 0 60000 65536"/>
              <a:gd name="T9" fmla="*/ 0 60000 65536"/>
              <a:gd name="T10" fmla="*/ 0 60000 65536"/>
              <a:gd name="T11" fmla="*/ 0 60000 65536"/>
              <a:gd name="T12" fmla="*/ 0 w 760"/>
              <a:gd name="T13" fmla="*/ 0 h 752"/>
              <a:gd name="T14" fmla="*/ 760 w 760"/>
              <a:gd name="T15" fmla="*/ 752 h 752"/>
            </a:gdLst>
            <a:ahLst/>
            <a:cxnLst>
              <a:cxn ang="T8">
                <a:pos x="T0" y="T1"/>
              </a:cxn>
              <a:cxn ang="T9">
                <a:pos x="T2" y="T3"/>
              </a:cxn>
              <a:cxn ang="T10">
                <a:pos x="T4" y="T5"/>
              </a:cxn>
              <a:cxn ang="T11">
                <a:pos x="T6" y="T7"/>
              </a:cxn>
            </a:cxnLst>
            <a:rect l="T12" t="T13" r="T14" b="T15"/>
            <a:pathLst>
              <a:path w="760" h="752">
                <a:moveTo>
                  <a:pt x="0" y="0"/>
                </a:moveTo>
                <a:lnTo>
                  <a:pt x="759" y="0"/>
                </a:lnTo>
                <a:lnTo>
                  <a:pt x="384" y="751"/>
                </a:lnTo>
                <a:lnTo>
                  <a:pt x="0" y="0"/>
                </a:lnTo>
              </a:path>
            </a:pathLst>
          </a:custGeom>
          <a:solidFill>
            <a:schemeClr val="accent1"/>
          </a:solidFill>
          <a:ln w="12700" cap="rnd">
            <a:solidFill>
              <a:schemeClr val="bg2"/>
            </a:solidFill>
            <a:round/>
            <a:headEnd/>
            <a:tailEnd/>
          </a:ln>
        </p:spPr>
        <p:txBody>
          <a:bodyPr/>
          <a:lstStyle/>
          <a:p>
            <a:endParaRPr lang="en-GB"/>
          </a:p>
        </p:txBody>
      </p:sp>
      <p:sp>
        <p:nvSpPr>
          <p:cNvPr id="693253" name="Rectangle 9"/>
          <p:cNvSpPr>
            <a:spLocks noChangeArrowheads="1"/>
          </p:cNvSpPr>
          <p:nvPr>
            <p:custDataLst>
              <p:tags r:id="rId1"/>
            </p:custDataLst>
          </p:nvPr>
        </p:nvSpPr>
        <p:spPr bwMode="blackWhite">
          <a:xfrm>
            <a:off x="6143625" y="2911717"/>
            <a:ext cx="742950" cy="175433"/>
          </a:xfrm>
          <a:prstGeom prst="rect">
            <a:avLst/>
          </a:prstGeom>
          <a:noFill/>
          <a:ln w="9525">
            <a:noFill/>
            <a:miter lim="800000"/>
            <a:headEnd/>
            <a:tailEnd/>
          </a:ln>
        </p:spPr>
        <p:txBody>
          <a:bodyPr lIns="0" tIns="0" rIns="0" bIns="0" anchor="ctr">
            <a:spAutoFit/>
          </a:bodyPr>
          <a:lstStyle/>
          <a:p>
            <a:pPr algn="ctr" defTabSz="787400">
              <a:lnSpc>
                <a:spcPct val="95000"/>
              </a:lnSpc>
              <a:spcBef>
                <a:spcPct val="80000"/>
              </a:spcBef>
              <a:buClr>
                <a:schemeClr val="tx1"/>
              </a:buClr>
              <a:buFont typeface="Wingdings 2" pitchFamily="18" charset="2"/>
              <a:buNone/>
            </a:pPr>
            <a:r>
              <a:rPr lang="en-GB" sz="1200">
                <a:solidFill>
                  <a:schemeClr val="bg1"/>
                </a:solidFill>
              </a:rPr>
              <a:t>Text</a:t>
            </a:r>
          </a:p>
        </p:txBody>
      </p:sp>
      <p:sp>
        <p:nvSpPr>
          <p:cNvPr id="693254" name="Rectangle 10"/>
          <p:cNvSpPr>
            <a:spLocks noChangeArrowheads="1"/>
          </p:cNvSpPr>
          <p:nvPr>
            <p:custDataLst>
              <p:tags r:id="rId2"/>
            </p:custDataLst>
          </p:nvPr>
        </p:nvSpPr>
        <p:spPr bwMode="blackWhite">
          <a:xfrm>
            <a:off x="6161088" y="3986454"/>
            <a:ext cx="744537" cy="175433"/>
          </a:xfrm>
          <a:prstGeom prst="rect">
            <a:avLst/>
          </a:prstGeom>
          <a:noFill/>
          <a:ln w="9525">
            <a:noFill/>
            <a:miter lim="800000"/>
            <a:headEnd/>
            <a:tailEnd/>
          </a:ln>
        </p:spPr>
        <p:txBody>
          <a:bodyPr lIns="0" tIns="0" rIns="0" bIns="0" anchor="ctr">
            <a:spAutoFit/>
          </a:bodyPr>
          <a:lstStyle/>
          <a:p>
            <a:pPr algn="ctr" defTabSz="787400">
              <a:lnSpc>
                <a:spcPct val="95000"/>
              </a:lnSpc>
              <a:spcBef>
                <a:spcPct val="80000"/>
              </a:spcBef>
              <a:buClr>
                <a:schemeClr val="tx1"/>
              </a:buClr>
              <a:buFont typeface="Wingdings 2" pitchFamily="18" charset="2"/>
              <a:buNone/>
            </a:pPr>
            <a:r>
              <a:rPr lang="en-GB" sz="1200">
                <a:solidFill>
                  <a:schemeClr val="bg1"/>
                </a:solidFill>
              </a:rPr>
              <a:t>Text</a:t>
            </a:r>
          </a:p>
        </p:txBody>
      </p:sp>
      <p:sp>
        <p:nvSpPr>
          <p:cNvPr id="693255" name="Rectangle 11"/>
          <p:cNvSpPr>
            <a:spLocks noChangeArrowheads="1"/>
          </p:cNvSpPr>
          <p:nvPr>
            <p:custDataLst>
              <p:tags r:id="rId3"/>
            </p:custDataLst>
          </p:nvPr>
        </p:nvSpPr>
        <p:spPr bwMode="blackWhite">
          <a:xfrm>
            <a:off x="5253038" y="4635742"/>
            <a:ext cx="742950" cy="175433"/>
          </a:xfrm>
          <a:prstGeom prst="rect">
            <a:avLst/>
          </a:prstGeom>
          <a:noFill/>
          <a:ln w="9525">
            <a:noFill/>
            <a:miter lim="800000"/>
            <a:headEnd/>
            <a:tailEnd/>
          </a:ln>
        </p:spPr>
        <p:txBody>
          <a:bodyPr lIns="0" tIns="0" rIns="0" bIns="0" anchor="ctr">
            <a:spAutoFit/>
          </a:bodyPr>
          <a:lstStyle/>
          <a:p>
            <a:pPr algn="ctr" defTabSz="787400">
              <a:lnSpc>
                <a:spcPct val="95000"/>
              </a:lnSpc>
              <a:spcBef>
                <a:spcPct val="80000"/>
              </a:spcBef>
              <a:buClr>
                <a:schemeClr val="tx1"/>
              </a:buClr>
              <a:buFont typeface="Wingdings 2" pitchFamily="18" charset="2"/>
              <a:buNone/>
            </a:pPr>
            <a:r>
              <a:rPr lang="en-GB" sz="1200">
                <a:solidFill>
                  <a:schemeClr val="bg1"/>
                </a:solidFill>
              </a:rPr>
              <a:t>Text</a:t>
            </a:r>
          </a:p>
        </p:txBody>
      </p:sp>
      <p:sp>
        <p:nvSpPr>
          <p:cNvPr id="693256" name="Rectangle 12"/>
          <p:cNvSpPr>
            <a:spLocks noChangeArrowheads="1"/>
          </p:cNvSpPr>
          <p:nvPr>
            <p:custDataLst>
              <p:tags r:id="rId4"/>
            </p:custDataLst>
          </p:nvPr>
        </p:nvSpPr>
        <p:spPr bwMode="blackWhite">
          <a:xfrm>
            <a:off x="6978650" y="4635742"/>
            <a:ext cx="746125" cy="175433"/>
          </a:xfrm>
          <a:prstGeom prst="rect">
            <a:avLst/>
          </a:prstGeom>
          <a:noFill/>
          <a:ln w="9525">
            <a:noFill/>
            <a:miter lim="800000"/>
            <a:headEnd/>
            <a:tailEnd/>
          </a:ln>
        </p:spPr>
        <p:txBody>
          <a:bodyPr lIns="0" tIns="0" rIns="0" bIns="0" anchor="ctr">
            <a:spAutoFit/>
          </a:bodyPr>
          <a:lstStyle/>
          <a:p>
            <a:pPr algn="ctr" defTabSz="787400">
              <a:lnSpc>
                <a:spcPct val="95000"/>
              </a:lnSpc>
              <a:spcBef>
                <a:spcPct val="80000"/>
              </a:spcBef>
              <a:buClr>
                <a:schemeClr val="tx1"/>
              </a:buClr>
              <a:buFont typeface="Wingdings 2" pitchFamily="18" charset="2"/>
              <a:buNone/>
            </a:pPr>
            <a:r>
              <a:rPr lang="en-GB" sz="1200">
                <a:solidFill>
                  <a:schemeClr val="bg1"/>
                </a:solidFill>
              </a:rPr>
              <a:t>Text</a:t>
            </a:r>
          </a:p>
        </p:txBody>
      </p:sp>
      <p:sp>
        <p:nvSpPr>
          <p:cNvPr id="693257" name="Freeform 2"/>
          <p:cNvSpPr>
            <a:spLocks/>
          </p:cNvSpPr>
          <p:nvPr/>
        </p:nvSpPr>
        <p:spPr bwMode="blackWhite">
          <a:xfrm>
            <a:off x="842153" y="1949347"/>
            <a:ext cx="1808162" cy="3262312"/>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chemeClr val="accent2"/>
          </a:solidFill>
          <a:ln w="19050">
            <a:solidFill>
              <a:schemeClr val="accent2"/>
            </a:solidFill>
            <a:round/>
            <a:headEnd/>
            <a:tailEnd/>
          </a:ln>
        </p:spPr>
        <p:txBody>
          <a:bodyPr lIns="0" tIns="0" rIns="0" bIns="0" anchor="ctr">
            <a:spAutoFit/>
          </a:bodyPr>
          <a:lstStyle/>
          <a:p>
            <a:endParaRPr lang="en-GB"/>
          </a:p>
        </p:txBody>
      </p:sp>
      <p:sp>
        <p:nvSpPr>
          <p:cNvPr id="17" name="Freeform 3"/>
          <p:cNvSpPr>
            <a:spLocks/>
          </p:cNvSpPr>
          <p:nvPr/>
        </p:nvSpPr>
        <p:spPr bwMode="blackWhite">
          <a:xfrm flipH="1">
            <a:off x="2694842" y="1957973"/>
            <a:ext cx="1836738" cy="3267075"/>
          </a:xfrm>
          <a:custGeom>
            <a:avLst/>
            <a:gdLst>
              <a:gd name="T0" fmla="*/ 0 w 764"/>
              <a:gd name="T1" fmla="*/ 2147483647 h 1516"/>
              <a:gd name="T2" fmla="*/ 2147483647 w 764"/>
              <a:gd name="T3" fmla="*/ 2147483647 h 1516"/>
              <a:gd name="T4" fmla="*/ 2147483647 w 764"/>
              <a:gd name="T5" fmla="*/ 0 h 1516"/>
              <a:gd name="T6" fmla="*/ 0 w 764"/>
              <a:gd name="T7" fmla="*/ 2147483647 h 1516"/>
              <a:gd name="T8" fmla="*/ 0 60000 65536"/>
              <a:gd name="T9" fmla="*/ 0 60000 65536"/>
              <a:gd name="T10" fmla="*/ 0 60000 65536"/>
              <a:gd name="T11" fmla="*/ 0 60000 65536"/>
              <a:gd name="T12" fmla="*/ 0 w 764"/>
              <a:gd name="T13" fmla="*/ 0 h 1516"/>
              <a:gd name="T14" fmla="*/ 764 w 764"/>
              <a:gd name="T15" fmla="*/ 1516 h 1516"/>
            </a:gdLst>
            <a:ahLst/>
            <a:cxnLst>
              <a:cxn ang="T8">
                <a:pos x="T0" y="T1"/>
              </a:cxn>
              <a:cxn ang="T9">
                <a:pos x="T2" y="T3"/>
              </a:cxn>
              <a:cxn ang="T10">
                <a:pos x="T4" y="T5"/>
              </a:cxn>
              <a:cxn ang="T11">
                <a:pos x="T6" y="T7"/>
              </a:cxn>
            </a:cxnLst>
            <a:rect l="T12" t="T13" r="T14" b="T15"/>
            <a:pathLst>
              <a:path w="764" h="1516">
                <a:moveTo>
                  <a:pt x="0" y="1516"/>
                </a:moveTo>
                <a:lnTo>
                  <a:pt x="764" y="960"/>
                </a:lnTo>
                <a:lnTo>
                  <a:pt x="764" y="0"/>
                </a:lnTo>
                <a:lnTo>
                  <a:pt x="0" y="1516"/>
                </a:lnTo>
                <a:close/>
              </a:path>
            </a:pathLst>
          </a:custGeom>
          <a:solidFill>
            <a:schemeClr val="accent3"/>
          </a:solidFill>
          <a:ln w="19050">
            <a:solidFill>
              <a:schemeClr val="accent3"/>
            </a:solidFill>
            <a:round/>
            <a:headEnd/>
            <a:tailEnd/>
          </a:ln>
        </p:spPr>
        <p:txBody>
          <a:bodyPr wrap="none" lIns="0" tIns="0" rIns="0" bIns="0" anchor="ctr">
            <a:spAutoFit/>
          </a:bodyPr>
          <a:lstStyle/>
          <a:p>
            <a:pPr>
              <a:defRPr/>
            </a:pPr>
            <a:endParaRPr lang="en-GB"/>
          </a:p>
        </p:txBody>
      </p:sp>
      <p:sp>
        <p:nvSpPr>
          <p:cNvPr id="693259" name="Rectangle 4"/>
          <p:cNvSpPr>
            <a:spLocks noChangeArrowheads="1"/>
          </p:cNvSpPr>
          <p:nvPr>
            <p:custDataLst>
              <p:tags r:id="rId5"/>
            </p:custDataLst>
          </p:nvPr>
        </p:nvSpPr>
        <p:spPr bwMode="auto">
          <a:xfrm>
            <a:off x="1807264" y="3804580"/>
            <a:ext cx="768350" cy="175433"/>
          </a:xfrm>
          <a:prstGeom prst="rect">
            <a:avLst/>
          </a:prstGeom>
          <a:noFill/>
          <a:ln w="9525">
            <a:noFill/>
            <a:miter lim="800000"/>
            <a:headEnd/>
            <a:tailEnd/>
          </a:ln>
        </p:spPr>
        <p:txBody>
          <a:bodyPr lIns="0" tIns="0" rIns="0" bIns="0" anchor="ctr" anchorCtr="1">
            <a:spAutoFit/>
          </a:bodyPr>
          <a:lstStyle/>
          <a:p>
            <a:pPr defTabSz="787400">
              <a:lnSpc>
                <a:spcPct val="95000"/>
              </a:lnSpc>
              <a:spcBef>
                <a:spcPct val="80000"/>
              </a:spcBef>
              <a:buClr>
                <a:schemeClr val="tx1"/>
              </a:buClr>
              <a:buFont typeface="Wingdings 2" pitchFamily="18" charset="2"/>
              <a:buNone/>
            </a:pPr>
            <a:r>
              <a:rPr lang="en-GB" sz="1200">
                <a:solidFill>
                  <a:schemeClr val="bg1"/>
                </a:solidFill>
              </a:rPr>
              <a:t>Text</a:t>
            </a:r>
          </a:p>
        </p:txBody>
      </p:sp>
      <p:sp>
        <p:nvSpPr>
          <p:cNvPr id="693260" name="Rectangle 5"/>
          <p:cNvSpPr>
            <a:spLocks noChangeArrowheads="1"/>
          </p:cNvSpPr>
          <p:nvPr>
            <p:custDataLst>
              <p:tags r:id="rId6"/>
            </p:custDataLst>
          </p:nvPr>
        </p:nvSpPr>
        <p:spPr bwMode="auto">
          <a:xfrm>
            <a:off x="2810774" y="3804580"/>
            <a:ext cx="768350" cy="175433"/>
          </a:xfrm>
          <a:prstGeom prst="rect">
            <a:avLst/>
          </a:prstGeom>
          <a:noFill/>
          <a:ln w="9525">
            <a:noFill/>
            <a:miter lim="800000"/>
            <a:headEnd/>
            <a:tailEnd/>
          </a:ln>
        </p:spPr>
        <p:txBody>
          <a:bodyPr lIns="0" tIns="0" rIns="0" bIns="0" anchor="ctr" anchorCtr="1">
            <a:spAutoFit/>
          </a:bodyPr>
          <a:lstStyle/>
          <a:p>
            <a:pPr defTabSz="787400">
              <a:lnSpc>
                <a:spcPct val="95000"/>
              </a:lnSpc>
              <a:spcBef>
                <a:spcPct val="80000"/>
              </a:spcBef>
              <a:buClr>
                <a:schemeClr val="tx1"/>
              </a:buClr>
              <a:buFont typeface="Wingdings 2" pitchFamily="18" charset="2"/>
              <a:buNone/>
            </a:pPr>
            <a:r>
              <a:rPr lang="en-GB" sz="1200">
                <a:solidFill>
                  <a:schemeClr val="bg1"/>
                </a:solidFill>
              </a:rPr>
              <a:t>Text</a:t>
            </a:r>
          </a:p>
        </p:txBody>
      </p:sp>
      <p:sp>
        <p:nvSpPr>
          <p:cNvPr id="693261" name="AutoShape 13"/>
          <p:cNvSpPr>
            <a:spLocks noChangeArrowheads="1"/>
          </p:cNvSpPr>
          <p:nvPr/>
        </p:nvSpPr>
        <p:spPr bwMode="blackWhite">
          <a:xfrm>
            <a:off x="865315" y="4046390"/>
            <a:ext cx="3619500" cy="1187450"/>
          </a:xfrm>
          <a:prstGeom prst="triangle">
            <a:avLst>
              <a:gd name="adj" fmla="val 49495"/>
            </a:avLst>
          </a:prstGeom>
          <a:solidFill>
            <a:schemeClr val="accent1"/>
          </a:solidFill>
          <a:ln w="19050">
            <a:solidFill>
              <a:schemeClr val="accent1"/>
            </a:solidFill>
            <a:miter lim="800000"/>
            <a:headEnd/>
            <a:tailEnd/>
          </a:ln>
        </p:spPr>
        <p:txBody>
          <a:bodyPr lIns="0" tIns="0" rIns="0" bIns="0" anchor="ctr"/>
          <a:lstStyle/>
          <a:p>
            <a:pPr algn="ctr" defTabSz="762000">
              <a:lnSpc>
                <a:spcPct val="95000"/>
              </a:lnSpc>
            </a:pPr>
            <a:endParaRPr lang="ja-JP" altLang="en-US" sz="1400" b="1">
              <a:ea typeface="ＭＳ Ｐゴシック" charset="-128"/>
            </a:endParaRPr>
          </a:p>
        </p:txBody>
      </p:sp>
      <p:sp>
        <p:nvSpPr>
          <p:cNvPr id="693262" name="Rectangle 20"/>
          <p:cNvSpPr>
            <a:spLocks noChangeArrowheads="1"/>
          </p:cNvSpPr>
          <p:nvPr>
            <p:custDataLst>
              <p:tags r:id="rId7"/>
            </p:custDataLst>
          </p:nvPr>
        </p:nvSpPr>
        <p:spPr bwMode="auto">
          <a:xfrm>
            <a:off x="1922463" y="4707179"/>
            <a:ext cx="1576387" cy="175433"/>
          </a:xfrm>
          <a:prstGeom prst="rect">
            <a:avLst/>
          </a:prstGeom>
          <a:noFill/>
          <a:ln w="9525">
            <a:noFill/>
            <a:miter lim="800000"/>
            <a:headEnd/>
            <a:tailEnd/>
          </a:ln>
        </p:spPr>
        <p:txBody>
          <a:bodyPr lIns="0" tIns="0" rIns="0" bIns="0" anchor="ctr" anchorCtr="1">
            <a:spAutoFit/>
          </a:bodyPr>
          <a:lstStyle/>
          <a:p>
            <a:pPr defTabSz="787400">
              <a:lnSpc>
                <a:spcPct val="95000"/>
              </a:lnSpc>
              <a:spcBef>
                <a:spcPct val="80000"/>
              </a:spcBef>
              <a:buClr>
                <a:schemeClr val="tx1"/>
              </a:buClr>
              <a:buFont typeface="Wingdings 2" pitchFamily="18" charset="2"/>
              <a:buNone/>
            </a:pPr>
            <a:r>
              <a:rPr lang="en-GB" sz="1200">
                <a:solidFill>
                  <a:schemeClr val="bg1"/>
                </a:solidFill>
              </a:rPr>
              <a:t>Text</a:t>
            </a:r>
          </a:p>
        </p:txBody>
      </p:sp>
      <p:sp>
        <p:nvSpPr>
          <p:cNvPr id="16" name="Text Placeholder 12"/>
          <p:cNvSpPr>
            <a:spLocks/>
          </p:cNvSpPr>
          <p:nvPr>
            <p:custDataLst>
              <p:tags r:id="rId8"/>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4273" name="Title 1"/>
          <p:cNvSpPr>
            <a:spLocks noGrp="1"/>
          </p:cNvSpPr>
          <p:nvPr>
            <p:ph type="title"/>
          </p:nvPr>
        </p:nvSpPr>
        <p:spPr>
          <a:xfrm>
            <a:off x="414338" y="446038"/>
            <a:ext cx="8330184" cy="333425"/>
          </a:xfrm>
        </p:spPr>
        <p:txBody>
          <a:bodyPr/>
          <a:lstStyle/>
          <a:p>
            <a:r>
              <a:rPr lang="nl-NL"/>
              <a:t>Triangles </a:t>
            </a:r>
            <a:r>
              <a:rPr lang="en-US"/>
              <a:t>—</a:t>
            </a:r>
            <a:r>
              <a:rPr lang="nl-NL" smtClean="0"/>
              <a:t> </a:t>
            </a:r>
            <a:r>
              <a:rPr lang="nl-NL"/>
              <a:t>pyramids</a:t>
            </a:r>
          </a:p>
        </p:txBody>
      </p:sp>
      <p:sp>
        <p:nvSpPr>
          <p:cNvPr id="4" name="Rectangle 50"/>
          <p:cNvSpPr>
            <a:spLocks noChangeArrowheads="1"/>
          </p:cNvSpPr>
          <p:nvPr/>
        </p:nvSpPr>
        <p:spPr bwMode="auto">
          <a:xfrm>
            <a:off x="6432550" y="317798"/>
            <a:ext cx="2297113" cy="461665"/>
          </a:xfrm>
          <a:prstGeom prst="rect">
            <a:avLst/>
          </a:prstGeom>
          <a:noFill/>
          <a:ln w="12700" algn="ctr">
            <a:solidFill>
              <a:schemeClr val="accent1"/>
            </a:solidFill>
            <a:miter lim="800000"/>
            <a:headEnd/>
            <a:tailEnd/>
          </a:ln>
        </p:spPr>
        <p:txBody>
          <a:bodyPr tIns="91440" bIns="91440">
            <a:spAutoFit/>
          </a:bodyPr>
          <a:lstStyle/>
          <a:p>
            <a:pPr algn="l">
              <a:defRPr/>
            </a:pPr>
            <a:r>
              <a:rPr lang="en-GB" sz="900" b="0" dirty="0">
                <a:solidFill>
                  <a:schemeClr val="tx2"/>
                </a:solidFill>
                <a:ea typeface="ＭＳ Ｐゴシック" pitchFamily="50" charset="-128"/>
              </a:rPr>
              <a:t>Tip! Use </a:t>
            </a:r>
            <a:r>
              <a:rPr lang="en-GB" sz="900" dirty="0">
                <a:solidFill>
                  <a:schemeClr val="tx2"/>
                </a:solidFill>
                <a:ea typeface="ＭＳ Ｐゴシック" pitchFamily="50" charset="-128"/>
              </a:rPr>
              <a:t>Flip Horizontal </a:t>
            </a:r>
            <a:r>
              <a:rPr lang="en-GB" sz="900" b="0" dirty="0">
                <a:solidFill>
                  <a:schemeClr val="tx2"/>
                </a:solidFill>
                <a:ea typeface="ＭＳ Ｐゴシック" pitchFamily="50" charset="-128"/>
              </a:rPr>
              <a:t>in the </a:t>
            </a:r>
            <a:r>
              <a:rPr lang="en-GB" sz="900" dirty="0">
                <a:solidFill>
                  <a:schemeClr val="tx2"/>
                </a:solidFill>
                <a:ea typeface="ＭＳ Ｐゴシック" pitchFamily="50" charset="-128"/>
              </a:rPr>
              <a:t>Format ribbon</a:t>
            </a:r>
            <a:r>
              <a:rPr lang="en-GB" sz="900" b="0" dirty="0">
                <a:solidFill>
                  <a:schemeClr val="tx2"/>
                </a:solidFill>
                <a:ea typeface="ＭＳ Ｐゴシック" pitchFamily="50" charset="-128"/>
              </a:rPr>
              <a:t> to create an inverted pyramid</a:t>
            </a:r>
          </a:p>
        </p:txBody>
      </p:sp>
      <p:sp>
        <p:nvSpPr>
          <p:cNvPr id="52" name="Freeform 3"/>
          <p:cNvSpPr>
            <a:spLocks/>
          </p:cNvSpPr>
          <p:nvPr/>
        </p:nvSpPr>
        <p:spPr bwMode="blackWhite">
          <a:xfrm>
            <a:off x="5775325" y="1242139"/>
            <a:ext cx="915988" cy="795337"/>
          </a:xfrm>
          <a:custGeom>
            <a:avLst/>
            <a:gdLst>
              <a:gd name="T0" fmla="*/ 991074 w 891"/>
              <a:gd name="T1" fmla="*/ 794338 h 796"/>
              <a:gd name="T2" fmla="*/ 495537 w 891"/>
              <a:gd name="T3" fmla="*/ 0 h 796"/>
              <a:gd name="T4" fmla="*/ 0 w 891"/>
              <a:gd name="T5" fmla="*/ 794338 h 796"/>
              <a:gd name="T6" fmla="*/ 991074 w 891"/>
              <a:gd name="T7" fmla="*/ 794338 h 796"/>
              <a:gd name="T8" fmla="*/ 0 60000 65536"/>
              <a:gd name="T9" fmla="*/ 0 60000 65536"/>
              <a:gd name="T10" fmla="*/ 0 60000 65536"/>
              <a:gd name="T11" fmla="*/ 0 60000 65536"/>
              <a:gd name="T12" fmla="*/ 0 w 891"/>
              <a:gd name="T13" fmla="*/ 0 h 796"/>
              <a:gd name="T14" fmla="*/ 891 w 891"/>
              <a:gd name="T15" fmla="*/ 796 h 796"/>
            </a:gdLst>
            <a:ahLst/>
            <a:cxnLst>
              <a:cxn ang="T8">
                <a:pos x="T0" y="T1"/>
              </a:cxn>
              <a:cxn ang="T9">
                <a:pos x="T2" y="T3"/>
              </a:cxn>
              <a:cxn ang="T10">
                <a:pos x="T4" y="T5"/>
              </a:cxn>
              <a:cxn ang="T11">
                <a:pos x="T6" y="T7"/>
              </a:cxn>
            </a:cxnLst>
            <a:rect l="T12" t="T13" r="T14" b="T15"/>
            <a:pathLst>
              <a:path w="891" h="796">
                <a:moveTo>
                  <a:pt x="890" y="795"/>
                </a:moveTo>
                <a:lnTo>
                  <a:pt x="445" y="0"/>
                </a:lnTo>
                <a:lnTo>
                  <a:pt x="0" y="795"/>
                </a:lnTo>
                <a:lnTo>
                  <a:pt x="890" y="795"/>
                </a:lnTo>
              </a:path>
            </a:pathLst>
          </a:custGeom>
          <a:solidFill>
            <a:schemeClr val="accent3"/>
          </a:solidFill>
          <a:ln w="12700" cap="rnd">
            <a:solidFill>
              <a:schemeClr val="bg1"/>
            </a:solidFill>
            <a:round/>
            <a:headEnd/>
            <a:tailEnd/>
          </a:ln>
        </p:spPr>
        <p:txBody>
          <a:bodyPr/>
          <a:lstStyle/>
          <a:p>
            <a:pPr>
              <a:defRPr/>
            </a:pPr>
            <a:endParaRPr lang="en-GB" sz="1400">
              <a:solidFill>
                <a:schemeClr val="bg1"/>
              </a:solidFill>
            </a:endParaRPr>
          </a:p>
        </p:txBody>
      </p:sp>
      <p:sp>
        <p:nvSpPr>
          <p:cNvPr id="694277" name="Freeform 4"/>
          <p:cNvSpPr>
            <a:spLocks/>
          </p:cNvSpPr>
          <p:nvPr/>
        </p:nvSpPr>
        <p:spPr bwMode="blackWhite">
          <a:xfrm>
            <a:off x="4856163" y="2832814"/>
            <a:ext cx="2754312" cy="796925"/>
          </a:xfrm>
          <a:custGeom>
            <a:avLst/>
            <a:gdLst>
              <a:gd name="T0" fmla="*/ 2147483647 w 2676"/>
              <a:gd name="T1" fmla="*/ 0 h 798"/>
              <a:gd name="T2" fmla="*/ 2147483647 w 2676"/>
              <a:gd name="T3" fmla="*/ 0 h 798"/>
              <a:gd name="T4" fmla="*/ 0 w 2676"/>
              <a:gd name="T5" fmla="*/ 2147483647 h 798"/>
              <a:gd name="T6" fmla="*/ 2147483647 w 2676"/>
              <a:gd name="T7" fmla="*/ 2147483647 h 798"/>
              <a:gd name="T8" fmla="*/ 2147483647 w 2676"/>
              <a:gd name="T9" fmla="*/ 0 h 798"/>
              <a:gd name="T10" fmla="*/ 0 60000 65536"/>
              <a:gd name="T11" fmla="*/ 0 60000 65536"/>
              <a:gd name="T12" fmla="*/ 0 60000 65536"/>
              <a:gd name="T13" fmla="*/ 0 60000 65536"/>
              <a:gd name="T14" fmla="*/ 0 60000 65536"/>
              <a:gd name="T15" fmla="*/ 0 w 2676"/>
              <a:gd name="T16" fmla="*/ 0 h 798"/>
              <a:gd name="T17" fmla="*/ 2676 w 2676"/>
              <a:gd name="T18" fmla="*/ 798 h 798"/>
            </a:gdLst>
            <a:ahLst/>
            <a:cxnLst>
              <a:cxn ang="T10">
                <a:pos x="T0" y="T1"/>
              </a:cxn>
              <a:cxn ang="T11">
                <a:pos x="T2" y="T3"/>
              </a:cxn>
              <a:cxn ang="T12">
                <a:pos x="T4" y="T5"/>
              </a:cxn>
              <a:cxn ang="T13">
                <a:pos x="T6" y="T7"/>
              </a:cxn>
              <a:cxn ang="T14">
                <a:pos x="T8" y="T9"/>
              </a:cxn>
            </a:cxnLst>
            <a:rect l="T15" t="T16" r="T17" b="T18"/>
            <a:pathLst>
              <a:path w="2676" h="798">
                <a:moveTo>
                  <a:pt x="2229" y="0"/>
                </a:moveTo>
                <a:lnTo>
                  <a:pt x="446" y="0"/>
                </a:lnTo>
                <a:lnTo>
                  <a:pt x="0" y="797"/>
                </a:lnTo>
                <a:lnTo>
                  <a:pt x="2675" y="797"/>
                </a:lnTo>
                <a:lnTo>
                  <a:pt x="2229" y="0"/>
                </a:lnTo>
              </a:path>
            </a:pathLst>
          </a:custGeom>
          <a:solidFill>
            <a:schemeClr val="accent1"/>
          </a:solidFill>
          <a:ln w="12700" cap="rnd">
            <a:solidFill>
              <a:schemeClr val="bg1"/>
            </a:solidFill>
            <a:round/>
            <a:headEnd/>
            <a:tailEnd/>
          </a:ln>
        </p:spPr>
        <p:txBody>
          <a:bodyPr/>
          <a:lstStyle/>
          <a:p>
            <a:endParaRPr lang="en-GB" sz="1400">
              <a:solidFill>
                <a:schemeClr val="bg1"/>
              </a:solidFill>
            </a:endParaRPr>
          </a:p>
        </p:txBody>
      </p:sp>
      <p:sp>
        <p:nvSpPr>
          <p:cNvPr id="694278" name="Freeform 5"/>
          <p:cNvSpPr>
            <a:spLocks/>
          </p:cNvSpPr>
          <p:nvPr/>
        </p:nvSpPr>
        <p:spPr bwMode="blackWhite">
          <a:xfrm>
            <a:off x="5314950" y="2035889"/>
            <a:ext cx="1838325" cy="798512"/>
          </a:xfrm>
          <a:custGeom>
            <a:avLst/>
            <a:gdLst>
              <a:gd name="T0" fmla="*/ 2147483647 w 1784"/>
              <a:gd name="T1" fmla="*/ 2147483647 h 796"/>
              <a:gd name="T2" fmla="*/ 2147483647 w 1784"/>
              <a:gd name="T3" fmla="*/ 0 h 796"/>
              <a:gd name="T4" fmla="*/ 2147483647 w 1784"/>
              <a:gd name="T5" fmla="*/ 0 h 796"/>
              <a:gd name="T6" fmla="*/ 0 w 1784"/>
              <a:gd name="T7" fmla="*/ 2147483647 h 796"/>
              <a:gd name="T8" fmla="*/ 2147483647 w 1784"/>
              <a:gd name="T9" fmla="*/ 2147483647 h 796"/>
              <a:gd name="T10" fmla="*/ 0 60000 65536"/>
              <a:gd name="T11" fmla="*/ 0 60000 65536"/>
              <a:gd name="T12" fmla="*/ 0 60000 65536"/>
              <a:gd name="T13" fmla="*/ 0 60000 65536"/>
              <a:gd name="T14" fmla="*/ 0 60000 65536"/>
              <a:gd name="T15" fmla="*/ 0 w 1784"/>
              <a:gd name="T16" fmla="*/ 0 h 796"/>
              <a:gd name="T17" fmla="*/ 1784 w 1784"/>
              <a:gd name="T18" fmla="*/ 796 h 796"/>
            </a:gdLst>
            <a:ahLst/>
            <a:cxnLst>
              <a:cxn ang="T10">
                <a:pos x="T0" y="T1"/>
              </a:cxn>
              <a:cxn ang="T11">
                <a:pos x="T2" y="T3"/>
              </a:cxn>
              <a:cxn ang="T12">
                <a:pos x="T4" y="T5"/>
              </a:cxn>
              <a:cxn ang="T13">
                <a:pos x="T6" y="T7"/>
              </a:cxn>
              <a:cxn ang="T14">
                <a:pos x="T8" y="T9"/>
              </a:cxn>
            </a:cxnLst>
            <a:rect l="T15" t="T16" r="T17" b="T18"/>
            <a:pathLst>
              <a:path w="1784" h="796">
                <a:moveTo>
                  <a:pt x="1783" y="795"/>
                </a:moveTo>
                <a:lnTo>
                  <a:pt x="1337" y="0"/>
                </a:lnTo>
                <a:lnTo>
                  <a:pt x="447" y="0"/>
                </a:lnTo>
                <a:lnTo>
                  <a:pt x="0" y="795"/>
                </a:lnTo>
                <a:lnTo>
                  <a:pt x="1783" y="795"/>
                </a:lnTo>
              </a:path>
            </a:pathLst>
          </a:custGeom>
          <a:solidFill>
            <a:schemeClr val="accent2"/>
          </a:solidFill>
          <a:ln w="12700" cap="rnd">
            <a:solidFill>
              <a:schemeClr val="bg1"/>
            </a:solidFill>
            <a:round/>
            <a:headEnd/>
            <a:tailEnd/>
          </a:ln>
        </p:spPr>
        <p:txBody>
          <a:bodyPr/>
          <a:lstStyle/>
          <a:p>
            <a:endParaRPr lang="en-GB" sz="1400">
              <a:solidFill>
                <a:schemeClr val="bg1"/>
              </a:solidFill>
            </a:endParaRPr>
          </a:p>
        </p:txBody>
      </p:sp>
      <p:sp>
        <p:nvSpPr>
          <p:cNvPr id="694279" name="Rectangle 6"/>
          <p:cNvSpPr>
            <a:spLocks noChangeArrowheads="1"/>
          </p:cNvSpPr>
          <p:nvPr/>
        </p:nvSpPr>
        <p:spPr bwMode="auto">
          <a:xfrm>
            <a:off x="5884863" y="1787041"/>
            <a:ext cx="698500"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a:solidFill>
                  <a:schemeClr val="bg1"/>
                </a:solidFill>
              </a:rPr>
              <a:t>Text</a:t>
            </a:r>
          </a:p>
        </p:txBody>
      </p:sp>
      <p:sp>
        <p:nvSpPr>
          <p:cNvPr id="694280" name="Rectangle 7"/>
          <p:cNvSpPr>
            <a:spLocks noChangeArrowheads="1"/>
          </p:cNvSpPr>
          <p:nvPr/>
        </p:nvSpPr>
        <p:spPr bwMode="auto">
          <a:xfrm>
            <a:off x="5653088" y="2393466"/>
            <a:ext cx="1160462"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a:solidFill>
                  <a:schemeClr val="bg1"/>
                </a:solidFill>
              </a:rPr>
              <a:t>Text</a:t>
            </a:r>
          </a:p>
        </p:txBody>
      </p:sp>
      <p:sp>
        <p:nvSpPr>
          <p:cNvPr id="694281" name="Rectangle 8"/>
          <p:cNvSpPr>
            <a:spLocks noChangeArrowheads="1"/>
          </p:cNvSpPr>
          <p:nvPr/>
        </p:nvSpPr>
        <p:spPr bwMode="auto">
          <a:xfrm>
            <a:off x="5167313" y="3206266"/>
            <a:ext cx="2132012"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a:solidFill>
                  <a:schemeClr val="bg1"/>
                </a:solidFill>
              </a:rPr>
              <a:t>Text</a:t>
            </a:r>
          </a:p>
        </p:txBody>
      </p:sp>
      <p:sp>
        <p:nvSpPr>
          <p:cNvPr id="694282" name="Freeform 9"/>
          <p:cNvSpPr>
            <a:spLocks/>
          </p:cNvSpPr>
          <p:nvPr/>
        </p:nvSpPr>
        <p:spPr bwMode="blackWhite">
          <a:xfrm>
            <a:off x="1258888" y="5587126"/>
            <a:ext cx="2660650" cy="473075"/>
          </a:xfrm>
          <a:custGeom>
            <a:avLst/>
            <a:gdLst>
              <a:gd name="T0" fmla="*/ 2147483647 w 2676"/>
              <a:gd name="T1" fmla="*/ 0 h 484"/>
              <a:gd name="T2" fmla="*/ 0 w 2676"/>
              <a:gd name="T3" fmla="*/ 2147483647 h 484"/>
              <a:gd name="T4" fmla="*/ 2147483647 w 2676"/>
              <a:gd name="T5" fmla="*/ 2147483647 h 484"/>
              <a:gd name="T6" fmla="*/ 2147483647 w 2676"/>
              <a:gd name="T7" fmla="*/ 0 h 484"/>
              <a:gd name="T8" fmla="*/ 2147483647 w 2676"/>
              <a:gd name="T9" fmla="*/ 0 h 484"/>
              <a:gd name="T10" fmla="*/ 0 60000 65536"/>
              <a:gd name="T11" fmla="*/ 0 60000 65536"/>
              <a:gd name="T12" fmla="*/ 0 60000 65536"/>
              <a:gd name="T13" fmla="*/ 0 60000 65536"/>
              <a:gd name="T14" fmla="*/ 0 60000 65536"/>
              <a:gd name="T15" fmla="*/ 0 w 2676"/>
              <a:gd name="T16" fmla="*/ 0 h 484"/>
              <a:gd name="T17" fmla="*/ 2676 w 2676"/>
              <a:gd name="T18" fmla="*/ 484 h 484"/>
            </a:gdLst>
            <a:ahLst/>
            <a:cxnLst>
              <a:cxn ang="T10">
                <a:pos x="T0" y="T1"/>
              </a:cxn>
              <a:cxn ang="T11">
                <a:pos x="T2" y="T3"/>
              </a:cxn>
              <a:cxn ang="T12">
                <a:pos x="T4" y="T5"/>
              </a:cxn>
              <a:cxn ang="T13">
                <a:pos x="T6" y="T7"/>
              </a:cxn>
              <a:cxn ang="T14">
                <a:pos x="T8" y="T9"/>
              </a:cxn>
            </a:cxnLst>
            <a:rect l="T15" t="T16" r="T17" b="T18"/>
            <a:pathLst>
              <a:path w="2676" h="484">
                <a:moveTo>
                  <a:pt x="271" y="0"/>
                </a:moveTo>
                <a:lnTo>
                  <a:pt x="0" y="483"/>
                </a:lnTo>
                <a:lnTo>
                  <a:pt x="2675" y="483"/>
                </a:lnTo>
                <a:lnTo>
                  <a:pt x="2404" y="0"/>
                </a:lnTo>
                <a:lnTo>
                  <a:pt x="271" y="0"/>
                </a:lnTo>
              </a:path>
            </a:pathLst>
          </a:custGeom>
          <a:solidFill>
            <a:schemeClr val="accent1"/>
          </a:solidFill>
          <a:ln w="9525" cap="rnd">
            <a:solidFill>
              <a:schemeClr val="bg1"/>
            </a:solidFill>
            <a:round/>
            <a:headEnd type="none" w="sm" len="sm"/>
            <a:tailEnd type="none" w="sm" len="sm"/>
          </a:ln>
        </p:spPr>
        <p:txBody>
          <a:bodyPr/>
          <a:lstStyle/>
          <a:p>
            <a:endParaRPr lang="en-GB" sz="1400">
              <a:solidFill>
                <a:schemeClr val="bg1"/>
              </a:solidFill>
            </a:endParaRPr>
          </a:p>
        </p:txBody>
      </p:sp>
      <p:sp>
        <p:nvSpPr>
          <p:cNvPr id="59" name="Freeform 10"/>
          <p:cNvSpPr>
            <a:spLocks/>
          </p:cNvSpPr>
          <p:nvPr/>
        </p:nvSpPr>
        <p:spPr bwMode="blackWhite">
          <a:xfrm>
            <a:off x="2122488" y="3726576"/>
            <a:ext cx="935037" cy="819150"/>
          </a:xfrm>
          <a:custGeom>
            <a:avLst/>
            <a:gdLst>
              <a:gd name="T0" fmla="*/ 0 w 939"/>
              <a:gd name="T1" fmla="*/ 818174 h 839"/>
              <a:gd name="T2" fmla="*/ 1011746 w 939"/>
              <a:gd name="T3" fmla="*/ 818174 h 839"/>
              <a:gd name="T4" fmla="*/ 505873 w 939"/>
              <a:gd name="T5" fmla="*/ 0 h 839"/>
              <a:gd name="T6" fmla="*/ 0 w 939"/>
              <a:gd name="T7" fmla="*/ 818174 h 839"/>
              <a:gd name="T8" fmla="*/ 0 60000 65536"/>
              <a:gd name="T9" fmla="*/ 0 60000 65536"/>
              <a:gd name="T10" fmla="*/ 0 60000 65536"/>
              <a:gd name="T11" fmla="*/ 0 60000 65536"/>
              <a:gd name="T12" fmla="*/ 0 w 939"/>
              <a:gd name="T13" fmla="*/ 0 h 839"/>
              <a:gd name="T14" fmla="*/ 939 w 939"/>
              <a:gd name="T15" fmla="*/ 839 h 839"/>
            </a:gdLst>
            <a:ahLst/>
            <a:cxnLst>
              <a:cxn ang="T8">
                <a:pos x="T0" y="T1"/>
              </a:cxn>
              <a:cxn ang="T9">
                <a:pos x="T2" y="T3"/>
              </a:cxn>
              <a:cxn ang="T10">
                <a:pos x="T4" y="T5"/>
              </a:cxn>
              <a:cxn ang="T11">
                <a:pos x="T6" y="T7"/>
              </a:cxn>
            </a:cxnLst>
            <a:rect l="T12" t="T13" r="T14" b="T15"/>
            <a:pathLst>
              <a:path w="939" h="839">
                <a:moveTo>
                  <a:pt x="0" y="838"/>
                </a:moveTo>
                <a:lnTo>
                  <a:pt x="938" y="838"/>
                </a:lnTo>
                <a:lnTo>
                  <a:pt x="469" y="0"/>
                </a:lnTo>
                <a:lnTo>
                  <a:pt x="0" y="838"/>
                </a:lnTo>
              </a:path>
            </a:pathLst>
          </a:custGeom>
          <a:solidFill>
            <a:schemeClr val="accent4"/>
          </a:solidFill>
          <a:ln w="9525" cap="rnd">
            <a:solidFill>
              <a:schemeClr val="bg1"/>
            </a:solidFill>
            <a:round/>
            <a:headEnd type="none" w="sm" len="sm"/>
            <a:tailEnd type="none" w="sm" len="sm"/>
          </a:ln>
        </p:spPr>
        <p:txBody>
          <a:bodyPr/>
          <a:lstStyle/>
          <a:p>
            <a:pPr>
              <a:defRPr/>
            </a:pPr>
            <a:endParaRPr lang="en-GB" sz="1400">
              <a:solidFill>
                <a:schemeClr val="bg1"/>
              </a:solidFill>
            </a:endParaRPr>
          </a:p>
        </p:txBody>
      </p:sp>
      <p:sp>
        <p:nvSpPr>
          <p:cNvPr id="60" name="Freeform 11"/>
          <p:cNvSpPr>
            <a:spLocks/>
          </p:cNvSpPr>
          <p:nvPr/>
        </p:nvSpPr>
        <p:spPr bwMode="blackWhite">
          <a:xfrm>
            <a:off x="1825625" y="4545726"/>
            <a:ext cx="1527175" cy="520700"/>
          </a:xfrm>
          <a:custGeom>
            <a:avLst/>
            <a:gdLst>
              <a:gd name="T0" fmla="*/ 0 w 1536"/>
              <a:gd name="T1" fmla="*/ 519723 h 533"/>
              <a:gd name="T2" fmla="*/ 1653098 w 1536"/>
              <a:gd name="T3" fmla="*/ 519723 h 533"/>
              <a:gd name="T4" fmla="*/ 1332171 w 1536"/>
              <a:gd name="T5" fmla="*/ 0 h 533"/>
              <a:gd name="T6" fmla="*/ 322004 w 1536"/>
              <a:gd name="T7" fmla="*/ 0 h 533"/>
              <a:gd name="T8" fmla="*/ 0 w 1536"/>
              <a:gd name="T9" fmla="*/ 519723 h 533"/>
              <a:gd name="T10" fmla="*/ 0 60000 65536"/>
              <a:gd name="T11" fmla="*/ 0 60000 65536"/>
              <a:gd name="T12" fmla="*/ 0 60000 65536"/>
              <a:gd name="T13" fmla="*/ 0 60000 65536"/>
              <a:gd name="T14" fmla="*/ 0 60000 65536"/>
              <a:gd name="T15" fmla="*/ 0 w 1536"/>
              <a:gd name="T16" fmla="*/ 0 h 533"/>
              <a:gd name="T17" fmla="*/ 1536 w 1536"/>
              <a:gd name="T18" fmla="*/ 533 h 533"/>
            </a:gdLst>
            <a:ahLst/>
            <a:cxnLst>
              <a:cxn ang="T10">
                <a:pos x="T0" y="T1"/>
              </a:cxn>
              <a:cxn ang="T11">
                <a:pos x="T2" y="T3"/>
              </a:cxn>
              <a:cxn ang="T12">
                <a:pos x="T4" y="T5"/>
              </a:cxn>
              <a:cxn ang="T13">
                <a:pos x="T6" y="T7"/>
              </a:cxn>
              <a:cxn ang="T14">
                <a:pos x="T8" y="T9"/>
              </a:cxn>
            </a:cxnLst>
            <a:rect l="T15" t="T16" r="T17" b="T18"/>
            <a:pathLst>
              <a:path w="1536" h="533">
                <a:moveTo>
                  <a:pt x="0" y="532"/>
                </a:moveTo>
                <a:lnTo>
                  <a:pt x="1535" y="532"/>
                </a:lnTo>
                <a:lnTo>
                  <a:pt x="1237" y="0"/>
                </a:lnTo>
                <a:lnTo>
                  <a:pt x="299" y="0"/>
                </a:lnTo>
                <a:lnTo>
                  <a:pt x="0" y="532"/>
                </a:lnTo>
              </a:path>
            </a:pathLst>
          </a:custGeom>
          <a:solidFill>
            <a:schemeClr val="accent3"/>
          </a:solidFill>
          <a:ln w="9525" cap="rnd">
            <a:solidFill>
              <a:schemeClr val="bg1"/>
            </a:solidFill>
            <a:round/>
            <a:headEnd type="none" w="sm" len="sm"/>
            <a:tailEnd type="none" w="sm" len="sm"/>
          </a:ln>
        </p:spPr>
        <p:txBody>
          <a:bodyPr/>
          <a:lstStyle/>
          <a:p>
            <a:pPr>
              <a:defRPr/>
            </a:pPr>
            <a:endParaRPr lang="en-GB" sz="1400">
              <a:solidFill>
                <a:schemeClr val="bg1"/>
              </a:solidFill>
            </a:endParaRPr>
          </a:p>
        </p:txBody>
      </p:sp>
      <p:sp>
        <p:nvSpPr>
          <p:cNvPr id="694285" name="Freeform 12"/>
          <p:cNvSpPr>
            <a:spLocks/>
          </p:cNvSpPr>
          <p:nvPr/>
        </p:nvSpPr>
        <p:spPr bwMode="blackWhite">
          <a:xfrm>
            <a:off x="1528763" y="5064839"/>
            <a:ext cx="2120900" cy="523875"/>
          </a:xfrm>
          <a:custGeom>
            <a:avLst/>
            <a:gdLst>
              <a:gd name="T0" fmla="*/ 2147483647 w 2134"/>
              <a:gd name="T1" fmla="*/ 0 h 535"/>
              <a:gd name="T2" fmla="*/ 0 w 2134"/>
              <a:gd name="T3" fmla="*/ 2147483647 h 535"/>
              <a:gd name="T4" fmla="*/ 2147483647 w 2134"/>
              <a:gd name="T5" fmla="*/ 2147483647 h 535"/>
              <a:gd name="T6" fmla="*/ 2147483647 w 2134"/>
              <a:gd name="T7" fmla="*/ 0 h 535"/>
              <a:gd name="T8" fmla="*/ 2147483647 w 2134"/>
              <a:gd name="T9" fmla="*/ 0 h 535"/>
              <a:gd name="T10" fmla="*/ 0 60000 65536"/>
              <a:gd name="T11" fmla="*/ 0 60000 65536"/>
              <a:gd name="T12" fmla="*/ 0 60000 65536"/>
              <a:gd name="T13" fmla="*/ 0 60000 65536"/>
              <a:gd name="T14" fmla="*/ 0 60000 65536"/>
              <a:gd name="T15" fmla="*/ 0 w 2134"/>
              <a:gd name="T16" fmla="*/ 0 h 535"/>
              <a:gd name="T17" fmla="*/ 2134 w 2134"/>
              <a:gd name="T18" fmla="*/ 535 h 535"/>
            </a:gdLst>
            <a:ahLst/>
            <a:cxnLst>
              <a:cxn ang="T10">
                <a:pos x="T0" y="T1"/>
              </a:cxn>
              <a:cxn ang="T11">
                <a:pos x="T2" y="T3"/>
              </a:cxn>
              <a:cxn ang="T12">
                <a:pos x="T4" y="T5"/>
              </a:cxn>
              <a:cxn ang="T13">
                <a:pos x="T6" y="T7"/>
              </a:cxn>
              <a:cxn ang="T14">
                <a:pos x="T8" y="T9"/>
              </a:cxn>
            </a:cxnLst>
            <a:rect l="T15" t="T16" r="T17" b="T18"/>
            <a:pathLst>
              <a:path w="2134" h="535">
                <a:moveTo>
                  <a:pt x="299" y="0"/>
                </a:moveTo>
                <a:lnTo>
                  <a:pt x="0" y="534"/>
                </a:lnTo>
                <a:lnTo>
                  <a:pt x="2133" y="534"/>
                </a:lnTo>
                <a:lnTo>
                  <a:pt x="1834" y="0"/>
                </a:lnTo>
                <a:lnTo>
                  <a:pt x="299" y="0"/>
                </a:lnTo>
              </a:path>
            </a:pathLst>
          </a:custGeom>
          <a:solidFill>
            <a:schemeClr val="accent2"/>
          </a:solidFill>
          <a:ln w="9525" cap="rnd">
            <a:solidFill>
              <a:schemeClr val="bg1"/>
            </a:solidFill>
            <a:round/>
            <a:headEnd type="none" w="sm" len="sm"/>
            <a:tailEnd type="none" w="sm" len="sm"/>
          </a:ln>
        </p:spPr>
        <p:txBody>
          <a:bodyPr/>
          <a:lstStyle/>
          <a:p>
            <a:endParaRPr lang="en-GB" sz="1400">
              <a:solidFill>
                <a:schemeClr val="bg1"/>
              </a:solidFill>
            </a:endParaRPr>
          </a:p>
        </p:txBody>
      </p:sp>
      <p:sp>
        <p:nvSpPr>
          <p:cNvPr id="694286" name="Rectangle 13"/>
          <p:cNvSpPr>
            <a:spLocks noChangeArrowheads="1"/>
          </p:cNvSpPr>
          <p:nvPr/>
        </p:nvSpPr>
        <p:spPr bwMode="auto">
          <a:xfrm>
            <a:off x="2322513" y="4252428"/>
            <a:ext cx="533400"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694287" name="Rectangle 14"/>
          <p:cNvSpPr>
            <a:spLocks noChangeArrowheads="1"/>
          </p:cNvSpPr>
          <p:nvPr/>
        </p:nvSpPr>
        <p:spPr bwMode="auto">
          <a:xfrm>
            <a:off x="2017713" y="4776303"/>
            <a:ext cx="1144587"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a:solidFill>
                  <a:schemeClr val="bg1"/>
                </a:solidFill>
              </a:rPr>
              <a:t>Text</a:t>
            </a:r>
          </a:p>
        </p:txBody>
      </p:sp>
      <p:sp>
        <p:nvSpPr>
          <p:cNvPr id="694288" name="Rectangle 15"/>
          <p:cNvSpPr>
            <a:spLocks noChangeArrowheads="1"/>
          </p:cNvSpPr>
          <p:nvPr/>
        </p:nvSpPr>
        <p:spPr bwMode="auto">
          <a:xfrm>
            <a:off x="1728788" y="5276366"/>
            <a:ext cx="1720850"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a:solidFill>
                  <a:schemeClr val="bg1"/>
                </a:solidFill>
              </a:rPr>
              <a:t>Text</a:t>
            </a:r>
          </a:p>
        </p:txBody>
      </p:sp>
      <p:sp>
        <p:nvSpPr>
          <p:cNvPr id="694289" name="Rectangle 16"/>
          <p:cNvSpPr>
            <a:spLocks noChangeArrowheads="1"/>
          </p:cNvSpPr>
          <p:nvPr/>
        </p:nvSpPr>
        <p:spPr bwMode="auto">
          <a:xfrm>
            <a:off x="1466850" y="5770078"/>
            <a:ext cx="2244725"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694290" name="Freeform 17"/>
          <p:cNvSpPr>
            <a:spLocks/>
          </p:cNvSpPr>
          <p:nvPr/>
        </p:nvSpPr>
        <p:spPr bwMode="blackWhite">
          <a:xfrm flipV="1">
            <a:off x="1274763" y="2620089"/>
            <a:ext cx="2625725" cy="1009650"/>
          </a:xfrm>
          <a:custGeom>
            <a:avLst/>
            <a:gdLst>
              <a:gd name="T0" fmla="*/ 2147483647 w 2676"/>
              <a:gd name="T1" fmla="*/ 2147483647 h 1025"/>
              <a:gd name="T2" fmla="*/ 2147483647 w 2676"/>
              <a:gd name="T3" fmla="*/ 2147483647 h 1025"/>
              <a:gd name="T4" fmla="*/ 2147483647 w 2676"/>
              <a:gd name="T5" fmla="*/ 0 h 1025"/>
              <a:gd name="T6" fmla="*/ 0 w 2676"/>
              <a:gd name="T7" fmla="*/ 0 h 1025"/>
              <a:gd name="T8" fmla="*/ 2147483647 w 2676"/>
              <a:gd name="T9" fmla="*/ 2147483647 h 1025"/>
              <a:gd name="T10" fmla="*/ 0 60000 65536"/>
              <a:gd name="T11" fmla="*/ 0 60000 65536"/>
              <a:gd name="T12" fmla="*/ 0 60000 65536"/>
              <a:gd name="T13" fmla="*/ 0 60000 65536"/>
              <a:gd name="T14" fmla="*/ 0 60000 65536"/>
              <a:gd name="T15" fmla="*/ 0 w 2676"/>
              <a:gd name="T16" fmla="*/ 0 h 1025"/>
              <a:gd name="T17" fmla="*/ 2676 w 2676"/>
              <a:gd name="T18" fmla="*/ 1025 h 1025"/>
            </a:gdLst>
            <a:ahLst/>
            <a:cxnLst>
              <a:cxn ang="T10">
                <a:pos x="T0" y="T1"/>
              </a:cxn>
              <a:cxn ang="T11">
                <a:pos x="T2" y="T3"/>
              </a:cxn>
              <a:cxn ang="T12">
                <a:pos x="T4" y="T5"/>
              </a:cxn>
              <a:cxn ang="T13">
                <a:pos x="T6" y="T7"/>
              </a:cxn>
              <a:cxn ang="T14">
                <a:pos x="T8" y="T9"/>
              </a:cxn>
            </a:cxnLst>
            <a:rect l="T15" t="T16" r="T17" b="T18"/>
            <a:pathLst>
              <a:path w="2676" h="1025">
                <a:moveTo>
                  <a:pt x="574" y="1024"/>
                </a:moveTo>
                <a:lnTo>
                  <a:pt x="2100" y="1024"/>
                </a:lnTo>
                <a:lnTo>
                  <a:pt x="2675" y="0"/>
                </a:lnTo>
                <a:lnTo>
                  <a:pt x="0" y="0"/>
                </a:lnTo>
                <a:lnTo>
                  <a:pt x="574" y="1024"/>
                </a:lnTo>
              </a:path>
            </a:pathLst>
          </a:custGeom>
          <a:solidFill>
            <a:schemeClr val="accent1"/>
          </a:solidFill>
          <a:ln w="9525" cap="rnd">
            <a:solidFill>
              <a:schemeClr val="bg1"/>
            </a:solidFill>
            <a:round/>
            <a:headEnd type="none" w="sm" len="sm"/>
            <a:tailEnd type="none" w="sm" len="sm"/>
          </a:ln>
        </p:spPr>
        <p:txBody>
          <a:bodyPr/>
          <a:lstStyle/>
          <a:p>
            <a:endParaRPr lang="en-GB" sz="1400">
              <a:solidFill>
                <a:schemeClr val="bg1"/>
              </a:solidFill>
            </a:endParaRPr>
          </a:p>
        </p:txBody>
      </p:sp>
      <p:sp>
        <p:nvSpPr>
          <p:cNvPr id="694291" name="Freeform 18"/>
          <p:cNvSpPr>
            <a:spLocks/>
          </p:cNvSpPr>
          <p:nvPr/>
        </p:nvSpPr>
        <p:spPr bwMode="blackWhite">
          <a:xfrm flipV="1">
            <a:off x="1838325" y="1280239"/>
            <a:ext cx="1498600" cy="1341437"/>
          </a:xfrm>
          <a:custGeom>
            <a:avLst/>
            <a:gdLst>
              <a:gd name="T0" fmla="*/ 0 w 1527"/>
              <a:gd name="T1" fmla="*/ 0 h 1364"/>
              <a:gd name="T2" fmla="*/ 2147483647 w 1527"/>
              <a:gd name="T3" fmla="*/ 2147483647 h 1364"/>
              <a:gd name="T4" fmla="*/ 2147483647 w 1527"/>
              <a:gd name="T5" fmla="*/ 0 h 1364"/>
              <a:gd name="T6" fmla="*/ 0 w 1527"/>
              <a:gd name="T7" fmla="*/ 0 h 1364"/>
              <a:gd name="T8" fmla="*/ 0 60000 65536"/>
              <a:gd name="T9" fmla="*/ 0 60000 65536"/>
              <a:gd name="T10" fmla="*/ 0 60000 65536"/>
              <a:gd name="T11" fmla="*/ 0 60000 65536"/>
              <a:gd name="T12" fmla="*/ 0 w 1527"/>
              <a:gd name="T13" fmla="*/ 0 h 1364"/>
              <a:gd name="T14" fmla="*/ 1527 w 1527"/>
              <a:gd name="T15" fmla="*/ 1364 h 1364"/>
            </a:gdLst>
            <a:ahLst/>
            <a:cxnLst>
              <a:cxn ang="T8">
                <a:pos x="T0" y="T1"/>
              </a:cxn>
              <a:cxn ang="T9">
                <a:pos x="T2" y="T3"/>
              </a:cxn>
              <a:cxn ang="T10">
                <a:pos x="T4" y="T5"/>
              </a:cxn>
              <a:cxn ang="T11">
                <a:pos x="T6" y="T7"/>
              </a:cxn>
            </a:cxnLst>
            <a:rect l="T12" t="T13" r="T14" b="T15"/>
            <a:pathLst>
              <a:path w="1527" h="1364">
                <a:moveTo>
                  <a:pt x="0" y="0"/>
                </a:moveTo>
                <a:lnTo>
                  <a:pt x="763" y="1363"/>
                </a:lnTo>
                <a:lnTo>
                  <a:pt x="1526" y="0"/>
                </a:lnTo>
                <a:lnTo>
                  <a:pt x="0" y="0"/>
                </a:lnTo>
              </a:path>
            </a:pathLst>
          </a:custGeom>
          <a:solidFill>
            <a:schemeClr val="accent2"/>
          </a:solidFill>
          <a:ln w="9525" cap="rnd">
            <a:solidFill>
              <a:schemeClr val="bg1"/>
            </a:solidFill>
            <a:round/>
            <a:headEnd type="none" w="sm" len="sm"/>
            <a:tailEnd type="none" w="sm" len="sm"/>
          </a:ln>
        </p:spPr>
        <p:txBody>
          <a:bodyPr/>
          <a:lstStyle/>
          <a:p>
            <a:endParaRPr lang="en-GB" sz="1400">
              <a:solidFill>
                <a:schemeClr val="bg1"/>
              </a:solidFill>
            </a:endParaRPr>
          </a:p>
        </p:txBody>
      </p:sp>
      <p:sp>
        <p:nvSpPr>
          <p:cNvPr id="694292" name="Rectangle 19"/>
          <p:cNvSpPr>
            <a:spLocks noChangeArrowheads="1"/>
          </p:cNvSpPr>
          <p:nvPr/>
        </p:nvSpPr>
        <p:spPr bwMode="auto">
          <a:xfrm>
            <a:off x="2238375" y="2233128"/>
            <a:ext cx="698500"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a:solidFill>
                  <a:schemeClr val="bg1"/>
                </a:solidFill>
              </a:rPr>
              <a:t>Text</a:t>
            </a:r>
          </a:p>
        </p:txBody>
      </p:sp>
      <p:sp>
        <p:nvSpPr>
          <p:cNvPr id="694293" name="Rectangle 20"/>
          <p:cNvSpPr>
            <a:spLocks noChangeArrowheads="1"/>
          </p:cNvSpPr>
          <p:nvPr/>
        </p:nvSpPr>
        <p:spPr bwMode="auto">
          <a:xfrm>
            <a:off x="1784350" y="3055453"/>
            <a:ext cx="1606550"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a:solidFill>
                  <a:schemeClr val="bg1"/>
                </a:solidFill>
              </a:rPr>
              <a:t>Text</a:t>
            </a:r>
          </a:p>
        </p:txBody>
      </p:sp>
      <p:sp>
        <p:nvSpPr>
          <p:cNvPr id="694294" name="Freeform 21"/>
          <p:cNvSpPr>
            <a:spLocks/>
          </p:cNvSpPr>
          <p:nvPr/>
        </p:nvSpPr>
        <p:spPr bwMode="blackWhite">
          <a:xfrm>
            <a:off x="5953125" y="3686889"/>
            <a:ext cx="588963" cy="517525"/>
          </a:xfrm>
          <a:custGeom>
            <a:avLst/>
            <a:gdLst>
              <a:gd name="T0" fmla="*/ 0 w 582"/>
              <a:gd name="T1" fmla="*/ 2147483647 h 520"/>
              <a:gd name="T2" fmla="*/ 2147483647 w 582"/>
              <a:gd name="T3" fmla="*/ 2147483647 h 520"/>
              <a:gd name="T4" fmla="*/ 2147483647 w 582"/>
              <a:gd name="T5" fmla="*/ 0 h 520"/>
              <a:gd name="T6" fmla="*/ 0 w 582"/>
              <a:gd name="T7" fmla="*/ 2147483647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chemeClr val="bg1"/>
          </a:solidFill>
          <a:ln w="9525" cap="rnd">
            <a:solidFill>
              <a:schemeClr val="bg2"/>
            </a:solidFill>
            <a:round/>
            <a:headEnd type="none" w="sm" len="sm"/>
            <a:tailEnd type="none" w="sm" len="sm"/>
          </a:ln>
        </p:spPr>
        <p:txBody>
          <a:bodyPr/>
          <a:lstStyle/>
          <a:p>
            <a:endParaRPr lang="en-GB" sz="1400">
              <a:solidFill>
                <a:schemeClr val="bg1"/>
              </a:solidFill>
            </a:endParaRPr>
          </a:p>
        </p:txBody>
      </p:sp>
      <p:sp>
        <p:nvSpPr>
          <p:cNvPr id="72" name="Freeform 23"/>
          <p:cNvSpPr>
            <a:spLocks/>
          </p:cNvSpPr>
          <p:nvPr/>
        </p:nvSpPr>
        <p:spPr bwMode="blackWhite">
          <a:xfrm>
            <a:off x="5953125" y="3686889"/>
            <a:ext cx="588963" cy="517525"/>
          </a:xfrm>
          <a:custGeom>
            <a:avLst/>
            <a:gdLst>
              <a:gd name="T0" fmla="*/ 0 w 582"/>
              <a:gd name="T1" fmla="*/ 516530 h 520"/>
              <a:gd name="T2" fmla="*/ 637078 w 582"/>
              <a:gd name="T3" fmla="*/ 516530 h 520"/>
              <a:gd name="T4" fmla="*/ 319088 w 582"/>
              <a:gd name="T5" fmla="*/ 0 h 520"/>
              <a:gd name="T6" fmla="*/ 0 w 582"/>
              <a:gd name="T7" fmla="*/ 516530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0" y="519"/>
                </a:moveTo>
                <a:lnTo>
                  <a:pt x="581" y="519"/>
                </a:lnTo>
                <a:lnTo>
                  <a:pt x="291" y="0"/>
                </a:lnTo>
                <a:lnTo>
                  <a:pt x="0" y="519"/>
                </a:lnTo>
              </a:path>
            </a:pathLst>
          </a:custGeom>
          <a:solidFill>
            <a:schemeClr val="accent3">
              <a:lumMod val="60000"/>
              <a:lumOff val="40000"/>
            </a:schemeClr>
          </a:solidFill>
          <a:ln w="9525" cap="rnd">
            <a:solidFill>
              <a:schemeClr val="bg2"/>
            </a:solidFill>
            <a:round/>
            <a:headEnd type="none" w="sm" len="sm"/>
            <a:tailEnd type="none" w="sm" len="sm"/>
          </a:ln>
        </p:spPr>
        <p:txBody>
          <a:bodyPr/>
          <a:lstStyle/>
          <a:p>
            <a:pPr>
              <a:defRPr/>
            </a:pPr>
            <a:endParaRPr lang="en-GB" sz="1400">
              <a:solidFill>
                <a:schemeClr val="tx2"/>
              </a:solidFill>
            </a:endParaRPr>
          </a:p>
        </p:txBody>
      </p:sp>
      <p:sp>
        <p:nvSpPr>
          <p:cNvPr id="694297" name="Rectangle 24"/>
          <p:cNvSpPr>
            <a:spLocks noChangeArrowheads="1"/>
          </p:cNvSpPr>
          <p:nvPr/>
        </p:nvSpPr>
        <p:spPr bwMode="auto">
          <a:xfrm>
            <a:off x="6072188" y="4027003"/>
            <a:ext cx="360362"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dirty="0">
                <a:solidFill>
                  <a:schemeClr val="bg2"/>
                </a:solidFill>
              </a:rPr>
              <a:t>Text</a:t>
            </a:r>
          </a:p>
        </p:txBody>
      </p:sp>
      <p:sp>
        <p:nvSpPr>
          <p:cNvPr id="694298" name="Freeform 25"/>
          <p:cNvSpPr>
            <a:spLocks/>
          </p:cNvSpPr>
          <p:nvPr/>
        </p:nvSpPr>
        <p:spPr bwMode="blackWhite">
          <a:xfrm>
            <a:off x="5819775" y="4202826"/>
            <a:ext cx="854075"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chemeClr val="bg1"/>
          </a:solidFill>
          <a:ln w="9525" cap="rnd">
            <a:solidFill>
              <a:schemeClr val="bg2"/>
            </a:solidFill>
            <a:round/>
            <a:headEnd type="none" w="sm" len="sm"/>
            <a:tailEnd type="none" w="sm" len="sm"/>
          </a:ln>
        </p:spPr>
        <p:txBody>
          <a:bodyPr/>
          <a:lstStyle/>
          <a:p>
            <a:endParaRPr lang="en-GB" sz="1200">
              <a:solidFill>
                <a:schemeClr val="bg2"/>
              </a:solidFill>
            </a:endParaRPr>
          </a:p>
        </p:txBody>
      </p:sp>
      <p:sp>
        <p:nvSpPr>
          <p:cNvPr id="76" name="Freeform 27"/>
          <p:cNvSpPr>
            <a:spLocks/>
          </p:cNvSpPr>
          <p:nvPr/>
        </p:nvSpPr>
        <p:spPr bwMode="blackWhite">
          <a:xfrm>
            <a:off x="5819775" y="4202826"/>
            <a:ext cx="854075" cy="233363"/>
          </a:xfrm>
          <a:custGeom>
            <a:avLst/>
            <a:gdLst>
              <a:gd name="T0" fmla="*/ 0 w 843"/>
              <a:gd name="T1" fmla="*/ 2147483647 h 235"/>
              <a:gd name="T2" fmla="*/ 2147483647 w 843"/>
              <a:gd name="T3" fmla="*/ 2147483647 h 235"/>
              <a:gd name="T4" fmla="*/ 2147483647 w 843"/>
              <a:gd name="T5" fmla="*/ 0 h 235"/>
              <a:gd name="T6" fmla="*/ 2147483647 w 843"/>
              <a:gd name="T7" fmla="*/ 0 h 235"/>
              <a:gd name="T8" fmla="*/ 0 w 843"/>
              <a:gd name="T9" fmla="*/ 2147483647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0" y="234"/>
                </a:moveTo>
                <a:lnTo>
                  <a:pt x="842" y="234"/>
                </a:lnTo>
                <a:lnTo>
                  <a:pt x="711" y="0"/>
                </a:lnTo>
                <a:lnTo>
                  <a:pt x="130" y="0"/>
                </a:lnTo>
                <a:lnTo>
                  <a:pt x="0" y="234"/>
                </a:lnTo>
              </a:path>
            </a:pathLst>
          </a:custGeom>
          <a:solidFill>
            <a:schemeClr val="accent2">
              <a:lumMod val="75000"/>
            </a:schemeClr>
          </a:solidFill>
          <a:ln w="9525" cap="rnd">
            <a:solidFill>
              <a:schemeClr val="bg2"/>
            </a:solidFill>
            <a:round/>
            <a:headEnd type="none" w="sm" len="sm"/>
            <a:tailEnd type="none" w="sm" len="sm"/>
          </a:ln>
        </p:spPr>
        <p:txBody>
          <a:bodyPr/>
          <a:lstStyle/>
          <a:p>
            <a:pPr>
              <a:defRPr/>
            </a:pPr>
            <a:endParaRPr lang="en-GB" sz="1200">
              <a:solidFill>
                <a:schemeClr val="bg2"/>
              </a:solidFill>
            </a:endParaRPr>
          </a:p>
        </p:txBody>
      </p:sp>
      <p:sp>
        <p:nvSpPr>
          <p:cNvPr id="694301" name="Rectangle 28"/>
          <p:cNvSpPr>
            <a:spLocks noChangeArrowheads="1"/>
          </p:cNvSpPr>
          <p:nvPr/>
        </p:nvSpPr>
        <p:spPr bwMode="auto">
          <a:xfrm>
            <a:off x="6026150" y="4247666"/>
            <a:ext cx="454025"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dirty="0">
                <a:solidFill>
                  <a:schemeClr val="bg2"/>
                </a:solidFill>
              </a:rPr>
              <a:t>Text</a:t>
            </a:r>
          </a:p>
        </p:txBody>
      </p:sp>
      <p:sp>
        <p:nvSpPr>
          <p:cNvPr id="78" name="Freeform 29"/>
          <p:cNvSpPr>
            <a:spLocks/>
          </p:cNvSpPr>
          <p:nvPr/>
        </p:nvSpPr>
        <p:spPr bwMode="blackWhite">
          <a:xfrm>
            <a:off x="5686425" y="4434601"/>
            <a:ext cx="1120775" cy="231775"/>
          </a:xfrm>
          <a:custGeom>
            <a:avLst/>
            <a:gdLst>
              <a:gd name="T0" fmla="*/ 2147483647 w 1106"/>
              <a:gd name="T1" fmla="*/ 0 h 233"/>
              <a:gd name="T2" fmla="*/ 0 w 1106"/>
              <a:gd name="T3" fmla="*/ 2147483647 h 233"/>
              <a:gd name="T4" fmla="*/ 2147483647 w 1106"/>
              <a:gd name="T5" fmla="*/ 2147483647 h 233"/>
              <a:gd name="T6" fmla="*/ 2147483647 w 1106"/>
              <a:gd name="T7" fmla="*/ 0 h 233"/>
              <a:gd name="T8" fmla="*/ 2147483647 w 1106"/>
              <a:gd name="T9" fmla="*/ 0 h 233"/>
              <a:gd name="T10" fmla="*/ 0 60000 65536"/>
              <a:gd name="T11" fmla="*/ 0 60000 65536"/>
              <a:gd name="T12" fmla="*/ 0 60000 65536"/>
              <a:gd name="T13" fmla="*/ 0 60000 65536"/>
              <a:gd name="T14" fmla="*/ 0 60000 65536"/>
              <a:gd name="T15" fmla="*/ 0 w 1106"/>
              <a:gd name="T16" fmla="*/ 0 h 233"/>
              <a:gd name="T17" fmla="*/ 1106 w 1106"/>
              <a:gd name="T18" fmla="*/ 233 h 233"/>
            </a:gdLst>
            <a:ahLst/>
            <a:cxnLst>
              <a:cxn ang="T10">
                <a:pos x="T0" y="T1"/>
              </a:cxn>
              <a:cxn ang="T11">
                <a:pos x="T2" y="T3"/>
              </a:cxn>
              <a:cxn ang="T12">
                <a:pos x="T4" y="T5"/>
              </a:cxn>
              <a:cxn ang="T13">
                <a:pos x="T6" y="T7"/>
              </a:cxn>
              <a:cxn ang="T14">
                <a:pos x="T8" y="T9"/>
              </a:cxn>
            </a:cxnLst>
            <a:rect l="T15" t="T16" r="T17" b="T18"/>
            <a:pathLst>
              <a:path w="1106" h="233">
                <a:moveTo>
                  <a:pt x="132" y="0"/>
                </a:moveTo>
                <a:lnTo>
                  <a:pt x="0" y="232"/>
                </a:lnTo>
                <a:lnTo>
                  <a:pt x="1105" y="232"/>
                </a:lnTo>
                <a:lnTo>
                  <a:pt x="974" y="0"/>
                </a:lnTo>
                <a:lnTo>
                  <a:pt x="132" y="0"/>
                </a:lnTo>
              </a:path>
            </a:pathLst>
          </a:custGeom>
          <a:solidFill>
            <a:schemeClr val="accent1">
              <a:lumMod val="60000"/>
              <a:lumOff val="40000"/>
            </a:schemeClr>
          </a:solidFill>
          <a:ln w="9525" cap="rnd">
            <a:solidFill>
              <a:schemeClr val="bg2"/>
            </a:solidFill>
            <a:round/>
            <a:headEnd type="none" w="sm" len="sm"/>
            <a:tailEnd type="none" w="sm" len="sm"/>
          </a:ln>
        </p:spPr>
        <p:txBody>
          <a:bodyPr/>
          <a:lstStyle/>
          <a:p>
            <a:pPr>
              <a:defRPr/>
            </a:pPr>
            <a:endParaRPr lang="en-GB" sz="1400">
              <a:solidFill>
                <a:schemeClr val="bg1"/>
              </a:solidFill>
            </a:endParaRPr>
          </a:p>
        </p:txBody>
      </p:sp>
      <p:sp>
        <p:nvSpPr>
          <p:cNvPr id="694303" name="Rectangle 30"/>
          <p:cNvSpPr>
            <a:spLocks noChangeArrowheads="1"/>
          </p:cNvSpPr>
          <p:nvPr/>
        </p:nvSpPr>
        <p:spPr bwMode="auto">
          <a:xfrm>
            <a:off x="5940425" y="4479441"/>
            <a:ext cx="627063"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a:solidFill>
                  <a:schemeClr val="bg2"/>
                </a:solidFill>
              </a:rPr>
              <a:t>Text</a:t>
            </a:r>
          </a:p>
        </p:txBody>
      </p:sp>
      <p:sp>
        <p:nvSpPr>
          <p:cNvPr id="694304" name="Freeform 31"/>
          <p:cNvSpPr>
            <a:spLocks/>
          </p:cNvSpPr>
          <p:nvPr/>
        </p:nvSpPr>
        <p:spPr bwMode="blackWhite">
          <a:xfrm>
            <a:off x="5554663" y="4666376"/>
            <a:ext cx="1385887"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chemeClr val="bg1"/>
          </a:solidFill>
          <a:ln w="9525" cap="rnd">
            <a:solidFill>
              <a:schemeClr val="bg2"/>
            </a:solidFill>
            <a:round/>
            <a:headEnd type="none" w="sm" len="sm"/>
            <a:tailEnd type="none" w="sm" len="sm"/>
          </a:ln>
        </p:spPr>
        <p:txBody>
          <a:bodyPr/>
          <a:lstStyle/>
          <a:p>
            <a:endParaRPr lang="en-GB" sz="1400">
              <a:solidFill>
                <a:schemeClr val="bg1"/>
              </a:solidFill>
            </a:endParaRPr>
          </a:p>
        </p:txBody>
      </p:sp>
      <p:sp>
        <p:nvSpPr>
          <p:cNvPr id="694305" name="Freeform 32"/>
          <p:cNvSpPr>
            <a:spLocks/>
          </p:cNvSpPr>
          <p:nvPr/>
        </p:nvSpPr>
        <p:spPr bwMode="blackWhite">
          <a:xfrm>
            <a:off x="5554663" y="4666376"/>
            <a:ext cx="1385887" cy="233363"/>
          </a:xfrm>
          <a:custGeom>
            <a:avLst/>
            <a:gdLst>
              <a:gd name="T0" fmla="*/ 2147483647 w 1367"/>
              <a:gd name="T1" fmla="*/ 0 h 235"/>
              <a:gd name="T2" fmla="*/ 0 w 1367"/>
              <a:gd name="T3" fmla="*/ 2147483647 h 235"/>
              <a:gd name="T4" fmla="*/ 2147483647 w 1367"/>
              <a:gd name="T5" fmla="*/ 2147483647 h 235"/>
              <a:gd name="T6" fmla="*/ 2147483647 w 1367"/>
              <a:gd name="T7" fmla="*/ 0 h 235"/>
              <a:gd name="T8" fmla="*/ 2147483647 w 1367"/>
              <a:gd name="T9" fmla="*/ 0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30" y="0"/>
                </a:moveTo>
                <a:lnTo>
                  <a:pt x="0" y="234"/>
                </a:lnTo>
                <a:lnTo>
                  <a:pt x="1366" y="234"/>
                </a:lnTo>
                <a:lnTo>
                  <a:pt x="1235" y="0"/>
                </a:lnTo>
                <a:lnTo>
                  <a:pt x="130" y="0"/>
                </a:lnTo>
              </a:path>
            </a:pathLst>
          </a:custGeom>
          <a:solidFill>
            <a:schemeClr val="accent6"/>
          </a:solidFill>
          <a:ln w="9525" cap="rnd">
            <a:solidFill>
              <a:schemeClr val="bg2"/>
            </a:solidFill>
            <a:round/>
            <a:headEnd type="none" w="sm" len="sm"/>
            <a:tailEnd type="none" w="sm" len="sm"/>
          </a:ln>
        </p:spPr>
        <p:txBody>
          <a:bodyPr/>
          <a:lstStyle/>
          <a:p>
            <a:endParaRPr lang="en-GB" sz="1400">
              <a:solidFill>
                <a:schemeClr val="bg1"/>
              </a:solidFill>
            </a:endParaRPr>
          </a:p>
        </p:txBody>
      </p:sp>
      <p:sp>
        <p:nvSpPr>
          <p:cNvPr id="694306" name="Rectangle 33"/>
          <p:cNvSpPr>
            <a:spLocks noChangeArrowheads="1"/>
          </p:cNvSpPr>
          <p:nvPr/>
        </p:nvSpPr>
        <p:spPr bwMode="auto">
          <a:xfrm>
            <a:off x="5873750" y="4711216"/>
            <a:ext cx="758825"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a:solidFill>
                  <a:schemeClr val="bg2"/>
                </a:solidFill>
              </a:rPr>
              <a:t>Text</a:t>
            </a:r>
          </a:p>
        </p:txBody>
      </p:sp>
      <p:sp>
        <p:nvSpPr>
          <p:cNvPr id="83" name="Freeform 34"/>
          <p:cNvSpPr>
            <a:spLocks/>
          </p:cNvSpPr>
          <p:nvPr/>
        </p:nvSpPr>
        <p:spPr bwMode="blackWhite">
          <a:xfrm>
            <a:off x="5421313" y="4898151"/>
            <a:ext cx="1651000" cy="233363"/>
          </a:xfrm>
          <a:custGeom>
            <a:avLst/>
            <a:gdLst>
              <a:gd name="T0" fmla="*/ 2147483647 w 1628"/>
              <a:gd name="T1" fmla="*/ 0 h 235"/>
              <a:gd name="T2" fmla="*/ 0 w 1628"/>
              <a:gd name="T3" fmla="*/ 2147483647 h 235"/>
              <a:gd name="T4" fmla="*/ 2147483647 w 1628"/>
              <a:gd name="T5" fmla="*/ 2147483647 h 235"/>
              <a:gd name="T6" fmla="*/ 2147483647 w 1628"/>
              <a:gd name="T7" fmla="*/ 0 h 235"/>
              <a:gd name="T8" fmla="*/ 2147483647 w 1628"/>
              <a:gd name="T9" fmla="*/ 0 h 235"/>
              <a:gd name="T10" fmla="*/ 0 60000 65536"/>
              <a:gd name="T11" fmla="*/ 0 60000 65536"/>
              <a:gd name="T12" fmla="*/ 0 60000 65536"/>
              <a:gd name="T13" fmla="*/ 0 60000 65536"/>
              <a:gd name="T14" fmla="*/ 0 60000 65536"/>
              <a:gd name="T15" fmla="*/ 0 w 1628"/>
              <a:gd name="T16" fmla="*/ 0 h 235"/>
              <a:gd name="T17" fmla="*/ 1628 w 1628"/>
              <a:gd name="T18" fmla="*/ 235 h 235"/>
            </a:gdLst>
            <a:ahLst/>
            <a:cxnLst>
              <a:cxn ang="T10">
                <a:pos x="T0" y="T1"/>
              </a:cxn>
              <a:cxn ang="T11">
                <a:pos x="T2" y="T3"/>
              </a:cxn>
              <a:cxn ang="T12">
                <a:pos x="T4" y="T5"/>
              </a:cxn>
              <a:cxn ang="T13">
                <a:pos x="T6" y="T7"/>
              </a:cxn>
              <a:cxn ang="T14">
                <a:pos x="T8" y="T9"/>
              </a:cxn>
            </a:cxnLst>
            <a:rect l="T15" t="T16" r="T17" b="T18"/>
            <a:pathLst>
              <a:path w="1628" h="235">
                <a:moveTo>
                  <a:pt x="131" y="0"/>
                </a:moveTo>
                <a:lnTo>
                  <a:pt x="0" y="234"/>
                </a:lnTo>
                <a:lnTo>
                  <a:pt x="1627" y="234"/>
                </a:lnTo>
                <a:lnTo>
                  <a:pt x="1497" y="0"/>
                </a:lnTo>
                <a:lnTo>
                  <a:pt x="131" y="0"/>
                </a:lnTo>
              </a:path>
            </a:pathLst>
          </a:custGeom>
          <a:solidFill>
            <a:schemeClr val="accent5"/>
          </a:solidFill>
          <a:ln w="9525" cap="rnd">
            <a:solidFill>
              <a:schemeClr val="bg2"/>
            </a:solidFill>
            <a:round/>
            <a:headEnd type="none" w="sm" len="sm"/>
            <a:tailEnd type="none" w="sm" len="sm"/>
          </a:ln>
        </p:spPr>
        <p:txBody>
          <a:bodyPr/>
          <a:lstStyle/>
          <a:p>
            <a:pPr>
              <a:defRPr/>
            </a:pPr>
            <a:endParaRPr lang="en-GB" sz="1400">
              <a:solidFill>
                <a:schemeClr val="bg1"/>
              </a:solidFill>
            </a:endParaRPr>
          </a:p>
        </p:txBody>
      </p:sp>
      <p:sp>
        <p:nvSpPr>
          <p:cNvPr id="694308" name="Rectangle 35"/>
          <p:cNvSpPr>
            <a:spLocks noChangeArrowheads="1"/>
          </p:cNvSpPr>
          <p:nvPr/>
        </p:nvSpPr>
        <p:spPr bwMode="auto">
          <a:xfrm>
            <a:off x="5756275" y="4942991"/>
            <a:ext cx="966788"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dirty="0">
                <a:solidFill>
                  <a:schemeClr val="bg2"/>
                </a:solidFill>
              </a:rPr>
              <a:t>Text</a:t>
            </a:r>
          </a:p>
        </p:txBody>
      </p:sp>
      <p:sp>
        <p:nvSpPr>
          <p:cNvPr id="694309" name="Freeform 36"/>
          <p:cNvSpPr>
            <a:spLocks/>
          </p:cNvSpPr>
          <p:nvPr/>
        </p:nvSpPr>
        <p:spPr bwMode="blackWhite">
          <a:xfrm>
            <a:off x="5289550" y="5131514"/>
            <a:ext cx="1914525" cy="231775"/>
          </a:xfrm>
          <a:custGeom>
            <a:avLst/>
            <a:gdLst>
              <a:gd name="T0" fmla="*/ 2147483647 w 1890"/>
              <a:gd name="T1" fmla="*/ 0 h 234"/>
              <a:gd name="T2" fmla="*/ 0 w 1890"/>
              <a:gd name="T3" fmla="*/ 2147483647 h 234"/>
              <a:gd name="T4" fmla="*/ 2147483647 w 1890"/>
              <a:gd name="T5" fmla="*/ 2147483647 h 234"/>
              <a:gd name="T6" fmla="*/ 2147483647 w 1890"/>
              <a:gd name="T7" fmla="*/ 0 h 234"/>
              <a:gd name="T8" fmla="*/ 2147483647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chemeClr val="bg1"/>
          </a:solidFill>
          <a:ln w="9525" cap="rnd">
            <a:solidFill>
              <a:schemeClr val="bg2"/>
            </a:solidFill>
            <a:round/>
            <a:headEnd type="none" w="sm" len="sm"/>
            <a:tailEnd type="none" w="sm" len="sm"/>
          </a:ln>
        </p:spPr>
        <p:txBody>
          <a:bodyPr/>
          <a:lstStyle/>
          <a:p>
            <a:endParaRPr lang="en-GB" sz="1400">
              <a:solidFill>
                <a:schemeClr val="bg1"/>
              </a:solidFill>
            </a:endParaRPr>
          </a:p>
        </p:txBody>
      </p:sp>
      <p:sp>
        <p:nvSpPr>
          <p:cNvPr id="86" name="Freeform 37"/>
          <p:cNvSpPr>
            <a:spLocks/>
          </p:cNvSpPr>
          <p:nvPr/>
        </p:nvSpPr>
        <p:spPr bwMode="blackWhite">
          <a:xfrm>
            <a:off x="5289550" y="5131514"/>
            <a:ext cx="1914525" cy="231775"/>
          </a:xfrm>
          <a:custGeom>
            <a:avLst/>
            <a:gdLst>
              <a:gd name="T0" fmla="*/ 143703 w 1890"/>
              <a:gd name="T1" fmla="*/ 0 h 234"/>
              <a:gd name="T2" fmla="*/ 0 w 1890"/>
              <a:gd name="T3" fmla="*/ 230785 h 234"/>
              <a:gd name="T4" fmla="*/ 2072178 w 1890"/>
              <a:gd name="T5" fmla="*/ 230785 h 234"/>
              <a:gd name="T6" fmla="*/ 1928475 w 1890"/>
              <a:gd name="T7" fmla="*/ 0 h 234"/>
              <a:gd name="T8" fmla="*/ 143703 w 1890"/>
              <a:gd name="T9" fmla="*/ 0 h 234"/>
              <a:gd name="T10" fmla="*/ 0 60000 65536"/>
              <a:gd name="T11" fmla="*/ 0 60000 65536"/>
              <a:gd name="T12" fmla="*/ 0 60000 65536"/>
              <a:gd name="T13" fmla="*/ 0 60000 65536"/>
              <a:gd name="T14" fmla="*/ 0 60000 65536"/>
              <a:gd name="T15" fmla="*/ 0 w 1890"/>
              <a:gd name="T16" fmla="*/ 0 h 234"/>
              <a:gd name="T17" fmla="*/ 1890 w 1890"/>
              <a:gd name="T18" fmla="*/ 234 h 234"/>
            </a:gdLst>
            <a:ahLst/>
            <a:cxnLst>
              <a:cxn ang="T10">
                <a:pos x="T0" y="T1"/>
              </a:cxn>
              <a:cxn ang="T11">
                <a:pos x="T2" y="T3"/>
              </a:cxn>
              <a:cxn ang="T12">
                <a:pos x="T4" y="T5"/>
              </a:cxn>
              <a:cxn ang="T13">
                <a:pos x="T6" y="T7"/>
              </a:cxn>
              <a:cxn ang="T14">
                <a:pos x="T8" y="T9"/>
              </a:cxn>
            </a:cxnLst>
            <a:rect l="T15" t="T16" r="T17" b="T18"/>
            <a:pathLst>
              <a:path w="1890" h="234">
                <a:moveTo>
                  <a:pt x="131" y="0"/>
                </a:moveTo>
                <a:lnTo>
                  <a:pt x="0" y="233"/>
                </a:lnTo>
                <a:lnTo>
                  <a:pt x="1889" y="233"/>
                </a:lnTo>
                <a:lnTo>
                  <a:pt x="1758" y="0"/>
                </a:lnTo>
                <a:lnTo>
                  <a:pt x="131" y="0"/>
                </a:lnTo>
              </a:path>
            </a:pathLst>
          </a:custGeom>
          <a:solidFill>
            <a:schemeClr val="accent4"/>
          </a:solidFill>
          <a:ln w="9525" cap="rnd">
            <a:solidFill>
              <a:schemeClr val="bg2"/>
            </a:solidFill>
            <a:round/>
            <a:headEnd type="none" w="sm" len="sm"/>
            <a:tailEnd type="none" w="sm" len="sm"/>
          </a:ln>
        </p:spPr>
        <p:txBody>
          <a:bodyPr/>
          <a:lstStyle/>
          <a:p>
            <a:pPr>
              <a:defRPr/>
            </a:pPr>
            <a:endParaRPr lang="en-GB" sz="1400">
              <a:solidFill>
                <a:schemeClr val="bg1"/>
              </a:solidFill>
            </a:endParaRPr>
          </a:p>
        </p:txBody>
      </p:sp>
      <p:sp>
        <p:nvSpPr>
          <p:cNvPr id="694311" name="Rectangle 38"/>
          <p:cNvSpPr>
            <a:spLocks noChangeArrowheads="1"/>
          </p:cNvSpPr>
          <p:nvPr/>
        </p:nvSpPr>
        <p:spPr bwMode="auto">
          <a:xfrm>
            <a:off x="5691188" y="5174766"/>
            <a:ext cx="1122362"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a:solidFill>
                  <a:schemeClr val="bg1"/>
                </a:solidFill>
              </a:rPr>
              <a:t>Text</a:t>
            </a:r>
          </a:p>
        </p:txBody>
      </p:sp>
      <p:sp>
        <p:nvSpPr>
          <p:cNvPr id="694312" name="Freeform 39"/>
          <p:cNvSpPr>
            <a:spLocks/>
          </p:cNvSpPr>
          <p:nvPr/>
        </p:nvSpPr>
        <p:spPr bwMode="blackWhite">
          <a:xfrm>
            <a:off x="5156200" y="5363289"/>
            <a:ext cx="2181225" cy="231775"/>
          </a:xfrm>
          <a:custGeom>
            <a:avLst/>
            <a:gdLst>
              <a:gd name="T0" fmla="*/ 2147483647 w 2152"/>
              <a:gd name="T1" fmla="*/ 0 h 234"/>
              <a:gd name="T2" fmla="*/ 0 w 2152"/>
              <a:gd name="T3" fmla="*/ 2147483647 h 234"/>
              <a:gd name="T4" fmla="*/ 2147483647 w 2152"/>
              <a:gd name="T5" fmla="*/ 2147483647 h 234"/>
              <a:gd name="T6" fmla="*/ 2147483647 w 2152"/>
              <a:gd name="T7" fmla="*/ 0 h 234"/>
              <a:gd name="T8" fmla="*/ 2147483647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chemeClr val="bg1"/>
          </a:solidFill>
          <a:ln w="9525" cap="rnd">
            <a:solidFill>
              <a:schemeClr val="bg2"/>
            </a:solidFill>
            <a:round/>
            <a:headEnd type="none" w="sm" len="sm"/>
            <a:tailEnd type="none" w="sm" len="sm"/>
          </a:ln>
        </p:spPr>
        <p:txBody>
          <a:bodyPr/>
          <a:lstStyle/>
          <a:p>
            <a:endParaRPr lang="en-GB" sz="1400">
              <a:solidFill>
                <a:schemeClr val="bg1"/>
              </a:solidFill>
            </a:endParaRPr>
          </a:p>
        </p:txBody>
      </p:sp>
      <p:sp>
        <p:nvSpPr>
          <p:cNvPr id="694313" name="Rectangle 40"/>
          <p:cNvSpPr>
            <a:spLocks noChangeArrowheads="1"/>
          </p:cNvSpPr>
          <p:nvPr/>
        </p:nvSpPr>
        <p:spPr bwMode="auto">
          <a:xfrm>
            <a:off x="5737225" y="5395039"/>
            <a:ext cx="1028700" cy="204787"/>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400">
                <a:solidFill>
                  <a:schemeClr val="bg1"/>
                </a:solidFill>
              </a:rPr>
              <a:t>Text</a:t>
            </a:r>
          </a:p>
        </p:txBody>
      </p:sp>
      <p:sp>
        <p:nvSpPr>
          <p:cNvPr id="90" name="Freeform 41"/>
          <p:cNvSpPr>
            <a:spLocks/>
          </p:cNvSpPr>
          <p:nvPr/>
        </p:nvSpPr>
        <p:spPr bwMode="blackWhite">
          <a:xfrm>
            <a:off x="5156200" y="5363289"/>
            <a:ext cx="2181225" cy="231775"/>
          </a:xfrm>
          <a:custGeom>
            <a:avLst/>
            <a:gdLst>
              <a:gd name="T0" fmla="*/ 143796 w 2152"/>
              <a:gd name="T1" fmla="*/ 0 h 234"/>
              <a:gd name="T2" fmla="*/ 0 w 2152"/>
              <a:gd name="T3" fmla="*/ 230785 h 234"/>
              <a:gd name="T4" fmla="*/ 2361102 w 2152"/>
              <a:gd name="T5" fmla="*/ 230785 h 234"/>
              <a:gd name="T6" fmla="*/ 2217306 w 2152"/>
              <a:gd name="T7" fmla="*/ 0 h 234"/>
              <a:gd name="T8" fmla="*/ 143796 w 2152"/>
              <a:gd name="T9" fmla="*/ 0 h 234"/>
              <a:gd name="T10" fmla="*/ 0 60000 65536"/>
              <a:gd name="T11" fmla="*/ 0 60000 65536"/>
              <a:gd name="T12" fmla="*/ 0 60000 65536"/>
              <a:gd name="T13" fmla="*/ 0 60000 65536"/>
              <a:gd name="T14" fmla="*/ 0 60000 65536"/>
              <a:gd name="T15" fmla="*/ 0 w 2152"/>
              <a:gd name="T16" fmla="*/ 0 h 234"/>
              <a:gd name="T17" fmla="*/ 2152 w 2152"/>
              <a:gd name="T18" fmla="*/ 234 h 234"/>
            </a:gdLst>
            <a:ahLst/>
            <a:cxnLst>
              <a:cxn ang="T10">
                <a:pos x="T0" y="T1"/>
              </a:cxn>
              <a:cxn ang="T11">
                <a:pos x="T2" y="T3"/>
              </a:cxn>
              <a:cxn ang="T12">
                <a:pos x="T4" y="T5"/>
              </a:cxn>
              <a:cxn ang="T13">
                <a:pos x="T6" y="T7"/>
              </a:cxn>
              <a:cxn ang="T14">
                <a:pos x="T8" y="T9"/>
              </a:cxn>
            </a:cxnLst>
            <a:rect l="T15" t="T16" r="T17" b="T18"/>
            <a:pathLst>
              <a:path w="2152" h="234">
                <a:moveTo>
                  <a:pt x="131" y="0"/>
                </a:moveTo>
                <a:lnTo>
                  <a:pt x="0" y="233"/>
                </a:lnTo>
                <a:lnTo>
                  <a:pt x="2151" y="233"/>
                </a:lnTo>
                <a:lnTo>
                  <a:pt x="2020" y="0"/>
                </a:lnTo>
                <a:lnTo>
                  <a:pt x="131" y="0"/>
                </a:lnTo>
              </a:path>
            </a:pathLst>
          </a:custGeom>
          <a:solidFill>
            <a:schemeClr val="accent3"/>
          </a:solidFill>
          <a:ln w="9525" cap="rnd">
            <a:solidFill>
              <a:schemeClr val="bg2"/>
            </a:solidFill>
            <a:round/>
            <a:headEnd type="none" w="sm" len="sm"/>
            <a:tailEnd type="none" w="sm" len="sm"/>
          </a:ln>
        </p:spPr>
        <p:txBody>
          <a:bodyPr/>
          <a:lstStyle/>
          <a:p>
            <a:pPr>
              <a:defRPr/>
            </a:pPr>
            <a:endParaRPr lang="en-GB" sz="1400">
              <a:solidFill>
                <a:schemeClr val="bg1"/>
              </a:solidFill>
            </a:endParaRPr>
          </a:p>
        </p:txBody>
      </p:sp>
      <p:sp>
        <p:nvSpPr>
          <p:cNvPr id="694315" name="Rectangle 42"/>
          <p:cNvSpPr>
            <a:spLocks noChangeArrowheads="1"/>
          </p:cNvSpPr>
          <p:nvPr/>
        </p:nvSpPr>
        <p:spPr bwMode="auto">
          <a:xfrm>
            <a:off x="5935663" y="5408128"/>
            <a:ext cx="630237"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a:solidFill>
                  <a:schemeClr val="bg2"/>
                </a:solidFill>
              </a:rPr>
              <a:t>Text</a:t>
            </a:r>
          </a:p>
        </p:txBody>
      </p:sp>
      <p:sp>
        <p:nvSpPr>
          <p:cNvPr id="694316" name="Freeform 43"/>
          <p:cNvSpPr>
            <a:spLocks/>
          </p:cNvSpPr>
          <p:nvPr/>
        </p:nvSpPr>
        <p:spPr bwMode="blackWhite">
          <a:xfrm>
            <a:off x="5024438" y="5593476"/>
            <a:ext cx="2444750" cy="234950"/>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chemeClr val="accent2"/>
          </a:solidFill>
          <a:ln w="9525" cap="rnd">
            <a:solidFill>
              <a:schemeClr val="bg2"/>
            </a:solidFill>
            <a:round/>
            <a:headEnd type="none" w="sm" len="sm"/>
            <a:tailEnd type="none" w="sm" len="sm"/>
          </a:ln>
        </p:spPr>
        <p:txBody>
          <a:bodyPr/>
          <a:lstStyle/>
          <a:p>
            <a:endParaRPr lang="en-GB" sz="1400">
              <a:solidFill>
                <a:schemeClr val="bg1"/>
              </a:solidFill>
            </a:endParaRPr>
          </a:p>
        </p:txBody>
      </p:sp>
      <p:sp>
        <p:nvSpPr>
          <p:cNvPr id="694317" name="Freeform 44"/>
          <p:cNvSpPr>
            <a:spLocks/>
          </p:cNvSpPr>
          <p:nvPr/>
        </p:nvSpPr>
        <p:spPr bwMode="blackWhite">
          <a:xfrm>
            <a:off x="5024438" y="5593476"/>
            <a:ext cx="2444750" cy="234950"/>
          </a:xfrm>
          <a:custGeom>
            <a:avLst/>
            <a:gdLst>
              <a:gd name="T0" fmla="*/ 2147483647 w 2414"/>
              <a:gd name="T1" fmla="*/ 0 h 235"/>
              <a:gd name="T2" fmla="*/ 0 w 2414"/>
              <a:gd name="T3" fmla="*/ 2147483647 h 235"/>
              <a:gd name="T4" fmla="*/ 2147483647 w 2414"/>
              <a:gd name="T5" fmla="*/ 2147483647 h 235"/>
              <a:gd name="T6" fmla="*/ 2147483647 w 2414"/>
              <a:gd name="T7" fmla="*/ 0 h 235"/>
              <a:gd name="T8" fmla="*/ 2147483647 w 2414"/>
              <a:gd name="T9" fmla="*/ 0 h 235"/>
              <a:gd name="T10" fmla="*/ 0 60000 65536"/>
              <a:gd name="T11" fmla="*/ 0 60000 65536"/>
              <a:gd name="T12" fmla="*/ 0 60000 65536"/>
              <a:gd name="T13" fmla="*/ 0 60000 65536"/>
              <a:gd name="T14" fmla="*/ 0 60000 65536"/>
              <a:gd name="T15" fmla="*/ 0 w 2414"/>
              <a:gd name="T16" fmla="*/ 0 h 235"/>
              <a:gd name="T17" fmla="*/ 2414 w 2414"/>
              <a:gd name="T18" fmla="*/ 235 h 235"/>
            </a:gdLst>
            <a:ahLst/>
            <a:cxnLst>
              <a:cxn ang="T10">
                <a:pos x="T0" y="T1"/>
              </a:cxn>
              <a:cxn ang="T11">
                <a:pos x="T2" y="T3"/>
              </a:cxn>
              <a:cxn ang="T12">
                <a:pos x="T4" y="T5"/>
              </a:cxn>
              <a:cxn ang="T13">
                <a:pos x="T6" y="T7"/>
              </a:cxn>
              <a:cxn ang="T14">
                <a:pos x="T8" y="T9"/>
              </a:cxn>
            </a:cxnLst>
            <a:rect l="T15" t="T16" r="T17" b="T18"/>
            <a:pathLst>
              <a:path w="2414" h="235">
                <a:moveTo>
                  <a:pt x="131" y="0"/>
                </a:moveTo>
                <a:lnTo>
                  <a:pt x="0" y="234"/>
                </a:lnTo>
                <a:lnTo>
                  <a:pt x="2413" y="234"/>
                </a:lnTo>
                <a:lnTo>
                  <a:pt x="2282" y="0"/>
                </a:lnTo>
                <a:lnTo>
                  <a:pt x="131" y="0"/>
                </a:lnTo>
              </a:path>
            </a:pathLst>
          </a:custGeom>
          <a:solidFill>
            <a:schemeClr val="accent2"/>
          </a:solidFill>
          <a:ln w="9525" cap="rnd">
            <a:solidFill>
              <a:schemeClr val="bg2"/>
            </a:solidFill>
            <a:round/>
            <a:headEnd type="none" w="sm" len="sm"/>
            <a:tailEnd type="none" w="sm" len="sm"/>
          </a:ln>
        </p:spPr>
        <p:txBody>
          <a:bodyPr/>
          <a:lstStyle/>
          <a:p>
            <a:endParaRPr lang="en-GB" sz="1400">
              <a:solidFill>
                <a:schemeClr val="bg1"/>
              </a:solidFill>
            </a:endParaRPr>
          </a:p>
        </p:txBody>
      </p:sp>
      <p:sp>
        <p:nvSpPr>
          <p:cNvPr id="694318" name="Rectangle 45"/>
          <p:cNvSpPr>
            <a:spLocks noChangeArrowheads="1"/>
          </p:cNvSpPr>
          <p:nvPr/>
        </p:nvSpPr>
        <p:spPr bwMode="auto">
          <a:xfrm>
            <a:off x="5743575" y="5638316"/>
            <a:ext cx="1022350"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694319" name="Freeform 46"/>
          <p:cNvSpPr>
            <a:spLocks/>
          </p:cNvSpPr>
          <p:nvPr/>
        </p:nvSpPr>
        <p:spPr bwMode="blackWhite">
          <a:xfrm>
            <a:off x="4891088" y="5826839"/>
            <a:ext cx="2711450" cy="233362"/>
          </a:xfrm>
          <a:custGeom>
            <a:avLst/>
            <a:gdLst>
              <a:gd name="T0" fmla="*/ 2147483647 w 2676"/>
              <a:gd name="T1" fmla="*/ 0 h 235"/>
              <a:gd name="T2" fmla="*/ 0 w 2676"/>
              <a:gd name="T3" fmla="*/ 2147483647 h 235"/>
              <a:gd name="T4" fmla="*/ 2147483647 w 2676"/>
              <a:gd name="T5" fmla="*/ 2147483647 h 235"/>
              <a:gd name="T6" fmla="*/ 2147483647 w 2676"/>
              <a:gd name="T7" fmla="*/ 0 h 235"/>
              <a:gd name="T8" fmla="*/ 2147483647 w 2676"/>
              <a:gd name="T9" fmla="*/ 0 h 235"/>
              <a:gd name="T10" fmla="*/ 0 60000 65536"/>
              <a:gd name="T11" fmla="*/ 0 60000 65536"/>
              <a:gd name="T12" fmla="*/ 0 60000 65536"/>
              <a:gd name="T13" fmla="*/ 0 60000 65536"/>
              <a:gd name="T14" fmla="*/ 0 60000 65536"/>
              <a:gd name="T15" fmla="*/ 0 w 2676"/>
              <a:gd name="T16" fmla="*/ 0 h 235"/>
              <a:gd name="T17" fmla="*/ 2676 w 2676"/>
              <a:gd name="T18" fmla="*/ 235 h 235"/>
            </a:gdLst>
            <a:ahLst/>
            <a:cxnLst>
              <a:cxn ang="T10">
                <a:pos x="T0" y="T1"/>
              </a:cxn>
              <a:cxn ang="T11">
                <a:pos x="T2" y="T3"/>
              </a:cxn>
              <a:cxn ang="T12">
                <a:pos x="T4" y="T5"/>
              </a:cxn>
              <a:cxn ang="T13">
                <a:pos x="T6" y="T7"/>
              </a:cxn>
              <a:cxn ang="T14">
                <a:pos x="T8" y="T9"/>
              </a:cxn>
            </a:cxnLst>
            <a:rect l="T15" t="T16" r="T17" b="T18"/>
            <a:pathLst>
              <a:path w="2676" h="235">
                <a:moveTo>
                  <a:pt x="131" y="0"/>
                </a:moveTo>
                <a:lnTo>
                  <a:pt x="0" y="234"/>
                </a:lnTo>
                <a:lnTo>
                  <a:pt x="2675" y="234"/>
                </a:lnTo>
                <a:lnTo>
                  <a:pt x="2544" y="0"/>
                </a:lnTo>
                <a:lnTo>
                  <a:pt x="131" y="0"/>
                </a:lnTo>
              </a:path>
            </a:pathLst>
          </a:custGeom>
          <a:solidFill>
            <a:schemeClr val="accent1"/>
          </a:solidFill>
          <a:ln w="9525" cap="rnd">
            <a:solidFill>
              <a:schemeClr val="bg2"/>
            </a:solidFill>
            <a:round/>
            <a:headEnd type="none" w="sm" len="sm"/>
            <a:tailEnd type="none" w="sm" len="sm"/>
          </a:ln>
        </p:spPr>
        <p:txBody>
          <a:bodyPr/>
          <a:lstStyle/>
          <a:p>
            <a:endParaRPr lang="en-GB" sz="1400">
              <a:solidFill>
                <a:schemeClr val="bg1"/>
              </a:solidFill>
            </a:endParaRPr>
          </a:p>
        </p:txBody>
      </p:sp>
      <p:sp>
        <p:nvSpPr>
          <p:cNvPr id="694322" name="Rectangle 49"/>
          <p:cNvSpPr>
            <a:spLocks noChangeArrowheads="1"/>
          </p:cNvSpPr>
          <p:nvPr/>
        </p:nvSpPr>
        <p:spPr bwMode="auto">
          <a:xfrm>
            <a:off x="5694363" y="5871678"/>
            <a:ext cx="1116012" cy="175433"/>
          </a:xfrm>
          <a:prstGeom prst="rect">
            <a:avLst/>
          </a:prstGeom>
          <a:noFill/>
          <a:ln w="9525">
            <a:noFill/>
            <a:miter lim="800000"/>
            <a:headEnd/>
            <a:tailEnd/>
          </a:ln>
        </p:spPr>
        <p:txBody>
          <a:bodyPr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200" dirty="0">
                <a:solidFill>
                  <a:schemeClr val="bg1"/>
                </a:solidFill>
              </a:rPr>
              <a:t>Text</a:t>
            </a:r>
          </a:p>
        </p:txBody>
      </p:sp>
      <p:sp>
        <p:nvSpPr>
          <p:cNvPr id="53"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5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5297" name="Title 1"/>
          <p:cNvSpPr>
            <a:spLocks noGrp="1"/>
          </p:cNvSpPr>
          <p:nvPr>
            <p:ph type="title"/>
          </p:nvPr>
        </p:nvSpPr>
        <p:spPr>
          <a:xfrm>
            <a:off x="414338" y="446038"/>
            <a:ext cx="8330184" cy="333425"/>
          </a:xfrm>
        </p:spPr>
        <p:txBody>
          <a:bodyPr/>
          <a:lstStyle/>
          <a:p>
            <a:r>
              <a:rPr lang="nl-NL"/>
              <a:t>Triangles </a:t>
            </a:r>
            <a:r>
              <a:rPr lang="en-US"/>
              <a:t>—</a:t>
            </a:r>
            <a:r>
              <a:rPr lang="nl-NL" smtClean="0"/>
              <a:t> </a:t>
            </a:r>
            <a:r>
              <a:rPr lang="nl-NL"/>
              <a:t>more pyramids</a:t>
            </a:r>
          </a:p>
        </p:txBody>
      </p:sp>
      <p:grpSp>
        <p:nvGrpSpPr>
          <p:cNvPr id="2" name="Group 3"/>
          <p:cNvGrpSpPr>
            <a:grpSpLocks/>
          </p:cNvGrpSpPr>
          <p:nvPr/>
        </p:nvGrpSpPr>
        <p:grpSpPr bwMode="auto">
          <a:xfrm>
            <a:off x="2686050" y="1154113"/>
            <a:ext cx="1716088" cy="2289175"/>
            <a:chOff x="1692" y="727"/>
            <a:chExt cx="1081" cy="1442"/>
          </a:xfrm>
        </p:grpSpPr>
        <p:sp>
          <p:nvSpPr>
            <p:cNvPr id="5" name="Freeform 4"/>
            <p:cNvSpPr>
              <a:spLocks/>
            </p:cNvSpPr>
            <p:nvPr/>
          </p:nvSpPr>
          <p:spPr bwMode="gray">
            <a:xfrm>
              <a:off x="1692" y="1739"/>
              <a:ext cx="1081" cy="430"/>
            </a:xfrm>
            <a:custGeom>
              <a:avLst/>
              <a:gdLst>
                <a:gd name="T0" fmla="*/ 0 w 1633"/>
                <a:gd name="T1" fmla="*/ 429 h 429"/>
                <a:gd name="T2" fmla="*/ 1080 w 1633"/>
                <a:gd name="T3" fmla="*/ 429 h 429"/>
                <a:gd name="T4" fmla="*/ 917 w 1633"/>
                <a:gd name="T5" fmla="*/ 0 h 429"/>
                <a:gd name="T6" fmla="*/ 161 w 1633"/>
                <a:gd name="T7" fmla="*/ 0 h 429"/>
                <a:gd name="T8" fmla="*/ 0 w 1633"/>
                <a:gd name="T9" fmla="*/ 429 h 429"/>
                <a:gd name="T10" fmla="*/ 0 60000 65536"/>
                <a:gd name="T11" fmla="*/ 0 60000 65536"/>
                <a:gd name="T12" fmla="*/ 0 60000 65536"/>
                <a:gd name="T13" fmla="*/ 0 60000 65536"/>
                <a:gd name="T14" fmla="*/ 0 60000 65536"/>
                <a:gd name="T15" fmla="*/ 0 w 1633"/>
                <a:gd name="T16" fmla="*/ 0 h 429"/>
                <a:gd name="T17" fmla="*/ 1633 w 1633"/>
                <a:gd name="T18" fmla="*/ 429 h 429"/>
              </a:gdLst>
              <a:ahLst/>
              <a:cxnLst>
                <a:cxn ang="T10">
                  <a:pos x="T0" y="T1"/>
                </a:cxn>
                <a:cxn ang="T11">
                  <a:pos x="T2" y="T3"/>
                </a:cxn>
                <a:cxn ang="T12">
                  <a:pos x="T4" y="T5"/>
                </a:cxn>
                <a:cxn ang="T13">
                  <a:pos x="T6" y="T7"/>
                </a:cxn>
                <a:cxn ang="T14">
                  <a:pos x="T8" y="T9"/>
                </a:cxn>
              </a:cxnLst>
              <a:rect l="T15" t="T16" r="T17" b="T18"/>
              <a:pathLst>
                <a:path w="1633" h="429">
                  <a:moveTo>
                    <a:pt x="0" y="428"/>
                  </a:moveTo>
                  <a:lnTo>
                    <a:pt x="1632" y="428"/>
                  </a:lnTo>
                  <a:lnTo>
                    <a:pt x="1385" y="0"/>
                  </a:lnTo>
                  <a:lnTo>
                    <a:pt x="243" y="0"/>
                  </a:lnTo>
                  <a:lnTo>
                    <a:pt x="0" y="428"/>
                  </a:lnTo>
                </a:path>
              </a:pathLst>
            </a:custGeom>
            <a:solidFill>
              <a:schemeClr val="accent3"/>
            </a:solidFill>
            <a:ln w="12700" cap="rnd">
              <a:noFill/>
              <a:round/>
              <a:headEnd/>
              <a:tailEnd/>
            </a:ln>
          </p:spPr>
          <p:txBody>
            <a:bodyPr/>
            <a:lstStyle/>
            <a:p>
              <a:pPr>
                <a:defRPr/>
              </a:pPr>
              <a:endParaRPr lang="en-GB" sz="1400">
                <a:solidFill>
                  <a:schemeClr val="bg1"/>
                </a:solidFill>
              </a:endParaRPr>
            </a:p>
          </p:txBody>
        </p:sp>
        <p:sp>
          <p:nvSpPr>
            <p:cNvPr id="695330" name="Freeform 5"/>
            <p:cNvSpPr>
              <a:spLocks/>
            </p:cNvSpPr>
            <p:nvPr/>
          </p:nvSpPr>
          <p:spPr bwMode="gray">
            <a:xfrm>
              <a:off x="1881" y="1233"/>
              <a:ext cx="703" cy="439"/>
            </a:xfrm>
            <a:custGeom>
              <a:avLst/>
              <a:gdLst>
                <a:gd name="T0" fmla="*/ 0 w 1062"/>
                <a:gd name="T1" fmla="*/ 442 h 438"/>
                <a:gd name="T2" fmla="*/ 135 w 1062"/>
                <a:gd name="T3" fmla="*/ 442 h 438"/>
                <a:gd name="T4" fmla="*/ 103 w 1062"/>
                <a:gd name="T5" fmla="*/ 0 h 438"/>
                <a:gd name="T6" fmla="*/ 32 w 1062"/>
                <a:gd name="T7" fmla="*/ 0 h 438"/>
                <a:gd name="T8" fmla="*/ 0 w 1062"/>
                <a:gd name="T9" fmla="*/ 442 h 438"/>
                <a:gd name="T10" fmla="*/ 0 60000 65536"/>
                <a:gd name="T11" fmla="*/ 0 60000 65536"/>
                <a:gd name="T12" fmla="*/ 0 60000 65536"/>
                <a:gd name="T13" fmla="*/ 0 60000 65536"/>
                <a:gd name="T14" fmla="*/ 0 60000 65536"/>
                <a:gd name="T15" fmla="*/ 0 w 1062"/>
                <a:gd name="T16" fmla="*/ 0 h 438"/>
                <a:gd name="T17" fmla="*/ 1062 w 1062"/>
                <a:gd name="T18" fmla="*/ 438 h 438"/>
              </a:gdLst>
              <a:ahLst/>
              <a:cxnLst>
                <a:cxn ang="T10">
                  <a:pos x="T0" y="T1"/>
                </a:cxn>
                <a:cxn ang="T11">
                  <a:pos x="T2" y="T3"/>
                </a:cxn>
                <a:cxn ang="T12">
                  <a:pos x="T4" y="T5"/>
                </a:cxn>
                <a:cxn ang="T13">
                  <a:pos x="T6" y="T7"/>
                </a:cxn>
                <a:cxn ang="T14">
                  <a:pos x="T8" y="T9"/>
                </a:cxn>
              </a:cxnLst>
              <a:rect l="T15" t="T16" r="T17" b="T18"/>
              <a:pathLst>
                <a:path w="1062" h="438">
                  <a:moveTo>
                    <a:pt x="0" y="437"/>
                  </a:moveTo>
                  <a:lnTo>
                    <a:pt x="1061" y="437"/>
                  </a:lnTo>
                  <a:lnTo>
                    <a:pt x="815" y="0"/>
                  </a:lnTo>
                  <a:lnTo>
                    <a:pt x="247" y="0"/>
                  </a:lnTo>
                  <a:lnTo>
                    <a:pt x="0" y="437"/>
                  </a:lnTo>
                </a:path>
              </a:pathLst>
            </a:custGeom>
            <a:solidFill>
              <a:schemeClr val="accent2"/>
            </a:solidFill>
            <a:ln w="12700" cap="rnd">
              <a:noFill/>
              <a:round/>
              <a:headEnd/>
              <a:tailEnd/>
            </a:ln>
          </p:spPr>
          <p:txBody>
            <a:bodyPr/>
            <a:lstStyle/>
            <a:p>
              <a:endParaRPr lang="en-GB" sz="1400">
                <a:solidFill>
                  <a:schemeClr val="bg1"/>
                </a:solidFill>
              </a:endParaRPr>
            </a:p>
          </p:txBody>
        </p:sp>
        <p:sp>
          <p:nvSpPr>
            <p:cNvPr id="695331" name="Freeform 6"/>
            <p:cNvSpPr>
              <a:spLocks/>
            </p:cNvSpPr>
            <p:nvPr/>
          </p:nvSpPr>
          <p:spPr bwMode="gray">
            <a:xfrm>
              <a:off x="2069" y="727"/>
              <a:ext cx="327" cy="436"/>
            </a:xfrm>
            <a:custGeom>
              <a:avLst/>
              <a:gdLst>
                <a:gd name="T0" fmla="*/ 0 w 494"/>
                <a:gd name="T1" fmla="*/ 439 h 435"/>
                <a:gd name="T2" fmla="*/ 63 w 494"/>
                <a:gd name="T3" fmla="*/ 439 h 435"/>
                <a:gd name="T4" fmla="*/ 32 w 494"/>
                <a:gd name="T5" fmla="*/ 0 h 435"/>
                <a:gd name="T6" fmla="*/ 0 w 494"/>
                <a:gd name="T7" fmla="*/ 439 h 435"/>
                <a:gd name="T8" fmla="*/ 0 60000 65536"/>
                <a:gd name="T9" fmla="*/ 0 60000 65536"/>
                <a:gd name="T10" fmla="*/ 0 60000 65536"/>
                <a:gd name="T11" fmla="*/ 0 60000 65536"/>
                <a:gd name="T12" fmla="*/ 0 w 494"/>
                <a:gd name="T13" fmla="*/ 0 h 435"/>
                <a:gd name="T14" fmla="*/ 494 w 494"/>
                <a:gd name="T15" fmla="*/ 435 h 435"/>
              </a:gdLst>
              <a:ahLst/>
              <a:cxnLst>
                <a:cxn ang="T8">
                  <a:pos x="T0" y="T1"/>
                </a:cxn>
                <a:cxn ang="T9">
                  <a:pos x="T2" y="T3"/>
                </a:cxn>
                <a:cxn ang="T10">
                  <a:pos x="T4" y="T5"/>
                </a:cxn>
                <a:cxn ang="T11">
                  <a:pos x="T6" y="T7"/>
                </a:cxn>
              </a:cxnLst>
              <a:rect l="T12" t="T13" r="T14" b="T15"/>
              <a:pathLst>
                <a:path w="494" h="435">
                  <a:moveTo>
                    <a:pt x="0" y="434"/>
                  </a:moveTo>
                  <a:lnTo>
                    <a:pt x="493" y="434"/>
                  </a:lnTo>
                  <a:lnTo>
                    <a:pt x="247" y="0"/>
                  </a:lnTo>
                  <a:lnTo>
                    <a:pt x="0" y="434"/>
                  </a:lnTo>
                </a:path>
              </a:pathLst>
            </a:custGeom>
            <a:solidFill>
              <a:schemeClr val="accent1"/>
            </a:solidFill>
            <a:ln w="12700" cap="rnd">
              <a:noFill/>
              <a:round/>
              <a:headEnd/>
              <a:tailEnd/>
            </a:ln>
          </p:spPr>
          <p:txBody>
            <a:bodyPr/>
            <a:lstStyle/>
            <a:p>
              <a:endParaRPr lang="en-GB" sz="1400">
                <a:solidFill>
                  <a:schemeClr val="bg1"/>
                </a:solidFill>
              </a:endParaRPr>
            </a:p>
          </p:txBody>
        </p:sp>
      </p:grpSp>
      <p:grpSp>
        <p:nvGrpSpPr>
          <p:cNvPr id="3" name="Group 7"/>
          <p:cNvGrpSpPr>
            <a:grpSpLocks/>
          </p:cNvGrpSpPr>
          <p:nvPr/>
        </p:nvGrpSpPr>
        <p:grpSpPr bwMode="auto">
          <a:xfrm>
            <a:off x="579438" y="1154113"/>
            <a:ext cx="1716087" cy="2289175"/>
            <a:chOff x="365" y="727"/>
            <a:chExt cx="1081" cy="1442"/>
          </a:xfrm>
        </p:grpSpPr>
        <p:sp>
          <p:nvSpPr>
            <p:cNvPr id="695326" name="Freeform 8"/>
            <p:cNvSpPr>
              <a:spLocks/>
            </p:cNvSpPr>
            <p:nvPr/>
          </p:nvSpPr>
          <p:spPr bwMode="gray">
            <a:xfrm>
              <a:off x="365" y="1739"/>
              <a:ext cx="1081" cy="430"/>
            </a:xfrm>
            <a:custGeom>
              <a:avLst/>
              <a:gdLst>
                <a:gd name="T0" fmla="*/ 0 w 1633"/>
                <a:gd name="T1" fmla="*/ 433 h 429"/>
                <a:gd name="T2" fmla="*/ 207 w 1633"/>
                <a:gd name="T3" fmla="*/ 433 h 429"/>
                <a:gd name="T4" fmla="*/ 176 w 1633"/>
                <a:gd name="T5" fmla="*/ 0 h 429"/>
                <a:gd name="T6" fmla="*/ 31 w 1633"/>
                <a:gd name="T7" fmla="*/ 0 h 429"/>
                <a:gd name="T8" fmla="*/ 0 w 1633"/>
                <a:gd name="T9" fmla="*/ 433 h 429"/>
                <a:gd name="T10" fmla="*/ 0 60000 65536"/>
                <a:gd name="T11" fmla="*/ 0 60000 65536"/>
                <a:gd name="T12" fmla="*/ 0 60000 65536"/>
                <a:gd name="T13" fmla="*/ 0 60000 65536"/>
                <a:gd name="T14" fmla="*/ 0 60000 65536"/>
                <a:gd name="T15" fmla="*/ 0 w 1633"/>
                <a:gd name="T16" fmla="*/ 0 h 429"/>
                <a:gd name="T17" fmla="*/ 1633 w 1633"/>
                <a:gd name="T18" fmla="*/ 429 h 429"/>
              </a:gdLst>
              <a:ahLst/>
              <a:cxnLst>
                <a:cxn ang="T10">
                  <a:pos x="T0" y="T1"/>
                </a:cxn>
                <a:cxn ang="T11">
                  <a:pos x="T2" y="T3"/>
                </a:cxn>
                <a:cxn ang="T12">
                  <a:pos x="T4" y="T5"/>
                </a:cxn>
                <a:cxn ang="T13">
                  <a:pos x="T6" y="T7"/>
                </a:cxn>
                <a:cxn ang="T14">
                  <a:pos x="T8" y="T9"/>
                </a:cxn>
              </a:cxnLst>
              <a:rect l="T15" t="T16" r="T17" b="T18"/>
              <a:pathLst>
                <a:path w="1633" h="429">
                  <a:moveTo>
                    <a:pt x="0" y="428"/>
                  </a:moveTo>
                  <a:lnTo>
                    <a:pt x="1632" y="428"/>
                  </a:lnTo>
                  <a:lnTo>
                    <a:pt x="1385" y="0"/>
                  </a:lnTo>
                  <a:lnTo>
                    <a:pt x="243" y="0"/>
                  </a:lnTo>
                  <a:lnTo>
                    <a:pt x="0" y="428"/>
                  </a:lnTo>
                </a:path>
              </a:pathLst>
            </a:custGeom>
            <a:solidFill>
              <a:schemeClr val="accent1"/>
            </a:solidFill>
            <a:ln w="12700" cap="rnd">
              <a:noFill/>
              <a:round/>
              <a:headEnd/>
              <a:tailEnd/>
            </a:ln>
          </p:spPr>
          <p:txBody>
            <a:bodyPr/>
            <a:lstStyle/>
            <a:p>
              <a:endParaRPr lang="en-GB" sz="1400">
                <a:solidFill>
                  <a:schemeClr val="bg1"/>
                </a:solidFill>
              </a:endParaRPr>
            </a:p>
          </p:txBody>
        </p:sp>
        <p:sp>
          <p:nvSpPr>
            <p:cNvPr id="695327" name="Freeform 9"/>
            <p:cNvSpPr>
              <a:spLocks/>
            </p:cNvSpPr>
            <p:nvPr/>
          </p:nvSpPr>
          <p:spPr bwMode="gray">
            <a:xfrm>
              <a:off x="554" y="1233"/>
              <a:ext cx="703" cy="439"/>
            </a:xfrm>
            <a:custGeom>
              <a:avLst/>
              <a:gdLst>
                <a:gd name="T0" fmla="*/ 0 w 1062"/>
                <a:gd name="T1" fmla="*/ 442 h 438"/>
                <a:gd name="T2" fmla="*/ 135 w 1062"/>
                <a:gd name="T3" fmla="*/ 442 h 438"/>
                <a:gd name="T4" fmla="*/ 103 w 1062"/>
                <a:gd name="T5" fmla="*/ 0 h 438"/>
                <a:gd name="T6" fmla="*/ 32 w 1062"/>
                <a:gd name="T7" fmla="*/ 0 h 438"/>
                <a:gd name="T8" fmla="*/ 0 w 1062"/>
                <a:gd name="T9" fmla="*/ 442 h 438"/>
                <a:gd name="T10" fmla="*/ 0 60000 65536"/>
                <a:gd name="T11" fmla="*/ 0 60000 65536"/>
                <a:gd name="T12" fmla="*/ 0 60000 65536"/>
                <a:gd name="T13" fmla="*/ 0 60000 65536"/>
                <a:gd name="T14" fmla="*/ 0 60000 65536"/>
                <a:gd name="T15" fmla="*/ 0 w 1062"/>
                <a:gd name="T16" fmla="*/ 0 h 438"/>
                <a:gd name="T17" fmla="*/ 1062 w 1062"/>
                <a:gd name="T18" fmla="*/ 438 h 438"/>
              </a:gdLst>
              <a:ahLst/>
              <a:cxnLst>
                <a:cxn ang="T10">
                  <a:pos x="T0" y="T1"/>
                </a:cxn>
                <a:cxn ang="T11">
                  <a:pos x="T2" y="T3"/>
                </a:cxn>
                <a:cxn ang="T12">
                  <a:pos x="T4" y="T5"/>
                </a:cxn>
                <a:cxn ang="T13">
                  <a:pos x="T6" y="T7"/>
                </a:cxn>
                <a:cxn ang="T14">
                  <a:pos x="T8" y="T9"/>
                </a:cxn>
              </a:cxnLst>
              <a:rect l="T15" t="T16" r="T17" b="T18"/>
              <a:pathLst>
                <a:path w="1062" h="438">
                  <a:moveTo>
                    <a:pt x="0" y="437"/>
                  </a:moveTo>
                  <a:lnTo>
                    <a:pt x="1061" y="437"/>
                  </a:lnTo>
                  <a:lnTo>
                    <a:pt x="815" y="0"/>
                  </a:lnTo>
                  <a:lnTo>
                    <a:pt x="247" y="0"/>
                  </a:lnTo>
                  <a:lnTo>
                    <a:pt x="0" y="437"/>
                  </a:lnTo>
                </a:path>
              </a:pathLst>
            </a:custGeom>
            <a:solidFill>
              <a:schemeClr val="accent2"/>
            </a:solidFill>
            <a:ln w="12700" cap="rnd">
              <a:noFill/>
              <a:round/>
              <a:headEnd/>
              <a:tailEnd/>
            </a:ln>
          </p:spPr>
          <p:txBody>
            <a:bodyPr/>
            <a:lstStyle/>
            <a:p>
              <a:endParaRPr lang="en-GB" sz="1400">
                <a:solidFill>
                  <a:schemeClr val="bg1"/>
                </a:solidFill>
              </a:endParaRPr>
            </a:p>
          </p:txBody>
        </p:sp>
        <p:sp>
          <p:nvSpPr>
            <p:cNvPr id="11" name="Freeform 10"/>
            <p:cNvSpPr>
              <a:spLocks/>
            </p:cNvSpPr>
            <p:nvPr/>
          </p:nvSpPr>
          <p:spPr bwMode="gray">
            <a:xfrm>
              <a:off x="742" y="727"/>
              <a:ext cx="327" cy="436"/>
            </a:xfrm>
            <a:custGeom>
              <a:avLst/>
              <a:gdLst>
                <a:gd name="T0" fmla="*/ 0 w 494"/>
                <a:gd name="T1" fmla="*/ 435 h 435"/>
                <a:gd name="T2" fmla="*/ 326 w 494"/>
                <a:gd name="T3" fmla="*/ 435 h 435"/>
                <a:gd name="T4" fmla="*/ 164 w 494"/>
                <a:gd name="T5" fmla="*/ 0 h 435"/>
                <a:gd name="T6" fmla="*/ 0 w 494"/>
                <a:gd name="T7" fmla="*/ 435 h 435"/>
                <a:gd name="T8" fmla="*/ 0 60000 65536"/>
                <a:gd name="T9" fmla="*/ 0 60000 65536"/>
                <a:gd name="T10" fmla="*/ 0 60000 65536"/>
                <a:gd name="T11" fmla="*/ 0 60000 65536"/>
                <a:gd name="T12" fmla="*/ 0 w 494"/>
                <a:gd name="T13" fmla="*/ 0 h 435"/>
                <a:gd name="T14" fmla="*/ 494 w 494"/>
                <a:gd name="T15" fmla="*/ 435 h 435"/>
              </a:gdLst>
              <a:ahLst/>
              <a:cxnLst>
                <a:cxn ang="T8">
                  <a:pos x="T0" y="T1"/>
                </a:cxn>
                <a:cxn ang="T9">
                  <a:pos x="T2" y="T3"/>
                </a:cxn>
                <a:cxn ang="T10">
                  <a:pos x="T4" y="T5"/>
                </a:cxn>
                <a:cxn ang="T11">
                  <a:pos x="T6" y="T7"/>
                </a:cxn>
              </a:cxnLst>
              <a:rect l="T12" t="T13" r="T14" b="T15"/>
              <a:pathLst>
                <a:path w="494" h="435">
                  <a:moveTo>
                    <a:pt x="0" y="434"/>
                  </a:moveTo>
                  <a:lnTo>
                    <a:pt x="493" y="434"/>
                  </a:lnTo>
                  <a:lnTo>
                    <a:pt x="247" y="0"/>
                  </a:lnTo>
                  <a:lnTo>
                    <a:pt x="0" y="434"/>
                  </a:lnTo>
                </a:path>
              </a:pathLst>
            </a:custGeom>
            <a:solidFill>
              <a:schemeClr val="accent3"/>
            </a:solidFill>
            <a:ln w="12700" cap="rnd">
              <a:noFill/>
              <a:round/>
              <a:headEnd/>
              <a:tailEnd/>
            </a:ln>
          </p:spPr>
          <p:txBody>
            <a:bodyPr/>
            <a:lstStyle/>
            <a:p>
              <a:pPr>
                <a:defRPr/>
              </a:pPr>
              <a:endParaRPr lang="en-GB" sz="1400">
                <a:solidFill>
                  <a:schemeClr val="bg1"/>
                </a:solidFill>
              </a:endParaRPr>
            </a:p>
          </p:txBody>
        </p:sp>
      </p:grpSp>
      <p:grpSp>
        <p:nvGrpSpPr>
          <p:cNvPr id="4" name="Group 11"/>
          <p:cNvGrpSpPr>
            <a:grpSpLocks/>
          </p:cNvGrpSpPr>
          <p:nvPr/>
        </p:nvGrpSpPr>
        <p:grpSpPr bwMode="auto">
          <a:xfrm>
            <a:off x="4784725" y="1177925"/>
            <a:ext cx="3841750" cy="5111750"/>
            <a:chOff x="3014" y="742"/>
            <a:chExt cx="2420" cy="3220"/>
          </a:xfrm>
        </p:grpSpPr>
        <p:sp>
          <p:nvSpPr>
            <p:cNvPr id="695322" name="Freeform 12"/>
            <p:cNvSpPr>
              <a:spLocks/>
            </p:cNvSpPr>
            <p:nvPr/>
          </p:nvSpPr>
          <p:spPr bwMode="gray">
            <a:xfrm>
              <a:off x="3014" y="3083"/>
              <a:ext cx="2420" cy="879"/>
            </a:xfrm>
            <a:custGeom>
              <a:avLst/>
              <a:gdLst>
                <a:gd name="T0" fmla="*/ 0 w 2449"/>
                <a:gd name="T1" fmla="*/ 839 h 889"/>
                <a:gd name="T2" fmla="*/ 2307 w 2449"/>
                <a:gd name="T3" fmla="*/ 839 h 889"/>
                <a:gd name="T4" fmla="*/ 1970 w 2449"/>
                <a:gd name="T5" fmla="*/ 0 h 889"/>
                <a:gd name="T6" fmla="*/ 325 w 2449"/>
                <a:gd name="T7" fmla="*/ 0 h 889"/>
                <a:gd name="T8" fmla="*/ 0 w 2449"/>
                <a:gd name="T9" fmla="*/ 839 h 889"/>
                <a:gd name="T10" fmla="*/ 0 60000 65536"/>
                <a:gd name="T11" fmla="*/ 0 60000 65536"/>
                <a:gd name="T12" fmla="*/ 0 60000 65536"/>
                <a:gd name="T13" fmla="*/ 0 60000 65536"/>
                <a:gd name="T14" fmla="*/ 0 60000 65536"/>
                <a:gd name="T15" fmla="*/ 0 w 2449"/>
                <a:gd name="T16" fmla="*/ 0 h 889"/>
                <a:gd name="T17" fmla="*/ 2449 w 2449"/>
                <a:gd name="T18" fmla="*/ 889 h 889"/>
              </a:gdLst>
              <a:ahLst/>
              <a:cxnLst>
                <a:cxn ang="T10">
                  <a:pos x="T0" y="T1"/>
                </a:cxn>
                <a:cxn ang="T11">
                  <a:pos x="T2" y="T3"/>
                </a:cxn>
                <a:cxn ang="T12">
                  <a:pos x="T4" y="T5"/>
                </a:cxn>
                <a:cxn ang="T13">
                  <a:pos x="T6" y="T7"/>
                </a:cxn>
                <a:cxn ang="T14">
                  <a:pos x="T8" y="T9"/>
                </a:cxn>
              </a:cxnLst>
              <a:rect l="T15" t="T16" r="T17" b="T18"/>
              <a:pathLst>
                <a:path w="2449" h="889">
                  <a:moveTo>
                    <a:pt x="0" y="889"/>
                  </a:moveTo>
                  <a:lnTo>
                    <a:pt x="2449" y="889"/>
                  </a:lnTo>
                  <a:lnTo>
                    <a:pt x="2091" y="0"/>
                  </a:lnTo>
                  <a:lnTo>
                    <a:pt x="345" y="0"/>
                  </a:lnTo>
                  <a:lnTo>
                    <a:pt x="0" y="889"/>
                  </a:lnTo>
                </a:path>
              </a:pathLst>
            </a:custGeom>
            <a:solidFill>
              <a:schemeClr val="accent1"/>
            </a:solidFill>
            <a:ln w="12700" cap="rnd">
              <a:noFill/>
              <a:round/>
              <a:headEnd/>
              <a:tailEnd/>
            </a:ln>
          </p:spPr>
          <p:txBody>
            <a:bodyPr/>
            <a:lstStyle/>
            <a:p>
              <a:endParaRPr lang="en-GB" sz="1400">
                <a:solidFill>
                  <a:schemeClr val="bg1"/>
                </a:solidFill>
              </a:endParaRPr>
            </a:p>
          </p:txBody>
        </p:sp>
        <p:sp>
          <p:nvSpPr>
            <p:cNvPr id="14" name="Freeform 13"/>
            <p:cNvSpPr>
              <a:spLocks/>
            </p:cNvSpPr>
            <p:nvPr/>
          </p:nvSpPr>
          <p:spPr bwMode="gray">
            <a:xfrm>
              <a:off x="3726" y="1367"/>
              <a:ext cx="999" cy="704"/>
            </a:xfrm>
            <a:custGeom>
              <a:avLst/>
              <a:gdLst>
                <a:gd name="T0" fmla="*/ 18 w 1008"/>
                <a:gd name="T1" fmla="*/ 704 h 713"/>
                <a:gd name="T2" fmla="*/ 996 w 1008"/>
                <a:gd name="T3" fmla="*/ 704 h 713"/>
                <a:gd name="T4" fmla="*/ 720 w 1008"/>
                <a:gd name="T5" fmla="*/ 0 h 713"/>
                <a:gd name="T6" fmla="*/ 258 w 1008"/>
                <a:gd name="T7" fmla="*/ 0 h 713"/>
                <a:gd name="T8" fmla="*/ 0 w 1008"/>
                <a:gd name="T9" fmla="*/ 695 h 713"/>
                <a:gd name="T10" fmla="*/ 0 60000 65536"/>
                <a:gd name="T11" fmla="*/ 0 60000 65536"/>
                <a:gd name="T12" fmla="*/ 0 60000 65536"/>
                <a:gd name="T13" fmla="*/ 0 60000 65536"/>
                <a:gd name="T14" fmla="*/ 0 60000 65536"/>
                <a:gd name="T15" fmla="*/ 0 w 1008"/>
                <a:gd name="T16" fmla="*/ 0 h 713"/>
                <a:gd name="T17" fmla="*/ 1008 w 1008"/>
                <a:gd name="T18" fmla="*/ 713 h 713"/>
              </a:gdLst>
              <a:ahLst/>
              <a:cxnLst>
                <a:cxn ang="T10">
                  <a:pos x="T0" y="T1"/>
                </a:cxn>
                <a:cxn ang="T11">
                  <a:pos x="T2" y="T3"/>
                </a:cxn>
                <a:cxn ang="T12">
                  <a:pos x="T4" y="T5"/>
                </a:cxn>
                <a:cxn ang="T13">
                  <a:pos x="T6" y="T7"/>
                </a:cxn>
                <a:cxn ang="T14">
                  <a:pos x="T8" y="T9"/>
                </a:cxn>
              </a:cxnLst>
              <a:rect l="T15" t="T16" r="T17" b="T18"/>
              <a:pathLst>
                <a:path w="1008" h="713">
                  <a:moveTo>
                    <a:pt x="18" y="713"/>
                  </a:moveTo>
                  <a:lnTo>
                    <a:pt x="1008" y="713"/>
                  </a:lnTo>
                  <a:lnTo>
                    <a:pt x="729" y="0"/>
                  </a:lnTo>
                  <a:lnTo>
                    <a:pt x="261" y="0"/>
                  </a:lnTo>
                  <a:lnTo>
                    <a:pt x="0" y="704"/>
                  </a:lnTo>
                </a:path>
              </a:pathLst>
            </a:custGeom>
            <a:solidFill>
              <a:schemeClr val="accent3"/>
            </a:solidFill>
            <a:ln w="12700" cap="rnd">
              <a:noFill/>
              <a:round/>
              <a:headEnd/>
              <a:tailEnd/>
            </a:ln>
          </p:spPr>
          <p:txBody>
            <a:bodyPr/>
            <a:lstStyle/>
            <a:p>
              <a:pPr>
                <a:defRPr/>
              </a:pPr>
              <a:endParaRPr lang="en-GB" sz="1400">
                <a:solidFill>
                  <a:schemeClr val="bg1"/>
                </a:solidFill>
              </a:endParaRPr>
            </a:p>
          </p:txBody>
        </p:sp>
        <p:sp>
          <p:nvSpPr>
            <p:cNvPr id="15" name="Freeform 14"/>
            <p:cNvSpPr>
              <a:spLocks/>
            </p:cNvSpPr>
            <p:nvPr/>
          </p:nvSpPr>
          <p:spPr bwMode="gray">
            <a:xfrm>
              <a:off x="4024" y="742"/>
              <a:ext cx="401" cy="518"/>
            </a:xfrm>
            <a:custGeom>
              <a:avLst/>
              <a:gdLst>
                <a:gd name="T0" fmla="*/ 9 w 405"/>
                <a:gd name="T1" fmla="*/ 518 h 524"/>
                <a:gd name="T2" fmla="*/ 400 w 405"/>
                <a:gd name="T3" fmla="*/ 518 h 524"/>
                <a:gd name="T4" fmla="*/ 203 w 405"/>
                <a:gd name="T5" fmla="*/ 0 h 524"/>
                <a:gd name="T6" fmla="*/ 0 w 405"/>
                <a:gd name="T7" fmla="*/ 509 h 524"/>
                <a:gd name="T8" fmla="*/ 0 60000 65536"/>
                <a:gd name="T9" fmla="*/ 0 60000 65536"/>
                <a:gd name="T10" fmla="*/ 0 60000 65536"/>
                <a:gd name="T11" fmla="*/ 0 60000 65536"/>
                <a:gd name="T12" fmla="*/ 0 w 405"/>
                <a:gd name="T13" fmla="*/ 0 h 524"/>
                <a:gd name="T14" fmla="*/ 405 w 405"/>
                <a:gd name="T15" fmla="*/ 524 h 524"/>
              </a:gdLst>
              <a:ahLst/>
              <a:cxnLst>
                <a:cxn ang="T8">
                  <a:pos x="T0" y="T1"/>
                </a:cxn>
                <a:cxn ang="T9">
                  <a:pos x="T2" y="T3"/>
                </a:cxn>
                <a:cxn ang="T10">
                  <a:pos x="T4" y="T5"/>
                </a:cxn>
                <a:cxn ang="T11">
                  <a:pos x="T6" y="T7"/>
                </a:cxn>
              </a:cxnLst>
              <a:rect l="T12" t="T13" r="T14" b="T15"/>
              <a:pathLst>
                <a:path w="405" h="524">
                  <a:moveTo>
                    <a:pt x="9" y="524"/>
                  </a:moveTo>
                  <a:lnTo>
                    <a:pt x="405" y="524"/>
                  </a:lnTo>
                  <a:lnTo>
                    <a:pt x="206" y="0"/>
                  </a:lnTo>
                  <a:lnTo>
                    <a:pt x="0" y="515"/>
                  </a:lnTo>
                </a:path>
              </a:pathLst>
            </a:custGeom>
            <a:solidFill>
              <a:schemeClr val="accent4"/>
            </a:solidFill>
            <a:ln w="12700" cap="rnd">
              <a:noFill/>
              <a:round/>
              <a:headEnd/>
              <a:tailEnd/>
            </a:ln>
          </p:spPr>
          <p:txBody>
            <a:bodyPr/>
            <a:lstStyle/>
            <a:p>
              <a:pPr>
                <a:defRPr/>
              </a:pPr>
              <a:endParaRPr lang="en-GB" sz="1400">
                <a:solidFill>
                  <a:schemeClr val="bg1"/>
                </a:solidFill>
              </a:endParaRPr>
            </a:p>
          </p:txBody>
        </p:sp>
        <p:sp>
          <p:nvSpPr>
            <p:cNvPr id="695325" name="Freeform 15"/>
            <p:cNvSpPr>
              <a:spLocks/>
            </p:cNvSpPr>
            <p:nvPr/>
          </p:nvSpPr>
          <p:spPr bwMode="gray">
            <a:xfrm>
              <a:off x="3396" y="2176"/>
              <a:ext cx="1656" cy="796"/>
            </a:xfrm>
            <a:custGeom>
              <a:avLst/>
              <a:gdLst>
                <a:gd name="T0" fmla="*/ 0 w 1676"/>
                <a:gd name="T1" fmla="*/ 760 h 805"/>
                <a:gd name="T2" fmla="*/ 1578 w 1676"/>
                <a:gd name="T3" fmla="*/ 760 h 805"/>
                <a:gd name="T4" fmla="*/ 1282 w 1676"/>
                <a:gd name="T5" fmla="*/ 0 h 805"/>
                <a:gd name="T6" fmla="*/ 282 w 1676"/>
                <a:gd name="T7" fmla="*/ 0 h 805"/>
                <a:gd name="T8" fmla="*/ 0 w 1676"/>
                <a:gd name="T9" fmla="*/ 760 h 805"/>
                <a:gd name="T10" fmla="*/ 0 60000 65536"/>
                <a:gd name="T11" fmla="*/ 0 60000 65536"/>
                <a:gd name="T12" fmla="*/ 0 60000 65536"/>
                <a:gd name="T13" fmla="*/ 0 60000 65536"/>
                <a:gd name="T14" fmla="*/ 0 60000 65536"/>
                <a:gd name="T15" fmla="*/ 0 w 1676"/>
                <a:gd name="T16" fmla="*/ 0 h 805"/>
                <a:gd name="T17" fmla="*/ 1676 w 1676"/>
                <a:gd name="T18" fmla="*/ 805 h 805"/>
              </a:gdLst>
              <a:ahLst/>
              <a:cxnLst>
                <a:cxn ang="T10">
                  <a:pos x="T0" y="T1"/>
                </a:cxn>
                <a:cxn ang="T11">
                  <a:pos x="T2" y="T3"/>
                </a:cxn>
                <a:cxn ang="T12">
                  <a:pos x="T4" y="T5"/>
                </a:cxn>
                <a:cxn ang="T13">
                  <a:pos x="T6" y="T7"/>
                </a:cxn>
                <a:cxn ang="T14">
                  <a:pos x="T8" y="T9"/>
                </a:cxn>
              </a:cxnLst>
              <a:rect l="T15" t="T16" r="T17" b="T18"/>
              <a:pathLst>
                <a:path w="1676" h="805">
                  <a:moveTo>
                    <a:pt x="0" y="805"/>
                  </a:moveTo>
                  <a:lnTo>
                    <a:pt x="1676" y="805"/>
                  </a:lnTo>
                  <a:lnTo>
                    <a:pt x="1361" y="0"/>
                  </a:lnTo>
                  <a:lnTo>
                    <a:pt x="299" y="0"/>
                  </a:lnTo>
                  <a:lnTo>
                    <a:pt x="0" y="805"/>
                  </a:lnTo>
                </a:path>
              </a:pathLst>
            </a:custGeom>
            <a:solidFill>
              <a:schemeClr val="accent2"/>
            </a:solidFill>
            <a:ln w="12700" cap="rnd">
              <a:noFill/>
              <a:round/>
              <a:headEnd/>
              <a:tailEnd/>
            </a:ln>
          </p:spPr>
          <p:txBody>
            <a:bodyPr/>
            <a:lstStyle/>
            <a:p>
              <a:endParaRPr lang="en-GB" sz="1400">
                <a:solidFill>
                  <a:schemeClr val="bg1"/>
                </a:solidFill>
              </a:endParaRPr>
            </a:p>
          </p:txBody>
        </p:sp>
      </p:grpSp>
      <p:grpSp>
        <p:nvGrpSpPr>
          <p:cNvPr id="6" name="Group 16"/>
          <p:cNvGrpSpPr>
            <a:grpSpLocks/>
          </p:cNvGrpSpPr>
          <p:nvPr/>
        </p:nvGrpSpPr>
        <p:grpSpPr bwMode="auto">
          <a:xfrm>
            <a:off x="579438" y="3759994"/>
            <a:ext cx="1706562" cy="2268537"/>
            <a:chOff x="365" y="2533"/>
            <a:chExt cx="1075" cy="1429"/>
          </a:xfrm>
        </p:grpSpPr>
        <p:sp>
          <p:nvSpPr>
            <p:cNvPr id="695318" name="Freeform 17"/>
            <p:cNvSpPr>
              <a:spLocks/>
            </p:cNvSpPr>
            <p:nvPr/>
          </p:nvSpPr>
          <p:spPr bwMode="gray">
            <a:xfrm>
              <a:off x="365" y="3572"/>
              <a:ext cx="1075" cy="390"/>
            </a:xfrm>
            <a:custGeom>
              <a:avLst/>
              <a:gdLst>
                <a:gd name="T0" fmla="*/ 0 w 2449"/>
                <a:gd name="T1" fmla="*/ 14 h 889"/>
                <a:gd name="T2" fmla="*/ 40 w 2449"/>
                <a:gd name="T3" fmla="*/ 14 h 889"/>
                <a:gd name="T4" fmla="*/ 34 w 2449"/>
                <a:gd name="T5" fmla="*/ 0 h 889"/>
                <a:gd name="T6" fmla="*/ 6 w 2449"/>
                <a:gd name="T7" fmla="*/ 0 h 889"/>
                <a:gd name="T8" fmla="*/ 0 w 2449"/>
                <a:gd name="T9" fmla="*/ 14 h 889"/>
                <a:gd name="T10" fmla="*/ 0 60000 65536"/>
                <a:gd name="T11" fmla="*/ 0 60000 65536"/>
                <a:gd name="T12" fmla="*/ 0 60000 65536"/>
                <a:gd name="T13" fmla="*/ 0 60000 65536"/>
                <a:gd name="T14" fmla="*/ 0 60000 65536"/>
                <a:gd name="T15" fmla="*/ 0 w 2449"/>
                <a:gd name="T16" fmla="*/ 0 h 889"/>
                <a:gd name="T17" fmla="*/ 2449 w 2449"/>
                <a:gd name="T18" fmla="*/ 889 h 889"/>
              </a:gdLst>
              <a:ahLst/>
              <a:cxnLst>
                <a:cxn ang="T10">
                  <a:pos x="T0" y="T1"/>
                </a:cxn>
                <a:cxn ang="T11">
                  <a:pos x="T2" y="T3"/>
                </a:cxn>
                <a:cxn ang="T12">
                  <a:pos x="T4" y="T5"/>
                </a:cxn>
                <a:cxn ang="T13">
                  <a:pos x="T6" y="T7"/>
                </a:cxn>
                <a:cxn ang="T14">
                  <a:pos x="T8" y="T9"/>
                </a:cxn>
              </a:cxnLst>
              <a:rect l="T15" t="T16" r="T17" b="T18"/>
              <a:pathLst>
                <a:path w="2449" h="889">
                  <a:moveTo>
                    <a:pt x="0" y="889"/>
                  </a:moveTo>
                  <a:lnTo>
                    <a:pt x="2449" y="889"/>
                  </a:lnTo>
                  <a:lnTo>
                    <a:pt x="2091" y="0"/>
                  </a:lnTo>
                  <a:lnTo>
                    <a:pt x="345" y="0"/>
                  </a:lnTo>
                  <a:lnTo>
                    <a:pt x="0" y="889"/>
                  </a:lnTo>
                </a:path>
              </a:pathLst>
            </a:custGeom>
            <a:solidFill>
              <a:schemeClr val="accent1"/>
            </a:solidFill>
            <a:ln w="12700" cap="rnd">
              <a:noFill/>
              <a:round/>
              <a:headEnd/>
              <a:tailEnd/>
            </a:ln>
          </p:spPr>
          <p:txBody>
            <a:bodyPr/>
            <a:lstStyle/>
            <a:p>
              <a:endParaRPr lang="en-GB" sz="1400">
                <a:solidFill>
                  <a:schemeClr val="bg1"/>
                </a:solidFill>
              </a:endParaRPr>
            </a:p>
          </p:txBody>
        </p:sp>
        <p:sp>
          <p:nvSpPr>
            <p:cNvPr id="19" name="Freeform 18"/>
            <p:cNvSpPr>
              <a:spLocks/>
            </p:cNvSpPr>
            <p:nvPr/>
          </p:nvSpPr>
          <p:spPr bwMode="gray">
            <a:xfrm>
              <a:off x="681" y="2810"/>
              <a:ext cx="446" cy="313"/>
            </a:xfrm>
            <a:custGeom>
              <a:avLst/>
              <a:gdLst>
                <a:gd name="T0" fmla="*/ 8 w 1008"/>
                <a:gd name="T1" fmla="*/ 313 h 713"/>
                <a:gd name="T2" fmla="*/ 443 w 1008"/>
                <a:gd name="T3" fmla="*/ 313 h 713"/>
                <a:gd name="T4" fmla="*/ 320 w 1008"/>
                <a:gd name="T5" fmla="*/ 0 h 713"/>
                <a:gd name="T6" fmla="*/ 115 w 1008"/>
                <a:gd name="T7" fmla="*/ 0 h 713"/>
                <a:gd name="T8" fmla="*/ 0 w 1008"/>
                <a:gd name="T9" fmla="*/ 309 h 713"/>
                <a:gd name="T10" fmla="*/ 0 60000 65536"/>
                <a:gd name="T11" fmla="*/ 0 60000 65536"/>
                <a:gd name="T12" fmla="*/ 0 60000 65536"/>
                <a:gd name="T13" fmla="*/ 0 60000 65536"/>
                <a:gd name="T14" fmla="*/ 0 60000 65536"/>
                <a:gd name="T15" fmla="*/ 0 w 1008"/>
                <a:gd name="T16" fmla="*/ 0 h 713"/>
                <a:gd name="T17" fmla="*/ 1008 w 1008"/>
                <a:gd name="T18" fmla="*/ 713 h 713"/>
              </a:gdLst>
              <a:ahLst/>
              <a:cxnLst>
                <a:cxn ang="T10">
                  <a:pos x="T0" y="T1"/>
                </a:cxn>
                <a:cxn ang="T11">
                  <a:pos x="T2" y="T3"/>
                </a:cxn>
                <a:cxn ang="T12">
                  <a:pos x="T4" y="T5"/>
                </a:cxn>
                <a:cxn ang="T13">
                  <a:pos x="T6" y="T7"/>
                </a:cxn>
                <a:cxn ang="T14">
                  <a:pos x="T8" y="T9"/>
                </a:cxn>
              </a:cxnLst>
              <a:rect l="T15" t="T16" r="T17" b="T18"/>
              <a:pathLst>
                <a:path w="1008" h="713">
                  <a:moveTo>
                    <a:pt x="18" y="713"/>
                  </a:moveTo>
                  <a:lnTo>
                    <a:pt x="1008" y="713"/>
                  </a:lnTo>
                  <a:lnTo>
                    <a:pt x="729" y="0"/>
                  </a:lnTo>
                  <a:lnTo>
                    <a:pt x="261" y="0"/>
                  </a:lnTo>
                  <a:lnTo>
                    <a:pt x="0" y="704"/>
                  </a:lnTo>
                </a:path>
              </a:pathLst>
            </a:custGeom>
            <a:solidFill>
              <a:schemeClr val="accent3"/>
            </a:solidFill>
            <a:ln w="12700" cap="rnd">
              <a:noFill/>
              <a:round/>
              <a:headEnd/>
              <a:tailEnd/>
            </a:ln>
          </p:spPr>
          <p:txBody>
            <a:bodyPr/>
            <a:lstStyle/>
            <a:p>
              <a:pPr>
                <a:defRPr/>
              </a:pPr>
              <a:endParaRPr lang="en-GB" sz="1400">
                <a:solidFill>
                  <a:schemeClr val="bg1"/>
                </a:solidFill>
              </a:endParaRPr>
            </a:p>
          </p:txBody>
        </p:sp>
        <p:sp>
          <p:nvSpPr>
            <p:cNvPr id="20" name="Freeform 19"/>
            <p:cNvSpPr>
              <a:spLocks/>
            </p:cNvSpPr>
            <p:nvPr/>
          </p:nvSpPr>
          <p:spPr bwMode="gray">
            <a:xfrm>
              <a:off x="813" y="2533"/>
              <a:ext cx="175" cy="230"/>
            </a:xfrm>
            <a:custGeom>
              <a:avLst/>
              <a:gdLst>
                <a:gd name="T0" fmla="*/ 4 w 405"/>
                <a:gd name="T1" fmla="*/ 230 h 524"/>
                <a:gd name="T2" fmla="*/ 178 w 405"/>
                <a:gd name="T3" fmla="*/ 230 h 524"/>
                <a:gd name="T4" fmla="*/ 91 w 405"/>
                <a:gd name="T5" fmla="*/ 0 h 524"/>
                <a:gd name="T6" fmla="*/ 0 w 405"/>
                <a:gd name="T7" fmla="*/ 226 h 524"/>
                <a:gd name="T8" fmla="*/ 0 60000 65536"/>
                <a:gd name="T9" fmla="*/ 0 60000 65536"/>
                <a:gd name="T10" fmla="*/ 0 60000 65536"/>
                <a:gd name="T11" fmla="*/ 0 60000 65536"/>
                <a:gd name="T12" fmla="*/ 0 w 405"/>
                <a:gd name="T13" fmla="*/ 0 h 524"/>
                <a:gd name="T14" fmla="*/ 405 w 405"/>
                <a:gd name="T15" fmla="*/ 524 h 524"/>
              </a:gdLst>
              <a:ahLst/>
              <a:cxnLst>
                <a:cxn ang="T8">
                  <a:pos x="T0" y="T1"/>
                </a:cxn>
                <a:cxn ang="T9">
                  <a:pos x="T2" y="T3"/>
                </a:cxn>
                <a:cxn ang="T10">
                  <a:pos x="T4" y="T5"/>
                </a:cxn>
                <a:cxn ang="T11">
                  <a:pos x="T6" y="T7"/>
                </a:cxn>
              </a:cxnLst>
              <a:rect l="T12" t="T13" r="T14" b="T15"/>
              <a:pathLst>
                <a:path w="405" h="524">
                  <a:moveTo>
                    <a:pt x="9" y="524"/>
                  </a:moveTo>
                  <a:lnTo>
                    <a:pt x="405" y="524"/>
                  </a:lnTo>
                  <a:lnTo>
                    <a:pt x="206" y="0"/>
                  </a:lnTo>
                  <a:lnTo>
                    <a:pt x="0" y="515"/>
                  </a:lnTo>
                </a:path>
              </a:pathLst>
            </a:custGeom>
            <a:solidFill>
              <a:schemeClr val="accent4"/>
            </a:solidFill>
            <a:ln w="12700" cap="rnd">
              <a:noFill/>
              <a:round/>
              <a:headEnd/>
              <a:tailEnd/>
            </a:ln>
          </p:spPr>
          <p:txBody>
            <a:bodyPr/>
            <a:lstStyle/>
            <a:p>
              <a:pPr>
                <a:defRPr/>
              </a:pPr>
              <a:endParaRPr lang="en-GB" sz="1400">
                <a:solidFill>
                  <a:schemeClr val="bg1"/>
                </a:solidFill>
              </a:endParaRPr>
            </a:p>
          </p:txBody>
        </p:sp>
        <p:sp>
          <p:nvSpPr>
            <p:cNvPr id="695321" name="Freeform 20"/>
            <p:cNvSpPr>
              <a:spLocks/>
            </p:cNvSpPr>
            <p:nvPr/>
          </p:nvSpPr>
          <p:spPr bwMode="gray">
            <a:xfrm>
              <a:off x="534" y="3169"/>
              <a:ext cx="736" cy="354"/>
            </a:xfrm>
            <a:custGeom>
              <a:avLst/>
              <a:gdLst>
                <a:gd name="T0" fmla="*/ 0 w 1676"/>
                <a:gd name="T1" fmla="*/ 13 h 805"/>
                <a:gd name="T2" fmla="*/ 27 w 1676"/>
                <a:gd name="T3" fmla="*/ 13 h 805"/>
                <a:gd name="T4" fmla="*/ 22 w 1676"/>
                <a:gd name="T5" fmla="*/ 0 h 805"/>
                <a:gd name="T6" fmla="*/ 5 w 1676"/>
                <a:gd name="T7" fmla="*/ 0 h 805"/>
                <a:gd name="T8" fmla="*/ 0 w 1676"/>
                <a:gd name="T9" fmla="*/ 13 h 805"/>
                <a:gd name="T10" fmla="*/ 0 60000 65536"/>
                <a:gd name="T11" fmla="*/ 0 60000 65536"/>
                <a:gd name="T12" fmla="*/ 0 60000 65536"/>
                <a:gd name="T13" fmla="*/ 0 60000 65536"/>
                <a:gd name="T14" fmla="*/ 0 60000 65536"/>
                <a:gd name="T15" fmla="*/ 0 w 1676"/>
                <a:gd name="T16" fmla="*/ 0 h 805"/>
                <a:gd name="T17" fmla="*/ 1676 w 1676"/>
                <a:gd name="T18" fmla="*/ 805 h 805"/>
              </a:gdLst>
              <a:ahLst/>
              <a:cxnLst>
                <a:cxn ang="T10">
                  <a:pos x="T0" y="T1"/>
                </a:cxn>
                <a:cxn ang="T11">
                  <a:pos x="T2" y="T3"/>
                </a:cxn>
                <a:cxn ang="T12">
                  <a:pos x="T4" y="T5"/>
                </a:cxn>
                <a:cxn ang="T13">
                  <a:pos x="T6" y="T7"/>
                </a:cxn>
                <a:cxn ang="T14">
                  <a:pos x="T8" y="T9"/>
                </a:cxn>
              </a:cxnLst>
              <a:rect l="T15" t="T16" r="T17" b="T18"/>
              <a:pathLst>
                <a:path w="1676" h="805">
                  <a:moveTo>
                    <a:pt x="0" y="805"/>
                  </a:moveTo>
                  <a:lnTo>
                    <a:pt x="1676" y="805"/>
                  </a:lnTo>
                  <a:lnTo>
                    <a:pt x="1361" y="0"/>
                  </a:lnTo>
                  <a:lnTo>
                    <a:pt x="299" y="0"/>
                  </a:lnTo>
                  <a:lnTo>
                    <a:pt x="0" y="805"/>
                  </a:lnTo>
                </a:path>
              </a:pathLst>
            </a:custGeom>
            <a:solidFill>
              <a:schemeClr val="accent2"/>
            </a:solidFill>
            <a:ln w="12700" cap="rnd">
              <a:noFill/>
              <a:round/>
              <a:headEnd/>
              <a:tailEnd/>
            </a:ln>
          </p:spPr>
          <p:txBody>
            <a:bodyPr/>
            <a:lstStyle/>
            <a:p>
              <a:endParaRPr lang="en-GB" sz="1400">
                <a:solidFill>
                  <a:schemeClr val="bg1"/>
                </a:solidFill>
              </a:endParaRPr>
            </a:p>
          </p:txBody>
        </p:sp>
      </p:grpSp>
      <p:grpSp>
        <p:nvGrpSpPr>
          <p:cNvPr id="7" name="Group 21"/>
          <p:cNvGrpSpPr>
            <a:grpSpLocks/>
          </p:cNvGrpSpPr>
          <p:nvPr/>
        </p:nvGrpSpPr>
        <p:grpSpPr bwMode="auto">
          <a:xfrm>
            <a:off x="2695575" y="3759994"/>
            <a:ext cx="1706563" cy="2268537"/>
            <a:chOff x="1698" y="2533"/>
            <a:chExt cx="1075" cy="1429"/>
          </a:xfrm>
        </p:grpSpPr>
        <p:sp>
          <p:nvSpPr>
            <p:cNvPr id="23" name="Freeform 22"/>
            <p:cNvSpPr>
              <a:spLocks/>
            </p:cNvSpPr>
            <p:nvPr/>
          </p:nvSpPr>
          <p:spPr bwMode="gray">
            <a:xfrm>
              <a:off x="1698" y="3572"/>
              <a:ext cx="1075" cy="390"/>
            </a:xfrm>
            <a:custGeom>
              <a:avLst/>
              <a:gdLst>
                <a:gd name="T0" fmla="*/ 0 w 2449"/>
                <a:gd name="T1" fmla="*/ 390 h 889"/>
                <a:gd name="T2" fmla="*/ 1075 w 2449"/>
                <a:gd name="T3" fmla="*/ 390 h 889"/>
                <a:gd name="T4" fmla="*/ 918 w 2449"/>
                <a:gd name="T5" fmla="*/ 0 h 889"/>
                <a:gd name="T6" fmla="*/ 151 w 2449"/>
                <a:gd name="T7" fmla="*/ 0 h 889"/>
                <a:gd name="T8" fmla="*/ 0 w 2449"/>
                <a:gd name="T9" fmla="*/ 390 h 889"/>
                <a:gd name="T10" fmla="*/ 0 60000 65536"/>
                <a:gd name="T11" fmla="*/ 0 60000 65536"/>
                <a:gd name="T12" fmla="*/ 0 60000 65536"/>
                <a:gd name="T13" fmla="*/ 0 60000 65536"/>
                <a:gd name="T14" fmla="*/ 0 60000 65536"/>
                <a:gd name="T15" fmla="*/ 0 w 2449"/>
                <a:gd name="T16" fmla="*/ 0 h 889"/>
                <a:gd name="T17" fmla="*/ 2449 w 2449"/>
                <a:gd name="T18" fmla="*/ 889 h 889"/>
              </a:gdLst>
              <a:ahLst/>
              <a:cxnLst>
                <a:cxn ang="T10">
                  <a:pos x="T0" y="T1"/>
                </a:cxn>
                <a:cxn ang="T11">
                  <a:pos x="T2" y="T3"/>
                </a:cxn>
                <a:cxn ang="T12">
                  <a:pos x="T4" y="T5"/>
                </a:cxn>
                <a:cxn ang="T13">
                  <a:pos x="T6" y="T7"/>
                </a:cxn>
                <a:cxn ang="T14">
                  <a:pos x="T8" y="T9"/>
                </a:cxn>
              </a:cxnLst>
              <a:rect l="T15" t="T16" r="T17" b="T18"/>
              <a:pathLst>
                <a:path w="2449" h="889">
                  <a:moveTo>
                    <a:pt x="0" y="889"/>
                  </a:moveTo>
                  <a:lnTo>
                    <a:pt x="2449" y="889"/>
                  </a:lnTo>
                  <a:lnTo>
                    <a:pt x="2091" y="0"/>
                  </a:lnTo>
                  <a:lnTo>
                    <a:pt x="345" y="0"/>
                  </a:lnTo>
                  <a:lnTo>
                    <a:pt x="0" y="889"/>
                  </a:lnTo>
                </a:path>
              </a:pathLst>
            </a:custGeom>
            <a:solidFill>
              <a:schemeClr val="accent4"/>
            </a:solidFill>
            <a:ln w="12700" cap="rnd">
              <a:noFill/>
              <a:round/>
              <a:headEnd/>
              <a:tailEnd/>
            </a:ln>
          </p:spPr>
          <p:txBody>
            <a:bodyPr/>
            <a:lstStyle/>
            <a:p>
              <a:pPr>
                <a:defRPr/>
              </a:pPr>
              <a:endParaRPr lang="en-GB" sz="1400">
                <a:solidFill>
                  <a:schemeClr val="bg1"/>
                </a:solidFill>
              </a:endParaRPr>
            </a:p>
          </p:txBody>
        </p:sp>
        <p:sp>
          <p:nvSpPr>
            <p:cNvPr id="695315" name="Freeform 23"/>
            <p:cNvSpPr>
              <a:spLocks/>
            </p:cNvSpPr>
            <p:nvPr/>
          </p:nvSpPr>
          <p:spPr bwMode="gray">
            <a:xfrm>
              <a:off x="2014" y="2810"/>
              <a:ext cx="443" cy="313"/>
            </a:xfrm>
            <a:custGeom>
              <a:avLst/>
              <a:gdLst>
                <a:gd name="T0" fmla="*/ 0 w 1008"/>
                <a:gd name="T1" fmla="*/ 11 h 713"/>
                <a:gd name="T2" fmla="*/ 17 w 1008"/>
                <a:gd name="T3" fmla="*/ 11 h 713"/>
                <a:gd name="T4" fmla="*/ 12 w 1008"/>
                <a:gd name="T5" fmla="*/ 0 h 713"/>
                <a:gd name="T6" fmla="*/ 4 w 1008"/>
                <a:gd name="T7" fmla="*/ 0 h 713"/>
                <a:gd name="T8" fmla="*/ 0 w 1008"/>
                <a:gd name="T9" fmla="*/ 11 h 713"/>
                <a:gd name="T10" fmla="*/ 0 60000 65536"/>
                <a:gd name="T11" fmla="*/ 0 60000 65536"/>
                <a:gd name="T12" fmla="*/ 0 60000 65536"/>
                <a:gd name="T13" fmla="*/ 0 60000 65536"/>
                <a:gd name="T14" fmla="*/ 0 60000 65536"/>
                <a:gd name="T15" fmla="*/ 0 w 1008"/>
                <a:gd name="T16" fmla="*/ 0 h 713"/>
                <a:gd name="T17" fmla="*/ 1008 w 1008"/>
                <a:gd name="T18" fmla="*/ 713 h 713"/>
              </a:gdLst>
              <a:ahLst/>
              <a:cxnLst>
                <a:cxn ang="T10">
                  <a:pos x="T0" y="T1"/>
                </a:cxn>
                <a:cxn ang="T11">
                  <a:pos x="T2" y="T3"/>
                </a:cxn>
                <a:cxn ang="T12">
                  <a:pos x="T4" y="T5"/>
                </a:cxn>
                <a:cxn ang="T13">
                  <a:pos x="T6" y="T7"/>
                </a:cxn>
                <a:cxn ang="T14">
                  <a:pos x="T8" y="T9"/>
                </a:cxn>
              </a:cxnLst>
              <a:rect l="T15" t="T16" r="T17" b="T18"/>
              <a:pathLst>
                <a:path w="1008" h="713">
                  <a:moveTo>
                    <a:pt x="18" y="713"/>
                  </a:moveTo>
                  <a:lnTo>
                    <a:pt x="1008" y="713"/>
                  </a:lnTo>
                  <a:lnTo>
                    <a:pt x="729" y="0"/>
                  </a:lnTo>
                  <a:lnTo>
                    <a:pt x="261" y="0"/>
                  </a:lnTo>
                  <a:lnTo>
                    <a:pt x="0" y="704"/>
                  </a:lnTo>
                </a:path>
              </a:pathLst>
            </a:custGeom>
            <a:solidFill>
              <a:schemeClr val="accent2"/>
            </a:solidFill>
            <a:ln w="12700" cap="rnd">
              <a:noFill/>
              <a:round/>
              <a:headEnd/>
              <a:tailEnd/>
            </a:ln>
          </p:spPr>
          <p:txBody>
            <a:bodyPr/>
            <a:lstStyle/>
            <a:p>
              <a:endParaRPr lang="en-GB" sz="1400">
                <a:solidFill>
                  <a:schemeClr val="bg1"/>
                </a:solidFill>
              </a:endParaRPr>
            </a:p>
          </p:txBody>
        </p:sp>
        <p:sp>
          <p:nvSpPr>
            <p:cNvPr id="695316" name="Freeform 24"/>
            <p:cNvSpPr>
              <a:spLocks/>
            </p:cNvSpPr>
            <p:nvPr/>
          </p:nvSpPr>
          <p:spPr bwMode="gray">
            <a:xfrm>
              <a:off x="2146" y="2533"/>
              <a:ext cx="178" cy="230"/>
            </a:xfrm>
            <a:custGeom>
              <a:avLst/>
              <a:gdLst>
                <a:gd name="T0" fmla="*/ 0 w 405"/>
                <a:gd name="T1" fmla="*/ 8 h 524"/>
                <a:gd name="T2" fmla="*/ 7 w 405"/>
                <a:gd name="T3" fmla="*/ 8 h 524"/>
                <a:gd name="T4" fmla="*/ 4 w 405"/>
                <a:gd name="T5" fmla="*/ 0 h 524"/>
                <a:gd name="T6" fmla="*/ 0 w 405"/>
                <a:gd name="T7" fmla="*/ 8 h 524"/>
                <a:gd name="T8" fmla="*/ 0 60000 65536"/>
                <a:gd name="T9" fmla="*/ 0 60000 65536"/>
                <a:gd name="T10" fmla="*/ 0 60000 65536"/>
                <a:gd name="T11" fmla="*/ 0 60000 65536"/>
                <a:gd name="T12" fmla="*/ 0 w 405"/>
                <a:gd name="T13" fmla="*/ 0 h 524"/>
                <a:gd name="T14" fmla="*/ 405 w 405"/>
                <a:gd name="T15" fmla="*/ 524 h 524"/>
              </a:gdLst>
              <a:ahLst/>
              <a:cxnLst>
                <a:cxn ang="T8">
                  <a:pos x="T0" y="T1"/>
                </a:cxn>
                <a:cxn ang="T9">
                  <a:pos x="T2" y="T3"/>
                </a:cxn>
                <a:cxn ang="T10">
                  <a:pos x="T4" y="T5"/>
                </a:cxn>
                <a:cxn ang="T11">
                  <a:pos x="T6" y="T7"/>
                </a:cxn>
              </a:cxnLst>
              <a:rect l="T12" t="T13" r="T14" b="T15"/>
              <a:pathLst>
                <a:path w="405" h="524">
                  <a:moveTo>
                    <a:pt x="9" y="524"/>
                  </a:moveTo>
                  <a:lnTo>
                    <a:pt x="405" y="524"/>
                  </a:lnTo>
                  <a:lnTo>
                    <a:pt x="206" y="0"/>
                  </a:lnTo>
                  <a:lnTo>
                    <a:pt x="0" y="515"/>
                  </a:lnTo>
                </a:path>
              </a:pathLst>
            </a:custGeom>
            <a:solidFill>
              <a:schemeClr val="accent1"/>
            </a:solidFill>
            <a:ln w="12700" cap="rnd">
              <a:noFill/>
              <a:round/>
              <a:headEnd/>
              <a:tailEnd/>
            </a:ln>
          </p:spPr>
          <p:txBody>
            <a:bodyPr/>
            <a:lstStyle/>
            <a:p>
              <a:endParaRPr lang="en-GB" sz="1400">
                <a:solidFill>
                  <a:schemeClr val="bg1"/>
                </a:solidFill>
              </a:endParaRPr>
            </a:p>
          </p:txBody>
        </p:sp>
        <p:sp>
          <p:nvSpPr>
            <p:cNvPr id="26" name="Freeform 25"/>
            <p:cNvSpPr>
              <a:spLocks/>
            </p:cNvSpPr>
            <p:nvPr/>
          </p:nvSpPr>
          <p:spPr bwMode="gray">
            <a:xfrm>
              <a:off x="1867" y="3169"/>
              <a:ext cx="736" cy="354"/>
            </a:xfrm>
            <a:custGeom>
              <a:avLst/>
              <a:gdLst>
                <a:gd name="T0" fmla="*/ 0 w 1676"/>
                <a:gd name="T1" fmla="*/ 354 h 805"/>
                <a:gd name="T2" fmla="*/ 736 w 1676"/>
                <a:gd name="T3" fmla="*/ 354 h 805"/>
                <a:gd name="T4" fmla="*/ 598 w 1676"/>
                <a:gd name="T5" fmla="*/ 0 h 805"/>
                <a:gd name="T6" fmla="*/ 131 w 1676"/>
                <a:gd name="T7" fmla="*/ 0 h 805"/>
                <a:gd name="T8" fmla="*/ 0 w 1676"/>
                <a:gd name="T9" fmla="*/ 354 h 805"/>
                <a:gd name="T10" fmla="*/ 0 60000 65536"/>
                <a:gd name="T11" fmla="*/ 0 60000 65536"/>
                <a:gd name="T12" fmla="*/ 0 60000 65536"/>
                <a:gd name="T13" fmla="*/ 0 60000 65536"/>
                <a:gd name="T14" fmla="*/ 0 60000 65536"/>
                <a:gd name="T15" fmla="*/ 0 w 1676"/>
                <a:gd name="T16" fmla="*/ 0 h 805"/>
                <a:gd name="T17" fmla="*/ 1676 w 1676"/>
                <a:gd name="T18" fmla="*/ 805 h 805"/>
              </a:gdLst>
              <a:ahLst/>
              <a:cxnLst>
                <a:cxn ang="T10">
                  <a:pos x="T0" y="T1"/>
                </a:cxn>
                <a:cxn ang="T11">
                  <a:pos x="T2" y="T3"/>
                </a:cxn>
                <a:cxn ang="T12">
                  <a:pos x="T4" y="T5"/>
                </a:cxn>
                <a:cxn ang="T13">
                  <a:pos x="T6" y="T7"/>
                </a:cxn>
                <a:cxn ang="T14">
                  <a:pos x="T8" y="T9"/>
                </a:cxn>
              </a:cxnLst>
              <a:rect l="T15" t="T16" r="T17" b="T18"/>
              <a:pathLst>
                <a:path w="1676" h="805">
                  <a:moveTo>
                    <a:pt x="0" y="805"/>
                  </a:moveTo>
                  <a:lnTo>
                    <a:pt x="1676" y="805"/>
                  </a:lnTo>
                  <a:lnTo>
                    <a:pt x="1361" y="0"/>
                  </a:lnTo>
                  <a:lnTo>
                    <a:pt x="299" y="0"/>
                  </a:lnTo>
                  <a:lnTo>
                    <a:pt x="0" y="805"/>
                  </a:lnTo>
                </a:path>
              </a:pathLst>
            </a:custGeom>
            <a:solidFill>
              <a:schemeClr val="accent3"/>
            </a:solidFill>
            <a:ln w="12700" cap="rnd">
              <a:noFill/>
              <a:round/>
              <a:headEnd/>
              <a:tailEnd/>
            </a:ln>
          </p:spPr>
          <p:txBody>
            <a:bodyPr/>
            <a:lstStyle/>
            <a:p>
              <a:pPr>
                <a:defRPr/>
              </a:pPr>
              <a:endParaRPr lang="en-GB" sz="1400">
                <a:solidFill>
                  <a:schemeClr val="bg1"/>
                </a:solidFill>
              </a:endParaRPr>
            </a:p>
          </p:txBody>
        </p:sp>
      </p:grpSp>
      <p:sp>
        <p:nvSpPr>
          <p:cNvPr id="695304" name="Text Box 26"/>
          <p:cNvSpPr txBox="1">
            <a:spLocks noChangeArrowheads="1"/>
          </p:cNvSpPr>
          <p:nvPr/>
        </p:nvSpPr>
        <p:spPr bwMode="gray">
          <a:xfrm>
            <a:off x="6343650" y="5402263"/>
            <a:ext cx="723900" cy="373062"/>
          </a:xfrm>
          <a:prstGeom prst="rect">
            <a:avLst/>
          </a:prstGeom>
          <a:noFill/>
          <a:ln w="12700" algn="ctr">
            <a:noFill/>
            <a:miter lim="800000"/>
            <a:headEnd/>
            <a:tailEnd/>
          </a:ln>
        </p:spPr>
        <p:txBody>
          <a:bodyPr wrap="none" lIns="72000" tIns="72000" rIns="72000" bIns="72000" anchorCtr="1">
            <a:spAutoFit/>
          </a:bodyPr>
          <a:lstStyle/>
          <a:p>
            <a:pPr algn="ctr">
              <a:lnSpc>
                <a:spcPct val="106000"/>
              </a:lnSpc>
            </a:pPr>
            <a:r>
              <a:rPr lang="en-GB" sz="1400" dirty="0">
                <a:solidFill>
                  <a:schemeClr val="bg1"/>
                </a:solidFill>
              </a:rPr>
              <a:t>Level 1</a:t>
            </a:r>
          </a:p>
        </p:txBody>
      </p:sp>
      <p:sp>
        <p:nvSpPr>
          <p:cNvPr id="695305" name="Text Box 27"/>
          <p:cNvSpPr txBox="1">
            <a:spLocks noChangeArrowheads="1"/>
          </p:cNvSpPr>
          <p:nvPr/>
        </p:nvSpPr>
        <p:spPr bwMode="gray">
          <a:xfrm>
            <a:off x="6343650" y="3940175"/>
            <a:ext cx="723900" cy="373063"/>
          </a:xfrm>
          <a:prstGeom prst="rect">
            <a:avLst/>
          </a:prstGeom>
          <a:noFill/>
          <a:ln w="12700" algn="ctr">
            <a:noFill/>
            <a:miter lim="800000"/>
            <a:headEnd/>
            <a:tailEnd/>
          </a:ln>
        </p:spPr>
        <p:txBody>
          <a:bodyPr wrap="none" lIns="72000" tIns="72000" rIns="72000" bIns="72000" anchorCtr="1">
            <a:spAutoFit/>
          </a:bodyPr>
          <a:lstStyle/>
          <a:p>
            <a:pPr algn="ctr">
              <a:lnSpc>
                <a:spcPct val="106000"/>
              </a:lnSpc>
            </a:pPr>
            <a:r>
              <a:rPr lang="en-GB" sz="1400">
                <a:solidFill>
                  <a:schemeClr val="bg1"/>
                </a:solidFill>
              </a:rPr>
              <a:t>Level 2</a:t>
            </a:r>
          </a:p>
        </p:txBody>
      </p:sp>
      <p:sp>
        <p:nvSpPr>
          <p:cNvPr id="695306" name="Text Box 28"/>
          <p:cNvSpPr txBox="1">
            <a:spLocks noChangeArrowheads="1"/>
          </p:cNvSpPr>
          <p:nvPr/>
        </p:nvSpPr>
        <p:spPr bwMode="gray">
          <a:xfrm>
            <a:off x="6343650" y="2568575"/>
            <a:ext cx="723900" cy="373063"/>
          </a:xfrm>
          <a:prstGeom prst="rect">
            <a:avLst/>
          </a:prstGeom>
          <a:noFill/>
          <a:ln w="12700" algn="ctr">
            <a:noFill/>
            <a:miter lim="800000"/>
            <a:headEnd/>
            <a:tailEnd/>
          </a:ln>
        </p:spPr>
        <p:txBody>
          <a:bodyPr wrap="none" lIns="72000" tIns="72000" rIns="72000" bIns="72000" anchorCtr="1">
            <a:spAutoFit/>
          </a:bodyPr>
          <a:lstStyle/>
          <a:p>
            <a:pPr algn="ctr">
              <a:lnSpc>
                <a:spcPct val="106000"/>
              </a:lnSpc>
            </a:pPr>
            <a:r>
              <a:rPr lang="en-GB" sz="1400">
                <a:solidFill>
                  <a:schemeClr val="bg1"/>
                </a:solidFill>
              </a:rPr>
              <a:t>Level 3</a:t>
            </a:r>
          </a:p>
        </p:txBody>
      </p:sp>
      <p:sp>
        <p:nvSpPr>
          <p:cNvPr id="695307" name="Text Box 29"/>
          <p:cNvSpPr txBox="1">
            <a:spLocks noChangeArrowheads="1"/>
          </p:cNvSpPr>
          <p:nvPr/>
        </p:nvSpPr>
        <p:spPr bwMode="gray">
          <a:xfrm>
            <a:off x="6992938" y="1495425"/>
            <a:ext cx="576262" cy="228600"/>
          </a:xfrm>
          <a:prstGeom prst="rect">
            <a:avLst/>
          </a:prstGeom>
          <a:noFill/>
          <a:ln w="12700" algn="ctr">
            <a:noFill/>
            <a:miter lim="800000"/>
            <a:headEnd/>
            <a:tailEnd/>
          </a:ln>
        </p:spPr>
        <p:txBody>
          <a:bodyPr wrap="none" lIns="0" tIns="0" rIns="0" bIns="0" anchorCtr="1">
            <a:spAutoFit/>
          </a:bodyPr>
          <a:lstStyle/>
          <a:p>
            <a:pPr algn="ctr">
              <a:lnSpc>
                <a:spcPct val="106000"/>
              </a:lnSpc>
            </a:pPr>
            <a:r>
              <a:rPr lang="en-GB" sz="1400">
                <a:solidFill>
                  <a:schemeClr val="tx2"/>
                </a:solidFill>
              </a:rPr>
              <a:t>Level 4</a:t>
            </a:r>
          </a:p>
        </p:txBody>
      </p:sp>
      <p:sp>
        <p:nvSpPr>
          <p:cNvPr id="695308" name="Text Box 30"/>
          <p:cNvSpPr txBox="1">
            <a:spLocks noChangeArrowheads="1"/>
          </p:cNvSpPr>
          <p:nvPr/>
        </p:nvSpPr>
        <p:spPr bwMode="gray">
          <a:xfrm>
            <a:off x="4289425" y="2916238"/>
            <a:ext cx="576263" cy="227012"/>
          </a:xfrm>
          <a:prstGeom prst="rect">
            <a:avLst/>
          </a:prstGeom>
          <a:noFill/>
          <a:ln w="12700" algn="ctr">
            <a:noFill/>
            <a:miter lim="800000"/>
            <a:headEnd/>
            <a:tailEnd/>
          </a:ln>
        </p:spPr>
        <p:txBody>
          <a:bodyPr wrap="none" lIns="0" tIns="0" rIns="0" bIns="0" anchorCtr="1">
            <a:spAutoFit/>
          </a:bodyPr>
          <a:lstStyle/>
          <a:p>
            <a:pPr algn="ctr">
              <a:lnSpc>
                <a:spcPct val="106000"/>
              </a:lnSpc>
            </a:pPr>
            <a:r>
              <a:rPr lang="en-GB" sz="1400">
                <a:solidFill>
                  <a:schemeClr val="tx2"/>
                </a:solidFill>
              </a:rPr>
              <a:t>Level 1</a:t>
            </a:r>
          </a:p>
        </p:txBody>
      </p:sp>
      <p:sp>
        <p:nvSpPr>
          <p:cNvPr id="695309" name="Text Box 31"/>
          <p:cNvSpPr txBox="1">
            <a:spLocks noChangeArrowheads="1"/>
          </p:cNvSpPr>
          <p:nvPr/>
        </p:nvSpPr>
        <p:spPr bwMode="gray">
          <a:xfrm>
            <a:off x="4013200" y="2125663"/>
            <a:ext cx="577850" cy="227012"/>
          </a:xfrm>
          <a:prstGeom prst="rect">
            <a:avLst/>
          </a:prstGeom>
          <a:noFill/>
          <a:ln w="12700" algn="ctr">
            <a:noFill/>
            <a:miter lim="800000"/>
            <a:headEnd/>
            <a:tailEnd/>
          </a:ln>
        </p:spPr>
        <p:txBody>
          <a:bodyPr wrap="none" lIns="0" tIns="0" rIns="0" bIns="0" anchorCtr="1">
            <a:spAutoFit/>
          </a:bodyPr>
          <a:lstStyle/>
          <a:p>
            <a:pPr algn="ctr">
              <a:lnSpc>
                <a:spcPct val="106000"/>
              </a:lnSpc>
            </a:pPr>
            <a:r>
              <a:rPr lang="en-GB" sz="1400">
                <a:solidFill>
                  <a:schemeClr val="tx2"/>
                </a:solidFill>
              </a:rPr>
              <a:t>Level 2</a:t>
            </a:r>
          </a:p>
        </p:txBody>
      </p:sp>
      <p:sp>
        <p:nvSpPr>
          <p:cNvPr id="695310" name="Text Box 32"/>
          <p:cNvSpPr txBox="1">
            <a:spLocks noChangeArrowheads="1"/>
          </p:cNvSpPr>
          <p:nvPr/>
        </p:nvSpPr>
        <p:spPr bwMode="gray">
          <a:xfrm>
            <a:off x="3738563" y="1398588"/>
            <a:ext cx="576262" cy="227012"/>
          </a:xfrm>
          <a:prstGeom prst="rect">
            <a:avLst/>
          </a:prstGeom>
          <a:noFill/>
          <a:ln w="12700" algn="ctr">
            <a:noFill/>
            <a:miter lim="800000"/>
            <a:headEnd/>
            <a:tailEnd/>
          </a:ln>
        </p:spPr>
        <p:txBody>
          <a:bodyPr wrap="none" lIns="0" tIns="0" rIns="0" bIns="0" anchorCtr="1">
            <a:spAutoFit/>
          </a:bodyPr>
          <a:lstStyle/>
          <a:p>
            <a:pPr algn="ctr">
              <a:lnSpc>
                <a:spcPct val="106000"/>
              </a:lnSpc>
            </a:pPr>
            <a:r>
              <a:rPr lang="en-GB" sz="1400">
                <a:solidFill>
                  <a:schemeClr val="tx2"/>
                </a:solidFill>
              </a:rPr>
              <a:t>Level 3</a:t>
            </a:r>
          </a:p>
        </p:txBody>
      </p:sp>
      <p:sp>
        <p:nvSpPr>
          <p:cNvPr id="695311" name="Text Box 33"/>
          <p:cNvSpPr txBox="1">
            <a:spLocks noChangeArrowheads="1"/>
          </p:cNvSpPr>
          <p:nvPr/>
        </p:nvSpPr>
        <p:spPr bwMode="gray">
          <a:xfrm>
            <a:off x="1304925" y="2906713"/>
            <a:ext cx="265113" cy="373062"/>
          </a:xfrm>
          <a:prstGeom prst="rect">
            <a:avLst/>
          </a:prstGeom>
          <a:noFill/>
          <a:ln w="12700" algn="ctr">
            <a:noFill/>
            <a:miter lim="800000"/>
            <a:headEnd/>
            <a:tailEnd/>
          </a:ln>
        </p:spPr>
        <p:txBody>
          <a:bodyPr wrap="none" lIns="72000" tIns="72000" rIns="72000" bIns="72000" anchorCtr="1">
            <a:spAutoFit/>
          </a:bodyPr>
          <a:lstStyle/>
          <a:p>
            <a:pPr algn="ctr">
              <a:lnSpc>
                <a:spcPct val="106000"/>
              </a:lnSpc>
            </a:pPr>
            <a:r>
              <a:rPr lang="en-GB" sz="1400">
                <a:solidFill>
                  <a:schemeClr val="bg1"/>
                </a:solidFill>
              </a:rPr>
              <a:t>A</a:t>
            </a:r>
          </a:p>
        </p:txBody>
      </p:sp>
      <p:sp>
        <p:nvSpPr>
          <p:cNvPr id="695312" name="Text Box 34"/>
          <p:cNvSpPr txBox="1">
            <a:spLocks noChangeArrowheads="1"/>
          </p:cNvSpPr>
          <p:nvPr/>
        </p:nvSpPr>
        <p:spPr bwMode="gray">
          <a:xfrm>
            <a:off x="1304925" y="2112963"/>
            <a:ext cx="265113" cy="373062"/>
          </a:xfrm>
          <a:prstGeom prst="rect">
            <a:avLst/>
          </a:prstGeom>
          <a:noFill/>
          <a:ln w="12700" algn="ctr">
            <a:noFill/>
            <a:miter lim="800000"/>
            <a:headEnd/>
            <a:tailEnd/>
          </a:ln>
        </p:spPr>
        <p:txBody>
          <a:bodyPr wrap="none" lIns="72000" tIns="72000" rIns="72000" bIns="72000" anchorCtr="1">
            <a:spAutoFit/>
          </a:bodyPr>
          <a:lstStyle/>
          <a:p>
            <a:pPr algn="ctr">
              <a:lnSpc>
                <a:spcPct val="106000"/>
              </a:lnSpc>
            </a:pPr>
            <a:r>
              <a:rPr lang="en-GB" sz="1400">
                <a:solidFill>
                  <a:schemeClr val="bg1"/>
                </a:solidFill>
              </a:rPr>
              <a:t>B</a:t>
            </a:r>
          </a:p>
        </p:txBody>
      </p:sp>
      <p:sp>
        <p:nvSpPr>
          <p:cNvPr id="695313" name="Text Box 35"/>
          <p:cNvSpPr txBox="1">
            <a:spLocks noChangeArrowheads="1"/>
          </p:cNvSpPr>
          <p:nvPr/>
        </p:nvSpPr>
        <p:spPr bwMode="gray">
          <a:xfrm>
            <a:off x="1300163" y="1420813"/>
            <a:ext cx="274637" cy="373062"/>
          </a:xfrm>
          <a:prstGeom prst="rect">
            <a:avLst/>
          </a:prstGeom>
          <a:noFill/>
          <a:ln w="12700" algn="ctr">
            <a:noFill/>
            <a:miter lim="800000"/>
            <a:headEnd/>
            <a:tailEnd/>
          </a:ln>
        </p:spPr>
        <p:txBody>
          <a:bodyPr wrap="none" lIns="72000" tIns="72000" rIns="72000" bIns="72000" anchorCtr="1">
            <a:spAutoFit/>
          </a:bodyPr>
          <a:lstStyle/>
          <a:p>
            <a:pPr algn="ctr">
              <a:lnSpc>
                <a:spcPct val="106000"/>
              </a:lnSpc>
            </a:pPr>
            <a:r>
              <a:rPr lang="en-GB" sz="1400">
                <a:solidFill>
                  <a:schemeClr val="bg1"/>
                </a:solidFill>
              </a:rPr>
              <a:t>C</a:t>
            </a:r>
          </a:p>
        </p:txBody>
      </p:sp>
      <p:sp>
        <p:nvSpPr>
          <p:cNvPr id="3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21" name="Title 1"/>
          <p:cNvSpPr>
            <a:spLocks noGrp="1"/>
          </p:cNvSpPr>
          <p:nvPr>
            <p:ph type="title"/>
          </p:nvPr>
        </p:nvSpPr>
        <p:spPr>
          <a:xfrm>
            <a:off x="414338" y="446038"/>
            <a:ext cx="8330184" cy="333425"/>
          </a:xfrm>
        </p:spPr>
        <p:txBody>
          <a:bodyPr/>
          <a:lstStyle/>
          <a:p>
            <a:r>
              <a:rPr lang="nl-NL"/>
              <a:t>Puzzles </a:t>
            </a:r>
            <a:r>
              <a:rPr lang="en-US"/>
              <a:t>—</a:t>
            </a:r>
            <a:r>
              <a:rPr lang="nl-NL" smtClean="0"/>
              <a:t> </a:t>
            </a:r>
            <a:r>
              <a:rPr lang="nl-NL"/>
              <a:t>square</a:t>
            </a:r>
          </a:p>
        </p:txBody>
      </p:sp>
      <p:sp>
        <p:nvSpPr>
          <p:cNvPr id="19" name="Rectangle 18"/>
          <p:cNvSpPr>
            <a:spLocks noChangeArrowheads="1"/>
          </p:cNvSpPr>
          <p:nvPr/>
        </p:nvSpPr>
        <p:spPr bwMode="auto">
          <a:xfrm>
            <a:off x="5741988" y="446038"/>
            <a:ext cx="2930525" cy="461665"/>
          </a:xfrm>
          <a:prstGeom prst="rect">
            <a:avLst/>
          </a:prstGeom>
          <a:noFill/>
          <a:ln w="12700" algn="ctr">
            <a:solidFill>
              <a:schemeClr val="accent1"/>
            </a:solidFill>
            <a:miter lim="800000"/>
            <a:headEnd/>
            <a:tailEnd/>
          </a:ln>
        </p:spPr>
        <p:txBody>
          <a:bodyPr tIns="91440" bIns="91440">
            <a:spAutoFit/>
          </a:bodyPr>
          <a:lstStyle/>
          <a:p>
            <a:pPr algn="l">
              <a:defRPr/>
            </a:pPr>
            <a:r>
              <a:rPr lang="en-GB" sz="900" b="0" dirty="0">
                <a:solidFill>
                  <a:schemeClr val="tx2"/>
                </a:solidFill>
                <a:ea typeface="ＭＳ Ｐゴシック" pitchFamily="50" charset="-128"/>
              </a:rPr>
              <a:t>Tip! Hold the </a:t>
            </a:r>
            <a:r>
              <a:rPr lang="en-GB" sz="900" dirty="0">
                <a:solidFill>
                  <a:schemeClr val="tx2"/>
                </a:solidFill>
                <a:ea typeface="ＭＳ Ｐゴシック" pitchFamily="50" charset="-128"/>
              </a:rPr>
              <a:t>Shift key </a:t>
            </a:r>
            <a:r>
              <a:rPr lang="en-GB" sz="900" b="0" dirty="0">
                <a:solidFill>
                  <a:schemeClr val="tx2"/>
                </a:solidFill>
                <a:ea typeface="ＭＳ Ｐゴシック" pitchFamily="50" charset="-128"/>
              </a:rPr>
              <a:t>when enlarging the pieces if you want them to remain </a:t>
            </a:r>
            <a:r>
              <a:rPr lang="en-GB" sz="900" b="0" dirty="0" smtClean="0">
                <a:solidFill>
                  <a:schemeClr val="tx2"/>
                </a:solidFill>
                <a:ea typeface="ＭＳ Ｐゴシック" pitchFamily="50" charset="-128"/>
              </a:rPr>
              <a:t>square.</a:t>
            </a:r>
            <a:endParaRPr lang="en-GB" sz="900" b="0" dirty="0">
              <a:solidFill>
                <a:schemeClr val="tx2"/>
              </a:solidFill>
              <a:ea typeface="ＭＳ Ｐゴシック" pitchFamily="50" charset="-128"/>
            </a:endParaRPr>
          </a:p>
        </p:txBody>
      </p:sp>
      <p:sp>
        <p:nvSpPr>
          <p:cNvPr id="20"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grpSp>
        <p:nvGrpSpPr>
          <p:cNvPr id="22" name="Group 3"/>
          <p:cNvGrpSpPr>
            <a:grpSpLocks/>
          </p:cNvGrpSpPr>
          <p:nvPr/>
        </p:nvGrpSpPr>
        <p:grpSpPr bwMode="auto">
          <a:xfrm>
            <a:off x="815975" y="1590260"/>
            <a:ext cx="3357563" cy="3346450"/>
            <a:chOff x="557" y="1281"/>
            <a:chExt cx="2291" cy="2108"/>
          </a:xfrm>
        </p:grpSpPr>
        <p:sp>
          <p:nvSpPr>
            <p:cNvPr id="23" name="Freeform 4"/>
            <p:cNvSpPr>
              <a:spLocks/>
            </p:cNvSpPr>
            <p:nvPr/>
          </p:nvSpPr>
          <p:spPr bwMode="auto">
            <a:xfrm>
              <a:off x="557" y="1281"/>
              <a:ext cx="1453" cy="1054"/>
            </a:xfrm>
            <a:custGeom>
              <a:avLst/>
              <a:gdLst>
                <a:gd name="T0" fmla="*/ 0 w 2312"/>
                <a:gd name="T1" fmla="*/ 0 h 1823"/>
                <a:gd name="T2" fmla="*/ 178 w 2312"/>
                <a:gd name="T3" fmla="*/ 0 h 1823"/>
                <a:gd name="T4" fmla="*/ 178 w 2312"/>
                <a:gd name="T5" fmla="*/ 43 h 1823"/>
                <a:gd name="T6" fmla="*/ 198 w 2312"/>
                <a:gd name="T7" fmla="*/ 39 h 1823"/>
                <a:gd name="T8" fmla="*/ 226 w 2312"/>
                <a:gd name="T9" fmla="*/ 60 h 1823"/>
                <a:gd name="T10" fmla="*/ 202 w 2312"/>
                <a:gd name="T11" fmla="*/ 77 h 1823"/>
                <a:gd name="T12" fmla="*/ 178 w 2312"/>
                <a:gd name="T13" fmla="*/ 75 h 1823"/>
                <a:gd name="T14" fmla="*/ 178 w 2312"/>
                <a:gd name="T15" fmla="*/ 118 h 1823"/>
                <a:gd name="T16" fmla="*/ 112 w 2312"/>
                <a:gd name="T17" fmla="*/ 118 h 1823"/>
                <a:gd name="T18" fmla="*/ 118 w 2312"/>
                <a:gd name="T19" fmla="*/ 102 h 1823"/>
                <a:gd name="T20" fmla="*/ 90 w 2312"/>
                <a:gd name="T21" fmla="*/ 87 h 1823"/>
                <a:gd name="T22" fmla="*/ 60 w 2312"/>
                <a:gd name="T23" fmla="*/ 105 h 1823"/>
                <a:gd name="T24" fmla="*/ 66 w 2312"/>
                <a:gd name="T25" fmla="*/ 118 h 1823"/>
                <a:gd name="T26" fmla="*/ 0 w 2312"/>
                <a:gd name="T27" fmla="*/ 118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1"/>
            </a:solidFill>
            <a:ln w="12700">
              <a:solidFill>
                <a:srgbClr val="FFFFFF"/>
              </a:solidFill>
              <a:round/>
              <a:headEnd/>
              <a:tailEnd/>
            </a:ln>
          </p:spPr>
          <p:txBody>
            <a:bodyPr wrap="none" lIns="0" tIns="0" rIns="0" bIns="0" anchor="ctr"/>
            <a:lstStyle/>
            <a:p>
              <a:endParaRPr lang="en-GB"/>
            </a:p>
          </p:txBody>
        </p:sp>
        <p:sp>
          <p:nvSpPr>
            <p:cNvPr id="24" name="Freeform 23"/>
            <p:cNvSpPr>
              <a:spLocks/>
            </p:cNvSpPr>
            <p:nvPr/>
          </p:nvSpPr>
          <p:spPr bwMode="auto">
            <a:xfrm rot="-5400000">
              <a:off x="460" y="2148"/>
              <a:ext cx="1337" cy="1144"/>
            </a:xfrm>
            <a:custGeom>
              <a:avLst/>
              <a:gdLst>
                <a:gd name="T0" fmla="*/ 0 w 2312"/>
                <a:gd name="T1" fmla="*/ 0 h 1823"/>
                <a:gd name="T2" fmla="*/ 1054 w 2312"/>
                <a:gd name="T3" fmla="*/ 0 h 1823"/>
                <a:gd name="T4" fmla="*/ 1054 w 2312"/>
                <a:gd name="T5" fmla="*/ 422 h 1823"/>
                <a:gd name="T6" fmla="*/ 1168 w 2312"/>
                <a:gd name="T7" fmla="*/ 380 h 1823"/>
                <a:gd name="T8" fmla="*/ 1335 w 2312"/>
                <a:gd name="T9" fmla="*/ 578 h 1823"/>
                <a:gd name="T10" fmla="*/ 1190 w 2312"/>
                <a:gd name="T11" fmla="*/ 755 h 1823"/>
                <a:gd name="T12" fmla="*/ 1054 w 2312"/>
                <a:gd name="T13" fmla="*/ 727 h 1823"/>
                <a:gd name="T14" fmla="*/ 1054 w 2312"/>
                <a:gd name="T15" fmla="*/ 1144 h 1823"/>
                <a:gd name="T16" fmla="*/ 666 w 2312"/>
                <a:gd name="T17" fmla="*/ 1144 h 1823"/>
                <a:gd name="T18" fmla="*/ 694 w 2312"/>
                <a:gd name="T19" fmla="*/ 994 h 1823"/>
                <a:gd name="T20" fmla="*/ 530 w 2312"/>
                <a:gd name="T21" fmla="*/ 843 h 1823"/>
                <a:gd name="T22" fmla="*/ 352 w 2312"/>
                <a:gd name="T23" fmla="*/ 1017 h 1823"/>
                <a:gd name="T24" fmla="*/ 388 w 2312"/>
                <a:gd name="T25" fmla="*/ 1144 h 1823"/>
                <a:gd name="T26" fmla="*/ 0 w 2312"/>
                <a:gd name="T27" fmla="*/ 114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4"/>
            </a:solidFill>
            <a:ln w="12700">
              <a:solidFill>
                <a:schemeClr val="bg1"/>
              </a:solidFill>
              <a:round/>
              <a:headEnd/>
              <a:tailEnd/>
            </a:ln>
          </p:spPr>
          <p:txBody>
            <a:bodyPr wrap="none" lIns="0" tIns="0" rIns="0" bIns="0" anchor="ctr"/>
            <a:lstStyle/>
            <a:p>
              <a:pPr>
                <a:defRPr/>
              </a:pPr>
              <a:endParaRPr lang="en-GB"/>
            </a:p>
          </p:txBody>
        </p:sp>
        <p:sp>
          <p:nvSpPr>
            <p:cNvPr id="25" name="Freeform 24"/>
            <p:cNvSpPr>
              <a:spLocks/>
            </p:cNvSpPr>
            <p:nvPr/>
          </p:nvSpPr>
          <p:spPr bwMode="auto">
            <a:xfrm rot="10800000">
              <a:off x="1396" y="2335"/>
              <a:ext cx="1452" cy="1054"/>
            </a:xfrm>
            <a:custGeom>
              <a:avLst/>
              <a:gdLst>
                <a:gd name="T0" fmla="*/ 0 w 2312"/>
                <a:gd name="T1" fmla="*/ 0 h 1823"/>
                <a:gd name="T2" fmla="*/ 1144 w 2312"/>
                <a:gd name="T3" fmla="*/ 0 h 1823"/>
                <a:gd name="T4" fmla="*/ 1144 w 2312"/>
                <a:gd name="T5" fmla="*/ 389 h 1823"/>
                <a:gd name="T6" fmla="*/ 1269 w 2312"/>
                <a:gd name="T7" fmla="*/ 350 h 1823"/>
                <a:gd name="T8" fmla="*/ 1449 w 2312"/>
                <a:gd name="T9" fmla="*/ 532 h 1823"/>
                <a:gd name="T10" fmla="*/ 1292 w 2312"/>
                <a:gd name="T11" fmla="*/ 696 h 1823"/>
                <a:gd name="T12" fmla="*/ 1144 w 2312"/>
                <a:gd name="T13" fmla="*/ 670 h 1823"/>
                <a:gd name="T14" fmla="*/ 1144 w 2312"/>
                <a:gd name="T15" fmla="*/ 1054 h 1823"/>
                <a:gd name="T16" fmla="*/ 723 w 2312"/>
                <a:gd name="T17" fmla="*/ 1054 h 1823"/>
                <a:gd name="T18" fmla="*/ 754 w 2312"/>
                <a:gd name="T19" fmla="*/ 916 h 1823"/>
                <a:gd name="T20" fmla="*/ 575 w 2312"/>
                <a:gd name="T21" fmla="*/ 777 h 1823"/>
                <a:gd name="T22" fmla="*/ 382 w 2312"/>
                <a:gd name="T23" fmla="*/ 937 h 1823"/>
                <a:gd name="T24" fmla="*/ 421 w 2312"/>
                <a:gd name="T25" fmla="*/ 1054 h 1823"/>
                <a:gd name="T26" fmla="*/ 0 w 2312"/>
                <a:gd name="T27" fmla="*/ 105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3"/>
            </a:solidFill>
            <a:ln w="12700">
              <a:solidFill>
                <a:srgbClr val="FFFFFF"/>
              </a:solidFill>
              <a:round/>
              <a:headEnd/>
              <a:tailEnd/>
            </a:ln>
          </p:spPr>
          <p:txBody>
            <a:bodyPr wrap="none" lIns="0" tIns="0" rIns="0" bIns="0" anchor="ctr"/>
            <a:lstStyle/>
            <a:p>
              <a:pPr>
                <a:defRPr/>
              </a:pPr>
              <a:endParaRPr lang="en-GB"/>
            </a:p>
          </p:txBody>
        </p:sp>
        <p:sp>
          <p:nvSpPr>
            <p:cNvPr id="26" name="Freeform 7"/>
            <p:cNvSpPr>
              <a:spLocks/>
            </p:cNvSpPr>
            <p:nvPr/>
          </p:nvSpPr>
          <p:spPr bwMode="auto">
            <a:xfrm rot="5400000">
              <a:off x="1608" y="1378"/>
              <a:ext cx="1337" cy="1143"/>
            </a:xfrm>
            <a:custGeom>
              <a:avLst/>
              <a:gdLst>
                <a:gd name="T0" fmla="*/ 0 w 2312"/>
                <a:gd name="T1" fmla="*/ 0 h 1823"/>
                <a:gd name="T2" fmla="*/ 118 w 2312"/>
                <a:gd name="T3" fmla="*/ 0 h 1823"/>
                <a:gd name="T4" fmla="*/ 118 w 2312"/>
                <a:gd name="T5" fmla="*/ 65 h 1823"/>
                <a:gd name="T6" fmla="*/ 131 w 2312"/>
                <a:gd name="T7" fmla="*/ 58 h 1823"/>
                <a:gd name="T8" fmla="*/ 149 w 2312"/>
                <a:gd name="T9" fmla="*/ 89 h 1823"/>
                <a:gd name="T10" fmla="*/ 133 w 2312"/>
                <a:gd name="T11" fmla="*/ 117 h 1823"/>
                <a:gd name="T12" fmla="*/ 118 w 2312"/>
                <a:gd name="T13" fmla="*/ 112 h 1823"/>
                <a:gd name="T14" fmla="*/ 118 w 2312"/>
                <a:gd name="T15" fmla="*/ 177 h 1823"/>
                <a:gd name="T16" fmla="*/ 75 w 2312"/>
                <a:gd name="T17" fmla="*/ 177 h 1823"/>
                <a:gd name="T18" fmla="*/ 77 w 2312"/>
                <a:gd name="T19" fmla="*/ 154 h 1823"/>
                <a:gd name="T20" fmla="*/ 59 w 2312"/>
                <a:gd name="T21" fmla="*/ 130 h 1823"/>
                <a:gd name="T22" fmla="*/ 39 w 2312"/>
                <a:gd name="T23" fmla="*/ 157 h 1823"/>
                <a:gd name="T24" fmla="*/ 43 w 2312"/>
                <a:gd name="T25" fmla="*/ 177 h 1823"/>
                <a:gd name="T26" fmla="*/ 0 w 2312"/>
                <a:gd name="T27" fmla="*/ 177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2"/>
            </a:solidFill>
            <a:ln w="12700">
              <a:solidFill>
                <a:srgbClr val="FFFFFF"/>
              </a:solidFill>
              <a:round/>
              <a:headEnd/>
              <a:tailEnd/>
            </a:ln>
          </p:spPr>
          <p:txBody>
            <a:bodyPr wrap="none" lIns="0" tIns="0" rIns="0" bIns="0" anchor="ctr"/>
            <a:lstStyle/>
            <a:p>
              <a:endParaRPr lang="en-GB"/>
            </a:p>
          </p:txBody>
        </p:sp>
      </p:grpSp>
      <p:grpSp>
        <p:nvGrpSpPr>
          <p:cNvPr id="27" name="Group 8"/>
          <p:cNvGrpSpPr>
            <a:grpSpLocks/>
          </p:cNvGrpSpPr>
          <p:nvPr/>
        </p:nvGrpSpPr>
        <p:grpSpPr bwMode="auto">
          <a:xfrm>
            <a:off x="4933083" y="1575972"/>
            <a:ext cx="3390900" cy="3375025"/>
            <a:chOff x="3347" y="1272"/>
            <a:chExt cx="2314" cy="2126"/>
          </a:xfrm>
        </p:grpSpPr>
        <p:sp>
          <p:nvSpPr>
            <p:cNvPr id="28" name="Freeform 27"/>
            <p:cNvSpPr>
              <a:spLocks/>
            </p:cNvSpPr>
            <p:nvPr/>
          </p:nvSpPr>
          <p:spPr bwMode="auto">
            <a:xfrm>
              <a:off x="3917" y="1792"/>
              <a:ext cx="974" cy="897"/>
            </a:xfrm>
            <a:custGeom>
              <a:avLst/>
              <a:gdLst>
                <a:gd name="T0" fmla="*/ 307 w 850"/>
                <a:gd name="T1" fmla="*/ 735 h 853"/>
                <a:gd name="T2" fmla="*/ 256 w 850"/>
                <a:gd name="T3" fmla="*/ 745 h 853"/>
                <a:gd name="T4" fmla="*/ 163 w 850"/>
                <a:gd name="T5" fmla="*/ 767 h 853"/>
                <a:gd name="T6" fmla="*/ 73 w 850"/>
                <a:gd name="T7" fmla="*/ 741 h 853"/>
                <a:gd name="T8" fmla="*/ 10 w 850"/>
                <a:gd name="T9" fmla="*/ 679 h 853"/>
                <a:gd name="T10" fmla="*/ 0 w 850"/>
                <a:gd name="T11" fmla="*/ 585 h 853"/>
                <a:gd name="T12" fmla="*/ 47 w 850"/>
                <a:gd name="T13" fmla="*/ 528 h 853"/>
                <a:gd name="T14" fmla="*/ 141 w 850"/>
                <a:gd name="T15" fmla="*/ 496 h 853"/>
                <a:gd name="T16" fmla="*/ 249 w 850"/>
                <a:gd name="T17" fmla="*/ 521 h 853"/>
                <a:gd name="T18" fmla="*/ 307 w 850"/>
                <a:gd name="T19" fmla="*/ 522 h 853"/>
                <a:gd name="T20" fmla="*/ 746 w 850"/>
                <a:gd name="T21" fmla="*/ 218 h 853"/>
                <a:gd name="T22" fmla="*/ 730 w 850"/>
                <a:gd name="T23" fmla="*/ 188 h 853"/>
                <a:gd name="T24" fmla="*/ 690 w 850"/>
                <a:gd name="T25" fmla="*/ 136 h 853"/>
                <a:gd name="T26" fmla="*/ 693 w 850"/>
                <a:gd name="T27" fmla="*/ 89 h 853"/>
                <a:gd name="T28" fmla="*/ 723 w 850"/>
                <a:gd name="T29" fmla="*/ 47 h 853"/>
                <a:gd name="T30" fmla="*/ 827 w 850"/>
                <a:gd name="T31" fmla="*/ 4 h 853"/>
                <a:gd name="T32" fmla="*/ 927 w 850"/>
                <a:gd name="T33" fmla="*/ 1 h 853"/>
                <a:gd name="T34" fmla="*/ 1031 w 850"/>
                <a:gd name="T35" fmla="*/ 34 h 853"/>
                <a:gd name="T36" fmla="*/ 1066 w 850"/>
                <a:gd name="T37" fmla="*/ 103 h 853"/>
                <a:gd name="T38" fmla="*/ 1047 w 850"/>
                <a:gd name="T39" fmla="*/ 159 h 853"/>
                <a:gd name="T40" fmla="*/ 1008 w 850"/>
                <a:gd name="T41" fmla="*/ 206 h 853"/>
                <a:gd name="T42" fmla="*/ 1466 w 850"/>
                <a:gd name="T43" fmla="*/ 218 h 853"/>
                <a:gd name="T44" fmla="*/ 1443 w 850"/>
                <a:gd name="T45" fmla="*/ 533 h 853"/>
                <a:gd name="T46" fmla="*/ 1360 w 850"/>
                <a:gd name="T47" fmla="*/ 502 h 853"/>
                <a:gd name="T48" fmla="*/ 1267 w 850"/>
                <a:gd name="T49" fmla="*/ 498 h 853"/>
                <a:gd name="T50" fmla="*/ 1196 w 850"/>
                <a:gd name="T51" fmla="*/ 532 h 853"/>
                <a:gd name="T52" fmla="*/ 1160 w 850"/>
                <a:gd name="T53" fmla="*/ 588 h 853"/>
                <a:gd name="T54" fmla="*/ 1160 w 850"/>
                <a:gd name="T55" fmla="*/ 672 h 853"/>
                <a:gd name="T56" fmla="*/ 1220 w 850"/>
                <a:gd name="T57" fmla="*/ 735 h 853"/>
                <a:gd name="T58" fmla="*/ 1309 w 850"/>
                <a:gd name="T59" fmla="*/ 765 h 853"/>
                <a:gd name="T60" fmla="*/ 1392 w 850"/>
                <a:gd name="T61" fmla="*/ 753 h 853"/>
                <a:gd name="T62" fmla="*/ 1453 w 850"/>
                <a:gd name="T63" fmla="*/ 720 h 853"/>
                <a:gd name="T64" fmla="*/ 1466 w 850"/>
                <a:gd name="T65" fmla="*/ 1043 h 853"/>
                <a:gd name="T66" fmla="*/ 1014 w 850"/>
                <a:gd name="T67" fmla="*/ 1028 h 853"/>
                <a:gd name="T68" fmla="*/ 1055 w 850"/>
                <a:gd name="T69" fmla="*/ 999 h 853"/>
                <a:gd name="T70" fmla="*/ 1081 w 850"/>
                <a:gd name="T71" fmla="*/ 947 h 853"/>
                <a:gd name="T72" fmla="*/ 1061 w 850"/>
                <a:gd name="T73" fmla="*/ 897 h 853"/>
                <a:gd name="T74" fmla="*/ 1000 w 850"/>
                <a:gd name="T75" fmla="*/ 853 h 853"/>
                <a:gd name="T76" fmla="*/ 879 w 850"/>
                <a:gd name="T77" fmla="*/ 827 h 853"/>
                <a:gd name="T78" fmla="*/ 795 w 850"/>
                <a:gd name="T79" fmla="*/ 836 h 853"/>
                <a:gd name="T80" fmla="*/ 730 w 850"/>
                <a:gd name="T81" fmla="*/ 872 h 853"/>
                <a:gd name="T82" fmla="*/ 699 w 850"/>
                <a:gd name="T83" fmla="*/ 935 h 853"/>
                <a:gd name="T84" fmla="*/ 720 w 850"/>
                <a:gd name="T85" fmla="*/ 991 h 853"/>
                <a:gd name="T86" fmla="*/ 753 w 850"/>
                <a:gd name="T87" fmla="*/ 1031 h 853"/>
                <a:gd name="T88" fmla="*/ 307 w 850"/>
                <a:gd name="T89" fmla="*/ 1043 h 8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50"/>
                <a:gd name="T136" fmla="*/ 0 h 853"/>
                <a:gd name="T137" fmla="*/ 850 w 850"/>
                <a:gd name="T138" fmla="*/ 853 h 85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50" h="853">
                  <a:moveTo>
                    <a:pt x="178" y="853"/>
                  </a:moveTo>
                  <a:lnTo>
                    <a:pt x="178" y="601"/>
                  </a:lnTo>
                  <a:lnTo>
                    <a:pt x="165" y="592"/>
                  </a:lnTo>
                  <a:lnTo>
                    <a:pt x="148" y="609"/>
                  </a:lnTo>
                  <a:lnTo>
                    <a:pt x="124" y="621"/>
                  </a:lnTo>
                  <a:lnTo>
                    <a:pt x="94" y="627"/>
                  </a:lnTo>
                  <a:lnTo>
                    <a:pt x="69" y="621"/>
                  </a:lnTo>
                  <a:lnTo>
                    <a:pt x="43" y="606"/>
                  </a:lnTo>
                  <a:lnTo>
                    <a:pt x="22" y="583"/>
                  </a:lnTo>
                  <a:lnTo>
                    <a:pt x="6" y="555"/>
                  </a:lnTo>
                  <a:lnTo>
                    <a:pt x="0" y="520"/>
                  </a:lnTo>
                  <a:lnTo>
                    <a:pt x="0" y="478"/>
                  </a:lnTo>
                  <a:lnTo>
                    <a:pt x="13" y="447"/>
                  </a:lnTo>
                  <a:lnTo>
                    <a:pt x="27" y="432"/>
                  </a:lnTo>
                  <a:lnTo>
                    <a:pt x="43" y="417"/>
                  </a:lnTo>
                  <a:lnTo>
                    <a:pt x="81" y="406"/>
                  </a:lnTo>
                  <a:lnTo>
                    <a:pt x="115" y="411"/>
                  </a:lnTo>
                  <a:lnTo>
                    <a:pt x="144" y="426"/>
                  </a:lnTo>
                  <a:lnTo>
                    <a:pt x="166" y="439"/>
                  </a:lnTo>
                  <a:lnTo>
                    <a:pt x="178" y="427"/>
                  </a:lnTo>
                  <a:lnTo>
                    <a:pt x="178" y="178"/>
                  </a:lnTo>
                  <a:lnTo>
                    <a:pt x="433" y="178"/>
                  </a:lnTo>
                  <a:lnTo>
                    <a:pt x="438" y="168"/>
                  </a:lnTo>
                  <a:lnTo>
                    <a:pt x="423" y="154"/>
                  </a:lnTo>
                  <a:lnTo>
                    <a:pt x="409" y="138"/>
                  </a:lnTo>
                  <a:lnTo>
                    <a:pt x="400" y="111"/>
                  </a:lnTo>
                  <a:lnTo>
                    <a:pt x="399" y="93"/>
                  </a:lnTo>
                  <a:lnTo>
                    <a:pt x="402" y="73"/>
                  </a:lnTo>
                  <a:lnTo>
                    <a:pt x="406" y="57"/>
                  </a:lnTo>
                  <a:lnTo>
                    <a:pt x="420" y="39"/>
                  </a:lnTo>
                  <a:lnTo>
                    <a:pt x="447" y="18"/>
                  </a:lnTo>
                  <a:lnTo>
                    <a:pt x="480" y="4"/>
                  </a:lnTo>
                  <a:lnTo>
                    <a:pt x="507" y="0"/>
                  </a:lnTo>
                  <a:lnTo>
                    <a:pt x="538" y="1"/>
                  </a:lnTo>
                  <a:lnTo>
                    <a:pt x="568" y="7"/>
                  </a:lnTo>
                  <a:lnTo>
                    <a:pt x="598" y="28"/>
                  </a:lnTo>
                  <a:lnTo>
                    <a:pt x="613" y="55"/>
                  </a:lnTo>
                  <a:lnTo>
                    <a:pt x="619" y="84"/>
                  </a:lnTo>
                  <a:lnTo>
                    <a:pt x="615" y="109"/>
                  </a:lnTo>
                  <a:lnTo>
                    <a:pt x="607" y="130"/>
                  </a:lnTo>
                  <a:lnTo>
                    <a:pt x="594" y="151"/>
                  </a:lnTo>
                  <a:lnTo>
                    <a:pt x="585" y="168"/>
                  </a:lnTo>
                  <a:lnTo>
                    <a:pt x="595" y="178"/>
                  </a:lnTo>
                  <a:lnTo>
                    <a:pt x="850" y="178"/>
                  </a:lnTo>
                  <a:lnTo>
                    <a:pt x="850" y="421"/>
                  </a:lnTo>
                  <a:lnTo>
                    <a:pt x="837" y="436"/>
                  </a:lnTo>
                  <a:lnTo>
                    <a:pt x="820" y="429"/>
                  </a:lnTo>
                  <a:lnTo>
                    <a:pt x="789" y="411"/>
                  </a:lnTo>
                  <a:lnTo>
                    <a:pt x="759" y="405"/>
                  </a:lnTo>
                  <a:lnTo>
                    <a:pt x="735" y="408"/>
                  </a:lnTo>
                  <a:lnTo>
                    <a:pt x="712" y="418"/>
                  </a:lnTo>
                  <a:lnTo>
                    <a:pt x="694" y="435"/>
                  </a:lnTo>
                  <a:lnTo>
                    <a:pt x="682" y="453"/>
                  </a:lnTo>
                  <a:lnTo>
                    <a:pt x="673" y="481"/>
                  </a:lnTo>
                  <a:lnTo>
                    <a:pt x="667" y="513"/>
                  </a:lnTo>
                  <a:lnTo>
                    <a:pt x="673" y="550"/>
                  </a:lnTo>
                  <a:lnTo>
                    <a:pt x="690" y="579"/>
                  </a:lnTo>
                  <a:lnTo>
                    <a:pt x="708" y="601"/>
                  </a:lnTo>
                  <a:lnTo>
                    <a:pt x="733" y="618"/>
                  </a:lnTo>
                  <a:lnTo>
                    <a:pt x="759" y="625"/>
                  </a:lnTo>
                  <a:lnTo>
                    <a:pt x="781" y="625"/>
                  </a:lnTo>
                  <a:lnTo>
                    <a:pt x="807" y="616"/>
                  </a:lnTo>
                  <a:lnTo>
                    <a:pt x="825" y="601"/>
                  </a:lnTo>
                  <a:lnTo>
                    <a:pt x="843" y="589"/>
                  </a:lnTo>
                  <a:lnTo>
                    <a:pt x="850" y="601"/>
                  </a:lnTo>
                  <a:lnTo>
                    <a:pt x="850" y="853"/>
                  </a:lnTo>
                  <a:lnTo>
                    <a:pt x="592" y="853"/>
                  </a:lnTo>
                  <a:lnTo>
                    <a:pt x="588" y="841"/>
                  </a:lnTo>
                  <a:lnTo>
                    <a:pt x="600" y="831"/>
                  </a:lnTo>
                  <a:lnTo>
                    <a:pt x="613" y="817"/>
                  </a:lnTo>
                  <a:lnTo>
                    <a:pt x="621" y="798"/>
                  </a:lnTo>
                  <a:lnTo>
                    <a:pt x="627" y="775"/>
                  </a:lnTo>
                  <a:lnTo>
                    <a:pt x="621" y="753"/>
                  </a:lnTo>
                  <a:lnTo>
                    <a:pt x="615" y="733"/>
                  </a:lnTo>
                  <a:lnTo>
                    <a:pt x="601" y="715"/>
                  </a:lnTo>
                  <a:lnTo>
                    <a:pt x="580" y="697"/>
                  </a:lnTo>
                  <a:lnTo>
                    <a:pt x="550" y="682"/>
                  </a:lnTo>
                  <a:lnTo>
                    <a:pt x="510" y="675"/>
                  </a:lnTo>
                  <a:lnTo>
                    <a:pt x="487" y="678"/>
                  </a:lnTo>
                  <a:lnTo>
                    <a:pt x="462" y="684"/>
                  </a:lnTo>
                  <a:lnTo>
                    <a:pt x="439" y="697"/>
                  </a:lnTo>
                  <a:lnTo>
                    <a:pt x="423" y="712"/>
                  </a:lnTo>
                  <a:lnTo>
                    <a:pt x="411" y="736"/>
                  </a:lnTo>
                  <a:lnTo>
                    <a:pt x="405" y="765"/>
                  </a:lnTo>
                  <a:lnTo>
                    <a:pt x="408" y="787"/>
                  </a:lnTo>
                  <a:lnTo>
                    <a:pt x="417" y="810"/>
                  </a:lnTo>
                  <a:lnTo>
                    <a:pt x="429" y="828"/>
                  </a:lnTo>
                  <a:lnTo>
                    <a:pt x="436" y="843"/>
                  </a:lnTo>
                  <a:lnTo>
                    <a:pt x="427" y="853"/>
                  </a:lnTo>
                  <a:lnTo>
                    <a:pt x="178" y="853"/>
                  </a:lnTo>
                  <a:close/>
                </a:path>
              </a:pathLst>
            </a:custGeom>
            <a:solidFill>
              <a:schemeClr val="accent5"/>
            </a:solidFill>
            <a:ln w="12700">
              <a:solidFill>
                <a:schemeClr val="bg1"/>
              </a:solidFill>
              <a:round/>
              <a:headEnd/>
              <a:tailEnd/>
            </a:ln>
          </p:spPr>
          <p:txBody>
            <a:bodyPr wrap="none" lIns="0" tIns="0" rIns="0" bIns="0" anchor="ctr"/>
            <a:lstStyle/>
            <a:p>
              <a:pPr>
                <a:defRPr/>
              </a:pPr>
              <a:endParaRPr lang="en-GB"/>
            </a:p>
          </p:txBody>
        </p:sp>
        <p:sp>
          <p:nvSpPr>
            <p:cNvPr id="29" name="Freeform 10"/>
            <p:cNvSpPr>
              <a:spLocks/>
            </p:cNvSpPr>
            <p:nvPr/>
          </p:nvSpPr>
          <p:spPr bwMode="auto">
            <a:xfrm>
              <a:off x="4118" y="1272"/>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2"/>
            </a:solidFill>
            <a:ln w="12700">
              <a:solidFill>
                <a:schemeClr val="bg1"/>
              </a:solidFill>
              <a:round/>
              <a:headEnd/>
              <a:tailEnd/>
            </a:ln>
          </p:spPr>
          <p:txBody>
            <a:bodyPr wrap="none" lIns="0" tIns="0" rIns="0" bIns="0" anchor="ctr"/>
            <a:lstStyle/>
            <a:p>
              <a:endParaRPr lang="en-GB"/>
            </a:p>
          </p:txBody>
        </p:sp>
        <p:sp>
          <p:nvSpPr>
            <p:cNvPr id="30" name="Freeform 11"/>
            <p:cNvSpPr>
              <a:spLocks/>
            </p:cNvSpPr>
            <p:nvPr/>
          </p:nvSpPr>
          <p:spPr bwMode="auto">
            <a:xfrm>
              <a:off x="3347" y="1272"/>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1"/>
            </a:solidFill>
            <a:ln w="12700">
              <a:solidFill>
                <a:schemeClr val="bg1"/>
              </a:solidFill>
              <a:round/>
              <a:headEnd/>
              <a:tailEnd/>
            </a:ln>
          </p:spPr>
          <p:txBody>
            <a:bodyPr wrap="none" lIns="0" tIns="0" rIns="0" bIns="0" anchor="ctr"/>
            <a:lstStyle/>
            <a:p>
              <a:endParaRPr lang="en-GB"/>
            </a:p>
          </p:txBody>
        </p:sp>
        <p:sp>
          <p:nvSpPr>
            <p:cNvPr id="31" name="Freeform 30"/>
            <p:cNvSpPr>
              <a:spLocks/>
            </p:cNvSpPr>
            <p:nvPr/>
          </p:nvSpPr>
          <p:spPr bwMode="auto">
            <a:xfrm>
              <a:off x="3347" y="1787"/>
              <a:ext cx="774" cy="1090"/>
            </a:xfrm>
            <a:custGeom>
              <a:avLst/>
              <a:gdLst>
                <a:gd name="T0" fmla="*/ 0 w 673"/>
                <a:gd name="T1" fmla="*/ 904 h 1036"/>
                <a:gd name="T2" fmla="*/ 0 w 673"/>
                <a:gd name="T3" fmla="*/ 190 h 1036"/>
                <a:gd name="T4" fmla="*/ 285 w 673"/>
                <a:gd name="T5" fmla="*/ 190 h 1036"/>
                <a:gd name="T6" fmla="*/ 257 w 673"/>
                <a:gd name="T7" fmla="*/ 114 h 1036"/>
                <a:gd name="T8" fmla="*/ 391 w 673"/>
                <a:gd name="T9" fmla="*/ 1 h 1036"/>
                <a:gd name="T10" fmla="*/ 510 w 673"/>
                <a:gd name="T11" fmla="*/ 99 h 1036"/>
                <a:gd name="T12" fmla="*/ 492 w 673"/>
                <a:gd name="T13" fmla="*/ 190 h 1036"/>
                <a:gd name="T14" fmla="*/ 773 w 673"/>
                <a:gd name="T15" fmla="*/ 190 h 1036"/>
                <a:gd name="T16" fmla="*/ 773 w 673"/>
                <a:gd name="T17" fmla="*/ 450 h 1036"/>
                <a:gd name="T18" fmla="*/ 672 w 673"/>
                <a:gd name="T19" fmla="*/ 431 h 1036"/>
                <a:gd name="T20" fmla="*/ 570 w 673"/>
                <a:gd name="T21" fmla="*/ 542 h 1036"/>
                <a:gd name="T22" fmla="*/ 687 w 673"/>
                <a:gd name="T23" fmla="*/ 662 h 1036"/>
                <a:gd name="T24" fmla="*/ 773 w 673"/>
                <a:gd name="T25" fmla="*/ 637 h 1036"/>
                <a:gd name="T26" fmla="*/ 773 w 673"/>
                <a:gd name="T27" fmla="*/ 904 h 1036"/>
                <a:gd name="T28" fmla="*/ 484 w 673"/>
                <a:gd name="T29" fmla="*/ 904 h 1036"/>
                <a:gd name="T30" fmla="*/ 470 w 673"/>
                <a:gd name="T31" fmla="*/ 917 h 1036"/>
                <a:gd name="T32" fmla="*/ 482 w 673"/>
                <a:gd name="T33" fmla="*/ 935 h 1036"/>
                <a:gd name="T34" fmla="*/ 497 w 673"/>
                <a:gd name="T35" fmla="*/ 954 h 1036"/>
                <a:gd name="T36" fmla="*/ 507 w 673"/>
                <a:gd name="T37" fmla="*/ 971 h 1036"/>
                <a:gd name="T38" fmla="*/ 511 w 673"/>
                <a:gd name="T39" fmla="*/ 995 h 1036"/>
                <a:gd name="T40" fmla="*/ 508 w 673"/>
                <a:gd name="T41" fmla="*/ 1022 h 1036"/>
                <a:gd name="T42" fmla="*/ 497 w 673"/>
                <a:gd name="T43" fmla="*/ 1044 h 1036"/>
                <a:gd name="T44" fmla="*/ 480 w 673"/>
                <a:gd name="T45" fmla="*/ 1063 h 1036"/>
                <a:gd name="T46" fmla="*/ 455 w 673"/>
                <a:gd name="T47" fmla="*/ 1081 h 1036"/>
                <a:gd name="T48" fmla="*/ 417 w 673"/>
                <a:gd name="T49" fmla="*/ 1087 h 1036"/>
                <a:gd name="T50" fmla="*/ 386 w 673"/>
                <a:gd name="T51" fmla="*/ 1090 h 1036"/>
                <a:gd name="T52" fmla="*/ 355 w 673"/>
                <a:gd name="T53" fmla="*/ 1087 h 1036"/>
                <a:gd name="T54" fmla="*/ 327 w 673"/>
                <a:gd name="T55" fmla="*/ 1077 h 1036"/>
                <a:gd name="T56" fmla="*/ 301 w 673"/>
                <a:gd name="T57" fmla="*/ 1059 h 1036"/>
                <a:gd name="T58" fmla="*/ 279 w 673"/>
                <a:gd name="T59" fmla="*/ 1046 h 1036"/>
                <a:gd name="T60" fmla="*/ 263 w 673"/>
                <a:gd name="T61" fmla="*/ 1015 h 1036"/>
                <a:gd name="T62" fmla="*/ 260 w 673"/>
                <a:gd name="T63" fmla="*/ 990 h 1036"/>
                <a:gd name="T64" fmla="*/ 258 w 673"/>
                <a:gd name="T65" fmla="*/ 967 h 1036"/>
                <a:gd name="T66" fmla="*/ 272 w 673"/>
                <a:gd name="T67" fmla="*/ 933 h 1036"/>
                <a:gd name="T68" fmla="*/ 296 w 673"/>
                <a:gd name="T69" fmla="*/ 916 h 1036"/>
                <a:gd name="T70" fmla="*/ 287 w 673"/>
                <a:gd name="T71" fmla="*/ 904 h 1036"/>
                <a:gd name="T72" fmla="*/ 0 w 673"/>
                <a:gd name="T73" fmla="*/ 904 h 10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73"/>
                <a:gd name="T112" fmla="*/ 0 h 1036"/>
                <a:gd name="T113" fmla="*/ 673 w 673"/>
                <a:gd name="T114" fmla="*/ 1036 h 10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73" h="1036">
                  <a:moveTo>
                    <a:pt x="0" y="859"/>
                  </a:moveTo>
                  <a:lnTo>
                    <a:pt x="0" y="181"/>
                  </a:lnTo>
                  <a:lnTo>
                    <a:pt x="248" y="181"/>
                  </a:lnTo>
                  <a:cubicBezTo>
                    <a:pt x="285" y="169"/>
                    <a:pt x="226" y="159"/>
                    <a:pt x="224" y="108"/>
                  </a:cubicBezTo>
                  <a:cubicBezTo>
                    <a:pt x="222" y="57"/>
                    <a:pt x="272" y="0"/>
                    <a:pt x="340" y="1"/>
                  </a:cubicBezTo>
                  <a:cubicBezTo>
                    <a:pt x="408" y="3"/>
                    <a:pt x="441" y="44"/>
                    <a:pt x="444" y="94"/>
                  </a:cubicBezTo>
                  <a:cubicBezTo>
                    <a:pt x="447" y="144"/>
                    <a:pt x="389" y="165"/>
                    <a:pt x="428" y="181"/>
                  </a:cubicBezTo>
                  <a:lnTo>
                    <a:pt x="673" y="181"/>
                  </a:lnTo>
                  <a:lnTo>
                    <a:pt x="673" y="428"/>
                  </a:lnTo>
                  <a:cubicBezTo>
                    <a:pt x="658" y="467"/>
                    <a:pt x="641" y="409"/>
                    <a:pt x="585" y="410"/>
                  </a:cubicBezTo>
                  <a:cubicBezTo>
                    <a:pt x="529" y="412"/>
                    <a:pt x="496" y="453"/>
                    <a:pt x="496" y="515"/>
                  </a:cubicBezTo>
                  <a:cubicBezTo>
                    <a:pt x="497" y="577"/>
                    <a:pt x="542" y="629"/>
                    <a:pt x="598" y="629"/>
                  </a:cubicBezTo>
                  <a:cubicBezTo>
                    <a:pt x="654" y="629"/>
                    <a:pt x="661" y="570"/>
                    <a:pt x="673" y="605"/>
                  </a:cubicBezTo>
                  <a:lnTo>
                    <a:pt x="673" y="859"/>
                  </a:lnTo>
                  <a:lnTo>
                    <a:pt x="421" y="859"/>
                  </a:lnTo>
                  <a:lnTo>
                    <a:pt x="409" y="872"/>
                  </a:lnTo>
                  <a:lnTo>
                    <a:pt x="420" y="889"/>
                  </a:lnTo>
                  <a:lnTo>
                    <a:pt x="433" y="907"/>
                  </a:lnTo>
                  <a:lnTo>
                    <a:pt x="441" y="923"/>
                  </a:lnTo>
                  <a:lnTo>
                    <a:pt x="445" y="946"/>
                  </a:lnTo>
                  <a:lnTo>
                    <a:pt x="442" y="971"/>
                  </a:lnTo>
                  <a:lnTo>
                    <a:pt x="433" y="992"/>
                  </a:lnTo>
                  <a:lnTo>
                    <a:pt x="418" y="1010"/>
                  </a:lnTo>
                  <a:lnTo>
                    <a:pt x="396" y="1027"/>
                  </a:lnTo>
                  <a:lnTo>
                    <a:pt x="363" y="1033"/>
                  </a:lnTo>
                  <a:lnTo>
                    <a:pt x="336" y="1036"/>
                  </a:lnTo>
                  <a:lnTo>
                    <a:pt x="309" y="1033"/>
                  </a:lnTo>
                  <a:lnTo>
                    <a:pt x="285" y="1024"/>
                  </a:lnTo>
                  <a:lnTo>
                    <a:pt x="262" y="1007"/>
                  </a:lnTo>
                  <a:lnTo>
                    <a:pt x="243" y="994"/>
                  </a:lnTo>
                  <a:lnTo>
                    <a:pt x="229" y="965"/>
                  </a:lnTo>
                  <a:lnTo>
                    <a:pt x="226" y="941"/>
                  </a:lnTo>
                  <a:lnTo>
                    <a:pt x="225" y="919"/>
                  </a:lnTo>
                  <a:lnTo>
                    <a:pt x="237" y="887"/>
                  </a:lnTo>
                  <a:lnTo>
                    <a:pt x="258" y="871"/>
                  </a:lnTo>
                  <a:lnTo>
                    <a:pt x="250" y="859"/>
                  </a:lnTo>
                  <a:lnTo>
                    <a:pt x="0" y="859"/>
                  </a:lnTo>
                  <a:close/>
                </a:path>
              </a:pathLst>
            </a:custGeom>
            <a:solidFill>
              <a:schemeClr val="accent4"/>
            </a:solidFill>
            <a:ln w="12700">
              <a:solidFill>
                <a:schemeClr val="bg1"/>
              </a:solidFill>
              <a:round/>
              <a:headEnd/>
              <a:tailEnd/>
            </a:ln>
          </p:spPr>
          <p:txBody>
            <a:bodyPr wrap="none" lIns="0" tIns="0" rIns="0" bIns="0" anchor="ctr"/>
            <a:lstStyle/>
            <a:p>
              <a:pPr>
                <a:defRPr/>
              </a:pPr>
              <a:endParaRPr lang="en-GB"/>
            </a:p>
          </p:txBody>
        </p:sp>
        <p:sp>
          <p:nvSpPr>
            <p:cNvPr id="32" name="Freeform 31"/>
            <p:cNvSpPr>
              <a:spLocks/>
            </p:cNvSpPr>
            <p:nvPr/>
          </p:nvSpPr>
          <p:spPr bwMode="auto">
            <a:xfrm>
              <a:off x="3347" y="2497"/>
              <a:ext cx="771" cy="901"/>
            </a:xfrm>
            <a:custGeom>
              <a:avLst/>
              <a:gdLst>
                <a:gd name="T0" fmla="*/ 0 w 673"/>
                <a:gd name="T1" fmla="*/ 1045 h 857"/>
                <a:gd name="T2" fmla="*/ 1 w 673"/>
                <a:gd name="T3" fmla="*/ 221 h 857"/>
                <a:gd name="T4" fmla="*/ 430 w 673"/>
                <a:gd name="T5" fmla="*/ 221 h 857"/>
                <a:gd name="T6" fmla="*/ 386 w 673"/>
                <a:gd name="T7" fmla="*/ 132 h 857"/>
                <a:gd name="T8" fmla="*/ 588 w 673"/>
                <a:gd name="T9" fmla="*/ 1 h 857"/>
                <a:gd name="T10" fmla="*/ 765 w 673"/>
                <a:gd name="T11" fmla="*/ 115 h 857"/>
                <a:gd name="T12" fmla="*/ 737 w 673"/>
                <a:gd name="T13" fmla="*/ 221 h 857"/>
                <a:gd name="T14" fmla="*/ 1159 w 673"/>
                <a:gd name="T15" fmla="*/ 221 h 857"/>
                <a:gd name="T16" fmla="*/ 1159 w 673"/>
                <a:gd name="T17" fmla="*/ 524 h 857"/>
                <a:gd name="T18" fmla="*/ 1159 w 673"/>
                <a:gd name="T19" fmla="*/ 740 h 857"/>
                <a:gd name="T20" fmla="*/ 1159 w 673"/>
                <a:gd name="T21" fmla="*/ 1047 h 857"/>
                <a:gd name="T22" fmla="*/ 0 w 673"/>
                <a:gd name="T23" fmla="*/ 1045 h 8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3"/>
                <a:gd name="T37" fmla="*/ 0 h 857"/>
                <a:gd name="T38" fmla="*/ 673 w 673"/>
                <a:gd name="T39" fmla="*/ 857 h 8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3" h="857">
                  <a:moveTo>
                    <a:pt x="0" y="855"/>
                  </a:moveTo>
                  <a:lnTo>
                    <a:pt x="1" y="181"/>
                  </a:lnTo>
                  <a:lnTo>
                    <a:pt x="249" y="181"/>
                  </a:lnTo>
                  <a:cubicBezTo>
                    <a:pt x="286" y="169"/>
                    <a:pt x="227" y="159"/>
                    <a:pt x="224" y="108"/>
                  </a:cubicBezTo>
                  <a:cubicBezTo>
                    <a:pt x="222" y="57"/>
                    <a:pt x="273" y="0"/>
                    <a:pt x="341" y="1"/>
                  </a:cubicBezTo>
                  <a:cubicBezTo>
                    <a:pt x="408" y="3"/>
                    <a:pt x="442" y="44"/>
                    <a:pt x="444" y="94"/>
                  </a:cubicBezTo>
                  <a:cubicBezTo>
                    <a:pt x="447" y="144"/>
                    <a:pt x="389" y="165"/>
                    <a:pt x="428" y="181"/>
                  </a:cubicBezTo>
                  <a:lnTo>
                    <a:pt x="673" y="181"/>
                  </a:lnTo>
                  <a:lnTo>
                    <a:pt x="673" y="429"/>
                  </a:lnTo>
                  <a:cubicBezTo>
                    <a:pt x="673" y="500"/>
                    <a:pt x="673" y="535"/>
                    <a:pt x="673" y="606"/>
                  </a:cubicBezTo>
                  <a:lnTo>
                    <a:pt x="673" y="857"/>
                  </a:lnTo>
                  <a:lnTo>
                    <a:pt x="0" y="855"/>
                  </a:lnTo>
                  <a:close/>
                </a:path>
              </a:pathLst>
            </a:custGeom>
            <a:solidFill>
              <a:schemeClr val="accent1">
                <a:lumMod val="60000"/>
                <a:lumOff val="40000"/>
              </a:schemeClr>
            </a:solidFill>
            <a:ln w="12700">
              <a:solidFill>
                <a:schemeClr val="bg1"/>
              </a:solidFill>
              <a:round/>
              <a:headEnd/>
              <a:tailEnd/>
            </a:ln>
          </p:spPr>
          <p:txBody>
            <a:bodyPr wrap="none" lIns="0" tIns="0" rIns="0" bIns="0" anchor="ctr"/>
            <a:lstStyle/>
            <a:p>
              <a:pPr>
                <a:defRPr/>
              </a:pPr>
              <a:endParaRPr lang="en-GB"/>
            </a:p>
          </p:txBody>
        </p:sp>
        <p:sp>
          <p:nvSpPr>
            <p:cNvPr id="33" name="Freeform 32"/>
            <p:cNvSpPr>
              <a:spLocks/>
            </p:cNvSpPr>
            <p:nvPr/>
          </p:nvSpPr>
          <p:spPr bwMode="auto">
            <a:xfrm>
              <a:off x="3908" y="2500"/>
              <a:ext cx="983" cy="898"/>
            </a:xfrm>
            <a:custGeom>
              <a:avLst/>
              <a:gdLst>
                <a:gd name="T0" fmla="*/ 983 w 857"/>
                <a:gd name="T1" fmla="*/ 898 h 853"/>
                <a:gd name="T2" fmla="*/ 983 w 857"/>
                <a:gd name="T3" fmla="*/ 191 h 853"/>
                <a:gd name="T4" fmla="*/ 699 w 857"/>
                <a:gd name="T5" fmla="*/ 191 h 853"/>
                <a:gd name="T6" fmla="*/ 726 w 857"/>
                <a:gd name="T7" fmla="*/ 114 h 853"/>
                <a:gd name="T8" fmla="*/ 593 w 857"/>
                <a:gd name="T9" fmla="*/ 1 h 853"/>
                <a:gd name="T10" fmla="*/ 474 w 857"/>
                <a:gd name="T11" fmla="*/ 99 h 853"/>
                <a:gd name="T12" fmla="*/ 492 w 857"/>
                <a:gd name="T13" fmla="*/ 191 h 853"/>
                <a:gd name="T14" fmla="*/ 211 w 857"/>
                <a:gd name="T15" fmla="*/ 191 h 853"/>
                <a:gd name="T16" fmla="*/ 211 w 857"/>
                <a:gd name="T17" fmla="*/ 451 h 853"/>
                <a:gd name="T18" fmla="*/ 154 w 857"/>
                <a:gd name="T19" fmla="*/ 439 h 853"/>
                <a:gd name="T20" fmla="*/ 68 w 857"/>
                <a:gd name="T21" fmla="*/ 436 h 853"/>
                <a:gd name="T22" fmla="*/ 18 w 857"/>
                <a:gd name="T23" fmla="*/ 480 h 853"/>
                <a:gd name="T24" fmla="*/ 5 w 857"/>
                <a:gd name="T25" fmla="*/ 558 h 853"/>
                <a:gd name="T26" fmla="*/ 49 w 857"/>
                <a:gd name="T27" fmla="*/ 635 h 853"/>
                <a:gd name="T28" fmla="*/ 123 w 857"/>
                <a:gd name="T29" fmla="*/ 650 h 853"/>
                <a:gd name="T30" fmla="*/ 209 w 857"/>
                <a:gd name="T31" fmla="*/ 632 h 853"/>
                <a:gd name="T32" fmla="*/ 209 w 857"/>
                <a:gd name="T33" fmla="*/ 897 h 853"/>
                <a:gd name="T34" fmla="*/ 983 w 857"/>
                <a:gd name="T35" fmla="*/ 898 h 8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57"/>
                <a:gd name="T55" fmla="*/ 0 h 853"/>
                <a:gd name="T56" fmla="*/ 857 w 857"/>
                <a:gd name="T57" fmla="*/ 853 h 85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57" h="853">
                  <a:moveTo>
                    <a:pt x="857" y="853"/>
                  </a:moveTo>
                  <a:lnTo>
                    <a:pt x="857" y="181"/>
                  </a:lnTo>
                  <a:lnTo>
                    <a:pt x="609" y="181"/>
                  </a:lnTo>
                  <a:cubicBezTo>
                    <a:pt x="572" y="169"/>
                    <a:pt x="631" y="159"/>
                    <a:pt x="633" y="108"/>
                  </a:cubicBezTo>
                  <a:cubicBezTo>
                    <a:pt x="635" y="57"/>
                    <a:pt x="585" y="0"/>
                    <a:pt x="517" y="1"/>
                  </a:cubicBezTo>
                  <a:cubicBezTo>
                    <a:pt x="449" y="3"/>
                    <a:pt x="416" y="44"/>
                    <a:pt x="413" y="94"/>
                  </a:cubicBezTo>
                  <a:cubicBezTo>
                    <a:pt x="410" y="144"/>
                    <a:pt x="468" y="165"/>
                    <a:pt x="429" y="181"/>
                  </a:cubicBezTo>
                  <a:lnTo>
                    <a:pt x="184" y="181"/>
                  </a:lnTo>
                  <a:lnTo>
                    <a:pt x="184" y="428"/>
                  </a:lnTo>
                  <a:cubicBezTo>
                    <a:pt x="176" y="467"/>
                    <a:pt x="152" y="424"/>
                    <a:pt x="134" y="417"/>
                  </a:cubicBezTo>
                  <a:cubicBezTo>
                    <a:pt x="116" y="410"/>
                    <a:pt x="83" y="404"/>
                    <a:pt x="59" y="414"/>
                  </a:cubicBezTo>
                  <a:cubicBezTo>
                    <a:pt x="40" y="421"/>
                    <a:pt x="26" y="440"/>
                    <a:pt x="16" y="456"/>
                  </a:cubicBezTo>
                  <a:cubicBezTo>
                    <a:pt x="7" y="475"/>
                    <a:pt x="0" y="506"/>
                    <a:pt x="4" y="530"/>
                  </a:cubicBezTo>
                  <a:cubicBezTo>
                    <a:pt x="8" y="554"/>
                    <a:pt x="26" y="589"/>
                    <a:pt x="43" y="603"/>
                  </a:cubicBezTo>
                  <a:cubicBezTo>
                    <a:pt x="60" y="617"/>
                    <a:pt x="84" y="617"/>
                    <a:pt x="107" y="617"/>
                  </a:cubicBezTo>
                  <a:cubicBezTo>
                    <a:pt x="130" y="617"/>
                    <a:pt x="170" y="561"/>
                    <a:pt x="182" y="600"/>
                  </a:cubicBezTo>
                  <a:lnTo>
                    <a:pt x="182" y="852"/>
                  </a:lnTo>
                  <a:lnTo>
                    <a:pt x="857" y="853"/>
                  </a:lnTo>
                  <a:close/>
                </a:path>
              </a:pathLst>
            </a:custGeom>
            <a:solidFill>
              <a:schemeClr val="accent2">
                <a:lumMod val="60000"/>
                <a:lumOff val="40000"/>
              </a:schemeClr>
            </a:solidFill>
            <a:ln w="12700">
              <a:solidFill>
                <a:schemeClr val="bg1"/>
              </a:solidFill>
              <a:round/>
              <a:headEnd/>
              <a:tailEnd/>
            </a:ln>
          </p:spPr>
          <p:txBody>
            <a:bodyPr wrap="none" lIns="0" tIns="0" rIns="0" bIns="0" anchor="ctr"/>
            <a:lstStyle/>
            <a:p>
              <a:pPr>
                <a:defRPr/>
              </a:pPr>
              <a:endParaRPr lang="en-GB"/>
            </a:p>
          </p:txBody>
        </p:sp>
        <p:sp>
          <p:nvSpPr>
            <p:cNvPr id="34" name="Freeform 33"/>
            <p:cNvSpPr>
              <a:spLocks/>
            </p:cNvSpPr>
            <p:nvPr/>
          </p:nvSpPr>
          <p:spPr bwMode="auto">
            <a:xfrm>
              <a:off x="4683" y="1978"/>
              <a:ext cx="978" cy="898"/>
            </a:xfrm>
            <a:custGeom>
              <a:avLst/>
              <a:gdLst>
                <a:gd name="T0" fmla="*/ 1469 w 854"/>
                <a:gd name="T1" fmla="*/ 832 h 853"/>
                <a:gd name="T2" fmla="*/ 1039 w 854"/>
                <a:gd name="T3" fmla="*/ 832 h 853"/>
                <a:gd name="T4" fmla="*/ 1020 w 854"/>
                <a:gd name="T5" fmla="*/ 846 h 853"/>
                <a:gd name="T6" fmla="*/ 1046 w 854"/>
                <a:gd name="T7" fmla="*/ 860 h 853"/>
                <a:gd name="T8" fmla="*/ 1063 w 854"/>
                <a:gd name="T9" fmla="*/ 879 h 853"/>
                <a:gd name="T10" fmla="*/ 1075 w 854"/>
                <a:gd name="T11" fmla="*/ 898 h 853"/>
                <a:gd name="T12" fmla="*/ 1079 w 854"/>
                <a:gd name="T13" fmla="*/ 919 h 853"/>
                <a:gd name="T14" fmla="*/ 1082 w 854"/>
                <a:gd name="T15" fmla="*/ 941 h 853"/>
                <a:gd name="T16" fmla="*/ 1068 w 854"/>
                <a:gd name="T17" fmla="*/ 963 h 853"/>
                <a:gd name="T18" fmla="*/ 1055 w 854"/>
                <a:gd name="T19" fmla="*/ 985 h 853"/>
                <a:gd name="T20" fmla="*/ 1031 w 854"/>
                <a:gd name="T21" fmla="*/ 1003 h 853"/>
                <a:gd name="T22" fmla="*/ 1000 w 854"/>
                <a:gd name="T23" fmla="*/ 1022 h 853"/>
                <a:gd name="T24" fmla="*/ 968 w 854"/>
                <a:gd name="T25" fmla="*/ 1037 h 853"/>
                <a:gd name="T26" fmla="*/ 931 w 854"/>
                <a:gd name="T27" fmla="*/ 1046 h 853"/>
                <a:gd name="T28" fmla="*/ 889 w 854"/>
                <a:gd name="T29" fmla="*/ 1047 h 853"/>
                <a:gd name="T30" fmla="*/ 839 w 854"/>
                <a:gd name="T31" fmla="*/ 1046 h 853"/>
                <a:gd name="T32" fmla="*/ 797 w 854"/>
                <a:gd name="T33" fmla="*/ 1039 h 853"/>
                <a:gd name="T34" fmla="*/ 759 w 854"/>
                <a:gd name="T35" fmla="*/ 1024 h 853"/>
                <a:gd name="T36" fmla="*/ 734 w 854"/>
                <a:gd name="T37" fmla="*/ 1005 h 853"/>
                <a:gd name="T38" fmla="*/ 713 w 854"/>
                <a:gd name="T39" fmla="*/ 976 h 853"/>
                <a:gd name="T40" fmla="*/ 703 w 854"/>
                <a:gd name="T41" fmla="*/ 949 h 853"/>
                <a:gd name="T42" fmla="*/ 711 w 854"/>
                <a:gd name="T43" fmla="*/ 910 h 853"/>
                <a:gd name="T44" fmla="*/ 724 w 854"/>
                <a:gd name="T45" fmla="*/ 887 h 853"/>
                <a:gd name="T46" fmla="*/ 744 w 854"/>
                <a:gd name="T47" fmla="*/ 866 h 853"/>
                <a:gd name="T48" fmla="*/ 757 w 854"/>
                <a:gd name="T49" fmla="*/ 843 h 853"/>
                <a:gd name="T50" fmla="*/ 742 w 854"/>
                <a:gd name="T51" fmla="*/ 832 h 853"/>
                <a:gd name="T52" fmla="*/ 310 w 854"/>
                <a:gd name="T53" fmla="*/ 832 h 853"/>
                <a:gd name="T54" fmla="*/ 310 w 854"/>
                <a:gd name="T55" fmla="*/ 521 h 853"/>
                <a:gd name="T56" fmla="*/ 187 w 854"/>
                <a:gd name="T57" fmla="*/ 552 h 853"/>
                <a:gd name="T58" fmla="*/ 1 w 854"/>
                <a:gd name="T59" fmla="*/ 407 h 853"/>
                <a:gd name="T60" fmla="*/ 163 w 854"/>
                <a:gd name="T61" fmla="*/ 281 h 853"/>
                <a:gd name="T62" fmla="*/ 310 w 854"/>
                <a:gd name="T63" fmla="*/ 301 h 853"/>
                <a:gd name="T64" fmla="*/ 310 w 854"/>
                <a:gd name="T65" fmla="*/ 0 h 853"/>
                <a:gd name="T66" fmla="*/ 738 w 854"/>
                <a:gd name="T67" fmla="*/ 0 h 853"/>
                <a:gd name="T68" fmla="*/ 707 w 854"/>
                <a:gd name="T69" fmla="*/ 108 h 853"/>
                <a:gd name="T70" fmla="*/ 888 w 854"/>
                <a:gd name="T71" fmla="*/ 217 h 853"/>
                <a:gd name="T72" fmla="*/ 1082 w 854"/>
                <a:gd name="T73" fmla="*/ 92 h 853"/>
                <a:gd name="T74" fmla="*/ 1042 w 854"/>
                <a:gd name="T75" fmla="*/ 0 h 853"/>
                <a:gd name="T76" fmla="*/ 1469 w 854"/>
                <a:gd name="T77" fmla="*/ 0 h 853"/>
                <a:gd name="T78" fmla="*/ 1469 w 854"/>
                <a:gd name="T79" fmla="*/ 832 h 8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54"/>
                <a:gd name="T121" fmla="*/ 0 h 853"/>
                <a:gd name="T122" fmla="*/ 854 w 854"/>
                <a:gd name="T123" fmla="*/ 853 h 8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54" h="853">
                  <a:moveTo>
                    <a:pt x="854" y="676"/>
                  </a:moveTo>
                  <a:lnTo>
                    <a:pt x="604" y="676"/>
                  </a:lnTo>
                  <a:lnTo>
                    <a:pt x="593" y="690"/>
                  </a:lnTo>
                  <a:lnTo>
                    <a:pt x="608" y="700"/>
                  </a:lnTo>
                  <a:lnTo>
                    <a:pt x="617" y="715"/>
                  </a:lnTo>
                  <a:lnTo>
                    <a:pt x="625" y="730"/>
                  </a:lnTo>
                  <a:lnTo>
                    <a:pt x="628" y="748"/>
                  </a:lnTo>
                  <a:lnTo>
                    <a:pt x="629" y="766"/>
                  </a:lnTo>
                  <a:lnTo>
                    <a:pt x="622" y="784"/>
                  </a:lnTo>
                  <a:lnTo>
                    <a:pt x="613" y="802"/>
                  </a:lnTo>
                  <a:lnTo>
                    <a:pt x="599" y="817"/>
                  </a:lnTo>
                  <a:lnTo>
                    <a:pt x="581" y="832"/>
                  </a:lnTo>
                  <a:lnTo>
                    <a:pt x="562" y="844"/>
                  </a:lnTo>
                  <a:lnTo>
                    <a:pt x="541" y="852"/>
                  </a:lnTo>
                  <a:lnTo>
                    <a:pt x="517" y="853"/>
                  </a:lnTo>
                  <a:lnTo>
                    <a:pt x="488" y="852"/>
                  </a:lnTo>
                  <a:lnTo>
                    <a:pt x="464" y="846"/>
                  </a:lnTo>
                  <a:lnTo>
                    <a:pt x="442" y="834"/>
                  </a:lnTo>
                  <a:lnTo>
                    <a:pt x="427" y="819"/>
                  </a:lnTo>
                  <a:lnTo>
                    <a:pt x="415" y="795"/>
                  </a:lnTo>
                  <a:lnTo>
                    <a:pt x="409" y="772"/>
                  </a:lnTo>
                  <a:lnTo>
                    <a:pt x="413" y="741"/>
                  </a:lnTo>
                  <a:lnTo>
                    <a:pt x="421" y="723"/>
                  </a:lnTo>
                  <a:lnTo>
                    <a:pt x="433" y="706"/>
                  </a:lnTo>
                  <a:lnTo>
                    <a:pt x="440" y="687"/>
                  </a:lnTo>
                  <a:lnTo>
                    <a:pt x="431" y="676"/>
                  </a:lnTo>
                  <a:lnTo>
                    <a:pt x="181" y="676"/>
                  </a:lnTo>
                  <a:lnTo>
                    <a:pt x="181" y="424"/>
                  </a:lnTo>
                  <a:cubicBezTo>
                    <a:pt x="169" y="386"/>
                    <a:pt x="159" y="446"/>
                    <a:pt x="108" y="449"/>
                  </a:cubicBezTo>
                  <a:cubicBezTo>
                    <a:pt x="57" y="451"/>
                    <a:pt x="0" y="400"/>
                    <a:pt x="1" y="332"/>
                  </a:cubicBezTo>
                  <a:cubicBezTo>
                    <a:pt x="3" y="265"/>
                    <a:pt x="44" y="231"/>
                    <a:pt x="94" y="229"/>
                  </a:cubicBezTo>
                  <a:cubicBezTo>
                    <a:pt x="144" y="226"/>
                    <a:pt x="165" y="284"/>
                    <a:pt x="181" y="245"/>
                  </a:cubicBezTo>
                  <a:lnTo>
                    <a:pt x="181" y="0"/>
                  </a:lnTo>
                  <a:lnTo>
                    <a:pt x="429" y="0"/>
                  </a:lnTo>
                  <a:cubicBezTo>
                    <a:pt x="467" y="15"/>
                    <a:pt x="409" y="32"/>
                    <a:pt x="411" y="88"/>
                  </a:cubicBezTo>
                  <a:cubicBezTo>
                    <a:pt x="412" y="144"/>
                    <a:pt x="453" y="177"/>
                    <a:pt x="516" y="177"/>
                  </a:cubicBezTo>
                  <a:cubicBezTo>
                    <a:pt x="578" y="176"/>
                    <a:pt x="629" y="131"/>
                    <a:pt x="629" y="75"/>
                  </a:cubicBezTo>
                  <a:cubicBezTo>
                    <a:pt x="629" y="19"/>
                    <a:pt x="571" y="12"/>
                    <a:pt x="606" y="0"/>
                  </a:cubicBezTo>
                  <a:lnTo>
                    <a:pt x="854" y="0"/>
                  </a:lnTo>
                  <a:lnTo>
                    <a:pt x="854" y="676"/>
                  </a:lnTo>
                  <a:close/>
                </a:path>
              </a:pathLst>
            </a:custGeom>
            <a:solidFill>
              <a:schemeClr val="accent6"/>
            </a:solidFill>
            <a:ln w="12700">
              <a:solidFill>
                <a:schemeClr val="bg1"/>
              </a:solidFill>
              <a:round/>
              <a:headEnd/>
              <a:tailEnd/>
            </a:ln>
          </p:spPr>
          <p:txBody>
            <a:bodyPr wrap="none" lIns="0" tIns="0" rIns="0" bIns="0" anchor="ctr"/>
            <a:lstStyle/>
            <a:p>
              <a:pPr>
                <a:defRPr/>
              </a:pPr>
              <a:endParaRPr lang="en-GB"/>
            </a:p>
          </p:txBody>
        </p:sp>
        <p:sp>
          <p:nvSpPr>
            <p:cNvPr id="35" name="Freeform 34"/>
            <p:cNvSpPr>
              <a:spLocks/>
            </p:cNvSpPr>
            <p:nvPr/>
          </p:nvSpPr>
          <p:spPr bwMode="auto">
            <a:xfrm rot="5400000">
              <a:off x="4824" y="1338"/>
              <a:ext cx="898" cy="770"/>
            </a:xfrm>
            <a:custGeom>
              <a:avLst/>
              <a:gdLst>
                <a:gd name="T0" fmla="*/ 0 w 2312"/>
                <a:gd name="T1" fmla="*/ 0 h 1823"/>
                <a:gd name="T2" fmla="*/ 708 w 2312"/>
                <a:gd name="T3" fmla="*/ 0 h 1823"/>
                <a:gd name="T4" fmla="*/ 708 w 2312"/>
                <a:gd name="T5" fmla="*/ 284 h 1823"/>
                <a:gd name="T6" fmla="*/ 785 w 2312"/>
                <a:gd name="T7" fmla="*/ 256 h 1823"/>
                <a:gd name="T8" fmla="*/ 896 w 2312"/>
                <a:gd name="T9" fmla="*/ 390 h 1823"/>
                <a:gd name="T10" fmla="*/ 799 w 2312"/>
                <a:gd name="T11" fmla="*/ 509 h 1823"/>
                <a:gd name="T12" fmla="*/ 708 w 2312"/>
                <a:gd name="T13" fmla="*/ 490 h 1823"/>
                <a:gd name="T14" fmla="*/ 708 w 2312"/>
                <a:gd name="T15" fmla="*/ 771 h 1823"/>
                <a:gd name="T16" fmla="*/ 447 w 2312"/>
                <a:gd name="T17" fmla="*/ 771 h 1823"/>
                <a:gd name="T18" fmla="*/ 466 w 2312"/>
                <a:gd name="T19" fmla="*/ 670 h 1823"/>
                <a:gd name="T20" fmla="*/ 356 w 2312"/>
                <a:gd name="T21" fmla="*/ 568 h 1823"/>
                <a:gd name="T22" fmla="*/ 236 w 2312"/>
                <a:gd name="T23" fmla="*/ 685 h 1823"/>
                <a:gd name="T24" fmla="*/ 261 w 2312"/>
                <a:gd name="T25" fmla="*/ 771 h 1823"/>
                <a:gd name="T26" fmla="*/ 0 w 2312"/>
                <a:gd name="T27" fmla="*/ 771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3"/>
            </a:solidFill>
            <a:ln w="12700">
              <a:solidFill>
                <a:schemeClr val="bg1"/>
              </a:solidFill>
              <a:round/>
              <a:headEnd/>
              <a:tailEnd/>
            </a:ln>
          </p:spPr>
          <p:txBody>
            <a:bodyPr wrap="none" lIns="0" tIns="0" rIns="0" bIns="0" anchor="ctr"/>
            <a:lstStyle/>
            <a:p>
              <a:pPr>
                <a:defRPr/>
              </a:pPr>
              <a:endParaRPr lang="en-GB"/>
            </a:p>
          </p:txBody>
        </p:sp>
        <p:sp>
          <p:nvSpPr>
            <p:cNvPr id="36" name="Freeform 35"/>
            <p:cNvSpPr>
              <a:spLocks/>
            </p:cNvSpPr>
            <p:nvPr/>
          </p:nvSpPr>
          <p:spPr bwMode="auto">
            <a:xfrm flipH="1" flipV="1">
              <a:off x="4684" y="2689"/>
              <a:ext cx="977" cy="709"/>
            </a:xfrm>
            <a:custGeom>
              <a:avLst/>
              <a:gdLst>
                <a:gd name="T0" fmla="*/ 0 w 2312"/>
                <a:gd name="T1" fmla="*/ 0 h 1823"/>
                <a:gd name="T2" fmla="*/ 770 w 2312"/>
                <a:gd name="T3" fmla="*/ 0 h 1823"/>
                <a:gd name="T4" fmla="*/ 770 w 2312"/>
                <a:gd name="T5" fmla="*/ 261 h 1823"/>
                <a:gd name="T6" fmla="*/ 854 w 2312"/>
                <a:gd name="T7" fmla="*/ 236 h 1823"/>
                <a:gd name="T8" fmla="*/ 975 w 2312"/>
                <a:gd name="T9" fmla="*/ 358 h 1823"/>
                <a:gd name="T10" fmla="*/ 870 w 2312"/>
                <a:gd name="T11" fmla="*/ 468 h 1823"/>
                <a:gd name="T12" fmla="*/ 770 w 2312"/>
                <a:gd name="T13" fmla="*/ 451 h 1823"/>
                <a:gd name="T14" fmla="*/ 770 w 2312"/>
                <a:gd name="T15" fmla="*/ 709 h 1823"/>
                <a:gd name="T16" fmla="*/ 486 w 2312"/>
                <a:gd name="T17" fmla="*/ 709 h 1823"/>
                <a:gd name="T18" fmla="*/ 507 w 2312"/>
                <a:gd name="T19" fmla="*/ 616 h 1823"/>
                <a:gd name="T20" fmla="*/ 387 w 2312"/>
                <a:gd name="T21" fmla="*/ 523 h 1823"/>
                <a:gd name="T22" fmla="*/ 257 w 2312"/>
                <a:gd name="T23" fmla="*/ 630 h 1823"/>
                <a:gd name="T24" fmla="*/ 284 w 2312"/>
                <a:gd name="T25" fmla="*/ 709 h 1823"/>
                <a:gd name="T26" fmla="*/ 0 w 2312"/>
                <a:gd name="T27" fmla="*/ 709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accent3">
                <a:lumMod val="60000"/>
                <a:lumOff val="40000"/>
              </a:schemeClr>
            </a:solidFill>
            <a:ln w="12700">
              <a:solidFill>
                <a:schemeClr val="bg1"/>
              </a:solidFill>
              <a:round/>
              <a:headEnd/>
              <a:tailEnd/>
            </a:ln>
          </p:spPr>
          <p:txBody>
            <a:bodyPr wrap="none" lIns="0" tIns="0" rIns="0" bIns="0" anchor="ctr"/>
            <a:lstStyle/>
            <a:p>
              <a:pPr>
                <a:defRPr/>
              </a:pPr>
              <a:endParaRPr lang="en-GB"/>
            </a:p>
          </p:txBody>
        </p:sp>
      </p:grpSp>
    </p:spTree>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7345" name="Title 1"/>
          <p:cNvSpPr>
            <a:spLocks noGrp="1"/>
          </p:cNvSpPr>
          <p:nvPr>
            <p:ph type="title"/>
          </p:nvPr>
        </p:nvSpPr>
        <p:spPr>
          <a:xfrm>
            <a:off x="414338" y="446038"/>
            <a:ext cx="8330184" cy="333425"/>
          </a:xfrm>
        </p:spPr>
        <p:txBody>
          <a:bodyPr/>
          <a:lstStyle/>
          <a:p>
            <a:r>
              <a:rPr lang="nl-NL"/>
              <a:t>Puzzles </a:t>
            </a:r>
            <a:r>
              <a:rPr lang="en-US"/>
              <a:t>—</a:t>
            </a:r>
            <a:r>
              <a:rPr lang="nl-NL" smtClean="0"/>
              <a:t> </a:t>
            </a:r>
            <a:r>
              <a:rPr lang="nl-NL"/>
              <a:t>rectangular</a:t>
            </a:r>
          </a:p>
        </p:txBody>
      </p:sp>
      <p:grpSp>
        <p:nvGrpSpPr>
          <p:cNvPr id="22" name="Group 21"/>
          <p:cNvGrpSpPr/>
          <p:nvPr/>
        </p:nvGrpSpPr>
        <p:grpSpPr>
          <a:xfrm>
            <a:off x="2099469" y="4620639"/>
            <a:ext cx="4935827" cy="1246187"/>
            <a:chOff x="2099469" y="4620639"/>
            <a:chExt cx="4935827" cy="1246187"/>
          </a:xfrm>
        </p:grpSpPr>
        <p:sp>
          <p:nvSpPr>
            <p:cNvPr id="697359" name="Freeform 4"/>
            <p:cNvSpPr>
              <a:spLocks/>
            </p:cNvSpPr>
            <p:nvPr/>
          </p:nvSpPr>
          <p:spPr bwMode="auto">
            <a:xfrm>
              <a:off x="3654069" y="4620639"/>
              <a:ext cx="1818857" cy="1246187"/>
            </a:xfrm>
            <a:custGeom>
              <a:avLst/>
              <a:gdLst>
                <a:gd name="T0" fmla="*/ 0 w 1461"/>
                <a:gd name="T1" fmla="*/ 0 h 1885"/>
                <a:gd name="T2" fmla="*/ 555 w 1461"/>
                <a:gd name="T3" fmla="*/ 0 h 1885"/>
                <a:gd name="T4" fmla="*/ 555 w 1461"/>
                <a:gd name="T5" fmla="*/ 10 h 1885"/>
                <a:gd name="T6" fmla="*/ 567 w 1461"/>
                <a:gd name="T7" fmla="*/ 10 h 1885"/>
                <a:gd name="T8" fmla="*/ 603 w 1461"/>
                <a:gd name="T9" fmla="*/ 8 h 1885"/>
                <a:gd name="T10" fmla="*/ 646 w 1461"/>
                <a:gd name="T11" fmla="*/ 12 h 1885"/>
                <a:gd name="T12" fmla="*/ 603 w 1461"/>
                <a:gd name="T13" fmla="*/ 15 h 1885"/>
                <a:gd name="T14" fmla="*/ 567 w 1461"/>
                <a:gd name="T15" fmla="*/ 13 h 1885"/>
                <a:gd name="T16" fmla="*/ 555 w 1461"/>
                <a:gd name="T17" fmla="*/ 13 h 1885"/>
                <a:gd name="T18" fmla="*/ 555 w 1461"/>
                <a:gd name="T19" fmla="*/ 24 h 1885"/>
                <a:gd name="T20" fmla="*/ 0 w 1461"/>
                <a:gd name="T21" fmla="*/ 24 h 1885"/>
                <a:gd name="T22" fmla="*/ 0 w 1461"/>
                <a:gd name="T23" fmla="*/ 13 h 1885"/>
                <a:gd name="T24" fmla="*/ 12 w 1461"/>
                <a:gd name="T25" fmla="*/ 13 h 1885"/>
                <a:gd name="T26" fmla="*/ 47 w 1461"/>
                <a:gd name="T27" fmla="*/ 15 h 1885"/>
                <a:gd name="T28" fmla="*/ 92 w 1461"/>
                <a:gd name="T29" fmla="*/ 12 h 1885"/>
                <a:gd name="T30" fmla="*/ 49 w 1461"/>
                <a:gd name="T31" fmla="*/ 8 h 1885"/>
                <a:gd name="T32" fmla="*/ 11 w 1461"/>
                <a:gd name="T33" fmla="*/ 10 h 1885"/>
                <a:gd name="T34" fmla="*/ 0 w 1461"/>
                <a:gd name="T35" fmla="*/ 10 h 1885"/>
                <a:gd name="T36" fmla="*/ 0 w 1461"/>
                <a:gd name="T37" fmla="*/ 0 h 18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61"/>
                <a:gd name="T58" fmla="*/ 0 h 1885"/>
                <a:gd name="T59" fmla="*/ 1461 w 1461"/>
                <a:gd name="T60" fmla="*/ 1885 h 188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61" h="1885">
                  <a:moveTo>
                    <a:pt x="0" y="0"/>
                  </a:moveTo>
                  <a:lnTo>
                    <a:pt x="1254" y="0"/>
                  </a:lnTo>
                  <a:lnTo>
                    <a:pt x="1254" y="808"/>
                  </a:lnTo>
                  <a:lnTo>
                    <a:pt x="1281" y="808"/>
                  </a:lnTo>
                  <a:cubicBezTo>
                    <a:pt x="1281" y="808"/>
                    <a:pt x="1308" y="673"/>
                    <a:pt x="1365" y="673"/>
                  </a:cubicBezTo>
                  <a:cubicBezTo>
                    <a:pt x="1422" y="673"/>
                    <a:pt x="1461" y="852"/>
                    <a:pt x="1461" y="942"/>
                  </a:cubicBezTo>
                  <a:cubicBezTo>
                    <a:pt x="1461" y="1032"/>
                    <a:pt x="1426" y="1212"/>
                    <a:pt x="1365" y="1212"/>
                  </a:cubicBezTo>
                  <a:cubicBezTo>
                    <a:pt x="1304" y="1212"/>
                    <a:pt x="1299" y="1093"/>
                    <a:pt x="1281" y="1069"/>
                  </a:cubicBezTo>
                  <a:lnTo>
                    <a:pt x="1254" y="1068"/>
                  </a:lnTo>
                  <a:lnTo>
                    <a:pt x="1254" y="1885"/>
                  </a:lnTo>
                  <a:lnTo>
                    <a:pt x="0" y="1885"/>
                  </a:lnTo>
                  <a:lnTo>
                    <a:pt x="0" y="1069"/>
                  </a:lnTo>
                  <a:lnTo>
                    <a:pt x="27" y="1069"/>
                  </a:lnTo>
                  <a:cubicBezTo>
                    <a:pt x="27" y="1069"/>
                    <a:pt x="44" y="1210"/>
                    <a:pt x="106" y="1210"/>
                  </a:cubicBezTo>
                  <a:cubicBezTo>
                    <a:pt x="168" y="1210"/>
                    <a:pt x="206" y="1031"/>
                    <a:pt x="207" y="942"/>
                  </a:cubicBezTo>
                  <a:cubicBezTo>
                    <a:pt x="208" y="853"/>
                    <a:pt x="166" y="673"/>
                    <a:pt x="111" y="673"/>
                  </a:cubicBezTo>
                  <a:cubicBezTo>
                    <a:pt x="56" y="673"/>
                    <a:pt x="43" y="786"/>
                    <a:pt x="25" y="808"/>
                  </a:cubicBezTo>
                  <a:lnTo>
                    <a:pt x="0" y="808"/>
                  </a:lnTo>
                  <a:lnTo>
                    <a:pt x="0" y="0"/>
                  </a:lnTo>
                  <a:close/>
                </a:path>
              </a:pathLst>
            </a:custGeom>
            <a:solidFill>
              <a:schemeClr val="accent2"/>
            </a:solidFill>
            <a:ln w="12700">
              <a:solidFill>
                <a:srgbClr val="FFFFFF"/>
              </a:solidFill>
              <a:round/>
              <a:headEnd/>
              <a:tailEnd/>
            </a:ln>
          </p:spPr>
          <p:txBody>
            <a:bodyPr wrap="none" lIns="0" tIns="0" rIns="0" bIns="0" anchor="ctr"/>
            <a:lstStyle/>
            <a:p>
              <a:endParaRPr lang="en-GB" dirty="0">
                <a:solidFill>
                  <a:schemeClr val="accent2"/>
                </a:solidFill>
              </a:endParaRPr>
            </a:p>
          </p:txBody>
        </p:sp>
        <p:sp>
          <p:nvSpPr>
            <p:cNvPr id="6" name="Freeform 5"/>
            <p:cNvSpPr>
              <a:spLocks/>
            </p:cNvSpPr>
            <p:nvPr/>
          </p:nvSpPr>
          <p:spPr bwMode="auto">
            <a:xfrm>
              <a:off x="5214973" y="4620639"/>
              <a:ext cx="1820323" cy="1246187"/>
            </a:xfrm>
            <a:custGeom>
              <a:avLst/>
              <a:gdLst>
                <a:gd name="T0" fmla="*/ 0 w 1461"/>
                <a:gd name="T1" fmla="*/ 0 h 1885"/>
                <a:gd name="T2" fmla="*/ 1066 w 1461"/>
                <a:gd name="T3" fmla="*/ 0 h 1885"/>
                <a:gd name="T4" fmla="*/ 1066 w 1461"/>
                <a:gd name="T5" fmla="*/ 336 h 1885"/>
                <a:gd name="T6" fmla="*/ 1089 w 1461"/>
                <a:gd name="T7" fmla="*/ 336 h 1885"/>
                <a:gd name="T8" fmla="*/ 1160 w 1461"/>
                <a:gd name="T9" fmla="*/ 280 h 1885"/>
                <a:gd name="T10" fmla="*/ 1242 w 1461"/>
                <a:gd name="T11" fmla="*/ 392 h 1885"/>
                <a:gd name="T12" fmla="*/ 1160 w 1461"/>
                <a:gd name="T13" fmla="*/ 505 h 1885"/>
                <a:gd name="T14" fmla="*/ 1089 w 1461"/>
                <a:gd name="T15" fmla="*/ 445 h 1885"/>
                <a:gd name="T16" fmla="*/ 1066 w 1461"/>
                <a:gd name="T17" fmla="*/ 445 h 1885"/>
                <a:gd name="T18" fmla="*/ 1066 w 1461"/>
                <a:gd name="T19" fmla="*/ 785 h 1885"/>
                <a:gd name="T20" fmla="*/ 0 w 1461"/>
                <a:gd name="T21" fmla="*/ 785 h 1885"/>
                <a:gd name="T22" fmla="*/ 0 w 1461"/>
                <a:gd name="T23" fmla="*/ 445 h 1885"/>
                <a:gd name="T24" fmla="*/ 23 w 1461"/>
                <a:gd name="T25" fmla="*/ 445 h 1885"/>
                <a:gd name="T26" fmla="*/ 90 w 1461"/>
                <a:gd name="T27" fmla="*/ 504 h 1885"/>
                <a:gd name="T28" fmla="*/ 176 w 1461"/>
                <a:gd name="T29" fmla="*/ 392 h 1885"/>
                <a:gd name="T30" fmla="*/ 94 w 1461"/>
                <a:gd name="T31" fmla="*/ 280 h 1885"/>
                <a:gd name="T32" fmla="*/ 21 w 1461"/>
                <a:gd name="T33" fmla="*/ 336 h 1885"/>
                <a:gd name="T34" fmla="*/ 0 w 1461"/>
                <a:gd name="T35" fmla="*/ 336 h 1885"/>
                <a:gd name="T36" fmla="*/ 0 w 1461"/>
                <a:gd name="T37" fmla="*/ 0 h 18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61"/>
                <a:gd name="T58" fmla="*/ 0 h 1885"/>
                <a:gd name="T59" fmla="*/ 1461 w 1461"/>
                <a:gd name="T60" fmla="*/ 1885 h 188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61" h="1885">
                  <a:moveTo>
                    <a:pt x="0" y="0"/>
                  </a:moveTo>
                  <a:lnTo>
                    <a:pt x="1254" y="0"/>
                  </a:lnTo>
                  <a:lnTo>
                    <a:pt x="1254" y="808"/>
                  </a:lnTo>
                  <a:lnTo>
                    <a:pt x="1281" y="808"/>
                  </a:lnTo>
                  <a:cubicBezTo>
                    <a:pt x="1281" y="808"/>
                    <a:pt x="1308" y="673"/>
                    <a:pt x="1365" y="673"/>
                  </a:cubicBezTo>
                  <a:cubicBezTo>
                    <a:pt x="1422" y="673"/>
                    <a:pt x="1461" y="852"/>
                    <a:pt x="1461" y="942"/>
                  </a:cubicBezTo>
                  <a:cubicBezTo>
                    <a:pt x="1461" y="1032"/>
                    <a:pt x="1426" y="1212"/>
                    <a:pt x="1365" y="1212"/>
                  </a:cubicBezTo>
                  <a:cubicBezTo>
                    <a:pt x="1304" y="1212"/>
                    <a:pt x="1299" y="1093"/>
                    <a:pt x="1281" y="1069"/>
                  </a:cubicBezTo>
                  <a:lnTo>
                    <a:pt x="1254" y="1068"/>
                  </a:lnTo>
                  <a:lnTo>
                    <a:pt x="1254" y="1885"/>
                  </a:lnTo>
                  <a:lnTo>
                    <a:pt x="0" y="1885"/>
                  </a:lnTo>
                  <a:lnTo>
                    <a:pt x="0" y="1069"/>
                  </a:lnTo>
                  <a:lnTo>
                    <a:pt x="27" y="1069"/>
                  </a:lnTo>
                  <a:cubicBezTo>
                    <a:pt x="27" y="1069"/>
                    <a:pt x="44" y="1210"/>
                    <a:pt x="106" y="1210"/>
                  </a:cubicBezTo>
                  <a:cubicBezTo>
                    <a:pt x="168" y="1210"/>
                    <a:pt x="206" y="1031"/>
                    <a:pt x="207" y="942"/>
                  </a:cubicBezTo>
                  <a:cubicBezTo>
                    <a:pt x="208" y="853"/>
                    <a:pt x="166" y="673"/>
                    <a:pt x="111" y="673"/>
                  </a:cubicBezTo>
                  <a:cubicBezTo>
                    <a:pt x="56" y="673"/>
                    <a:pt x="43" y="786"/>
                    <a:pt x="25" y="808"/>
                  </a:cubicBezTo>
                  <a:lnTo>
                    <a:pt x="0" y="808"/>
                  </a:lnTo>
                  <a:lnTo>
                    <a:pt x="0" y="0"/>
                  </a:lnTo>
                  <a:close/>
                </a:path>
              </a:pathLst>
            </a:custGeom>
            <a:solidFill>
              <a:schemeClr val="accent3"/>
            </a:solidFill>
            <a:ln w="12700">
              <a:solidFill>
                <a:srgbClr val="FFFFFF"/>
              </a:solidFill>
              <a:round/>
              <a:headEnd/>
              <a:tailEnd/>
            </a:ln>
          </p:spPr>
          <p:txBody>
            <a:bodyPr wrap="none" lIns="0" tIns="0" rIns="0" bIns="0" anchor="ctr"/>
            <a:lstStyle/>
            <a:p>
              <a:pPr>
                <a:defRPr/>
              </a:pPr>
              <a:endParaRPr lang="en-GB"/>
            </a:p>
          </p:txBody>
        </p:sp>
        <p:sp>
          <p:nvSpPr>
            <p:cNvPr id="697362" name="Freeform 7"/>
            <p:cNvSpPr>
              <a:spLocks/>
            </p:cNvSpPr>
            <p:nvPr/>
          </p:nvSpPr>
          <p:spPr bwMode="auto">
            <a:xfrm>
              <a:off x="2099469" y="4620639"/>
              <a:ext cx="1820323" cy="1246187"/>
            </a:xfrm>
            <a:custGeom>
              <a:avLst/>
              <a:gdLst>
                <a:gd name="T0" fmla="*/ 0 w 1461"/>
                <a:gd name="T1" fmla="*/ 0 h 1885"/>
                <a:gd name="T2" fmla="*/ 557 w 1461"/>
                <a:gd name="T3" fmla="*/ 0 h 1885"/>
                <a:gd name="T4" fmla="*/ 557 w 1461"/>
                <a:gd name="T5" fmla="*/ 10 h 1885"/>
                <a:gd name="T6" fmla="*/ 569 w 1461"/>
                <a:gd name="T7" fmla="*/ 10 h 1885"/>
                <a:gd name="T8" fmla="*/ 605 w 1461"/>
                <a:gd name="T9" fmla="*/ 8 h 1885"/>
                <a:gd name="T10" fmla="*/ 649 w 1461"/>
                <a:gd name="T11" fmla="*/ 12 h 1885"/>
                <a:gd name="T12" fmla="*/ 605 w 1461"/>
                <a:gd name="T13" fmla="*/ 15 h 1885"/>
                <a:gd name="T14" fmla="*/ 569 w 1461"/>
                <a:gd name="T15" fmla="*/ 13 h 1885"/>
                <a:gd name="T16" fmla="*/ 557 w 1461"/>
                <a:gd name="T17" fmla="*/ 13 h 1885"/>
                <a:gd name="T18" fmla="*/ 557 w 1461"/>
                <a:gd name="T19" fmla="*/ 24 h 1885"/>
                <a:gd name="T20" fmla="*/ 0 w 1461"/>
                <a:gd name="T21" fmla="*/ 24 h 1885"/>
                <a:gd name="T22" fmla="*/ 0 w 1461"/>
                <a:gd name="T23" fmla="*/ 0 h 188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61"/>
                <a:gd name="T37" fmla="*/ 0 h 1885"/>
                <a:gd name="T38" fmla="*/ 1461 w 1461"/>
                <a:gd name="T39" fmla="*/ 1885 h 188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61" h="1885">
                  <a:moveTo>
                    <a:pt x="0" y="0"/>
                  </a:moveTo>
                  <a:lnTo>
                    <a:pt x="1254" y="0"/>
                  </a:lnTo>
                  <a:lnTo>
                    <a:pt x="1254" y="808"/>
                  </a:lnTo>
                  <a:lnTo>
                    <a:pt x="1281" y="808"/>
                  </a:lnTo>
                  <a:cubicBezTo>
                    <a:pt x="1281" y="808"/>
                    <a:pt x="1308" y="673"/>
                    <a:pt x="1365" y="673"/>
                  </a:cubicBezTo>
                  <a:cubicBezTo>
                    <a:pt x="1422" y="673"/>
                    <a:pt x="1461" y="852"/>
                    <a:pt x="1461" y="942"/>
                  </a:cubicBezTo>
                  <a:cubicBezTo>
                    <a:pt x="1461" y="1032"/>
                    <a:pt x="1426" y="1212"/>
                    <a:pt x="1365" y="1212"/>
                  </a:cubicBezTo>
                  <a:cubicBezTo>
                    <a:pt x="1304" y="1212"/>
                    <a:pt x="1299" y="1093"/>
                    <a:pt x="1281" y="1069"/>
                  </a:cubicBezTo>
                  <a:lnTo>
                    <a:pt x="1254" y="1068"/>
                  </a:lnTo>
                  <a:lnTo>
                    <a:pt x="1254" y="1885"/>
                  </a:lnTo>
                  <a:lnTo>
                    <a:pt x="0" y="1885"/>
                  </a:lnTo>
                  <a:lnTo>
                    <a:pt x="0" y="0"/>
                  </a:lnTo>
                  <a:close/>
                </a:path>
              </a:pathLst>
            </a:custGeom>
            <a:solidFill>
              <a:schemeClr val="accent1"/>
            </a:solidFill>
            <a:ln w="12700">
              <a:solidFill>
                <a:schemeClr val="bg1"/>
              </a:solidFill>
              <a:round/>
              <a:headEnd/>
              <a:tailEnd/>
            </a:ln>
          </p:spPr>
          <p:txBody>
            <a:bodyPr wrap="none" lIns="0" tIns="0" rIns="0" bIns="0" anchor="ctr"/>
            <a:lstStyle/>
            <a:p>
              <a:endParaRPr lang="en-GB"/>
            </a:p>
          </p:txBody>
        </p:sp>
      </p:grpSp>
      <p:grpSp>
        <p:nvGrpSpPr>
          <p:cNvPr id="3" name="Group 8"/>
          <p:cNvGrpSpPr>
            <a:grpSpLocks/>
          </p:cNvGrpSpPr>
          <p:nvPr/>
        </p:nvGrpSpPr>
        <p:grpSpPr bwMode="auto">
          <a:xfrm>
            <a:off x="1469439" y="1575529"/>
            <a:ext cx="6215063" cy="2478087"/>
            <a:chOff x="852" y="1103"/>
            <a:chExt cx="4241" cy="1561"/>
          </a:xfrm>
          <a:solidFill>
            <a:schemeClr val="accent3"/>
          </a:solidFill>
        </p:grpSpPr>
        <p:sp>
          <p:nvSpPr>
            <p:cNvPr id="697349" name="Freeform 9"/>
            <p:cNvSpPr>
              <a:spLocks/>
            </p:cNvSpPr>
            <p:nvPr/>
          </p:nvSpPr>
          <p:spPr bwMode="auto">
            <a:xfrm>
              <a:off x="4243" y="1103"/>
              <a:ext cx="850" cy="988"/>
            </a:xfrm>
            <a:custGeom>
              <a:avLst/>
              <a:gdLst>
                <a:gd name="T0" fmla="*/ 0 w 769"/>
                <a:gd name="T1" fmla="*/ 0 h 968"/>
                <a:gd name="T2" fmla="*/ 940 w 769"/>
                <a:gd name="T3" fmla="*/ 0 h 968"/>
                <a:gd name="T4" fmla="*/ 940 w 769"/>
                <a:gd name="T5" fmla="*/ 798 h 968"/>
                <a:gd name="T6" fmla="*/ 589 w 769"/>
                <a:gd name="T7" fmla="*/ 796 h 968"/>
                <a:gd name="T8" fmla="*/ 622 w 769"/>
                <a:gd name="T9" fmla="*/ 896 h 968"/>
                <a:gd name="T10" fmla="*/ 480 w 769"/>
                <a:gd name="T11" fmla="*/ 1008 h 968"/>
                <a:gd name="T12" fmla="*/ 306 w 769"/>
                <a:gd name="T13" fmla="*/ 902 h 968"/>
                <a:gd name="T14" fmla="*/ 339 w 769"/>
                <a:gd name="T15" fmla="*/ 794 h 968"/>
                <a:gd name="T16" fmla="*/ 0 w 769"/>
                <a:gd name="T17" fmla="*/ 798 h 968"/>
                <a:gd name="T18" fmla="*/ 0 w 769"/>
                <a:gd name="T19" fmla="*/ 0 h 9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968"/>
                <a:gd name="T32" fmla="*/ 769 w 769"/>
                <a:gd name="T33" fmla="*/ 968 h 9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968">
                  <a:moveTo>
                    <a:pt x="0" y="0"/>
                  </a:moveTo>
                  <a:lnTo>
                    <a:pt x="769" y="0"/>
                  </a:ln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grpFill/>
            <a:ln w="12700">
              <a:solidFill>
                <a:schemeClr val="bg1"/>
              </a:solidFill>
              <a:round/>
              <a:headEnd/>
              <a:tailEnd/>
            </a:ln>
          </p:spPr>
          <p:txBody>
            <a:bodyPr wrap="none" lIns="0" tIns="0" rIns="0" bIns="0" anchor="ctr"/>
            <a:lstStyle/>
            <a:p>
              <a:endParaRPr lang="en-GB"/>
            </a:p>
          </p:txBody>
        </p:sp>
        <p:sp>
          <p:nvSpPr>
            <p:cNvPr id="11" name="Freeform 10"/>
            <p:cNvSpPr>
              <a:spLocks/>
            </p:cNvSpPr>
            <p:nvPr/>
          </p:nvSpPr>
          <p:spPr bwMode="auto">
            <a:xfrm>
              <a:off x="4243" y="1882"/>
              <a:ext cx="850" cy="782"/>
            </a:xfrm>
            <a:custGeom>
              <a:avLst/>
              <a:gdLst>
                <a:gd name="T0" fmla="*/ 0 w 769"/>
                <a:gd name="T1" fmla="*/ 832 h 766"/>
                <a:gd name="T2" fmla="*/ 1148 w 769"/>
                <a:gd name="T3" fmla="*/ 832 h 766"/>
                <a:gd name="T4" fmla="*/ 1148 w 769"/>
                <a:gd name="T5" fmla="*/ 0 h 766"/>
                <a:gd name="T6" fmla="*/ 726 w 769"/>
                <a:gd name="T7" fmla="*/ 0 h 766"/>
                <a:gd name="T8" fmla="*/ 756 w 769"/>
                <a:gd name="T9" fmla="*/ 108 h 766"/>
                <a:gd name="T10" fmla="*/ 578 w 769"/>
                <a:gd name="T11" fmla="*/ 217 h 766"/>
                <a:gd name="T12" fmla="*/ 384 w 769"/>
                <a:gd name="T13" fmla="*/ 93 h 766"/>
                <a:gd name="T14" fmla="*/ 422 w 769"/>
                <a:gd name="T15" fmla="*/ 0 h 766"/>
                <a:gd name="T16" fmla="*/ 0 w 769"/>
                <a:gd name="T17" fmla="*/ 0 h 766"/>
                <a:gd name="T18" fmla="*/ 0 w 769"/>
                <a:gd name="T19" fmla="*/ 832 h 7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766"/>
                <a:gd name="T32" fmla="*/ 769 w 769"/>
                <a:gd name="T33" fmla="*/ 766 h 7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766">
                  <a:moveTo>
                    <a:pt x="0" y="766"/>
                  </a:moveTo>
                  <a:lnTo>
                    <a:pt x="769" y="766"/>
                  </a:lnTo>
                  <a:lnTo>
                    <a:pt x="769" y="0"/>
                  </a:lnTo>
                  <a:lnTo>
                    <a:pt x="486" y="0"/>
                  </a:lnTo>
                  <a:cubicBezTo>
                    <a:pt x="442" y="17"/>
                    <a:pt x="508" y="37"/>
                    <a:pt x="507" y="100"/>
                  </a:cubicBezTo>
                  <a:cubicBezTo>
                    <a:pt x="505" y="164"/>
                    <a:pt x="458" y="202"/>
                    <a:pt x="387" y="201"/>
                  </a:cubicBezTo>
                  <a:cubicBezTo>
                    <a:pt x="315" y="201"/>
                    <a:pt x="257" y="149"/>
                    <a:pt x="257" y="85"/>
                  </a:cubicBezTo>
                  <a:cubicBezTo>
                    <a:pt x="257" y="21"/>
                    <a:pt x="324" y="13"/>
                    <a:pt x="283" y="0"/>
                  </a:cubicBezTo>
                  <a:lnTo>
                    <a:pt x="0" y="0"/>
                  </a:lnTo>
                  <a:lnTo>
                    <a:pt x="0" y="766"/>
                  </a:lnTo>
                  <a:close/>
                </a:path>
              </a:pathLst>
            </a:custGeom>
            <a:grpFill/>
            <a:ln w="12700">
              <a:solidFill>
                <a:schemeClr val="bg1"/>
              </a:solidFill>
              <a:round/>
              <a:headEnd/>
              <a:tailEnd/>
            </a:ln>
          </p:spPr>
          <p:txBody>
            <a:bodyPr wrap="none" lIns="0" tIns="0" rIns="0" bIns="0" anchor="ctr"/>
            <a:lstStyle/>
            <a:p>
              <a:pPr>
                <a:defRPr/>
              </a:pPr>
              <a:endParaRPr lang="en-GB"/>
            </a:p>
          </p:txBody>
        </p:sp>
        <p:sp>
          <p:nvSpPr>
            <p:cNvPr id="12" name="Freeform 11"/>
            <p:cNvSpPr>
              <a:spLocks/>
            </p:cNvSpPr>
            <p:nvPr/>
          </p:nvSpPr>
          <p:spPr bwMode="auto">
            <a:xfrm>
              <a:off x="3396" y="1103"/>
              <a:ext cx="1079" cy="988"/>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grpFill/>
            <a:ln w="12700">
              <a:solidFill>
                <a:schemeClr val="bg1"/>
              </a:solidFill>
              <a:round/>
              <a:headEnd/>
              <a:tailEnd/>
            </a:ln>
          </p:spPr>
          <p:txBody>
            <a:bodyPr wrap="none" lIns="0" tIns="0" rIns="0" bIns="0" anchor="ctr"/>
            <a:lstStyle/>
            <a:p>
              <a:pPr>
                <a:defRPr/>
              </a:pPr>
              <a:endParaRPr lang="en-GB"/>
            </a:p>
          </p:txBody>
        </p:sp>
        <p:sp>
          <p:nvSpPr>
            <p:cNvPr id="697352" name="Freeform 12"/>
            <p:cNvSpPr>
              <a:spLocks/>
            </p:cNvSpPr>
            <p:nvPr/>
          </p:nvSpPr>
          <p:spPr bwMode="auto">
            <a:xfrm flipV="1">
              <a:off x="3395" y="1882"/>
              <a:ext cx="1079" cy="782"/>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grpFill/>
            <a:ln w="12700">
              <a:solidFill>
                <a:schemeClr val="bg1"/>
              </a:solidFill>
              <a:round/>
              <a:headEnd/>
              <a:tailEnd/>
            </a:ln>
          </p:spPr>
          <p:txBody>
            <a:bodyPr wrap="none" lIns="0" tIns="0" rIns="0" bIns="0" anchor="ctr"/>
            <a:lstStyle/>
            <a:p>
              <a:endParaRPr lang="en-GB"/>
            </a:p>
          </p:txBody>
        </p:sp>
        <p:sp>
          <p:nvSpPr>
            <p:cNvPr id="697353" name="Freeform 13"/>
            <p:cNvSpPr>
              <a:spLocks/>
            </p:cNvSpPr>
            <p:nvPr/>
          </p:nvSpPr>
          <p:spPr bwMode="auto">
            <a:xfrm>
              <a:off x="2548" y="1103"/>
              <a:ext cx="1078" cy="988"/>
            </a:xfrm>
            <a:custGeom>
              <a:avLst/>
              <a:gdLst>
                <a:gd name="T0" fmla="*/ 0 w 976"/>
                <a:gd name="T1" fmla="*/ 0 h 968"/>
                <a:gd name="T2" fmla="*/ 938 w 976"/>
                <a:gd name="T3" fmla="*/ 0 h 968"/>
                <a:gd name="T4" fmla="*/ 938 w 976"/>
                <a:gd name="T5" fmla="*/ 294 h 968"/>
                <a:gd name="T6" fmla="*/ 1040 w 976"/>
                <a:gd name="T7" fmla="*/ 265 h 968"/>
                <a:gd name="T8" fmla="*/ 1188 w 976"/>
                <a:gd name="T9" fmla="*/ 403 h 968"/>
                <a:gd name="T10" fmla="*/ 1060 w 976"/>
                <a:gd name="T11" fmla="*/ 526 h 968"/>
                <a:gd name="T12" fmla="*/ 938 w 976"/>
                <a:gd name="T13" fmla="*/ 507 h 968"/>
                <a:gd name="T14" fmla="*/ 938 w 976"/>
                <a:gd name="T15" fmla="*/ 798 h 968"/>
                <a:gd name="T16" fmla="*/ 588 w 976"/>
                <a:gd name="T17" fmla="*/ 796 h 968"/>
                <a:gd name="T18" fmla="*/ 621 w 976"/>
                <a:gd name="T19" fmla="*/ 896 h 968"/>
                <a:gd name="T20" fmla="*/ 479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grpFill/>
            <a:ln w="12700">
              <a:solidFill>
                <a:schemeClr val="bg1"/>
              </a:solidFill>
              <a:round/>
              <a:headEnd/>
              <a:tailEnd/>
            </a:ln>
          </p:spPr>
          <p:txBody>
            <a:bodyPr wrap="none" lIns="0" tIns="0" rIns="0" bIns="0" anchor="ctr"/>
            <a:lstStyle/>
            <a:p>
              <a:endParaRPr lang="en-GB"/>
            </a:p>
          </p:txBody>
        </p:sp>
        <p:sp>
          <p:nvSpPr>
            <p:cNvPr id="15" name="Freeform 14"/>
            <p:cNvSpPr>
              <a:spLocks/>
            </p:cNvSpPr>
            <p:nvPr/>
          </p:nvSpPr>
          <p:spPr bwMode="auto">
            <a:xfrm flipV="1">
              <a:off x="2548" y="1882"/>
              <a:ext cx="1078" cy="782"/>
            </a:xfrm>
            <a:custGeom>
              <a:avLst/>
              <a:gdLst>
                <a:gd name="T0" fmla="*/ 0 w 2312"/>
                <a:gd name="T1" fmla="*/ 0 h 1823"/>
                <a:gd name="T2" fmla="*/ 86 w 2312"/>
                <a:gd name="T3" fmla="*/ 0 h 1823"/>
                <a:gd name="T4" fmla="*/ 86 w 2312"/>
                <a:gd name="T5" fmla="*/ 23 h 1823"/>
                <a:gd name="T6" fmla="*/ 96 w 2312"/>
                <a:gd name="T7" fmla="*/ 21 h 1823"/>
                <a:gd name="T8" fmla="*/ 109 w 2312"/>
                <a:gd name="T9" fmla="*/ 31 h 1823"/>
                <a:gd name="T10" fmla="*/ 97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grpFill/>
            <a:ln w="12700">
              <a:solidFill>
                <a:schemeClr val="bg1"/>
              </a:solidFill>
              <a:round/>
              <a:headEnd/>
              <a:tailEnd/>
            </a:ln>
          </p:spPr>
          <p:txBody>
            <a:bodyPr wrap="none" lIns="0" tIns="0" rIns="0" bIns="0" anchor="ctr"/>
            <a:lstStyle/>
            <a:p>
              <a:pPr>
                <a:defRPr/>
              </a:pPr>
              <a:endParaRPr lang="en-GB"/>
            </a:p>
          </p:txBody>
        </p:sp>
        <p:sp>
          <p:nvSpPr>
            <p:cNvPr id="16" name="Freeform 15"/>
            <p:cNvSpPr>
              <a:spLocks/>
            </p:cNvSpPr>
            <p:nvPr/>
          </p:nvSpPr>
          <p:spPr bwMode="auto">
            <a:xfrm>
              <a:off x="1700" y="1103"/>
              <a:ext cx="1079" cy="988"/>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grpFill/>
            <a:ln w="12700">
              <a:solidFill>
                <a:schemeClr val="bg1"/>
              </a:solidFill>
              <a:round/>
              <a:headEnd/>
              <a:tailEnd/>
            </a:ln>
          </p:spPr>
          <p:txBody>
            <a:bodyPr wrap="none" lIns="0" tIns="0" rIns="0" bIns="0" anchor="ctr"/>
            <a:lstStyle/>
            <a:p>
              <a:pPr>
                <a:defRPr/>
              </a:pPr>
              <a:endParaRPr lang="en-GB"/>
            </a:p>
          </p:txBody>
        </p:sp>
        <p:sp>
          <p:nvSpPr>
            <p:cNvPr id="697356" name="Freeform 16"/>
            <p:cNvSpPr>
              <a:spLocks/>
            </p:cNvSpPr>
            <p:nvPr/>
          </p:nvSpPr>
          <p:spPr bwMode="auto">
            <a:xfrm flipV="1">
              <a:off x="1700" y="1882"/>
              <a:ext cx="1079" cy="782"/>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grpFill/>
            <a:ln w="12700">
              <a:solidFill>
                <a:schemeClr val="bg1"/>
              </a:solidFill>
              <a:round/>
              <a:headEnd/>
              <a:tailEnd/>
            </a:ln>
          </p:spPr>
          <p:txBody>
            <a:bodyPr wrap="none" lIns="0" tIns="0" rIns="0" bIns="0" anchor="ctr"/>
            <a:lstStyle/>
            <a:p>
              <a:endParaRPr lang="en-GB"/>
            </a:p>
          </p:txBody>
        </p:sp>
        <p:sp>
          <p:nvSpPr>
            <p:cNvPr id="697357" name="Freeform 17"/>
            <p:cNvSpPr>
              <a:spLocks/>
            </p:cNvSpPr>
            <p:nvPr/>
          </p:nvSpPr>
          <p:spPr bwMode="auto">
            <a:xfrm>
              <a:off x="852" y="1103"/>
              <a:ext cx="1079" cy="988"/>
            </a:xfrm>
            <a:custGeom>
              <a:avLst/>
              <a:gdLst>
                <a:gd name="T0" fmla="*/ 0 w 976"/>
                <a:gd name="T1" fmla="*/ 0 h 968"/>
                <a:gd name="T2" fmla="*/ 940 w 976"/>
                <a:gd name="T3" fmla="*/ 0 h 968"/>
                <a:gd name="T4" fmla="*/ 940 w 976"/>
                <a:gd name="T5" fmla="*/ 294 h 968"/>
                <a:gd name="T6" fmla="*/ 1043 w 976"/>
                <a:gd name="T7" fmla="*/ 265 h 968"/>
                <a:gd name="T8" fmla="*/ 1191 w 976"/>
                <a:gd name="T9" fmla="*/ 403 h 968"/>
                <a:gd name="T10" fmla="*/ 1062 w 976"/>
                <a:gd name="T11" fmla="*/ 526 h 968"/>
                <a:gd name="T12" fmla="*/ 940 w 976"/>
                <a:gd name="T13" fmla="*/ 507 h 968"/>
                <a:gd name="T14" fmla="*/ 940 w 976"/>
                <a:gd name="T15" fmla="*/ 798 h 968"/>
                <a:gd name="T16" fmla="*/ 589 w 976"/>
                <a:gd name="T17" fmla="*/ 796 h 968"/>
                <a:gd name="T18" fmla="*/ 622 w 976"/>
                <a:gd name="T19" fmla="*/ 896 h 968"/>
                <a:gd name="T20" fmla="*/ 480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grpFill/>
            <a:ln w="12700">
              <a:solidFill>
                <a:schemeClr val="bg1"/>
              </a:solidFill>
              <a:round/>
              <a:headEnd/>
              <a:tailEnd/>
            </a:ln>
          </p:spPr>
          <p:txBody>
            <a:bodyPr wrap="none" lIns="0" tIns="0" rIns="0" bIns="0" anchor="ctr"/>
            <a:lstStyle/>
            <a:p>
              <a:endParaRPr lang="en-GB"/>
            </a:p>
          </p:txBody>
        </p:sp>
        <p:sp>
          <p:nvSpPr>
            <p:cNvPr id="19" name="Freeform 18"/>
            <p:cNvSpPr>
              <a:spLocks/>
            </p:cNvSpPr>
            <p:nvPr/>
          </p:nvSpPr>
          <p:spPr bwMode="auto">
            <a:xfrm flipV="1">
              <a:off x="852" y="1882"/>
              <a:ext cx="1079" cy="782"/>
            </a:xfrm>
            <a:custGeom>
              <a:avLst/>
              <a:gdLst>
                <a:gd name="T0" fmla="*/ 0 w 2312"/>
                <a:gd name="T1" fmla="*/ 0 h 1823"/>
                <a:gd name="T2" fmla="*/ 86 w 2312"/>
                <a:gd name="T3" fmla="*/ 0 h 1823"/>
                <a:gd name="T4" fmla="*/ 86 w 2312"/>
                <a:gd name="T5" fmla="*/ 23 h 1823"/>
                <a:gd name="T6" fmla="*/ 96 w 2312"/>
                <a:gd name="T7" fmla="*/ 21 h 1823"/>
                <a:gd name="T8" fmla="*/ 110 w 2312"/>
                <a:gd name="T9" fmla="*/ 31 h 1823"/>
                <a:gd name="T10" fmla="*/ 98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grpFill/>
            <a:ln w="12700">
              <a:solidFill>
                <a:schemeClr val="bg1"/>
              </a:solidFill>
              <a:round/>
              <a:headEnd/>
              <a:tailEnd/>
            </a:ln>
          </p:spPr>
          <p:txBody>
            <a:bodyPr wrap="none" lIns="0" tIns="0" rIns="0" bIns="0" anchor="ctr"/>
            <a:lstStyle/>
            <a:p>
              <a:pPr>
                <a:defRPr/>
              </a:pPr>
              <a:endParaRPr lang="en-GB"/>
            </a:p>
          </p:txBody>
        </p:sp>
      </p:grpSp>
      <p:sp>
        <p:nvSpPr>
          <p:cNvPr id="20"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8369" name="Title 1"/>
          <p:cNvSpPr>
            <a:spLocks noGrp="1"/>
          </p:cNvSpPr>
          <p:nvPr>
            <p:ph type="title"/>
          </p:nvPr>
        </p:nvSpPr>
        <p:spPr>
          <a:xfrm>
            <a:off x="414338" y="446038"/>
            <a:ext cx="8330184" cy="333425"/>
          </a:xfrm>
        </p:spPr>
        <p:txBody>
          <a:bodyPr/>
          <a:lstStyle/>
          <a:p>
            <a:r>
              <a:rPr lang="nl-NL"/>
              <a:t>Puzzles </a:t>
            </a:r>
            <a:r>
              <a:rPr lang="en-US"/>
              <a:t>—</a:t>
            </a:r>
            <a:r>
              <a:rPr lang="nl-NL" smtClean="0"/>
              <a:t> </a:t>
            </a:r>
            <a:r>
              <a:rPr lang="nl-NL"/>
              <a:t>five pieces</a:t>
            </a:r>
          </a:p>
        </p:txBody>
      </p:sp>
      <p:grpSp>
        <p:nvGrpSpPr>
          <p:cNvPr id="2" name="Group 3"/>
          <p:cNvGrpSpPr>
            <a:grpSpLocks/>
          </p:cNvGrpSpPr>
          <p:nvPr/>
        </p:nvGrpSpPr>
        <p:grpSpPr bwMode="auto">
          <a:xfrm>
            <a:off x="2579208" y="1572253"/>
            <a:ext cx="3990975" cy="3432175"/>
            <a:chOff x="1489" y="1070"/>
            <a:chExt cx="3261" cy="2590"/>
          </a:xfrm>
          <a:solidFill>
            <a:schemeClr val="accent3"/>
          </a:solidFill>
        </p:grpSpPr>
        <p:sp>
          <p:nvSpPr>
            <p:cNvPr id="698373" name="Freeform 4"/>
            <p:cNvSpPr>
              <a:spLocks/>
            </p:cNvSpPr>
            <p:nvPr/>
          </p:nvSpPr>
          <p:spPr bwMode="auto">
            <a:xfrm>
              <a:off x="3123" y="1070"/>
              <a:ext cx="1627" cy="1584"/>
            </a:xfrm>
            <a:custGeom>
              <a:avLst/>
              <a:gdLst>
                <a:gd name="T0" fmla="*/ 0 w 1627"/>
                <a:gd name="T1" fmla="*/ 0 h 1584"/>
                <a:gd name="T2" fmla="*/ 1627 w 1627"/>
                <a:gd name="T3" fmla="*/ 1265 h 1584"/>
                <a:gd name="T4" fmla="*/ 1480 w 1627"/>
                <a:gd name="T5" fmla="*/ 1276 h 1584"/>
                <a:gd name="T6" fmla="*/ 1476 w 1627"/>
                <a:gd name="T7" fmla="*/ 1304 h 1584"/>
                <a:gd name="T8" fmla="*/ 1483 w 1627"/>
                <a:gd name="T9" fmla="*/ 1339 h 1584"/>
                <a:gd name="T10" fmla="*/ 1494 w 1627"/>
                <a:gd name="T11" fmla="*/ 1382 h 1584"/>
                <a:gd name="T12" fmla="*/ 1502 w 1627"/>
                <a:gd name="T13" fmla="*/ 1423 h 1584"/>
                <a:gd name="T14" fmla="*/ 1499 w 1627"/>
                <a:gd name="T15" fmla="*/ 1461 h 1584"/>
                <a:gd name="T16" fmla="*/ 1487 w 1627"/>
                <a:gd name="T17" fmla="*/ 1499 h 1584"/>
                <a:gd name="T18" fmla="*/ 1461 w 1627"/>
                <a:gd name="T19" fmla="*/ 1530 h 1584"/>
                <a:gd name="T20" fmla="*/ 1431 w 1627"/>
                <a:gd name="T21" fmla="*/ 1555 h 1584"/>
                <a:gd name="T22" fmla="*/ 1394 w 1627"/>
                <a:gd name="T23" fmla="*/ 1572 h 1584"/>
                <a:gd name="T24" fmla="*/ 1348 w 1627"/>
                <a:gd name="T25" fmla="*/ 1582 h 1584"/>
                <a:gd name="T26" fmla="*/ 1307 w 1627"/>
                <a:gd name="T27" fmla="*/ 1584 h 1584"/>
                <a:gd name="T28" fmla="*/ 1271 w 1627"/>
                <a:gd name="T29" fmla="*/ 1579 h 1584"/>
                <a:gd name="T30" fmla="*/ 1235 w 1627"/>
                <a:gd name="T31" fmla="*/ 1568 h 1584"/>
                <a:gd name="T32" fmla="*/ 1205 w 1627"/>
                <a:gd name="T33" fmla="*/ 1548 h 1584"/>
                <a:gd name="T34" fmla="*/ 1177 w 1627"/>
                <a:gd name="T35" fmla="*/ 1519 h 1584"/>
                <a:gd name="T36" fmla="*/ 1154 w 1627"/>
                <a:gd name="T37" fmla="*/ 1486 h 1584"/>
                <a:gd name="T38" fmla="*/ 1142 w 1627"/>
                <a:gd name="T39" fmla="*/ 1441 h 1584"/>
                <a:gd name="T40" fmla="*/ 1147 w 1627"/>
                <a:gd name="T41" fmla="*/ 1396 h 1584"/>
                <a:gd name="T42" fmla="*/ 1159 w 1627"/>
                <a:gd name="T43" fmla="*/ 1351 h 1584"/>
                <a:gd name="T44" fmla="*/ 1168 w 1627"/>
                <a:gd name="T45" fmla="*/ 1306 h 1584"/>
                <a:gd name="T46" fmla="*/ 1167 w 1627"/>
                <a:gd name="T47" fmla="*/ 1284 h 1584"/>
                <a:gd name="T48" fmla="*/ 892 w 1627"/>
                <a:gd name="T49" fmla="*/ 1273 h 1584"/>
                <a:gd name="T50" fmla="*/ 895 w 1627"/>
                <a:gd name="T51" fmla="*/ 1198 h 1584"/>
                <a:gd name="T52" fmla="*/ 889 w 1627"/>
                <a:gd name="T53" fmla="*/ 1149 h 1584"/>
                <a:gd name="T54" fmla="*/ 878 w 1627"/>
                <a:gd name="T55" fmla="*/ 1119 h 1584"/>
                <a:gd name="T56" fmla="*/ 855 w 1627"/>
                <a:gd name="T57" fmla="*/ 1095 h 1584"/>
                <a:gd name="T58" fmla="*/ 824 w 1627"/>
                <a:gd name="T59" fmla="*/ 1080 h 1584"/>
                <a:gd name="T60" fmla="*/ 786 w 1627"/>
                <a:gd name="T61" fmla="*/ 1075 h 1584"/>
                <a:gd name="T62" fmla="*/ 731 w 1627"/>
                <a:gd name="T63" fmla="*/ 1078 h 1584"/>
                <a:gd name="T64" fmla="*/ 679 w 1627"/>
                <a:gd name="T65" fmla="*/ 1082 h 1584"/>
                <a:gd name="T66" fmla="*/ 625 w 1627"/>
                <a:gd name="T67" fmla="*/ 1082 h 1584"/>
                <a:gd name="T68" fmla="*/ 571 w 1627"/>
                <a:gd name="T69" fmla="*/ 1073 h 1584"/>
                <a:gd name="T70" fmla="*/ 530 w 1627"/>
                <a:gd name="T71" fmla="*/ 1049 h 1584"/>
                <a:gd name="T72" fmla="*/ 506 w 1627"/>
                <a:gd name="T73" fmla="*/ 1016 h 1584"/>
                <a:gd name="T74" fmla="*/ 496 w 1627"/>
                <a:gd name="T75" fmla="*/ 972 h 1584"/>
                <a:gd name="T76" fmla="*/ 498 w 1627"/>
                <a:gd name="T77" fmla="*/ 923 h 1584"/>
                <a:gd name="T78" fmla="*/ 491 w 1627"/>
                <a:gd name="T79" fmla="*/ 878 h 1584"/>
                <a:gd name="T80" fmla="*/ 480 w 1627"/>
                <a:gd name="T81" fmla="*/ 849 h 1584"/>
                <a:gd name="T82" fmla="*/ 463 w 1627"/>
                <a:gd name="T83" fmla="*/ 831 h 1584"/>
                <a:gd name="T84" fmla="*/ 423 w 1627"/>
                <a:gd name="T85" fmla="*/ 813 h 1584"/>
                <a:gd name="T86" fmla="*/ 371 w 1627"/>
                <a:gd name="T87" fmla="*/ 799 h 1584"/>
                <a:gd name="T88" fmla="*/ 313 w 1627"/>
                <a:gd name="T89" fmla="*/ 789 h 1584"/>
                <a:gd name="T90" fmla="*/ 269 w 1627"/>
                <a:gd name="T91" fmla="*/ 775 h 1584"/>
                <a:gd name="T92" fmla="*/ 231 w 1627"/>
                <a:gd name="T93" fmla="*/ 753 h 1584"/>
                <a:gd name="T94" fmla="*/ 200 w 1627"/>
                <a:gd name="T95" fmla="*/ 724 h 1584"/>
                <a:gd name="T96" fmla="*/ 180 w 1627"/>
                <a:gd name="T97" fmla="*/ 687 h 1584"/>
                <a:gd name="T98" fmla="*/ 177 w 1627"/>
                <a:gd name="T99" fmla="*/ 646 h 1584"/>
                <a:gd name="T100" fmla="*/ 189 w 1627"/>
                <a:gd name="T101" fmla="*/ 601 h 1584"/>
                <a:gd name="T102" fmla="*/ 199 w 1627"/>
                <a:gd name="T103" fmla="*/ 550 h 1584"/>
                <a:gd name="T104" fmla="*/ 207 w 1627"/>
                <a:gd name="T105" fmla="*/ 502 h 1584"/>
                <a:gd name="T106" fmla="*/ 199 w 1627"/>
                <a:gd name="T107" fmla="*/ 454 h 1584"/>
                <a:gd name="T108" fmla="*/ 179 w 1627"/>
                <a:gd name="T109" fmla="*/ 410 h 1584"/>
                <a:gd name="T110" fmla="*/ 159 w 1627"/>
                <a:gd name="T111" fmla="*/ 384 h 1584"/>
                <a:gd name="T112" fmla="*/ 134 w 1627"/>
                <a:gd name="T113" fmla="*/ 360 h 1584"/>
                <a:gd name="T114" fmla="*/ 104 w 1627"/>
                <a:gd name="T115" fmla="*/ 343 h 1584"/>
                <a:gd name="T116" fmla="*/ 66 w 1627"/>
                <a:gd name="T117" fmla="*/ 331 h 1584"/>
                <a:gd name="T118" fmla="*/ 21 w 1627"/>
                <a:gd name="T119" fmla="*/ 330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7"/>
                <a:gd name="T181" fmla="*/ 0 h 1584"/>
                <a:gd name="T182" fmla="*/ 1627 w 1627"/>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7" h="1584">
                  <a:moveTo>
                    <a:pt x="0" y="330"/>
                  </a:moveTo>
                  <a:lnTo>
                    <a:pt x="0" y="0"/>
                  </a:lnTo>
                  <a:lnTo>
                    <a:pt x="1626" y="0"/>
                  </a:lnTo>
                  <a:lnTo>
                    <a:pt x="1627" y="1265"/>
                  </a:lnTo>
                  <a:lnTo>
                    <a:pt x="1486" y="1265"/>
                  </a:lnTo>
                  <a:lnTo>
                    <a:pt x="1480" y="1276"/>
                  </a:lnTo>
                  <a:lnTo>
                    <a:pt x="1476" y="1291"/>
                  </a:lnTo>
                  <a:lnTo>
                    <a:pt x="1476" y="1304"/>
                  </a:lnTo>
                  <a:lnTo>
                    <a:pt x="1478" y="1320"/>
                  </a:lnTo>
                  <a:lnTo>
                    <a:pt x="1483" y="1339"/>
                  </a:lnTo>
                  <a:lnTo>
                    <a:pt x="1489" y="1365"/>
                  </a:lnTo>
                  <a:lnTo>
                    <a:pt x="1494" y="1382"/>
                  </a:lnTo>
                  <a:lnTo>
                    <a:pt x="1499" y="1403"/>
                  </a:lnTo>
                  <a:lnTo>
                    <a:pt x="1502" y="1423"/>
                  </a:lnTo>
                  <a:lnTo>
                    <a:pt x="1502" y="1442"/>
                  </a:lnTo>
                  <a:lnTo>
                    <a:pt x="1499" y="1461"/>
                  </a:lnTo>
                  <a:lnTo>
                    <a:pt x="1494" y="1481"/>
                  </a:lnTo>
                  <a:lnTo>
                    <a:pt x="1487" y="1499"/>
                  </a:lnTo>
                  <a:lnTo>
                    <a:pt x="1476" y="1513"/>
                  </a:lnTo>
                  <a:lnTo>
                    <a:pt x="1461" y="1530"/>
                  </a:lnTo>
                  <a:lnTo>
                    <a:pt x="1445" y="1543"/>
                  </a:lnTo>
                  <a:lnTo>
                    <a:pt x="1431" y="1555"/>
                  </a:lnTo>
                  <a:lnTo>
                    <a:pt x="1414" y="1565"/>
                  </a:lnTo>
                  <a:lnTo>
                    <a:pt x="1394" y="1572"/>
                  </a:lnTo>
                  <a:lnTo>
                    <a:pt x="1370" y="1579"/>
                  </a:lnTo>
                  <a:lnTo>
                    <a:pt x="1348" y="1582"/>
                  </a:lnTo>
                  <a:lnTo>
                    <a:pt x="1328" y="1584"/>
                  </a:lnTo>
                  <a:lnTo>
                    <a:pt x="1307" y="1584"/>
                  </a:lnTo>
                  <a:lnTo>
                    <a:pt x="1287" y="1582"/>
                  </a:lnTo>
                  <a:lnTo>
                    <a:pt x="1271" y="1579"/>
                  </a:lnTo>
                  <a:lnTo>
                    <a:pt x="1253" y="1574"/>
                  </a:lnTo>
                  <a:lnTo>
                    <a:pt x="1235" y="1568"/>
                  </a:lnTo>
                  <a:lnTo>
                    <a:pt x="1221" y="1560"/>
                  </a:lnTo>
                  <a:lnTo>
                    <a:pt x="1205" y="1548"/>
                  </a:lnTo>
                  <a:lnTo>
                    <a:pt x="1191" y="1534"/>
                  </a:lnTo>
                  <a:lnTo>
                    <a:pt x="1177" y="1519"/>
                  </a:lnTo>
                  <a:lnTo>
                    <a:pt x="1164" y="1503"/>
                  </a:lnTo>
                  <a:lnTo>
                    <a:pt x="1154" y="1486"/>
                  </a:lnTo>
                  <a:lnTo>
                    <a:pt x="1147" y="1465"/>
                  </a:lnTo>
                  <a:lnTo>
                    <a:pt x="1142" y="1441"/>
                  </a:lnTo>
                  <a:lnTo>
                    <a:pt x="1142" y="1418"/>
                  </a:lnTo>
                  <a:lnTo>
                    <a:pt x="1147" y="1396"/>
                  </a:lnTo>
                  <a:lnTo>
                    <a:pt x="1153" y="1373"/>
                  </a:lnTo>
                  <a:lnTo>
                    <a:pt x="1159" y="1351"/>
                  </a:lnTo>
                  <a:lnTo>
                    <a:pt x="1166" y="1325"/>
                  </a:lnTo>
                  <a:lnTo>
                    <a:pt x="1168" y="1306"/>
                  </a:lnTo>
                  <a:lnTo>
                    <a:pt x="1168" y="1294"/>
                  </a:lnTo>
                  <a:lnTo>
                    <a:pt x="1167" y="1284"/>
                  </a:lnTo>
                  <a:lnTo>
                    <a:pt x="1163" y="1273"/>
                  </a:lnTo>
                  <a:lnTo>
                    <a:pt x="892" y="1273"/>
                  </a:lnTo>
                  <a:lnTo>
                    <a:pt x="896" y="1225"/>
                  </a:lnTo>
                  <a:lnTo>
                    <a:pt x="895" y="1198"/>
                  </a:lnTo>
                  <a:lnTo>
                    <a:pt x="892" y="1173"/>
                  </a:lnTo>
                  <a:lnTo>
                    <a:pt x="889" y="1149"/>
                  </a:lnTo>
                  <a:lnTo>
                    <a:pt x="885" y="1133"/>
                  </a:lnTo>
                  <a:lnTo>
                    <a:pt x="878" y="1119"/>
                  </a:lnTo>
                  <a:lnTo>
                    <a:pt x="869" y="1106"/>
                  </a:lnTo>
                  <a:lnTo>
                    <a:pt x="855" y="1095"/>
                  </a:lnTo>
                  <a:lnTo>
                    <a:pt x="839" y="1085"/>
                  </a:lnTo>
                  <a:lnTo>
                    <a:pt x="824" y="1080"/>
                  </a:lnTo>
                  <a:lnTo>
                    <a:pt x="810" y="1077"/>
                  </a:lnTo>
                  <a:lnTo>
                    <a:pt x="786" y="1075"/>
                  </a:lnTo>
                  <a:lnTo>
                    <a:pt x="758" y="1075"/>
                  </a:lnTo>
                  <a:lnTo>
                    <a:pt x="731" y="1078"/>
                  </a:lnTo>
                  <a:lnTo>
                    <a:pt x="701" y="1080"/>
                  </a:lnTo>
                  <a:lnTo>
                    <a:pt x="679" y="1082"/>
                  </a:lnTo>
                  <a:lnTo>
                    <a:pt x="649" y="1084"/>
                  </a:lnTo>
                  <a:lnTo>
                    <a:pt x="625" y="1082"/>
                  </a:lnTo>
                  <a:lnTo>
                    <a:pt x="604" y="1080"/>
                  </a:lnTo>
                  <a:lnTo>
                    <a:pt x="571" y="1073"/>
                  </a:lnTo>
                  <a:lnTo>
                    <a:pt x="550" y="1063"/>
                  </a:lnTo>
                  <a:lnTo>
                    <a:pt x="530" y="1049"/>
                  </a:lnTo>
                  <a:lnTo>
                    <a:pt x="518" y="1033"/>
                  </a:lnTo>
                  <a:lnTo>
                    <a:pt x="506" y="1016"/>
                  </a:lnTo>
                  <a:lnTo>
                    <a:pt x="498" y="995"/>
                  </a:lnTo>
                  <a:lnTo>
                    <a:pt x="496" y="972"/>
                  </a:lnTo>
                  <a:lnTo>
                    <a:pt x="496" y="944"/>
                  </a:lnTo>
                  <a:lnTo>
                    <a:pt x="498" y="923"/>
                  </a:lnTo>
                  <a:lnTo>
                    <a:pt x="496" y="902"/>
                  </a:lnTo>
                  <a:lnTo>
                    <a:pt x="491" y="878"/>
                  </a:lnTo>
                  <a:lnTo>
                    <a:pt x="487" y="864"/>
                  </a:lnTo>
                  <a:lnTo>
                    <a:pt x="480" y="849"/>
                  </a:lnTo>
                  <a:lnTo>
                    <a:pt x="471" y="840"/>
                  </a:lnTo>
                  <a:lnTo>
                    <a:pt x="463" y="831"/>
                  </a:lnTo>
                  <a:lnTo>
                    <a:pt x="444" y="823"/>
                  </a:lnTo>
                  <a:lnTo>
                    <a:pt x="423" y="813"/>
                  </a:lnTo>
                  <a:lnTo>
                    <a:pt x="399" y="806"/>
                  </a:lnTo>
                  <a:lnTo>
                    <a:pt x="371" y="799"/>
                  </a:lnTo>
                  <a:lnTo>
                    <a:pt x="343" y="793"/>
                  </a:lnTo>
                  <a:lnTo>
                    <a:pt x="313" y="789"/>
                  </a:lnTo>
                  <a:lnTo>
                    <a:pt x="292" y="782"/>
                  </a:lnTo>
                  <a:lnTo>
                    <a:pt x="269" y="775"/>
                  </a:lnTo>
                  <a:lnTo>
                    <a:pt x="247" y="766"/>
                  </a:lnTo>
                  <a:lnTo>
                    <a:pt x="231" y="753"/>
                  </a:lnTo>
                  <a:lnTo>
                    <a:pt x="213" y="738"/>
                  </a:lnTo>
                  <a:lnTo>
                    <a:pt x="200" y="724"/>
                  </a:lnTo>
                  <a:lnTo>
                    <a:pt x="189" y="707"/>
                  </a:lnTo>
                  <a:lnTo>
                    <a:pt x="180" y="687"/>
                  </a:lnTo>
                  <a:lnTo>
                    <a:pt x="177" y="666"/>
                  </a:lnTo>
                  <a:lnTo>
                    <a:pt x="177" y="646"/>
                  </a:lnTo>
                  <a:lnTo>
                    <a:pt x="182" y="628"/>
                  </a:lnTo>
                  <a:lnTo>
                    <a:pt x="189" y="601"/>
                  </a:lnTo>
                  <a:lnTo>
                    <a:pt x="196" y="574"/>
                  </a:lnTo>
                  <a:lnTo>
                    <a:pt x="199" y="550"/>
                  </a:lnTo>
                  <a:lnTo>
                    <a:pt x="204" y="526"/>
                  </a:lnTo>
                  <a:lnTo>
                    <a:pt x="207" y="502"/>
                  </a:lnTo>
                  <a:lnTo>
                    <a:pt x="204" y="477"/>
                  </a:lnTo>
                  <a:lnTo>
                    <a:pt x="199" y="454"/>
                  </a:lnTo>
                  <a:lnTo>
                    <a:pt x="190" y="432"/>
                  </a:lnTo>
                  <a:lnTo>
                    <a:pt x="179" y="410"/>
                  </a:lnTo>
                  <a:lnTo>
                    <a:pt x="166" y="393"/>
                  </a:lnTo>
                  <a:lnTo>
                    <a:pt x="159" y="384"/>
                  </a:lnTo>
                  <a:lnTo>
                    <a:pt x="146" y="371"/>
                  </a:lnTo>
                  <a:lnTo>
                    <a:pt x="134" y="360"/>
                  </a:lnTo>
                  <a:lnTo>
                    <a:pt x="121" y="351"/>
                  </a:lnTo>
                  <a:lnTo>
                    <a:pt x="104" y="343"/>
                  </a:lnTo>
                  <a:lnTo>
                    <a:pt x="87" y="337"/>
                  </a:lnTo>
                  <a:lnTo>
                    <a:pt x="66" y="331"/>
                  </a:lnTo>
                  <a:lnTo>
                    <a:pt x="42" y="330"/>
                  </a:lnTo>
                  <a:lnTo>
                    <a:pt x="21" y="330"/>
                  </a:lnTo>
                  <a:lnTo>
                    <a:pt x="0" y="330"/>
                  </a:lnTo>
                  <a:close/>
                </a:path>
              </a:pathLst>
            </a:custGeom>
            <a:grpFill/>
            <a:ln w="17463">
              <a:solidFill>
                <a:srgbClr val="FFFFFF"/>
              </a:solidFill>
              <a:round/>
              <a:headEnd/>
              <a:tailEnd/>
            </a:ln>
          </p:spPr>
          <p:txBody>
            <a:bodyPr/>
            <a:lstStyle/>
            <a:p>
              <a:endParaRPr lang="en-GB"/>
            </a:p>
          </p:txBody>
        </p:sp>
        <p:sp>
          <p:nvSpPr>
            <p:cNvPr id="6" name="Freeform 5"/>
            <p:cNvSpPr>
              <a:spLocks/>
            </p:cNvSpPr>
            <p:nvPr/>
          </p:nvSpPr>
          <p:spPr bwMode="auto">
            <a:xfrm>
              <a:off x="3116" y="2333"/>
              <a:ext cx="1634" cy="1327"/>
            </a:xfrm>
            <a:custGeom>
              <a:avLst/>
              <a:gdLst>
                <a:gd name="T0" fmla="*/ 0 w 1634"/>
                <a:gd name="T1" fmla="*/ 1327 h 1327"/>
                <a:gd name="T2" fmla="*/ 1633 w 1634"/>
                <a:gd name="T3" fmla="*/ 0 h 1327"/>
                <a:gd name="T4" fmla="*/ 1480 w 1634"/>
                <a:gd name="T5" fmla="*/ 26 h 1327"/>
                <a:gd name="T6" fmla="*/ 1485 w 1634"/>
                <a:gd name="T7" fmla="*/ 69 h 1327"/>
                <a:gd name="T8" fmla="*/ 1501 w 1634"/>
                <a:gd name="T9" fmla="*/ 129 h 1327"/>
                <a:gd name="T10" fmla="*/ 1506 w 1634"/>
                <a:gd name="T11" fmla="*/ 177 h 1327"/>
                <a:gd name="T12" fmla="*/ 1496 w 1634"/>
                <a:gd name="T13" fmla="*/ 226 h 1327"/>
                <a:gd name="T14" fmla="*/ 1462 w 1634"/>
                <a:gd name="T15" fmla="*/ 268 h 1327"/>
                <a:gd name="T16" fmla="*/ 1420 w 1634"/>
                <a:gd name="T17" fmla="*/ 299 h 1327"/>
                <a:gd name="T18" fmla="*/ 1369 w 1634"/>
                <a:gd name="T19" fmla="*/ 315 h 1327"/>
                <a:gd name="T20" fmla="*/ 1295 w 1634"/>
                <a:gd name="T21" fmla="*/ 314 h 1327"/>
                <a:gd name="T22" fmla="*/ 1247 w 1634"/>
                <a:gd name="T23" fmla="*/ 304 h 1327"/>
                <a:gd name="T24" fmla="*/ 1199 w 1634"/>
                <a:gd name="T25" fmla="*/ 270 h 1327"/>
                <a:gd name="T26" fmla="*/ 1167 w 1634"/>
                <a:gd name="T27" fmla="*/ 229 h 1327"/>
                <a:gd name="T28" fmla="*/ 1153 w 1634"/>
                <a:gd name="T29" fmla="*/ 185 h 1327"/>
                <a:gd name="T30" fmla="*/ 1156 w 1634"/>
                <a:gd name="T31" fmla="*/ 137 h 1327"/>
                <a:gd name="T32" fmla="*/ 1167 w 1634"/>
                <a:gd name="T33" fmla="*/ 93 h 1327"/>
                <a:gd name="T34" fmla="*/ 1178 w 1634"/>
                <a:gd name="T35" fmla="*/ 48 h 1327"/>
                <a:gd name="T36" fmla="*/ 1173 w 1634"/>
                <a:gd name="T37" fmla="*/ 6 h 1327"/>
                <a:gd name="T38" fmla="*/ 902 w 1634"/>
                <a:gd name="T39" fmla="*/ 52 h 1327"/>
                <a:gd name="T40" fmla="*/ 897 w 1634"/>
                <a:gd name="T41" fmla="*/ 112 h 1327"/>
                <a:gd name="T42" fmla="*/ 894 w 1634"/>
                <a:gd name="T43" fmla="*/ 161 h 1327"/>
                <a:gd name="T44" fmla="*/ 882 w 1634"/>
                <a:gd name="T45" fmla="*/ 203 h 1327"/>
                <a:gd name="T46" fmla="*/ 858 w 1634"/>
                <a:gd name="T47" fmla="*/ 232 h 1327"/>
                <a:gd name="T48" fmla="*/ 824 w 1634"/>
                <a:gd name="T49" fmla="*/ 247 h 1327"/>
                <a:gd name="T50" fmla="*/ 786 w 1634"/>
                <a:gd name="T51" fmla="*/ 251 h 1327"/>
                <a:gd name="T52" fmla="*/ 739 w 1634"/>
                <a:gd name="T53" fmla="*/ 249 h 1327"/>
                <a:gd name="T54" fmla="*/ 697 w 1634"/>
                <a:gd name="T55" fmla="*/ 246 h 1327"/>
                <a:gd name="T56" fmla="*/ 643 w 1634"/>
                <a:gd name="T57" fmla="*/ 243 h 1327"/>
                <a:gd name="T58" fmla="*/ 595 w 1634"/>
                <a:gd name="T59" fmla="*/ 249 h 1327"/>
                <a:gd name="T60" fmla="*/ 551 w 1634"/>
                <a:gd name="T61" fmla="*/ 266 h 1327"/>
                <a:gd name="T62" fmla="*/ 519 w 1634"/>
                <a:gd name="T63" fmla="*/ 295 h 1327"/>
                <a:gd name="T64" fmla="*/ 501 w 1634"/>
                <a:gd name="T65" fmla="*/ 332 h 1327"/>
                <a:gd name="T66" fmla="*/ 501 w 1634"/>
                <a:gd name="T67" fmla="*/ 374 h 1327"/>
                <a:gd name="T68" fmla="*/ 501 w 1634"/>
                <a:gd name="T69" fmla="*/ 421 h 1327"/>
                <a:gd name="T70" fmla="*/ 491 w 1634"/>
                <a:gd name="T71" fmla="*/ 459 h 1327"/>
                <a:gd name="T72" fmla="*/ 471 w 1634"/>
                <a:gd name="T73" fmla="*/ 490 h 1327"/>
                <a:gd name="T74" fmla="*/ 430 w 1634"/>
                <a:gd name="T75" fmla="*/ 511 h 1327"/>
                <a:gd name="T76" fmla="*/ 386 w 1634"/>
                <a:gd name="T77" fmla="*/ 524 h 1327"/>
                <a:gd name="T78" fmla="*/ 334 w 1634"/>
                <a:gd name="T79" fmla="*/ 535 h 1327"/>
                <a:gd name="T80" fmla="*/ 287 w 1634"/>
                <a:gd name="T81" fmla="*/ 547 h 1327"/>
                <a:gd name="T82" fmla="*/ 248 w 1634"/>
                <a:gd name="T83" fmla="*/ 562 h 1327"/>
                <a:gd name="T84" fmla="*/ 218 w 1634"/>
                <a:gd name="T85" fmla="*/ 585 h 1327"/>
                <a:gd name="T86" fmla="*/ 193 w 1634"/>
                <a:gd name="T87" fmla="*/ 620 h 1327"/>
                <a:gd name="T88" fmla="*/ 180 w 1634"/>
                <a:gd name="T89" fmla="*/ 664 h 1327"/>
                <a:gd name="T90" fmla="*/ 186 w 1634"/>
                <a:gd name="T91" fmla="*/ 709 h 1327"/>
                <a:gd name="T92" fmla="*/ 200 w 1634"/>
                <a:gd name="T93" fmla="*/ 765 h 1327"/>
                <a:gd name="T94" fmla="*/ 208 w 1634"/>
                <a:gd name="T95" fmla="*/ 813 h 1327"/>
                <a:gd name="T96" fmla="*/ 206 w 1634"/>
                <a:gd name="T97" fmla="*/ 860 h 1327"/>
                <a:gd name="T98" fmla="*/ 193 w 1634"/>
                <a:gd name="T99" fmla="*/ 902 h 1327"/>
                <a:gd name="T100" fmla="*/ 173 w 1634"/>
                <a:gd name="T101" fmla="*/ 945 h 1327"/>
                <a:gd name="T102" fmla="*/ 141 w 1634"/>
                <a:gd name="T103" fmla="*/ 991 h 1327"/>
                <a:gd name="T104" fmla="*/ 108 w 1634"/>
                <a:gd name="T105" fmla="*/ 1021 h 1327"/>
                <a:gd name="T106" fmla="*/ 74 w 1634"/>
                <a:gd name="T107" fmla="*/ 1039 h 1327"/>
                <a:gd name="T108" fmla="*/ 23 w 1634"/>
                <a:gd name="T109" fmla="*/ 1049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4"/>
                <a:gd name="T166" fmla="*/ 0 h 1327"/>
                <a:gd name="T167" fmla="*/ 1634 w 1634"/>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4" h="1327">
                  <a:moveTo>
                    <a:pt x="0" y="1049"/>
                  </a:moveTo>
                  <a:lnTo>
                    <a:pt x="0" y="1327"/>
                  </a:lnTo>
                  <a:lnTo>
                    <a:pt x="1634" y="1327"/>
                  </a:lnTo>
                  <a:lnTo>
                    <a:pt x="1633" y="0"/>
                  </a:lnTo>
                  <a:lnTo>
                    <a:pt x="1487" y="0"/>
                  </a:lnTo>
                  <a:lnTo>
                    <a:pt x="1480" y="26"/>
                  </a:lnTo>
                  <a:lnTo>
                    <a:pt x="1480" y="44"/>
                  </a:lnTo>
                  <a:lnTo>
                    <a:pt x="1485" y="69"/>
                  </a:lnTo>
                  <a:lnTo>
                    <a:pt x="1493" y="96"/>
                  </a:lnTo>
                  <a:lnTo>
                    <a:pt x="1501" y="129"/>
                  </a:lnTo>
                  <a:lnTo>
                    <a:pt x="1506" y="154"/>
                  </a:lnTo>
                  <a:lnTo>
                    <a:pt x="1506" y="177"/>
                  </a:lnTo>
                  <a:lnTo>
                    <a:pt x="1503" y="202"/>
                  </a:lnTo>
                  <a:lnTo>
                    <a:pt x="1496" y="226"/>
                  </a:lnTo>
                  <a:lnTo>
                    <a:pt x="1480" y="249"/>
                  </a:lnTo>
                  <a:lnTo>
                    <a:pt x="1462" y="268"/>
                  </a:lnTo>
                  <a:lnTo>
                    <a:pt x="1442" y="287"/>
                  </a:lnTo>
                  <a:lnTo>
                    <a:pt x="1420" y="299"/>
                  </a:lnTo>
                  <a:lnTo>
                    <a:pt x="1393" y="309"/>
                  </a:lnTo>
                  <a:lnTo>
                    <a:pt x="1369" y="315"/>
                  </a:lnTo>
                  <a:lnTo>
                    <a:pt x="1335" y="316"/>
                  </a:lnTo>
                  <a:lnTo>
                    <a:pt x="1295" y="314"/>
                  </a:lnTo>
                  <a:lnTo>
                    <a:pt x="1270" y="309"/>
                  </a:lnTo>
                  <a:lnTo>
                    <a:pt x="1247" y="304"/>
                  </a:lnTo>
                  <a:lnTo>
                    <a:pt x="1226" y="291"/>
                  </a:lnTo>
                  <a:lnTo>
                    <a:pt x="1199" y="270"/>
                  </a:lnTo>
                  <a:lnTo>
                    <a:pt x="1182" y="250"/>
                  </a:lnTo>
                  <a:lnTo>
                    <a:pt x="1167" y="229"/>
                  </a:lnTo>
                  <a:lnTo>
                    <a:pt x="1158" y="206"/>
                  </a:lnTo>
                  <a:lnTo>
                    <a:pt x="1153" y="185"/>
                  </a:lnTo>
                  <a:lnTo>
                    <a:pt x="1153" y="161"/>
                  </a:lnTo>
                  <a:lnTo>
                    <a:pt x="1156" y="137"/>
                  </a:lnTo>
                  <a:lnTo>
                    <a:pt x="1161" y="115"/>
                  </a:lnTo>
                  <a:lnTo>
                    <a:pt x="1167" y="93"/>
                  </a:lnTo>
                  <a:lnTo>
                    <a:pt x="1174" y="71"/>
                  </a:lnTo>
                  <a:lnTo>
                    <a:pt x="1178" y="48"/>
                  </a:lnTo>
                  <a:lnTo>
                    <a:pt x="1178" y="28"/>
                  </a:lnTo>
                  <a:lnTo>
                    <a:pt x="1173" y="6"/>
                  </a:lnTo>
                  <a:lnTo>
                    <a:pt x="899" y="6"/>
                  </a:lnTo>
                  <a:lnTo>
                    <a:pt x="902" y="52"/>
                  </a:lnTo>
                  <a:lnTo>
                    <a:pt x="899" y="85"/>
                  </a:lnTo>
                  <a:lnTo>
                    <a:pt x="897" y="112"/>
                  </a:lnTo>
                  <a:lnTo>
                    <a:pt x="897" y="136"/>
                  </a:lnTo>
                  <a:lnTo>
                    <a:pt x="894" y="161"/>
                  </a:lnTo>
                  <a:lnTo>
                    <a:pt x="889" y="187"/>
                  </a:lnTo>
                  <a:lnTo>
                    <a:pt x="882" y="203"/>
                  </a:lnTo>
                  <a:lnTo>
                    <a:pt x="872" y="219"/>
                  </a:lnTo>
                  <a:lnTo>
                    <a:pt x="858" y="232"/>
                  </a:lnTo>
                  <a:lnTo>
                    <a:pt x="842" y="242"/>
                  </a:lnTo>
                  <a:lnTo>
                    <a:pt x="824" y="247"/>
                  </a:lnTo>
                  <a:lnTo>
                    <a:pt x="804" y="250"/>
                  </a:lnTo>
                  <a:lnTo>
                    <a:pt x="786" y="251"/>
                  </a:lnTo>
                  <a:lnTo>
                    <a:pt x="762" y="251"/>
                  </a:lnTo>
                  <a:lnTo>
                    <a:pt x="739" y="249"/>
                  </a:lnTo>
                  <a:lnTo>
                    <a:pt x="721" y="247"/>
                  </a:lnTo>
                  <a:lnTo>
                    <a:pt x="697" y="246"/>
                  </a:lnTo>
                  <a:lnTo>
                    <a:pt x="671" y="243"/>
                  </a:lnTo>
                  <a:lnTo>
                    <a:pt x="643" y="243"/>
                  </a:lnTo>
                  <a:lnTo>
                    <a:pt x="619" y="246"/>
                  </a:lnTo>
                  <a:lnTo>
                    <a:pt x="595" y="249"/>
                  </a:lnTo>
                  <a:lnTo>
                    <a:pt x="570" y="256"/>
                  </a:lnTo>
                  <a:lnTo>
                    <a:pt x="551" y="266"/>
                  </a:lnTo>
                  <a:lnTo>
                    <a:pt x="532" y="278"/>
                  </a:lnTo>
                  <a:lnTo>
                    <a:pt x="519" y="295"/>
                  </a:lnTo>
                  <a:lnTo>
                    <a:pt x="506" y="314"/>
                  </a:lnTo>
                  <a:lnTo>
                    <a:pt x="501" y="332"/>
                  </a:lnTo>
                  <a:lnTo>
                    <a:pt x="498" y="353"/>
                  </a:lnTo>
                  <a:lnTo>
                    <a:pt x="501" y="374"/>
                  </a:lnTo>
                  <a:lnTo>
                    <a:pt x="502" y="397"/>
                  </a:lnTo>
                  <a:lnTo>
                    <a:pt x="501" y="421"/>
                  </a:lnTo>
                  <a:lnTo>
                    <a:pt x="496" y="439"/>
                  </a:lnTo>
                  <a:lnTo>
                    <a:pt x="491" y="459"/>
                  </a:lnTo>
                  <a:lnTo>
                    <a:pt x="482" y="477"/>
                  </a:lnTo>
                  <a:lnTo>
                    <a:pt x="471" y="490"/>
                  </a:lnTo>
                  <a:lnTo>
                    <a:pt x="453" y="503"/>
                  </a:lnTo>
                  <a:lnTo>
                    <a:pt x="430" y="511"/>
                  </a:lnTo>
                  <a:lnTo>
                    <a:pt x="407" y="518"/>
                  </a:lnTo>
                  <a:lnTo>
                    <a:pt x="386" y="524"/>
                  </a:lnTo>
                  <a:lnTo>
                    <a:pt x="364" y="530"/>
                  </a:lnTo>
                  <a:lnTo>
                    <a:pt x="334" y="535"/>
                  </a:lnTo>
                  <a:lnTo>
                    <a:pt x="311" y="540"/>
                  </a:lnTo>
                  <a:lnTo>
                    <a:pt x="287" y="547"/>
                  </a:lnTo>
                  <a:lnTo>
                    <a:pt x="268" y="554"/>
                  </a:lnTo>
                  <a:lnTo>
                    <a:pt x="248" y="562"/>
                  </a:lnTo>
                  <a:lnTo>
                    <a:pt x="232" y="573"/>
                  </a:lnTo>
                  <a:lnTo>
                    <a:pt x="218" y="585"/>
                  </a:lnTo>
                  <a:lnTo>
                    <a:pt x="203" y="603"/>
                  </a:lnTo>
                  <a:lnTo>
                    <a:pt x="193" y="620"/>
                  </a:lnTo>
                  <a:lnTo>
                    <a:pt x="184" y="640"/>
                  </a:lnTo>
                  <a:lnTo>
                    <a:pt x="180" y="664"/>
                  </a:lnTo>
                  <a:lnTo>
                    <a:pt x="183" y="686"/>
                  </a:lnTo>
                  <a:lnTo>
                    <a:pt x="186" y="709"/>
                  </a:lnTo>
                  <a:lnTo>
                    <a:pt x="193" y="736"/>
                  </a:lnTo>
                  <a:lnTo>
                    <a:pt x="200" y="765"/>
                  </a:lnTo>
                  <a:lnTo>
                    <a:pt x="206" y="792"/>
                  </a:lnTo>
                  <a:lnTo>
                    <a:pt x="208" y="813"/>
                  </a:lnTo>
                  <a:lnTo>
                    <a:pt x="208" y="833"/>
                  </a:lnTo>
                  <a:lnTo>
                    <a:pt x="206" y="860"/>
                  </a:lnTo>
                  <a:lnTo>
                    <a:pt x="199" y="883"/>
                  </a:lnTo>
                  <a:lnTo>
                    <a:pt x="193" y="902"/>
                  </a:lnTo>
                  <a:lnTo>
                    <a:pt x="184" y="921"/>
                  </a:lnTo>
                  <a:lnTo>
                    <a:pt x="173" y="945"/>
                  </a:lnTo>
                  <a:lnTo>
                    <a:pt x="158" y="972"/>
                  </a:lnTo>
                  <a:lnTo>
                    <a:pt x="141" y="991"/>
                  </a:lnTo>
                  <a:lnTo>
                    <a:pt x="124" y="1007"/>
                  </a:lnTo>
                  <a:lnTo>
                    <a:pt x="108" y="1021"/>
                  </a:lnTo>
                  <a:lnTo>
                    <a:pt x="91" y="1032"/>
                  </a:lnTo>
                  <a:lnTo>
                    <a:pt x="74" y="1039"/>
                  </a:lnTo>
                  <a:lnTo>
                    <a:pt x="50" y="1045"/>
                  </a:lnTo>
                  <a:lnTo>
                    <a:pt x="23" y="1049"/>
                  </a:lnTo>
                  <a:lnTo>
                    <a:pt x="0" y="1049"/>
                  </a:lnTo>
                  <a:close/>
                </a:path>
              </a:pathLst>
            </a:custGeom>
            <a:grpFill/>
            <a:ln w="17463">
              <a:solidFill>
                <a:srgbClr val="FFFFFF"/>
              </a:solidFill>
              <a:round/>
              <a:headEnd/>
              <a:tailEnd/>
            </a:ln>
          </p:spPr>
          <p:txBody>
            <a:bodyPr/>
            <a:lstStyle/>
            <a:p>
              <a:pPr>
                <a:defRPr/>
              </a:pPr>
              <a:endParaRPr lang="en-GB"/>
            </a:p>
          </p:txBody>
        </p:sp>
        <p:sp>
          <p:nvSpPr>
            <p:cNvPr id="7" name="Freeform 6"/>
            <p:cNvSpPr>
              <a:spLocks/>
            </p:cNvSpPr>
            <p:nvPr/>
          </p:nvSpPr>
          <p:spPr bwMode="auto">
            <a:xfrm>
              <a:off x="1489" y="2076"/>
              <a:ext cx="1627" cy="1584"/>
            </a:xfrm>
            <a:custGeom>
              <a:avLst/>
              <a:gdLst>
                <a:gd name="T0" fmla="*/ 1627 w 1628"/>
                <a:gd name="T1" fmla="*/ 1584 h 1584"/>
                <a:gd name="T2" fmla="*/ 0 w 1628"/>
                <a:gd name="T3" fmla="*/ 319 h 1584"/>
                <a:gd name="T4" fmla="*/ 147 w 1628"/>
                <a:gd name="T5" fmla="*/ 308 h 1584"/>
                <a:gd name="T6" fmla="*/ 151 w 1628"/>
                <a:gd name="T7" fmla="*/ 280 h 1584"/>
                <a:gd name="T8" fmla="*/ 144 w 1628"/>
                <a:gd name="T9" fmla="*/ 244 h 1584"/>
                <a:gd name="T10" fmla="*/ 133 w 1628"/>
                <a:gd name="T11" fmla="*/ 202 h 1584"/>
                <a:gd name="T12" fmla="*/ 126 w 1628"/>
                <a:gd name="T13" fmla="*/ 161 h 1584"/>
                <a:gd name="T14" fmla="*/ 127 w 1628"/>
                <a:gd name="T15" fmla="*/ 123 h 1584"/>
                <a:gd name="T16" fmla="*/ 140 w 1628"/>
                <a:gd name="T17" fmla="*/ 85 h 1584"/>
                <a:gd name="T18" fmla="*/ 166 w 1628"/>
                <a:gd name="T19" fmla="*/ 54 h 1584"/>
                <a:gd name="T20" fmla="*/ 196 w 1628"/>
                <a:gd name="T21" fmla="*/ 28 h 1584"/>
                <a:gd name="T22" fmla="*/ 233 w 1628"/>
                <a:gd name="T23" fmla="*/ 10 h 1584"/>
                <a:gd name="T24" fmla="*/ 279 w 1628"/>
                <a:gd name="T25" fmla="*/ 2 h 1584"/>
                <a:gd name="T26" fmla="*/ 320 w 1628"/>
                <a:gd name="T27" fmla="*/ 0 h 1584"/>
                <a:gd name="T28" fmla="*/ 356 w 1628"/>
                <a:gd name="T29" fmla="*/ 4 h 1584"/>
                <a:gd name="T30" fmla="*/ 392 w 1628"/>
                <a:gd name="T31" fmla="*/ 16 h 1584"/>
                <a:gd name="T32" fmla="*/ 422 w 1628"/>
                <a:gd name="T33" fmla="*/ 36 h 1584"/>
                <a:gd name="T34" fmla="*/ 450 w 1628"/>
                <a:gd name="T35" fmla="*/ 65 h 1584"/>
                <a:gd name="T36" fmla="*/ 473 w 1628"/>
                <a:gd name="T37" fmla="*/ 98 h 1584"/>
                <a:gd name="T38" fmla="*/ 485 w 1628"/>
                <a:gd name="T39" fmla="*/ 143 h 1584"/>
                <a:gd name="T40" fmla="*/ 480 w 1628"/>
                <a:gd name="T41" fmla="*/ 188 h 1584"/>
                <a:gd name="T42" fmla="*/ 469 w 1628"/>
                <a:gd name="T43" fmla="*/ 233 h 1584"/>
                <a:gd name="T44" fmla="*/ 457 w 1628"/>
                <a:gd name="T45" fmla="*/ 278 h 1584"/>
                <a:gd name="T46" fmla="*/ 460 w 1628"/>
                <a:gd name="T47" fmla="*/ 300 h 1584"/>
                <a:gd name="T48" fmla="*/ 734 w 1628"/>
                <a:gd name="T49" fmla="*/ 311 h 1584"/>
                <a:gd name="T50" fmla="*/ 727 w 1628"/>
                <a:gd name="T51" fmla="*/ 394 h 1584"/>
                <a:gd name="T52" fmla="*/ 730 w 1628"/>
                <a:gd name="T53" fmla="*/ 444 h 1584"/>
                <a:gd name="T54" fmla="*/ 737 w 1628"/>
                <a:gd name="T55" fmla="*/ 494 h 1584"/>
                <a:gd name="T56" fmla="*/ 755 w 1628"/>
                <a:gd name="T57" fmla="*/ 525 h 1584"/>
                <a:gd name="T58" fmla="*/ 785 w 1628"/>
                <a:gd name="T59" fmla="*/ 548 h 1584"/>
                <a:gd name="T60" fmla="*/ 820 w 1628"/>
                <a:gd name="T61" fmla="*/ 558 h 1584"/>
                <a:gd name="T62" fmla="*/ 863 w 1628"/>
                <a:gd name="T63" fmla="*/ 559 h 1584"/>
                <a:gd name="T64" fmla="*/ 904 w 1628"/>
                <a:gd name="T65" fmla="*/ 555 h 1584"/>
                <a:gd name="T66" fmla="*/ 955 w 1628"/>
                <a:gd name="T67" fmla="*/ 549 h 1584"/>
                <a:gd name="T68" fmla="*/ 1007 w 1628"/>
                <a:gd name="T69" fmla="*/ 552 h 1584"/>
                <a:gd name="T70" fmla="*/ 1055 w 1628"/>
                <a:gd name="T71" fmla="*/ 565 h 1584"/>
                <a:gd name="T72" fmla="*/ 1094 w 1628"/>
                <a:gd name="T73" fmla="*/ 588 h 1584"/>
                <a:gd name="T74" fmla="*/ 1118 w 1628"/>
                <a:gd name="T75" fmla="*/ 621 h 1584"/>
                <a:gd name="T76" fmla="*/ 1128 w 1628"/>
                <a:gd name="T77" fmla="*/ 661 h 1584"/>
                <a:gd name="T78" fmla="*/ 1124 w 1628"/>
                <a:gd name="T79" fmla="*/ 706 h 1584"/>
                <a:gd name="T80" fmla="*/ 1128 w 1628"/>
                <a:gd name="T81" fmla="*/ 749 h 1584"/>
                <a:gd name="T82" fmla="*/ 1144 w 1628"/>
                <a:gd name="T83" fmla="*/ 785 h 1584"/>
                <a:gd name="T84" fmla="*/ 1172 w 1628"/>
                <a:gd name="T85" fmla="*/ 811 h 1584"/>
                <a:gd name="T86" fmla="*/ 1219 w 1628"/>
                <a:gd name="T87" fmla="*/ 826 h 1584"/>
                <a:gd name="T88" fmla="*/ 1262 w 1628"/>
                <a:gd name="T89" fmla="*/ 837 h 1584"/>
                <a:gd name="T90" fmla="*/ 1315 w 1628"/>
                <a:gd name="T91" fmla="*/ 847 h 1584"/>
                <a:gd name="T92" fmla="*/ 1358 w 1628"/>
                <a:gd name="T93" fmla="*/ 861 h 1584"/>
                <a:gd name="T94" fmla="*/ 1394 w 1628"/>
                <a:gd name="T95" fmla="*/ 881 h 1584"/>
                <a:gd name="T96" fmla="*/ 1423 w 1628"/>
                <a:gd name="T97" fmla="*/ 911 h 1584"/>
                <a:gd name="T98" fmla="*/ 1442 w 1628"/>
                <a:gd name="T99" fmla="*/ 946 h 1584"/>
                <a:gd name="T100" fmla="*/ 1443 w 1628"/>
                <a:gd name="T101" fmla="*/ 996 h 1584"/>
                <a:gd name="T102" fmla="*/ 1433 w 1628"/>
                <a:gd name="T103" fmla="*/ 1044 h 1584"/>
                <a:gd name="T104" fmla="*/ 1419 w 1628"/>
                <a:gd name="T105" fmla="*/ 1100 h 1584"/>
                <a:gd name="T106" fmla="*/ 1416 w 1628"/>
                <a:gd name="T107" fmla="*/ 1141 h 1584"/>
                <a:gd name="T108" fmla="*/ 1426 w 1628"/>
                <a:gd name="T109" fmla="*/ 1190 h 1584"/>
                <a:gd name="T110" fmla="*/ 1444 w 1628"/>
                <a:gd name="T111" fmla="*/ 1224 h 1584"/>
                <a:gd name="T112" fmla="*/ 1474 w 1628"/>
                <a:gd name="T113" fmla="*/ 1261 h 1584"/>
                <a:gd name="T114" fmla="*/ 1514 w 1628"/>
                <a:gd name="T115" fmla="*/ 1289 h 1584"/>
                <a:gd name="T116" fmla="*/ 1555 w 1628"/>
                <a:gd name="T117" fmla="*/ 1302 h 1584"/>
                <a:gd name="T118" fmla="*/ 1601 w 1628"/>
                <a:gd name="T119" fmla="*/ 1306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8"/>
                <a:gd name="T181" fmla="*/ 0 h 1584"/>
                <a:gd name="T182" fmla="*/ 1628 w 1628"/>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8" h="1584">
                  <a:moveTo>
                    <a:pt x="1628" y="1305"/>
                  </a:moveTo>
                  <a:lnTo>
                    <a:pt x="1628" y="1584"/>
                  </a:lnTo>
                  <a:lnTo>
                    <a:pt x="1" y="1584"/>
                  </a:lnTo>
                  <a:lnTo>
                    <a:pt x="0" y="319"/>
                  </a:lnTo>
                  <a:lnTo>
                    <a:pt x="141" y="319"/>
                  </a:lnTo>
                  <a:lnTo>
                    <a:pt x="147" y="308"/>
                  </a:lnTo>
                  <a:lnTo>
                    <a:pt x="151" y="292"/>
                  </a:lnTo>
                  <a:lnTo>
                    <a:pt x="151" y="280"/>
                  </a:lnTo>
                  <a:lnTo>
                    <a:pt x="150" y="264"/>
                  </a:lnTo>
                  <a:lnTo>
                    <a:pt x="144" y="244"/>
                  </a:lnTo>
                  <a:lnTo>
                    <a:pt x="138" y="219"/>
                  </a:lnTo>
                  <a:lnTo>
                    <a:pt x="133" y="202"/>
                  </a:lnTo>
                  <a:lnTo>
                    <a:pt x="127" y="181"/>
                  </a:lnTo>
                  <a:lnTo>
                    <a:pt x="126" y="161"/>
                  </a:lnTo>
                  <a:lnTo>
                    <a:pt x="126" y="141"/>
                  </a:lnTo>
                  <a:lnTo>
                    <a:pt x="127" y="123"/>
                  </a:lnTo>
                  <a:lnTo>
                    <a:pt x="133" y="103"/>
                  </a:lnTo>
                  <a:lnTo>
                    <a:pt x="140" y="85"/>
                  </a:lnTo>
                  <a:lnTo>
                    <a:pt x="151" y="71"/>
                  </a:lnTo>
                  <a:lnTo>
                    <a:pt x="166" y="54"/>
                  </a:lnTo>
                  <a:lnTo>
                    <a:pt x="181" y="41"/>
                  </a:lnTo>
                  <a:lnTo>
                    <a:pt x="196" y="28"/>
                  </a:lnTo>
                  <a:lnTo>
                    <a:pt x="213" y="19"/>
                  </a:lnTo>
                  <a:lnTo>
                    <a:pt x="233" y="10"/>
                  </a:lnTo>
                  <a:lnTo>
                    <a:pt x="255" y="4"/>
                  </a:lnTo>
                  <a:lnTo>
                    <a:pt x="279" y="2"/>
                  </a:lnTo>
                  <a:lnTo>
                    <a:pt x="299" y="0"/>
                  </a:lnTo>
                  <a:lnTo>
                    <a:pt x="320" y="0"/>
                  </a:lnTo>
                  <a:lnTo>
                    <a:pt x="340" y="2"/>
                  </a:lnTo>
                  <a:lnTo>
                    <a:pt x="356" y="4"/>
                  </a:lnTo>
                  <a:lnTo>
                    <a:pt x="374" y="10"/>
                  </a:lnTo>
                  <a:lnTo>
                    <a:pt x="392" y="16"/>
                  </a:lnTo>
                  <a:lnTo>
                    <a:pt x="406" y="24"/>
                  </a:lnTo>
                  <a:lnTo>
                    <a:pt x="422" y="36"/>
                  </a:lnTo>
                  <a:lnTo>
                    <a:pt x="436" y="50"/>
                  </a:lnTo>
                  <a:lnTo>
                    <a:pt x="450" y="65"/>
                  </a:lnTo>
                  <a:lnTo>
                    <a:pt x="463" y="81"/>
                  </a:lnTo>
                  <a:lnTo>
                    <a:pt x="473" y="98"/>
                  </a:lnTo>
                  <a:lnTo>
                    <a:pt x="480" y="119"/>
                  </a:lnTo>
                  <a:lnTo>
                    <a:pt x="485" y="143"/>
                  </a:lnTo>
                  <a:lnTo>
                    <a:pt x="485" y="165"/>
                  </a:lnTo>
                  <a:lnTo>
                    <a:pt x="480" y="188"/>
                  </a:lnTo>
                  <a:lnTo>
                    <a:pt x="474" y="211"/>
                  </a:lnTo>
                  <a:lnTo>
                    <a:pt x="469" y="233"/>
                  </a:lnTo>
                  <a:lnTo>
                    <a:pt x="461" y="259"/>
                  </a:lnTo>
                  <a:lnTo>
                    <a:pt x="457" y="278"/>
                  </a:lnTo>
                  <a:lnTo>
                    <a:pt x="457" y="290"/>
                  </a:lnTo>
                  <a:lnTo>
                    <a:pt x="460" y="300"/>
                  </a:lnTo>
                  <a:lnTo>
                    <a:pt x="464" y="311"/>
                  </a:lnTo>
                  <a:lnTo>
                    <a:pt x="734" y="311"/>
                  </a:lnTo>
                  <a:lnTo>
                    <a:pt x="728" y="363"/>
                  </a:lnTo>
                  <a:lnTo>
                    <a:pt x="727" y="394"/>
                  </a:lnTo>
                  <a:lnTo>
                    <a:pt x="728" y="420"/>
                  </a:lnTo>
                  <a:lnTo>
                    <a:pt x="730" y="444"/>
                  </a:lnTo>
                  <a:lnTo>
                    <a:pt x="733" y="469"/>
                  </a:lnTo>
                  <a:lnTo>
                    <a:pt x="737" y="494"/>
                  </a:lnTo>
                  <a:lnTo>
                    <a:pt x="745" y="511"/>
                  </a:lnTo>
                  <a:lnTo>
                    <a:pt x="755" y="525"/>
                  </a:lnTo>
                  <a:lnTo>
                    <a:pt x="768" y="538"/>
                  </a:lnTo>
                  <a:lnTo>
                    <a:pt x="785" y="548"/>
                  </a:lnTo>
                  <a:lnTo>
                    <a:pt x="803" y="555"/>
                  </a:lnTo>
                  <a:lnTo>
                    <a:pt x="821" y="558"/>
                  </a:lnTo>
                  <a:lnTo>
                    <a:pt x="841" y="559"/>
                  </a:lnTo>
                  <a:lnTo>
                    <a:pt x="864" y="559"/>
                  </a:lnTo>
                  <a:lnTo>
                    <a:pt x="888" y="556"/>
                  </a:lnTo>
                  <a:lnTo>
                    <a:pt x="905" y="555"/>
                  </a:lnTo>
                  <a:lnTo>
                    <a:pt x="930" y="552"/>
                  </a:lnTo>
                  <a:lnTo>
                    <a:pt x="956" y="549"/>
                  </a:lnTo>
                  <a:lnTo>
                    <a:pt x="984" y="549"/>
                  </a:lnTo>
                  <a:lnTo>
                    <a:pt x="1008" y="552"/>
                  </a:lnTo>
                  <a:lnTo>
                    <a:pt x="1032" y="556"/>
                  </a:lnTo>
                  <a:lnTo>
                    <a:pt x="1056" y="565"/>
                  </a:lnTo>
                  <a:lnTo>
                    <a:pt x="1076" y="573"/>
                  </a:lnTo>
                  <a:lnTo>
                    <a:pt x="1095" y="588"/>
                  </a:lnTo>
                  <a:lnTo>
                    <a:pt x="1108" y="603"/>
                  </a:lnTo>
                  <a:lnTo>
                    <a:pt x="1119" y="621"/>
                  </a:lnTo>
                  <a:lnTo>
                    <a:pt x="1126" y="641"/>
                  </a:lnTo>
                  <a:lnTo>
                    <a:pt x="1129" y="661"/>
                  </a:lnTo>
                  <a:lnTo>
                    <a:pt x="1126" y="684"/>
                  </a:lnTo>
                  <a:lnTo>
                    <a:pt x="1125" y="706"/>
                  </a:lnTo>
                  <a:lnTo>
                    <a:pt x="1126" y="729"/>
                  </a:lnTo>
                  <a:lnTo>
                    <a:pt x="1129" y="749"/>
                  </a:lnTo>
                  <a:lnTo>
                    <a:pt x="1136" y="767"/>
                  </a:lnTo>
                  <a:lnTo>
                    <a:pt x="1145" y="785"/>
                  </a:lnTo>
                  <a:lnTo>
                    <a:pt x="1156" y="798"/>
                  </a:lnTo>
                  <a:lnTo>
                    <a:pt x="1173" y="811"/>
                  </a:lnTo>
                  <a:lnTo>
                    <a:pt x="1196" y="819"/>
                  </a:lnTo>
                  <a:lnTo>
                    <a:pt x="1220" y="826"/>
                  </a:lnTo>
                  <a:lnTo>
                    <a:pt x="1239" y="832"/>
                  </a:lnTo>
                  <a:lnTo>
                    <a:pt x="1263" y="837"/>
                  </a:lnTo>
                  <a:lnTo>
                    <a:pt x="1292" y="843"/>
                  </a:lnTo>
                  <a:lnTo>
                    <a:pt x="1316" y="847"/>
                  </a:lnTo>
                  <a:lnTo>
                    <a:pt x="1340" y="854"/>
                  </a:lnTo>
                  <a:lnTo>
                    <a:pt x="1359" y="861"/>
                  </a:lnTo>
                  <a:lnTo>
                    <a:pt x="1379" y="870"/>
                  </a:lnTo>
                  <a:lnTo>
                    <a:pt x="1395" y="881"/>
                  </a:lnTo>
                  <a:lnTo>
                    <a:pt x="1407" y="893"/>
                  </a:lnTo>
                  <a:lnTo>
                    <a:pt x="1424" y="911"/>
                  </a:lnTo>
                  <a:lnTo>
                    <a:pt x="1434" y="928"/>
                  </a:lnTo>
                  <a:lnTo>
                    <a:pt x="1443" y="946"/>
                  </a:lnTo>
                  <a:lnTo>
                    <a:pt x="1447" y="972"/>
                  </a:lnTo>
                  <a:lnTo>
                    <a:pt x="1444" y="996"/>
                  </a:lnTo>
                  <a:lnTo>
                    <a:pt x="1440" y="1017"/>
                  </a:lnTo>
                  <a:lnTo>
                    <a:pt x="1434" y="1044"/>
                  </a:lnTo>
                  <a:lnTo>
                    <a:pt x="1427" y="1073"/>
                  </a:lnTo>
                  <a:lnTo>
                    <a:pt x="1420" y="1100"/>
                  </a:lnTo>
                  <a:lnTo>
                    <a:pt x="1417" y="1123"/>
                  </a:lnTo>
                  <a:lnTo>
                    <a:pt x="1417" y="1141"/>
                  </a:lnTo>
                  <a:lnTo>
                    <a:pt x="1421" y="1168"/>
                  </a:lnTo>
                  <a:lnTo>
                    <a:pt x="1427" y="1190"/>
                  </a:lnTo>
                  <a:lnTo>
                    <a:pt x="1436" y="1207"/>
                  </a:lnTo>
                  <a:lnTo>
                    <a:pt x="1445" y="1224"/>
                  </a:lnTo>
                  <a:lnTo>
                    <a:pt x="1460" y="1243"/>
                  </a:lnTo>
                  <a:lnTo>
                    <a:pt x="1475" y="1261"/>
                  </a:lnTo>
                  <a:lnTo>
                    <a:pt x="1493" y="1277"/>
                  </a:lnTo>
                  <a:lnTo>
                    <a:pt x="1515" y="1289"/>
                  </a:lnTo>
                  <a:lnTo>
                    <a:pt x="1534" y="1296"/>
                  </a:lnTo>
                  <a:lnTo>
                    <a:pt x="1556" y="1302"/>
                  </a:lnTo>
                  <a:lnTo>
                    <a:pt x="1577" y="1305"/>
                  </a:lnTo>
                  <a:lnTo>
                    <a:pt x="1602" y="1306"/>
                  </a:lnTo>
                  <a:lnTo>
                    <a:pt x="1628" y="1305"/>
                  </a:lnTo>
                  <a:close/>
                </a:path>
              </a:pathLst>
            </a:custGeom>
            <a:grpFill/>
            <a:ln w="17463">
              <a:solidFill>
                <a:srgbClr val="FFFFFF"/>
              </a:solidFill>
              <a:round/>
              <a:headEnd/>
              <a:tailEnd/>
            </a:ln>
          </p:spPr>
          <p:txBody>
            <a:bodyPr/>
            <a:lstStyle/>
            <a:p>
              <a:pPr>
                <a:defRPr/>
              </a:pPr>
              <a:endParaRPr lang="en-GB"/>
            </a:p>
          </p:txBody>
        </p:sp>
        <p:sp>
          <p:nvSpPr>
            <p:cNvPr id="698376" name="Freeform 7"/>
            <p:cNvSpPr>
              <a:spLocks/>
            </p:cNvSpPr>
            <p:nvPr/>
          </p:nvSpPr>
          <p:spPr bwMode="auto">
            <a:xfrm>
              <a:off x="1489" y="1070"/>
              <a:ext cx="1634" cy="1327"/>
            </a:xfrm>
            <a:custGeom>
              <a:avLst/>
              <a:gdLst>
                <a:gd name="T0" fmla="*/ 1630 w 1635"/>
                <a:gd name="T1" fmla="*/ 0 h 1327"/>
                <a:gd name="T2" fmla="*/ 1 w 1635"/>
                <a:gd name="T3" fmla="*/ 1327 h 1327"/>
                <a:gd name="T4" fmla="*/ 154 w 1635"/>
                <a:gd name="T5" fmla="*/ 1301 h 1327"/>
                <a:gd name="T6" fmla="*/ 150 w 1635"/>
                <a:gd name="T7" fmla="*/ 1258 h 1327"/>
                <a:gd name="T8" fmla="*/ 133 w 1635"/>
                <a:gd name="T9" fmla="*/ 1198 h 1327"/>
                <a:gd name="T10" fmla="*/ 127 w 1635"/>
                <a:gd name="T11" fmla="*/ 1150 h 1327"/>
                <a:gd name="T12" fmla="*/ 138 w 1635"/>
                <a:gd name="T13" fmla="*/ 1101 h 1327"/>
                <a:gd name="T14" fmla="*/ 172 w 1635"/>
                <a:gd name="T15" fmla="*/ 1058 h 1327"/>
                <a:gd name="T16" fmla="*/ 214 w 1635"/>
                <a:gd name="T17" fmla="*/ 1027 h 1327"/>
                <a:gd name="T18" fmla="*/ 265 w 1635"/>
                <a:gd name="T19" fmla="*/ 1012 h 1327"/>
                <a:gd name="T20" fmla="*/ 339 w 1635"/>
                <a:gd name="T21" fmla="*/ 1013 h 1327"/>
                <a:gd name="T22" fmla="*/ 387 w 1635"/>
                <a:gd name="T23" fmla="*/ 1023 h 1327"/>
                <a:gd name="T24" fmla="*/ 435 w 1635"/>
                <a:gd name="T25" fmla="*/ 1057 h 1327"/>
                <a:gd name="T26" fmla="*/ 467 w 1635"/>
                <a:gd name="T27" fmla="*/ 1098 h 1327"/>
                <a:gd name="T28" fmla="*/ 481 w 1635"/>
                <a:gd name="T29" fmla="*/ 1142 h 1327"/>
                <a:gd name="T30" fmla="*/ 478 w 1635"/>
                <a:gd name="T31" fmla="*/ 1190 h 1327"/>
                <a:gd name="T32" fmla="*/ 467 w 1635"/>
                <a:gd name="T33" fmla="*/ 1234 h 1327"/>
                <a:gd name="T34" fmla="*/ 456 w 1635"/>
                <a:gd name="T35" fmla="*/ 1279 h 1327"/>
                <a:gd name="T36" fmla="*/ 461 w 1635"/>
                <a:gd name="T37" fmla="*/ 1321 h 1327"/>
                <a:gd name="T38" fmla="*/ 733 w 1635"/>
                <a:gd name="T39" fmla="*/ 1274 h 1327"/>
                <a:gd name="T40" fmla="*/ 735 w 1635"/>
                <a:gd name="T41" fmla="*/ 1215 h 1327"/>
                <a:gd name="T42" fmla="*/ 740 w 1635"/>
                <a:gd name="T43" fmla="*/ 1166 h 1327"/>
                <a:gd name="T44" fmla="*/ 752 w 1635"/>
                <a:gd name="T45" fmla="*/ 1123 h 1327"/>
                <a:gd name="T46" fmla="*/ 776 w 1635"/>
                <a:gd name="T47" fmla="*/ 1095 h 1327"/>
                <a:gd name="T48" fmla="*/ 810 w 1635"/>
                <a:gd name="T49" fmla="*/ 1080 h 1327"/>
                <a:gd name="T50" fmla="*/ 843 w 1635"/>
                <a:gd name="T51" fmla="*/ 1075 h 1327"/>
                <a:gd name="T52" fmla="*/ 890 w 1635"/>
                <a:gd name="T53" fmla="*/ 1077 h 1327"/>
                <a:gd name="T54" fmla="*/ 932 w 1635"/>
                <a:gd name="T55" fmla="*/ 1081 h 1327"/>
                <a:gd name="T56" fmla="*/ 986 w 1635"/>
                <a:gd name="T57" fmla="*/ 1084 h 1327"/>
                <a:gd name="T58" fmla="*/ 1034 w 1635"/>
                <a:gd name="T59" fmla="*/ 1077 h 1327"/>
                <a:gd name="T60" fmla="*/ 1078 w 1635"/>
                <a:gd name="T61" fmla="*/ 1061 h 1327"/>
                <a:gd name="T62" fmla="*/ 1110 w 1635"/>
                <a:gd name="T63" fmla="*/ 1032 h 1327"/>
                <a:gd name="T64" fmla="*/ 1128 w 1635"/>
                <a:gd name="T65" fmla="*/ 995 h 1327"/>
                <a:gd name="T66" fmla="*/ 1128 w 1635"/>
                <a:gd name="T67" fmla="*/ 953 h 1327"/>
                <a:gd name="T68" fmla="*/ 1128 w 1635"/>
                <a:gd name="T69" fmla="*/ 906 h 1327"/>
                <a:gd name="T70" fmla="*/ 1138 w 1635"/>
                <a:gd name="T71" fmla="*/ 868 h 1327"/>
                <a:gd name="T72" fmla="*/ 1158 w 1635"/>
                <a:gd name="T73" fmla="*/ 837 h 1327"/>
                <a:gd name="T74" fmla="*/ 1199 w 1635"/>
                <a:gd name="T75" fmla="*/ 816 h 1327"/>
                <a:gd name="T76" fmla="*/ 1243 w 1635"/>
                <a:gd name="T77" fmla="*/ 803 h 1327"/>
                <a:gd name="T78" fmla="*/ 1295 w 1635"/>
                <a:gd name="T79" fmla="*/ 792 h 1327"/>
                <a:gd name="T80" fmla="*/ 1342 w 1635"/>
                <a:gd name="T81" fmla="*/ 780 h 1327"/>
                <a:gd name="T82" fmla="*/ 1381 w 1635"/>
                <a:gd name="T83" fmla="*/ 765 h 1327"/>
                <a:gd name="T84" fmla="*/ 1411 w 1635"/>
                <a:gd name="T85" fmla="*/ 742 h 1327"/>
                <a:gd name="T86" fmla="*/ 1436 w 1635"/>
                <a:gd name="T87" fmla="*/ 707 h 1327"/>
                <a:gd name="T88" fmla="*/ 1449 w 1635"/>
                <a:gd name="T89" fmla="*/ 662 h 1327"/>
                <a:gd name="T90" fmla="*/ 1443 w 1635"/>
                <a:gd name="T91" fmla="*/ 618 h 1327"/>
                <a:gd name="T92" fmla="*/ 1429 w 1635"/>
                <a:gd name="T93" fmla="*/ 561 h 1327"/>
                <a:gd name="T94" fmla="*/ 1421 w 1635"/>
                <a:gd name="T95" fmla="*/ 513 h 1327"/>
                <a:gd name="T96" fmla="*/ 1423 w 1635"/>
                <a:gd name="T97" fmla="*/ 467 h 1327"/>
                <a:gd name="T98" fmla="*/ 1438 w 1635"/>
                <a:gd name="T99" fmla="*/ 427 h 1327"/>
                <a:gd name="T100" fmla="*/ 1462 w 1635"/>
                <a:gd name="T101" fmla="*/ 392 h 1327"/>
                <a:gd name="T102" fmla="*/ 1497 w 1635"/>
                <a:gd name="T103" fmla="*/ 358 h 1327"/>
                <a:gd name="T104" fmla="*/ 1538 w 1635"/>
                <a:gd name="T105" fmla="*/ 338 h 1327"/>
                <a:gd name="T106" fmla="*/ 1579 w 1635"/>
                <a:gd name="T107" fmla="*/ 330 h 1327"/>
                <a:gd name="T108" fmla="*/ 1630 w 1635"/>
                <a:gd name="T109" fmla="*/ 330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5"/>
                <a:gd name="T166" fmla="*/ 0 h 1327"/>
                <a:gd name="T167" fmla="*/ 1635 w 1635"/>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5" h="1327">
                  <a:moveTo>
                    <a:pt x="1635" y="330"/>
                  </a:moveTo>
                  <a:lnTo>
                    <a:pt x="1635" y="0"/>
                  </a:lnTo>
                  <a:lnTo>
                    <a:pt x="0" y="0"/>
                  </a:lnTo>
                  <a:lnTo>
                    <a:pt x="1" y="1327"/>
                  </a:lnTo>
                  <a:lnTo>
                    <a:pt x="147" y="1327"/>
                  </a:lnTo>
                  <a:lnTo>
                    <a:pt x="154" y="1301"/>
                  </a:lnTo>
                  <a:lnTo>
                    <a:pt x="154" y="1283"/>
                  </a:lnTo>
                  <a:lnTo>
                    <a:pt x="150" y="1258"/>
                  </a:lnTo>
                  <a:lnTo>
                    <a:pt x="141" y="1231"/>
                  </a:lnTo>
                  <a:lnTo>
                    <a:pt x="133" y="1198"/>
                  </a:lnTo>
                  <a:lnTo>
                    <a:pt x="128" y="1173"/>
                  </a:lnTo>
                  <a:lnTo>
                    <a:pt x="127" y="1150"/>
                  </a:lnTo>
                  <a:lnTo>
                    <a:pt x="131" y="1125"/>
                  </a:lnTo>
                  <a:lnTo>
                    <a:pt x="138" y="1101"/>
                  </a:lnTo>
                  <a:lnTo>
                    <a:pt x="154" y="1077"/>
                  </a:lnTo>
                  <a:lnTo>
                    <a:pt x="172" y="1058"/>
                  </a:lnTo>
                  <a:lnTo>
                    <a:pt x="192" y="1040"/>
                  </a:lnTo>
                  <a:lnTo>
                    <a:pt x="214" y="1027"/>
                  </a:lnTo>
                  <a:lnTo>
                    <a:pt x="241" y="1016"/>
                  </a:lnTo>
                  <a:lnTo>
                    <a:pt x="265" y="1012"/>
                  </a:lnTo>
                  <a:lnTo>
                    <a:pt x="299" y="1010"/>
                  </a:lnTo>
                  <a:lnTo>
                    <a:pt x="339" y="1013"/>
                  </a:lnTo>
                  <a:lnTo>
                    <a:pt x="364" y="1016"/>
                  </a:lnTo>
                  <a:lnTo>
                    <a:pt x="387" y="1023"/>
                  </a:lnTo>
                  <a:lnTo>
                    <a:pt x="408" y="1036"/>
                  </a:lnTo>
                  <a:lnTo>
                    <a:pt x="435" y="1057"/>
                  </a:lnTo>
                  <a:lnTo>
                    <a:pt x="452" y="1077"/>
                  </a:lnTo>
                  <a:lnTo>
                    <a:pt x="467" y="1098"/>
                  </a:lnTo>
                  <a:lnTo>
                    <a:pt x="476" y="1121"/>
                  </a:lnTo>
                  <a:lnTo>
                    <a:pt x="481" y="1142"/>
                  </a:lnTo>
                  <a:lnTo>
                    <a:pt x="481" y="1166"/>
                  </a:lnTo>
                  <a:lnTo>
                    <a:pt x="478" y="1190"/>
                  </a:lnTo>
                  <a:lnTo>
                    <a:pt x="473" y="1212"/>
                  </a:lnTo>
                  <a:lnTo>
                    <a:pt x="467" y="1234"/>
                  </a:lnTo>
                  <a:lnTo>
                    <a:pt x="460" y="1256"/>
                  </a:lnTo>
                  <a:lnTo>
                    <a:pt x="456" y="1279"/>
                  </a:lnTo>
                  <a:lnTo>
                    <a:pt x="456" y="1298"/>
                  </a:lnTo>
                  <a:lnTo>
                    <a:pt x="461" y="1321"/>
                  </a:lnTo>
                  <a:lnTo>
                    <a:pt x="735" y="1321"/>
                  </a:lnTo>
                  <a:lnTo>
                    <a:pt x="733" y="1274"/>
                  </a:lnTo>
                  <a:lnTo>
                    <a:pt x="735" y="1241"/>
                  </a:lnTo>
                  <a:lnTo>
                    <a:pt x="735" y="1215"/>
                  </a:lnTo>
                  <a:lnTo>
                    <a:pt x="737" y="1191"/>
                  </a:lnTo>
                  <a:lnTo>
                    <a:pt x="740" y="1166"/>
                  </a:lnTo>
                  <a:lnTo>
                    <a:pt x="745" y="1140"/>
                  </a:lnTo>
                  <a:lnTo>
                    <a:pt x="752" y="1123"/>
                  </a:lnTo>
                  <a:lnTo>
                    <a:pt x="762" y="1108"/>
                  </a:lnTo>
                  <a:lnTo>
                    <a:pt x="776" y="1095"/>
                  </a:lnTo>
                  <a:lnTo>
                    <a:pt x="792" y="1085"/>
                  </a:lnTo>
                  <a:lnTo>
                    <a:pt x="810" y="1080"/>
                  </a:lnTo>
                  <a:lnTo>
                    <a:pt x="830" y="1077"/>
                  </a:lnTo>
                  <a:lnTo>
                    <a:pt x="848" y="1075"/>
                  </a:lnTo>
                  <a:lnTo>
                    <a:pt x="872" y="1075"/>
                  </a:lnTo>
                  <a:lnTo>
                    <a:pt x="895" y="1077"/>
                  </a:lnTo>
                  <a:lnTo>
                    <a:pt x="913" y="1080"/>
                  </a:lnTo>
                  <a:lnTo>
                    <a:pt x="937" y="1081"/>
                  </a:lnTo>
                  <a:lnTo>
                    <a:pt x="963" y="1084"/>
                  </a:lnTo>
                  <a:lnTo>
                    <a:pt x="991" y="1084"/>
                  </a:lnTo>
                  <a:lnTo>
                    <a:pt x="1015" y="1081"/>
                  </a:lnTo>
                  <a:lnTo>
                    <a:pt x="1039" y="1077"/>
                  </a:lnTo>
                  <a:lnTo>
                    <a:pt x="1064" y="1071"/>
                  </a:lnTo>
                  <a:lnTo>
                    <a:pt x="1083" y="1061"/>
                  </a:lnTo>
                  <a:lnTo>
                    <a:pt x="1102" y="1049"/>
                  </a:lnTo>
                  <a:lnTo>
                    <a:pt x="1115" y="1032"/>
                  </a:lnTo>
                  <a:lnTo>
                    <a:pt x="1128" y="1013"/>
                  </a:lnTo>
                  <a:lnTo>
                    <a:pt x="1133" y="995"/>
                  </a:lnTo>
                  <a:lnTo>
                    <a:pt x="1136" y="974"/>
                  </a:lnTo>
                  <a:lnTo>
                    <a:pt x="1133" y="953"/>
                  </a:lnTo>
                  <a:lnTo>
                    <a:pt x="1132" y="930"/>
                  </a:lnTo>
                  <a:lnTo>
                    <a:pt x="1133" y="906"/>
                  </a:lnTo>
                  <a:lnTo>
                    <a:pt x="1138" y="888"/>
                  </a:lnTo>
                  <a:lnTo>
                    <a:pt x="1143" y="868"/>
                  </a:lnTo>
                  <a:lnTo>
                    <a:pt x="1152" y="849"/>
                  </a:lnTo>
                  <a:lnTo>
                    <a:pt x="1163" y="837"/>
                  </a:lnTo>
                  <a:lnTo>
                    <a:pt x="1181" y="824"/>
                  </a:lnTo>
                  <a:lnTo>
                    <a:pt x="1204" y="816"/>
                  </a:lnTo>
                  <a:lnTo>
                    <a:pt x="1227" y="809"/>
                  </a:lnTo>
                  <a:lnTo>
                    <a:pt x="1248" y="803"/>
                  </a:lnTo>
                  <a:lnTo>
                    <a:pt x="1270" y="797"/>
                  </a:lnTo>
                  <a:lnTo>
                    <a:pt x="1300" y="792"/>
                  </a:lnTo>
                  <a:lnTo>
                    <a:pt x="1323" y="787"/>
                  </a:lnTo>
                  <a:lnTo>
                    <a:pt x="1347" y="780"/>
                  </a:lnTo>
                  <a:lnTo>
                    <a:pt x="1366" y="773"/>
                  </a:lnTo>
                  <a:lnTo>
                    <a:pt x="1386" y="765"/>
                  </a:lnTo>
                  <a:lnTo>
                    <a:pt x="1402" y="753"/>
                  </a:lnTo>
                  <a:lnTo>
                    <a:pt x="1416" y="742"/>
                  </a:lnTo>
                  <a:lnTo>
                    <a:pt x="1431" y="724"/>
                  </a:lnTo>
                  <a:lnTo>
                    <a:pt x="1441" y="707"/>
                  </a:lnTo>
                  <a:lnTo>
                    <a:pt x="1450" y="687"/>
                  </a:lnTo>
                  <a:lnTo>
                    <a:pt x="1454" y="662"/>
                  </a:lnTo>
                  <a:lnTo>
                    <a:pt x="1451" y="641"/>
                  </a:lnTo>
                  <a:lnTo>
                    <a:pt x="1448" y="618"/>
                  </a:lnTo>
                  <a:lnTo>
                    <a:pt x="1441" y="591"/>
                  </a:lnTo>
                  <a:lnTo>
                    <a:pt x="1434" y="561"/>
                  </a:lnTo>
                  <a:lnTo>
                    <a:pt x="1427" y="535"/>
                  </a:lnTo>
                  <a:lnTo>
                    <a:pt x="1426" y="513"/>
                  </a:lnTo>
                  <a:lnTo>
                    <a:pt x="1426" y="494"/>
                  </a:lnTo>
                  <a:lnTo>
                    <a:pt x="1428" y="467"/>
                  </a:lnTo>
                  <a:lnTo>
                    <a:pt x="1436" y="444"/>
                  </a:lnTo>
                  <a:lnTo>
                    <a:pt x="1443" y="427"/>
                  </a:lnTo>
                  <a:lnTo>
                    <a:pt x="1452" y="410"/>
                  </a:lnTo>
                  <a:lnTo>
                    <a:pt x="1467" y="392"/>
                  </a:lnTo>
                  <a:lnTo>
                    <a:pt x="1482" y="374"/>
                  </a:lnTo>
                  <a:lnTo>
                    <a:pt x="1502" y="358"/>
                  </a:lnTo>
                  <a:lnTo>
                    <a:pt x="1523" y="345"/>
                  </a:lnTo>
                  <a:lnTo>
                    <a:pt x="1543" y="338"/>
                  </a:lnTo>
                  <a:lnTo>
                    <a:pt x="1563" y="333"/>
                  </a:lnTo>
                  <a:lnTo>
                    <a:pt x="1584" y="330"/>
                  </a:lnTo>
                  <a:lnTo>
                    <a:pt x="1609" y="330"/>
                  </a:lnTo>
                  <a:lnTo>
                    <a:pt x="1635" y="330"/>
                  </a:lnTo>
                  <a:close/>
                </a:path>
              </a:pathLst>
            </a:custGeom>
            <a:grpFill/>
            <a:ln w="17463">
              <a:solidFill>
                <a:srgbClr val="FFFFFF"/>
              </a:solidFill>
              <a:round/>
              <a:headEnd/>
              <a:tailEnd/>
            </a:ln>
          </p:spPr>
          <p:txBody>
            <a:bodyPr/>
            <a:lstStyle/>
            <a:p>
              <a:endParaRPr lang="en-GB"/>
            </a:p>
          </p:txBody>
        </p:sp>
      </p:grpSp>
      <p:sp>
        <p:nvSpPr>
          <p:cNvPr id="12"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9393" name="Title 1"/>
          <p:cNvSpPr>
            <a:spLocks noGrp="1"/>
          </p:cNvSpPr>
          <p:nvPr>
            <p:ph type="title"/>
          </p:nvPr>
        </p:nvSpPr>
        <p:spPr>
          <a:xfrm>
            <a:off x="414338" y="446038"/>
            <a:ext cx="8330184" cy="333425"/>
          </a:xfrm>
        </p:spPr>
        <p:txBody>
          <a:bodyPr/>
          <a:lstStyle/>
          <a:p>
            <a:r>
              <a:rPr lang="en-GB" altLang="ja-JP"/>
              <a:t>Puzzles </a:t>
            </a:r>
            <a:r>
              <a:rPr lang="en-US"/>
              <a:t>—</a:t>
            </a:r>
            <a:r>
              <a:rPr lang="en-GB" altLang="ja-JP" smtClean="0"/>
              <a:t> </a:t>
            </a:r>
            <a:r>
              <a:rPr lang="en-GB" altLang="ja-JP"/>
              <a:t>pieces not fitting together</a:t>
            </a:r>
            <a:endParaRPr lang="nl-NL"/>
          </a:p>
        </p:txBody>
      </p:sp>
      <p:sp>
        <p:nvSpPr>
          <p:cNvPr id="4" name="Freeform 3"/>
          <p:cNvSpPr>
            <a:spLocks/>
          </p:cNvSpPr>
          <p:nvPr/>
        </p:nvSpPr>
        <p:spPr bwMode="auto">
          <a:xfrm>
            <a:off x="2239963" y="1382713"/>
            <a:ext cx="1312862" cy="1635125"/>
          </a:xfrm>
          <a:custGeom>
            <a:avLst/>
            <a:gdLst>
              <a:gd name="T0" fmla="*/ 2147483647 w 1173"/>
              <a:gd name="T1" fmla="*/ 2147483647 h 1252"/>
              <a:gd name="T2" fmla="*/ 2147483647 w 1173"/>
              <a:gd name="T3" fmla="*/ 2147483647 h 1252"/>
              <a:gd name="T4" fmla="*/ 2147483647 w 1173"/>
              <a:gd name="T5" fmla="*/ 2147483647 h 1252"/>
              <a:gd name="T6" fmla="*/ 2147483647 w 1173"/>
              <a:gd name="T7" fmla="*/ 2147483647 h 1252"/>
              <a:gd name="T8" fmla="*/ 2147483647 w 1173"/>
              <a:gd name="T9" fmla="*/ 2147483647 h 1252"/>
              <a:gd name="T10" fmla="*/ 2147483647 w 1173"/>
              <a:gd name="T11" fmla="*/ 2147483647 h 1252"/>
              <a:gd name="T12" fmla="*/ 2147483647 w 1173"/>
              <a:gd name="T13" fmla="*/ 2147483647 h 1252"/>
              <a:gd name="T14" fmla="*/ 2147483647 w 1173"/>
              <a:gd name="T15" fmla="*/ 2147483647 h 1252"/>
              <a:gd name="T16" fmla="*/ 2147483647 w 1173"/>
              <a:gd name="T17" fmla="*/ 2147483647 h 1252"/>
              <a:gd name="T18" fmla="*/ 2147483647 w 1173"/>
              <a:gd name="T19" fmla="*/ 2147483647 h 1252"/>
              <a:gd name="T20" fmla="*/ 2147483647 w 1173"/>
              <a:gd name="T21" fmla="*/ 2147483647 h 1252"/>
              <a:gd name="T22" fmla="*/ 2147483647 w 1173"/>
              <a:gd name="T23" fmla="*/ 2147483647 h 1252"/>
              <a:gd name="T24" fmla="*/ 2147483647 w 1173"/>
              <a:gd name="T25" fmla="*/ 2147483647 h 1252"/>
              <a:gd name="T26" fmla="*/ 2147483647 w 1173"/>
              <a:gd name="T27" fmla="*/ 2147483647 h 1252"/>
              <a:gd name="T28" fmla="*/ 2147483647 w 1173"/>
              <a:gd name="T29" fmla="*/ 2147483647 h 1252"/>
              <a:gd name="T30" fmla="*/ 2147483647 w 1173"/>
              <a:gd name="T31" fmla="*/ 2147483647 h 1252"/>
              <a:gd name="T32" fmla="*/ 2147483647 w 1173"/>
              <a:gd name="T33" fmla="*/ 2147483647 h 1252"/>
              <a:gd name="T34" fmla="*/ 2147483647 w 1173"/>
              <a:gd name="T35" fmla="*/ 2147483647 h 1252"/>
              <a:gd name="T36" fmla="*/ 2147483647 w 1173"/>
              <a:gd name="T37" fmla="*/ 2147483647 h 1252"/>
              <a:gd name="T38" fmla="*/ 2147483647 w 1173"/>
              <a:gd name="T39" fmla="*/ 2147483647 h 1252"/>
              <a:gd name="T40" fmla="*/ 2147483647 w 1173"/>
              <a:gd name="T41" fmla="*/ 2147483647 h 1252"/>
              <a:gd name="T42" fmla="*/ 2147483647 w 1173"/>
              <a:gd name="T43" fmla="*/ 2147483647 h 1252"/>
              <a:gd name="T44" fmla="*/ 2147483647 w 1173"/>
              <a:gd name="T45" fmla="*/ 2147483647 h 1252"/>
              <a:gd name="T46" fmla="*/ 2147483647 w 1173"/>
              <a:gd name="T47" fmla="*/ 2147483647 h 1252"/>
              <a:gd name="T48" fmla="*/ 2147483647 w 1173"/>
              <a:gd name="T49" fmla="*/ 2147483647 h 1252"/>
              <a:gd name="T50" fmla="*/ 2147483647 w 1173"/>
              <a:gd name="T51" fmla="*/ 2147483647 h 1252"/>
              <a:gd name="T52" fmla="*/ 2147483647 w 1173"/>
              <a:gd name="T53" fmla="*/ 2147483647 h 1252"/>
              <a:gd name="T54" fmla="*/ 2147483647 w 1173"/>
              <a:gd name="T55" fmla="*/ 2147483647 h 1252"/>
              <a:gd name="T56" fmla="*/ 2147483647 w 1173"/>
              <a:gd name="T57" fmla="*/ 2147483647 h 1252"/>
              <a:gd name="T58" fmla="*/ 2147483647 w 1173"/>
              <a:gd name="T59" fmla="*/ 2147483647 h 1252"/>
              <a:gd name="T60" fmla="*/ 2147483647 w 1173"/>
              <a:gd name="T61" fmla="*/ 2147483647 h 1252"/>
              <a:gd name="T62" fmla="*/ 2147483647 w 1173"/>
              <a:gd name="T63" fmla="*/ 0 h 1252"/>
              <a:gd name="T64" fmla="*/ 2147483647 w 1173"/>
              <a:gd name="T65" fmla="*/ 2147483647 h 1252"/>
              <a:gd name="T66" fmla="*/ 2147483647 w 1173"/>
              <a:gd name="T67" fmla="*/ 2147483647 h 1252"/>
              <a:gd name="T68" fmla="*/ 2147483647 w 1173"/>
              <a:gd name="T69" fmla="*/ 2147483647 h 1252"/>
              <a:gd name="T70" fmla="*/ 2147483647 w 1173"/>
              <a:gd name="T71" fmla="*/ 2147483647 h 1252"/>
              <a:gd name="T72" fmla="*/ 2147483647 w 1173"/>
              <a:gd name="T73" fmla="*/ 2147483647 h 1252"/>
              <a:gd name="T74" fmla="*/ 2147483647 w 1173"/>
              <a:gd name="T75" fmla="*/ 2147483647 h 1252"/>
              <a:gd name="T76" fmla="*/ 2147483647 w 1173"/>
              <a:gd name="T77" fmla="*/ 2147483647 h 1252"/>
              <a:gd name="T78" fmla="*/ 2147483647 w 1173"/>
              <a:gd name="T79" fmla="*/ 2147483647 h 1252"/>
              <a:gd name="T80" fmla="*/ 2147483647 w 1173"/>
              <a:gd name="T81" fmla="*/ 2147483647 h 1252"/>
              <a:gd name="T82" fmla="*/ 2147483647 w 1173"/>
              <a:gd name="T83" fmla="*/ 2147483647 h 1252"/>
              <a:gd name="T84" fmla="*/ 2147483647 w 1173"/>
              <a:gd name="T85" fmla="*/ 2147483647 h 1252"/>
              <a:gd name="T86" fmla="*/ 2147483647 w 1173"/>
              <a:gd name="T87" fmla="*/ 2147483647 h 1252"/>
              <a:gd name="T88" fmla="*/ 2147483647 w 1173"/>
              <a:gd name="T89" fmla="*/ 2147483647 h 1252"/>
              <a:gd name="T90" fmla="*/ 2147483647 w 1173"/>
              <a:gd name="T91" fmla="*/ 2147483647 h 1252"/>
              <a:gd name="T92" fmla="*/ 2147483647 w 1173"/>
              <a:gd name="T93" fmla="*/ 2147483647 h 1252"/>
              <a:gd name="T94" fmla="*/ 2147483647 w 1173"/>
              <a:gd name="T95" fmla="*/ 2147483647 h 1252"/>
              <a:gd name="T96" fmla="*/ 2147483647 w 1173"/>
              <a:gd name="T97" fmla="*/ 2147483647 h 1252"/>
              <a:gd name="T98" fmla="*/ 2147483647 w 1173"/>
              <a:gd name="T99" fmla="*/ 2147483647 h 1252"/>
              <a:gd name="T100" fmla="*/ 2147483647 w 1173"/>
              <a:gd name="T101" fmla="*/ 2147483647 h 125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73"/>
              <a:gd name="T154" fmla="*/ 0 h 1252"/>
              <a:gd name="T155" fmla="*/ 1173 w 1173"/>
              <a:gd name="T156" fmla="*/ 1252 h 125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73" h="1252">
                <a:moveTo>
                  <a:pt x="46" y="1020"/>
                </a:moveTo>
                <a:lnTo>
                  <a:pt x="61" y="1014"/>
                </a:lnTo>
                <a:lnTo>
                  <a:pt x="81" y="1009"/>
                </a:lnTo>
                <a:lnTo>
                  <a:pt x="97" y="1012"/>
                </a:lnTo>
                <a:lnTo>
                  <a:pt x="114" y="1016"/>
                </a:lnTo>
                <a:lnTo>
                  <a:pt x="130" y="1022"/>
                </a:lnTo>
                <a:lnTo>
                  <a:pt x="147" y="1027"/>
                </a:lnTo>
                <a:lnTo>
                  <a:pt x="167" y="1033"/>
                </a:lnTo>
                <a:lnTo>
                  <a:pt x="182" y="1036"/>
                </a:lnTo>
                <a:lnTo>
                  <a:pt x="201" y="1038"/>
                </a:lnTo>
                <a:lnTo>
                  <a:pt x="220" y="1036"/>
                </a:lnTo>
                <a:lnTo>
                  <a:pt x="236" y="1031"/>
                </a:lnTo>
                <a:lnTo>
                  <a:pt x="254" y="1023"/>
                </a:lnTo>
                <a:lnTo>
                  <a:pt x="271" y="1014"/>
                </a:lnTo>
                <a:lnTo>
                  <a:pt x="287" y="1003"/>
                </a:lnTo>
                <a:lnTo>
                  <a:pt x="305" y="992"/>
                </a:lnTo>
                <a:lnTo>
                  <a:pt x="321" y="981"/>
                </a:lnTo>
                <a:lnTo>
                  <a:pt x="340" y="972"/>
                </a:lnTo>
                <a:lnTo>
                  <a:pt x="356" y="966"/>
                </a:lnTo>
                <a:lnTo>
                  <a:pt x="375" y="964"/>
                </a:lnTo>
                <a:lnTo>
                  <a:pt x="392" y="968"/>
                </a:lnTo>
                <a:lnTo>
                  <a:pt x="408" y="975"/>
                </a:lnTo>
                <a:lnTo>
                  <a:pt x="424" y="990"/>
                </a:lnTo>
                <a:lnTo>
                  <a:pt x="434" y="1003"/>
                </a:lnTo>
                <a:lnTo>
                  <a:pt x="439" y="1027"/>
                </a:lnTo>
                <a:lnTo>
                  <a:pt x="436" y="1053"/>
                </a:lnTo>
                <a:lnTo>
                  <a:pt x="431" y="1083"/>
                </a:lnTo>
                <a:lnTo>
                  <a:pt x="424" y="1114"/>
                </a:lnTo>
                <a:lnTo>
                  <a:pt x="418" y="1140"/>
                </a:lnTo>
                <a:lnTo>
                  <a:pt x="419" y="1166"/>
                </a:lnTo>
                <a:lnTo>
                  <a:pt x="426" y="1192"/>
                </a:lnTo>
                <a:lnTo>
                  <a:pt x="439" y="1212"/>
                </a:lnTo>
                <a:lnTo>
                  <a:pt x="451" y="1225"/>
                </a:lnTo>
                <a:lnTo>
                  <a:pt x="468" y="1233"/>
                </a:lnTo>
                <a:lnTo>
                  <a:pt x="488" y="1240"/>
                </a:lnTo>
                <a:lnTo>
                  <a:pt x="514" y="1246"/>
                </a:lnTo>
                <a:lnTo>
                  <a:pt x="536" y="1249"/>
                </a:lnTo>
                <a:lnTo>
                  <a:pt x="563" y="1251"/>
                </a:lnTo>
                <a:lnTo>
                  <a:pt x="588" y="1247"/>
                </a:lnTo>
                <a:lnTo>
                  <a:pt x="610" y="1242"/>
                </a:lnTo>
                <a:lnTo>
                  <a:pt x="633" y="1233"/>
                </a:lnTo>
                <a:lnTo>
                  <a:pt x="654" y="1221"/>
                </a:lnTo>
                <a:lnTo>
                  <a:pt x="670" y="1209"/>
                </a:lnTo>
                <a:lnTo>
                  <a:pt x="686" y="1194"/>
                </a:lnTo>
                <a:lnTo>
                  <a:pt x="698" y="1177"/>
                </a:lnTo>
                <a:lnTo>
                  <a:pt x="709" y="1157"/>
                </a:lnTo>
                <a:lnTo>
                  <a:pt x="716" y="1131"/>
                </a:lnTo>
                <a:lnTo>
                  <a:pt x="717" y="1090"/>
                </a:lnTo>
                <a:lnTo>
                  <a:pt x="717" y="1059"/>
                </a:lnTo>
                <a:lnTo>
                  <a:pt x="720" y="1031"/>
                </a:lnTo>
                <a:lnTo>
                  <a:pt x="728" y="1011"/>
                </a:lnTo>
                <a:lnTo>
                  <a:pt x="739" y="992"/>
                </a:lnTo>
                <a:lnTo>
                  <a:pt x="751" y="975"/>
                </a:lnTo>
                <a:lnTo>
                  <a:pt x="767" y="961"/>
                </a:lnTo>
                <a:lnTo>
                  <a:pt x="783" y="949"/>
                </a:lnTo>
                <a:lnTo>
                  <a:pt x="805" y="940"/>
                </a:lnTo>
                <a:lnTo>
                  <a:pt x="826" y="937"/>
                </a:lnTo>
                <a:lnTo>
                  <a:pt x="848" y="933"/>
                </a:lnTo>
                <a:lnTo>
                  <a:pt x="872" y="931"/>
                </a:lnTo>
                <a:lnTo>
                  <a:pt x="896" y="929"/>
                </a:lnTo>
                <a:lnTo>
                  <a:pt x="923" y="931"/>
                </a:lnTo>
                <a:lnTo>
                  <a:pt x="944" y="933"/>
                </a:lnTo>
                <a:lnTo>
                  <a:pt x="963" y="937"/>
                </a:lnTo>
                <a:lnTo>
                  <a:pt x="983" y="940"/>
                </a:lnTo>
                <a:lnTo>
                  <a:pt x="1001" y="944"/>
                </a:lnTo>
                <a:lnTo>
                  <a:pt x="1021" y="946"/>
                </a:lnTo>
                <a:lnTo>
                  <a:pt x="1172" y="951"/>
                </a:lnTo>
                <a:lnTo>
                  <a:pt x="1021" y="74"/>
                </a:lnTo>
                <a:lnTo>
                  <a:pt x="1000" y="58"/>
                </a:lnTo>
                <a:lnTo>
                  <a:pt x="985" y="45"/>
                </a:lnTo>
                <a:lnTo>
                  <a:pt x="968" y="34"/>
                </a:lnTo>
                <a:lnTo>
                  <a:pt x="947" y="23"/>
                </a:lnTo>
                <a:lnTo>
                  <a:pt x="925" y="15"/>
                </a:lnTo>
                <a:lnTo>
                  <a:pt x="901" y="10"/>
                </a:lnTo>
                <a:lnTo>
                  <a:pt x="873" y="4"/>
                </a:lnTo>
                <a:lnTo>
                  <a:pt x="847" y="2"/>
                </a:lnTo>
                <a:lnTo>
                  <a:pt x="821" y="0"/>
                </a:lnTo>
                <a:lnTo>
                  <a:pt x="792" y="0"/>
                </a:lnTo>
                <a:lnTo>
                  <a:pt x="757" y="0"/>
                </a:lnTo>
                <a:lnTo>
                  <a:pt x="730" y="4"/>
                </a:lnTo>
                <a:lnTo>
                  <a:pt x="703" y="8"/>
                </a:lnTo>
                <a:lnTo>
                  <a:pt x="680" y="11"/>
                </a:lnTo>
                <a:lnTo>
                  <a:pt x="658" y="19"/>
                </a:lnTo>
                <a:lnTo>
                  <a:pt x="641" y="26"/>
                </a:lnTo>
                <a:lnTo>
                  <a:pt x="626" y="35"/>
                </a:lnTo>
                <a:lnTo>
                  <a:pt x="613" y="47"/>
                </a:lnTo>
                <a:lnTo>
                  <a:pt x="605" y="58"/>
                </a:lnTo>
                <a:lnTo>
                  <a:pt x="600" y="74"/>
                </a:lnTo>
                <a:lnTo>
                  <a:pt x="600" y="91"/>
                </a:lnTo>
                <a:lnTo>
                  <a:pt x="606" y="108"/>
                </a:lnTo>
                <a:lnTo>
                  <a:pt x="613" y="122"/>
                </a:lnTo>
                <a:lnTo>
                  <a:pt x="618" y="137"/>
                </a:lnTo>
                <a:lnTo>
                  <a:pt x="618" y="159"/>
                </a:lnTo>
                <a:lnTo>
                  <a:pt x="611" y="178"/>
                </a:lnTo>
                <a:lnTo>
                  <a:pt x="601" y="196"/>
                </a:lnTo>
                <a:lnTo>
                  <a:pt x="586" y="215"/>
                </a:lnTo>
                <a:lnTo>
                  <a:pt x="572" y="232"/>
                </a:lnTo>
                <a:lnTo>
                  <a:pt x="557" y="243"/>
                </a:lnTo>
                <a:lnTo>
                  <a:pt x="542" y="252"/>
                </a:lnTo>
                <a:lnTo>
                  <a:pt x="526" y="263"/>
                </a:lnTo>
                <a:lnTo>
                  <a:pt x="509" y="270"/>
                </a:lnTo>
                <a:lnTo>
                  <a:pt x="492" y="276"/>
                </a:lnTo>
                <a:lnTo>
                  <a:pt x="474" y="280"/>
                </a:lnTo>
                <a:lnTo>
                  <a:pt x="458" y="283"/>
                </a:lnTo>
                <a:lnTo>
                  <a:pt x="439" y="283"/>
                </a:lnTo>
                <a:lnTo>
                  <a:pt x="422" y="280"/>
                </a:lnTo>
                <a:lnTo>
                  <a:pt x="406" y="276"/>
                </a:lnTo>
                <a:lnTo>
                  <a:pt x="391" y="269"/>
                </a:lnTo>
                <a:lnTo>
                  <a:pt x="375" y="259"/>
                </a:lnTo>
                <a:lnTo>
                  <a:pt x="361" y="248"/>
                </a:lnTo>
                <a:lnTo>
                  <a:pt x="353" y="235"/>
                </a:lnTo>
                <a:lnTo>
                  <a:pt x="349" y="222"/>
                </a:lnTo>
                <a:lnTo>
                  <a:pt x="348" y="209"/>
                </a:lnTo>
                <a:lnTo>
                  <a:pt x="349" y="191"/>
                </a:lnTo>
                <a:lnTo>
                  <a:pt x="353" y="172"/>
                </a:lnTo>
                <a:lnTo>
                  <a:pt x="361" y="150"/>
                </a:lnTo>
                <a:lnTo>
                  <a:pt x="372" y="130"/>
                </a:lnTo>
                <a:lnTo>
                  <a:pt x="381" y="113"/>
                </a:lnTo>
                <a:lnTo>
                  <a:pt x="387" y="100"/>
                </a:lnTo>
                <a:lnTo>
                  <a:pt x="392" y="80"/>
                </a:lnTo>
                <a:lnTo>
                  <a:pt x="396" y="60"/>
                </a:lnTo>
                <a:lnTo>
                  <a:pt x="392" y="43"/>
                </a:lnTo>
                <a:lnTo>
                  <a:pt x="385" y="28"/>
                </a:lnTo>
                <a:lnTo>
                  <a:pt x="371" y="15"/>
                </a:lnTo>
                <a:lnTo>
                  <a:pt x="356" y="10"/>
                </a:lnTo>
                <a:lnTo>
                  <a:pt x="342" y="4"/>
                </a:lnTo>
                <a:lnTo>
                  <a:pt x="321" y="0"/>
                </a:lnTo>
                <a:lnTo>
                  <a:pt x="279" y="0"/>
                </a:lnTo>
                <a:lnTo>
                  <a:pt x="248" y="4"/>
                </a:lnTo>
                <a:lnTo>
                  <a:pt x="220" y="10"/>
                </a:lnTo>
                <a:lnTo>
                  <a:pt x="183" y="17"/>
                </a:lnTo>
                <a:lnTo>
                  <a:pt x="150" y="26"/>
                </a:lnTo>
                <a:lnTo>
                  <a:pt x="113" y="35"/>
                </a:lnTo>
                <a:lnTo>
                  <a:pt x="88" y="43"/>
                </a:lnTo>
                <a:lnTo>
                  <a:pt x="67" y="50"/>
                </a:lnTo>
                <a:lnTo>
                  <a:pt x="56" y="58"/>
                </a:lnTo>
                <a:lnTo>
                  <a:pt x="60" y="74"/>
                </a:lnTo>
                <a:lnTo>
                  <a:pt x="65" y="102"/>
                </a:lnTo>
                <a:lnTo>
                  <a:pt x="67" y="128"/>
                </a:lnTo>
                <a:lnTo>
                  <a:pt x="68" y="148"/>
                </a:lnTo>
                <a:lnTo>
                  <a:pt x="66" y="172"/>
                </a:lnTo>
                <a:lnTo>
                  <a:pt x="62" y="193"/>
                </a:lnTo>
                <a:lnTo>
                  <a:pt x="57" y="215"/>
                </a:lnTo>
                <a:lnTo>
                  <a:pt x="52" y="233"/>
                </a:lnTo>
                <a:lnTo>
                  <a:pt x="46" y="261"/>
                </a:lnTo>
                <a:lnTo>
                  <a:pt x="39" y="289"/>
                </a:lnTo>
                <a:lnTo>
                  <a:pt x="32" y="317"/>
                </a:lnTo>
                <a:lnTo>
                  <a:pt x="22" y="344"/>
                </a:lnTo>
                <a:lnTo>
                  <a:pt x="16" y="370"/>
                </a:lnTo>
                <a:lnTo>
                  <a:pt x="11" y="394"/>
                </a:lnTo>
                <a:lnTo>
                  <a:pt x="6" y="418"/>
                </a:lnTo>
                <a:lnTo>
                  <a:pt x="1" y="450"/>
                </a:lnTo>
                <a:lnTo>
                  <a:pt x="0" y="478"/>
                </a:lnTo>
                <a:lnTo>
                  <a:pt x="2" y="502"/>
                </a:lnTo>
                <a:lnTo>
                  <a:pt x="7" y="526"/>
                </a:lnTo>
                <a:lnTo>
                  <a:pt x="16" y="542"/>
                </a:lnTo>
                <a:lnTo>
                  <a:pt x="27" y="557"/>
                </a:lnTo>
                <a:lnTo>
                  <a:pt x="41" y="565"/>
                </a:lnTo>
                <a:lnTo>
                  <a:pt x="57" y="565"/>
                </a:lnTo>
                <a:lnTo>
                  <a:pt x="78" y="559"/>
                </a:lnTo>
                <a:lnTo>
                  <a:pt x="97" y="546"/>
                </a:lnTo>
                <a:lnTo>
                  <a:pt x="113" y="531"/>
                </a:lnTo>
                <a:lnTo>
                  <a:pt x="125" y="507"/>
                </a:lnTo>
                <a:lnTo>
                  <a:pt x="134" y="480"/>
                </a:lnTo>
                <a:lnTo>
                  <a:pt x="136" y="452"/>
                </a:lnTo>
                <a:lnTo>
                  <a:pt x="142" y="430"/>
                </a:lnTo>
                <a:lnTo>
                  <a:pt x="152" y="409"/>
                </a:lnTo>
                <a:lnTo>
                  <a:pt x="164" y="393"/>
                </a:lnTo>
                <a:lnTo>
                  <a:pt x="179" y="380"/>
                </a:lnTo>
                <a:lnTo>
                  <a:pt x="195" y="372"/>
                </a:lnTo>
                <a:lnTo>
                  <a:pt x="209" y="370"/>
                </a:lnTo>
                <a:lnTo>
                  <a:pt x="225" y="370"/>
                </a:lnTo>
                <a:lnTo>
                  <a:pt x="243" y="376"/>
                </a:lnTo>
                <a:lnTo>
                  <a:pt x="258" y="383"/>
                </a:lnTo>
                <a:lnTo>
                  <a:pt x="271" y="394"/>
                </a:lnTo>
                <a:lnTo>
                  <a:pt x="285" y="413"/>
                </a:lnTo>
                <a:lnTo>
                  <a:pt x="295" y="431"/>
                </a:lnTo>
                <a:lnTo>
                  <a:pt x="303" y="459"/>
                </a:lnTo>
                <a:lnTo>
                  <a:pt x="306" y="485"/>
                </a:lnTo>
                <a:lnTo>
                  <a:pt x="305" y="509"/>
                </a:lnTo>
                <a:lnTo>
                  <a:pt x="300" y="537"/>
                </a:lnTo>
                <a:lnTo>
                  <a:pt x="292" y="565"/>
                </a:lnTo>
                <a:lnTo>
                  <a:pt x="282" y="589"/>
                </a:lnTo>
                <a:lnTo>
                  <a:pt x="269" y="615"/>
                </a:lnTo>
                <a:lnTo>
                  <a:pt x="257" y="635"/>
                </a:lnTo>
                <a:lnTo>
                  <a:pt x="241" y="657"/>
                </a:lnTo>
                <a:lnTo>
                  <a:pt x="227" y="674"/>
                </a:lnTo>
                <a:lnTo>
                  <a:pt x="212" y="689"/>
                </a:lnTo>
                <a:lnTo>
                  <a:pt x="199" y="696"/>
                </a:lnTo>
                <a:lnTo>
                  <a:pt x="179" y="703"/>
                </a:lnTo>
                <a:lnTo>
                  <a:pt x="164" y="707"/>
                </a:lnTo>
                <a:lnTo>
                  <a:pt x="147" y="713"/>
                </a:lnTo>
                <a:lnTo>
                  <a:pt x="132" y="720"/>
                </a:lnTo>
                <a:lnTo>
                  <a:pt x="114" y="733"/>
                </a:lnTo>
                <a:lnTo>
                  <a:pt x="98" y="748"/>
                </a:lnTo>
                <a:lnTo>
                  <a:pt x="86" y="764"/>
                </a:lnTo>
                <a:lnTo>
                  <a:pt x="72" y="785"/>
                </a:lnTo>
                <a:lnTo>
                  <a:pt x="62" y="803"/>
                </a:lnTo>
                <a:lnTo>
                  <a:pt x="51" y="829"/>
                </a:lnTo>
                <a:lnTo>
                  <a:pt x="45" y="851"/>
                </a:lnTo>
                <a:lnTo>
                  <a:pt x="39" y="879"/>
                </a:lnTo>
                <a:lnTo>
                  <a:pt x="36" y="905"/>
                </a:lnTo>
                <a:lnTo>
                  <a:pt x="36" y="927"/>
                </a:lnTo>
                <a:lnTo>
                  <a:pt x="39" y="955"/>
                </a:lnTo>
                <a:lnTo>
                  <a:pt x="43" y="988"/>
                </a:lnTo>
                <a:lnTo>
                  <a:pt x="46" y="1020"/>
                </a:lnTo>
              </a:path>
            </a:pathLst>
          </a:custGeom>
          <a:solidFill>
            <a:schemeClr val="accent3"/>
          </a:solidFill>
          <a:ln w="6350">
            <a:noFill/>
            <a:round/>
            <a:headEnd/>
            <a:tailEnd/>
          </a:ln>
        </p:spPr>
        <p:txBody>
          <a:bodyPr tIns="91440" bIns="91440" anchor="ctr"/>
          <a:lstStyle/>
          <a:p>
            <a:pPr>
              <a:defRPr/>
            </a:pPr>
            <a:endParaRPr lang="en-GB"/>
          </a:p>
        </p:txBody>
      </p:sp>
      <p:sp>
        <p:nvSpPr>
          <p:cNvPr id="5" name="Freeform 4"/>
          <p:cNvSpPr>
            <a:spLocks/>
          </p:cNvSpPr>
          <p:nvPr/>
        </p:nvSpPr>
        <p:spPr bwMode="auto">
          <a:xfrm>
            <a:off x="3895725" y="1376363"/>
            <a:ext cx="1466850" cy="1252537"/>
          </a:xfrm>
          <a:custGeom>
            <a:avLst/>
            <a:gdLst>
              <a:gd name="T0" fmla="*/ 2147483647 w 1312"/>
              <a:gd name="T1" fmla="*/ 2147483647 h 963"/>
              <a:gd name="T2" fmla="*/ 2147483647 w 1312"/>
              <a:gd name="T3" fmla="*/ 2147483647 h 963"/>
              <a:gd name="T4" fmla="*/ 2147483647 w 1312"/>
              <a:gd name="T5" fmla="*/ 2147483647 h 963"/>
              <a:gd name="T6" fmla="*/ 2147483647 w 1312"/>
              <a:gd name="T7" fmla="*/ 2147483647 h 963"/>
              <a:gd name="T8" fmla="*/ 2147483647 w 1312"/>
              <a:gd name="T9" fmla="*/ 2147483647 h 963"/>
              <a:gd name="T10" fmla="*/ 2147483647 w 1312"/>
              <a:gd name="T11" fmla="*/ 2147483647 h 963"/>
              <a:gd name="T12" fmla="*/ 2147483647 w 1312"/>
              <a:gd name="T13" fmla="*/ 0 h 963"/>
              <a:gd name="T14" fmla="*/ 2147483647 w 1312"/>
              <a:gd name="T15" fmla="*/ 2147483647 h 963"/>
              <a:gd name="T16" fmla="*/ 2147483647 w 1312"/>
              <a:gd name="T17" fmla="*/ 2147483647 h 963"/>
              <a:gd name="T18" fmla="*/ 2147483647 w 1312"/>
              <a:gd name="T19" fmla="*/ 2147483647 h 963"/>
              <a:gd name="T20" fmla="*/ 2147483647 w 1312"/>
              <a:gd name="T21" fmla="*/ 2147483647 h 963"/>
              <a:gd name="T22" fmla="*/ 2147483647 w 1312"/>
              <a:gd name="T23" fmla="*/ 2147483647 h 963"/>
              <a:gd name="T24" fmla="*/ 2147483647 w 1312"/>
              <a:gd name="T25" fmla="*/ 2147483647 h 963"/>
              <a:gd name="T26" fmla="*/ 2147483647 w 1312"/>
              <a:gd name="T27" fmla="*/ 2147483647 h 963"/>
              <a:gd name="T28" fmla="*/ 2147483647 w 1312"/>
              <a:gd name="T29" fmla="*/ 2147483647 h 963"/>
              <a:gd name="T30" fmla="*/ 2147483647 w 1312"/>
              <a:gd name="T31" fmla="*/ 2147483647 h 963"/>
              <a:gd name="T32" fmla="*/ 2147483647 w 1312"/>
              <a:gd name="T33" fmla="*/ 2147483647 h 963"/>
              <a:gd name="T34" fmla="*/ 2147483647 w 1312"/>
              <a:gd name="T35" fmla="*/ 2147483647 h 963"/>
              <a:gd name="T36" fmla="*/ 2147483647 w 1312"/>
              <a:gd name="T37" fmla="*/ 2147483647 h 963"/>
              <a:gd name="T38" fmla="*/ 2147483647 w 1312"/>
              <a:gd name="T39" fmla="*/ 2147483647 h 963"/>
              <a:gd name="T40" fmla="*/ 2147483647 w 1312"/>
              <a:gd name="T41" fmla="*/ 2147483647 h 963"/>
              <a:gd name="T42" fmla="*/ 2147483647 w 1312"/>
              <a:gd name="T43" fmla="*/ 2147483647 h 963"/>
              <a:gd name="T44" fmla="*/ 2147483647 w 1312"/>
              <a:gd name="T45" fmla="*/ 2147483647 h 963"/>
              <a:gd name="T46" fmla="*/ 2147483647 w 1312"/>
              <a:gd name="T47" fmla="*/ 2147483647 h 963"/>
              <a:gd name="T48" fmla="*/ 2147483647 w 1312"/>
              <a:gd name="T49" fmla="*/ 2147483647 h 963"/>
              <a:gd name="T50" fmla="*/ 2147483647 w 1312"/>
              <a:gd name="T51" fmla="*/ 2147483647 h 963"/>
              <a:gd name="T52" fmla="*/ 2147483647 w 1312"/>
              <a:gd name="T53" fmla="*/ 2147483647 h 963"/>
              <a:gd name="T54" fmla="*/ 2147483647 w 1312"/>
              <a:gd name="T55" fmla="*/ 2147483647 h 963"/>
              <a:gd name="T56" fmla="*/ 2147483647 w 1312"/>
              <a:gd name="T57" fmla="*/ 2147483647 h 963"/>
              <a:gd name="T58" fmla="*/ 2147483647 w 1312"/>
              <a:gd name="T59" fmla="*/ 2147483647 h 963"/>
              <a:gd name="T60" fmla="*/ 2147483647 w 1312"/>
              <a:gd name="T61" fmla="*/ 2147483647 h 963"/>
              <a:gd name="T62" fmla="*/ 2147483647 w 1312"/>
              <a:gd name="T63" fmla="*/ 2147483647 h 963"/>
              <a:gd name="T64" fmla="*/ 2147483647 w 1312"/>
              <a:gd name="T65" fmla="*/ 2147483647 h 963"/>
              <a:gd name="T66" fmla="*/ 2147483647 w 1312"/>
              <a:gd name="T67" fmla="*/ 2147483647 h 963"/>
              <a:gd name="T68" fmla="*/ 2147483647 w 1312"/>
              <a:gd name="T69" fmla="*/ 2147483647 h 963"/>
              <a:gd name="T70" fmla="*/ 2147483647 w 1312"/>
              <a:gd name="T71" fmla="*/ 2147483647 h 963"/>
              <a:gd name="T72" fmla="*/ 2147483647 w 1312"/>
              <a:gd name="T73" fmla="*/ 2147483647 h 963"/>
              <a:gd name="T74" fmla="*/ 2147483647 w 1312"/>
              <a:gd name="T75" fmla="*/ 2147483647 h 963"/>
              <a:gd name="T76" fmla="*/ 2147483647 w 1312"/>
              <a:gd name="T77" fmla="*/ 2147483647 h 963"/>
              <a:gd name="T78" fmla="*/ 2147483647 w 1312"/>
              <a:gd name="T79" fmla="*/ 2147483647 h 963"/>
              <a:gd name="T80" fmla="*/ 2147483647 w 1312"/>
              <a:gd name="T81" fmla="*/ 2147483647 h 963"/>
              <a:gd name="T82" fmla="*/ 2147483647 w 1312"/>
              <a:gd name="T83" fmla="*/ 2147483647 h 963"/>
              <a:gd name="T84" fmla="*/ 2147483647 w 1312"/>
              <a:gd name="T85" fmla="*/ 2147483647 h 963"/>
              <a:gd name="T86" fmla="*/ 2147483647 w 1312"/>
              <a:gd name="T87" fmla="*/ 2147483647 h 963"/>
              <a:gd name="T88" fmla="*/ 2147483647 w 1312"/>
              <a:gd name="T89" fmla="*/ 2147483647 h 963"/>
              <a:gd name="T90" fmla="*/ 2147483647 w 1312"/>
              <a:gd name="T91" fmla="*/ 2147483647 h 963"/>
              <a:gd name="T92" fmla="*/ 2147483647 w 1312"/>
              <a:gd name="T93" fmla="*/ 2147483647 h 963"/>
              <a:gd name="T94" fmla="*/ 2147483647 w 1312"/>
              <a:gd name="T95" fmla="*/ 2147483647 h 963"/>
              <a:gd name="T96" fmla="*/ 2147483647 w 1312"/>
              <a:gd name="T97" fmla="*/ 2147483647 h 963"/>
              <a:gd name="T98" fmla="*/ 2147483647 w 1312"/>
              <a:gd name="T99" fmla="*/ 2147483647 h 963"/>
              <a:gd name="T100" fmla="*/ 2147483647 w 1312"/>
              <a:gd name="T101" fmla="*/ 2147483647 h 963"/>
              <a:gd name="T102" fmla="*/ 2147483647 w 1312"/>
              <a:gd name="T103" fmla="*/ 2147483647 h 963"/>
              <a:gd name="T104" fmla="*/ 2147483647 w 1312"/>
              <a:gd name="T105" fmla="*/ 2147483647 h 963"/>
              <a:gd name="T106" fmla="*/ 2147483647 w 1312"/>
              <a:gd name="T107" fmla="*/ 2147483647 h 963"/>
              <a:gd name="T108" fmla="*/ 2147483647 w 1312"/>
              <a:gd name="T109" fmla="*/ 2147483647 h 963"/>
              <a:gd name="T110" fmla="*/ 2147483647 w 1312"/>
              <a:gd name="T111" fmla="*/ 2147483647 h 963"/>
              <a:gd name="T112" fmla="*/ 2147483647 w 1312"/>
              <a:gd name="T113" fmla="*/ 2147483647 h 963"/>
              <a:gd name="T114" fmla="*/ 2147483647 w 1312"/>
              <a:gd name="T115" fmla="*/ 2147483647 h 963"/>
              <a:gd name="T116" fmla="*/ 2147483647 w 1312"/>
              <a:gd name="T117" fmla="*/ 2147483647 h 963"/>
              <a:gd name="T118" fmla="*/ 0 w 1312"/>
              <a:gd name="T119" fmla="*/ 2147483647 h 9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312"/>
              <a:gd name="T181" fmla="*/ 0 h 963"/>
              <a:gd name="T182" fmla="*/ 1312 w 1312"/>
              <a:gd name="T183" fmla="*/ 963 h 9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312" h="963">
                <a:moveTo>
                  <a:pt x="0" y="960"/>
                </a:moveTo>
                <a:lnTo>
                  <a:pt x="118" y="124"/>
                </a:lnTo>
                <a:lnTo>
                  <a:pt x="136" y="122"/>
                </a:lnTo>
                <a:lnTo>
                  <a:pt x="157" y="119"/>
                </a:lnTo>
                <a:lnTo>
                  <a:pt x="195" y="107"/>
                </a:lnTo>
                <a:lnTo>
                  <a:pt x="224" y="98"/>
                </a:lnTo>
                <a:lnTo>
                  <a:pt x="259" y="87"/>
                </a:lnTo>
                <a:lnTo>
                  <a:pt x="300" y="72"/>
                </a:lnTo>
                <a:lnTo>
                  <a:pt x="338" y="56"/>
                </a:lnTo>
                <a:lnTo>
                  <a:pt x="372" y="37"/>
                </a:lnTo>
                <a:lnTo>
                  <a:pt x="412" y="17"/>
                </a:lnTo>
                <a:lnTo>
                  <a:pt x="438" y="8"/>
                </a:lnTo>
                <a:lnTo>
                  <a:pt x="460" y="2"/>
                </a:lnTo>
                <a:lnTo>
                  <a:pt x="479" y="0"/>
                </a:lnTo>
                <a:lnTo>
                  <a:pt x="498" y="0"/>
                </a:lnTo>
                <a:lnTo>
                  <a:pt x="525" y="6"/>
                </a:lnTo>
                <a:lnTo>
                  <a:pt x="543" y="11"/>
                </a:lnTo>
                <a:lnTo>
                  <a:pt x="563" y="21"/>
                </a:lnTo>
                <a:lnTo>
                  <a:pt x="577" y="32"/>
                </a:lnTo>
                <a:lnTo>
                  <a:pt x="586" y="45"/>
                </a:lnTo>
                <a:lnTo>
                  <a:pt x="594" y="65"/>
                </a:lnTo>
                <a:lnTo>
                  <a:pt x="596" y="80"/>
                </a:lnTo>
                <a:lnTo>
                  <a:pt x="595" y="100"/>
                </a:lnTo>
                <a:lnTo>
                  <a:pt x="590" y="120"/>
                </a:lnTo>
                <a:lnTo>
                  <a:pt x="578" y="146"/>
                </a:lnTo>
                <a:lnTo>
                  <a:pt x="566" y="178"/>
                </a:lnTo>
                <a:lnTo>
                  <a:pt x="558" y="206"/>
                </a:lnTo>
                <a:lnTo>
                  <a:pt x="554" y="226"/>
                </a:lnTo>
                <a:lnTo>
                  <a:pt x="553" y="248"/>
                </a:lnTo>
                <a:lnTo>
                  <a:pt x="554" y="265"/>
                </a:lnTo>
                <a:lnTo>
                  <a:pt x="561" y="287"/>
                </a:lnTo>
                <a:lnTo>
                  <a:pt x="572" y="309"/>
                </a:lnTo>
                <a:lnTo>
                  <a:pt x="586" y="330"/>
                </a:lnTo>
                <a:lnTo>
                  <a:pt x="601" y="342"/>
                </a:lnTo>
                <a:lnTo>
                  <a:pt x="620" y="352"/>
                </a:lnTo>
                <a:lnTo>
                  <a:pt x="641" y="359"/>
                </a:lnTo>
                <a:lnTo>
                  <a:pt x="657" y="363"/>
                </a:lnTo>
                <a:lnTo>
                  <a:pt x="675" y="359"/>
                </a:lnTo>
                <a:lnTo>
                  <a:pt x="693" y="354"/>
                </a:lnTo>
                <a:lnTo>
                  <a:pt x="711" y="344"/>
                </a:lnTo>
                <a:lnTo>
                  <a:pt x="729" y="331"/>
                </a:lnTo>
                <a:lnTo>
                  <a:pt x="749" y="313"/>
                </a:lnTo>
                <a:lnTo>
                  <a:pt x="765" y="296"/>
                </a:lnTo>
                <a:lnTo>
                  <a:pt x="778" y="280"/>
                </a:lnTo>
                <a:lnTo>
                  <a:pt x="789" y="259"/>
                </a:lnTo>
                <a:lnTo>
                  <a:pt x="798" y="235"/>
                </a:lnTo>
                <a:lnTo>
                  <a:pt x="803" y="209"/>
                </a:lnTo>
                <a:lnTo>
                  <a:pt x="805" y="178"/>
                </a:lnTo>
                <a:lnTo>
                  <a:pt x="812" y="152"/>
                </a:lnTo>
                <a:lnTo>
                  <a:pt x="817" y="141"/>
                </a:lnTo>
                <a:lnTo>
                  <a:pt x="828" y="128"/>
                </a:lnTo>
                <a:lnTo>
                  <a:pt x="846" y="115"/>
                </a:lnTo>
                <a:lnTo>
                  <a:pt x="871" y="102"/>
                </a:lnTo>
                <a:lnTo>
                  <a:pt x="898" y="91"/>
                </a:lnTo>
                <a:lnTo>
                  <a:pt x="921" y="80"/>
                </a:lnTo>
                <a:lnTo>
                  <a:pt x="946" y="70"/>
                </a:lnTo>
                <a:lnTo>
                  <a:pt x="981" y="61"/>
                </a:lnTo>
                <a:lnTo>
                  <a:pt x="1032" y="48"/>
                </a:lnTo>
                <a:lnTo>
                  <a:pt x="1087" y="41"/>
                </a:lnTo>
                <a:lnTo>
                  <a:pt x="1147" y="41"/>
                </a:lnTo>
                <a:lnTo>
                  <a:pt x="1207" y="41"/>
                </a:lnTo>
                <a:lnTo>
                  <a:pt x="1261" y="50"/>
                </a:lnTo>
                <a:lnTo>
                  <a:pt x="1263" y="74"/>
                </a:lnTo>
                <a:lnTo>
                  <a:pt x="1267" y="104"/>
                </a:lnTo>
                <a:lnTo>
                  <a:pt x="1274" y="144"/>
                </a:lnTo>
                <a:lnTo>
                  <a:pt x="1285" y="191"/>
                </a:lnTo>
                <a:lnTo>
                  <a:pt x="1296" y="237"/>
                </a:lnTo>
                <a:lnTo>
                  <a:pt x="1304" y="270"/>
                </a:lnTo>
                <a:lnTo>
                  <a:pt x="1309" y="302"/>
                </a:lnTo>
                <a:lnTo>
                  <a:pt x="1311" y="330"/>
                </a:lnTo>
                <a:lnTo>
                  <a:pt x="1310" y="350"/>
                </a:lnTo>
                <a:lnTo>
                  <a:pt x="1305" y="372"/>
                </a:lnTo>
                <a:lnTo>
                  <a:pt x="1298" y="391"/>
                </a:lnTo>
                <a:lnTo>
                  <a:pt x="1291" y="402"/>
                </a:lnTo>
                <a:lnTo>
                  <a:pt x="1283" y="413"/>
                </a:lnTo>
                <a:lnTo>
                  <a:pt x="1271" y="422"/>
                </a:lnTo>
                <a:lnTo>
                  <a:pt x="1255" y="424"/>
                </a:lnTo>
                <a:lnTo>
                  <a:pt x="1239" y="418"/>
                </a:lnTo>
                <a:lnTo>
                  <a:pt x="1224" y="411"/>
                </a:lnTo>
                <a:lnTo>
                  <a:pt x="1207" y="398"/>
                </a:lnTo>
                <a:lnTo>
                  <a:pt x="1193" y="385"/>
                </a:lnTo>
                <a:lnTo>
                  <a:pt x="1181" y="378"/>
                </a:lnTo>
                <a:lnTo>
                  <a:pt x="1166" y="370"/>
                </a:lnTo>
                <a:lnTo>
                  <a:pt x="1150" y="367"/>
                </a:lnTo>
                <a:lnTo>
                  <a:pt x="1138" y="368"/>
                </a:lnTo>
                <a:lnTo>
                  <a:pt x="1124" y="378"/>
                </a:lnTo>
                <a:lnTo>
                  <a:pt x="1113" y="392"/>
                </a:lnTo>
                <a:lnTo>
                  <a:pt x="1104" y="413"/>
                </a:lnTo>
                <a:lnTo>
                  <a:pt x="1097" y="437"/>
                </a:lnTo>
                <a:lnTo>
                  <a:pt x="1093" y="455"/>
                </a:lnTo>
                <a:lnTo>
                  <a:pt x="1091" y="474"/>
                </a:lnTo>
                <a:lnTo>
                  <a:pt x="1090" y="500"/>
                </a:lnTo>
                <a:lnTo>
                  <a:pt x="1092" y="529"/>
                </a:lnTo>
                <a:lnTo>
                  <a:pt x="1098" y="559"/>
                </a:lnTo>
                <a:lnTo>
                  <a:pt x="1108" y="585"/>
                </a:lnTo>
                <a:lnTo>
                  <a:pt x="1119" y="609"/>
                </a:lnTo>
                <a:lnTo>
                  <a:pt x="1125" y="622"/>
                </a:lnTo>
                <a:lnTo>
                  <a:pt x="1139" y="640"/>
                </a:lnTo>
                <a:lnTo>
                  <a:pt x="1154" y="659"/>
                </a:lnTo>
                <a:lnTo>
                  <a:pt x="1172" y="672"/>
                </a:lnTo>
                <a:lnTo>
                  <a:pt x="1193" y="681"/>
                </a:lnTo>
                <a:lnTo>
                  <a:pt x="1211" y="685"/>
                </a:lnTo>
                <a:lnTo>
                  <a:pt x="1234" y="687"/>
                </a:lnTo>
                <a:lnTo>
                  <a:pt x="1256" y="683"/>
                </a:lnTo>
                <a:lnTo>
                  <a:pt x="1274" y="681"/>
                </a:lnTo>
                <a:lnTo>
                  <a:pt x="1291" y="679"/>
                </a:lnTo>
                <a:lnTo>
                  <a:pt x="1301" y="687"/>
                </a:lnTo>
                <a:lnTo>
                  <a:pt x="1305" y="700"/>
                </a:lnTo>
                <a:lnTo>
                  <a:pt x="1306" y="713"/>
                </a:lnTo>
                <a:lnTo>
                  <a:pt x="1305" y="725"/>
                </a:lnTo>
                <a:lnTo>
                  <a:pt x="1300" y="751"/>
                </a:lnTo>
                <a:lnTo>
                  <a:pt x="1294" y="774"/>
                </a:lnTo>
                <a:lnTo>
                  <a:pt x="1286" y="801"/>
                </a:lnTo>
                <a:lnTo>
                  <a:pt x="1275" y="833"/>
                </a:lnTo>
                <a:lnTo>
                  <a:pt x="1263" y="864"/>
                </a:lnTo>
                <a:lnTo>
                  <a:pt x="1251" y="892"/>
                </a:lnTo>
                <a:lnTo>
                  <a:pt x="1236" y="925"/>
                </a:lnTo>
                <a:lnTo>
                  <a:pt x="1224" y="947"/>
                </a:lnTo>
                <a:lnTo>
                  <a:pt x="1210" y="962"/>
                </a:lnTo>
                <a:lnTo>
                  <a:pt x="0" y="960"/>
                </a:lnTo>
              </a:path>
            </a:pathLst>
          </a:custGeom>
          <a:solidFill>
            <a:schemeClr val="accent3"/>
          </a:solidFill>
          <a:ln w="6350">
            <a:noFill/>
            <a:round/>
            <a:headEnd/>
            <a:tailEnd/>
          </a:ln>
        </p:spPr>
        <p:txBody>
          <a:bodyPr tIns="91440" bIns="91440" anchor="ctr"/>
          <a:lstStyle/>
          <a:p>
            <a:pPr>
              <a:defRPr/>
            </a:pPr>
            <a:endParaRPr lang="en-GB"/>
          </a:p>
        </p:txBody>
      </p:sp>
      <p:sp>
        <p:nvSpPr>
          <p:cNvPr id="7" name="Freeform 6"/>
          <p:cNvSpPr>
            <a:spLocks/>
          </p:cNvSpPr>
          <p:nvPr/>
        </p:nvSpPr>
        <p:spPr bwMode="auto">
          <a:xfrm>
            <a:off x="1712913" y="2941638"/>
            <a:ext cx="1768475" cy="1793875"/>
          </a:xfrm>
          <a:custGeom>
            <a:avLst/>
            <a:gdLst>
              <a:gd name="T0" fmla="*/ 2147483647 w 1401"/>
              <a:gd name="T1" fmla="*/ 2147483647 h 1333"/>
              <a:gd name="T2" fmla="*/ 2147483647 w 1401"/>
              <a:gd name="T3" fmla="*/ 2147483647 h 1333"/>
              <a:gd name="T4" fmla="*/ 2147483647 w 1401"/>
              <a:gd name="T5" fmla="*/ 2147483647 h 1333"/>
              <a:gd name="T6" fmla="*/ 2147483647 w 1401"/>
              <a:gd name="T7" fmla="*/ 2147483647 h 1333"/>
              <a:gd name="T8" fmla="*/ 2147483647 w 1401"/>
              <a:gd name="T9" fmla="*/ 2147483647 h 1333"/>
              <a:gd name="T10" fmla="*/ 2147483647 w 1401"/>
              <a:gd name="T11" fmla="*/ 2147483647 h 1333"/>
              <a:gd name="T12" fmla="*/ 2147483647 w 1401"/>
              <a:gd name="T13" fmla="*/ 2147483647 h 1333"/>
              <a:gd name="T14" fmla="*/ 2147483647 w 1401"/>
              <a:gd name="T15" fmla="*/ 2147483647 h 1333"/>
              <a:gd name="T16" fmla="*/ 2147483647 w 1401"/>
              <a:gd name="T17" fmla="*/ 2147483647 h 1333"/>
              <a:gd name="T18" fmla="*/ 2147483647 w 1401"/>
              <a:gd name="T19" fmla="*/ 2147483647 h 1333"/>
              <a:gd name="T20" fmla="*/ 2147483647 w 1401"/>
              <a:gd name="T21" fmla="*/ 2147483647 h 1333"/>
              <a:gd name="T22" fmla="*/ 2147483647 w 1401"/>
              <a:gd name="T23" fmla="*/ 2147483647 h 1333"/>
              <a:gd name="T24" fmla="*/ 2147483647 w 1401"/>
              <a:gd name="T25" fmla="*/ 2147483647 h 1333"/>
              <a:gd name="T26" fmla="*/ 2147483647 w 1401"/>
              <a:gd name="T27" fmla="*/ 2147483647 h 1333"/>
              <a:gd name="T28" fmla="*/ 2147483647 w 1401"/>
              <a:gd name="T29" fmla="*/ 2147483647 h 1333"/>
              <a:gd name="T30" fmla="*/ 2147483647 w 1401"/>
              <a:gd name="T31" fmla="*/ 2147483647 h 1333"/>
              <a:gd name="T32" fmla="*/ 2147483647 w 1401"/>
              <a:gd name="T33" fmla="*/ 2147483647 h 1333"/>
              <a:gd name="T34" fmla="*/ 2147483647 w 1401"/>
              <a:gd name="T35" fmla="*/ 2147483647 h 1333"/>
              <a:gd name="T36" fmla="*/ 2147483647 w 1401"/>
              <a:gd name="T37" fmla="*/ 2147483647 h 1333"/>
              <a:gd name="T38" fmla="*/ 2147483647 w 1401"/>
              <a:gd name="T39" fmla="*/ 2147483647 h 1333"/>
              <a:gd name="T40" fmla="*/ 2147483647 w 1401"/>
              <a:gd name="T41" fmla="*/ 2147483647 h 1333"/>
              <a:gd name="T42" fmla="*/ 2147483647 w 1401"/>
              <a:gd name="T43" fmla="*/ 2147483647 h 1333"/>
              <a:gd name="T44" fmla="*/ 2147483647 w 1401"/>
              <a:gd name="T45" fmla="*/ 2147483647 h 1333"/>
              <a:gd name="T46" fmla="*/ 2147483647 w 1401"/>
              <a:gd name="T47" fmla="*/ 2147483647 h 1333"/>
              <a:gd name="T48" fmla="*/ 2147483647 w 1401"/>
              <a:gd name="T49" fmla="*/ 2147483647 h 1333"/>
              <a:gd name="T50" fmla="*/ 2147483647 w 1401"/>
              <a:gd name="T51" fmla="*/ 2147483647 h 1333"/>
              <a:gd name="T52" fmla="*/ 2147483647 w 1401"/>
              <a:gd name="T53" fmla="*/ 2147483647 h 1333"/>
              <a:gd name="T54" fmla="*/ 2147483647 w 1401"/>
              <a:gd name="T55" fmla="*/ 2147483647 h 1333"/>
              <a:gd name="T56" fmla="*/ 2147483647 w 1401"/>
              <a:gd name="T57" fmla="*/ 2147483647 h 1333"/>
              <a:gd name="T58" fmla="*/ 2147483647 w 1401"/>
              <a:gd name="T59" fmla="*/ 2147483647 h 1333"/>
              <a:gd name="T60" fmla="*/ 2147483647 w 1401"/>
              <a:gd name="T61" fmla="*/ 2147483647 h 1333"/>
              <a:gd name="T62" fmla="*/ 2147483647 w 1401"/>
              <a:gd name="T63" fmla="*/ 2147483647 h 1333"/>
              <a:gd name="T64" fmla="*/ 2147483647 w 1401"/>
              <a:gd name="T65" fmla="*/ 2147483647 h 1333"/>
              <a:gd name="T66" fmla="*/ 2147483647 w 1401"/>
              <a:gd name="T67" fmla="*/ 2147483647 h 1333"/>
              <a:gd name="T68" fmla="*/ 2147483647 w 1401"/>
              <a:gd name="T69" fmla="*/ 2147483647 h 1333"/>
              <a:gd name="T70" fmla="*/ 2147483647 w 1401"/>
              <a:gd name="T71" fmla="*/ 2147483647 h 1333"/>
              <a:gd name="T72" fmla="*/ 2147483647 w 1401"/>
              <a:gd name="T73" fmla="*/ 2147483647 h 1333"/>
              <a:gd name="T74" fmla="*/ 2147483647 w 1401"/>
              <a:gd name="T75" fmla="*/ 2147483647 h 1333"/>
              <a:gd name="T76" fmla="*/ 2147483647 w 1401"/>
              <a:gd name="T77" fmla="*/ 2147483647 h 1333"/>
              <a:gd name="T78" fmla="*/ 2147483647 w 1401"/>
              <a:gd name="T79" fmla="*/ 2147483647 h 1333"/>
              <a:gd name="T80" fmla="*/ 2147483647 w 1401"/>
              <a:gd name="T81" fmla="*/ 2147483647 h 1333"/>
              <a:gd name="T82" fmla="*/ 2147483647 w 1401"/>
              <a:gd name="T83" fmla="*/ 2147483647 h 1333"/>
              <a:gd name="T84" fmla="*/ 2147483647 w 1401"/>
              <a:gd name="T85" fmla="*/ 2147483647 h 1333"/>
              <a:gd name="T86" fmla="*/ 2147483647 w 1401"/>
              <a:gd name="T87" fmla="*/ 2147483647 h 1333"/>
              <a:gd name="T88" fmla="*/ 2147483647 w 1401"/>
              <a:gd name="T89" fmla="*/ 2147483647 h 1333"/>
              <a:gd name="T90" fmla="*/ 2147483647 w 1401"/>
              <a:gd name="T91" fmla="*/ 0 h 1333"/>
              <a:gd name="T92" fmla="*/ 2147483647 w 1401"/>
              <a:gd name="T93" fmla="*/ 2147483647 h 1333"/>
              <a:gd name="T94" fmla="*/ 2147483647 w 1401"/>
              <a:gd name="T95" fmla="*/ 2147483647 h 1333"/>
              <a:gd name="T96" fmla="*/ 2147483647 w 1401"/>
              <a:gd name="T97" fmla="*/ 2147483647 h 1333"/>
              <a:gd name="T98" fmla="*/ 2147483647 w 1401"/>
              <a:gd name="T99" fmla="*/ 2147483647 h 1333"/>
              <a:gd name="T100" fmla="*/ 2147483647 w 1401"/>
              <a:gd name="T101" fmla="*/ 2147483647 h 1333"/>
              <a:gd name="T102" fmla="*/ 2147483647 w 1401"/>
              <a:gd name="T103" fmla="*/ 2147483647 h 133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01"/>
              <a:gd name="T157" fmla="*/ 0 h 1333"/>
              <a:gd name="T158" fmla="*/ 1401 w 1401"/>
              <a:gd name="T159" fmla="*/ 1333 h 133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01" h="1333">
                <a:moveTo>
                  <a:pt x="1151" y="264"/>
                </a:moveTo>
                <a:lnTo>
                  <a:pt x="1156" y="298"/>
                </a:lnTo>
                <a:lnTo>
                  <a:pt x="1160" y="324"/>
                </a:lnTo>
                <a:lnTo>
                  <a:pt x="1161" y="344"/>
                </a:lnTo>
                <a:lnTo>
                  <a:pt x="1158" y="366"/>
                </a:lnTo>
                <a:lnTo>
                  <a:pt x="1151" y="398"/>
                </a:lnTo>
                <a:lnTo>
                  <a:pt x="1144" y="429"/>
                </a:lnTo>
                <a:lnTo>
                  <a:pt x="1137" y="459"/>
                </a:lnTo>
                <a:lnTo>
                  <a:pt x="1129" y="487"/>
                </a:lnTo>
                <a:lnTo>
                  <a:pt x="1119" y="522"/>
                </a:lnTo>
                <a:lnTo>
                  <a:pt x="1111" y="549"/>
                </a:lnTo>
                <a:lnTo>
                  <a:pt x="1105" y="575"/>
                </a:lnTo>
                <a:lnTo>
                  <a:pt x="1098" y="609"/>
                </a:lnTo>
                <a:lnTo>
                  <a:pt x="1092" y="636"/>
                </a:lnTo>
                <a:lnTo>
                  <a:pt x="1091" y="664"/>
                </a:lnTo>
                <a:lnTo>
                  <a:pt x="1095" y="694"/>
                </a:lnTo>
                <a:lnTo>
                  <a:pt x="1101" y="720"/>
                </a:lnTo>
                <a:lnTo>
                  <a:pt x="1113" y="742"/>
                </a:lnTo>
                <a:lnTo>
                  <a:pt x="1126" y="755"/>
                </a:lnTo>
                <a:lnTo>
                  <a:pt x="1144" y="757"/>
                </a:lnTo>
                <a:lnTo>
                  <a:pt x="1165" y="755"/>
                </a:lnTo>
                <a:lnTo>
                  <a:pt x="1180" y="746"/>
                </a:lnTo>
                <a:lnTo>
                  <a:pt x="1197" y="734"/>
                </a:lnTo>
                <a:lnTo>
                  <a:pt x="1210" y="718"/>
                </a:lnTo>
                <a:lnTo>
                  <a:pt x="1221" y="696"/>
                </a:lnTo>
                <a:lnTo>
                  <a:pt x="1228" y="670"/>
                </a:lnTo>
                <a:lnTo>
                  <a:pt x="1230" y="642"/>
                </a:lnTo>
                <a:lnTo>
                  <a:pt x="1239" y="616"/>
                </a:lnTo>
                <a:lnTo>
                  <a:pt x="1250" y="594"/>
                </a:lnTo>
                <a:lnTo>
                  <a:pt x="1266" y="577"/>
                </a:lnTo>
                <a:lnTo>
                  <a:pt x="1282" y="566"/>
                </a:lnTo>
                <a:lnTo>
                  <a:pt x="1299" y="562"/>
                </a:lnTo>
                <a:lnTo>
                  <a:pt x="1313" y="561"/>
                </a:lnTo>
                <a:lnTo>
                  <a:pt x="1330" y="564"/>
                </a:lnTo>
                <a:lnTo>
                  <a:pt x="1347" y="573"/>
                </a:lnTo>
                <a:lnTo>
                  <a:pt x="1363" y="583"/>
                </a:lnTo>
                <a:lnTo>
                  <a:pt x="1374" y="601"/>
                </a:lnTo>
                <a:lnTo>
                  <a:pt x="1384" y="620"/>
                </a:lnTo>
                <a:lnTo>
                  <a:pt x="1394" y="636"/>
                </a:lnTo>
                <a:lnTo>
                  <a:pt x="1399" y="660"/>
                </a:lnTo>
                <a:lnTo>
                  <a:pt x="1400" y="683"/>
                </a:lnTo>
                <a:lnTo>
                  <a:pt x="1397" y="707"/>
                </a:lnTo>
                <a:lnTo>
                  <a:pt x="1392" y="727"/>
                </a:lnTo>
                <a:lnTo>
                  <a:pt x="1389" y="744"/>
                </a:lnTo>
                <a:lnTo>
                  <a:pt x="1383" y="766"/>
                </a:lnTo>
                <a:lnTo>
                  <a:pt x="1369" y="794"/>
                </a:lnTo>
                <a:lnTo>
                  <a:pt x="1357" y="816"/>
                </a:lnTo>
                <a:lnTo>
                  <a:pt x="1342" y="838"/>
                </a:lnTo>
                <a:lnTo>
                  <a:pt x="1326" y="858"/>
                </a:lnTo>
                <a:lnTo>
                  <a:pt x="1309" y="877"/>
                </a:lnTo>
                <a:lnTo>
                  <a:pt x="1294" y="886"/>
                </a:lnTo>
                <a:lnTo>
                  <a:pt x="1278" y="892"/>
                </a:lnTo>
                <a:lnTo>
                  <a:pt x="1257" y="897"/>
                </a:lnTo>
                <a:lnTo>
                  <a:pt x="1242" y="903"/>
                </a:lnTo>
                <a:lnTo>
                  <a:pt x="1224" y="912"/>
                </a:lnTo>
                <a:lnTo>
                  <a:pt x="1208" y="923"/>
                </a:lnTo>
                <a:lnTo>
                  <a:pt x="1193" y="936"/>
                </a:lnTo>
                <a:lnTo>
                  <a:pt x="1182" y="953"/>
                </a:lnTo>
                <a:lnTo>
                  <a:pt x="1170" y="968"/>
                </a:lnTo>
                <a:lnTo>
                  <a:pt x="1159" y="986"/>
                </a:lnTo>
                <a:lnTo>
                  <a:pt x="1148" y="1010"/>
                </a:lnTo>
                <a:lnTo>
                  <a:pt x="1139" y="1036"/>
                </a:lnTo>
                <a:lnTo>
                  <a:pt x="1133" y="1066"/>
                </a:lnTo>
                <a:lnTo>
                  <a:pt x="1129" y="1095"/>
                </a:lnTo>
                <a:lnTo>
                  <a:pt x="1129" y="1121"/>
                </a:lnTo>
                <a:lnTo>
                  <a:pt x="1133" y="1151"/>
                </a:lnTo>
                <a:lnTo>
                  <a:pt x="1137" y="1177"/>
                </a:lnTo>
                <a:lnTo>
                  <a:pt x="1139" y="1204"/>
                </a:lnTo>
                <a:lnTo>
                  <a:pt x="1130" y="1199"/>
                </a:lnTo>
                <a:lnTo>
                  <a:pt x="1117" y="1190"/>
                </a:lnTo>
                <a:lnTo>
                  <a:pt x="1103" y="1182"/>
                </a:lnTo>
                <a:lnTo>
                  <a:pt x="1089" y="1178"/>
                </a:lnTo>
                <a:lnTo>
                  <a:pt x="1073" y="1175"/>
                </a:lnTo>
                <a:lnTo>
                  <a:pt x="1054" y="1177"/>
                </a:lnTo>
                <a:lnTo>
                  <a:pt x="1033" y="1182"/>
                </a:lnTo>
                <a:lnTo>
                  <a:pt x="1015" y="1188"/>
                </a:lnTo>
                <a:lnTo>
                  <a:pt x="990" y="1197"/>
                </a:lnTo>
                <a:lnTo>
                  <a:pt x="964" y="1208"/>
                </a:lnTo>
                <a:lnTo>
                  <a:pt x="941" y="1219"/>
                </a:lnTo>
                <a:lnTo>
                  <a:pt x="918" y="1232"/>
                </a:lnTo>
                <a:lnTo>
                  <a:pt x="898" y="1245"/>
                </a:lnTo>
                <a:lnTo>
                  <a:pt x="877" y="1260"/>
                </a:lnTo>
                <a:lnTo>
                  <a:pt x="854" y="1273"/>
                </a:lnTo>
                <a:lnTo>
                  <a:pt x="831" y="1284"/>
                </a:lnTo>
                <a:lnTo>
                  <a:pt x="803" y="1299"/>
                </a:lnTo>
                <a:lnTo>
                  <a:pt x="775" y="1314"/>
                </a:lnTo>
                <a:lnTo>
                  <a:pt x="754" y="1323"/>
                </a:lnTo>
                <a:lnTo>
                  <a:pt x="727" y="1328"/>
                </a:lnTo>
                <a:lnTo>
                  <a:pt x="704" y="1332"/>
                </a:lnTo>
                <a:lnTo>
                  <a:pt x="675" y="1328"/>
                </a:lnTo>
                <a:lnTo>
                  <a:pt x="654" y="1323"/>
                </a:lnTo>
                <a:lnTo>
                  <a:pt x="635" y="1314"/>
                </a:lnTo>
                <a:lnTo>
                  <a:pt x="621" y="1301"/>
                </a:lnTo>
                <a:lnTo>
                  <a:pt x="611" y="1282"/>
                </a:lnTo>
                <a:lnTo>
                  <a:pt x="605" y="1256"/>
                </a:lnTo>
                <a:lnTo>
                  <a:pt x="605" y="1234"/>
                </a:lnTo>
                <a:lnTo>
                  <a:pt x="610" y="1214"/>
                </a:lnTo>
                <a:lnTo>
                  <a:pt x="617" y="1193"/>
                </a:lnTo>
                <a:lnTo>
                  <a:pt x="628" y="1173"/>
                </a:lnTo>
                <a:lnTo>
                  <a:pt x="643" y="1153"/>
                </a:lnTo>
                <a:lnTo>
                  <a:pt x="662" y="1132"/>
                </a:lnTo>
                <a:lnTo>
                  <a:pt x="681" y="1119"/>
                </a:lnTo>
                <a:lnTo>
                  <a:pt x="705" y="1108"/>
                </a:lnTo>
                <a:lnTo>
                  <a:pt x="723" y="1101"/>
                </a:lnTo>
                <a:lnTo>
                  <a:pt x="742" y="1092"/>
                </a:lnTo>
                <a:lnTo>
                  <a:pt x="763" y="1080"/>
                </a:lnTo>
                <a:lnTo>
                  <a:pt x="782" y="1066"/>
                </a:lnTo>
                <a:lnTo>
                  <a:pt x="798" y="1051"/>
                </a:lnTo>
                <a:lnTo>
                  <a:pt x="809" y="1036"/>
                </a:lnTo>
                <a:lnTo>
                  <a:pt x="813" y="1019"/>
                </a:lnTo>
                <a:lnTo>
                  <a:pt x="811" y="1001"/>
                </a:lnTo>
                <a:lnTo>
                  <a:pt x="802" y="982"/>
                </a:lnTo>
                <a:lnTo>
                  <a:pt x="788" y="968"/>
                </a:lnTo>
                <a:lnTo>
                  <a:pt x="777" y="958"/>
                </a:lnTo>
                <a:lnTo>
                  <a:pt x="765" y="953"/>
                </a:lnTo>
                <a:lnTo>
                  <a:pt x="745" y="949"/>
                </a:lnTo>
                <a:lnTo>
                  <a:pt x="722" y="949"/>
                </a:lnTo>
                <a:lnTo>
                  <a:pt x="699" y="951"/>
                </a:lnTo>
                <a:lnTo>
                  <a:pt x="676" y="955"/>
                </a:lnTo>
                <a:lnTo>
                  <a:pt x="656" y="960"/>
                </a:lnTo>
                <a:lnTo>
                  <a:pt x="637" y="968"/>
                </a:lnTo>
                <a:lnTo>
                  <a:pt x="617" y="977"/>
                </a:lnTo>
                <a:lnTo>
                  <a:pt x="594" y="990"/>
                </a:lnTo>
                <a:lnTo>
                  <a:pt x="573" y="1005"/>
                </a:lnTo>
                <a:lnTo>
                  <a:pt x="555" y="1018"/>
                </a:lnTo>
                <a:lnTo>
                  <a:pt x="530" y="1038"/>
                </a:lnTo>
                <a:lnTo>
                  <a:pt x="507" y="1060"/>
                </a:lnTo>
                <a:lnTo>
                  <a:pt x="485" y="1080"/>
                </a:lnTo>
                <a:lnTo>
                  <a:pt x="464" y="1101"/>
                </a:lnTo>
                <a:lnTo>
                  <a:pt x="439" y="1121"/>
                </a:lnTo>
                <a:lnTo>
                  <a:pt x="416" y="1138"/>
                </a:lnTo>
                <a:lnTo>
                  <a:pt x="390" y="1153"/>
                </a:lnTo>
                <a:lnTo>
                  <a:pt x="362" y="1166"/>
                </a:lnTo>
                <a:lnTo>
                  <a:pt x="334" y="1175"/>
                </a:lnTo>
                <a:lnTo>
                  <a:pt x="302" y="1182"/>
                </a:lnTo>
                <a:lnTo>
                  <a:pt x="277" y="1188"/>
                </a:lnTo>
                <a:lnTo>
                  <a:pt x="240" y="1193"/>
                </a:lnTo>
                <a:lnTo>
                  <a:pt x="213" y="1197"/>
                </a:lnTo>
                <a:lnTo>
                  <a:pt x="186" y="1195"/>
                </a:lnTo>
                <a:lnTo>
                  <a:pt x="168" y="1195"/>
                </a:lnTo>
                <a:lnTo>
                  <a:pt x="175" y="1175"/>
                </a:lnTo>
                <a:lnTo>
                  <a:pt x="186" y="1151"/>
                </a:lnTo>
                <a:lnTo>
                  <a:pt x="200" y="1129"/>
                </a:lnTo>
                <a:lnTo>
                  <a:pt x="215" y="1104"/>
                </a:lnTo>
                <a:lnTo>
                  <a:pt x="234" y="1075"/>
                </a:lnTo>
                <a:lnTo>
                  <a:pt x="248" y="1053"/>
                </a:lnTo>
                <a:lnTo>
                  <a:pt x="261" y="1030"/>
                </a:lnTo>
                <a:lnTo>
                  <a:pt x="272" y="1003"/>
                </a:lnTo>
                <a:lnTo>
                  <a:pt x="279" y="975"/>
                </a:lnTo>
                <a:lnTo>
                  <a:pt x="284" y="945"/>
                </a:lnTo>
                <a:lnTo>
                  <a:pt x="288" y="918"/>
                </a:lnTo>
                <a:lnTo>
                  <a:pt x="285" y="886"/>
                </a:lnTo>
                <a:lnTo>
                  <a:pt x="280" y="866"/>
                </a:lnTo>
                <a:lnTo>
                  <a:pt x="270" y="847"/>
                </a:lnTo>
                <a:lnTo>
                  <a:pt x="262" y="836"/>
                </a:lnTo>
                <a:lnTo>
                  <a:pt x="251" y="827"/>
                </a:lnTo>
                <a:lnTo>
                  <a:pt x="238" y="823"/>
                </a:lnTo>
                <a:lnTo>
                  <a:pt x="225" y="821"/>
                </a:lnTo>
                <a:lnTo>
                  <a:pt x="211" y="827"/>
                </a:lnTo>
                <a:lnTo>
                  <a:pt x="198" y="840"/>
                </a:lnTo>
                <a:lnTo>
                  <a:pt x="187" y="857"/>
                </a:lnTo>
                <a:lnTo>
                  <a:pt x="176" y="877"/>
                </a:lnTo>
                <a:lnTo>
                  <a:pt x="166" y="899"/>
                </a:lnTo>
                <a:lnTo>
                  <a:pt x="156" y="918"/>
                </a:lnTo>
                <a:lnTo>
                  <a:pt x="145" y="936"/>
                </a:lnTo>
                <a:lnTo>
                  <a:pt x="133" y="955"/>
                </a:lnTo>
                <a:lnTo>
                  <a:pt x="117" y="968"/>
                </a:lnTo>
                <a:lnTo>
                  <a:pt x="101" y="973"/>
                </a:lnTo>
                <a:lnTo>
                  <a:pt x="83" y="977"/>
                </a:lnTo>
                <a:lnTo>
                  <a:pt x="66" y="973"/>
                </a:lnTo>
                <a:lnTo>
                  <a:pt x="49" y="966"/>
                </a:lnTo>
                <a:lnTo>
                  <a:pt x="33" y="951"/>
                </a:lnTo>
                <a:lnTo>
                  <a:pt x="21" y="936"/>
                </a:lnTo>
                <a:lnTo>
                  <a:pt x="11" y="914"/>
                </a:lnTo>
                <a:lnTo>
                  <a:pt x="5" y="888"/>
                </a:lnTo>
                <a:lnTo>
                  <a:pt x="1" y="864"/>
                </a:lnTo>
                <a:lnTo>
                  <a:pt x="0" y="838"/>
                </a:lnTo>
                <a:lnTo>
                  <a:pt x="2" y="816"/>
                </a:lnTo>
                <a:lnTo>
                  <a:pt x="8" y="795"/>
                </a:lnTo>
                <a:lnTo>
                  <a:pt x="19" y="771"/>
                </a:lnTo>
                <a:lnTo>
                  <a:pt x="34" y="751"/>
                </a:lnTo>
                <a:lnTo>
                  <a:pt x="51" y="734"/>
                </a:lnTo>
                <a:lnTo>
                  <a:pt x="66" y="723"/>
                </a:lnTo>
                <a:lnTo>
                  <a:pt x="86" y="709"/>
                </a:lnTo>
                <a:lnTo>
                  <a:pt x="103" y="694"/>
                </a:lnTo>
                <a:lnTo>
                  <a:pt x="120" y="675"/>
                </a:lnTo>
                <a:lnTo>
                  <a:pt x="136" y="653"/>
                </a:lnTo>
                <a:lnTo>
                  <a:pt x="149" y="629"/>
                </a:lnTo>
                <a:lnTo>
                  <a:pt x="155" y="598"/>
                </a:lnTo>
                <a:lnTo>
                  <a:pt x="157" y="568"/>
                </a:lnTo>
                <a:lnTo>
                  <a:pt x="156" y="538"/>
                </a:lnTo>
                <a:lnTo>
                  <a:pt x="152" y="507"/>
                </a:lnTo>
                <a:lnTo>
                  <a:pt x="145" y="475"/>
                </a:lnTo>
                <a:lnTo>
                  <a:pt x="134" y="438"/>
                </a:lnTo>
                <a:lnTo>
                  <a:pt x="124" y="405"/>
                </a:lnTo>
                <a:lnTo>
                  <a:pt x="113" y="370"/>
                </a:lnTo>
                <a:lnTo>
                  <a:pt x="108" y="331"/>
                </a:lnTo>
                <a:lnTo>
                  <a:pt x="108" y="303"/>
                </a:lnTo>
                <a:lnTo>
                  <a:pt x="111" y="272"/>
                </a:lnTo>
                <a:lnTo>
                  <a:pt x="112" y="250"/>
                </a:lnTo>
                <a:lnTo>
                  <a:pt x="127" y="253"/>
                </a:lnTo>
                <a:lnTo>
                  <a:pt x="147" y="257"/>
                </a:lnTo>
                <a:lnTo>
                  <a:pt x="170" y="261"/>
                </a:lnTo>
                <a:lnTo>
                  <a:pt x="194" y="266"/>
                </a:lnTo>
                <a:lnTo>
                  <a:pt x="219" y="270"/>
                </a:lnTo>
                <a:lnTo>
                  <a:pt x="246" y="276"/>
                </a:lnTo>
                <a:lnTo>
                  <a:pt x="274" y="279"/>
                </a:lnTo>
                <a:lnTo>
                  <a:pt x="305" y="281"/>
                </a:lnTo>
                <a:lnTo>
                  <a:pt x="365" y="281"/>
                </a:lnTo>
                <a:lnTo>
                  <a:pt x="387" y="279"/>
                </a:lnTo>
                <a:lnTo>
                  <a:pt x="408" y="277"/>
                </a:lnTo>
                <a:lnTo>
                  <a:pt x="432" y="272"/>
                </a:lnTo>
                <a:lnTo>
                  <a:pt x="451" y="263"/>
                </a:lnTo>
                <a:lnTo>
                  <a:pt x="466" y="252"/>
                </a:lnTo>
                <a:lnTo>
                  <a:pt x="478" y="239"/>
                </a:lnTo>
                <a:lnTo>
                  <a:pt x="487" y="226"/>
                </a:lnTo>
                <a:lnTo>
                  <a:pt x="491" y="211"/>
                </a:lnTo>
                <a:lnTo>
                  <a:pt x="491" y="189"/>
                </a:lnTo>
                <a:lnTo>
                  <a:pt x="487" y="163"/>
                </a:lnTo>
                <a:lnTo>
                  <a:pt x="481" y="137"/>
                </a:lnTo>
                <a:lnTo>
                  <a:pt x="475" y="113"/>
                </a:lnTo>
                <a:lnTo>
                  <a:pt x="475" y="91"/>
                </a:lnTo>
                <a:lnTo>
                  <a:pt x="482" y="68"/>
                </a:lnTo>
                <a:lnTo>
                  <a:pt x="493" y="50"/>
                </a:lnTo>
                <a:lnTo>
                  <a:pt x="509" y="35"/>
                </a:lnTo>
                <a:lnTo>
                  <a:pt x="528" y="24"/>
                </a:lnTo>
                <a:lnTo>
                  <a:pt x="549" y="15"/>
                </a:lnTo>
                <a:lnTo>
                  <a:pt x="569" y="9"/>
                </a:lnTo>
                <a:lnTo>
                  <a:pt x="595" y="4"/>
                </a:lnTo>
                <a:lnTo>
                  <a:pt x="616" y="0"/>
                </a:lnTo>
                <a:lnTo>
                  <a:pt x="640" y="0"/>
                </a:lnTo>
                <a:lnTo>
                  <a:pt x="659" y="2"/>
                </a:lnTo>
                <a:lnTo>
                  <a:pt x="680" y="9"/>
                </a:lnTo>
                <a:lnTo>
                  <a:pt x="700" y="18"/>
                </a:lnTo>
                <a:lnTo>
                  <a:pt x="718" y="31"/>
                </a:lnTo>
                <a:lnTo>
                  <a:pt x="733" y="46"/>
                </a:lnTo>
                <a:lnTo>
                  <a:pt x="747" y="65"/>
                </a:lnTo>
                <a:lnTo>
                  <a:pt x="753" y="85"/>
                </a:lnTo>
                <a:lnTo>
                  <a:pt x="755" y="104"/>
                </a:lnTo>
                <a:lnTo>
                  <a:pt x="752" y="126"/>
                </a:lnTo>
                <a:lnTo>
                  <a:pt x="745" y="144"/>
                </a:lnTo>
                <a:lnTo>
                  <a:pt x="734" y="174"/>
                </a:lnTo>
                <a:lnTo>
                  <a:pt x="727" y="198"/>
                </a:lnTo>
                <a:lnTo>
                  <a:pt x="721" y="224"/>
                </a:lnTo>
                <a:lnTo>
                  <a:pt x="721" y="246"/>
                </a:lnTo>
                <a:lnTo>
                  <a:pt x="727" y="268"/>
                </a:lnTo>
                <a:lnTo>
                  <a:pt x="739" y="285"/>
                </a:lnTo>
                <a:lnTo>
                  <a:pt x="750" y="294"/>
                </a:lnTo>
                <a:lnTo>
                  <a:pt x="768" y="303"/>
                </a:lnTo>
                <a:lnTo>
                  <a:pt x="788" y="311"/>
                </a:lnTo>
                <a:lnTo>
                  <a:pt x="808" y="314"/>
                </a:lnTo>
                <a:lnTo>
                  <a:pt x="834" y="318"/>
                </a:lnTo>
                <a:lnTo>
                  <a:pt x="862" y="318"/>
                </a:lnTo>
                <a:lnTo>
                  <a:pt x="886" y="313"/>
                </a:lnTo>
                <a:lnTo>
                  <a:pt x="920" y="309"/>
                </a:lnTo>
                <a:lnTo>
                  <a:pt x="955" y="301"/>
                </a:lnTo>
                <a:lnTo>
                  <a:pt x="985" y="294"/>
                </a:lnTo>
                <a:lnTo>
                  <a:pt x="1015" y="287"/>
                </a:lnTo>
                <a:lnTo>
                  <a:pt x="1049" y="276"/>
                </a:lnTo>
                <a:lnTo>
                  <a:pt x="1090" y="263"/>
                </a:lnTo>
                <a:lnTo>
                  <a:pt x="1148" y="246"/>
                </a:lnTo>
                <a:lnTo>
                  <a:pt x="1151" y="264"/>
                </a:lnTo>
              </a:path>
            </a:pathLst>
          </a:custGeom>
          <a:solidFill>
            <a:schemeClr val="accent3"/>
          </a:solidFill>
          <a:ln w="6350">
            <a:noFill/>
            <a:round/>
            <a:headEnd/>
            <a:tailEnd/>
          </a:ln>
        </p:spPr>
        <p:txBody>
          <a:bodyPr tIns="91440" bIns="91440" anchor="ctr"/>
          <a:lstStyle/>
          <a:p>
            <a:pPr>
              <a:defRPr/>
            </a:pPr>
            <a:endParaRPr lang="en-GB"/>
          </a:p>
        </p:txBody>
      </p:sp>
      <p:sp>
        <p:nvSpPr>
          <p:cNvPr id="8" name="Freeform 7"/>
          <p:cNvSpPr>
            <a:spLocks/>
          </p:cNvSpPr>
          <p:nvPr/>
        </p:nvSpPr>
        <p:spPr bwMode="auto">
          <a:xfrm>
            <a:off x="3575050" y="2992438"/>
            <a:ext cx="1973263" cy="1338262"/>
          </a:xfrm>
          <a:custGeom>
            <a:avLst/>
            <a:gdLst>
              <a:gd name="T0" fmla="*/ 2147483647 w 1537"/>
              <a:gd name="T1" fmla="*/ 2147483647 h 984"/>
              <a:gd name="T2" fmla="*/ 2147483647 w 1537"/>
              <a:gd name="T3" fmla="*/ 2147483647 h 984"/>
              <a:gd name="T4" fmla="*/ 2147483647 w 1537"/>
              <a:gd name="T5" fmla="*/ 2147483647 h 984"/>
              <a:gd name="T6" fmla="*/ 2147483647 w 1537"/>
              <a:gd name="T7" fmla="*/ 2147483647 h 984"/>
              <a:gd name="T8" fmla="*/ 2147483647 w 1537"/>
              <a:gd name="T9" fmla="*/ 2147483647 h 984"/>
              <a:gd name="T10" fmla="*/ 2147483647 w 1537"/>
              <a:gd name="T11" fmla="*/ 2147483647 h 984"/>
              <a:gd name="T12" fmla="*/ 2147483647 w 1537"/>
              <a:gd name="T13" fmla="*/ 2147483647 h 984"/>
              <a:gd name="T14" fmla="*/ 2147483647 w 1537"/>
              <a:gd name="T15" fmla="*/ 2147483647 h 984"/>
              <a:gd name="T16" fmla="*/ 2147483647 w 1537"/>
              <a:gd name="T17" fmla="*/ 2147483647 h 984"/>
              <a:gd name="T18" fmla="*/ 2147483647 w 1537"/>
              <a:gd name="T19" fmla="*/ 2147483647 h 984"/>
              <a:gd name="T20" fmla="*/ 2147483647 w 1537"/>
              <a:gd name="T21" fmla="*/ 2147483647 h 984"/>
              <a:gd name="T22" fmla="*/ 2147483647 w 1537"/>
              <a:gd name="T23" fmla="*/ 2147483647 h 984"/>
              <a:gd name="T24" fmla="*/ 2147483647 w 1537"/>
              <a:gd name="T25" fmla="*/ 2147483647 h 984"/>
              <a:gd name="T26" fmla="*/ 2147483647 w 1537"/>
              <a:gd name="T27" fmla="*/ 2147483647 h 984"/>
              <a:gd name="T28" fmla="*/ 2147483647 w 1537"/>
              <a:gd name="T29" fmla="*/ 2147483647 h 984"/>
              <a:gd name="T30" fmla="*/ 2147483647 w 1537"/>
              <a:gd name="T31" fmla="*/ 2147483647 h 984"/>
              <a:gd name="T32" fmla="*/ 2147483647 w 1537"/>
              <a:gd name="T33" fmla="*/ 2147483647 h 984"/>
              <a:gd name="T34" fmla="*/ 2147483647 w 1537"/>
              <a:gd name="T35" fmla="*/ 2147483647 h 984"/>
              <a:gd name="T36" fmla="*/ 2147483647 w 1537"/>
              <a:gd name="T37" fmla="*/ 2147483647 h 984"/>
              <a:gd name="T38" fmla="*/ 2147483647 w 1537"/>
              <a:gd name="T39" fmla="*/ 0 h 984"/>
              <a:gd name="T40" fmla="*/ 2147483647 w 1537"/>
              <a:gd name="T41" fmla="*/ 2147483647 h 984"/>
              <a:gd name="T42" fmla="*/ 2147483647 w 1537"/>
              <a:gd name="T43" fmla="*/ 2147483647 h 984"/>
              <a:gd name="T44" fmla="*/ 2147483647 w 1537"/>
              <a:gd name="T45" fmla="*/ 2147483647 h 984"/>
              <a:gd name="T46" fmla="*/ 2147483647 w 1537"/>
              <a:gd name="T47" fmla="*/ 2147483647 h 984"/>
              <a:gd name="T48" fmla="*/ 2147483647 w 1537"/>
              <a:gd name="T49" fmla="*/ 2147483647 h 984"/>
              <a:gd name="T50" fmla="*/ 2147483647 w 1537"/>
              <a:gd name="T51" fmla="*/ 2147483647 h 984"/>
              <a:gd name="T52" fmla="*/ 2147483647 w 1537"/>
              <a:gd name="T53" fmla="*/ 2147483647 h 984"/>
              <a:gd name="T54" fmla="*/ 2147483647 w 1537"/>
              <a:gd name="T55" fmla="*/ 2147483647 h 984"/>
              <a:gd name="T56" fmla="*/ 2147483647 w 1537"/>
              <a:gd name="T57" fmla="*/ 2147483647 h 984"/>
              <a:gd name="T58" fmla="*/ 2147483647 w 1537"/>
              <a:gd name="T59" fmla="*/ 2147483647 h 984"/>
              <a:gd name="T60" fmla="*/ 2147483647 w 1537"/>
              <a:gd name="T61" fmla="*/ 2147483647 h 984"/>
              <a:gd name="T62" fmla="*/ 2147483647 w 1537"/>
              <a:gd name="T63" fmla="*/ 2147483647 h 984"/>
              <a:gd name="T64" fmla="*/ 2147483647 w 1537"/>
              <a:gd name="T65" fmla="*/ 2147483647 h 984"/>
              <a:gd name="T66" fmla="*/ 2147483647 w 1537"/>
              <a:gd name="T67" fmla="*/ 2147483647 h 984"/>
              <a:gd name="T68" fmla="*/ 2147483647 w 1537"/>
              <a:gd name="T69" fmla="*/ 2147483647 h 984"/>
              <a:gd name="T70" fmla="*/ 2147483647 w 1537"/>
              <a:gd name="T71" fmla="*/ 2147483647 h 984"/>
              <a:gd name="T72" fmla="*/ 2147483647 w 1537"/>
              <a:gd name="T73" fmla="*/ 2147483647 h 984"/>
              <a:gd name="T74" fmla="*/ 2147483647 w 1537"/>
              <a:gd name="T75" fmla="*/ 2147483647 h 984"/>
              <a:gd name="T76" fmla="*/ 2147483647 w 1537"/>
              <a:gd name="T77" fmla="*/ 2147483647 h 984"/>
              <a:gd name="T78" fmla="*/ 2147483647 w 1537"/>
              <a:gd name="T79" fmla="*/ 2147483647 h 984"/>
              <a:gd name="T80" fmla="*/ 2147483647 w 1537"/>
              <a:gd name="T81" fmla="*/ 2147483647 h 984"/>
              <a:gd name="T82" fmla="*/ 2147483647 w 1537"/>
              <a:gd name="T83" fmla="*/ 2147483647 h 984"/>
              <a:gd name="T84" fmla="*/ 2147483647 w 1537"/>
              <a:gd name="T85" fmla="*/ 2147483647 h 9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37"/>
              <a:gd name="T130" fmla="*/ 0 h 984"/>
              <a:gd name="T131" fmla="*/ 1537 w 1537"/>
              <a:gd name="T132" fmla="*/ 984 h 9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37" h="984">
                <a:moveTo>
                  <a:pt x="233" y="91"/>
                </a:moveTo>
                <a:lnTo>
                  <a:pt x="248" y="85"/>
                </a:lnTo>
                <a:lnTo>
                  <a:pt x="268" y="80"/>
                </a:lnTo>
                <a:lnTo>
                  <a:pt x="285" y="82"/>
                </a:lnTo>
                <a:lnTo>
                  <a:pt x="301" y="87"/>
                </a:lnTo>
                <a:lnTo>
                  <a:pt x="317" y="93"/>
                </a:lnTo>
                <a:lnTo>
                  <a:pt x="334" y="98"/>
                </a:lnTo>
                <a:lnTo>
                  <a:pt x="354" y="104"/>
                </a:lnTo>
                <a:lnTo>
                  <a:pt x="369" y="107"/>
                </a:lnTo>
                <a:lnTo>
                  <a:pt x="388" y="109"/>
                </a:lnTo>
                <a:lnTo>
                  <a:pt x="407" y="107"/>
                </a:lnTo>
                <a:lnTo>
                  <a:pt x="423" y="102"/>
                </a:lnTo>
                <a:lnTo>
                  <a:pt x="441" y="94"/>
                </a:lnTo>
                <a:lnTo>
                  <a:pt x="458" y="85"/>
                </a:lnTo>
                <a:lnTo>
                  <a:pt x="474" y="74"/>
                </a:lnTo>
                <a:lnTo>
                  <a:pt x="492" y="63"/>
                </a:lnTo>
                <a:lnTo>
                  <a:pt x="508" y="52"/>
                </a:lnTo>
                <a:lnTo>
                  <a:pt x="527" y="43"/>
                </a:lnTo>
                <a:lnTo>
                  <a:pt x="543" y="37"/>
                </a:lnTo>
                <a:lnTo>
                  <a:pt x="562" y="35"/>
                </a:lnTo>
                <a:lnTo>
                  <a:pt x="579" y="39"/>
                </a:lnTo>
                <a:lnTo>
                  <a:pt x="595" y="46"/>
                </a:lnTo>
                <a:lnTo>
                  <a:pt x="611" y="61"/>
                </a:lnTo>
                <a:lnTo>
                  <a:pt x="621" y="74"/>
                </a:lnTo>
                <a:lnTo>
                  <a:pt x="626" y="98"/>
                </a:lnTo>
                <a:lnTo>
                  <a:pt x="623" y="124"/>
                </a:lnTo>
                <a:lnTo>
                  <a:pt x="618" y="154"/>
                </a:lnTo>
                <a:lnTo>
                  <a:pt x="611" y="185"/>
                </a:lnTo>
                <a:lnTo>
                  <a:pt x="605" y="211"/>
                </a:lnTo>
                <a:lnTo>
                  <a:pt x="606" y="237"/>
                </a:lnTo>
                <a:lnTo>
                  <a:pt x="613" y="263"/>
                </a:lnTo>
                <a:lnTo>
                  <a:pt x="626" y="283"/>
                </a:lnTo>
                <a:lnTo>
                  <a:pt x="638" y="296"/>
                </a:lnTo>
                <a:lnTo>
                  <a:pt x="655" y="304"/>
                </a:lnTo>
                <a:lnTo>
                  <a:pt x="675" y="311"/>
                </a:lnTo>
                <a:lnTo>
                  <a:pt x="701" y="317"/>
                </a:lnTo>
                <a:lnTo>
                  <a:pt x="723" y="320"/>
                </a:lnTo>
                <a:lnTo>
                  <a:pt x="750" y="322"/>
                </a:lnTo>
                <a:lnTo>
                  <a:pt x="775" y="318"/>
                </a:lnTo>
                <a:lnTo>
                  <a:pt x="797" y="313"/>
                </a:lnTo>
                <a:lnTo>
                  <a:pt x="820" y="304"/>
                </a:lnTo>
                <a:lnTo>
                  <a:pt x="841" y="292"/>
                </a:lnTo>
                <a:lnTo>
                  <a:pt x="857" y="280"/>
                </a:lnTo>
                <a:lnTo>
                  <a:pt x="873" y="265"/>
                </a:lnTo>
                <a:lnTo>
                  <a:pt x="885" y="248"/>
                </a:lnTo>
                <a:lnTo>
                  <a:pt x="896" y="228"/>
                </a:lnTo>
                <a:lnTo>
                  <a:pt x="903" y="202"/>
                </a:lnTo>
                <a:lnTo>
                  <a:pt x="904" y="161"/>
                </a:lnTo>
                <a:lnTo>
                  <a:pt x="904" y="130"/>
                </a:lnTo>
                <a:lnTo>
                  <a:pt x="907" y="102"/>
                </a:lnTo>
                <a:lnTo>
                  <a:pt x="915" y="82"/>
                </a:lnTo>
                <a:lnTo>
                  <a:pt x="926" y="63"/>
                </a:lnTo>
                <a:lnTo>
                  <a:pt x="938" y="46"/>
                </a:lnTo>
                <a:lnTo>
                  <a:pt x="954" y="32"/>
                </a:lnTo>
                <a:lnTo>
                  <a:pt x="970" y="20"/>
                </a:lnTo>
                <a:lnTo>
                  <a:pt x="992" y="11"/>
                </a:lnTo>
                <a:lnTo>
                  <a:pt x="1013" y="8"/>
                </a:lnTo>
                <a:lnTo>
                  <a:pt x="1035" y="4"/>
                </a:lnTo>
                <a:lnTo>
                  <a:pt x="1059" y="2"/>
                </a:lnTo>
                <a:lnTo>
                  <a:pt x="1083" y="0"/>
                </a:lnTo>
                <a:lnTo>
                  <a:pt x="1110" y="2"/>
                </a:lnTo>
                <a:lnTo>
                  <a:pt x="1131" y="4"/>
                </a:lnTo>
                <a:lnTo>
                  <a:pt x="1150" y="8"/>
                </a:lnTo>
                <a:lnTo>
                  <a:pt x="1170" y="11"/>
                </a:lnTo>
                <a:lnTo>
                  <a:pt x="1188" y="15"/>
                </a:lnTo>
                <a:lnTo>
                  <a:pt x="1208" y="17"/>
                </a:lnTo>
                <a:lnTo>
                  <a:pt x="1359" y="22"/>
                </a:lnTo>
                <a:lnTo>
                  <a:pt x="1536" y="983"/>
                </a:lnTo>
                <a:lnTo>
                  <a:pt x="211" y="981"/>
                </a:lnTo>
                <a:lnTo>
                  <a:pt x="212" y="955"/>
                </a:lnTo>
                <a:lnTo>
                  <a:pt x="216" y="933"/>
                </a:lnTo>
                <a:lnTo>
                  <a:pt x="221" y="910"/>
                </a:lnTo>
                <a:lnTo>
                  <a:pt x="226" y="894"/>
                </a:lnTo>
                <a:lnTo>
                  <a:pt x="233" y="875"/>
                </a:lnTo>
                <a:lnTo>
                  <a:pt x="243" y="855"/>
                </a:lnTo>
                <a:lnTo>
                  <a:pt x="254" y="836"/>
                </a:lnTo>
                <a:lnTo>
                  <a:pt x="264" y="822"/>
                </a:lnTo>
                <a:lnTo>
                  <a:pt x="276" y="803"/>
                </a:lnTo>
                <a:lnTo>
                  <a:pt x="286" y="788"/>
                </a:lnTo>
                <a:lnTo>
                  <a:pt x="294" y="770"/>
                </a:lnTo>
                <a:lnTo>
                  <a:pt x="300" y="751"/>
                </a:lnTo>
                <a:lnTo>
                  <a:pt x="303" y="724"/>
                </a:lnTo>
                <a:lnTo>
                  <a:pt x="302" y="698"/>
                </a:lnTo>
                <a:lnTo>
                  <a:pt x="298" y="681"/>
                </a:lnTo>
                <a:lnTo>
                  <a:pt x="292" y="664"/>
                </a:lnTo>
                <a:lnTo>
                  <a:pt x="284" y="650"/>
                </a:lnTo>
                <a:lnTo>
                  <a:pt x="273" y="637"/>
                </a:lnTo>
                <a:lnTo>
                  <a:pt x="260" y="629"/>
                </a:lnTo>
                <a:lnTo>
                  <a:pt x="244" y="624"/>
                </a:lnTo>
                <a:lnTo>
                  <a:pt x="227" y="622"/>
                </a:lnTo>
                <a:lnTo>
                  <a:pt x="209" y="624"/>
                </a:lnTo>
                <a:lnTo>
                  <a:pt x="191" y="627"/>
                </a:lnTo>
                <a:lnTo>
                  <a:pt x="174" y="633"/>
                </a:lnTo>
                <a:lnTo>
                  <a:pt x="152" y="642"/>
                </a:lnTo>
                <a:lnTo>
                  <a:pt x="134" y="650"/>
                </a:lnTo>
                <a:lnTo>
                  <a:pt x="114" y="655"/>
                </a:lnTo>
                <a:lnTo>
                  <a:pt x="91" y="659"/>
                </a:lnTo>
                <a:lnTo>
                  <a:pt x="72" y="659"/>
                </a:lnTo>
                <a:lnTo>
                  <a:pt x="55" y="653"/>
                </a:lnTo>
                <a:lnTo>
                  <a:pt x="38" y="646"/>
                </a:lnTo>
                <a:lnTo>
                  <a:pt x="24" y="635"/>
                </a:lnTo>
                <a:lnTo>
                  <a:pt x="12" y="620"/>
                </a:lnTo>
                <a:lnTo>
                  <a:pt x="3" y="598"/>
                </a:lnTo>
                <a:lnTo>
                  <a:pt x="0" y="574"/>
                </a:lnTo>
                <a:lnTo>
                  <a:pt x="2" y="550"/>
                </a:lnTo>
                <a:lnTo>
                  <a:pt x="8" y="526"/>
                </a:lnTo>
                <a:lnTo>
                  <a:pt x="14" y="507"/>
                </a:lnTo>
                <a:lnTo>
                  <a:pt x="25" y="489"/>
                </a:lnTo>
                <a:lnTo>
                  <a:pt x="38" y="472"/>
                </a:lnTo>
                <a:lnTo>
                  <a:pt x="50" y="461"/>
                </a:lnTo>
                <a:lnTo>
                  <a:pt x="66" y="448"/>
                </a:lnTo>
                <a:lnTo>
                  <a:pt x="81" y="440"/>
                </a:lnTo>
                <a:lnTo>
                  <a:pt x="97" y="435"/>
                </a:lnTo>
                <a:lnTo>
                  <a:pt x="114" y="429"/>
                </a:lnTo>
                <a:lnTo>
                  <a:pt x="135" y="424"/>
                </a:lnTo>
                <a:lnTo>
                  <a:pt x="157" y="420"/>
                </a:lnTo>
                <a:lnTo>
                  <a:pt x="175" y="415"/>
                </a:lnTo>
                <a:lnTo>
                  <a:pt x="194" y="403"/>
                </a:lnTo>
                <a:lnTo>
                  <a:pt x="206" y="391"/>
                </a:lnTo>
                <a:lnTo>
                  <a:pt x="217" y="374"/>
                </a:lnTo>
                <a:lnTo>
                  <a:pt x="226" y="355"/>
                </a:lnTo>
                <a:lnTo>
                  <a:pt x="231" y="337"/>
                </a:lnTo>
                <a:lnTo>
                  <a:pt x="235" y="313"/>
                </a:lnTo>
                <a:lnTo>
                  <a:pt x="236" y="281"/>
                </a:lnTo>
                <a:lnTo>
                  <a:pt x="235" y="254"/>
                </a:lnTo>
                <a:lnTo>
                  <a:pt x="233" y="224"/>
                </a:lnTo>
                <a:lnTo>
                  <a:pt x="232" y="193"/>
                </a:lnTo>
                <a:lnTo>
                  <a:pt x="231" y="156"/>
                </a:lnTo>
                <a:lnTo>
                  <a:pt x="230" y="124"/>
                </a:lnTo>
                <a:lnTo>
                  <a:pt x="231" y="104"/>
                </a:lnTo>
                <a:lnTo>
                  <a:pt x="233" y="91"/>
                </a:lnTo>
              </a:path>
            </a:pathLst>
          </a:custGeom>
          <a:solidFill>
            <a:schemeClr val="accent3"/>
          </a:solidFill>
          <a:ln w="6350">
            <a:noFill/>
            <a:round/>
            <a:headEnd/>
            <a:tailEnd/>
          </a:ln>
        </p:spPr>
        <p:txBody>
          <a:bodyPr tIns="91440" bIns="91440" anchor="ctr"/>
          <a:lstStyle/>
          <a:p>
            <a:pPr>
              <a:defRPr/>
            </a:pPr>
            <a:endParaRPr lang="en-GB"/>
          </a:p>
        </p:txBody>
      </p:sp>
      <p:sp>
        <p:nvSpPr>
          <p:cNvPr id="9" name="Freeform 8"/>
          <p:cNvSpPr>
            <a:spLocks/>
          </p:cNvSpPr>
          <p:nvPr/>
        </p:nvSpPr>
        <p:spPr bwMode="auto">
          <a:xfrm>
            <a:off x="3706813" y="4614863"/>
            <a:ext cx="1709737" cy="1587500"/>
          </a:xfrm>
          <a:custGeom>
            <a:avLst/>
            <a:gdLst>
              <a:gd name="T0" fmla="*/ 2147483647 w 1286"/>
              <a:gd name="T1" fmla="*/ 2147483647 h 1133"/>
              <a:gd name="T2" fmla="*/ 2147483647 w 1286"/>
              <a:gd name="T3" fmla="*/ 2147483647 h 1133"/>
              <a:gd name="T4" fmla="*/ 2147483647 w 1286"/>
              <a:gd name="T5" fmla="*/ 2147483647 h 1133"/>
              <a:gd name="T6" fmla="*/ 2147483647 w 1286"/>
              <a:gd name="T7" fmla="*/ 2147483647 h 1133"/>
              <a:gd name="T8" fmla="*/ 2147483647 w 1286"/>
              <a:gd name="T9" fmla="*/ 2147483647 h 1133"/>
              <a:gd name="T10" fmla="*/ 2147483647 w 1286"/>
              <a:gd name="T11" fmla="*/ 2147483647 h 1133"/>
              <a:gd name="T12" fmla="*/ 2147483647 w 1286"/>
              <a:gd name="T13" fmla="*/ 2147483647 h 1133"/>
              <a:gd name="T14" fmla="*/ 2147483647 w 1286"/>
              <a:gd name="T15" fmla="*/ 2147483647 h 1133"/>
              <a:gd name="T16" fmla="*/ 2147483647 w 1286"/>
              <a:gd name="T17" fmla="*/ 2147483647 h 1133"/>
              <a:gd name="T18" fmla="*/ 2147483647 w 1286"/>
              <a:gd name="T19" fmla="*/ 2147483647 h 1133"/>
              <a:gd name="T20" fmla="*/ 2147483647 w 1286"/>
              <a:gd name="T21" fmla="*/ 2147483647 h 1133"/>
              <a:gd name="T22" fmla="*/ 2147483647 w 1286"/>
              <a:gd name="T23" fmla="*/ 2147483647 h 1133"/>
              <a:gd name="T24" fmla="*/ 2147483647 w 1286"/>
              <a:gd name="T25" fmla="*/ 2147483647 h 1133"/>
              <a:gd name="T26" fmla="*/ 2147483647 w 1286"/>
              <a:gd name="T27" fmla="*/ 2147483647 h 1133"/>
              <a:gd name="T28" fmla="*/ 2147483647 w 1286"/>
              <a:gd name="T29" fmla="*/ 2147483647 h 1133"/>
              <a:gd name="T30" fmla="*/ 2147483647 w 1286"/>
              <a:gd name="T31" fmla="*/ 2147483647 h 1133"/>
              <a:gd name="T32" fmla="*/ 2147483647 w 1286"/>
              <a:gd name="T33" fmla="*/ 2147483647 h 1133"/>
              <a:gd name="T34" fmla="*/ 2147483647 w 1286"/>
              <a:gd name="T35" fmla="*/ 2147483647 h 1133"/>
              <a:gd name="T36" fmla="*/ 2147483647 w 1286"/>
              <a:gd name="T37" fmla="*/ 2147483647 h 1133"/>
              <a:gd name="T38" fmla="*/ 2147483647 w 1286"/>
              <a:gd name="T39" fmla="*/ 2147483647 h 1133"/>
              <a:gd name="T40" fmla="*/ 2147483647 w 1286"/>
              <a:gd name="T41" fmla="*/ 2147483647 h 1133"/>
              <a:gd name="T42" fmla="*/ 2147483647 w 1286"/>
              <a:gd name="T43" fmla="*/ 2147483647 h 1133"/>
              <a:gd name="T44" fmla="*/ 2147483647 w 1286"/>
              <a:gd name="T45" fmla="*/ 2147483647 h 1133"/>
              <a:gd name="T46" fmla="*/ 2147483647 w 1286"/>
              <a:gd name="T47" fmla="*/ 2147483647 h 1133"/>
              <a:gd name="T48" fmla="*/ 2147483647 w 1286"/>
              <a:gd name="T49" fmla="*/ 2147483647 h 1133"/>
              <a:gd name="T50" fmla="*/ 2147483647 w 1286"/>
              <a:gd name="T51" fmla="*/ 2147483647 h 1133"/>
              <a:gd name="T52" fmla="*/ 2147483647 w 1286"/>
              <a:gd name="T53" fmla="*/ 2147483647 h 1133"/>
              <a:gd name="T54" fmla="*/ 2147483647 w 1286"/>
              <a:gd name="T55" fmla="*/ 2147483647 h 1133"/>
              <a:gd name="T56" fmla="*/ 2147483647 w 1286"/>
              <a:gd name="T57" fmla="*/ 2147483647 h 1133"/>
              <a:gd name="T58" fmla="*/ 2147483647 w 1286"/>
              <a:gd name="T59" fmla="*/ 2147483647 h 1133"/>
              <a:gd name="T60" fmla="*/ 2147483647 w 1286"/>
              <a:gd name="T61" fmla="*/ 2147483647 h 1133"/>
              <a:gd name="T62" fmla="*/ 2147483647 w 1286"/>
              <a:gd name="T63" fmla="*/ 2147483647 h 1133"/>
              <a:gd name="T64" fmla="*/ 2147483647 w 1286"/>
              <a:gd name="T65" fmla="*/ 2147483647 h 1133"/>
              <a:gd name="T66" fmla="*/ 2147483647 w 1286"/>
              <a:gd name="T67" fmla="*/ 2147483647 h 1133"/>
              <a:gd name="T68" fmla="*/ 2147483647 w 1286"/>
              <a:gd name="T69" fmla="*/ 2147483647 h 1133"/>
              <a:gd name="T70" fmla="*/ 2147483647 w 1286"/>
              <a:gd name="T71" fmla="*/ 2147483647 h 1133"/>
              <a:gd name="T72" fmla="*/ 2147483647 w 1286"/>
              <a:gd name="T73" fmla="*/ 2147483647 h 1133"/>
              <a:gd name="T74" fmla="*/ 2147483647 w 1286"/>
              <a:gd name="T75" fmla="*/ 2147483647 h 1133"/>
              <a:gd name="T76" fmla="*/ 2147483647 w 1286"/>
              <a:gd name="T77" fmla="*/ 2147483647 h 1133"/>
              <a:gd name="T78" fmla="*/ 2147483647 w 1286"/>
              <a:gd name="T79" fmla="*/ 2147483647 h 1133"/>
              <a:gd name="T80" fmla="*/ 2147483647 w 1286"/>
              <a:gd name="T81" fmla="*/ 2147483647 h 1133"/>
              <a:gd name="T82" fmla="*/ 2147483647 w 1286"/>
              <a:gd name="T83" fmla="*/ 2147483647 h 1133"/>
              <a:gd name="T84" fmla="*/ 2147483647 w 1286"/>
              <a:gd name="T85" fmla="*/ 2147483647 h 1133"/>
              <a:gd name="T86" fmla="*/ 2147483647 w 1286"/>
              <a:gd name="T87" fmla="*/ 2147483647 h 1133"/>
              <a:gd name="T88" fmla="*/ 2147483647 w 1286"/>
              <a:gd name="T89" fmla="*/ 2147483647 h 1133"/>
              <a:gd name="T90" fmla="*/ 2147483647 w 1286"/>
              <a:gd name="T91" fmla="*/ 2147483647 h 1133"/>
              <a:gd name="T92" fmla="*/ 2147483647 w 1286"/>
              <a:gd name="T93" fmla="*/ 2147483647 h 1133"/>
              <a:gd name="T94" fmla="*/ 2147483647 w 1286"/>
              <a:gd name="T95" fmla="*/ 2147483647 h 11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86"/>
              <a:gd name="T145" fmla="*/ 0 h 1133"/>
              <a:gd name="T146" fmla="*/ 1286 w 1286"/>
              <a:gd name="T147" fmla="*/ 1133 h 113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86" h="1133">
                <a:moveTo>
                  <a:pt x="1194" y="240"/>
                </a:moveTo>
                <a:lnTo>
                  <a:pt x="1183" y="233"/>
                </a:lnTo>
                <a:lnTo>
                  <a:pt x="1163" y="225"/>
                </a:lnTo>
                <a:lnTo>
                  <a:pt x="1143" y="222"/>
                </a:lnTo>
                <a:lnTo>
                  <a:pt x="1123" y="225"/>
                </a:lnTo>
                <a:lnTo>
                  <a:pt x="1096" y="231"/>
                </a:lnTo>
                <a:lnTo>
                  <a:pt x="1077" y="235"/>
                </a:lnTo>
                <a:lnTo>
                  <a:pt x="1052" y="243"/>
                </a:lnTo>
                <a:lnTo>
                  <a:pt x="1029" y="252"/>
                </a:lnTo>
                <a:lnTo>
                  <a:pt x="1000" y="265"/>
                </a:lnTo>
                <a:lnTo>
                  <a:pt x="974" y="278"/>
                </a:lnTo>
                <a:lnTo>
                  <a:pt x="949" y="295"/>
                </a:lnTo>
                <a:lnTo>
                  <a:pt x="925" y="309"/>
                </a:lnTo>
                <a:lnTo>
                  <a:pt x="894" y="325"/>
                </a:lnTo>
                <a:lnTo>
                  <a:pt x="865" y="338"/>
                </a:lnTo>
                <a:lnTo>
                  <a:pt x="833" y="352"/>
                </a:lnTo>
                <a:lnTo>
                  <a:pt x="801" y="365"/>
                </a:lnTo>
                <a:lnTo>
                  <a:pt x="780" y="372"/>
                </a:lnTo>
                <a:lnTo>
                  <a:pt x="757" y="376"/>
                </a:lnTo>
                <a:lnTo>
                  <a:pt x="733" y="376"/>
                </a:lnTo>
                <a:lnTo>
                  <a:pt x="707" y="371"/>
                </a:lnTo>
                <a:lnTo>
                  <a:pt x="690" y="365"/>
                </a:lnTo>
                <a:lnTo>
                  <a:pt x="676" y="356"/>
                </a:lnTo>
                <a:lnTo>
                  <a:pt x="662" y="346"/>
                </a:lnTo>
                <a:lnTo>
                  <a:pt x="654" y="334"/>
                </a:lnTo>
                <a:lnTo>
                  <a:pt x="648" y="320"/>
                </a:lnTo>
                <a:lnTo>
                  <a:pt x="643" y="303"/>
                </a:lnTo>
                <a:lnTo>
                  <a:pt x="643" y="287"/>
                </a:lnTo>
                <a:lnTo>
                  <a:pt x="647" y="267"/>
                </a:lnTo>
                <a:lnTo>
                  <a:pt x="654" y="247"/>
                </a:lnTo>
                <a:lnTo>
                  <a:pt x="662" y="231"/>
                </a:lnTo>
                <a:lnTo>
                  <a:pt x="674" y="211"/>
                </a:lnTo>
                <a:lnTo>
                  <a:pt x="685" y="200"/>
                </a:lnTo>
                <a:lnTo>
                  <a:pt x="701" y="184"/>
                </a:lnTo>
                <a:lnTo>
                  <a:pt x="724" y="167"/>
                </a:lnTo>
                <a:lnTo>
                  <a:pt x="746" y="156"/>
                </a:lnTo>
                <a:lnTo>
                  <a:pt x="768" y="149"/>
                </a:lnTo>
                <a:lnTo>
                  <a:pt x="787" y="140"/>
                </a:lnTo>
                <a:lnTo>
                  <a:pt x="809" y="129"/>
                </a:lnTo>
                <a:lnTo>
                  <a:pt x="828" y="116"/>
                </a:lnTo>
                <a:lnTo>
                  <a:pt x="845" y="102"/>
                </a:lnTo>
                <a:lnTo>
                  <a:pt x="858" y="87"/>
                </a:lnTo>
                <a:lnTo>
                  <a:pt x="863" y="69"/>
                </a:lnTo>
                <a:lnTo>
                  <a:pt x="860" y="49"/>
                </a:lnTo>
                <a:lnTo>
                  <a:pt x="852" y="31"/>
                </a:lnTo>
                <a:lnTo>
                  <a:pt x="842" y="19"/>
                </a:lnTo>
                <a:lnTo>
                  <a:pt x="829" y="9"/>
                </a:lnTo>
                <a:lnTo>
                  <a:pt x="814" y="2"/>
                </a:lnTo>
                <a:lnTo>
                  <a:pt x="792" y="0"/>
                </a:lnTo>
                <a:lnTo>
                  <a:pt x="772" y="0"/>
                </a:lnTo>
                <a:lnTo>
                  <a:pt x="742" y="2"/>
                </a:lnTo>
                <a:lnTo>
                  <a:pt x="712" y="6"/>
                </a:lnTo>
                <a:lnTo>
                  <a:pt x="693" y="13"/>
                </a:lnTo>
                <a:lnTo>
                  <a:pt x="664" y="24"/>
                </a:lnTo>
                <a:lnTo>
                  <a:pt x="633" y="38"/>
                </a:lnTo>
                <a:lnTo>
                  <a:pt x="613" y="53"/>
                </a:lnTo>
                <a:lnTo>
                  <a:pt x="588" y="71"/>
                </a:lnTo>
                <a:lnTo>
                  <a:pt x="565" y="87"/>
                </a:lnTo>
                <a:lnTo>
                  <a:pt x="540" y="109"/>
                </a:lnTo>
                <a:lnTo>
                  <a:pt x="503" y="140"/>
                </a:lnTo>
                <a:lnTo>
                  <a:pt x="479" y="162"/>
                </a:lnTo>
                <a:lnTo>
                  <a:pt x="457" y="180"/>
                </a:lnTo>
                <a:lnTo>
                  <a:pt x="425" y="196"/>
                </a:lnTo>
                <a:lnTo>
                  <a:pt x="395" y="209"/>
                </a:lnTo>
                <a:lnTo>
                  <a:pt x="365" y="220"/>
                </a:lnTo>
                <a:lnTo>
                  <a:pt x="334" y="227"/>
                </a:lnTo>
                <a:lnTo>
                  <a:pt x="303" y="235"/>
                </a:lnTo>
                <a:lnTo>
                  <a:pt x="278" y="238"/>
                </a:lnTo>
                <a:lnTo>
                  <a:pt x="251" y="242"/>
                </a:lnTo>
                <a:lnTo>
                  <a:pt x="225" y="242"/>
                </a:lnTo>
                <a:lnTo>
                  <a:pt x="198" y="243"/>
                </a:lnTo>
                <a:lnTo>
                  <a:pt x="178" y="242"/>
                </a:lnTo>
                <a:lnTo>
                  <a:pt x="180" y="271"/>
                </a:lnTo>
                <a:lnTo>
                  <a:pt x="186" y="309"/>
                </a:lnTo>
                <a:lnTo>
                  <a:pt x="195" y="347"/>
                </a:lnTo>
                <a:lnTo>
                  <a:pt x="207" y="393"/>
                </a:lnTo>
                <a:lnTo>
                  <a:pt x="215" y="429"/>
                </a:lnTo>
                <a:lnTo>
                  <a:pt x="227" y="459"/>
                </a:lnTo>
                <a:lnTo>
                  <a:pt x="234" y="489"/>
                </a:lnTo>
                <a:lnTo>
                  <a:pt x="235" y="517"/>
                </a:lnTo>
                <a:lnTo>
                  <a:pt x="234" y="543"/>
                </a:lnTo>
                <a:lnTo>
                  <a:pt x="227" y="564"/>
                </a:lnTo>
                <a:lnTo>
                  <a:pt x="219" y="579"/>
                </a:lnTo>
                <a:lnTo>
                  <a:pt x="212" y="596"/>
                </a:lnTo>
                <a:lnTo>
                  <a:pt x="200" y="607"/>
                </a:lnTo>
                <a:lnTo>
                  <a:pt x="190" y="613"/>
                </a:lnTo>
                <a:lnTo>
                  <a:pt x="179" y="616"/>
                </a:lnTo>
                <a:lnTo>
                  <a:pt x="163" y="614"/>
                </a:lnTo>
                <a:lnTo>
                  <a:pt x="151" y="609"/>
                </a:lnTo>
                <a:lnTo>
                  <a:pt x="138" y="603"/>
                </a:lnTo>
                <a:lnTo>
                  <a:pt x="127" y="594"/>
                </a:lnTo>
                <a:lnTo>
                  <a:pt x="111" y="583"/>
                </a:lnTo>
                <a:lnTo>
                  <a:pt x="100" y="574"/>
                </a:lnTo>
                <a:lnTo>
                  <a:pt x="88" y="566"/>
                </a:lnTo>
                <a:lnTo>
                  <a:pt x="74" y="560"/>
                </a:lnTo>
                <a:lnTo>
                  <a:pt x="50" y="560"/>
                </a:lnTo>
                <a:lnTo>
                  <a:pt x="37" y="566"/>
                </a:lnTo>
                <a:lnTo>
                  <a:pt x="25" y="577"/>
                </a:lnTo>
                <a:lnTo>
                  <a:pt x="17" y="596"/>
                </a:lnTo>
                <a:lnTo>
                  <a:pt x="10" y="616"/>
                </a:lnTo>
                <a:lnTo>
                  <a:pt x="4" y="636"/>
                </a:lnTo>
                <a:lnTo>
                  <a:pt x="0" y="658"/>
                </a:lnTo>
                <a:lnTo>
                  <a:pt x="0" y="683"/>
                </a:lnTo>
                <a:lnTo>
                  <a:pt x="3" y="705"/>
                </a:lnTo>
                <a:lnTo>
                  <a:pt x="6" y="730"/>
                </a:lnTo>
                <a:lnTo>
                  <a:pt x="16" y="754"/>
                </a:lnTo>
                <a:lnTo>
                  <a:pt x="25" y="780"/>
                </a:lnTo>
                <a:lnTo>
                  <a:pt x="38" y="805"/>
                </a:lnTo>
                <a:lnTo>
                  <a:pt x="53" y="819"/>
                </a:lnTo>
                <a:lnTo>
                  <a:pt x="71" y="836"/>
                </a:lnTo>
                <a:lnTo>
                  <a:pt x="88" y="846"/>
                </a:lnTo>
                <a:lnTo>
                  <a:pt x="107" y="852"/>
                </a:lnTo>
                <a:lnTo>
                  <a:pt x="124" y="857"/>
                </a:lnTo>
                <a:lnTo>
                  <a:pt x="150" y="857"/>
                </a:lnTo>
                <a:lnTo>
                  <a:pt x="172" y="854"/>
                </a:lnTo>
                <a:lnTo>
                  <a:pt x="196" y="852"/>
                </a:lnTo>
                <a:lnTo>
                  <a:pt x="214" y="852"/>
                </a:lnTo>
                <a:lnTo>
                  <a:pt x="226" y="863"/>
                </a:lnTo>
                <a:lnTo>
                  <a:pt x="230" y="881"/>
                </a:lnTo>
                <a:lnTo>
                  <a:pt x="230" y="901"/>
                </a:lnTo>
                <a:lnTo>
                  <a:pt x="224" y="929"/>
                </a:lnTo>
                <a:lnTo>
                  <a:pt x="217" y="955"/>
                </a:lnTo>
                <a:lnTo>
                  <a:pt x="209" y="979"/>
                </a:lnTo>
                <a:lnTo>
                  <a:pt x="198" y="1010"/>
                </a:lnTo>
                <a:lnTo>
                  <a:pt x="186" y="1038"/>
                </a:lnTo>
                <a:lnTo>
                  <a:pt x="175" y="1062"/>
                </a:lnTo>
                <a:lnTo>
                  <a:pt x="161" y="1090"/>
                </a:lnTo>
                <a:lnTo>
                  <a:pt x="150" y="1110"/>
                </a:lnTo>
                <a:lnTo>
                  <a:pt x="128" y="1132"/>
                </a:lnTo>
                <a:lnTo>
                  <a:pt x="1188" y="1130"/>
                </a:lnTo>
                <a:lnTo>
                  <a:pt x="1189" y="1106"/>
                </a:lnTo>
                <a:lnTo>
                  <a:pt x="1193" y="1085"/>
                </a:lnTo>
                <a:lnTo>
                  <a:pt x="1198" y="1062"/>
                </a:lnTo>
                <a:lnTo>
                  <a:pt x="1203" y="1047"/>
                </a:lnTo>
                <a:lnTo>
                  <a:pt x="1211" y="1028"/>
                </a:lnTo>
                <a:lnTo>
                  <a:pt x="1221" y="1008"/>
                </a:lnTo>
                <a:lnTo>
                  <a:pt x="1233" y="990"/>
                </a:lnTo>
                <a:lnTo>
                  <a:pt x="1244" y="976"/>
                </a:lnTo>
                <a:lnTo>
                  <a:pt x="1256" y="957"/>
                </a:lnTo>
                <a:lnTo>
                  <a:pt x="1267" y="943"/>
                </a:lnTo>
                <a:lnTo>
                  <a:pt x="1275" y="925"/>
                </a:lnTo>
                <a:lnTo>
                  <a:pt x="1282" y="906"/>
                </a:lnTo>
                <a:lnTo>
                  <a:pt x="1285" y="880"/>
                </a:lnTo>
                <a:lnTo>
                  <a:pt x="1284" y="854"/>
                </a:lnTo>
                <a:lnTo>
                  <a:pt x="1280" y="837"/>
                </a:lnTo>
                <a:lnTo>
                  <a:pt x="1273" y="821"/>
                </a:lnTo>
                <a:lnTo>
                  <a:pt x="1265" y="807"/>
                </a:lnTo>
                <a:lnTo>
                  <a:pt x="1253" y="794"/>
                </a:lnTo>
                <a:lnTo>
                  <a:pt x="1239" y="786"/>
                </a:lnTo>
                <a:lnTo>
                  <a:pt x="1222" y="782"/>
                </a:lnTo>
                <a:lnTo>
                  <a:pt x="1204" y="780"/>
                </a:lnTo>
                <a:lnTo>
                  <a:pt x="1185" y="782"/>
                </a:lnTo>
                <a:lnTo>
                  <a:pt x="1166" y="784"/>
                </a:lnTo>
                <a:lnTo>
                  <a:pt x="1148" y="790"/>
                </a:lnTo>
                <a:lnTo>
                  <a:pt x="1125" y="799"/>
                </a:lnTo>
                <a:lnTo>
                  <a:pt x="1106" y="807"/>
                </a:lnTo>
                <a:lnTo>
                  <a:pt x="1085" y="812"/>
                </a:lnTo>
                <a:lnTo>
                  <a:pt x="1060" y="816"/>
                </a:lnTo>
                <a:lnTo>
                  <a:pt x="1040" y="816"/>
                </a:lnTo>
                <a:lnTo>
                  <a:pt x="1022" y="810"/>
                </a:lnTo>
                <a:lnTo>
                  <a:pt x="1004" y="803"/>
                </a:lnTo>
                <a:lnTo>
                  <a:pt x="989" y="792"/>
                </a:lnTo>
                <a:lnTo>
                  <a:pt x="977" y="778"/>
                </a:lnTo>
                <a:lnTo>
                  <a:pt x="967" y="756"/>
                </a:lnTo>
                <a:lnTo>
                  <a:pt x="964" y="732"/>
                </a:lnTo>
                <a:lnTo>
                  <a:pt x="966" y="709"/>
                </a:lnTo>
                <a:lnTo>
                  <a:pt x="972" y="685"/>
                </a:lnTo>
                <a:lnTo>
                  <a:pt x="979" y="667"/>
                </a:lnTo>
                <a:lnTo>
                  <a:pt x="990" y="649"/>
                </a:lnTo>
                <a:lnTo>
                  <a:pt x="1004" y="632"/>
                </a:lnTo>
                <a:lnTo>
                  <a:pt x="1017" y="621"/>
                </a:lnTo>
                <a:lnTo>
                  <a:pt x="1034" y="609"/>
                </a:lnTo>
                <a:lnTo>
                  <a:pt x="1050" y="601"/>
                </a:lnTo>
                <a:lnTo>
                  <a:pt x="1067" y="596"/>
                </a:lnTo>
                <a:lnTo>
                  <a:pt x="1085" y="590"/>
                </a:lnTo>
                <a:lnTo>
                  <a:pt x="1107" y="585"/>
                </a:lnTo>
                <a:lnTo>
                  <a:pt x="1130" y="581"/>
                </a:lnTo>
                <a:lnTo>
                  <a:pt x="1149" y="576"/>
                </a:lnTo>
                <a:lnTo>
                  <a:pt x="1170" y="565"/>
                </a:lnTo>
                <a:lnTo>
                  <a:pt x="1182" y="553"/>
                </a:lnTo>
                <a:lnTo>
                  <a:pt x="1194" y="536"/>
                </a:lnTo>
                <a:lnTo>
                  <a:pt x="1203" y="517"/>
                </a:lnTo>
                <a:lnTo>
                  <a:pt x="1209" y="500"/>
                </a:lnTo>
                <a:lnTo>
                  <a:pt x="1213" y="476"/>
                </a:lnTo>
                <a:lnTo>
                  <a:pt x="1214" y="445"/>
                </a:lnTo>
                <a:lnTo>
                  <a:pt x="1211" y="421"/>
                </a:lnTo>
                <a:lnTo>
                  <a:pt x="1210" y="393"/>
                </a:lnTo>
                <a:lnTo>
                  <a:pt x="1209" y="358"/>
                </a:lnTo>
                <a:lnTo>
                  <a:pt x="1208" y="316"/>
                </a:lnTo>
                <a:lnTo>
                  <a:pt x="1208" y="276"/>
                </a:lnTo>
                <a:lnTo>
                  <a:pt x="1209" y="252"/>
                </a:lnTo>
                <a:lnTo>
                  <a:pt x="1194" y="240"/>
                </a:lnTo>
              </a:path>
            </a:pathLst>
          </a:custGeom>
          <a:solidFill>
            <a:schemeClr val="accent3"/>
          </a:solidFill>
          <a:ln w="6350">
            <a:noFill/>
            <a:round/>
            <a:headEnd/>
            <a:tailEnd/>
          </a:ln>
        </p:spPr>
        <p:txBody>
          <a:bodyPr tIns="91440" bIns="91440" anchor="ctr"/>
          <a:lstStyle/>
          <a:p>
            <a:pPr>
              <a:defRPr/>
            </a:pPr>
            <a:endParaRPr lang="en-GB"/>
          </a:p>
        </p:txBody>
      </p:sp>
      <p:sp>
        <p:nvSpPr>
          <p:cNvPr id="10" name="Freeform 9"/>
          <p:cNvSpPr>
            <a:spLocks/>
          </p:cNvSpPr>
          <p:nvPr/>
        </p:nvSpPr>
        <p:spPr bwMode="auto">
          <a:xfrm>
            <a:off x="1895475" y="4843463"/>
            <a:ext cx="1639888" cy="1277937"/>
          </a:xfrm>
          <a:custGeom>
            <a:avLst/>
            <a:gdLst>
              <a:gd name="T0" fmla="*/ 2147483647 w 1466"/>
              <a:gd name="T1" fmla="*/ 0 h 980"/>
              <a:gd name="T2" fmla="*/ 2147483647 w 1466"/>
              <a:gd name="T3" fmla="*/ 2147483647 h 980"/>
              <a:gd name="T4" fmla="*/ 2147483647 w 1466"/>
              <a:gd name="T5" fmla="*/ 2147483647 h 980"/>
              <a:gd name="T6" fmla="*/ 2147483647 w 1466"/>
              <a:gd name="T7" fmla="*/ 2147483647 h 980"/>
              <a:gd name="T8" fmla="*/ 2147483647 w 1466"/>
              <a:gd name="T9" fmla="*/ 2147483647 h 980"/>
              <a:gd name="T10" fmla="*/ 2147483647 w 1466"/>
              <a:gd name="T11" fmla="*/ 2147483647 h 980"/>
              <a:gd name="T12" fmla="*/ 2147483647 w 1466"/>
              <a:gd name="T13" fmla="*/ 2147483647 h 980"/>
              <a:gd name="T14" fmla="*/ 2147483647 w 1466"/>
              <a:gd name="T15" fmla="*/ 2147483647 h 980"/>
              <a:gd name="T16" fmla="*/ 2147483647 w 1466"/>
              <a:gd name="T17" fmla="*/ 2147483647 h 980"/>
              <a:gd name="T18" fmla="*/ 2147483647 w 1466"/>
              <a:gd name="T19" fmla="*/ 2147483647 h 980"/>
              <a:gd name="T20" fmla="*/ 2147483647 w 1466"/>
              <a:gd name="T21" fmla="*/ 2147483647 h 980"/>
              <a:gd name="T22" fmla="*/ 2147483647 w 1466"/>
              <a:gd name="T23" fmla="*/ 2147483647 h 980"/>
              <a:gd name="T24" fmla="*/ 2147483647 w 1466"/>
              <a:gd name="T25" fmla="*/ 2147483647 h 980"/>
              <a:gd name="T26" fmla="*/ 2147483647 w 1466"/>
              <a:gd name="T27" fmla="*/ 2147483647 h 980"/>
              <a:gd name="T28" fmla="*/ 2147483647 w 1466"/>
              <a:gd name="T29" fmla="*/ 2147483647 h 980"/>
              <a:gd name="T30" fmla="*/ 2147483647 w 1466"/>
              <a:gd name="T31" fmla="*/ 2147483647 h 980"/>
              <a:gd name="T32" fmla="*/ 2147483647 w 1466"/>
              <a:gd name="T33" fmla="*/ 2147483647 h 980"/>
              <a:gd name="T34" fmla="*/ 2147483647 w 1466"/>
              <a:gd name="T35" fmla="*/ 2147483647 h 980"/>
              <a:gd name="T36" fmla="*/ 2147483647 w 1466"/>
              <a:gd name="T37" fmla="*/ 2147483647 h 980"/>
              <a:gd name="T38" fmla="*/ 2147483647 w 1466"/>
              <a:gd name="T39" fmla="*/ 2147483647 h 980"/>
              <a:gd name="T40" fmla="*/ 2147483647 w 1466"/>
              <a:gd name="T41" fmla="*/ 2147483647 h 980"/>
              <a:gd name="T42" fmla="*/ 2147483647 w 1466"/>
              <a:gd name="T43" fmla="*/ 2147483647 h 980"/>
              <a:gd name="T44" fmla="*/ 2147483647 w 1466"/>
              <a:gd name="T45" fmla="*/ 2147483647 h 980"/>
              <a:gd name="T46" fmla="*/ 2147483647 w 1466"/>
              <a:gd name="T47" fmla="*/ 2147483647 h 980"/>
              <a:gd name="T48" fmla="*/ 2147483647 w 1466"/>
              <a:gd name="T49" fmla="*/ 2147483647 h 980"/>
              <a:gd name="T50" fmla="*/ 2147483647 w 1466"/>
              <a:gd name="T51" fmla="*/ 2147483647 h 980"/>
              <a:gd name="T52" fmla="*/ 2147483647 w 1466"/>
              <a:gd name="T53" fmla="*/ 2147483647 h 980"/>
              <a:gd name="T54" fmla="*/ 2147483647 w 1466"/>
              <a:gd name="T55" fmla="*/ 2147483647 h 980"/>
              <a:gd name="T56" fmla="*/ 2147483647 w 1466"/>
              <a:gd name="T57" fmla="*/ 2147483647 h 980"/>
              <a:gd name="T58" fmla="*/ 2147483647 w 1466"/>
              <a:gd name="T59" fmla="*/ 2147483647 h 980"/>
              <a:gd name="T60" fmla="*/ 2147483647 w 1466"/>
              <a:gd name="T61" fmla="*/ 2147483647 h 980"/>
              <a:gd name="T62" fmla="*/ 2147483647 w 1466"/>
              <a:gd name="T63" fmla="*/ 2147483647 h 980"/>
              <a:gd name="T64" fmla="*/ 2147483647 w 1466"/>
              <a:gd name="T65" fmla="*/ 2147483647 h 980"/>
              <a:gd name="T66" fmla="*/ 2147483647 w 1466"/>
              <a:gd name="T67" fmla="*/ 2147483647 h 980"/>
              <a:gd name="T68" fmla="*/ 2147483647 w 1466"/>
              <a:gd name="T69" fmla="*/ 2147483647 h 980"/>
              <a:gd name="T70" fmla="*/ 2147483647 w 1466"/>
              <a:gd name="T71" fmla="*/ 2147483647 h 980"/>
              <a:gd name="T72" fmla="*/ 2147483647 w 1466"/>
              <a:gd name="T73" fmla="*/ 2147483647 h 980"/>
              <a:gd name="T74" fmla="*/ 2147483647 w 1466"/>
              <a:gd name="T75" fmla="*/ 2147483647 h 980"/>
              <a:gd name="T76" fmla="*/ 2147483647 w 1466"/>
              <a:gd name="T77" fmla="*/ 2147483647 h 980"/>
              <a:gd name="T78" fmla="*/ 2147483647 w 1466"/>
              <a:gd name="T79" fmla="*/ 2147483647 h 980"/>
              <a:gd name="T80" fmla="*/ 2147483647 w 1466"/>
              <a:gd name="T81" fmla="*/ 2147483647 h 980"/>
              <a:gd name="T82" fmla="*/ 2147483647 w 1466"/>
              <a:gd name="T83" fmla="*/ 2147483647 h 980"/>
              <a:gd name="T84" fmla="*/ 2147483647 w 1466"/>
              <a:gd name="T85" fmla="*/ 2147483647 h 980"/>
              <a:gd name="T86" fmla="*/ 2147483647 w 1466"/>
              <a:gd name="T87" fmla="*/ 2147483647 h 980"/>
              <a:gd name="T88" fmla="*/ 2147483647 w 1466"/>
              <a:gd name="T89" fmla="*/ 2147483647 h 980"/>
              <a:gd name="T90" fmla="*/ 2147483647 w 1466"/>
              <a:gd name="T91" fmla="*/ 2147483647 h 980"/>
              <a:gd name="T92" fmla="*/ 2147483647 w 1466"/>
              <a:gd name="T93" fmla="*/ 2147483647 h 980"/>
              <a:gd name="T94" fmla="*/ 2147483647 w 1466"/>
              <a:gd name="T95" fmla="*/ 2147483647 h 980"/>
              <a:gd name="T96" fmla="*/ 2147483647 w 1466"/>
              <a:gd name="T97" fmla="*/ 2147483647 h 980"/>
              <a:gd name="T98" fmla="*/ 2147483647 w 1466"/>
              <a:gd name="T99" fmla="*/ 2147483647 h 980"/>
              <a:gd name="T100" fmla="*/ 2147483647 w 1466"/>
              <a:gd name="T101" fmla="*/ 2147483647 h 980"/>
              <a:gd name="T102" fmla="*/ 2147483647 w 1466"/>
              <a:gd name="T103" fmla="*/ 2147483647 h 980"/>
              <a:gd name="T104" fmla="*/ 2147483647 w 1466"/>
              <a:gd name="T105" fmla="*/ 2147483647 h 980"/>
              <a:gd name="T106" fmla="*/ 2147483647 w 1466"/>
              <a:gd name="T107" fmla="*/ 2147483647 h 980"/>
              <a:gd name="T108" fmla="*/ 2147483647 w 1466"/>
              <a:gd name="T109" fmla="*/ 2147483647 h 980"/>
              <a:gd name="T110" fmla="*/ 2147483647 w 1466"/>
              <a:gd name="T111" fmla="*/ 2147483647 h 980"/>
              <a:gd name="T112" fmla="*/ 2147483647 w 1466"/>
              <a:gd name="T113" fmla="*/ 2147483647 h 980"/>
              <a:gd name="T114" fmla="*/ 2147483647 w 1466"/>
              <a:gd name="T115" fmla="*/ 2147483647 h 980"/>
              <a:gd name="T116" fmla="*/ 2147483647 w 1466"/>
              <a:gd name="T117" fmla="*/ 2147483647 h 980"/>
              <a:gd name="T118" fmla="*/ 2147483647 w 1466"/>
              <a:gd name="T119" fmla="*/ 2147483647 h 980"/>
              <a:gd name="T120" fmla="*/ 2147483647 w 1466"/>
              <a:gd name="T121" fmla="*/ 2147483647 h 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466"/>
              <a:gd name="T184" fmla="*/ 0 h 980"/>
              <a:gd name="T185" fmla="*/ 1466 w 1466"/>
              <a:gd name="T186" fmla="*/ 980 h 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466" h="980">
                <a:moveTo>
                  <a:pt x="1228" y="26"/>
                </a:moveTo>
                <a:lnTo>
                  <a:pt x="1240" y="0"/>
                </a:lnTo>
                <a:lnTo>
                  <a:pt x="260" y="0"/>
                </a:lnTo>
                <a:lnTo>
                  <a:pt x="252" y="15"/>
                </a:lnTo>
                <a:lnTo>
                  <a:pt x="249" y="37"/>
                </a:lnTo>
                <a:lnTo>
                  <a:pt x="249" y="61"/>
                </a:lnTo>
                <a:lnTo>
                  <a:pt x="252" y="82"/>
                </a:lnTo>
                <a:lnTo>
                  <a:pt x="261" y="104"/>
                </a:lnTo>
                <a:lnTo>
                  <a:pt x="270" y="124"/>
                </a:lnTo>
                <a:lnTo>
                  <a:pt x="277" y="141"/>
                </a:lnTo>
                <a:lnTo>
                  <a:pt x="286" y="159"/>
                </a:lnTo>
                <a:lnTo>
                  <a:pt x="292" y="178"/>
                </a:lnTo>
                <a:lnTo>
                  <a:pt x="299" y="200"/>
                </a:lnTo>
                <a:lnTo>
                  <a:pt x="303" y="220"/>
                </a:lnTo>
                <a:lnTo>
                  <a:pt x="305" y="242"/>
                </a:lnTo>
                <a:lnTo>
                  <a:pt x="305" y="261"/>
                </a:lnTo>
                <a:lnTo>
                  <a:pt x="304" y="281"/>
                </a:lnTo>
                <a:lnTo>
                  <a:pt x="302" y="294"/>
                </a:lnTo>
                <a:lnTo>
                  <a:pt x="298" y="315"/>
                </a:lnTo>
                <a:lnTo>
                  <a:pt x="293" y="331"/>
                </a:lnTo>
                <a:lnTo>
                  <a:pt x="286" y="344"/>
                </a:lnTo>
                <a:lnTo>
                  <a:pt x="277" y="357"/>
                </a:lnTo>
                <a:lnTo>
                  <a:pt x="266" y="366"/>
                </a:lnTo>
                <a:lnTo>
                  <a:pt x="247" y="372"/>
                </a:lnTo>
                <a:lnTo>
                  <a:pt x="233" y="370"/>
                </a:lnTo>
                <a:lnTo>
                  <a:pt x="218" y="363"/>
                </a:lnTo>
                <a:lnTo>
                  <a:pt x="201" y="352"/>
                </a:lnTo>
                <a:lnTo>
                  <a:pt x="182" y="339"/>
                </a:lnTo>
                <a:lnTo>
                  <a:pt x="170" y="326"/>
                </a:lnTo>
                <a:lnTo>
                  <a:pt x="156" y="313"/>
                </a:lnTo>
                <a:lnTo>
                  <a:pt x="144" y="302"/>
                </a:lnTo>
                <a:lnTo>
                  <a:pt x="133" y="291"/>
                </a:lnTo>
                <a:lnTo>
                  <a:pt x="121" y="281"/>
                </a:lnTo>
                <a:lnTo>
                  <a:pt x="107" y="276"/>
                </a:lnTo>
                <a:lnTo>
                  <a:pt x="92" y="274"/>
                </a:lnTo>
                <a:lnTo>
                  <a:pt x="79" y="278"/>
                </a:lnTo>
                <a:lnTo>
                  <a:pt x="64" y="285"/>
                </a:lnTo>
                <a:lnTo>
                  <a:pt x="53" y="296"/>
                </a:lnTo>
                <a:lnTo>
                  <a:pt x="41" y="309"/>
                </a:lnTo>
                <a:lnTo>
                  <a:pt x="28" y="328"/>
                </a:lnTo>
                <a:lnTo>
                  <a:pt x="19" y="348"/>
                </a:lnTo>
                <a:lnTo>
                  <a:pt x="9" y="376"/>
                </a:lnTo>
                <a:lnTo>
                  <a:pt x="4" y="400"/>
                </a:lnTo>
                <a:lnTo>
                  <a:pt x="0" y="424"/>
                </a:lnTo>
                <a:lnTo>
                  <a:pt x="1" y="452"/>
                </a:lnTo>
                <a:lnTo>
                  <a:pt x="3" y="476"/>
                </a:lnTo>
                <a:lnTo>
                  <a:pt x="8" y="503"/>
                </a:lnTo>
                <a:lnTo>
                  <a:pt x="14" y="526"/>
                </a:lnTo>
                <a:lnTo>
                  <a:pt x="22" y="550"/>
                </a:lnTo>
                <a:lnTo>
                  <a:pt x="32" y="568"/>
                </a:lnTo>
                <a:lnTo>
                  <a:pt x="44" y="585"/>
                </a:lnTo>
                <a:lnTo>
                  <a:pt x="58" y="601"/>
                </a:lnTo>
                <a:lnTo>
                  <a:pt x="78" y="616"/>
                </a:lnTo>
                <a:lnTo>
                  <a:pt x="97" y="627"/>
                </a:lnTo>
                <a:lnTo>
                  <a:pt x="119" y="635"/>
                </a:lnTo>
                <a:lnTo>
                  <a:pt x="144" y="638"/>
                </a:lnTo>
                <a:lnTo>
                  <a:pt x="174" y="637"/>
                </a:lnTo>
                <a:lnTo>
                  <a:pt x="195" y="635"/>
                </a:lnTo>
                <a:lnTo>
                  <a:pt x="215" y="633"/>
                </a:lnTo>
                <a:lnTo>
                  <a:pt x="235" y="638"/>
                </a:lnTo>
                <a:lnTo>
                  <a:pt x="249" y="650"/>
                </a:lnTo>
                <a:lnTo>
                  <a:pt x="261" y="670"/>
                </a:lnTo>
                <a:lnTo>
                  <a:pt x="268" y="694"/>
                </a:lnTo>
                <a:lnTo>
                  <a:pt x="270" y="718"/>
                </a:lnTo>
                <a:lnTo>
                  <a:pt x="268" y="740"/>
                </a:lnTo>
                <a:lnTo>
                  <a:pt x="263" y="764"/>
                </a:lnTo>
                <a:lnTo>
                  <a:pt x="255" y="794"/>
                </a:lnTo>
                <a:lnTo>
                  <a:pt x="247" y="818"/>
                </a:lnTo>
                <a:lnTo>
                  <a:pt x="238" y="846"/>
                </a:lnTo>
                <a:lnTo>
                  <a:pt x="228" y="873"/>
                </a:lnTo>
                <a:lnTo>
                  <a:pt x="214" y="910"/>
                </a:lnTo>
                <a:lnTo>
                  <a:pt x="229" y="914"/>
                </a:lnTo>
                <a:lnTo>
                  <a:pt x="250" y="918"/>
                </a:lnTo>
                <a:lnTo>
                  <a:pt x="272" y="921"/>
                </a:lnTo>
                <a:lnTo>
                  <a:pt x="297" y="927"/>
                </a:lnTo>
                <a:lnTo>
                  <a:pt x="321" y="931"/>
                </a:lnTo>
                <a:lnTo>
                  <a:pt x="348" y="936"/>
                </a:lnTo>
                <a:lnTo>
                  <a:pt x="377" y="940"/>
                </a:lnTo>
                <a:lnTo>
                  <a:pt x="407" y="942"/>
                </a:lnTo>
                <a:lnTo>
                  <a:pt x="468" y="942"/>
                </a:lnTo>
                <a:lnTo>
                  <a:pt x="490" y="940"/>
                </a:lnTo>
                <a:lnTo>
                  <a:pt x="511" y="938"/>
                </a:lnTo>
                <a:lnTo>
                  <a:pt x="534" y="933"/>
                </a:lnTo>
                <a:lnTo>
                  <a:pt x="554" y="923"/>
                </a:lnTo>
                <a:lnTo>
                  <a:pt x="569" y="912"/>
                </a:lnTo>
                <a:lnTo>
                  <a:pt x="581" y="899"/>
                </a:lnTo>
                <a:lnTo>
                  <a:pt x="589" y="886"/>
                </a:lnTo>
                <a:lnTo>
                  <a:pt x="593" y="872"/>
                </a:lnTo>
                <a:lnTo>
                  <a:pt x="593" y="849"/>
                </a:lnTo>
                <a:lnTo>
                  <a:pt x="589" y="823"/>
                </a:lnTo>
                <a:lnTo>
                  <a:pt x="583" y="798"/>
                </a:lnTo>
                <a:lnTo>
                  <a:pt x="577" y="773"/>
                </a:lnTo>
                <a:lnTo>
                  <a:pt x="577" y="751"/>
                </a:lnTo>
                <a:lnTo>
                  <a:pt x="585" y="729"/>
                </a:lnTo>
                <a:lnTo>
                  <a:pt x="596" y="711"/>
                </a:lnTo>
                <a:lnTo>
                  <a:pt x="612" y="696"/>
                </a:lnTo>
                <a:lnTo>
                  <a:pt x="630" y="685"/>
                </a:lnTo>
                <a:lnTo>
                  <a:pt x="651" y="675"/>
                </a:lnTo>
                <a:lnTo>
                  <a:pt x="672" y="670"/>
                </a:lnTo>
                <a:lnTo>
                  <a:pt x="698" y="664"/>
                </a:lnTo>
                <a:lnTo>
                  <a:pt x="719" y="661"/>
                </a:lnTo>
                <a:lnTo>
                  <a:pt x="742" y="661"/>
                </a:lnTo>
                <a:lnTo>
                  <a:pt x="762" y="662"/>
                </a:lnTo>
                <a:lnTo>
                  <a:pt x="783" y="670"/>
                </a:lnTo>
                <a:lnTo>
                  <a:pt x="802" y="679"/>
                </a:lnTo>
                <a:lnTo>
                  <a:pt x="821" y="692"/>
                </a:lnTo>
                <a:lnTo>
                  <a:pt x="836" y="707"/>
                </a:lnTo>
                <a:lnTo>
                  <a:pt x="849" y="725"/>
                </a:lnTo>
                <a:lnTo>
                  <a:pt x="855" y="746"/>
                </a:lnTo>
                <a:lnTo>
                  <a:pt x="858" y="764"/>
                </a:lnTo>
                <a:lnTo>
                  <a:pt x="854" y="786"/>
                </a:lnTo>
                <a:lnTo>
                  <a:pt x="848" y="805"/>
                </a:lnTo>
                <a:lnTo>
                  <a:pt x="837" y="835"/>
                </a:lnTo>
                <a:lnTo>
                  <a:pt x="829" y="859"/>
                </a:lnTo>
                <a:lnTo>
                  <a:pt x="823" y="884"/>
                </a:lnTo>
                <a:lnTo>
                  <a:pt x="823" y="907"/>
                </a:lnTo>
                <a:lnTo>
                  <a:pt x="829" y="929"/>
                </a:lnTo>
                <a:lnTo>
                  <a:pt x="842" y="946"/>
                </a:lnTo>
                <a:lnTo>
                  <a:pt x="853" y="955"/>
                </a:lnTo>
                <a:lnTo>
                  <a:pt x="870" y="964"/>
                </a:lnTo>
                <a:lnTo>
                  <a:pt x="891" y="971"/>
                </a:lnTo>
                <a:lnTo>
                  <a:pt x="911" y="975"/>
                </a:lnTo>
                <a:lnTo>
                  <a:pt x="936" y="979"/>
                </a:lnTo>
                <a:lnTo>
                  <a:pt x="965" y="979"/>
                </a:lnTo>
                <a:lnTo>
                  <a:pt x="988" y="973"/>
                </a:lnTo>
                <a:lnTo>
                  <a:pt x="1023" y="970"/>
                </a:lnTo>
                <a:lnTo>
                  <a:pt x="1057" y="962"/>
                </a:lnTo>
                <a:lnTo>
                  <a:pt x="1088" y="955"/>
                </a:lnTo>
                <a:lnTo>
                  <a:pt x="1117" y="947"/>
                </a:lnTo>
                <a:lnTo>
                  <a:pt x="1152" y="936"/>
                </a:lnTo>
                <a:lnTo>
                  <a:pt x="1192" y="923"/>
                </a:lnTo>
                <a:lnTo>
                  <a:pt x="1250" y="907"/>
                </a:lnTo>
                <a:lnTo>
                  <a:pt x="1243" y="886"/>
                </a:lnTo>
                <a:lnTo>
                  <a:pt x="1235" y="864"/>
                </a:lnTo>
                <a:lnTo>
                  <a:pt x="1228" y="840"/>
                </a:lnTo>
                <a:lnTo>
                  <a:pt x="1222" y="816"/>
                </a:lnTo>
                <a:lnTo>
                  <a:pt x="1217" y="786"/>
                </a:lnTo>
                <a:lnTo>
                  <a:pt x="1213" y="753"/>
                </a:lnTo>
                <a:lnTo>
                  <a:pt x="1214" y="720"/>
                </a:lnTo>
                <a:lnTo>
                  <a:pt x="1218" y="688"/>
                </a:lnTo>
                <a:lnTo>
                  <a:pt x="1227" y="655"/>
                </a:lnTo>
                <a:lnTo>
                  <a:pt x="1239" y="622"/>
                </a:lnTo>
                <a:lnTo>
                  <a:pt x="1253" y="592"/>
                </a:lnTo>
                <a:lnTo>
                  <a:pt x="1270" y="568"/>
                </a:lnTo>
                <a:lnTo>
                  <a:pt x="1288" y="550"/>
                </a:lnTo>
                <a:lnTo>
                  <a:pt x="1308" y="535"/>
                </a:lnTo>
                <a:lnTo>
                  <a:pt x="1328" y="520"/>
                </a:lnTo>
                <a:lnTo>
                  <a:pt x="1347" y="509"/>
                </a:lnTo>
                <a:lnTo>
                  <a:pt x="1367" y="496"/>
                </a:lnTo>
                <a:lnTo>
                  <a:pt x="1392" y="477"/>
                </a:lnTo>
                <a:lnTo>
                  <a:pt x="1408" y="466"/>
                </a:lnTo>
                <a:lnTo>
                  <a:pt x="1422" y="450"/>
                </a:lnTo>
                <a:lnTo>
                  <a:pt x="1436" y="431"/>
                </a:lnTo>
                <a:lnTo>
                  <a:pt x="1448" y="411"/>
                </a:lnTo>
                <a:lnTo>
                  <a:pt x="1457" y="387"/>
                </a:lnTo>
                <a:lnTo>
                  <a:pt x="1463" y="361"/>
                </a:lnTo>
                <a:lnTo>
                  <a:pt x="1465" y="331"/>
                </a:lnTo>
                <a:lnTo>
                  <a:pt x="1462" y="304"/>
                </a:lnTo>
                <a:lnTo>
                  <a:pt x="1453" y="274"/>
                </a:lnTo>
                <a:lnTo>
                  <a:pt x="1441" y="252"/>
                </a:lnTo>
                <a:lnTo>
                  <a:pt x="1425" y="233"/>
                </a:lnTo>
                <a:lnTo>
                  <a:pt x="1406" y="224"/>
                </a:lnTo>
                <a:lnTo>
                  <a:pt x="1389" y="224"/>
                </a:lnTo>
                <a:lnTo>
                  <a:pt x="1372" y="233"/>
                </a:lnTo>
                <a:lnTo>
                  <a:pt x="1355" y="252"/>
                </a:lnTo>
                <a:lnTo>
                  <a:pt x="1342" y="272"/>
                </a:lnTo>
                <a:lnTo>
                  <a:pt x="1329" y="294"/>
                </a:lnTo>
                <a:lnTo>
                  <a:pt x="1317" y="315"/>
                </a:lnTo>
                <a:lnTo>
                  <a:pt x="1303" y="328"/>
                </a:lnTo>
                <a:lnTo>
                  <a:pt x="1286" y="333"/>
                </a:lnTo>
                <a:lnTo>
                  <a:pt x="1264" y="333"/>
                </a:lnTo>
                <a:lnTo>
                  <a:pt x="1245" y="328"/>
                </a:lnTo>
                <a:lnTo>
                  <a:pt x="1232" y="311"/>
                </a:lnTo>
                <a:lnTo>
                  <a:pt x="1219" y="294"/>
                </a:lnTo>
                <a:lnTo>
                  <a:pt x="1210" y="274"/>
                </a:lnTo>
                <a:lnTo>
                  <a:pt x="1202" y="248"/>
                </a:lnTo>
                <a:lnTo>
                  <a:pt x="1198" y="222"/>
                </a:lnTo>
                <a:lnTo>
                  <a:pt x="1197" y="194"/>
                </a:lnTo>
                <a:lnTo>
                  <a:pt x="1198" y="165"/>
                </a:lnTo>
                <a:lnTo>
                  <a:pt x="1202" y="137"/>
                </a:lnTo>
                <a:lnTo>
                  <a:pt x="1208" y="100"/>
                </a:lnTo>
                <a:lnTo>
                  <a:pt x="1216" y="69"/>
                </a:lnTo>
                <a:lnTo>
                  <a:pt x="1221" y="48"/>
                </a:lnTo>
                <a:lnTo>
                  <a:pt x="1228" y="26"/>
                </a:lnTo>
              </a:path>
            </a:pathLst>
          </a:custGeom>
          <a:solidFill>
            <a:schemeClr val="accent3"/>
          </a:solidFill>
          <a:ln w="6350">
            <a:noFill/>
            <a:round/>
            <a:headEnd/>
            <a:tailEnd/>
          </a:ln>
        </p:spPr>
        <p:txBody>
          <a:bodyPr tIns="91440" bIns="91440" anchor="ctr"/>
          <a:lstStyle/>
          <a:p>
            <a:pPr>
              <a:defRPr/>
            </a:pPr>
            <a:endParaRPr lang="en-GB"/>
          </a:p>
        </p:txBody>
      </p:sp>
      <p:sp>
        <p:nvSpPr>
          <p:cNvPr id="11" name="Freeform 10"/>
          <p:cNvSpPr>
            <a:spLocks/>
          </p:cNvSpPr>
          <p:nvPr/>
        </p:nvSpPr>
        <p:spPr bwMode="auto">
          <a:xfrm>
            <a:off x="5668963" y="3009900"/>
            <a:ext cx="1495425" cy="1682750"/>
          </a:xfrm>
          <a:custGeom>
            <a:avLst/>
            <a:gdLst>
              <a:gd name="T0" fmla="*/ 2147483647 w 1032"/>
              <a:gd name="T1" fmla="*/ 0 h 1182"/>
              <a:gd name="T2" fmla="*/ 2147483647 w 1032"/>
              <a:gd name="T3" fmla="*/ 2147483647 h 1182"/>
              <a:gd name="T4" fmla="*/ 2147483647 w 1032"/>
              <a:gd name="T5" fmla="*/ 2147483647 h 1182"/>
              <a:gd name="T6" fmla="*/ 2147483647 w 1032"/>
              <a:gd name="T7" fmla="*/ 2147483647 h 1182"/>
              <a:gd name="T8" fmla="*/ 2147483647 w 1032"/>
              <a:gd name="T9" fmla="*/ 2147483647 h 1182"/>
              <a:gd name="T10" fmla="*/ 2147483647 w 1032"/>
              <a:gd name="T11" fmla="*/ 2147483647 h 1182"/>
              <a:gd name="T12" fmla="*/ 2147483647 w 1032"/>
              <a:gd name="T13" fmla="*/ 2147483647 h 1182"/>
              <a:gd name="T14" fmla="*/ 2147483647 w 1032"/>
              <a:gd name="T15" fmla="*/ 2147483647 h 1182"/>
              <a:gd name="T16" fmla="*/ 2147483647 w 1032"/>
              <a:gd name="T17" fmla="*/ 2147483647 h 1182"/>
              <a:gd name="T18" fmla="*/ 2147483647 w 1032"/>
              <a:gd name="T19" fmla="*/ 2147483647 h 1182"/>
              <a:gd name="T20" fmla="*/ 2147483647 w 1032"/>
              <a:gd name="T21" fmla="*/ 2147483647 h 1182"/>
              <a:gd name="T22" fmla="*/ 2147483647 w 1032"/>
              <a:gd name="T23" fmla="*/ 2147483647 h 1182"/>
              <a:gd name="T24" fmla="*/ 2147483647 w 1032"/>
              <a:gd name="T25" fmla="*/ 2147483647 h 1182"/>
              <a:gd name="T26" fmla="*/ 2147483647 w 1032"/>
              <a:gd name="T27" fmla="*/ 2147483647 h 1182"/>
              <a:gd name="T28" fmla="*/ 2147483647 w 1032"/>
              <a:gd name="T29" fmla="*/ 2147483647 h 1182"/>
              <a:gd name="T30" fmla="*/ 2147483647 w 1032"/>
              <a:gd name="T31" fmla="*/ 2147483647 h 1182"/>
              <a:gd name="T32" fmla="*/ 2147483647 w 1032"/>
              <a:gd name="T33" fmla="*/ 2147483647 h 1182"/>
              <a:gd name="T34" fmla="*/ 2147483647 w 1032"/>
              <a:gd name="T35" fmla="*/ 2147483647 h 1182"/>
              <a:gd name="T36" fmla="*/ 2147483647 w 1032"/>
              <a:gd name="T37" fmla="*/ 2147483647 h 1182"/>
              <a:gd name="T38" fmla="*/ 2147483647 w 1032"/>
              <a:gd name="T39" fmla="*/ 2147483647 h 1182"/>
              <a:gd name="T40" fmla="*/ 2147483647 w 1032"/>
              <a:gd name="T41" fmla="*/ 2147483647 h 1182"/>
              <a:gd name="T42" fmla="*/ 2147483647 w 1032"/>
              <a:gd name="T43" fmla="*/ 2147483647 h 1182"/>
              <a:gd name="T44" fmla="*/ 2147483647 w 1032"/>
              <a:gd name="T45" fmla="*/ 2147483647 h 1182"/>
              <a:gd name="T46" fmla="*/ 2147483647 w 1032"/>
              <a:gd name="T47" fmla="*/ 2147483647 h 1182"/>
              <a:gd name="T48" fmla="*/ 2147483647 w 1032"/>
              <a:gd name="T49" fmla="*/ 2147483647 h 1182"/>
              <a:gd name="T50" fmla="*/ 2147483647 w 1032"/>
              <a:gd name="T51" fmla="*/ 2147483647 h 1182"/>
              <a:gd name="T52" fmla="*/ 2147483647 w 1032"/>
              <a:gd name="T53" fmla="*/ 2147483647 h 1182"/>
              <a:gd name="T54" fmla="*/ 2147483647 w 1032"/>
              <a:gd name="T55" fmla="*/ 2147483647 h 1182"/>
              <a:gd name="T56" fmla="*/ 2147483647 w 1032"/>
              <a:gd name="T57" fmla="*/ 2147483647 h 1182"/>
              <a:gd name="T58" fmla="*/ 2147483647 w 1032"/>
              <a:gd name="T59" fmla="*/ 2147483647 h 1182"/>
              <a:gd name="T60" fmla="*/ 2147483647 w 1032"/>
              <a:gd name="T61" fmla="*/ 2147483647 h 1182"/>
              <a:gd name="T62" fmla="*/ 2147483647 w 1032"/>
              <a:gd name="T63" fmla="*/ 2147483647 h 1182"/>
              <a:gd name="T64" fmla="*/ 2147483647 w 1032"/>
              <a:gd name="T65" fmla="*/ 2147483647 h 1182"/>
              <a:gd name="T66" fmla="*/ 2147483647 w 1032"/>
              <a:gd name="T67" fmla="*/ 2147483647 h 1182"/>
              <a:gd name="T68" fmla="*/ 2147483647 w 1032"/>
              <a:gd name="T69" fmla="*/ 2147483647 h 1182"/>
              <a:gd name="T70" fmla="*/ 2147483647 w 1032"/>
              <a:gd name="T71" fmla="*/ 2147483647 h 1182"/>
              <a:gd name="T72" fmla="*/ 2147483647 w 1032"/>
              <a:gd name="T73" fmla="*/ 2147483647 h 1182"/>
              <a:gd name="T74" fmla="*/ 2147483647 w 1032"/>
              <a:gd name="T75" fmla="*/ 2147483647 h 1182"/>
              <a:gd name="T76" fmla="*/ 2147483647 w 1032"/>
              <a:gd name="T77" fmla="*/ 2147483647 h 1182"/>
              <a:gd name="T78" fmla="*/ 2147483647 w 1032"/>
              <a:gd name="T79" fmla="*/ 2147483647 h 1182"/>
              <a:gd name="T80" fmla="*/ 2147483647 w 1032"/>
              <a:gd name="T81" fmla="*/ 2147483647 h 1182"/>
              <a:gd name="T82" fmla="*/ 2147483647 w 1032"/>
              <a:gd name="T83" fmla="*/ 2147483647 h 1182"/>
              <a:gd name="T84" fmla="*/ 0 w 1032"/>
              <a:gd name="T85" fmla="*/ 2147483647 h 118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32"/>
              <a:gd name="T130" fmla="*/ 0 h 1182"/>
              <a:gd name="T131" fmla="*/ 1032 w 1032"/>
              <a:gd name="T132" fmla="*/ 1182 h 118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32" h="1182">
                <a:moveTo>
                  <a:pt x="0" y="970"/>
                </a:moveTo>
                <a:lnTo>
                  <a:pt x="137" y="0"/>
                </a:lnTo>
                <a:lnTo>
                  <a:pt x="986" y="0"/>
                </a:lnTo>
                <a:lnTo>
                  <a:pt x="978" y="15"/>
                </a:lnTo>
                <a:lnTo>
                  <a:pt x="975" y="37"/>
                </a:lnTo>
                <a:lnTo>
                  <a:pt x="975" y="61"/>
                </a:lnTo>
                <a:lnTo>
                  <a:pt x="978" y="82"/>
                </a:lnTo>
                <a:lnTo>
                  <a:pt x="987" y="104"/>
                </a:lnTo>
                <a:lnTo>
                  <a:pt x="996" y="124"/>
                </a:lnTo>
                <a:lnTo>
                  <a:pt x="1003" y="141"/>
                </a:lnTo>
                <a:lnTo>
                  <a:pt x="1012" y="159"/>
                </a:lnTo>
                <a:lnTo>
                  <a:pt x="1018" y="178"/>
                </a:lnTo>
                <a:lnTo>
                  <a:pt x="1025" y="200"/>
                </a:lnTo>
                <a:lnTo>
                  <a:pt x="1029" y="220"/>
                </a:lnTo>
                <a:lnTo>
                  <a:pt x="1031" y="242"/>
                </a:lnTo>
                <a:lnTo>
                  <a:pt x="1031" y="261"/>
                </a:lnTo>
                <a:lnTo>
                  <a:pt x="1030" y="281"/>
                </a:lnTo>
                <a:lnTo>
                  <a:pt x="1028" y="294"/>
                </a:lnTo>
                <a:lnTo>
                  <a:pt x="1024" y="315"/>
                </a:lnTo>
                <a:lnTo>
                  <a:pt x="1019" y="331"/>
                </a:lnTo>
                <a:lnTo>
                  <a:pt x="1012" y="344"/>
                </a:lnTo>
                <a:lnTo>
                  <a:pt x="1003" y="357"/>
                </a:lnTo>
                <a:lnTo>
                  <a:pt x="992" y="366"/>
                </a:lnTo>
                <a:lnTo>
                  <a:pt x="973" y="372"/>
                </a:lnTo>
                <a:lnTo>
                  <a:pt x="959" y="370"/>
                </a:lnTo>
                <a:lnTo>
                  <a:pt x="944" y="363"/>
                </a:lnTo>
                <a:lnTo>
                  <a:pt x="927" y="352"/>
                </a:lnTo>
                <a:lnTo>
                  <a:pt x="908" y="339"/>
                </a:lnTo>
                <a:lnTo>
                  <a:pt x="896" y="326"/>
                </a:lnTo>
                <a:lnTo>
                  <a:pt x="882" y="313"/>
                </a:lnTo>
                <a:lnTo>
                  <a:pt x="870" y="302"/>
                </a:lnTo>
                <a:lnTo>
                  <a:pt x="859" y="291"/>
                </a:lnTo>
                <a:lnTo>
                  <a:pt x="847" y="281"/>
                </a:lnTo>
                <a:lnTo>
                  <a:pt x="833" y="276"/>
                </a:lnTo>
                <a:lnTo>
                  <a:pt x="818" y="274"/>
                </a:lnTo>
                <a:lnTo>
                  <a:pt x="805" y="278"/>
                </a:lnTo>
                <a:lnTo>
                  <a:pt x="790" y="285"/>
                </a:lnTo>
                <a:lnTo>
                  <a:pt x="779" y="296"/>
                </a:lnTo>
                <a:lnTo>
                  <a:pt x="767" y="309"/>
                </a:lnTo>
                <a:lnTo>
                  <a:pt x="754" y="328"/>
                </a:lnTo>
                <a:lnTo>
                  <a:pt x="745" y="348"/>
                </a:lnTo>
                <a:lnTo>
                  <a:pt x="735" y="376"/>
                </a:lnTo>
                <a:lnTo>
                  <a:pt x="730" y="400"/>
                </a:lnTo>
                <a:lnTo>
                  <a:pt x="726" y="424"/>
                </a:lnTo>
                <a:lnTo>
                  <a:pt x="727" y="452"/>
                </a:lnTo>
                <a:lnTo>
                  <a:pt x="729" y="476"/>
                </a:lnTo>
                <a:lnTo>
                  <a:pt x="734" y="503"/>
                </a:lnTo>
                <a:lnTo>
                  <a:pt x="740" y="526"/>
                </a:lnTo>
                <a:lnTo>
                  <a:pt x="748" y="550"/>
                </a:lnTo>
                <a:lnTo>
                  <a:pt x="758" y="568"/>
                </a:lnTo>
                <a:lnTo>
                  <a:pt x="770" y="585"/>
                </a:lnTo>
                <a:lnTo>
                  <a:pt x="784" y="601"/>
                </a:lnTo>
                <a:lnTo>
                  <a:pt x="804" y="616"/>
                </a:lnTo>
                <a:lnTo>
                  <a:pt x="823" y="627"/>
                </a:lnTo>
                <a:lnTo>
                  <a:pt x="845" y="635"/>
                </a:lnTo>
                <a:lnTo>
                  <a:pt x="870" y="638"/>
                </a:lnTo>
                <a:lnTo>
                  <a:pt x="900" y="637"/>
                </a:lnTo>
                <a:lnTo>
                  <a:pt x="921" y="635"/>
                </a:lnTo>
                <a:lnTo>
                  <a:pt x="941" y="633"/>
                </a:lnTo>
                <a:lnTo>
                  <a:pt x="961" y="638"/>
                </a:lnTo>
                <a:lnTo>
                  <a:pt x="975" y="650"/>
                </a:lnTo>
                <a:lnTo>
                  <a:pt x="987" y="670"/>
                </a:lnTo>
                <a:lnTo>
                  <a:pt x="994" y="694"/>
                </a:lnTo>
                <a:lnTo>
                  <a:pt x="996" y="718"/>
                </a:lnTo>
                <a:lnTo>
                  <a:pt x="994" y="740"/>
                </a:lnTo>
                <a:lnTo>
                  <a:pt x="989" y="764"/>
                </a:lnTo>
                <a:lnTo>
                  <a:pt x="981" y="794"/>
                </a:lnTo>
                <a:lnTo>
                  <a:pt x="973" y="818"/>
                </a:lnTo>
                <a:lnTo>
                  <a:pt x="964" y="846"/>
                </a:lnTo>
                <a:lnTo>
                  <a:pt x="954" y="873"/>
                </a:lnTo>
                <a:lnTo>
                  <a:pt x="943" y="903"/>
                </a:lnTo>
                <a:lnTo>
                  <a:pt x="868" y="903"/>
                </a:lnTo>
                <a:lnTo>
                  <a:pt x="839" y="899"/>
                </a:lnTo>
                <a:lnTo>
                  <a:pt x="811" y="896"/>
                </a:lnTo>
                <a:lnTo>
                  <a:pt x="778" y="892"/>
                </a:lnTo>
                <a:lnTo>
                  <a:pt x="743" y="886"/>
                </a:lnTo>
                <a:lnTo>
                  <a:pt x="703" y="881"/>
                </a:lnTo>
                <a:lnTo>
                  <a:pt x="671" y="877"/>
                </a:lnTo>
                <a:lnTo>
                  <a:pt x="647" y="879"/>
                </a:lnTo>
                <a:lnTo>
                  <a:pt x="625" y="884"/>
                </a:lnTo>
                <a:lnTo>
                  <a:pt x="611" y="892"/>
                </a:lnTo>
                <a:lnTo>
                  <a:pt x="599" y="903"/>
                </a:lnTo>
                <a:lnTo>
                  <a:pt x="591" y="918"/>
                </a:lnTo>
                <a:lnTo>
                  <a:pt x="587" y="934"/>
                </a:lnTo>
                <a:lnTo>
                  <a:pt x="590" y="951"/>
                </a:lnTo>
                <a:lnTo>
                  <a:pt x="595" y="970"/>
                </a:lnTo>
                <a:lnTo>
                  <a:pt x="603" y="992"/>
                </a:lnTo>
                <a:lnTo>
                  <a:pt x="611" y="1012"/>
                </a:lnTo>
                <a:lnTo>
                  <a:pt x="615" y="1034"/>
                </a:lnTo>
                <a:lnTo>
                  <a:pt x="615" y="1057"/>
                </a:lnTo>
                <a:lnTo>
                  <a:pt x="612" y="1079"/>
                </a:lnTo>
                <a:lnTo>
                  <a:pt x="602" y="1099"/>
                </a:lnTo>
                <a:lnTo>
                  <a:pt x="592" y="1118"/>
                </a:lnTo>
                <a:lnTo>
                  <a:pt x="579" y="1134"/>
                </a:lnTo>
                <a:lnTo>
                  <a:pt x="563" y="1149"/>
                </a:lnTo>
                <a:lnTo>
                  <a:pt x="545" y="1160"/>
                </a:lnTo>
                <a:lnTo>
                  <a:pt x="527" y="1168"/>
                </a:lnTo>
                <a:lnTo>
                  <a:pt x="510" y="1173"/>
                </a:lnTo>
                <a:lnTo>
                  <a:pt x="491" y="1177"/>
                </a:lnTo>
                <a:lnTo>
                  <a:pt x="474" y="1181"/>
                </a:lnTo>
                <a:lnTo>
                  <a:pt x="458" y="1181"/>
                </a:lnTo>
                <a:lnTo>
                  <a:pt x="442" y="1177"/>
                </a:lnTo>
                <a:lnTo>
                  <a:pt x="427" y="1173"/>
                </a:lnTo>
                <a:lnTo>
                  <a:pt x="414" y="1168"/>
                </a:lnTo>
                <a:lnTo>
                  <a:pt x="403" y="1162"/>
                </a:lnTo>
                <a:lnTo>
                  <a:pt x="390" y="1151"/>
                </a:lnTo>
                <a:lnTo>
                  <a:pt x="380" y="1140"/>
                </a:lnTo>
                <a:lnTo>
                  <a:pt x="372" y="1123"/>
                </a:lnTo>
                <a:lnTo>
                  <a:pt x="361" y="1105"/>
                </a:lnTo>
                <a:lnTo>
                  <a:pt x="352" y="1086"/>
                </a:lnTo>
                <a:lnTo>
                  <a:pt x="344" y="1070"/>
                </a:lnTo>
                <a:lnTo>
                  <a:pt x="334" y="1047"/>
                </a:lnTo>
                <a:lnTo>
                  <a:pt x="324" y="1027"/>
                </a:lnTo>
                <a:lnTo>
                  <a:pt x="312" y="1007"/>
                </a:lnTo>
                <a:lnTo>
                  <a:pt x="298" y="986"/>
                </a:lnTo>
                <a:lnTo>
                  <a:pt x="284" y="971"/>
                </a:lnTo>
                <a:lnTo>
                  <a:pt x="270" y="958"/>
                </a:lnTo>
                <a:lnTo>
                  <a:pt x="254" y="949"/>
                </a:lnTo>
                <a:lnTo>
                  <a:pt x="236" y="942"/>
                </a:lnTo>
                <a:lnTo>
                  <a:pt x="214" y="936"/>
                </a:lnTo>
                <a:lnTo>
                  <a:pt x="190" y="934"/>
                </a:lnTo>
                <a:lnTo>
                  <a:pt x="169" y="933"/>
                </a:lnTo>
                <a:lnTo>
                  <a:pt x="149" y="933"/>
                </a:lnTo>
                <a:lnTo>
                  <a:pt x="126" y="934"/>
                </a:lnTo>
                <a:lnTo>
                  <a:pt x="105" y="940"/>
                </a:lnTo>
                <a:lnTo>
                  <a:pt x="83" y="946"/>
                </a:lnTo>
                <a:lnTo>
                  <a:pt x="58" y="953"/>
                </a:lnTo>
                <a:lnTo>
                  <a:pt x="33" y="960"/>
                </a:lnTo>
                <a:lnTo>
                  <a:pt x="0" y="970"/>
                </a:lnTo>
              </a:path>
            </a:pathLst>
          </a:custGeom>
          <a:solidFill>
            <a:schemeClr val="accent3"/>
          </a:solidFill>
          <a:ln w="6350">
            <a:noFill/>
            <a:round/>
            <a:headEnd/>
            <a:tailEnd/>
          </a:ln>
        </p:spPr>
        <p:txBody>
          <a:bodyPr tIns="91440" bIns="91440" anchor="ctr"/>
          <a:lstStyle/>
          <a:p>
            <a:pPr>
              <a:defRPr/>
            </a:pPr>
            <a:endParaRPr lang="en-GB"/>
          </a:p>
        </p:txBody>
      </p:sp>
      <p:sp>
        <p:nvSpPr>
          <p:cNvPr id="6" name="Freeform 5"/>
          <p:cNvSpPr>
            <a:spLocks/>
          </p:cNvSpPr>
          <p:nvPr/>
        </p:nvSpPr>
        <p:spPr bwMode="auto">
          <a:xfrm>
            <a:off x="5695950" y="1382713"/>
            <a:ext cx="1395413" cy="1560512"/>
          </a:xfrm>
          <a:custGeom>
            <a:avLst/>
            <a:gdLst>
              <a:gd name="T0" fmla="*/ 2147483647 w 1019"/>
              <a:gd name="T1" fmla="*/ 0 h 1133"/>
              <a:gd name="T2" fmla="*/ 2147483647 w 1019"/>
              <a:gd name="T3" fmla="*/ 2147483647 h 1133"/>
              <a:gd name="T4" fmla="*/ 2147483647 w 1019"/>
              <a:gd name="T5" fmla="*/ 2147483647 h 1133"/>
              <a:gd name="T6" fmla="*/ 2147483647 w 1019"/>
              <a:gd name="T7" fmla="*/ 2147483647 h 1133"/>
              <a:gd name="T8" fmla="*/ 2147483647 w 1019"/>
              <a:gd name="T9" fmla="*/ 2147483647 h 1133"/>
              <a:gd name="T10" fmla="*/ 2147483647 w 1019"/>
              <a:gd name="T11" fmla="*/ 2147483647 h 1133"/>
              <a:gd name="T12" fmla="*/ 2147483647 w 1019"/>
              <a:gd name="T13" fmla="*/ 2147483647 h 1133"/>
              <a:gd name="T14" fmla="*/ 2147483647 w 1019"/>
              <a:gd name="T15" fmla="*/ 2147483647 h 1133"/>
              <a:gd name="T16" fmla="*/ 2147483647 w 1019"/>
              <a:gd name="T17" fmla="*/ 2147483647 h 1133"/>
              <a:gd name="T18" fmla="*/ 2147483647 w 1019"/>
              <a:gd name="T19" fmla="*/ 2147483647 h 1133"/>
              <a:gd name="T20" fmla="*/ 2147483647 w 1019"/>
              <a:gd name="T21" fmla="*/ 2147483647 h 1133"/>
              <a:gd name="T22" fmla="*/ 2147483647 w 1019"/>
              <a:gd name="T23" fmla="*/ 2147483647 h 1133"/>
              <a:gd name="T24" fmla="*/ 2147483647 w 1019"/>
              <a:gd name="T25" fmla="*/ 2147483647 h 1133"/>
              <a:gd name="T26" fmla="*/ 2147483647 w 1019"/>
              <a:gd name="T27" fmla="*/ 2147483647 h 1133"/>
              <a:gd name="T28" fmla="*/ 2147483647 w 1019"/>
              <a:gd name="T29" fmla="*/ 2147483647 h 1133"/>
              <a:gd name="T30" fmla="*/ 2147483647 w 1019"/>
              <a:gd name="T31" fmla="*/ 2147483647 h 1133"/>
              <a:gd name="T32" fmla="*/ 2147483647 w 1019"/>
              <a:gd name="T33" fmla="*/ 2147483647 h 1133"/>
              <a:gd name="T34" fmla="*/ 2147483647 w 1019"/>
              <a:gd name="T35" fmla="*/ 2147483647 h 1133"/>
              <a:gd name="T36" fmla="*/ 2147483647 w 1019"/>
              <a:gd name="T37" fmla="*/ 2147483647 h 1133"/>
              <a:gd name="T38" fmla="*/ 2147483647 w 1019"/>
              <a:gd name="T39" fmla="*/ 2147483647 h 1133"/>
              <a:gd name="T40" fmla="*/ 2147483647 w 1019"/>
              <a:gd name="T41" fmla="*/ 2147483647 h 1133"/>
              <a:gd name="T42" fmla="*/ 2147483647 w 1019"/>
              <a:gd name="T43" fmla="*/ 2147483647 h 1133"/>
              <a:gd name="T44" fmla="*/ 2147483647 w 1019"/>
              <a:gd name="T45" fmla="*/ 2147483647 h 1133"/>
              <a:gd name="T46" fmla="*/ 2147483647 w 1019"/>
              <a:gd name="T47" fmla="*/ 2147483647 h 1133"/>
              <a:gd name="T48" fmla="*/ 2147483647 w 1019"/>
              <a:gd name="T49" fmla="*/ 2147483647 h 1133"/>
              <a:gd name="T50" fmla="*/ 2147483647 w 1019"/>
              <a:gd name="T51" fmla="*/ 2147483647 h 1133"/>
              <a:gd name="T52" fmla="*/ 2147483647 w 1019"/>
              <a:gd name="T53" fmla="*/ 2147483647 h 1133"/>
              <a:gd name="T54" fmla="*/ 2147483647 w 1019"/>
              <a:gd name="T55" fmla="*/ 2147483647 h 1133"/>
              <a:gd name="T56" fmla="*/ 2147483647 w 1019"/>
              <a:gd name="T57" fmla="*/ 2147483647 h 1133"/>
              <a:gd name="T58" fmla="*/ 2147483647 w 1019"/>
              <a:gd name="T59" fmla="*/ 2147483647 h 1133"/>
              <a:gd name="T60" fmla="*/ 2147483647 w 1019"/>
              <a:gd name="T61" fmla="*/ 2147483647 h 1133"/>
              <a:gd name="T62" fmla="*/ 2147483647 w 1019"/>
              <a:gd name="T63" fmla="*/ 2147483647 h 1133"/>
              <a:gd name="T64" fmla="*/ 2147483647 w 1019"/>
              <a:gd name="T65" fmla="*/ 2147483647 h 1133"/>
              <a:gd name="T66" fmla="*/ 2147483647 w 1019"/>
              <a:gd name="T67" fmla="*/ 2147483647 h 1133"/>
              <a:gd name="T68" fmla="*/ 2147483647 w 1019"/>
              <a:gd name="T69" fmla="*/ 2147483647 h 1133"/>
              <a:gd name="T70" fmla="*/ 2147483647 w 1019"/>
              <a:gd name="T71" fmla="*/ 2147483647 h 1133"/>
              <a:gd name="T72" fmla="*/ 2147483647 w 1019"/>
              <a:gd name="T73" fmla="*/ 2147483647 h 1133"/>
              <a:gd name="T74" fmla="*/ 2147483647 w 1019"/>
              <a:gd name="T75" fmla="*/ 2147483647 h 1133"/>
              <a:gd name="T76" fmla="*/ 2147483647 w 1019"/>
              <a:gd name="T77" fmla="*/ 2147483647 h 1133"/>
              <a:gd name="T78" fmla="*/ 2147483647 w 1019"/>
              <a:gd name="T79" fmla="*/ 2147483647 h 1133"/>
              <a:gd name="T80" fmla="*/ 2147483647 w 1019"/>
              <a:gd name="T81" fmla="*/ 2147483647 h 1133"/>
              <a:gd name="T82" fmla="*/ 2147483647 w 1019"/>
              <a:gd name="T83" fmla="*/ 2147483647 h 1133"/>
              <a:gd name="T84" fmla="*/ 2147483647 w 1019"/>
              <a:gd name="T85" fmla="*/ 2147483647 h 1133"/>
              <a:gd name="T86" fmla="*/ 2147483647 w 1019"/>
              <a:gd name="T87" fmla="*/ 2147483647 h 1133"/>
              <a:gd name="T88" fmla="*/ 2147483647 w 1019"/>
              <a:gd name="T89" fmla="*/ 2147483647 h 1133"/>
              <a:gd name="T90" fmla="*/ 2147483647 w 1019"/>
              <a:gd name="T91" fmla="*/ 2147483647 h 1133"/>
              <a:gd name="T92" fmla="*/ 2147483647 w 1019"/>
              <a:gd name="T93" fmla="*/ 2147483647 h 1133"/>
              <a:gd name="T94" fmla="*/ 2147483647 w 1019"/>
              <a:gd name="T95" fmla="*/ 2147483647 h 1133"/>
              <a:gd name="T96" fmla="*/ 2147483647 w 1019"/>
              <a:gd name="T97" fmla="*/ 2147483647 h 1133"/>
              <a:gd name="T98" fmla="*/ 2147483647 w 1019"/>
              <a:gd name="T99" fmla="*/ 2147483647 h 1133"/>
              <a:gd name="T100" fmla="*/ 2147483647 w 1019"/>
              <a:gd name="T101" fmla="*/ 2147483647 h 1133"/>
              <a:gd name="T102" fmla="*/ 2147483647 w 1019"/>
              <a:gd name="T103" fmla="*/ 2147483647 h 1133"/>
              <a:gd name="T104" fmla="*/ 2147483647 w 1019"/>
              <a:gd name="T105" fmla="*/ 2147483647 h 1133"/>
              <a:gd name="T106" fmla="*/ 2147483647 w 1019"/>
              <a:gd name="T107" fmla="*/ 2147483647 h 1133"/>
              <a:gd name="T108" fmla="*/ 2147483647 w 1019"/>
              <a:gd name="T109" fmla="*/ 2147483647 h 1133"/>
              <a:gd name="T110" fmla="*/ 2147483647 w 1019"/>
              <a:gd name="T111" fmla="*/ 2147483647 h 1133"/>
              <a:gd name="T112" fmla="*/ 2147483647 w 1019"/>
              <a:gd name="T113" fmla="*/ 2147483647 h 1133"/>
              <a:gd name="T114" fmla="*/ 2147483647 w 1019"/>
              <a:gd name="T115" fmla="*/ 2147483647 h 1133"/>
              <a:gd name="T116" fmla="*/ 0 w 1019"/>
              <a:gd name="T117" fmla="*/ 2147483647 h 1133"/>
              <a:gd name="T118" fmla="*/ 2147483647 w 1019"/>
              <a:gd name="T119" fmla="*/ 2147483647 h 1133"/>
              <a:gd name="T120" fmla="*/ 2147483647 w 1019"/>
              <a:gd name="T121" fmla="*/ 2147483647 h 1133"/>
              <a:gd name="T122" fmla="*/ 2147483647 w 1019"/>
              <a:gd name="T123" fmla="*/ 2147483647 h 11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19"/>
              <a:gd name="T187" fmla="*/ 0 h 1133"/>
              <a:gd name="T188" fmla="*/ 1019 w 1019"/>
              <a:gd name="T189" fmla="*/ 1133 h 113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19" h="1133">
                <a:moveTo>
                  <a:pt x="31" y="26"/>
                </a:moveTo>
                <a:lnTo>
                  <a:pt x="43" y="0"/>
                </a:lnTo>
                <a:lnTo>
                  <a:pt x="849" y="0"/>
                </a:lnTo>
                <a:lnTo>
                  <a:pt x="1018" y="923"/>
                </a:lnTo>
                <a:lnTo>
                  <a:pt x="997" y="907"/>
                </a:lnTo>
                <a:lnTo>
                  <a:pt x="982" y="894"/>
                </a:lnTo>
                <a:lnTo>
                  <a:pt x="965" y="883"/>
                </a:lnTo>
                <a:lnTo>
                  <a:pt x="944" y="872"/>
                </a:lnTo>
                <a:lnTo>
                  <a:pt x="922" y="864"/>
                </a:lnTo>
                <a:lnTo>
                  <a:pt x="898" y="859"/>
                </a:lnTo>
                <a:lnTo>
                  <a:pt x="870" y="853"/>
                </a:lnTo>
                <a:lnTo>
                  <a:pt x="844" y="851"/>
                </a:lnTo>
                <a:lnTo>
                  <a:pt x="818" y="849"/>
                </a:lnTo>
                <a:lnTo>
                  <a:pt x="789" y="849"/>
                </a:lnTo>
                <a:lnTo>
                  <a:pt x="754" y="849"/>
                </a:lnTo>
                <a:lnTo>
                  <a:pt x="727" y="853"/>
                </a:lnTo>
                <a:lnTo>
                  <a:pt x="700" y="857"/>
                </a:lnTo>
                <a:lnTo>
                  <a:pt x="677" y="860"/>
                </a:lnTo>
                <a:lnTo>
                  <a:pt x="655" y="868"/>
                </a:lnTo>
                <a:lnTo>
                  <a:pt x="638" y="875"/>
                </a:lnTo>
                <a:lnTo>
                  <a:pt x="623" y="884"/>
                </a:lnTo>
                <a:lnTo>
                  <a:pt x="610" y="896"/>
                </a:lnTo>
                <a:lnTo>
                  <a:pt x="602" y="907"/>
                </a:lnTo>
                <a:lnTo>
                  <a:pt x="597" y="923"/>
                </a:lnTo>
                <a:lnTo>
                  <a:pt x="597" y="940"/>
                </a:lnTo>
                <a:lnTo>
                  <a:pt x="603" y="957"/>
                </a:lnTo>
                <a:lnTo>
                  <a:pt x="610" y="971"/>
                </a:lnTo>
                <a:lnTo>
                  <a:pt x="615" y="986"/>
                </a:lnTo>
                <a:lnTo>
                  <a:pt x="615" y="1008"/>
                </a:lnTo>
                <a:lnTo>
                  <a:pt x="608" y="1027"/>
                </a:lnTo>
                <a:lnTo>
                  <a:pt x="598" y="1045"/>
                </a:lnTo>
                <a:lnTo>
                  <a:pt x="583" y="1064"/>
                </a:lnTo>
                <a:lnTo>
                  <a:pt x="569" y="1081"/>
                </a:lnTo>
                <a:lnTo>
                  <a:pt x="554" y="1092"/>
                </a:lnTo>
                <a:lnTo>
                  <a:pt x="539" y="1101"/>
                </a:lnTo>
                <a:lnTo>
                  <a:pt x="523" y="1112"/>
                </a:lnTo>
                <a:lnTo>
                  <a:pt x="506" y="1119"/>
                </a:lnTo>
                <a:lnTo>
                  <a:pt x="489" y="1125"/>
                </a:lnTo>
                <a:lnTo>
                  <a:pt x="471" y="1129"/>
                </a:lnTo>
                <a:lnTo>
                  <a:pt x="455" y="1132"/>
                </a:lnTo>
                <a:lnTo>
                  <a:pt x="436" y="1132"/>
                </a:lnTo>
                <a:lnTo>
                  <a:pt x="419" y="1129"/>
                </a:lnTo>
                <a:lnTo>
                  <a:pt x="403" y="1125"/>
                </a:lnTo>
                <a:lnTo>
                  <a:pt x="388" y="1118"/>
                </a:lnTo>
                <a:lnTo>
                  <a:pt x="372" y="1108"/>
                </a:lnTo>
                <a:lnTo>
                  <a:pt x="358" y="1097"/>
                </a:lnTo>
                <a:lnTo>
                  <a:pt x="350" y="1084"/>
                </a:lnTo>
                <a:lnTo>
                  <a:pt x="346" y="1071"/>
                </a:lnTo>
                <a:lnTo>
                  <a:pt x="345" y="1058"/>
                </a:lnTo>
                <a:lnTo>
                  <a:pt x="346" y="1040"/>
                </a:lnTo>
                <a:lnTo>
                  <a:pt x="350" y="1021"/>
                </a:lnTo>
                <a:lnTo>
                  <a:pt x="358" y="999"/>
                </a:lnTo>
                <a:lnTo>
                  <a:pt x="369" y="979"/>
                </a:lnTo>
                <a:lnTo>
                  <a:pt x="378" y="962"/>
                </a:lnTo>
                <a:lnTo>
                  <a:pt x="384" y="949"/>
                </a:lnTo>
                <a:lnTo>
                  <a:pt x="389" y="929"/>
                </a:lnTo>
                <a:lnTo>
                  <a:pt x="393" y="909"/>
                </a:lnTo>
                <a:lnTo>
                  <a:pt x="389" y="892"/>
                </a:lnTo>
                <a:lnTo>
                  <a:pt x="382" y="877"/>
                </a:lnTo>
                <a:lnTo>
                  <a:pt x="368" y="864"/>
                </a:lnTo>
                <a:lnTo>
                  <a:pt x="353" y="859"/>
                </a:lnTo>
                <a:lnTo>
                  <a:pt x="339" y="853"/>
                </a:lnTo>
                <a:lnTo>
                  <a:pt x="318" y="849"/>
                </a:lnTo>
                <a:lnTo>
                  <a:pt x="276" y="849"/>
                </a:lnTo>
                <a:lnTo>
                  <a:pt x="245" y="853"/>
                </a:lnTo>
                <a:lnTo>
                  <a:pt x="217" y="859"/>
                </a:lnTo>
                <a:lnTo>
                  <a:pt x="180" y="866"/>
                </a:lnTo>
                <a:lnTo>
                  <a:pt x="147" y="875"/>
                </a:lnTo>
                <a:lnTo>
                  <a:pt x="110" y="884"/>
                </a:lnTo>
                <a:lnTo>
                  <a:pt x="83" y="892"/>
                </a:lnTo>
                <a:lnTo>
                  <a:pt x="64" y="897"/>
                </a:lnTo>
                <a:lnTo>
                  <a:pt x="53" y="907"/>
                </a:lnTo>
                <a:lnTo>
                  <a:pt x="46" y="886"/>
                </a:lnTo>
                <a:lnTo>
                  <a:pt x="38" y="864"/>
                </a:lnTo>
                <a:lnTo>
                  <a:pt x="31" y="840"/>
                </a:lnTo>
                <a:lnTo>
                  <a:pt x="25" y="816"/>
                </a:lnTo>
                <a:lnTo>
                  <a:pt x="20" y="786"/>
                </a:lnTo>
                <a:lnTo>
                  <a:pt x="16" y="753"/>
                </a:lnTo>
                <a:lnTo>
                  <a:pt x="17" y="720"/>
                </a:lnTo>
                <a:lnTo>
                  <a:pt x="21" y="688"/>
                </a:lnTo>
                <a:lnTo>
                  <a:pt x="30" y="655"/>
                </a:lnTo>
                <a:lnTo>
                  <a:pt x="42" y="622"/>
                </a:lnTo>
                <a:lnTo>
                  <a:pt x="56" y="592"/>
                </a:lnTo>
                <a:lnTo>
                  <a:pt x="73" y="568"/>
                </a:lnTo>
                <a:lnTo>
                  <a:pt x="91" y="550"/>
                </a:lnTo>
                <a:lnTo>
                  <a:pt x="111" y="535"/>
                </a:lnTo>
                <a:lnTo>
                  <a:pt x="131" y="520"/>
                </a:lnTo>
                <a:lnTo>
                  <a:pt x="150" y="509"/>
                </a:lnTo>
                <a:lnTo>
                  <a:pt x="170" y="496"/>
                </a:lnTo>
                <a:lnTo>
                  <a:pt x="195" y="477"/>
                </a:lnTo>
                <a:lnTo>
                  <a:pt x="211" y="466"/>
                </a:lnTo>
                <a:lnTo>
                  <a:pt x="225" y="450"/>
                </a:lnTo>
                <a:lnTo>
                  <a:pt x="239" y="431"/>
                </a:lnTo>
                <a:lnTo>
                  <a:pt x="251" y="411"/>
                </a:lnTo>
                <a:lnTo>
                  <a:pt x="260" y="387"/>
                </a:lnTo>
                <a:lnTo>
                  <a:pt x="266" y="361"/>
                </a:lnTo>
                <a:lnTo>
                  <a:pt x="268" y="331"/>
                </a:lnTo>
                <a:lnTo>
                  <a:pt x="265" y="304"/>
                </a:lnTo>
                <a:lnTo>
                  <a:pt x="256" y="274"/>
                </a:lnTo>
                <a:lnTo>
                  <a:pt x="244" y="252"/>
                </a:lnTo>
                <a:lnTo>
                  <a:pt x="228" y="233"/>
                </a:lnTo>
                <a:lnTo>
                  <a:pt x="209" y="224"/>
                </a:lnTo>
                <a:lnTo>
                  <a:pt x="192" y="224"/>
                </a:lnTo>
                <a:lnTo>
                  <a:pt x="175" y="233"/>
                </a:lnTo>
                <a:lnTo>
                  <a:pt x="158" y="252"/>
                </a:lnTo>
                <a:lnTo>
                  <a:pt x="145" y="272"/>
                </a:lnTo>
                <a:lnTo>
                  <a:pt x="132" y="294"/>
                </a:lnTo>
                <a:lnTo>
                  <a:pt x="120" y="315"/>
                </a:lnTo>
                <a:lnTo>
                  <a:pt x="106" y="328"/>
                </a:lnTo>
                <a:lnTo>
                  <a:pt x="89" y="333"/>
                </a:lnTo>
                <a:lnTo>
                  <a:pt x="67" y="333"/>
                </a:lnTo>
                <a:lnTo>
                  <a:pt x="48" y="328"/>
                </a:lnTo>
                <a:lnTo>
                  <a:pt x="35" y="311"/>
                </a:lnTo>
                <a:lnTo>
                  <a:pt x="22" y="294"/>
                </a:lnTo>
                <a:lnTo>
                  <a:pt x="13" y="274"/>
                </a:lnTo>
                <a:lnTo>
                  <a:pt x="5" y="248"/>
                </a:lnTo>
                <a:lnTo>
                  <a:pt x="1" y="222"/>
                </a:lnTo>
                <a:lnTo>
                  <a:pt x="0" y="194"/>
                </a:lnTo>
                <a:lnTo>
                  <a:pt x="1" y="165"/>
                </a:lnTo>
                <a:lnTo>
                  <a:pt x="5" y="137"/>
                </a:lnTo>
                <a:lnTo>
                  <a:pt x="11" y="100"/>
                </a:lnTo>
                <a:lnTo>
                  <a:pt x="19" y="69"/>
                </a:lnTo>
                <a:lnTo>
                  <a:pt x="24" y="48"/>
                </a:lnTo>
                <a:lnTo>
                  <a:pt x="31" y="26"/>
                </a:lnTo>
              </a:path>
            </a:pathLst>
          </a:custGeom>
          <a:solidFill>
            <a:schemeClr val="accent3"/>
          </a:solidFill>
          <a:ln w="6350">
            <a:noFill/>
            <a:round/>
            <a:headEnd/>
            <a:tailEnd/>
          </a:ln>
        </p:spPr>
        <p:txBody>
          <a:bodyPr tIns="91440" bIns="91440" anchor="ctr"/>
          <a:lstStyle/>
          <a:p>
            <a:pPr>
              <a:defRPr/>
            </a:pPr>
            <a:endParaRPr lang="en-GB"/>
          </a:p>
        </p:txBody>
      </p:sp>
      <p:sp>
        <p:nvSpPr>
          <p:cNvPr id="12"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0417" name="Title 1"/>
          <p:cNvSpPr>
            <a:spLocks noGrp="1"/>
          </p:cNvSpPr>
          <p:nvPr>
            <p:ph type="title"/>
          </p:nvPr>
        </p:nvSpPr>
        <p:spPr>
          <a:xfrm>
            <a:off x="414338" y="446038"/>
            <a:ext cx="8330184" cy="333425"/>
          </a:xfrm>
        </p:spPr>
        <p:txBody>
          <a:bodyPr/>
          <a:lstStyle/>
          <a:p>
            <a:r>
              <a:rPr lang="en-GB" altLang="ja-JP"/>
              <a:t>Others </a:t>
            </a:r>
            <a:r>
              <a:rPr lang="en-US"/>
              <a:t>—</a:t>
            </a:r>
            <a:r>
              <a:rPr lang="en-GB" altLang="ja-JP" smtClean="0"/>
              <a:t> </a:t>
            </a:r>
            <a:r>
              <a:rPr lang="en-GB" altLang="ja-JP"/>
              <a:t>trackers</a:t>
            </a:r>
            <a:endParaRPr lang="nl-NL"/>
          </a:p>
        </p:txBody>
      </p:sp>
      <p:grpSp>
        <p:nvGrpSpPr>
          <p:cNvPr id="2" name="Group 3"/>
          <p:cNvGrpSpPr>
            <a:grpSpLocks/>
          </p:cNvGrpSpPr>
          <p:nvPr/>
        </p:nvGrpSpPr>
        <p:grpSpPr bwMode="auto">
          <a:xfrm>
            <a:off x="715963" y="2762250"/>
            <a:ext cx="1198562" cy="666750"/>
            <a:chOff x="807" y="935"/>
            <a:chExt cx="818" cy="420"/>
          </a:xfrm>
        </p:grpSpPr>
        <p:sp>
          <p:nvSpPr>
            <p:cNvPr id="5" name="Rectangle 4"/>
            <p:cNvSpPr>
              <a:spLocks noChangeArrowheads="1"/>
            </p:cNvSpPr>
            <p:nvPr/>
          </p:nvSpPr>
          <p:spPr bwMode="auto">
            <a:xfrm>
              <a:off x="807" y="1086"/>
              <a:ext cx="303" cy="118"/>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sp>
          <p:nvSpPr>
            <p:cNvPr id="6" name="Rectangle 5"/>
            <p:cNvSpPr>
              <a:spLocks noChangeArrowheads="1"/>
            </p:cNvSpPr>
            <p:nvPr/>
          </p:nvSpPr>
          <p:spPr bwMode="auto">
            <a:xfrm>
              <a:off x="1322" y="935"/>
              <a:ext cx="303" cy="119"/>
            </a:xfrm>
            <a:prstGeom prst="rect">
              <a:avLst/>
            </a:prstGeom>
            <a:solidFill>
              <a:schemeClr val="accent3"/>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sp>
          <p:nvSpPr>
            <p:cNvPr id="7" name="Rectangle 6"/>
            <p:cNvSpPr>
              <a:spLocks noChangeArrowheads="1"/>
            </p:cNvSpPr>
            <p:nvPr/>
          </p:nvSpPr>
          <p:spPr bwMode="auto">
            <a:xfrm>
              <a:off x="1322" y="1085"/>
              <a:ext cx="303" cy="119"/>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sp>
          <p:nvSpPr>
            <p:cNvPr id="8" name="Rectangle 7"/>
            <p:cNvSpPr>
              <a:spLocks noChangeArrowheads="1"/>
            </p:cNvSpPr>
            <p:nvPr/>
          </p:nvSpPr>
          <p:spPr bwMode="auto">
            <a:xfrm>
              <a:off x="1322" y="1236"/>
              <a:ext cx="303" cy="119"/>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cxnSp>
          <p:nvCxnSpPr>
            <p:cNvPr id="9" name="AutoShape 8"/>
            <p:cNvCxnSpPr>
              <a:cxnSpLocks noChangeShapeType="1"/>
              <a:stCxn id="6" idx="1"/>
              <a:endCxn id="5" idx="3"/>
            </p:cNvCxnSpPr>
            <p:nvPr/>
          </p:nvCxnSpPr>
          <p:spPr bwMode="auto">
            <a:xfrm rot="10800000" flipV="1">
              <a:off x="1110" y="995"/>
              <a:ext cx="211" cy="150"/>
            </a:xfrm>
            <a:prstGeom prst="bentConnector3">
              <a:avLst>
                <a:gd name="adj1" fmla="val 50000"/>
              </a:avLst>
            </a:prstGeom>
            <a:noFill/>
            <a:ln w="12700">
              <a:solidFill>
                <a:schemeClr val="accent1"/>
              </a:solidFill>
              <a:miter lim="800000"/>
              <a:headEnd type="none" w="sm" len="sm"/>
              <a:tailEnd type="none" w="med" len="lg"/>
            </a:ln>
          </p:spPr>
        </p:cxnSp>
        <p:cxnSp>
          <p:nvCxnSpPr>
            <p:cNvPr id="10" name="AutoShape 9"/>
            <p:cNvCxnSpPr>
              <a:cxnSpLocks noChangeShapeType="1"/>
              <a:stCxn id="5" idx="3"/>
              <a:endCxn id="7" idx="1"/>
            </p:cNvCxnSpPr>
            <p:nvPr/>
          </p:nvCxnSpPr>
          <p:spPr bwMode="auto">
            <a:xfrm>
              <a:off x="1110" y="1145"/>
              <a:ext cx="211" cy="0"/>
            </a:xfrm>
            <a:prstGeom prst="straightConnector1">
              <a:avLst/>
            </a:prstGeom>
            <a:noFill/>
            <a:ln w="12700">
              <a:solidFill>
                <a:schemeClr val="accent1"/>
              </a:solidFill>
              <a:round/>
              <a:headEnd type="none" w="sm" len="sm"/>
              <a:tailEnd type="none" w="med" len="lg"/>
            </a:ln>
          </p:spPr>
        </p:cxnSp>
        <p:cxnSp>
          <p:nvCxnSpPr>
            <p:cNvPr id="11" name="AutoShape 10"/>
            <p:cNvCxnSpPr>
              <a:cxnSpLocks noChangeShapeType="1"/>
              <a:stCxn id="5" idx="3"/>
              <a:endCxn id="8" idx="1"/>
            </p:cNvCxnSpPr>
            <p:nvPr/>
          </p:nvCxnSpPr>
          <p:spPr bwMode="auto">
            <a:xfrm>
              <a:off x="1110" y="1145"/>
              <a:ext cx="211" cy="151"/>
            </a:xfrm>
            <a:prstGeom prst="bentConnector3">
              <a:avLst>
                <a:gd name="adj1" fmla="val 50000"/>
              </a:avLst>
            </a:prstGeom>
            <a:noFill/>
            <a:ln w="12700">
              <a:solidFill>
                <a:schemeClr val="accent1"/>
              </a:solidFill>
              <a:miter lim="800000"/>
              <a:headEnd type="none" w="sm" len="sm"/>
              <a:tailEnd type="none" w="med" len="lg"/>
            </a:ln>
          </p:spPr>
        </p:cxnSp>
      </p:grpSp>
      <p:grpSp>
        <p:nvGrpSpPr>
          <p:cNvPr id="3" name="Group 11"/>
          <p:cNvGrpSpPr>
            <a:grpSpLocks/>
          </p:cNvGrpSpPr>
          <p:nvPr/>
        </p:nvGrpSpPr>
        <p:grpSpPr bwMode="auto">
          <a:xfrm>
            <a:off x="2865438" y="2762250"/>
            <a:ext cx="1198562" cy="666750"/>
            <a:chOff x="2077" y="966"/>
            <a:chExt cx="818" cy="420"/>
          </a:xfrm>
        </p:grpSpPr>
        <p:sp>
          <p:nvSpPr>
            <p:cNvPr id="13" name="Rectangle 12"/>
            <p:cNvSpPr>
              <a:spLocks noChangeArrowheads="1"/>
            </p:cNvSpPr>
            <p:nvPr/>
          </p:nvSpPr>
          <p:spPr bwMode="auto">
            <a:xfrm>
              <a:off x="2077" y="1117"/>
              <a:ext cx="303" cy="118"/>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sp>
          <p:nvSpPr>
            <p:cNvPr id="14" name="Rectangle 13"/>
            <p:cNvSpPr>
              <a:spLocks noChangeArrowheads="1"/>
            </p:cNvSpPr>
            <p:nvPr/>
          </p:nvSpPr>
          <p:spPr bwMode="auto">
            <a:xfrm>
              <a:off x="2592" y="966"/>
              <a:ext cx="303" cy="119"/>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sp>
          <p:nvSpPr>
            <p:cNvPr id="15" name="Rectangle 14"/>
            <p:cNvSpPr>
              <a:spLocks noChangeArrowheads="1"/>
            </p:cNvSpPr>
            <p:nvPr/>
          </p:nvSpPr>
          <p:spPr bwMode="auto">
            <a:xfrm>
              <a:off x="2592" y="1116"/>
              <a:ext cx="303" cy="119"/>
            </a:xfrm>
            <a:prstGeom prst="rect">
              <a:avLst/>
            </a:prstGeom>
            <a:solidFill>
              <a:schemeClr val="accent3"/>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sp>
          <p:nvSpPr>
            <p:cNvPr id="16" name="Rectangle 15"/>
            <p:cNvSpPr>
              <a:spLocks noChangeArrowheads="1"/>
            </p:cNvSpPr>
            <p:nvPr/>
          </p:nvSpPr>
          <p:spPr bwMode="auto">
            <a:xfrm>
              <a:off x="2592" y="1267"/>
              <a:ext cx="303" cy="119"/>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cxnSp>
          <p:nvCxnSpPr>
            <p:cNvPr id="17" name="AutoShape 16"/>
            <p:cNvCxnSpPr>
              <a:cxnSpLocks noChangeShapeType="1"/>
              <a:stCxn id="14" idx="1"/>
              <a:endCxn id="13" idx="3"/>
            </p:cNvCxnSpPr>
            <p:nvPr/>
          </p:nvCxnSpPr>
          <p:spPr bwMode="auto">
            <a:xfrm rot="10800000" flipV="1">
              <a:off x="2380" y="1026"/>
              <a:ext cx="211" cy="150"/>
            </a:xfrm>
            <a:prstGeom prst="bentConnector3">
              <a:avLst>
                <a:gd name="adj1" fmla="val 50000"/>
              </a:avLst>
            </a:prstGeom>
            <a:noFill/>
            <a:ln w="12700">
              <a:solidFill>
                <a:schemeClr val="accent1"/>
              </a:solidFill>
              <a:miter lim="800000"/>
              <a:headEnd type="none" w="sm" len="sm"/>
              <a:tailEnd type="none" w="med" len="lg"/>
            </a:ln>
          </p:spPr>
        </p:cxnSp>
        <p:cxnSp>
          <p:nvCxnSpPr>
            <p:cNvPr id="18" name="AutoShape 17"/>
            <p:cNvCxnSpPr>
              <a:cxnSpLocks noChangeShapeType="1"/>
              <a:stCxn id="13" idx="3"/>
              <a:endCxn id="15" idx="1"/>
            </p:cNvCxnSpPr>
            <p:nvPr/>
          </p:nvCxnSpPr>
          <p:spPr bwMode="auto">
            <a:xfrm>
              <a:off x="2380" y="1176"/>
              <a:ext cx="211" cy="0"/>
            </a:xfrm>
            <a:prstGeom prst="straightConnector1">
              <a:avLst/>
            </a:prstGeom>
            <a:noFill/>
            <a:ln w="12700">
              <a:solidFill>
                <a:schemeClr val="accent1"/>
              </a:solidFill>
              <a:round/>
              <a:headEnd type="none" w="sm" len="sm"/>
              <a:tailEnd type="none" w="med" len="lg"/>
            </a:ln>
          </p:spPr>
        </p:cxnSp>
        <p:cxnSp>
          <p:nvCxnSpPr>
            <p:cNvPr id="19" name="AutoShape 18"/>
            <p:cNvCxnSpPr>
              <a:cxnSpLocks noChangeShapeType="1"/>
              <a:stCxn id="13" idx="3"/>
              <a:endCxn id="16" idx="1"/>
            </p:cNvCxnSpPr>
            <p:nvPr/>
          </p:nvCxnSpPr>
          <p:spPr bwMode="auto">
            <a:xfrm>
              <a:off x="2380" y="1176"/>
              <a:ext cx="211" cy="151"/>
            </a:xfrm>
            <a:prstGeom prst="bentConnector3">
              <a:avLst>
                <a:gd name="adj1" fmla="val 50000"/>
              </a:avLst>
            </a:prstGeom>
            <a:noFill/>
            <a:ln w="12700">
              <a:solidFill>
                <a:schemeClr val="accent1"/>
              </a:solidFill>
              <a:miter lim="800000"/>
              <a:headEnd type="none" w="sm" len="sm"/>
              <a:tailEnd type="none" w="med" len="lg"/>
            </a:ln>
          </p:spPr>
        </p:cxnSp>
      </p:grpSp>
      <p:grpSp>
        <p:nvGrpSpPr>
          <p:cNvPr id="4" name="Group 19"/>
          <p:cNvGrpSpPr>
            <a:grpSpLocks/>
          </p:cNvGrpSpPr>
          <p:nvPr/>
        </p:nvGrpSpPr>
        <p:grpSpPr bwMode="auto">
          <a:xfrm>
            <a:off x="5013325" y="2760663"/>
            <a:ext cx="1198563" cy="666750"/>
            <a:chOff x="807" y="2148"/>
            <a:chExt cx="818" cy="420"/>
          </a:xfrm>
        </p:grpSpPr>
        <p:sp>
          <p:nvSpPr>
            <p:cNvPr id="21" name="Rectangle 20"/>
            <p:cNvSpPr>
              <a:spLocks noChangeArrowheads="1"/>
            </p:cNvSpPr>
            <p:nvPr/>
          </p:nvSpPr>
          <p:spPr bwMode="auto">
            <a:xfrm>
              <a:off x="807" y="2299"/>
              <a:ext cx="303" cy="118"/>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sp>
          <p:nvSpPr>
            <p:cNvPr id="22" name="Rectangle 21"/>
            <p:cNvSpPr>
              <a:spLocks noChangeArrowheads="1"/>
            </p:cNvSpPr>
            <p:nvPr/>
          </p:nvSpPr>
          <p:spPr bwMode="auto">
            <a:xfrm>
              <a:off x="1322" y="2148"/>
              <a:ext cx="303" cy="119"/>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sp>
          <p:nvSpPr>
            <p:cNvPr id="23" name="Rectangle 22"/>
            <p:cNvSpPr>
              <a:spLocks noChangeArrowheads="1"/>
            </p:cNvSpPr>
            <p:nvPr/>
          </p:nvSpPr>
          <p:spPr bwMode="auto">
            <a:xfrm>
              <a:off x="1322" y="2298"/>
              <a:ext cx="303" cy="119"/>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sp>
          <p:nvSpPr>
            <p:cNvPr id="24" name="Rectangle 23"/>
            <p:cNvSpPr>
              <a:spLocks noChangeArrowheads="1"/>
            </p:cNvSpPr>
            <p:nvPr/>
          </p:nvSpPr>
          <p:spPr bwMode="auto">
            <a:xfrm>
              <a:off x="1322" y="2449"/>
              <a:ext cx="303" cy="119"/>
            </a:xfrm>
            <a:prstGeom prst="rect">
              <a:avLst/>
            </a:prstGeom>
            <a:solidFill>
              <a:schemeClr val="accent3"/>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cxnSp>
          <p:nvCxnSpPr>
            <p:cNvPr id="25" name="AutoShape 24"/>
            <p:cNvCxnSpPr>
              <a:cxnSpLocks noChangeShapeType="1"/>
              <a:stCxn id="22" idx="1"/>
              <a:endCxn id="21" idx="3"/>
            </p:cNvCxnSpPr>
            <p:nvPr/>
          </p:nvCxnSpPr>
          <p:spPr bwMode="auto">
            <a:xfrm rot="10800000" flipV="1">
              <a:off x="1110" y="2208"/>
              <a:ext cx="211" cy="150"/>
            </a:xfrm>
            <a:prstGeom prst="bentConnector3">
              <a:avLst>
                <a:gd name="adj1" fmla="val 50000"/>
              </a:avLst>
            </a:prstGeom>
            <a:noFill/>
            <a:ln w="12700">
              <a:solidFill>
                <a:schemeClr val="accent1"/>
              </a:solidFill>
              <a:miter lim="800000"/>
              <a:headEnd type="none" w="sm" len="sm"/>
              <a:tailEnd type="none" w="med" len="lg"/>
            </a:ln>
          </p:spPr>
        </p:cxnSp>
        <p:cxnSp>
          <p:nvCxnSpPr>
            <p:cNvPr id="26" name="AutoShape 25"/>
            <p:cNvCxnSpPr>
              <a:cxnSpLocks noChangeShapeType="1"/>
              <a:stCxn id="21" idx="3"/>
              <a:endCxn id="23" idx="1"/>
            </p:cNvCxnSpPr>
            <p:nvPr/>
          </p:nvCxnSpPr>
          <p:spPr bwMode="auto">
            <a:xfrm>
              <a:off x="1110" y="2358"/>
              <a:ext cx="211" cy="0"/>
            </a:xfrm>
            <a:prstGeom prst="straightConnector1">
              <a:avLst/>
            </a:prstGeom>
            <a:noFill/>
            <a:ln w="12700">
              <a:solidFill>
                <a:schemeClr val="accent1"/>
              </a:solidFill>
              <a:round/>
              <a:headEnd type="none" w="sm" len="sm"/>
              <a:tailEnd type="none" w="med" len="lg"/>
            </a:ln>
          </p:spPr>
        </p:cxnSp>
        <p:cxnSp>
          <p:nvCxnSpPr>
            <p:cNvPr id="27" name="AutoShape 26"/>
            <p:cNvCxnSpPr>
              <a:cxnSpLocks noChangeShapeType="1"/>
              <a:stCxn id="21" idx="3"/>
              <a:endCxn id="24" idx="1"/>
            </p:cNvCxnSpPr>
            <p:nvPr/>
          </p:nvCxnSpPr>
          <p:spPr bwMode="auto">
            <a:xfrm>
              <a:off x="1110" y="2358"/>
              <a:ext cx="211" cy="151"/>
            </a:xfrm>
            <a:prstGeom prst="bentConnector3">
              <a:avLst>
                <a:gd name="adj1" fmla="val 50000"/>
              </a:avLst>
            </a:prstGeom>
            <a:noFill/>
            <a:ln w="12700">
              <a:solidFill>
                <a:schemeClr val="accent1"/>
              </a:solidFill>
              <a:miter lim="800000"/>
              <a:headEnd type="none" w="sm" len="sm"/>
              <a:tailEnd type="none" w="med" len="lg"/>
            </a:ln>
          </p:spPr>
        </p:cxnSp>
      </p:grpSp>
      <p:grpSp>
        <p:nvGrpSpPr>
          <p:cNvPr id="12" name="Group 27"/>
          <p:cNvGrpSpPr>
            <a:grpSpLocks/>
          </p:cNvGrpSpPr>
          <p:nvPr/>
        </p:nvGrpSpPr>
        <p:grpSpPr bwMode="auto">
          <a:xfrm>
            <a:off x="7161213" y="2762250"/>
            <a:ext cx="1198562" cy="666750"/>
            <a:chOff x="807" y="2735"/>
            <a:chExt cx="818" cy="420"/>
          </a:xfrm>
        </p:grpSpPr>
        <p:sp>
          <p:nvSpPr>
            <p:cNvPr id="29" name="Rectangle 28"/>
            <p:cNvSpPr>
              <a:spLocks noChangeArrowheads="1"/>
            </p:cNvSpPr>
            <p:nvPr/>
          </p:nvSpPr>
          <p:spPr bwMode="auto">
            <a:xfrm>
              <a:off x="807" y="2886"/>
              <a:ext cx="303" cy="118"/>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sp>
          <p:nvSpPr>
            <p:cNvPr id="30" name="Rectangle 29"/>
            <p:cNvSpPr>
              <a:spLocks noChangeArrowheads="1"/>
            </p:cNvSpPr>
            <p:nvPr/>
          </p:nvSpPr>
          <p:spPr bwMode="auto">
            <a:xfrm>
              <a:off x="1322" y="2735"/>
              <a:ext cx="303" cy="119"/>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sp>
          <p:nvSpPr>
            <p:cNvPr id="31" name="Rectangle 30"/>
            <p:cNvSpPr>
              <a:spLocks noChangeArrowheads="1"/>
            </p:cNvSpPr>
            <p:nvPr/>
          </p:nvSpPr>
          <p:spPr bwMode="auto">
            <a:xfrm>
              <a:off x="1322" y="2885"/>
              <a:ext cx="303" cy="119"/>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sp>
          <p:nvSpPr>
            <p:cNvPr id="32" name="Rectangle 31"/>
            <p:cNvSpPr>
              <a:spLocks noChangeArrowheads="1"/>
            </p:cNvSpPr>
            <p:nvPr/>
          </p:nvSpPr>
          <p:spPr bwMode="auto">
            <a:xfrm>
              <a:off x="1322" y="3036"/>
              <a:ext cx="303" cy="119"/>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cxnSp>
          <p:nvCxnSpPr>
            <p:cNvPr id="33" name="AutoShape 32"/>
            <p:cNvCxnSpPr>
              <a:cxnSpLocks noChangeShapeType="1"/>
              <a:stCxn id="30" idx="1"/>
              <a:endCxn id="29" idx="3"/>
            </p:cNvCxnSpPr>
            <p:nvPr/>
          </p:nvCxnSpPr>
          <p:spPr bwMode="auto">
            <a:xfrm rot="10800000" flipV="1">
              <a:off x="1110" y="2795"/>
              <a:ext cx="211" cy="150"/>
            </a:xfrm>
            <a:prstGeom prst="bentConnector3">
              <a:avLst>
                <a:gd name="adj1" fmla="val 50000"/>
              </a:avLst>
            </a:prstGeom>
            <a:noFill/>
            <a:ln w="12700">
              <a:solidFill>
                <a:schemeClr val="accent1"/>
              </a:solidFill>
              <a:miter lim="800000"/>
              <a:headEnd type="none" w="sm" len="sm"/>
              <a:tailEnd type="none" w="med" len="lg"/>
            </a:ln>
          </p:spPr>
        </p:cxnSp>
        <p:cxnSp>
          <p:nvCxnSpPr>
            <p:cNvPr id="34" name="AutoShape 33"/>
            <p:cNvCxnSpPr>
              <a:cxnSpLocks noChangeShapeType="1"/>
              <a:stCxn id="29" idx="3"/>
              <a:endCxn id="31" idx="1"/>
            </p:cNvCxnSpPr>
            <p:nvPr/>
          </p:nvCxnSpPr>
          <p:spPr bwMode="auto">
            <a:xfrm>
              <a:off x="1110" y="2945"/>
              <a:ext cx="211" cy="0"/>
            </a:xfrm>
            <a:prstGeom prst="straightConnector1">
              <a:avLst/>
            </a:prstGeom>
            <a:noFill/>
            <a:ln w="12700">
              <a:solidFill>
                <a:schemeClr val="accent1"/>
              </a:solidFill>
              <a:round/>
              <a:headEnd type="none" w="sm" len="sm"/>
              <a:tailEnd type="none" w="med" len="lg"/>
            </a:ln>
          </p:spPr>
        </p:cxnSp>
        <p:cxnSp>
          <p:nvCxnSpPr>
            <p:cNvPr id="35" name="AutoShape 34"/>
            <p:cNvCxnSpPr>
              <a:cxnSpLocks noChangeShapeType="1"/>
              <a:stCxn id="29" idx="3"/>
              <a:endCxn id="32" idx="1"/>
            </p:cNvCxnSpPr>
            <p:nvPr/>
          </p:nvCxnSpPr>
          <p:spPr bwMode="auto">
            <a:xfrm>
              <a:off x="1110" y="2945"/>
              <a:ext cx="211" cy="151"/>
            </a:xfrm>
            <a:prstGeom prst="bentConnector3">
              <a:avLst>
                <a:gd name="adj1" fmla="val 50000"/>
              </a:avLst>
            </a:prstGeom>
            <a:noFill/>
            <a:ln w="12700">
              <a:solidFill>
                <a:schemeClr val="accent1"/>
              </a:solidFill>
              <a:miter lim="800000"/>
              <a:headEnd type="none" w="sm" len="sm"/>
              <a:tailEnd type="none" w="med" len="lg"/>
            </a:ln>
          </p:spPr>
        </p:cxnSp>
      </p:grpSp>
      <p:sp>
        <p:nvSpPr>
          <p:cNvPr id="37" name="Rectangle 36"/>
          <p:cNvSpPr>
            <a:spLocks noChangeArrowheads="1"/>
          </p:cNvSpPr>
          <p:nvPr/>
        </p:nvSpPr>
        <p:spPr bwMode="auto">
          <a:xfrm>
            <a:off x="715963" y="1773238"/>
            <a:ext cx="443966" cy="187325"/>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sp>
        <p:nvSpPr>
          <p:cNvPr id="38" name="Rectangle 37"/>
          <p:cNvSpPr>
            <a:spLocks noChangeArrowheads="1"/>
          </p:cNvSpPr>
          <p:nvPr/>
        </p:nvSpPr>
        <p:spPr bwMode="auto">
          <a:xfrm>
            <a:off x="1470559" y="1584325"/>
            <a:ext cx="443966" cy="188913"/>
          </a:xfrm>
          <a:prstGeom prst="rect">
            <a:avLst/>
          </a:prstGeom>
          <a:solidFill>
            <a:schemeClr val="accent3"/>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sp>
        <p:nvSpPr>
          <p:cNvPr id="39" name="Rectangle 38"/>
          <p:cNvSpPr>
            <a:spLocks noChangeArrowheads="1"/>
          </p:cNvSpPr>
          <p:nvPr/>
        </p:nvSpPr>
        <p:spPr bwMode="auto">
          <a:xfrm>
            <a:off x="1470559" y="1962150"/>
            <a:ext cx="443966" cy="188913"/>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cxnSp>
        <p:nvCxnSpPr>
          <p:cNvPr id="40" name="AutoShape 39"/>
          <p:cNvCxnSpPr>
            <a:cxnSpLocks noChangeShapeType="1"/>
            <a:stCxn id="38" idx="1"/>
            <a:endCxn id="37" idx="3"/>
          </p:cNvCxnSpPr>
          <p:nvPr/>
        </p:nvCxnSpPr>
        <p:spPr bwMode="auto">
          <a:xfrm rot="10800000" flipV="1">
            <a:off x="1159929" y="1679575"/>
            <a:ext cx="309165" cy="187325"/>
          </a:xfrm>
          <a:prstGeom prst="bentConnector3">
            <a:avLst>
              <a:gd name="adj1" fmla="val 50000"/>
            </a:avLst>
          </a:prstGeom>
          <a:noFill/>
          <a:ln w="12700">
            <a:solidFill>
              <a:schemeClr val="tx2"/>
            </a:solidFill>
            <a:miter lim="800000"/>
            <a:headEnd type="none" w="sm" len="sm"/>
            <a:tailEnd type="none" w="med" len="lg"/>
          </a:ln>
        </p:spPr>
      </p:cxnSp>
      <p:cxnSp>
        <p:nvCxnSpPr>
          <p:cNvPr id="41" name="AutoShape 40"/>
          <p:cNvCxnSpPr>
            <a:cxnSpLocks noChangeShapeType="1"/>
          </p:cNvCxnSpPr>
          <p:nvPr/>
        </p:nvCxnSpPr>
        <p:spPr bwMode="auto">
          <a:xfrm>
            <a:off x="1159929" y="1865312"/>
            <a:ext cx="309165" cy="190500"/>
          </a:xfrm>
          <a:prstGeom prst="bentConnector3">
            <a:avLst>
              <a:gd name="adj1" fmla="val 50000"/>
            </a:avLst>
          </a:prstGeom>
          <a:noFill/>
          <a:ln w="12700">
            <a:solidFill>
              <a:schemeClr val="tx2"/>
            </a:solidFill>
            <a:miter lim="800000"/>
            <a:headEnd type="none" w="sm" len="sm"/>
            <a:tailEnd type="none" w="med" len="lg"/>
          </a:ln>
        </p:spPr>
      </p:cxnSp>
      <p:sp>
        <p:nvSpPr>
          <p:cNvPr id="43" name="Rectangle 42"/>
          <p:cNvSpPr>
            <a:spLocks noChangeArrowheads="1"/>
          </p:cNvSpPr>
          <p:nvPr/>
        </p:nvSpPr>
        <p:spPr bwMode="auto">
          <a:xfrm>
            <a:off x="3938588" y="1773238"/>
            <a:ext cx="443966" cy="187325"/>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sp>
        <p:nvSpPr>
          <p:cNvPr id="44" name="Rectangle 43"/>
          <p:cNvSpPr>
            <a:spLocks noChangeArrowheads="1"/>
          </p:cNvSpPr>
          <p:nvPr/>
        </p:nvSpPr>
        <p:spPr bwMode="auto">
          <a:xfrm>
            <a:off x="4693184" y="1584325"/>
            <a:ext cx="443966" cy="188913"/>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sp>
        <p:nvSpPr>
          <p:cNvPr id="45" name="Rectangle 44"/>
          <p:cNvSpPr>
            <a:spLocks noChangeArrowheads="1"/>
          </p:cNvSpPr>
          <p:nvPr/>
        </p:nvSpPr>
        <p:spPr bwMode="auto">
          <a:xfrm>
            <a:off x="4693184" y="1962150"/>
            <a:ext cx="443966" cy="188913"/>
          </a:xfrm>
          <a:prstGeom prst="rect">
            <a:avLst/>
          </a:prstGeom>
          <a:solidFill>
            <a:schemeClr val="accent3"/>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cxnSp>
        <p:nvCxnSpPr>
          <p:cNvPr id="46" name="AutoShape 45"/>
          <p:cNvCxnSpPr>
            <a:cxnSpLocks noChangeShapeType="1"/>
            <a:stCxn id="44" idx="1"/>
            <a:endCxn id="43" idx="3"/>
          </p:cNvCxnSpPr>
          <p:nvPr/>
        </p:nvCxnSpPr>
        <p:spPr bwMode="auto">
          <a:xfrm rot="10800000" flipV="1">
            <a:off x="4382554" y="1679575"/>
            <a:ext cx="309165" cy="187325"/>
          </a:xfrm>
          <a:prstGeom prst="bentConnector3">
            <a:avLst>
              <a:gd name="adj1" fmla="val 50000"/>
            </a:avLst>
          </a:prstGeom>
          <a:noFill/>
          <a:ln w="12700">
            <a:solidFill>
              <a:schemeClr val="accent1"/>
            </a:solidFill>
            <a:miter lim="800000"/>
            <a:headEnd type="none" w="sm" len="sm"/>
            <a:tailEnd type="none" w="med" len="lg"/>
          </a:ln>
        </p:spPr>
      </p:cxnSp>
      <p:cxnSp>
        <p:nvCxnSpPr>
          <p:cNvPr id="47" name="AutoShape 46"/>
          <p:cNvCxnSpPr>
            <a:cxnSpLocks noChangeShapeType="1"/>
          </p:cNvCxnSpPr>
          <p:nvPr/>
        </p:nvCxnSpPr>
        <p:spPr bwMode="auto">
          <a:xfrm>
            <a:off x="4382554" y="1865312"/>
            <a:ext cx="309165" cy="190500"/>
          </a:xfrm>
          <a:prstGeom prst="bentConnector3">
            <a:avLst>
              <a:gd name="adj1" fmla="val 50000"/>
            </a:avLst>
          </a:prstGeom>
          <a:noFill/>
          <a:ln w="12700">
            <a:solidFill>
              <a:schemeClr val="accent1"/>
            </a:solidFill>
            <a:miter lim="800000"/>
            <a:headEnd type="none" w="sm" len="sm"/>
            <a:tailEnd type="none" w="med" len="lg"/>
          </a:ln>
        </p:spPr>
      </p:cxnSp>
      <p:sp>
        <p:nvSpPr>
          <p:cNvPr id="49" name="Rectangle 48"/>
          <p:cNvSpPr>
            <a:spLocks noChangeArrowheads="1"/>
          </p:cNvSpPr>
          <p:nvPr/>
        </p:nvSpPr>
        <p:spPr bwMode="auto">
          <a:xfrm>
            <a:off x="7161213" y="1773238"/>
            <a:ext cx="443966" cy="187325"/>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sp>
        <p:nvSpPr>
          <p:cNvPr id="50" name="Rectangle 49"/>
          <p:cNvSpPr>
            <a:spLocks noChangeArrowheads="1"/>
          </p:cNvSpPr>
          <p:nvPr/>
        </p:nvSpPr>
        <p:spPr bwMode="auto">
          <a:xfrm>
            <a:off x="7915809" y="1584325"/>
            <a:ext cx="443966" cy="188913"/>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sp>
        <p:nvSpPr>
          <p:cNvPr id="51" name="Rectangle 50"/>
          <p:cNvSpPr>
            <a:spLocks noChangeArrowheads="1"/>
          </p:cNvSpPr>
          <p:nvPr/>
        </p:nvSpPr>
        <p:spPr bwMode="auto">
          <a:xfrm>
            <a:off x="7915809" y="1962150"/>
            <a:ext cx="443966" cy="188913"/>
          </a:xfrm>
          <a:prstGeom prst="rect">
            <a:avLst/>
          </a:prstGeom>
          <a:solidFill>
            <a:schemeClr val="bg1"/>
          </a:solidFill>
          <a:ln w="12700" algn="ctr">
            <a:solidFill>
              <a:schemeClr val="accent3"/>
            </a:solidFill>
            <a:miter lim="800000"/>
            <a:headEnd type="none" w="sm" len="sm"/>
            <a:tailEnd type="none" w="med" len="lg"/>
          </a:ln>
        </p:spPr>
        <p:txBody>
          <a:bodyPr tIns="91440" bIns="91440" anchor="ctr"/>
          <a:lstStyle/>
          <a:p>
            <a:pPr marL="12700" indent="-12700" algn="ctr">
              <a:lnSpc>
                <a:spcPct val="110000"/>
              </a:lnSpc>
              <a:defRPr/>
            </a:pPr>
            <a:endParaRPr lang="en-GB" sz="1400">
              <a:ea typeface="ＭＳ Ｐゴシック" pitchFamily="50" charset="-128"/>
            </a:endParaRPr>
          </a:p>
        </p:txBody>
      </p:sp>
      <p:cxnSp>
        <p:nvCxnSpPr>
          <p:cNvPr id="52" name="AutoShape 51"/>
          <p:cNvCxnSpPr>
            <a:cxnSpLocks noChangeShapeType="1"/>
            <a:stCxn id="50" idx="1"/>
            <a:endCxn id="49" idx="3"/>
          </p:cNvCxnSpPr>
          <p:nvPr/>
        </p:nvCxnSpPr>
        <p:spPr bwMode="auto">
          <a:xfrm rot="10800000" flipV="1">
            <a:off x="7605179" y="1679575"/>
            <a:ext cx="309165" cy="187325"/>
          </a:xfrm>
          <a:prstGeom prst="bentConnector3">
            <a:avLst>
              <a:gd name="adj1" fmla="val 50000"/>
            </a:avLst>
          </a:prstGeom>
          <a:noFill/>
          <a:ln w="12700">
            <a:solidFill>
              <a:schemeClr val="accent1"/>
            </a:solidFill>
            <a:miter lim="800000"/>
            <a:headEnd type="none" w="sm" len="sm"/>
            <a:tailEnd type="none" w="med" len="lg"/>
          </a:ln>
        </p:spPr>
      </p:cxnSp>
      <p:cxnSp>
        <p:nvCxnSpPr>
          <p:cNvPr id="53" name="AutoShape 52"/>
          <p:cNvCxnSpPr>
            <a:cxnSpLocks noChangeShapeType="1"/>
          </p:cNvCxnSpPr>
          <p:nvPr/>
        </p:nvCxnSpPr>
        <p:spPr bwMode="auto">
          <a:xfrm>
            <a:off x="7605179" y="1865312"/>
            <a:ext cx="309165" cy="190500"/>
          </a:xfrm>
          <a:prstGeom prst="bentConnector3">
            <a:avLst>
              <a:gd name="adj1" fmla="val 50000"/>
            </a:avLst>
          </a:prstGeom>
          <a:noFill/>
          <a:ln w="12700">
            <a:solidFill>
              <a:schemeClr val="accent1"/>
            </a:solidFill>
            <a:miter lim="800000"/>
            <a:headEnd type="none" w="sm" len="sm"/>
            <a:tailEnd type="none" w="med" len="lg"/>
          </a:ln>
        </p:spPr>
      </p:cxnSp>
      <p:grpSp>
        <p:nvGrpSpPr>
          <p:cNvPr id="42" name="Group 53"/>
          <p:cNvGrpSpPr>
            <a:grpSpLocks/>
          </p:cNvGrpSpPr>
          <p:nvPr/>
        </p:nvGrpSpPr>
        <p:grpSpPr bwMode="auto">
          <a:xfrm>
            <a:off x="2295525" y="5373688"/>
            <a:ext cx="1327150" cy="215900"/>
            <a:chOff x="852" y="3385"/>
            <a:chExt cx="906" cy="136"/>
          </a:xfrm>
        </p:grpSpPr>
        <p:sp>
          <p:nvSpPr>
            <p:cNvPr id="55" name="AutoShape 54"/>
            <p:cNvSpPr>
              <a:spLocks noChangeArrowheads="1"/>
            </p:cNvSpPr>
            <p:nvPr/>
          </p:nvSpPr>
          <p:spPr bwMode="auto">
            <a:xfrm>
              <a:off x="1079" y="3385"/>
              <a:ext cx="226" cy="136"/>
            </a:xfrm>
            <a:prstGeom prst="chevron">
              <a:avLst>
                <a:gd name="adj" fmla="val 41544"/>
              </a:avLst>
            </a:prstGeom>
            <a:solidFill>
              <a:schemeClr val="accent3"/>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56" name="AutoShape 55"/>
            <p:cNvSpPr>
              <a:spLocks noChangeArrowheads="1"/>
            </p:cNvSpPr>
            <p:nvPr/>
          </p:nvSpPr>
          <p:spPr bwMode="auto">
            <a:xfrm>
              <a:off x="1305" y="3385"/>
              <a:ext cx="227" cy="136"/>
            </a:xfrm>
            <a:prstGeom prst="chevron">
              <a:avLst>
                <a:gd name="adj" fmla="val 41544"/>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57" name="AutoShape 56"/>
            <p:cNvSpPr>
              <a:spLocks noChangeArrowheads="1"/>
            </p:cNvSpPr>
            <p:nvPr/>
          </p:nvSpPr>
          <p:spPr bwMode="auto">
            <a:xfrm>
              <a:off x="1532" y="3385"/>
              <a:ext cx="226" cy="136"/>
            </a:xfrm>
            <a:prstGeom prst="chevron">
              <a:avLst>
                <a:gd name="adj" fmla="val 41544"/>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58" name="AutoShape 57"/>
            <p:cNvSpPr>
              <a:spLocks noChangeArrowheads="1"/>
            </p:cNvSpPr>
            <p:nvPr/>
          </p:nvSpPr>
          <p:spPr bwMode="auto">
            <a:xfrm>
              <a:off x="852" y="3385"/>
              <a:ext cx="227" cy="136"/>
            </a:xfrm>
            <a:prstGeom prst="homePlate">
              <a:avLst>
                <a:gd name="adj" fmla="val 41728"/>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grpSp>
      <p:grpSp>
        <p:nvGrpSpPr>
          <p:cNvPr id="48" name="Group 58"/>
          <p:cNvGrpSpPr>
            <a:grpSpLocks/>
          </p:cNvGrpSpPr>
          <p:nvPr/>
        </p:nvGrpSpPr>
        <p:grpSpPr bwMode="auto">
          <a:xfrm>
            <a:off x="3875088" y="5375275"/>
            <a:ext cx="1327150" cy="215900"/>
            <a:chOff x="2213" y="3385"/>
            <a:chExt cx="906" cy="136"/>
          </a:xfrm>
        </p:grpSpPr>
        <p:sp>
          <p:nvSpPr>
            <p:cNvPr id="60" name="AutoShape 59"/>
            <p:cNvSpPr>
              <a:spLocks noChangeArrowheads="1"/>
            </p:cNvSpPr>
            <p:nvPr/>
          </p:nvSpPr>
          <p:spPr bwMode="auto">
            <a:xfrm>
              <a:off x="2439" y="3385"/>
              <a:ext cx="227" cy="136"/>
            </a:xfrm>
            <a:prstGeom prst="chevron">
              <a:avLst>
                <a:gd name="adj" fmla="val 41544"/>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61" name="AutoShape 60"/>
            <p:cNvSpPr>
              <a:spLocks noChangeArrowheads="1"/>
            </p:cNvSpPr>
            <p:nvPr/>
          </p:nvSpPr>
          <p:spPr bwMode="auto">
            <a:xfrm>
              <a:off x="2666" y="3385"/>
              <a:ext cx="226" cy="136"/>
            </a:xfrm>
            <a:prstGeom prst="chevron">
              <a:avLst>
                <a:gd name="adj" fmla="val 41544"/>
              </a:avLst>
            </a:prstGeom>
            <a:solidFill>
              <a:schemeClr val="accent3"/>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62" name="AutoShape 61"/>
            <p:cNvSpPr>
              <a:spLocks noChangeArrowheads="1"/>
            </p:cNvSpPr>
            <p:nvPr/>
          </p:nvSpPr>
          <p:spPr bwMode="auto">
            <a:xfrm>
              <a:off x="2892" y="3385"/>
              <a:ext cx="227" cy="136"/>
            </a:xfrm>
            <a:prstGeom prst="chevron">
              <a:avLst>
                <a:gd name="adj" fmla="val 41544"/>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63" name="AutoShape 62"/>
            <p:cNvSpPr>
              <a:spLocks noChangeArrowheads="1"/>
            </p:cNvSpPr>
            <p:nvPr/>
          </p:nvSpPr>
          <p:spPr bwMode="auto">
            <a:xfrm>
              <a:off x="2213" y="3385"/>
              <a:ext cx="226" cy="136"/>
            </a:xfrm>
            <a:prstGeom prst="homePlate">
              <a:avLst>
                <a:gd name="adj" fmla="val 41728"/>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grpSp>
      <p:grpSp>
        <p:nvGrpSpPr>
          <p:cNvPr id="54" name="Group 63"/>
          <p:cNvGrpSpPr>
            <a:grpSpLocks/>
          </p:cNvGrpSpPr>
          <p:nvPr/>
        </p:nvGrpSpPr>
        <p:grpSpPr bwMode="auto">
          <a:xfrm>
            <a:off x="5453063" y="5375275"/>
            <a:ext cx="1327150" cy="215900"/>
            <a:chOff x="3529" y="3385"/>
            <a:chExt cx="906" cy="136"/>
          </a:xfrm>
        </p:grpSpPr>
        <p:sp>
          <p:nvSpPr>
            <p:cNvPr id="65" name="AutoShape 64"/>
            <p:cNvSpPr>
              <a:spLocks noChangeArrowheads="1"/>
            </p:cNvSpPr>
            <p:nvPr/>
          </p:nvSpPr>
          <p:spPr bwMode="auto">
            <a:xfrm>
              <a:off x="3755" y="3385"/>
              <a:ext cx="227" cy="136"/>
            </a:xfrm>
            <a:prstGeom prst="chevron">
              <a:avLst>
                <a:gd name="adj" fmla="val 41544"/>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66" name="AutoShape 65"/>
            <p:cNvSpPr>
              <a:spLocks noChangeArrowheads="1"/>
            </p:cNvSpPr>
            <p:nvPr/>
          </p:nvSpPr>
          <p:spPr bwMode="auto">
            <a:xfrm>
              <a:off x="3982" y="3385"/>
              <a:ext cx="226" cy="136"/>
            </a:xfrm>
            <a:prstGeom prst="chevron">
              <a:avLst>
                <a:gd name="adj" fmla="val 41544"/>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67" name="AutoShape 66"/>
            <p:cNvSpPr>
              <a:spLocks noChangeArrowheads="1"/>
            </p:cNvSpPr>
            <p:nvPr/>
          </p:nvSpPr>
          <p:spPr bwMode="auto">
            <a:xfrm>
              <a:off x="4208" y="3385"/>
              <a:ext cx="227" cy="136"/>
            </a:xfrm>
            <a:prstGeom prst="chevron">
              <a:avLst>
                <a:gd name="adj" fmla="val 41544"/>
              </a:avLst>
            </a:prstGeom>
            <a:solidFill>
              <a:schemeClr val="accent3"/>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68" name="AutoShape 67"/>
            <p:cNvSpPr>
              <a:spLocks noChangeArrowheads="1"/>
            </p:cNvSpPr>
            <p:nvPr/>
          </p:nvSpPr>
          <p:spPr bwMode="auto">
            <a:xfrm>
              <a:off x="3529" y="3385"/>
              <a:ext cx="226" cy="136"/>
            </a:xfrm>
            <a:prstGeom prst="homePlate">
              <a:avLst>
                <a:gd name="adj" fmla="val 41728"/>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grpSp>
      <p:grpSp>
        <p:nvGrpSpPr>
          <p:cNvPr id="59" name="Group 68"/>
          <p:cNvGrpSpPr>
            <a:grpSpLocks/>
          </p:cNvGrpSpPr>
          <p:nvPr/>
        </p:nvGrpSpPr>
        <p:grpSpPr bwMode="auto">
          <a:xfrm>
            <a:off x="7032625" y="5375275"/>
            <a:ext cx="1327150" cy="215900"/>
            <a:chOff x="4799" y="3385"/>
            <a:chExt cx="906" cy="136"/>
          </a:xfrm>
        </p:grpSpPr>
        <p:sp>
          <p:nvSpPr>
            <p:cNvPr id="70" name="AutoShape 69"/>
            <p:cNvSpPr>
              <a:spLocks noChangeArrowheads="1"/>
            </p:cNvSpPr>
            <p:nvPr/>
          </p:nvSpPr>
          <p:spPr bwMode="auto">
            <a:xfrm>
              <a:off x="5026" y="3385"/>
              <a:ext cx="226" cy="136"/>
            </a:xfrm>
            <a:prstGeom prst="chevron">
              <a:avLst>
                <a:gd name="adj" fmla="val 41544"/>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71" name="AutoShape 70"/>
            <p:cNvSpPr>
              <a:spLocks noChangeArrowheads="1"/>
            </p:cNvSpPr>
            <p:nvPr/>
          </p:nvSpPr>
          <p:spPr bwMode="auto">
            <a:xfrm>
              <a:off x="5252" y="3385"/>
              <a:ext cx="227" cy="136"/>
            </a:xfrm>
            <a:prstGeom prst="chevron">
              <a:avLst>
                <a:gd name="adj" fmla="val 41544"/>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72" name="AutoShape 71"/>
            <p:cNvSpPr>
              <a:spLocks noChangeArrowheads="1"/>
            </p:cNvSpPr>
            <p:nvPr/>
          </p:nvSpPr>
          <p:spPr bwMode="auto">
            <a:xfrm>
              <a:off x="5479" y="3385"/>
              <a:ext cx="226" cy="136"/>
            </a:xfrm>
            <a:prstGeom prst="chevron">
              <a:avLst>
                <a:gd name="adj" fmla="val 41544"/>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73" name="AutoShape 72"/>
            <p:cNvSpPr>
              <a:spLocks noChangeArrowheads="1"/>
            </p:cNvSpPr>
            <p:nvPr/>
          </p:nvSpPr>
          <p:spPr bwMode="auto">
            <a:xfrm>
              <a:off x="4799" y="3385"/>
              <a:ext cx="227" cy="136"/>
            </a:xfrm>
            <a:prstGeom prst="homePlate">
              <a:avLst>
                <a:gd name="adj" fmla="val 41728"/>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grpSp>
      <p:grpSp>
        <p:nvGrpSpPr>
          <p:cNvPr id="64" name="Group 73"/>
          <p:cNvGrpSpPr>
            <a:grpSpLocks/>
          </p:cNvGrpSpPr>
          <p:nvPr/>
        </p:nvGrpSpPr>
        <p:grpSpPr bwMode="auto">
          <a:xfrm>
            <a:off x="2932113" y="4292600"/>
            <a:ext cx="995362" cy="215900"/>
            <a:chOff x="853" y="2704"/>
            <a:chExt cx="679" cy="136"/>
          </a:xfrm>
        </p:grpSpPr>
        <p:sp>
          <p:nvSpPr>
            <p:cNvPr id="75" name="AutoShape 74"/>
            <p:cNvSpPr>
              <a:spLocks noChangeArrowheads="1"/>
            </p:cNvSpPr>
            <p:nvPr/>
          </p:nvSpPr>
          <p:spPr bwMode="auto">
            <a:xfrm>
              <a:off x="1080" y="2704"/>
              <a:ext cx="225" cy="136"/>
            </a:xfrm>
            <a:prstGeom prst="chevron">
              <a:avLst>
                <a:gd name="adj" fmla="val 41544"/>
              </a:avLst>
            </a:prstGeom>
            <a:solidFill>
              <a:schemeClr val="accent3"/>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76" name="AutoShape 75"/>
            <p:cNvSpPr>
              <a:spLocks noChangeArrowheads="1"/>
            </p:cNvSpPr>
            <p:nvPr/>
          </p:nvSpPr>
          <p:spPr bwMode="auto">
            <a:xfrm>
              <a:off x="1306" y="2704"/>
              <a:ext cx="226" cy="136"/>
            </a:xfrm>
            <a:prstGeom prst="chevron">
              <a:avLst>
                <a:gd name="adj" fmla="val 41544"/>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77" name="AutoShape 76"/>
            <p:cNvSpPr>
              <a:spLocks noChangeArrowheads="1"/>
            </p:cNvSpPr>
            <p:nvPr/>
          </p:nvSpPr>
          <p:spPr bwMode="auto">
            <a:xfrm>
              <a:off x="853" y="2704"/>
              <a:ext cx="227" cy="136"/>
            </a:xfrm>
            <a:prstGeom prst="homePlate">
              <a:avLst>
                <a:gd name="adj" fmla="val 41728"/>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grpSp>
      <p:grpSp>
        <p:nvGrpSpPr>
          <p:cNvPr id="69" name="Group 77"/>
          <p:cNvGrpSpPr>
            <a:grpSpLocks/>
          </p:cNvGrpSpPr>
          <p:nvPr/>
        </p:nvGrpSpPr>
        <p:grpSpPr bwMode="auto">
          <a:xfrm>
            <a:off x="5148263" y="4292600"/>
            <a:ext cx="995362" cy="215900"/>
            <a:chOff x="2214" y="2704"/>
            <a:chExt cx="679" cy="136"/>
          </a:xfrm>
        </p:grpSpPr>
        <p:sp>
          <p:nvSpPr>
            <p:cNvPr id="79" name="AutoShape 78"/>
            <p:cNvSpPr>
              <a:spLocks noChangeArrowheads="1"/>
            </p:cNvSpPr>
            <p:nvPr/>
          </p:nvSpPr>
          <p:spPr bwMode="auto">
            <a:xfrm>
              <a:off x="2441" y="2704"/>
              <a:ext cx="225" cy="136"/>
            </a:xfrm>
            <a:prstGeom prst="chevron">
              <a:avLst>
                <a:gd name="adj" fmla="val 41544"/>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80" name="AutoShape 79"/>
            <p:cNvSpPr>
              <a:spLocks noChangeArrowheads="1"/>
            </p:cNvSpPr>
            <p:nvPr/>
          </p:nvSpPr>
          <p:spPr bwMode="auto">
            <a:xfrm>
              <a:off x="2667" y="2704"/>
              <a:ext cx="226" cy="136"/>
            </a:xfrm>
            <a:prstGeom prst="chevron">
              <a:avLst>
                <a:gd name="adj" fmla="val 41544"/>
              </a:avLst>
            </a:prstGeom>
            <a:solidFill>
              <a:schemeClr val="accent3"/>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81" name="AutoShape 80"/>
            <p:cNvSpPr>
              <a:spLocks noChangeArrowheads="1"/>
            </p:cNvSpPr>
            <p:nvPr/>
          </p:nvSpPr>
          <p:spPr bwMode="auto">
            <a:xfrm>
              <a:off x="2214" y="2704"/>
              <a:ext cx="227" cy="136"/>
            </a:xfrm>
            <a:prstGeom prst="homePlate">
              <a:avLst>
                <a:gd name="adj" fmla="val 41728"/>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grpSp>
      <p:grpSp>
        <p:nvGrpSpPr>
          <p:cNvPr id="74" name="Group 81"/>
          <p:cNvGrpSpPr>
            <a:grpSpLocks/>
          </p:cNvGrpSpPr>
          <p:nvPr/>
        </p:nvGrpSpPr>
        <p:grpSpPr bwMode="auto">
          <a:xfrm>
            <a:off x="7364413" y="4292600"/>
            <a:ext cx="995362" cy="215900"/>
            <a:chOff x="3530" y="2704"/>
            <a:chExt cx="679" cy="136"/>
          </a:xfrm>
        </p:grpSpPr>
        <p:sp>
          <p:nvSpPr>
            <p:cNvPr id="83" name="AutoShape 82"/>
            <p:cNvSpPr>
              <a:spLocks noChangeArrowheads="1"/>
            </p:cNvSpPr>
            <p:nvPr/>
          </p:nvSpPr>
          <p:spPr bwMode="auto">
            <a:xfrm>
              <a:off x="3757" y="2704"/>
              <a:ext cx="225" cy="136"/>
            </a:xfrm>
            <a:prstGeom prst="chevron">
              <a:avLst>
                <a:gd name="adj" fmla="val 41544"/>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84" name="AutoShape 83"/>
            <p:cNvSpPr>
              <a:spLocks noChangeArrowheads="1"/>
            </p:cNvSpPr>
            <p:nvPr/>
          </p:nvSpPr>
          <p:spPr bwMode="auto">
            <a:xfrm>
              <a:off x="3983" y="2704"/>
              <a:ext cx="226" cy="136"/>
            </a:xfrm>
            <a:prstGeom prst="chevron">
              <a:avLst>
                <a:gd name="adj" fmla="val 41544"/>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85" name="AutoShape 84"/>
            <p:cNvSpPr>
              <a:spLocks noChangeArrowheads="1"/>
            </p:cNvSpPr>
            <p:nvPr/>
          </p:nvSpPr>
          <p:spPr bwMode="auto">
            <a:xfrm>
              <a:off x="3530" y="2704"/>
              <a:ext cx="227" cy="136"/>
            </a:xfrm>
            <a:prstGeom prst="homePlate">
              <a:avLst>
                <a:gd name="adj" fmla="val 41728"/>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grpSp>
      <p:grpSp>
        <p:nvGrpSpPr>
          <p:cNvPr id="78" name="Group 85"/>
          <p:cNvGrpSpPr>
            <a:grpSpLocks/>
          </p:cNvGrpSpPr>
          <p:nvPr/>
        </p:nvGrpSpPr>
        <p:grpSpPr bwMode="auto">
          <a:xfrm>
            <a:off x="715963" y="4292600"/>
            <a:ext cx="995362" cy="215900"/>
            <a:chOff x="853" y="2704"/>
            <a:chExt cx="679" cy="136"/>
          </a:xfrm>
        </p:grpSpPr>
        <p:sp>
          <p:nvSpPr>
            <p:cNvPr id="87" name="AutoShape 86"/>
            <p:cNvSpPr>
              <a:spLocks noChangeArrowheads="1"/>
            </p:cNvSpPr>
            <p:nvPr/>
          </p:nvSpPr>
          <p:spPr bwMode="auto">
            <a:xfrm>
              <a:off x="1080" y="2704"/>
              <a:ext cx="225" cy="136"/>
            </a:xfrm>
            <a:prstGeom prst="chevron">
              <a:avLst>
                <a:gd name="adj" fmla="val 41544"/>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88" name="AutoShape 87"/>
            <p:cNvSpPr>
              <a:spLocks noChangeArrowheads="1"/>
            </p:cNvSpPr>
            <p:nvPr/>
          </p:nvSpPr>
          <p:spPr bwMode="auto">
            <a:xfrm>
              <a:off x="1306" y="2704"/>
              <a:ext cx="226" cy="136"/>
            </a:xfrm>
            <a:prstGeom prst="chevron">
              <a:avLst>
                <a:gd name="adj" fmla="val 41544"/>
              </a:avLst>
            </a:prstGeom>
            <a:solidFill>
              <a:schemeClr val="bg1"/>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89" name="AutoShape 88"/>
            <p:cNvSpPr>
              <a:spLocks noChangeArrowheads="1"/>
            </p:cNvSpPr>
            <p:nvPr/>
          </p:nvSpPr>
          <p:spPr bwMode="auto">
            <a:xfrm>
              <a:off x="853" y="2704"/>
              <a:ext cx="227" cy="136"/>
            </a:xfrm>
            <a:prstGeom prst="homePlate">
              <a:avLst>
                <a:gd name="adj" fmla="val 41728"/>
              </a:avLst>
            </a:prstGeom>
            <a:solidFill>
              <a:schemeClr val="accent3"/>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grpSp>
      <p:grpSp>
        <p:nvGrpSpPr>
          <p:cNvPr id="82" name="Group 89"/>
          <p:cNvGrpSpPr>
            <a:grpSpLocks/>
          </p:cNvGrpSpPr>
          <p:nvPr/>
        </p:nvGrpSpPr>
        <p:grpSpPr bwMode="auto">
          <a:xfrm>
            <a:off x="715963" y="5373688"/>
            <a:ext cx="1328737" cy="215900"/>
            <a:chOff x="852" y="3385"/>
            <a:chExt cx="906" cy="136"/>
          </a:xfrm>
        </p:grpSpPr>
        <p:sp>
          <p:nvSpPr>
            <p:cNvPr id="91" name="AutoShape 90"/>
            <p:cNvSpPr>
              <a:spLocks noChangeArrowheads="1"/>
            </p:cNvSpPr>
            <p:nvPr/>
          </p:nvSpPr>
          <p:spPr bwMode="auto">
            <a:xfrm>
              <a:off x="1079" y="3385"/>
              <a:ext cx="226" cy="136"/>
            </a:xfrm>
            <a:prstGeom prst="chevron">
              <a:avLst>
                <a:gd name="adj" fmla="val 41544"/>
              </a:avLst>
            </a:prstGeom>
            <a:no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92" name="AutoShape 91"/>
            <p:cNvSpPr>
              <a:spLocks noChangeArrowheads="1"/>
            </p:cNvSpPr>
            <p:nvPr/>
          </p:nvSpPr>
          <p:spPr bwMode="auto">
            <a:xfrm>
              <a:off x="1306" y="3385"/>
              <a:ext cx="225" cy="136"/>
            </a:xfrm>
            <a:prstGeom prst="chevron">
              <a:avLst>
                <a:gd name="adj" fmla="val 41544"/>
              </a:avLst>
            </a:prstGeom>
            <a:no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93" name="AutoShape 92"/>
            <p:cNvSpPr>
              <a:spLocks noChangeArrowheads="1"/>
            </p:cNvSpPr>
            <p:nvPr/>
          </p:nvSpPr>
          <p:spPr bwMode="auto">
            <a:xfrm>
              <a:off x="1532" y="3385"/>
              <a:ext cx="226" cy="136"/>
            </a:xfrm>
            <a:prstGeom prst="chevron">
              <a:avLst>
                <a:gd name="adj" fmla="val 41544"/>
              </a:avLst>
            </a:prstGeom>
            <a:noFill/>
            <a:ln w="12700" algn="ctr">
              <a:solidFill>
                <a:schemeClr val="accent3"/>
              </a:solidFill>
              <a:miter lim="800000"/>
              <a:headEnd type="none" w="sm" len="sm"/>
              <a:tailEnd type="none" w="med" len="lg"/>
            </a:ln>
          </p:spPr>
          <p:txBody>
            <a:bodyPr tIns="91440" bIns="91440" anchor="ctr"/>
            <a:lstStyle/>
            <a:p>
              <a:pPr algn="ctr">
                <a:defRPr/>
              </a:pPr>
              <a:endParaRPr lang="en-GB"/>
            </a:p>
          </p:txBody>
        </p:sp>
        <p:sp>
          <p:nvSpPr>
            <p:cNvPr id="94" name="AutoShape 93"/>
            <p:cNvSpPr>
              <a:spLocks noChangeArrowheads="1"/>
            </p:cNvSpPr>
            <p:nvPr/>
          </p:nvSpPr>
          <p:spPr bwMode="auto">
            <a:xfrm>
              <a:off x="852" y="3385"/>
              <a:ext cx="227" cy="136"/>
            </a:xfrm>
            <a:prstGeom prst="homePlate">
              <a:avLst>
                <a:gd name="adj" fmla="val 41728"/>
              </a:avLst>
            </a:prstGeom>
            <a:solidFill>
              <a:schemeClr val="accent3"/>
            </a:solidFill>
            <a:ln w="12700" algn="ctr">
              <a:solidFill>
                <a:schemeClr val="accent3"/>
              </a:solidFill>
              <a:miter lim="800000"/>
              <a:headEnd type="none" w="sm" len="sm"/>
              <a:tailEnd type="none" w="med" len="lg"/>
            </a:ln>
          </p:spPr>
          <p:txBody>
            <a:bodyPr tIns="91440" bIns="91440" anchor="ctr"/>
            <a:lstStyle/>
            <a:p>
              <a:pPr algn="ctr">
                <a:defRPr/>
              </a:pPr>
              <a:endParaRPr lang="en-GB"/>
            </a:p>
          </p:txBody>
        </p:sp>
      </p:grpSp>
      <p:sp>
        <p:nvSpPr>
          <p:cNvPr id="95" name="Rectangle 94"/>
          <p:cNvSpPr>
            <a:spLocks noChangeArrowheads="1"/>
          </p:cNvSpPr>
          <p:nvPr/>
        </p:nvSpPr>
        <p:spPr bwMode="auto">
          <a:xfrm>
            <a:off x="6414072" y="422573"/>
            <a:ext cx="2330450" cy="461665"/>
          </a:xfrm>
          <a:prstGeom prst="rect">
            <a:avLst/>
          </a:prstGeom>
          <a:noFill/>
          <a:ln w="12700" algn="ctr">
            <a:solidFill>
              <a:schemeClr val="accent1"/>
            </a:solidFill>
            <a:miter lim="800000"/>
            <a:headEnd/>
            <a:tailEnd/>
          </a:ln>
        </p:spPr>
        <p:txBody>
          <a:bodyPr tIns="91440" bIns="91440">
            <a:spAutoFit/>
          </a:bodyPr>
          <a:lstStyle/>
          <a:p>
            <a:pPr algn="l">
              <a:defRPr/>
            </a:pPr>
            <a:r>
              <a:rPr lang="en-GB" sz="900" b="0" dirty="0">
                <a:solidFill>
                  <a:schemeClr val="tx2"/>
                </a:solidFill>
                <a:ea typeface="ＭＳ Ｐゴシック" pitchFamily="50" charset="-128"/>
              </a:rPr>
              <a:t>Tip! Place in </a:t>
            </a:r>
            <a:r>
              <a:rPr lang="en-GB" sz="900" dirty="0">
                <a:solidFill>
                  <a:schemeClr val="tx2"/>
                </a:solidFill>
                <a:ea typeface="ＭＳ Ｐゴシック" pitchFamily="50" charset="-128"/>
              </a:rPr>
              <a:t>top right corner </a:t>
            </a:r>
            <a:r>
              <a:rPr lang="en-GB" sz="900" b="0" dirty="0">
                <a:solidFill>
                  <a:schemeClr val="tx2"/>
                </a:solidFill>
                <a:ea typeface="ＭＳ Ｐゴシック" pitchFamily="50" charset="-128"/>
              </a:rPr>
              <a:t>of slide when your chapter is very </a:t>
            </a:r>
            <a:r>
              <a:rPr lang="en-GB" sz="900" b="0" dirty="0" smtClean="0">
                <a:solidFill>
                  <a:schemeClr val="tx2"/>
                </a:solidFill>
                <a:ea typeface="ＭＳ Ｐゴシック" pitchFamily="50" charset="-128"/>
              </a:rPr>
              <a:t>long.</a:t>
            </a:r>
            <a:endParaRPr lang="en-GB" sz="900" b="0" dirty="0">
              <a:solidFill>
                <a:schemeClr val="tx2"/>
              </a:solidFill>
              <a:ea typeface="ＭＳ Ｐゴシック" pitchFamily="50" charset="-128"/>
            </a:endParaRPr>
          </a:p>
        </p:txBody>
      </p:sp>
      <p:sp>
        <p:nvSpPr>
          <p:cNvPr id="96"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97"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7537" name="Title 1"/>
          <p:cNvSpPr>
            <a:spLocks noGrp="1"/>
          </p:cNvSpPr>
          <p:nvPr>
            <p:ph type="title"/>
          </p:nvPr>
        </p:nvSpPr>
        <p:spPr>
          <a:xfrm>
            <a:off x="416941" y="115050"/>
            <a:ext cx="8330184" cy="666849"/>
          </a:xfrm>
        </p:spPr>
        <p:txBody>
          <a:bodyPr/>
          <a:lstStyle/>
          <a:p>
            <a:r>
              <a:rPr lang="en-US" dirty="0"/>
              <a:t>Text boxes — three to a slide, with paragraph, bullet, </a:t>
            </a:r>
            <a:r>
              <a:rPr lang="en-US" dirty="0" smtClean="0"/>
              <a:t/>
            </a:r>
            <a:br>
              <a:rPr lang="en-US" dirty="0" smtClean="0"/>
            </a:br>
            <a:r>
              <a:rPr lang="en-US" dirty="0" smtClean="0"/>
              <a:t>and </a:t>
            </a:r>
            <a:r>
              <a:rPr lang="en-US" dirty="0"/>
              <a:t>dash points</a:t>
            </a:r>
            <a:endParaRPr lang="nl-NL" dirty="0"/>
          </a:p>
        </p:txBody>
      </p:sp>
      <p:grpSp>
        <p:nvGrpSpPr>
          <p:cNvPr id="2" name="Group 12"/>
          <p:cNvGrpSpPr>
            <a:grpSpLocks/>
          </p:cNvGrpSpPr>
          <p:nvPr/>
        </p:nvGrpSpPr>
        <p:grpSpPr bwMode="auto">
          <a:xfrm>
            <a:off x="396875" y="1600511"/>
            <a:ext cx="2657475" cy="4020464"/>
            <a:chOff x="300" y="872"/>
            <a:chExt cx="1847" cy="3782"/>
          </a:xfrm>
        </p:grpSpPr>
        <p:sp>
          <p:nvSpPr>
            <p:cNvPr id="577547" name="Text Box 10"/>
            <p:cNvSpPr txBox="1">
              <a:spLocks noChangeArrowheads="1"/>
            </p:cNvSpPr>
            <p:nvPr/>
          </p:nvSpPr>
          <p:spPr bwMode="auto">
            <a:xfrm>
              <a:off x="300" y="872"/>
              <a:ext cx="1847" cy="258"/>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spcBef>
                  <a:spcPts val="400"/>
                </a:spcBef>
              </a:pPr>
              <a:r>
                <a:rPr lang="en-US" sz="1400" dirty="0">
                  <a:solidFill>
                    <a:srgbClr val="FFFFFF"/>
                  </a:solidFill>
                </a:rPr>
                <a:t>Text</a:t>
              </a:r>
            </a:p>
          </p:txBody>
        </p:sp>
        <p:sp>
          <p:nvSpPr>
            <p:cNvPr id="12" name="Rectangle 11"/>
            <p:cNvSpPr>
              <a:spLocks noChangeArrowheads="1"/>
            </p:cNvSpPr>
            <p:nvPr/>
          </p:nvSpPr>
          <p:spPr bwMode="auto">
            <a:xfrm>
              <a:off x="300" y="1130"/>
              <a:ext cx="1847" cy="3524"/>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smtClean="0">
                <a:solidFill>
                  <a:srgbClr val="002776"/>
                </a:solidFill>
                <a:latin typeface="Arial"/>
              </a:endParaRPr>
            </a:p>
            <a:p>
              <a:pPr marL="359623" indent="-359623" defTabSz="957998">
                <a:spcBef>
                  <a:spcPts val="400"/>
                </a:spcBef>
                <a:spcAft>
                  <a:spcPts val="0"/>
                </a:spcAft>
                <a:defRPr/>
              </a:pPr>
              <a:endParaRPr lang="nl-NL" sz="1400" b="0" dirty="0">
                <a:solidFill>
                  <a:srgbClr val="002776"/>
                </a:solidFill>
                <a:latin typeface="Arial"/>
                <a:cs typeface="+mn-cs"/>
              </a:endParaRPr>
            </a:p>
          </p:txBody>
        </p:sp>
      </p:grpSp>
      <p:sp>
        <p:nvSpPr>
          <p:cNvPr id="1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5" name="Text Placeholder 36"/>
          <p:cNvSpPr txBox="1">
            <a:spLocks/>
          </p:cNvSpPr>
          <p:nvPr/>
        </p:nvSpPr>
        <p:spPr bwMode="gray">
          <a:xfrm>
            <a:off x="411479" y="6172574"/>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grpSp>
        <p:nvGrpSpPr>
          <p:cNvPr id="20" name="Group 12"/>
          <p:cNvGrpSpPr>
            <a:grpSpLocks/>
          </p:cNvGrpSpPr>
          <p:nvPr/>
        </p:nvGrpSpPr>
        <p:grpSpPr bwMode="auto">
          <a:xfrm>
            <a:off x="3232628" y="1600000"/>
            <a:ext cx="2657475" cy="4020464"/>
            <a:chOff x="300" y="872"/>
            <a:chExt cx="1847" cy="3782"/>
          </a:xfrm>
        </p:grpSpPr>
        <p:sp>
          <p:nvSpPr>
            <p:cNvPr id="21" name="Text Box 10"/>
            <p:cNvSpPr txBox="1">
              <a:spLocks noChangeArrowheads="1"/>
            </p:cNvSpPr>
            <p:nvPr/>
          </p:nvSpPr>
          <p:spPr bwMode="auto">
            <a:xfrm>
              <a:off x="300" y="872"/>
              <a:ext cx="1847" cy="258"/>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spcBef>
                  <a:spcPts val="400"/>
                </a:spcBef>
              </a:pPr>
              <a:r>
                <a:rPr lang="en-US" sz="1400" dirty="0">
                  <a:solidFill>
                    <a:srgbClr val="FFFFFF"/>
                  </a:solidFill>
                </a:rPr>
                <a:t>Text</a:t>
              </a:r>
            </a:p>
          </p:txBody>
        </p:sp>
        <p:sp>
          <p:nvSpPr>
            <p:cNvPr id="23" name="Rectangle 22"/>
            <p:cNvSpPr>
              <a:spLocks noChangeArrowheads="1"/>
            </p:cNvSpPr>
            <p:nvPr/>
          </p:nvSpPr>
          <p:spPr bwMode="auto">
            <a:xfrm>
              <a:off x="300" y="1130"/>
              <a:ext cx="1847" cy="3524"/>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smtClean="0">
                <a:solidFill>
                  <a:srgbClr val="002776"/>
                </a:solidFill>
                <a:latin typeface="Arial"/>
              </a:endParaRPr>
            </a:p>
            <a:p>
              <a:pPr marL="359623" indent="-359623" defTabSz="957998">
                <a:spcBef>
                  <a:spcPts val="400"/>
                </a:spcBef>
                <a:spcAft>
                  <a:spcPts val="0"/>
                </a:spcAft>
                <a:defRPr/>
              </a:pPr>
              <a:endParaRPr lang="nl-NL" sz="1400" b="0" dirty="0">
                <a:solidFill>
                  <a:srgbClr val="002776"/>
                </a:solidFill>
                <a:latin typeface="Arial"/>
                <a:cs typeface="+mn-cs"/>
              </a:endParaRPr>
            </a:p>
          </p:txBody>
        </p:sp>
      </p:grpSp>
      <p:grpSp>
        <p:nvGrpSpPr>
          <p:cNvPr id="24" name="Group 12"/>
          <p:cNvGrpSpPr>
            <a:grpSpLocks/>
          </p:cNvGrpSpPr>
          <p:nvPr/>
        </p:nvGrpSpPr>
        <p:grpSpPr bwMode="auto">
          <a:xfrm>
            <a:off x="6089650" y="1600000"/>
            <a:ext cx="2657475" cy="4020464"/>
            <a:chOff x="300" y="872"/>
            <a:chExt cx="1847" cy="3782"/>
          </a:xfrm>
        </p:grpSpPr>
        <p:sp>
          <p:nvSpPr>
            <p:cNvPr id="25" name="Text Box 10"/>
            <p:cNvSpPr txBox="1">
              <a:spLocks noChangeArrowheads="1"/>
            </p:cNvSpPr>
            <p:nvPr/>
          </p:nvSpPr>
          <p:spPr bwMode="auto">
            <a:xfrm>
              <a:off x="300" y="872"/>
              <a:ext cx="1847" cy="258"/>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spcBef>
                  <a:spcPts val="400"/>
                </a:spcBef>
              </a:pPr>
              <a:r>
                <a:rPr lang="en-US" sz="1400" dirty="0">
                  <a:solidFill>
                    <a:srgbClr val="FFFFFF"/>
                  </a:solidFill>
                </a:rPr>
                <a:t>Text</a:t>
              </a:r>
            </a:p>
          </p:txBody>
        </p:sp>
        <p:sp>
          <p:nvSpPr>
            <p:cNvPr id="26" name="Rectangle 25"/>
            <p:cNvSpPr>
              <a:spLocks noChangeArrowheads="1"/>
            </p:cNvSpPr>
            <p:nvPr/>
          </p:nvSpPr>
          <p:spPr bwMode="auto">
            <a:xfrm>
              <a:off x="300" y="1130"/>
              <a:ext cx="1847" cy="3524"/>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smtClean="0">
                <a:solidFill>
                  <a:srgbClr val="002776"/>
                </a:solidFill>
                <a:latin typeface="Arial"/>
              </a:endParaRPr>
            </a:p>
            <a:p>
              <a:pPr marL="359623" indent="-359623" defTabSz="957998">
                <a:spcBef>
                  <a:spcPts val="400"/>
                </a:spcBef>
                <a:spcAft>
                  <a:spcPts val="0"/>
                </a:spcAft>
                <a:defRPr/>
              </a:pPr>
              <a:endParaRPr lang="nl-NL" sz="1400" b="0" dirty="0">
                <a:solidFill>
                  <a:srgbClr val="002776"/>
                </a:solidFill>
                <a:latin typeface="Arial"/>
                <a:cs typeface="+mn-cs"/>
              </a:endParaRPr>
            </a:p>
          </p:txBody>
        </p:sp>
      </p:grpSp>
    </p:spTree>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3410"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3795"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3427" name="Rectangle 2"/>
          <p:cNvSpPr>
            <a:spLocks noGrp="1"/>
          </p:cNvSpPr>
          <p:nvPr>
            <p:ph type="title"/>
            <p:custDataLst>
              <p:tags r:id="rId3"/>
            </p:custDataLst>
          </p:nvPr>
        </p:nvSpPr>
        <p:spPr/>
        <p:txBody>
          <a:bodyPr/>
          <a:lstStyle/>
          <a:p>
            <a:r>
              <a:rPr lang="en-GB"/>
              <a:t>Agenda</a:t>
            </a:r>
            <a:endParaRPr lang="en-US"/>
          </a:p>
        </p:txBody>
      </p:sp>
      <p:graphicFrame>
        <p:nvGraphicFramePr>
          <p:cNvPr id="10" name="Table 9"/>
          <p:cNvGraphicFramePr>
            <a:graphicFrameLocks noGrp="1"/>
          </p:cNvGraphicFramePr>
          <p:nvPr>
            <p:custDataLst>
              <p:tags r:id="rId4"/>
            </p:custDataLst>
          </p:nvPr>
        </p:nvGraphicFramePr>
        <p:xfrm>
          <a:off x="396875" y="1123950"/>
          <a:ext cx="4787154" cy="4067290"/>
        </p:xfrm>
        <a:graphic>
          <a:graphicData uri="http://schemas.openxmlformats.org/drawingml/2006/table">
            <a:tbl>
              <a:tblPr firstRow="1" bandRow="1">
                <a:tableStyleId>{5C22544A-7EE6-4342-B048-85BDC9FD1C3A}</a:tableStyleId>
              </a:tblPr>
              <a:tblGrid>
                <a:gridCol w="4787154"/>
              </a:tblGrid>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Structured </a:t>
                      </a:r>
                      <a:r>
                        <a:rPr kumimoji="0" lang="en-US" sz="1400" b="0" i="0" u="none" strike="noStrike" cap="none" normalizeH="0" baseline="0" dirty="0" smtClean="0">
                          <a:ln>
                            <a:noFill/>
                          </a:ln>
                          <a:solidFill>
                            <a:schemeClr val="tx2"/>
                          </a:solidFill>
                          <a:effectLst/>
                          <a:latin typeface="Arial" charset="0"/>
                        </a:rPr>
                        <a:t>text</a:t>
                      </a:r>
                      <a:endParaRPr kumimoji="0" lang="en-US" sz="1400" b="0" i="0" u="none" strike="noStrike" cap="none" normalizeH="0" baseline="0" dirty="0">
                        <a:ln>
                          <a:noFill/>
                        </a:ln>
                        <a:solidFill>
                          <a:schemeClr val="tx2"/>
                        </a:solidFill>
                        <a:effectLst/>
                        <a:latin typeface="Arial" charset="0"/>
                      </a:endParaRPr>
                    </a:p>
                  </a:txBody>
                  <a:tcPr marL="49846" marR="49846" marT="54000" marB="54000"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r>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Trees</a:t>
                      </a:r>
                    </a:p>
                  </a:txBody>
                  <a:tcPr marL="49846" marR="49846" marT="54000" marB="54000" anchor="ctr" horzOverflow="overflow">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Graph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Shape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bg1"/>
                          </a:solidFill>
                          <a:effectLst/>
                          <a:latin typeface="Arial" charset="0"/>
                        </a:rPr>
                        <a:t>Map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Special </a:t>
                      </a:r>
                      <a:r>
                        <a:rPr kumimoji="0" lang="en-US" sz="1400" b="0" i="0" u="none" strike="noStrike" cap="none" normalizeH="0" baseline="0" dirty="0" smtClean="0">
                          <a:ln>
                            <a:noFill/>
                          </a:ln>
                          <a:solidFill>
                            <a:schemeClr val="tx2"/>
                          </a:solidFill>
                          <a:effectLst/>
                          <a:latin typeface="Arial" charset="0"/>
                        </a:rPr>
                        <a:t>graphics</a:t>
                      </a:r>
                      <a:endParaRPr kumimoji="0" lang="en-US" sz="1400" b="0" i="0" u="none" strike="noStrike" cap="none" normalizeH="0" baseline="0" dirty="0">
                        <a:ln>
                          <a:noFill/>
                        </a:ln>
                        <a:solidFill>
                          <a:schemeClr val="tx2"/>
                        </a:solidFill>
                        <a:effectLst/>
                        <a:latin typeface="Arial" charset="0"/>
                      </a:endParaRP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400" b="0" i="0" u="none" strike="noStrike" cap="none" normalizeH="0" baseline="0" dirty="0">
                          <a:ln>
                            <a:noFill/>
                          </a:ln>
                          <a:solidFill>
                            <a:schemeClr val="tx2"/>
                          </a:solidFill>
                          <a:effectLst/>
                          <a:latin typeface="Arial" charset="0"/>
                        </a:rPr>
                        <a:t>Conceptual </a:t>
                      </a:r>
                      <a:r>
                        <a:rPr kumimoji="0" lang="en-US" sz="1400" b="0" i="0" u="none" strike="noStrike" cap="none" normalizeH="0" baseline="0" dirty="0" smtClean="0">
                          <a:ln>
                            <a:noFill/>
                          </a:ln>
                          <a:solidFill>
                            <a:schemeClr val="tx2"/>
                          </a:solidFill>
                          <a:effectLst/>
                          <a:latin typeface="Arial" charset="0"/>
                        </a:rPr>
                        <a:t>charts</a:t>
                      </a:r>
                      <a:endParaRPr kumimoji="0" lang="en-US" sz="1400" b="0" i="0" u="none" strike="noStrike" cap="none" normalizeH="0" baseline="0" dirty="0">
                        <a:ln>
                          <a:noFill/>
                        </a:ln>
                        <a:solidFill>
                          <a:schemeClr val="tx2"/>
                        </a:solidFill>
                        <a:effectLst/>
                        <a:latin typeface="Arial" charset="0"/>
                      </a:endParaRP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3489" name="Title 1"/>
          <p:cNvSpPr>
            <a:spLocks noGrp="1"/>
          </p:cNvSpPr>
          <p:nvPr>
            <p:ph type="title"/>
          </p:nvPr>
        </p:nvSpPr>
        <p:spPr>
          <a:xfrm>
            <a:off x="414338" y="446038"/>
            <a:ext cx="8330184" cy="333425"/>
          </a:xfrm>
        </p:spPr>
        <p:txBody>
          <a:bodyPr/>
          <a:lstStyle/>
          <a:p>
            <a:r>
              <a:rPr lang="en-GB" altLang="ja-JP"/>
              <a:t>Maps </a:t>
            </a:r>
            <a:r>
              <a:rPr lang="en-US"/>
              <a:t>—</a:t>
            </a:r>
            <a:r>
              <a:rPr lang="en-GB" altLang="ja-JP" smtClean="0"/>
              <a:t> </a:t>
            </a:r>
            <a:r>
              <a:rPr lang="en-GB" altLang="ja-JP"/>
              <a:t>the world</a:t>
            </a:r>
            <a:endParaRPr lang="nl-NL"/>
          </a:p>
        </p:txBody>
      </p:sp>
      <p:sp>
        <p:nvSpPr>
          <p:cNvPr id="10" name="Rectangle 3"/>
          <p:cNvSpPr>
            <a:spLocks noChangeArrowheads="1"/>
          </p:cNvSpPr>
          <p:nvPr/>
        </p:nvSpPr>
        <p:spPr bwMode="auto">
          <a:xfrm>
            <a:off x="6844268" y="416223"/>
            <a:ext cx="1868491" cy="461665"/>
          </a:xfrm>
          <a:prstGeom prst="rect">
            <a:avLst/>
          </a:prstGeom>
          <a:noFill/>
          <a:ln w="12700" algn="ctr">
            <a:solidFill>
              <a:schemeClr val="accent1"/>
            </a:solidFill>
            <a:miter lim="800000"/>
            <a:headEnd/>
            <a:tailEnd/>
          </a:ln>
        </p:spPr>
        <p:txBody>
          <a:bodyPr wrap="square" tIns="91440" bIns="91440">
            <a:spAutoFit/>
          </a:bodyPr>
          <a:lstStyle/>
          <a:p>
            <a:pPr algn="l">
              <a:defRPr/>
            </a:pPr>
            <a:r>
              <a:rPr lang="en-GB" altLang="ja-JP" sz="900" b="0" dirty="0">
                <a:solidFill>
                  <a:schemeClr val="tx2"/>
                </a:solidFill>
                <a:ea typeface="ＭＳ Ｐゴシック" pitchFamily="50" charset="-128"/>
              </a:rPr>
              <a:t>Tip! </a:t>
            </a:r>
            <a:r>
              <a:rPr lang="en-GB" altLang="ja-JP" sz="900" dirty="0">
                <a:solidFill>
                  <a:schemeClr val="tx2"/>
                </a:solidFill>
                <a:ea typeface="ＭＳ Ｐゴシック" pitchFamily="50" charset="-128"/>
              </a:rPr>
              <a:t>Ungroup </a:t>
            </a:r>
            <a:r>
              <a:rPr lang="en-GB" altLang="ja-JP" sz="900" b="0" dirty="0">
                <a:solidFill>
                  <a:schemeClr val="tx2"/>
                </a:solidFill>
                <a:ea typeface="ＭＳ Ｐゴシック" pitchFamily="50" charset="-128"/>
              </a:rPr>
              <a:t>and apply </a:t>
            </a:r>
            <a:r>
              <a:rPr lang="en-GB" altLang="ja-JP" sz="900" b="0" dirty="0" err="1">
                <a:solidFill>
                  <a:schemeClr val="tx2"/>
                </a:solidFill>
                <a:ea typeface="ＭＳ Ｐゴシック" pitchFamily="50" charset="-128"/>
              </a:rPr>
              <a:t>colors</a:t>
            </a:r>
            <a:r>
              <a:rPr lang="en-GB" altLang="ja-JP" sz="900" b="0" dirty="0">
                <a:solidFill>
                  <a:schemeClr val="tx2"/>
                </a:solidFill>
                <a:ea typeface="ＭＳ Ｐゴシック" pitchFamily="50" charset="-128"/>
              </a:rPr>
              <a:t> to highlight </a:t>
            </a:r>
            <a:r>
              <a:rPr lang="en-GB" altLang="ja-JP" sz="900" b="0" dirty="0" smtClean="0">
                <a:solidFill>
                  <a:schemeClr val="tx2"/>
                </a:solidFill>
                <a:ea typeface="ＭＳ Ｐゴシック" pitchFamily="50" charset="-128"/>
              </a:rPr>
              <a:t>countries.</a:t>
            </a:r>
            <a:endParaRPr lang="en-GB" sz="900" b="0" dirty="0">
              <a:solidFill>
                <a:schemeClr val="tx2"/>
              </a:solidFill>
              <a:ea typeface="ＭＳ Ｐゴシック" pitchFamily="50" charset="-128"/>
            </a:endParaRPr>
          </a:p>
        </p:txBody>
      </p:sp>
      <p:grpSp>
        <p:nvGrpSpPr>
          <p:cNvPr id="3" name="Group 5"/>
          <p:cNvGrpSpPr>
            <a:grpSpLocks/>
          </p:cNvGrpSpPr>
          <p:nvPr/>
        </p:nvGrpSpPr>
        <p:grpSpPr bwMode="auto">
          <a:xfrm>
            <a:off x="6650190" y="4017663"/>
            <a:ext cx="442320" cy="140552"/>
            <a:chOff x="4449" y="3335"/>
            <a:chExt cx="260" cy="83"/>
          </a:xfrm>
          <a:solidFill>
            <a:schemeClr val="accent3"/>
          </a:solidFill>
        </p:grpSpPr>
        <p:sp>
          <p:nvSpPr>
            <p:cNvPr id="799" name="Freeform 6"/>
            <p:cNvSpPr>
              <a:spLocks/>
            </p:cNvSpPr>
            <p:nvPr/>
          </p:nvSpPr>
          <p:spPr bwMode="auto">
            <a:xfrm>
              <a:off x="4449" y="3340"/>
              <a:ext cx="52" cy="69"/>
            </a:xfrm>
            <a:custGeom>
              <a:avLst/>
              <a:gdLst>
                <a:gd name="T0" fmla="*/ 0 w 52"/>
                <a:gd name="T1" fmla="*/ 0 h 69"/>
                <a:gd name="T2" fmla="*/ 0 w 52"/>
                <a:gd name="T3" fmla="*/ 0 h 69"/>
                <a:gd name="T4" fmla="*/ 10 w 52"/>
                <a:gd name="T5" fmla="*/ 0 h 69"/>
                <a:gd name="T6" fmla="*/ 13 w 52"/>
                <a:gd name="T7" fmla="*/ 13 h 69"/>
                <a:gd name="T8" fmla="*/ 26 w 52"/>
                <a:gd name="T9" fmla="*/ 5 h 69"/>
                <a:gd name="T10" fmla="*/ 43 w 52"/>
                <a:gd name="T11" fmla="*/ 21 h 69"/>
                <a:gd name="T12" fmla="*/ 51 w 52"/>
                <a:gd name="T13" fmla="*/ 68 h 69"/>
                <a:gd name="T14" fmla="*/ 50 w 52"/>
                <a:gd name="T15" fmla="*/ 68 h 69"/>
                <a:gd name="T16" fmla="*/ 16 w 52"/>
                <a:gd name="T17" fmla="*/ 48 h 69"/>
                <a:gd name="T18" fmla="*/ 0 w 52"/>
                <a:gd name="T19" fmla="*/ 0 h 69"/>
                <a:gd name="T20" fmla="*/ 0 w 52"/>
                <a:gd name="T21" fmla="*/ 0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69"/>
                <a:gd name="T35" fmla="*/ 52 w 52"/>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69">
                  <a:moveTo>
                    <a:pt x="0" y="0"/>
                  </a:moveTo>
                  <a:lnTo>
                    <a:pt x="0" y="0"/>
                  </a:lnTo>
                  <a:lnTo>
                    <a:pt x="10" y="0"/>
                  </a:lnTo>
                  <a:lnTo>
                    <a:pt x="13" y="13"/>
                  </a:lnTo>
                  <a:lnTo>
                    <a:pt x="26" y="5"/>
                  </a:lnTo>
                  <a:lnTo>
                    <a:pt x="43" y="21"/>
                  </a:lnTo>
                  <a:lnTo>
                    <a:pt x="51" y="68"/>
                  </a:lnTo>
                  <a:lnTo>
                    <a:pt x="50" y="68"/>
                  </a:lnTo>
                  <a:lnTo>
                    <a:pt x="16" y="48"/>
                  </a:lnTo>
                  <a:lnTo>
                    <a:pt x="0" y="0"/>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800" name="Freeform 7"/>
            <p:cNvSpPr>
              <a:spLocks/>
            </p:cNvSpPr>
            <p:nvPr/>
          </p:nvSpPr>
          <p:spPr bwMode="auto">
            <a:xfrm>
              <a:off x="4577" y="3335"/>
              <a:ext cx="132" cy="83"/>
            </a:xfrm>
            <a:custGeom>
              <a:avLst/>
              <a:gdLst>
                <a:gd name="T0" fmla="*/ 0 w 132"/>
                <a:gd name="T1" fmla="*/ 72 h 83"/>
                <a:gd name="T2" fmla="*/ 0 w 132"/>
                <a:gd name="T3" fmla="*/ 72 h 83"/>
                <a:gd name="T4" fmla="*/ 12 w 132"/>
                <a:gd name="T5" fmla="*/ 82 h 83"/>
                <a:gd name="T6" fmla="*/ 53 w 132"/>
                <a:gd name="T7" fmla="*/ 79 h 83"/>
                <a:gd name="T8" fmla="*/ 66 w 132"/>
                <a:gd name="T9" fmla="*/ 73 h 83"/>
                <a:gd name="T10" fmla="*/ 84 w 132"/>
                <a:gd name="T11" fmla="*/ 36 h 83"/>
                <a:gd name="T12" fmla="*/ 108 w 132"/>
                <a:gd name="T13" fmla="*/ 37 h 83"/>
                <a:gd name="T14" fmla="*/ 131 w 132"/>
                <a:gd name="T15" fmla="*/ 25 h 83"/>
                <a:gd name="T16" fmla="*/ 109 w 132"/>
                <a:gd name="T17" fmla="*/ 14 h 83"/>
                <a:gd name="T18" fmla="*/ 102 w 132"/>
                <a:gd name="T19" fmla="*/ 0 h 83"/>
                <a:gd name="T20" fmla="*/ 75 w 132"/>
                <a:gd name="T21" fmla="*/ 26 h 83"/>
                <a:gd name="T22" fmla="*/ 67 w 132"/>
                <a:gd name="T23" fmla="*/ 40 h 83"/>
                <a:gd name="T24" fmla="*/ 59 w 132"/>
                <a:gd name="T25" fmla="*/ 32 h 83"/>
                <a:gd name="T26" fmla="*/ 43 w 132"/>
                <a:gd name="T27" fmla="*/ 52 h 83"/>
                <a:gd name="T28" fmla="*/ 26 w 132"/>
                <a:gd name="T29" fmla="*/ 55 h 83"/>
                <a:gd name="T30" fmla="*/ 20 w 132"/>
                <a:gd name="T31" fmla="*/ 73 h 83"/>
                <a:gd name="T32" fmla="*/ 0 w 132"/>
                <a:gd name="T33" fmla="*/ 72 h 83"/>
                <a:gd name="T34" fmla="*/ 0 w 132"/>
                <a:gd name="T35" fmla="*/ 72 h 8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83"/>
                <a:gd name="T56" fmla="*/ 132 w 132"/>
                <a:gd name="T57" fmla="*/ 83 h 8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83">
                  <a:moveTo>
                    <a:pt x="0" y="72"/>
                  </a:moveTo>
                  <a:lnTo>
                    <a:pt x="0" y="72"/>
                  </a:lnTo>
                  <a:lnTo>
                    <a:pt x="12" y="82"/>
                  </a:lnTo>
                  <a:lnTo>
                    <a:pt x="53" y="79"/>
                  </a:lnTo>
                  <a:lnTo>
                    <a:pt x="66" y="73"/>
                  </a:lnTo>
                  <a:lnTo>
                    <a:pt x="84" y="36"/>
                  </a:lnTo>
                  <a:lnTo>
                    <a:pt x="108" y="37"/>
                  </a:lnTo>
                  <a:lnTo>
                    <a:pt x="131" y="25"/>
                  </a:lnTo>
                  <a:lnTo>
                    <a:pt x="109" y="14"/>
                  </a:lnTo>
                  <a:lnTo>
                    <a:pt x="102" y="0"/>
                  </a:lnTo>
                  <a:lnTo>
                    <a:pt x="75" y="26"/>
                  </a:lnTo>
                  <a:lnTo>
                    <a:pt x="67" y="40"/>
                  </a:lnTo>
                  <a:lnTo>
                    <a:pt x="59" y="32"/>
                  </a:lnTo>
                  <a:lnTo>
                    <a:pt x="43" y="52"/>
                  </a:lnTo>
                  <a:lnTo>
                    <a:pt x="26" y="55"/>
                  </a:lnTo>
                  <a:lnTo>
                    <a:pt x="20" y="73"/>
                  </a:lnTo>
                  <a:lnTo>
                    <a:pt x="0" y="72"/>
                  </a:lnTo>
                </a:path>
              </a:pathLst>
            </a:custGeom>
            <a:grpFill/>
            <a:ln w="12700">
              <a:solidFill>
                <a:schemeClr val="bg1"/>
              </a:solidFill>
              <a:round/>
              <a:headEnd/>
              <a:tailEnd/>
            </a:ln>
          </p:spPr>
          <p:txBody>
            <a:bodyPr lIns="0" tIns="0" rIns="0" bIns="0" anchor="ctr">
              <a:spAutoFit/>
            </a:bodyPr>
            <a:lstStyle/>
            <a:p>
              <a:pPr>
                <a:defRPr/>
              </a:pPr>
              <a:endParaRPr lang="en-GB"/>
            </a:p>
          </p:txBody>
        </p:sp>
      </p:grpSp>
      <p:grpSp>
        <p:nvGrpSpPr>
          <p:cNvPr id="4" name="Group 8"/>
          <p:cNvGrpSpPr>
            <a:grpSpLocks/>
          </p:cNvGrpSpPr>
          <p:nvPr/>
        </p:nvGrpSpPr>
        <p:grpSpPr bwMode="auto">
          <a:xfrm>
            <a:off x="6533034" y="4051796"/>
            <a:ext cx="1068930" cy="355400"/>
            <a:chOff x="4380" y="3353"/>
            <a:chExt cx="629" cy="218"/>
          </a:xfrm>
          <a:solidFill>
            <a:schemeClr val="accent3"/>
          </a:solidFill>
        </p:grpSpPr>
        <p:sp>
          <p:nvSpPr>
            <p:cNvPr id="789" name="Freeform 9"/>
            <p:cNvSpPr>
              <a:spLocks/>
            </p:cNvSpPr>
            <p:nvPr/>
          </p:nvSpPr>
          <p:spPr bwMode="auto">
            <a:xfrm>
              <a:off x="4380" y="3353"/>
              <a:ext cx="149" cy="156"/>
            </a:xfrm>
            <a:custGeom>
              <a:avLst/>
              <a:gdLst>
                <a:gd name="T0" fmla="*/ 0 w 149"/>
                <a:gd name="T1" fmla="*/ 0 h 156"/>
                <a:gd name="T2" fmla="*/ 0 w 149"/>
                <a:gd name="T3" fmla="*/ 0 h 156"/>
                <a:gd name="T4" fmla="*/ 33 w 149"/>
                <a:gd name="T5" fmla="*/ 7 h 156"/>
                <a:gd name="T6" fmla="*/ 74 w 149"/>
                <a:gd name="T7" fmla="*/ 47 h 156"/>
                <a:gd name="T8" fmla="*/ 108 w 149"/>
                <a:gd name="T9" fmla="*/ 62 h 156"/>
                <a:gd name="T10" fmla="*/ 104 w 149"/>
                <a:gd name="T11" fmla="*/ 73 h 156"/>
                <a:gd name="T12" fmla="*/ 115 w 149"/>
                <a:gd name="T13" fmla="*/ 72 h 156"/>
                <a:gd name="T14" fmla="*/ 114 w 149"/>
                <a:gd name="T15" fmla="*/ 87 h 156"/>
                <a:gd name="T16" fmla="*/ 148 w 149"/>
                <a:gd name="T17" fmla="*/ 116 h 156"/>
                <a:gd name="T18" fmla="*/ 144 w 149"/>
                <a:gd name="T19" fmla="*/ 154 h 156"/>
                <a:gd name="T20" fmla="*/ 129 w 149"/>
                <a:gd name="T21" fmla="*/ 155 h 156"/>
                <a:gd name="T22" fmla="*/ 99 w 149"/>
                <a:gd name="T23" fmla="*/ 133 h 156"/>
                <a:gd name="T24" fmla="*/ 50 w 149"/>
                <a:gd name="T25" fmla="*/ 54 h 156"/>
                <a:gd name="T26" fmla="*/ 0 w 149"/>
                <a:gd name="T27" fmla="*/ 0 h 156"/>
                <a:gd name="T28" fmla="*/ 0 w 149"/>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9"/>
                <a:gd name="T46" fmla="*/ 0 h 156"/>
                <a:gd name="T47" fmla="*/ 149 w 149"/>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9" h="156">
                  <a:moveTo>
                    <a:pt x="0" y="0"/>
                  </a:moveTo>
                  <a:lnTo>
                    <a:pt x="0" y="0"/>
                  </a:lnTo>
                  <a:lnTo>
                    <a:pt x="33" y="7"/>
                  </a:lnTo>
                  <a:lnTo>
                    <a:pt x="74" y="47"/>
                  </a:lnTo>
                  <a:lnTo>
                    <a:pt x="108" y="62"/>
                  </a:lnTo>
                  <a:lnTo>
                    <a:pt x="104" y="73"/>
                  </a:lnTo>
                  <a:lnTo>
                    <a:pt x="115" y="72"/>
                  </a:lnTo>
                  <a:lnTo>
                    <a:pt x="114" y="87"/>
                  </a:lnTo>
                  <a:lnTo>
                    <a:pt x="148" y="116"/>
                  </a:lnTo>
                  <a:lnTo>
                    <a:pt x="144" y="154"/>
                  </a:lnTo>
                  <a:lnTo>
                    <a:pt x="129" y="155"/>
                  </a:lnTo>
                  <a:lnTo>
                    <a:pt x="99" y="133"/>
                  </a:lnTo>
                  <a:lnTo>
                    <a:pt x="50" y="54"/>
                  </a:lnTo>
                  <a:lnTo>
                    <a:pt x="0" y="0"/>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90" name="Freeform 10"/>
            <p:cNvSpPr>
              <a:spLocks/>
            </p:cNvSpPr>
            <p:nvPr/>
          </p:nvSpPr>
          <p:spPr bwMode="auto">
            <a:xfrm>
              <a:off x="4519" y="3510"/>
              <a:ext cx="125" cy="40"/>
            </a:xfrm>
            <a:custGeom>
              <a:avLst/>
              <a:gdLst>
                <a:gd name="T0" fmla="*/ 0 w 125"/>
                <a:gd name="T1" fmla="*/ 11 h 40"/>
                <a:gd name="T2" fmla="*/ 0 w 125"/>
                <a:gd name="T3" fmla="*/ 11 h 40"/>
                <a:gd name="T4" fmla="*/ 8 w 125"/>
                <a:gd name="T5" fmla="*/ 0 h 40"/>
                <a:gd name="T6" fmla="*/ 95 w 125"/>
                <a:gd name="T7" fmla="*/ 12 h 40"/>
                <a:gd name="T8" fmla="*/ 104 w 125"/>
                <a:gd name="T9" fmla="*/ 22 h 40"/>
                <a:gd name="T10" fmla="*/ 122 w 125"/>
                <a:gd name="T11" fmla="*/ 26 h 40"/>
                <a:gd name="T12" fmla="*/ 124 w 125"/>
                <a:gd name="T13" fmla="*/ 39 h 40"/>
                <a:gd name="T14" fmla="*/ 22 w 125"/>
                <a:gd name="T15" fmla="*/ 21 h 40"/>
                <a:gd name="T16" fmla="*/ 0 w 125"/>
                <a:gd name="T17" fmla="*/ 11 h 40"/>
                <a:gd name="T18" fmla="*/ 0 w 125"/>
                <a:gd name="T19" fmla="*/ 11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5"/>
                <a:gd name="T31" fmla="*/ 0 h 40"/>
                <a:gd name="T32" fmla="*/ 125 w 125"/>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5" h="40">
                  <a:moveTo>
                    <a:pt x="0" y="11"/>
                  </a:moveTo>
                  <a:lnTo>
                    <a:pt x="0" y="11"/>
                  </a:lnTo>
                  <a:lnTo>
                    <a:pt x="8" y="0"/>
                  </a:lnTo>
                  <a:lnTo>
                    <a:pt x="95" y="12"/>
                  </a:lnTo>
                  <a:lnTo>
                    <a:pt x="104" y="22"/>
                  </a:lnTo>
                  <a:lnTo>
                    <a:pt x="122" y="26"/>
                  </a:lnTo>
                  <a:lnTo>
                    <a:pt x="124" y="39"/>
                  </a:lnTo>
                  <a:lnTo>
                    <a:pt x="22" y="21"/>
                  </a:lnTo>
                  <a:lnTo>
                    <a:pt x="0" y="11"/>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91" name="Freeform 11"/>
            <p:cNvSpPr>
              <a:spLocks/>
            </p:cNvSpPr>
            <p:nvPr/>
          </p:nvSpPr>
          <p:spPr bwMode="auto">
            <a:xfrm>
              <a:off x="4568" y="3371"/>
              <a:ext cx="136" cy="116"/>
            </a:xfrm>
            <a:custGeom>
              <a:avLst/>
              <a:gdLst>
                <a:gd name="T0" fmla="*/ 0 w 136"/>
                <a:gd name="T1" fmla="*/ 52 h 116"/>
                <a:gd name="T2" fmla="*/ 0 w 136"/>
                <a:gd name="T3" fmla="*/ 52 h 116"/>
                <a:gd name="T4" fmla="*/ 9 w 136"/>
                <a:gd name="T5" fmla="*/ 36 h 116"/>
                <a:gd name="T6" fmla="*/ 21 w 136"/>
                <a:gd name="T7" fmla="*/ 46 h 116"/>
                <a:gd name="T8" fmla="*/ 62 w 136"/>
                <a:gd name="T9" fmla="*/ 43 h 116"/>
                <a:gd name="T10" fmla="*/ 75 w 136"/>
                <a:gd name="T11" fmla="*/ 37 h 116"/>
                <a:gd name="T12" fmla="*/ 93 w 136"/>
                <a:gd name="T13" fmla="*/ 0 h 116"/>
                <a:gd name="T14" fmla="*/ 117 w 136"/>
                <a:gd name="T15" fmla="*/ 1 h 116"/>
                <a:gd name="T16" fmla="*/ 112 w 136"/>
                <a:gd name="T17" fmla="*/ 11 h 116"/>
                <a:gd name="T18" fmla="*/ 135 w 136"/>
                <a:gd name="T19" fmla="*/ 46 h 116"/>
                <a:gd name="T20" fmla="*/ 122 w 136"/>
                <a:gd name="T21" fmla="*/ 43 h 116"/>
                <a:gd name="T22" fmla="*/ 99 w 136"/>
                <a:gd name="T23" fmla="*/ 82 h 116"/>
                <a:gd name="T24" fmla="*/ 95 w 136"/>
                <a:gd name="T25" fmla="*/ 107 h 116"/>
                <a:gd name="T26" fmla="*/ 81 w 136"/>
                <a:gd name="T27" fmla="*/ 115 h 116"/>
                <a:gd name="T28" fmla="*/ 55 w 136"/>
                <a:gd name="T29" fmla="*/ 100 h 116"/>
                <a:gd name="T30" fmla="*/ 40 w 136"/>
                <a:gd name="T31" fmla="*/ 107 h 116"/>
                <a:gd name="T32" fmla="*/ 37 w 136"/>
                <a:gd name="T33" fmla="*/ 95 h 116"/>
                <a:gd name="T34" fmla="*/ 17 w 136"/>
                <a:gd name="T35" fmla="*/ 97 h 116"/>
                <a:gd name="T36" fmla="*/ 0 w 136"/>
                <a:gd name="T37" fmla="*/ 52 h 116"/>
                <a:gd name="T38" fmla="*/ 0 w 136"/>
                <a:gd name="T39" fmla="*/ 52 h 1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16"/>
                <a:gd name="T62" fmla="*/ 136 w 136"/>
                <a:gd name="T63" fmla="*/ 116 h 1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16">
                  <a:moveTo>
                    <a:pt x="0" y="52"/>
                  </a:moveTo>
                  <a:lnTo>
                    <a:pt x="0" y="52"/>
                  </a:lnTo>
                  <a:lnTo>
                    <a:pt x="9" y="36"/>
                  </a:lnTo>
                  <a:lnTo>
                    <a:pt x="21" y="46"/>
                  </a:lnTo>
                  <a:lnTo>
                    <a:pt x="62" y="43"/>
                  </a:lnTo>
                  <a:lnTo>
                    <a:pt x="75" y="37"/>
                  </a:lnTo>
                  <a:lnTo>
                    <a:pt x="93" y="0"/>
                  </a:lnTo>
                  <a:lnTo>
                    <a:pt x="117" y="1"/>
                  </a:lnTo>
                  <a:lnTo>
                    <a:pt x="112" y="11"/>
                  </a:lnTo>
                  <a:lnTo>
                    <a:pt x="135" y="46"/>
                  </a:lnTo>
                  <a:lnTo>
                    <a:pt x="122" y="43"/>
                  </a:lnTo>
                  <a:lnTo>
                    <a:pt x="99" y="82"/>
                  </a:lnTo>
                  <a:lnTo>
                    <a:pt x="95" y="107"/>
                  </a:lnTo>
                  <a:lnTo>
                    <a:pt x="81" y="115"/>
                  </a:lnTo>
                  <a:lnTo>
                    <a:pt x="55" y="100"/>
                  </a:lnTo>
                  <a:lnTo>
                    <a:pt x="40" y="107"/>
                  </a:lnTo>
                  <a:lnTo>
                    <a:pt x="37" y="95"/>
                  </a:lnTo>
                  <a:lnTo>
                    <a:pt x="17" y="97"/>
                  </a:lnTo>
                  <a:lnTo>
                    <a:pt x="0" y="52"/>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92" name="Freeform 12"/>
            <p:cNvSpPr>
              <a:spLocks/>
            </p:cNvSpPr>
            <p:nvPr/>
          </p:nvSpPr>
          <p:spPr bwMode="auto">
            <a:xfrm>
              <a:off x="4674" y="3544"/>
              <a:ext cx="34" cy="9"/>
            </a:xfrm>
            <a:custGeom>
              <a:avLst/>
              <a:gdLst>
                <a:gd name="T0" fmla="*/ 0 w 34"/>
                <a:gd name="T1" fmla="*/ 2 h 9"/>
                <a:gd name="T2" fmla="*/ 0 w 34"/>
                <a:gd name="T3" fmla="*/ 2 h 9"/>
                <a:gd name="T4" fmla="*/ 4 w 34"/>
                <a:gd name="T5" fmla="*/ 8 h 9"/>
                <a:gd name="T6" fmla="*/ 33 w 34"/>
                <a:gd name="T7" fmla="*/ 3 h 9"/>
                <a:gd name="T8" fmla="*/ 11 w 34"/>
                <a:gd name="T9" fmla="*/ 0 h 9"/>
                <a:gd name="T10" fmla="*/ 0 w 34"/>
                <a:gd name="T11" fmla="*/ 2 h 9"/>
                <a:gd name="T12" fmla="*/ 0 w 34"/>
                <a:gd name="T13" fmla="*/ 2 h 9"/>
                <a:gd name="T14" fmla="*/ 0 60000 65536"/>
                <a:gd name="T15" fmla="*/ 0 60000 65536"/>
                <a:gd name="T16" fmla="*/ 0 60000 65536"/>
                <a:gd name="T17" fmla="*/ 0 60000 65536"/>
                <a:gd name="T18" fmla="*/ 0 60000 65536"/>
                <a:gd name="T19" fmla="*/ 0 60000 65536"/>
                <a:gd name="T20" fmla="*/ 0 60000 65536"/>
                <a:gd name="T21" fmla="*/ 0 w 34"/>
                <a:gd name="T22" fmla="*/ 0 h 9"/>
                <a:gd name="T23" fmla="*/ 34 w 34"/>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9">
                  <a:moveTo>
                    <a:pt x="0" y="2"/>
                  </a:moveTo>
                  <a:lnTo>
                    <a:pt x="0" y="2"/>
                  </a:lnTo>
                  <a:lnTo>
                    <a:pt x="4" y="8"/>
                  </a:lnTo>
                  <a:lnTo>
                    <a:pt x="33" y="3"/>
                  </a:lnTo>
                  <a:lnTo>
                    <a:pt x="11" y="0"/>
                  </a:lnTo>
                  <a:lnTo>
                    <a:pt x="0" y="2"/>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93" name="Freeform 13"/>
            <p:cNvSpPr>
              <a:spLocks/>
            </p:cNvSpPr>
            <p:nvPr/>
          </p:nvSpPr>
          <p:spPr bwMode="auto">
            <a:xfrm>
              <a:off x="4703" y="3405"/>
              <a:ext cx="85" cy="101"/>
            </a:xfrm>
            <a:custGeom>
              <a:avLst/>
              <a:gdLst>
                <a:gd name="T0" fmla="*/ 0 w 85"/>
                <a:gd name="T1" fmla="*/ 60 h 101"/>
                <a:gd name="T2" fmla="*/ 0 w 85"/>
                <a:gd name="T3" fmla="*/ 60 h 101"/>
                <a:gd name="T4" fmla="*/ 10 w 85"/>
                <a:gd name="T5" fmla="*/ 78 h 101"/>
                <a:gd name="T6" fmla="*/ 7 w 85"/>
                <a:gd name="T7" fmla="*/ 96 h 101"/>
                <a:gd name="T8" fmla="*/ 21 w 85"/>
                <a:gd name="T9" fmla="*/ 100 h 101"/>
                <a:gd name="T10" fmla="*/ 19 w 85"/>
                <a:gd name="T11" fmla="*/ 63 h 101"/>
                <a:gd name="T12" fmla="*/ 28 w 85"/>
                <a:gd name="T13" fmla="*/ 60 h 101"/>
                <a:gd name="T14" fmla="*/ 30 w 85"/>
                <a:gd name="T15" fmla="*/ 74 h 101"/>
                <a:gd name="T16" fmla="*/ 37 w 85"/>
                <a:gd name="T17" fmla="*/ 90 h 101"/>
                <a:gd name="T18" fmla="*/ 53 w 85"/>
                <a:gd name="T19" fmla="*/ 83 h 101"/>
                <a:gd name="T20" fmla="*/ 34 w 85"/>
                <a:gd name="T21" fmla="*/ 48 h 101"/>
                <a:gd name="T22" fmla="*/ 62 w 85"/>
                <a:gd name="T23" fmla="*/ 33 h 101"/>
                <a:gd name="T24" fmla="*/ 25 w 85"/>
                <a:gd name="T25" fmla="*/ 43 h 101"/>
                <a:gd name="T26" fmla="*/ 19 w 85"/>
                <a:gd name="T27" fmla="*/ 21 h 101"/>
                <a:gd name="T28" fmla="*/ 74 w 85"/>
                <a:gd name="T29" fmla="*/ 19 h 101"/>
                <a:gd name="T30" fmla="*/ 84 w 85"/>
                <a:gd name="T31" fmla="*/ 0 h 101"/>
                <a:gd name="T32" fmla="*/ 68 w 85"/>
                <a:gd name="T33" fmla="*/ 12 h 101"/>
                <a:gd name="T34" fmla="*/ 28 w 85"/>
                <a:gd name="T35" fmla="*/ 6 h 101"/>
                <a:gd name="T36" fmla="*/ 15 w 85"/>
                <a:gd name="T37" fmla="*/ 14 h 101"/>
                <a:gd name="T38" fmla="*/ 0 w 85"/>
                <a:gd name="T39" fmla="*/ 60 h 101"/>
                <a:gd name="T40" fmla="*/ 0 w 85"/>
                <a:gd name="T41" fmla="*/ 60 h 1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101"/>
                <a:gd name="T65" fmla="*/ 85 w 85"/>
                <a:gd name="T66" fmla="*/ 101 h 10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101">
                  <a:moveTo>
                    <a:pt x="0" y="60"/>
                  </a:moveTo>
                  <a:lnTo>
                    <a:pt x="0" y="60"/>
                  </a:lnTo>
                  <a:lnTo>
                    <a:pt x="10" y="78"/>
                  </a:lnTo>
                  <a:lnTo>
                    <a:pt x="7" y="96"/>
                  </a:lnTo>
                  <a:lnTo>
                    <a:pt x="21" y="100"/>
                  </a:lnTo>
                  <a:lnTo>
                    <a:pt x="19" y="63"/>
                  </a:lnTo>
                  <a:lnTo>
                    <a:pt x="28" y="60"/>
                  </a:lnTo>
                  <a:lnTo>
                    <a:pt x="30" y="74"/>
                  </a:lnTo>
                  <a:lnTo>
                    <a:pt x="37" y="90"/>
                  </a:lnTo>
                  <a:lnTo>
                    <a:pt x="53" y="83"/>
                  </a:lnTo>
                  <a:lnTo>
                    <a:pt x="34" y="48"/>
                  </a:lnTo>
                  <a:lnTo>
                    <a:pt x="62" y="33"/>
                  </a:lnTo>
                  <a:lnTo>
                    <a:pt x="25" y="43"/>
                  </a:lnTo>
                  <a:lnTo>
                    <a:pt x="19" y="21"/>
                  </a:lnTo>
                  <a:lnTo>
                    <a:pt x="74" y="19"/>
                  </a:lnTo>
                  <a:lnTo>
                    <a:pt x="84" y="0"/>
                  </a:lnTo>
                  <a:lnTo>
                    <a:pt x="68" y="12"/>
                  </a:lnTo>
                  <a:lnTo>
                    <a:pt x="28" y="6"/>
                  </a:lnTo>
                  <a:lnTo>
                    <a:pt x="15" y="14"/>
                  </a:lnTo>
                  <a:lnTo>
                    <a:pt x="0" y="60"/>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94" name="Freeform 14"/>
            <p:cNvSpPr>
              <a:spLocks/>
            </p:cNvSpPr>
            <p:nvPr/>
          </p:nvSpPr>
          <p:spPr bwMode="auto">
            <a:xfrm>
              <a:off x="4769" y="3545"/>
              <a:ext cx="48" cy="26"/>
            </a:xfrm>
            <a:custGeom>
              <a:avLst/>
              <a:gdLst>
                <a:gd name="T0" fmla="*/ 0 w 48"/>
                <a:gd name="T1" fmla="*/ 15 h 26"/>
                <a:gd name="T2" fmla="*/ 0 w 48"/>
                <a:gd name="T3" fmla="*/ 15 h 26"/>
                <a:gd name="T4" fmla="*/ 2 w 48"/>
                <a:gd name="T5" fmla="*/ 25 h 26"/>
                <a:gd name="T6" fmla="*/ 47 w 48"/>
                <a:gd name="T7" fmla="*/ 0 h 26"/>
                <a:gd name="T8" fmla="*/ 14 w 48"/>
                <a:gd name="T9" fmla="*/ 7 h 26"/>
                <a:gd name="T10" fmla="*/ 0 w 48"/>
                <a:gd name="T11" fmla="*/ 15 h 26"/>
                <a:gd name="T12" fmla="*/ 0 w 48"/>
                <a:gd name="T13" fmla="*/ 15 h 26"/>
                <a:gd name="T14" fmla="*/ 0 60000 65536"/>
                <a:gd name="T15" fmla="*/ 0 60000 65536"/>
                <a:gd name="T16" fmla="*/ 0 60000 65536"/>
                <a:gd name="T17" fmla="*/ 0 60000 65536"/>
                <a:gd name="T18" fmla="*/ 0 60000 65536"/>
                <a:gd name="T19" fmla="*/ 0 60000 65536"/>
                <a:gd name="T20" fmla="*/ 0 60000 65536"/>
                <a:gd name="T21" fmla="*/ 0 w 48"/>
                <a:gd name="T22" fmla="*/ 0 h 26"/>
                <a:gd name="T23" fmla="*/ 48 w 4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26">
                  <a:moveTo>
                    <a:pt x="0" y="15"/>
                  </a:moveTo>
                  <a:lnTo>
                    <a:pt x="0" y="15"/>
                  </a:lnTo>
                  <a:lnTo>
                    <a:pt x="2" y="25"/>
                  </a:lnTo>
                  <a:lnTo>
                    <a:pt x="47" y="0"/>
                  </a:lnTo>
                  <a:lnTo>
                    <a:pt x="14" y="7"/>
                  </a:lnTo>
                  <a:lnTo>
                    <a:pt x="0" y="15"/>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95" name="Freeform 15"/>
            <p:cNvSpPr>
              <a:spLocks/>
            </p:cNvSpPr>
            <p:nvPr/>
          </p:nvSpPr>
          <p:spPr bwMode="auto">
            <a:xfrm>
              <a:off x="4819" y="3400"/>
              <a:ext cx="17" cy="42"/>
            </a:xfrm>
            <a:custGeom>
              <a:avLst/>
              <a:gdLst>
                <a:gd name="T0" fmla="*/ 0 w 17"/>
                <a:gd name="T1" fmla="*/ 14 h 42"/>
                <a:gd name="T2" fmla="*/ 0 w 17"/>
                <a:gd name="T3" fmla="*/ 14 h 42"/>
                <a:gd name="T4" fmla="*/ 3 w 17"/>
                <a:gd name="T5" fmla="*/ 33 h 42"/>
                <a:gd name="T6" fmla="*/ 13 w 17"/>
                <a:gd name="T7" fmla="*/ 41 h 42"/>
                <a:gd name="T8" fmla="*/ 7 w 17"/>
                <a:gd name="T9" fmla="*/ 24 h 42"/>
                <a:gd name="T10" fmla="*/ 16 w 17"/>
                <a:gd name="T11" fmla="*/ 21 h 42"/>
                <a:gd name="T12" fmla="*/ 15 w 17"/>
                <a:gd name="T13" fmla="*/ 8 h 42"/>
                <a:gd name="T14" fmla="*/ 3 w 17"/>
                <a:gd name="T15" fmla="*/ 17 h 42"/>
                <a:gd name="T16" fmla="*/ 8 w 17"/>
                <a:gd name="T17" fmla="*/ 0 h 42"/>
                <a:gd name="T18" fmla="*/ 0 w 17"/>
                <a:gd name="T19" fmla="*/ 14 h 42"/>
                <a:gd name="T20" fmla="*/ 0 w 17"/>
                <a:gd name="T21" fmla="*/ 14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2"/>
                <a:gd name="T35" fmla="*/ 17 w 17"/>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2">
                  <a:moveTo>
                    <a:pt x="0" y="14"/>
                  </a:moveTo>
                  <a:lnTo>
                    <a:pt x="0" y="14"/>
                  </a:lnTo>
                  <a:lnTo>
                    <a:pt x="3" y="33"/>
                  </a:lnTo>
                  <a:lnTo>
                    <a:pt x="13" y="41"/>
                  </a:lnTo>
                  <a:lnTo>
                    <a:pt x="7" y="24"/>
                  </a:lnTo>
                  <a:lnTo>
                    <a:pt x="16" y="21"/>
                  </a:lnTo>
                  <a:lnTo>
                    <a:pt x="15" y="8"/>
                  </a:lnTo>
                  <a:lnTo>
                    <a:pt x="3" y="17"/>
                  </a:lnTo>
                  <a:lnTo>
                    <a:pt x="8" y="0"/>
                  </a:lnTo>
                  <a:lnTo>
                    <a:pt x="0" y="14"/>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96" name="Freeform 16"/>
            <p:cNvSpPr>
              <a:spLocks/>
            </p:cNvSpPr>
            <p:nvPr/>
          </p:nvSpPr>
          <p:spPr bwMode="auto">
            <a:xfrm>
              <a:off x="4826" y="3466"/>
              <a:ext cx="40" cy="14"/>
            </a:xfrm>
            <a:custGeom>
              <a:avLst/>
              <a:gdLst>
                <a:gd name="T0" fmla="*/ 0 w 40"/>
                <a:gd name="T1" fmla="*/ 5 h 14"/>
                <a:gd name="T2" fmla="*/ 0 w 40"/>
                <a:gd name="T3" fmla="*/ 5 h 14"/>
                <a:gd name="T4" fmla="*/ 22 w 40"/>
                <a:gd name="T5" fmla="*/ 0 h 14"/>
                <a:gd name="T6" fmla="*/ 39 w 40"/>
                <a:gd name="T7" fmla="*/ 13 h 14"/>
                <a:gd name="T8" fmla="*/ 0 w 40"/>
                <a:gd name="T9" fmla="*/ 5 h 14"/>
                <a:gd name="T10" fmla="*/ 0 w 40"/>
                <a:gd name="T11" fmla="*/ 5 h 14"/>
                <a:gd name="T12" fmla="*/ 0 60000 65536"/>
                <a:gd name="T13" fmla="*/ 0 60000 65536"/>
                <a:gd name="T14" fmla="*/ 0 60000 65536"/>
                <a:gd name="T15" fmla="*/ 0 60000 65536"/>
                <a:gd name="T16" fmla="*/ 0 60000 65536"/>
                <a:gd name="T17" fmla="*/ 0 60000 65536"/>
                <a:gd name="T18" fmla="*/ 0 w 40"/>
                <a:gd name="T19" fmla="*/ 0 h 14"/>
                <a:gd name="T20" fmla="*/ 40 w 4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40" h="14">
                  <a:moveTo>
                    <a:pt x="0" y="5"/>
                  </a:moveTo>
                  <a:lnTo>
                    <a:pt x="0" y="5"/>
                  </a:lnTo>
                  <a:lnTo>
                    <a:pt x="22" y="0"/>
                  </a:lnTo>
                  <a:lnTo>
                    <a:pt x="39" y="13"/>
                  </a:lnTo>
                  <a:lnTo>
                    <a:pt x="0" y="5"/>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97" name="Freeform 17"/>
            <p:cNvSpPr>
              <a:spLocks/>
            </p:cNvSpPr>
            <p:nvPr/>
          </p:nvSpPr>
          <p:spPr bwMode="auto">
            <a:xfrm>
              <a:off x="4865" y="3434"/>
              <a:ext cx="144" cy="119"/>
            </a:xfrm>
            <a:custGeom>
              <a:avLst/>
              <a:gdLst>
                <a:gd name="T0" fmla="*/ 0 w 144"/>
                <a:gd name="T1" fmla="*/ 15 h 119"/>
                <a:gd name="T2" fmla="*/ 0 w 144"/>
                <a:gd name="T3" fmla="*/ 15 h 119"/>
                <a:gd name="T4" fmla="*/ 21 w 144"/>
                <a:gd name="T5" fmla="*/ 26 h 119"/>
                <a:gd name="T6" fmla="*/ 42 w 144"/>
                <a:gd name="T7" fmla="*/ 23 h 119"/>
                <a:gd name="T8" fmla="*/ 16 w 144"/>
                <a:gd name="T9" fmla="*/ 32 h 119"/>
                <a:gd name="T10" fmla="*/ 28 w 144"/>
                <a:gd name="T11" fmla="*/ 51 h 119"/>
                <a:gd name="T12" fmla="*/ 41 w 144"/>
                <a:gd name="T13" fmla="*/ 35 h 119"/>
                <a:gd name="T14" fmla="*/ 49 w 144"/>
                <a:gd name="T15" fmla="*/ 51 h 119"/>
                <a:gd name="T16" fmla="*/ 100 w 144"/>
                <a:gd name="T17" fmla="*/ 69 h 119"/>
                <a:gd name="T18" fmla="*/ 113 w 144"/>
                <a:gd name="T19" fmla="*/ 98 h 119"/>
                <a:gd name="T20" fmla="*/ 103 w 144"/>
                <a:gd name="T21" fmla="*/ 97 h 119"/>
                <a:gd name="T22" fmla="*/ 95 w 144"/>
                <a:gd name="T23" fmla="*/ 110 h 119"/>
                <a:gd name="T24" fmla="*/ 126 w 144"/>
                <a:gd name="T25" fmla="*/ 104 h 119"/>
                <a:gd name="T26" fmla="*/ 143 w 144"/>
                <a:gd name="T27" fmla="*/ 118 h 119"/>
                <a:gd name="T28" fmla="*/ 141 w 144"/>
                <a:gd name="T29" fmla="*/ 30 h 119"/>
                <a:gd name="T30" fmla="*/ 97 w 144"/>
                <a:gd name="T31" fmla="*/ 15 h 119"/>
                <a:gd name="T32" fmla="*/ 61 w 144"/>
                <a:gd name="T33" fmla="*/ 41 h 119"/>
                <a:gd name="T34" fmla="*/ 47 w 144"/>
                <a:gd name="T35" fmla="*/ 27 h 119"/>
                <a:gd name="T36" fmla="*/ 43 w 144"/>
                <a:gd name="T37" fmla="*/ 6 h 119"/>
                <a:gd name="T38" fmla="*/ 21 w 144"/>
                <a:gd name="T39" fmla="*/ 0 h 119"/>
                <a:gd name="T40" fmla="*/ 0 w 144"/>
                <a:gd name="T41" fmla="*/ 15 h 119"/>
                <a:gd name="T42" fmla="*/ 0 w 144"/>
                <a:gd name="T43" fmla="*/ 15 h 1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19"/>
                <a:gd name="T68" fmla="*/ 144 w 144"/>
                <a:gd name="T69" fmla="*/ 119 h 1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19">
                  <a:moveTo>
                    <a:pt x="0" y="15"/>
                  </a:moveTo>
                  <a:lnTo>
                    <a:pt x="0" y="15"/>
                  </a:lnTo>
                  <a:lnTo>
                    <a:pt x="21" y="26"/>
                  </a:lnTo>
                  <a:lnTo>
                    <a:pt x="42" y="23"/>
                  </a:lnTo>
                  <a:lnTo>
                    <a:pt x="16" y="32"/>
                  </a:lnTo>
                  <a:lnTo>
                    <a:pt x="28" y="51"/>
                  </a:lnTo>
                  <a:lnTo>
                    <a:pt x="41" y="35"/>
                  </a:lnTo>
                  <a:lnTo>
                    <a:pt x="49" y="51"/>
                  </a:lnTo>
                  <a:lnTo>
                    <a:pt x="100" y="69"/>
                  </a:lnTo>
                  <a:lnTo>
                    <a:pt x="113" y="98"/>
                  </a:lnTo>
                  <a:lnTo>
                    <a:pt x="103" y="97"/>
                  </a:lnTo>
                  <a:lnTo>
                    <a:pt x="95" y="110"/>
                  </a:lnTo>
                  <a:lnTo>
                    <a:pt x="126" y="104"/>
                  </a:lnTo>
                  <a:lnTo>
                    <a:pt x="143" y="118"/>
                  </a:lnTo>
                  <a:lnTo>
                    <a:pt x="141" y="30"/>
                  </a:lnTo>
                  <a:lnTo>
                    <a:pt x="97" y="15"/>
                  </a:lnTo>
                  <a:lnTo>
                    <a:pt x="61" y="41"/>
                  </a:lnTo>
                  <a:lnTo>
                    <a:pt x="47" y="27"/>
                  </a:lnTo>
                  <a:lnTo>
                    <a:pt x="43" y="6"/>
                  </a:lnTo>
                  <a:lnTo>
                    <a:pt x="21" y="0"/>
                  </a:lnTo>
                  <a:lnTo>
                    <a:pt x="0" y="15"/>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98" name="Freeform 18"/>
            <p:cNvSpPr>
              <a:spLocks/>
            </p:cNvSpPr>
            <p:nvPr/>
          </p:nvSpPr>
          <p:spPr bwMode="auto">
            <a:xfrm>
              <a:off x="4871" y="3526"/>
              <a:ext cx="7" cy="11"/>
            </a:xfrm>
            <a:custGeom>
              <a:avLst/>
              <a:gdLst>
                <a:gd name="T0" fmla="*/ 0 w 7"/>
                <a:gd name="T1" fmla="*/ 10 h 11"/>
                <a:gd name="T2" fmla="*/ 0 w 7"/>
                <a:gd name="T3" fmla="*/ 10 h 11"/>
                <a:gd name="T4" fmla="*/ 3 w 7"/>
                <a:gd name="T5" fmla="*/ 0 h 11"/>
                <a:gd name="T6" fmla="*/ 6 w 7"/>
                <a:gd name="T7" fmla="*/ 6 h 11"/>
                <a:gd name="T8" fmla="*/ 0 w 7"/>
                <a:gd name="T9" fmla="*/ 10 h 11"/>
                <a:gd name="T10" fmla="*/ 0 w 7"/>
                <a:gd name="T11" fmla="*/ 10 h 11"/>
                <a:gd name="T12" fmla="*/ 0 60000 65536"/>
                <a:gd name="T13" fmla="*/ 0 60000 65536"/>
                <a:gd name="T14" fmla="*/ 0 60000 65536"/>
                <a:gd name="T15" fmla="*/ 0 60000 65536"/>
                <a:gd name="T16" fmla="*/ 0 60000 65536"/>
                <a:gd name="T17" fmla="*/ 0 60000 65536"/>
                <a:gd name="T18" fmla="*/ 0 w 7"/>
                <a:gd name="T19" fmla="*/ 0 h 11"/>
                <a:gd name="T20" fmla="*/ 7 w 7"/>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7" h="11">
                  <a:moveTo>
                    <a:pt x="0" y="10"/>
                  </a:moveTo>
                  <a:lnTo>
                    <a:pt x="0" y="10"/>
                  </a:lnTo>
                  <a:lnTo>
                    <a:pt x="3" y="0"/>
                  </a:lnTo>
                  <a:lnTo>
                    <a:pt x="6" y="6"/>
                  </a:lnTo>
                  <a:lnTo>
                    <a:pt x="0" y="10"/>
                  </a:lnTo>
                </a:path>
              </a:pathLst>
            </a:custGeom>
            <a:grpFill/>
            <a:ln w="12700">
              <a:solidFill>
                <a:schemeClr val="bg1"/>
              </a:solidFill>
              <a:round/>
              <a:headEnd/>
              <a:tailEnd/>
            </a:ln>
          </p:spPr>
          <p:txBody>
            <a:bodyPr lIns="0" tIns="0" rIns="0" bIns="0" anchor="ctr">
              <a:spAutoFit/>
            </a:bodyPr>
            <a:lstStyle/>
            <a:p>
              <a:pPr>
                <a:defRPr/>
              </a:pPr>
              <a:endParaRPr lang="en-GB"/>
            </a:p>
          </p:txBody>
        </p:sp>
      </p:grpSp>
      <p:sp>
        <p:nvSpPr>
          <p:cNvPr id="531" name="Freeform 530"/>
          <p:cNvSpPr>
            <a:spLocks/>
          </p:cNvSpPr>
          <p:nvPr/>
        </p:nvSpPr>
        <p:spPr bwMode="auto">
          <a:xfrm>
            <a:off x="5724314" y="3270724"/>
            <a:ext cx="331737" cy="228901"/>
          </a:xfrm>
          <a:custGeom>
            <a:avLst/>
            <a:gdLst>
              <a:gd name="T0" fmla="*/ 0 w 194"/>
              <a:gd name="T1" fmla="*/ 111880299 h 139"/>
              <a:gd name="T2" fmla="*/ 0 w 194"/>
              <a:gd name="T3" fmla="*/ 111880299 h 139"/>
              <a:gd name="T4" fmla="*/ 3134995 w 194"/>
              <a:gd name="T5" fmla="*/ 172905343 h 139"/>
              <a:gd name="T6" fmla="*/ 25079963 w 194"/>
              <a:gd name="T7" fmla="*/ 191552270 h 139"/>
              <a:gd name="T8" fmla="*/ 6269991 w 194"/>
              <a:gd name="T9" fmla="*/ 222064121 h 139"/>
              <a:gd name="T10" fmla="*/ 40754933 w 194"/>
              <a:gd name="T11" fmla="*/ 233930347 h 139"/>
              <a:gd name="T12" fmla="*/ 119129815 w 194"/>
              <a:gd name="T13" fmla="*/ 222064121 h 139"/>
              <a:gd name="T14" fmla="*/ 133237289 w 194"/>
              <a:gd name="T15" fmla="*/ 188161920 h 139"/>
              <a:gd name="T16" fmla="*/ 186530976 w 194"/>
              <a:gd name="T17" fmla="*/ 169514952 h 139"/>
              <a:gd name="T18" fmla="*/ 191233467 w 194"/>
              <a:gd name="T19" fmla="*/ 140696975 h 139"/>
              <a:gd name="T20" fmla="*/ 210043431 w 194"/>
              <a:gd name="T21" fmla="*/ 133916274 h 139"/>
              <a:gd name="T22" fmla="*/ 202205946 w 194"/>
              <a:gd name="T23" fmla="*/ 118659698 h 139"/>
              <a:gd name="T24" fmla="*/ 221015911 w 194"/>
              <a:gd name="T25" fmla="*/ 116965824 h 139"/>
              <a:gd name="T26" fmla="*/ 235123384 w 194"/>
              <a:gd name="T27" fmla="*/ 88147847 h 139"/>
              <a:gd name="T28" fmla="*/ 228853396 w 194"/>
              <a:gd name="T29" fmla="*/ 59329849 h 139"/>
              <a:gd name="T30" fmla="*/ 300958260 w 194"/>
              <a:gd name="T31" fmla="*/ 38989039 h 139"/>
              <a:gd name="T32" fmla="*/ 302525758 w 194"/>
              <a:gd name="T33" fmla="*/ 32208338 h 139"/>
              <a:gd name="T34" fmla="*/ 275878308 w 194"/>
              <a:gd name="T35" fmla="*/ 27122813 h 139"/>
              <a:gd name="T36" fmla="*/ 238258378 w 194"/>
              <a:gd name="T37" fmla="*/ 47463623 h 139"/>
              <a:gd name="T38" fmla="*/ 219448414 w 194"/>
              <a:gd name="T39" fmla="*/ 0 h 139"/>
              <a:gd name="T40" fmla="*/ 188098473 w 194"/>
              <a:gd name="T41" fmla="*/ 35598688 h 139"/>
              <a:gd name="T42" fmla="*/ 94049862 w 194"/>
              <a:gd name="T43" fmla="*/ 32208338 h 139"/>
              <a:gd name="T44" fmla="*/ 47024931 w 194"/>
              <a:gd name="T45" fmla="*/ 86452672 h 139"/>
              <a:gd name="T46" fmla="*/ 14107478 w 194"/>
              <a:gd name="T47" fmla="*/ 69500900 h 139"/>
              <a:gd name="T48" fmla="*/ 0 w 194"/>
              <a:gd name="T49" fmla="*/ 111880299 h 139"/>
              <a:gd name="T50" fmla="*/ 0 w 194"/>
              <a:gd name="T51" fmla="*/ 111880299 h 1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4"/>
              <a:gd name="T79" fmla="*/ 0 h 139"/>
              <a:gd name="T80" fmla="*/ 194 w 194"/>
              <a:gd name="T81" fmla="*/ 139 h 1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4" h="139">
                <a:moveTo>
                  <a:pt x="0" y="66"/>
                </a:moveTo>
                <a:lnTo>
                  <a:pt x="0" y="66"/>
                </a:lnTo>
                <a:lnTo>
                  <a:pt x="2" y="102"/>
                </a:lnTo>
                <a:lnTo>
                  <a:pt x="16" y="113"/>
                </a:lnTo>
                <a:lnTo>
                  <a:pt x="4" y="131"/>
                </a:lnTo>
                <a:lnTo>
                  <a:pt x="26" y="138"/>
                </a:lnTo>
                <a:lnTo>
                  <a:pt x="76" y="131"/>
                </a:lnTo>
                <a:lnTo>
                  <a:pt x="85" y="111"/>
                </a:lnTo>
                <a:lnTo>
                  <a:pt x="119" y="100"/>
                </a:lnTo>
                <a:lnTo>
                  <a:pt x="122" y="83"/>
                </a:lnTo>
                <a:lnTo>
                  <a:pt x="134" y="79"/>
                </a:lnTo>
                <a:lnTo>
                  <a:pt x="129" y="70"/>
                </a:lnTo>
                <a:lnTo>
                  <a:pt x="141" y="69"/>
                </a:lnTo>
                <a:lnTo>
                  <a:pt x="150" y="52"/>
                </a:lnTo>
                <a:lnTo>
                  <a:pt x="146" y="35"/>
                </a:lnTo>
                <a:lnTo>
                  <a:pt x="192" y="23"/>
                </a:lnTo>
                <a:lnTo>
                  <a:pt x="193" y="19"/>
                </a:lnTo>
                <a:lnTo>
                  <a:pt x="176" y="16"/>
                </a:lnTo>
                <a:lnTo>
                  <a:pt x="152" y="28"/>
                </a:lnTo>
                <a:lnTo>
                  <a:pt x="140" y="0"/>
                </a:lnTo>
                <a:lnTo>
                  <a:pt x="120" y="21"/>
                </a:lnTo>
                <a:lnTo>
                  <a:pt x="60" y="19"/>
                </a:lnTo>
                <a:lnTo>
                  <a:pt x="30" y="51"/>
                </a:lnTo>
                <a:lnTo>
                  <a:pt x="9" y="41"/>
                </a:lnTo>
                <a:lnTo>
                  <a:pt x="0" y="66"/>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grpSp>
        <p:nvGrpSpPr>
          <p:cNvPr id="5" name="Group 20"/>
          <p:cNvGrpSpPr>
            <a:grpSpLocks/>
          </p:cNvGrpSpPr>
          <p:nvPr/>
        </p:nvGrpSpPr>
        <p:grpSpPr bwMode="auto">
          <a:xfrm>
            <a:off x="6945023" y="4417245"/>
            <a:ext cx="943178" cy="801154"/>
            <a:chOff x="4623" y="3575"/>
            <a:chExt cx="552" cy="485"/>
          </a:xfrm>
          <a:solidFill>
            <a:schemeClr val="accent3"/>
          </a:solidFill>
        </p:grpSpPr>
        <p:sp>
          <p:nvSpPr>
            <p:cNvPr id="787" name="Freeform 786"/>
            <p:cNvSpPr>
              <a:spLocks/>
            </p:cNvSpPr>
            <p:nvPr/>
          </p:nvSpPr>
          <p:spPr bwMode="auto">
            <a:xfrm>
              <a:off x="4623" y="3575"/>
              <a:ext cx="552" cy="414"/>
            </a:xfrm>
            <a:custGeom>
              <a:avLst/>
              <a:gdLst>
                <a:gd name="T0" fmla="*/ 0 w 552"/>
                <a:gd name="T1" fmla="*/ 218 h 414"/>
                <a:gd name="T2" fmla="*/ 4 w 552"/>
                <a:gd name="T3" fmla="*/ 209 h 414"/>
                <a:gd name="T4" fmla="*/ 3 w 552"/>
                <a:gd name="T5" fmla="*/ 192 h 414"/>
                <a:gd name="T6" fmla="*/ 14 w 552"/>
                <a:gd name="T7" fmla="*/ 165 h 414"/>
                <a:gd name="T8" fmla="*/ 106 w 552"/>
                <a:gd name="T9" fmla="*/ 123 h 414"/>
                <a:gd name="T10" fmla="*/ 125 w 552"/>
                <a:gd name="T11" fmla="*/ 88 h 414"/>
                <a:gd name="T12" fmla="*/ 141 w 552"/>
                <a:gd name="T13" fmla="*/ 94 h 414"/>
                <a:gd name="T14" fmla="*/ 154 w 552"/>
                <a:gd name="T15" fmla="*/ 80 h 414"/>
                <a:gd name="T16" fmla="*/ 175 w 552"/>
                <a:gd name="T17" fmla="*/ 46 h 414"/>
                <a:gd name="T18" fmla="*/ 202 w 552"/>
                <a:gd name="T19" fmla="*/ 68 h 414"/>
                <a:gd name="T20" fmla="*/ 226 w 552"/>
                <a:gd name="T21" fmla="*/ 63 h 414"/>
                <a:gd name="T22" fmla="*/ 233 w 552"/>
                <a:gd name="T23" fmla="*/ 28 h 414"/>
                <a:gd name="T24" fmla="*/ 257 w 552"/>
                <a:gd name="T25" fmla="*/ 6 h 414"/>
                <a:gd name="T26" fmla="*/ 306 w 552"/>
                <a:gd name="T27" fmla="*/ 59 h 414"/>
                <a:gd name="T28" fmla="*/ 384 w 552"/>
                <a:gd name="T29" fmla="*/ 82 h 414"/>
                <a:gd name="T30" fmla="*/ 405 w 552"/>
                <a:gd name="T31" fmla="*/ 0 h 414"/>
                <a:gd name="T32" fmla="*/ 440 w 552"/>
                <a:gd name="T33" fmla="*/ 59 h 414"/>
                <a:gd name="T34" fmla="*/ 488 w 552"/>
                <a:gd name="T35" fmla="*/ 133 h 414"/>
                <a:gd name="T36" fmla="*/ 512 w 552"/>
                <a:gd name="T37" fmla="*/ 163 h 414"/>
                <a:gd name="T38" fmla="*/ 543 w 552"/>
                <a:gd name="T39" fmla="*/ 204 h 414"/>
                <a:gd name="T40" fmla="*/ 545 w 552"/>
                <a:gd name="T41" fmla="*/ 290 h 414"/>
                <a:gd name="T42" fmla="*/ 503 w 552"/>
                <a:gd name="T43" fmla="*/ 388 h 414"/>
                <a:gd name="T44" fmla="*/ 453 w 552"/>
                <a:gd name="T45" fmla="*/ 406 h 414"/>
                <a:gd name="T46" fmla="*/ 435 w 552"/>
                <a:gd name="T47" fmla="*/ 392 h 414"/>
                <a:gd name="T48" fmla="*/ 387 w 552"/>
                <a:gd name="T49" fmla="*/ 401 h 414"/>
                <a:gd name="T50" fmla="*/ 357 w 552"/>
                <a:gd name="T51" fmla="*/ 354 h 414"/>
                <a:gd name="T52" fmla="*/ 341 w 552"/>
                <a:gd name="T53" fmla="*/ 337 h 414"/>
                <a:gd name="T54" fmla="*/ 324 w 552"/>
                <a:gd name="T55" fmla="*/ 352 h 414"/>
                <a:gd name="T56" fmla="*/ 312 w 552"/>
                <a:gd name="T57" fmla="*/ 349 h 414"/>
                <a:gd name="T58" fmla="*/ 288 w 552"/>
                <a:gd name="T59" fmla="*/ 312 h 414"/>
                <a:gd name="T60" fmla="*/ 175 w 552"/>
                <a:gd name="T61" fmla="*/ 308 h 414"/>
                <a:gd name="T62" fmla="*/ 94 w 552"/>
                <a:gd name="T63" fmla="*/ 331 h 414"/>
                <a:gd name="T64" fmla="*/ 27 w 552"/>
                <a:gd name="T65" fmla="*/ 337 h 414"/>
                <a:gd name="T66" fmla="*/ 0 w 552"/>
                <a:gd name="T67" fmla="*/ 218 h 4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2"/>
                <a:gd name="T103" fmla="*/ 0 h 414"/>
                <a:gd name="T104" fmla="*/ 552 w 552"/>
                <a:gd name="T105" fmla="*/ 414 h 4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2" h="414">
                  <a:moveTo>
                    <a:pt x="0" y="218"/>
                  </a:moveTo>
                  <a:lnTo>
                    <a:pt x="0" y="218"/>
                  </a:lnTo>
                  <a:lnTo>
                    <a:pt x="9" y="221"/>
                  </a:lnTo>
                  <a:lnTo>
                    <a:pt x="4" y="209"/>
                  </a:lnTo>
                  <a:lnTo>
                    <a:pt x="15" y="215"/>
                  </a:lnTo>
                  <a:lnTo>
                    <a:pt x="3" y="192"/>
                  </a:lnTo>
                  <a:lnTo>
                    <a:pt x="11" y="155"/>
                  </a:lnTo>
                  <a:lnTo>
                    <a:pt x="14" y="165"/>
                  </a:lnTo>
                  <a:lnTo>
                    <a:pt x="48" y="136"/>
                  </a:lnTo>
                  <a:lnTo>
                    <a:pt x="106" y="123"/>
                  </a:lnTo>
                  <a:lnTo>
                    <a:pt x="125" y="101"/>
                  </a:lnTo>
                  <a:lnTo>
                    <a:pt x="125" y="88"/>
                  </a:lnTo>
                  <a:lnTo>
                    <a:pt x="133" y="78"/>
                  </a:lnTo>
                  <a:lnTo>
                    <a:pt x="141" y="94"/>
                  </a:lnTo>
                  <a:lnTo>
                    <a:pt x="141" y="76"/>
                  </a:lnTo>
                  <a:lnTo>
                    <a:pt x="154" y="80"/>
                  </a:lnTo>
                  <a:lnTo>
                    <a:pt x="155" y="67"/>
                  </a:lnTo>
                  <a:lnTo>
                    <a:pt x="175" y="46"/>
                  </a:lnTo>
                  <a:lnTo>
                    <a:pt x="197" y="48"/>
                  </a:lnTo>
                  <a:lnTo>
                    <a:pt x="202" y="68"/>
                  </a:lnTo>
                  <a:lnTo>
                    <a:pt x="210" y="56"/>
                  </a:lnTo>
                  <a:lnTo>
                    <a:pt x="226" y="63"/>
                  </a:lnTo>
                  <a:lnTo>
                    <a:pt x="220" y="49"/>
                  </a:lnTo>
                  <a:lnTo>
                    <a:pt x="233" y="28"/>
                  </a:lnTo>
                  <a:lnTo>
                    <a:pt x="265" y="20"/>
                  </a:lnTo>
                  <a:lnTo>
                    <a:pt x="257" y="6"/>
                  </a:lnTo>
                  <a:lnTo>
                    <a:pt x="319" y="23"/>
                  </a:lnTo>
                  <a:lnTo>
                    <a:pt x="306" y="59"/>
                  </a:lnTo>
                  <a:lnTo>
                    <a:pt x="368" y="97"/>
                  </a:lnTo>
                  <a:lnTo>
                    <a:pt x="384" y="82"/>
                  </a:lnTo>
                  <a:lnTo>
                    <a:pt x="390" y="19"/>
                  </a:lnTo>
                  <a:lnTo>
                    <a:pt x="405" y="0"/>
                  </a:lnTo>
                  <a:lnTo>
                    <a:pt x="418" y="49"/>
                  </a:lnTo>
                  <a:lnTo>
                    <a:pt x="440" y="59"/>
                  </a:lnTo>
                  <a:lnTo>
                    <a:pt x="454" y="115"/>
                  </a:lnTo>
                  <a:lnTo>
                    <a:pt x="488" y="133"/>
                  </a:lnTo>
                  <a:lnTo>
                    <a:pt x="499" y="165"/>
                  </a:lnTo>
                  <a:lnTo>
                    <a:pt x="512" y="163"/>
                  </a:lnTo>
                  <a:lnTo>
                    <a:pt x="515" y="179"/>
                  </a:lnTo>
                  <a:lnTo>
                    <a:pt x="543" y="204"/>
                  </a:lnTo>
                  <a:lnTo>
                    <a:pt x="551" y="247"/>
                  </a:lnTo>
                  <a:lnTo>
                    <a:pt x="545" y="290"/>
                  </a:lnTo>
                  <a:lnTo>
                    <a:pt x="521" y="326"/>
                  </a:lnTo>
                  <a:lnTo>
                    <a:pt x="503" y="388"/>
                  </a:lnTo>
                  <a:lnTo>
                    <a:pt x="472" y="395"/>
                  </a:lnTo>
                  <a:lnTo>
                    <a:pt x="453" y="406"/>
                  </a:lnTo>
                  <a:lnTo>
                    <a:pt x="454" y="413"/>
                  </a:lnTo>
                  <a:lnTo>
                    <a:pt x="435" y="392"/>
                  </a:lnTo>
                  <a:lnTo>
                    <a:pt x="413" y="408"/>
                  </a:lnTo>
                  <a:lnTo>
                    <a:pt x="387" y="401"/>
                  </a:lnTo>
                  <a:lnTo>
                    <a:pt x="367" y="386"/>
                  </a:lnTo>
                  <a:lnTo>
                    <a:pt x="357" y="354"/>
                  </a:lnTo>
                  <a:lnTo>
                    <a:pt x="341" y="358"/>
                  </a:lnTo>
                  <a:lnTo>
                    <a:pt x="341" y="337"/>
                  </a:lnTo>
                  <a:lnTo>
                    <a:pt x="336" y="351"/>
                  </a:lnTo>
                  <a:lnTo>
                    <a:pt x="324" y="352"/>
                  </a:lnTo>
                  <a:lnTo>
                    <a:pt x="336" y="311"/>
                  </a:lnTo>
                  <a:lnTo>
                    <a:pt x="312" y="349"/>
                  </a:lnTo>
                  <a:lnTo>
                    <a:pt x="301" y="341"/>
                  </a:lnTo>
                  <a:lnTo>
                    <a:pt x="288" y="312"/>
                  </a:lnTo>
                  <a:lnTo>
                    <a:pt x="248" y="295"/>
                  </a:lnTo>
                  <a:lnTo>
                    <a:pt x="175" y="308"/>
                  </a:lnTo>
                  <a:lnTo>
                    <a:pt x="144" y="330"/>
                  </a:lnTo>
                  <a:lnTo>
                    <a:pt x="94" y="331"/>
                  </a:lnTo>
                  <a:lnTo>
                    <a:pt x="65" y="350"/>
                  </a:lnTo>
                  <a:lnTo>
                    <a:pt x="27" y="337"/>
                  </a:lnTo>
                  <a:lnTo>
                    <a:pt x="35" y="297"/>
                  </a:lnTo>
                  <a:lnTo>
                    <a:pt x="0" y="218"/>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88" name="Freeform 787"/>
            <p:cNvSpPr>
              <a:spLocks/>
            </p:cNvSpPr>
            <p:nvPr/>
          </p:nvSpPr>
          <p:spPr bwMode="auto">
            <a:xfrm>
              <a:off x="5055" y="4012"/>
              <a:ext cx="49" cy="48"/>
            </a:xfrm>
            <a:custGeom>
              <a:avLst/>
              <a:gdLst>
                <a:gd name="T0" fmla="*/ 0 w 49"/>
                <a:gd name="T1" fmla="*/ 8 h 48"/>
                <a:gd name="T2" fmla="*/ 0 w 49"/>
                <a:gd name="T3" fmla="*/ 8 h 48"/>
                <a:gd name="T4" fmla="*/ 1 w 49"/>
                <a:gd name="T5" fmla="*/ 0 h 48"/>
                <a:gd name="T6" fmla="*/ 25 w 49"/>
                <a:gd name="T7" fmla="*/ 7 h 48"/>
                <a:gd name="T8" fmla="*/ 44 w 49"/>
                <a:gd name="T9" fmla="*/ 1 h 48"/>
                <a:gd name="T10" fmla="*/ 48 w 49"/>
                <a:gd name="T11" fmla="*/ 13 h 48"/>
                <a:gd name="T12" fmla="*/ 48 w 49"/>
                <a:gd name="T13" fmla="*/ 27 h 48"/>
                <a:gd name="T14" fmla="*/ 30 w 49"/>
                <a:gd name="T15" fmla="*/ 47 h 48"/>
                <a:gd name="T16" fmla="*/ 18 w 49"/>
                <a:gd name="T17" fmla="*/ 46 h 48"/>
                <a:gd name="T18" fmla="*/ 0 w 49"/>
                <a:gd name="T19" fmla="*/ 8 h 48"/>
                <a:gd name="T20" fmla="*/ 0 w 49"/>
                <a:gd name="T21" fmla="*/ 8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48"/>
                <a:gd name="T35" fmla="*/ 49 w 49"/>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48">
                  <a:moveTo>
                    <a:pt x="0" y="8"/>
                  </a:moveTo>
                  <a:lnTo>
                    <a:pt x="0" y="8"/>
                  </a:lnTo>
                  <a:lnTo>
                    <a:pt x="1" y="0"/>
                  </a:lnTo>
                  <a:lnTo>
                    <a:pt x="25" y="7"/>
                  </a:lnTo>
                  <a:lnTo>
                    <a:pt x="44" y="1"/>
                  </a:lnTo>
                  <a:lnTo>
                    <a:pt x="48" y="13"/>
                  </a:lnTo>
                  <a:lnTo>
                    <a:pt x="48" y="27"/>
                  </a:lnTo>
                  <a:lnTo>
                    <a:pt x="30" y="47"/>
                  </a:lnTo>
                  <a:lnTo>
                    <a:pt x="18" y="46"/>
                  </a:lnTo>
                  <a:lnTo>
                    <a:pt x="0" y="8"/>
                  </a:lnTo>
                </a:path>
              </a:pathLst>
            </a:custGeom>
            <a:grpFill/>
            <a:ln w="12700">
              <a:solidFill>
                <a:schemeClr val="bg1"/>
              </a:solidFill>
              <a:round/>
              <a:headEnd/>
              <a:tailEnd/>
            </a:ln>
          </p:spPr>
          <p:txBody>
            <a:bodyPr lIns="0" tIns="0" rIns="0" bIns="0" anchor="ctr">
              <a:spAutoFit/>
            </a:bodyPr>
            <a:lstStyle/>
            <a:p>
              <a:pPr>
                <a:defRPr/>
              </a:pPr>
              <a:endParaRPr lang="en-GB"/>
            </a:p>
          </p:txBody>
        </p:sp>
      </p:grpSp>
      <p:sp>
        <p:nvSpPr>
          <p:cNvPr id="533" name="Freeform 532"/>
          <p:cNvSpPr>
            <a:spLocks/>
          </p:cNvSpPr>
          <p:nvPr/>
        </p:nvSpPr>
        <p:spPr bwMode="auto">
          <a:xfrm>
            <a:off x="6359603" y="3567893"/>
            <a:ext cx="112748" cy="136538"/>
          </a:xfrm>
          <a:custGeom>
            <a:avLst/>
            <a:gdLst>
              <a:gd name="T0" fmla="*/ 0 w 66"/>
              <a:gd name="T1" fmla="*/ 43327448 h 82"/>
              <a:gd name="T2" fmla="*/ 0 w 66"/>
              <a:gd name="T3" fmla="*/ 43327448 h 82"/>
              <a:gd name="T4" fmla="*/ 14079776 w 66"/>
              <a:gd name="T5" fmla="*/ 57191119 h 82"/>
              <a:gd name="T6" fmla="*/ 21902016 w 66"/>
              <a:gd name="T7" fmla="*/ 123048514 h 82"/>
              <a:gd name="T8" fmla="*/ 46932174 w 66"/>
              <a:gd name="T9" fmla="*/ 117849802 h 82"/>
              <a:gd name="T10" fmla="*/ 62575392 w 66"/>
              <a:gd name="T11" fmla="*/ 90119827 h 82"/>
              <a:gd name="T12" fmla="*/ 79784558 w 66"/>
              <a:gd name="T13" fmla="*/ 97052321 h 82"/>
              <a:gd name="T14" fmla="*/ 92299652 w 66"/>
              <a:gd name="T15" fmla="*/ 140379749 h 82"/>
              <a:gd name="T16" fmla="*/ 101685332 w 66"/>
              <a:gd name="T17" fmla="*/ 116116020 h 82"/>
              <a:gd name="T18" fmla="*/ 90734955 w 66"/>
              <a:gd name="T19" fmla="*/ 69323642 h 82"/>
              <a:gd name="T20" fmla="*/ 79784558 w 66"/>
              <a:gd name="T21" fmla="*/ 86653580 h 82"/>
              <a:gd name="T22" fmla="*/ 67269483 w 66"/>
              <a:gd name="T23" fmla="*/ 65857395 h 82"/>
              <a:gd name="T24" fmla="*/ 92299652 w 66"/>
              <a:gd name="T25" fmla="*/ 36394944 h 82"/>
              <a:gd name="T26" fmla="*/ 43802780 w 66"/>
              <a:gd name="T27" fmla="*/ 32928697 h 82"/>
              <a:gd name="T28" fmla="*/ 12515079 w 66"/>
              <a:gd name="T29" fmla="*/ 0 h 82"/>
              <a:gd name="T30" fmla="*/ 3129395 w 66"/>
              <a:gd name="T31" fmla="*/ 19063705 h 82"/>
              <a:gd name="T32" fmla="*/ 14079776 w 66"/>
              <a:gd name="T33" fmla="*/ 32928697 h 82"/>
              <a:gd name="T34" fmla="*/ 0 w 66"/>
              <a:gd name="T35" fmla="*/ 43327448 h 82"/>
              <a:gd name="T36" fmla="*/ 0 w 66"/>
              <a:gd name="T37" fmla="*/ 43327448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2"/>
              <a:gd name="T59" fmla="*/ 66 w 6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2">
                <a:moveTo>
                  <a:pt x="0" y="25"/>
                </a:moveTo>
                <a:lnTo>
                  <a:pt x="0" y="25"/>
                </a:lnTo>
                <a:lnTo>
                  <a:pt x="9" y="33"/>
                </a:lnTo>
                <a:lnTo>
                  <a:pt x="14" y="71"/>
                </a:lnTo>
                <a:lnTo>
                  <a:pt x="30" y="68"/>
                </a:lnTo>
                <a:lnTo>
                  <a:pt x="40" y="52"/>
                </a:lnTo>
                <a:lnTo>
                  <a:pt x="51" y="56"/>
                </a:lnTo>
                <a:lnTo>
                  <a:pt x="59" y="81"/>
                </a:lnTo>
                <a:lnTo>
                  <a:pt x="65" y="67"/>
                </a:lnTo>
                <a:lnTo>
                  <a:pt x="58" y="40"/>
                </a:lnTo>
                <a:lnTo>
                  <a:pt x="51" y="50"/>
                </a:lnTo>
                <a:lnTo>
                  <a:pt x="43" y="38"/>
                </a:lnTo>
                <a:lnTo>
                  <a:pt x="59" y="21"/>
                </a:lnTo>
                <a:lnTo>
                  <a:pt x="28" y="19"/>
                </a:lnTo>
                <a:lnTo>
                  <a:pt x="8" y="0"/>
                </a:lnTo>
                <a:lnTo>
                  <a:pt x="2" y="11"/>
                </a:lnTo>
                <a:lnTo>
                  <a:pt x="9" y="19"/>
                </a:lnTo>
                <a:lnTo>
                  <a:pt x="0" y="2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34" name="Freeform 533"/>
          <p:cNvSpPr>
            <a:spLocks/>
          </p:cNvSpPr>
          <p:nvPr/>
        </p:nvSpPr>
        <p:spPr bwMode="auto">
          <a:xfrm>
            <a:off x="6383454" y="3525727"/>
            <a:ext cx="69382" cy="42166"/>
          </a:xfrm>
          <a:custGeom>
            <a:avLst/>
            <a:gdLst>
              <a:gd name="T0" fmla="*/ 0 w 42"/>
              <a:gd name="T1" fmla="*/ 27013506 h 24"/>
              <a:gd name="T2" fmla="*/ 0 w 42"/>
              <a:gd name="T3" fmla="*/ 27013506 h 24"/>
              <a:gd name="T4" fmla="*/ 7315200 w 42"/>
              <a:gd name="T5" fmla="*/ 44379820 h 24"/>
              <a:gd name="T6" fmla="*/ 59980283 w 42"/>
              <a:gd name="T7" fmla="*/ 36662076 h 24"/>
              <a:gd name="T8" fmla="*/ 57054446 w 42"/>
              <a:gd name="T9" fmla="*/ 13507447 h 24"/>
              <a:gd name="T10" fmla="*/ 19018550 w 42"/>
              <a:gd name="T11" fmla="*/ 0 h 24"/>
              <a:gd name="T12" fmla="*/ 0 w 42"/>
              <a:gd name="T13" fmla="*/ 27013506 h 24"/>
              <a:gd name="T14" fmla="*/ 0 w 42"/>
              <a:gd name="T15" fmla="*/ 27013506 h 2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4"/>
              <a:gd name="T26" fmla="*/ 42 w 4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4">
                <a:moveTo>
                  <a:pt x="0" y="14"/>
                </a:moveTo>
                <a:lnTo>
                  <a:pt x="0" y="14"/>
                </a:lnTo>
                <a:lnTo>
                  <a:pt x="5" y="23"/>
                </a:lnTo>
                <a:lnTo>
                  <a:pt x="41" y="19"/>
                </a:lnTo>
                <a:lnTo>
                  <a:pt x="39" y="7"/>
                </a:lnTo>
                <a:lnTo>
                  <a:pt x="13" y="0"/>
                </a:lnTo>
                <a:lnTo>
                  <a:pt x="0" y="1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35" name="Freeform 534"/>
          <p:cNvSpPr>
            <a:spLocks/>
          </p:cNvSpPr>
          <p:nvPr/>
        </p:nvSpPr>
        <p:spPr bwMode="auto">
          <a:xfrm>
            <a:off x="6966705" y="4063844"/>
            <a:ext cx="30355" cy="24095"/>
          </a:xfrm>
          <a:custGeom>
            <a:avLst/>
            <a:gdLst>
              <a:gd name="T0" fmla="*/ 0 w 17"/>
              <a:gd name="T1" fmla="*/ 9677400 h 15"/>
              <a:gd name="T2" fmla="*/ 0 w 17"/>
              <a:gd name="T3" fmla="*/ 9677400 h 15"/>
              <a:gd name="T4" fmla="*/ 13673603 w 17"/>
              <a:gd name="T5" fmla="*/ 22580604 h 15"/>
              <a:gd name="T6" fmla="*/ 27347207 w 17"/>
              <a:gd name="T7" fmla="*/ 0 h 15"/>
              <a:gd name="T8" fmla="*/ 0 w 17"/>
              <a:gd name="T9" fmla="*/ 9677400 h 15"/>
              <a:gd name="T10" fmla="*/ 0 w 17"/>
              <a:gd name="T11" fmla="*/ 9677400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6"/>
                </a:moveTo>
                <a:lnTo>
                  <a:pt x="0" y="6"/>
                </a:lnTo>
                <a:lnTo>
                  <a:pt x="8" y="14"/>
                </a:lnTo>
                <a:lnTo>
                  <a:pt x="16" y="0"/>
                </a:lnTo>
                <a:lnTo>
                  <a:pt x="0" y="6"/>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36" name="Freeform 535"/>
          <p:cNvSpPr>
            <a:spLocks/>
          </p:cNvSpPr>
          <p:nvPr/>
        </p:nvSpPr>
        <p:spPr bwMode="auto">
          <a:xfrm>
            <a:off x="6459340" y="3527735"/>
            <a:ext cx="210318" cy="423665"/>
          </a:xfrm>
          <a:custGeom>
            <a:avLst/>
            <a:gdLst>
              <a:gd name="T0" fmla="*/ 0 w 124"/>
              <a:gd name="T1" fmla="*/ 180866331 h 254"/>
              <a:gd name="T2" fmla="*/ 0 w 124"/>
              <a:gd name="T3" fmla="*/ 180866331 h 254"/>
              <a:gd name="T4" fmla="*/ 9252940 w 124"/>
              <a:gd name="T5" fmla="*/ 156518251 h 254"/>
              <a:gd name="T6" fmla="*/ 63228222 w 124"/>
              <a:gd name="T7" fmla="*/ 41738375 h 254"/>
              <a:gd name="T8" fmla="*/ 101782356 w 124"/>
              <a:gd name="T9" fmla="*/ 26086159 h 254"/>
              <a:gd name="T10" fmla="*/ 109494173 w 124"/>
              <a:gd name="T11" fmla="*/ 0 h 254"/>
              <a:gd name="T12" fmla="*/ 135710623 w 124"/>
              <a:gd name="T13" fmla="*/ 15652222 h 254"/>
              <a:gd name="T14" fmla="*/ 137252987 w 124"/>
              <a:gd name="T15" fmla="*/ 38259519 h 254"/>
              <a:gd name="T16" fmla="*/ 114120021 w 124"/>
              <a:gd name="T17" fmla="*/ 107823492 h 254"/>
              <a:gd name="T18" fmla="*/ 138794108 w 124"/>
              <a:gd name="T19" fmla="*/ 102606526 h 254"/>
              <a:gd name="T20" fmla="*/ 151131773 w 124"/>
              <a:gd name="T21" fmla="*/ 149561857 h 254"/>
              <a:gd name="T22" fmla="*/ 189685926 w 124"/>
              <a:gd name="T23" fmla="*/ 163474645 h 254"/>
              <a:gd name="T24" fmla="*/ 169637687 w 124"/>
              <a:gd name="T25" fmla="*/ 186083297 h 254"/>
              <a:gd name="T26" fmla="*/ 124915322 w 124"/>
              <a:gd name="T27" fmla="*/ 215648302 h 254"/>
              <a:gd name="T28" fmla="*/ 114120021 w 124"/>
              <a:gd name="T29" fmla="*/ 243473879 h 254"/>
              <a:gd name="T30" fmla="*/ 138794108 w 124"/>
              <a:gd name="T31" fmla="*/ 297385605 h 254"/>
              <a:gd name="T32" fmla="*/ 129541170 w 124"/>
              <a:gd name="T33" fmla="*/ 328688719 h 254"/>
              <a:gd name="T34" fmla="*/ 158842347 w 124"/>
              <a:gd name="T35" fmla="*/ 398252743 h 254"/>
              <a:gd name="T36" fmla="*/ 137252987 w 124"/>
              <a:gd name="T37" fmla="*/ 439991109 h 254"/>
              <a:gd name="T38" fmla="*/ 115662384 w 124"/>
              <a:gd name="T39" fmla="*/ 290429210 h 254"/>
              <a:gd name="T40" fmla="*/ 97156508 w 124"/>
              <a:gd name="T41" fmla="*/ 266081171 h 254"/>
              <a:gd name="T42" fmla="*/ 66312948 w 124"/>
              <a:gd name="T43" fmla="*/ 306081427 h 254"/>
              <a:gd name="T44" fmla="*/ 43179983 w 124"/>
              <a:gd name="T45" fmla="*/ 299125033 h 254"/>
              <a:gd name="T46" fmla="*/ 47807072 w 124"/>
              <a:gd name="T47" fmla="*/ 243473879 h 254"/>
              <a:gd name="T48" fmla="*/ 0 w 124"/>
              <a:gd name="T49" fmla="*/ 180866331 h 254"/>
              <a:gd name="T50" fmla="*/ 0 w 124"/>
              <a:gd name="T51" fmla="*/ 180866331 h 2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4"/>
              <a:gd name="T79" fmla="*/ 0 h 254"/>
              <a:gd name="T80" fmla="*/ 124 w 124"/>
              <a:gd name="T81" fmla="*/ 254 h 25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4" h="254">
                <a:moveTo>
                  <a:pt x="0" y="104"/>
                </a:moveTo>
                <a:lnTo>
                  <a:pt x="0" y="104"/>
                </a:lnTo>
                <a:lnTo>
                  <a:pt x="6" y="90"/>
                </a:lnTo>
                <a:lnTo>
                  <a:pt x="41" y="24"/>
                </a:lnTo>
                <a:lnTo>
                  <a:pt x="66" y="15"/>
                </a:lnTo>
                <a:lnTo>
                  <a:pt x="71" y="0"/>
                </a:lnTo>
                <a:lnTo>
                  <a:pt x="88" y="9"/>
                </a:lnTo>
                <a:lnTo>
                  <a:pt x="89" y="22"/>
                </a:lnTo>
                <a:lnTo>
                  <a:pt x="74" y="62"/>
                </a:lnTo>
                <a:lnTo>
                  <a:pt x="90" y="59"/>
                </a:lnTo>
                <a:lnTo>
                  <a:pt x="98" y="86"/>
                </a:lnTo>
                <a:lnTo>
                  <a:pt x="123" y="94"/>
                </a:lnTo>
                <a:lnTo>
                  <a:pt x="110" y="107"/>
                </a:lnTo>
                <a:lnTo>
                  <a:pt x="81" y="124"/>
                </a:lnTo>
                <a:lnTo>
                  <a:pt x="74" y="140"/>
                </a:lnTo>
                <a:lnTo>
                  <a:pt x="90" y="171"/>
                </a:lnTo>
                <a:lnTo>
                  <a:pt x="84" y="189"/>
                </a:lnTo>
                <a:lnTo>
                  <a:pt x="103" y="229"/>
                </a:lnTo>
                <a:lnTo>
                  <a:pt x="89" y="253"/>
                </a:lnTo>
                <a:lnTo>
                  <a:pt x="75" y="167"/>
                </a:lnTo>
                <a:lnTo>
                  <a:pt x="63" y="153"/>
                </a:lnTo>
                <a:lnTo>
                  <a:pt x="43" y="176"/>
                </a:lnTo>
                <a:lnTo>
                  <a:pt x="28" y="172"/>
                </a:lnTo>
                <a:lnTo>
                  <a:pt x="31" y="140"/>
                </a:lnTo>
                <a:lnTo>
                  <a:pt x="0" y="10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37" name="Freeform 536"/>
          <p:cNvSpPr>
            <a:spLocks/>
          </p:cNvSpPr>
          <p:nvPr/>
        </p:nvSpPr>
        <p:spPr bwMode="auto">
          <a:xfrm>
            <a:off x="6697845" y="3849000"/>
            <a:ext cx="119252" cy="92363"/>
          </a:xfrm>
          <a:custGeom>
            <a:avLst/>
            <a:gdLst>
              <a:gd name="T0" fmla="*/ 0 w 70"/>
              <a:gd name="T1" fmla="*/ 18383734 h 59"/>
              <a:gd name="T2" fmla="*/ 0 w 70"/>
              <a:gd name="T3" fmla="*/ 18383734 h 59"/>
              <a:gd name="T4" fmla="*/ 7779587 w 70"/>
              <a:gd name="T5" fmla="*/ 62808929 h 59"/>
              <a:gd name="T6" fmla="*/ 21782099 w 70"/>
              <a:gd name="T7" fmla="*/ 85788301 h 59"/>
              <a:gd name="T8" fmla="*/ 43562951 w 70"/>
              <a:gd name="T9" fmla="*/ 88851637 h 59"/>
              <a:gd name="T10" fmla="*/ 107352573 w 70"/>
              <a:gd name="T11" fmla="*/ 47489774 h 59"/>
              <a:gd name="T12" fmla="*/ 104240490 w 70"/>
              <a:gd name="T13" fmla="*/ 0 h 59"/>
              <a:gd name="T14" fmla="*/ 56010037 w 70"/>
              <a:gd name="T15" fmla="*/ 7660199 h 59"/>
              <a:gd name="T16" fmla="*/ 15557927 w 70"/>
              <a:gd name="T17" fmla="*/ 6127912 h 59"/>
              <a:gd name="T18" fmla="*/ 0 w 70"/>
              <a:gd name="T19" fmla="*/ 18383734 h 59"/>
              <a:gd name="T20" fmla="*/ 0 w 70"/>
              <a:gd name="T21" fmla="*/ 18383734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59"/>
              <a:gd name="T35" fmla="*/ 70 w 70"/>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59">
                <a:moveTo>
                  <a:pt x="0" y="12"/>
                </a:moveTo>
                <a:lnTo>
                  <a:pt x="0" y="12"/>
                </a:lnTo>
                <a:lnTo>
                  <a:pt x="5" y="41"/>
                </a:lnTo>
                <a:lnTo>
                  <a:pt x="14" y="56"/>
                </a:lnTo>
                <a:lnTo>
                  <a:pt x="28" y="58"/>
                </a:lnTo>
                <a:lnTo>
                  <a:pt x="69" y="31"/>
                </a:lnTo>
                <a:lnTo>
                  <a:pt x="67" y="0"/>
                </a:lnTo>
                <a:lnTo>
                  <a:pt x="36" y="5"/>
                </a:lnTo>
                <a:lnTo>
                  <a:pt x="10" y="4"/>
                </a:lnTo>
                <a:lnTo>
                  <a:pt x="0" y="1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38" name="Freeform 537"/>
          <p:cNvSpPr>
            <a:spLocks/>
          </p:cNvSpPr>
          <p:nvPr/>
        </p:nvSpPr>
        <p:spPr bwMode="auto">
          <a:xfrm>
            <a:off x="6173136" y="3957425"/>
            <a:ext cx="43365" cy="82323"/>
          </a:xfrm>
          <a:custGeom>
            <a:avLst/>
            <a:gdLst>
              <a:gd name="T0" fmla="*/ 0 w 26"/>
              <a:gd name="T1" fmla="*/ 0 h 51"/>
              <a:gd name="T2" fmla="*/ 0 w 26"/>
              <a:gd name="T3" fmla="*/ 0 h 51"/>
              <a:gd name="T4" fmla="*/ 7456366 w 26"/>
              <a:gd name="T5" fmla="*/ 81436595 h 51"/>
              <a:gd name="T6" fmla="*/ 37280604 w 26"/>
              <a:gd name="T7" fmla="*/ 66777986 h 51"/>
              <a:gd name="T8" fmla="*/ 22367878 w 26"/>
              <a:gd name="T9" fmla="*/ 19545242 h 51"/>
              <a:gd name="T10" fmla="*/ 0 w 26"/>
              <a:gd name="T11" fmla="*/ 0 h 51"/>
              <a:gd name="T12" fmla="*/ 0 w 26"/>
              <a:gd name="T13" fmla="*/ 0 h 51"/>
              <a:gd name="T14" fmla="*/ 0 60000 65536"/>
              <a:gd name="T15" fmla="*/ 0 60000 65536"/>
              <a:gd name="T16" fmla="*/ 0 60000 65536"/>
              <a:gd name="T17" fmla="*/ 0 60000 65536"/>
              <a:gd name="T18" fmla="*/ 0 60000 65536"/>
              <a:gd name="T19" fmla="*/ 0 60000 65536"/>
              <a:gd name="T20" fmla="*/ 0 60000 65536"/>
              <a:gd name="T21" fmla="*/ 0 w 26"/>
              <a:gd name="T22" fmla="*/ 0 h 51"/>
              <a:gd name="T23" fmla="*/ 26 w 26"/>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1">
                <a:moveTo>
                  <a:pt x="0" y="0"/>
                </a:moveTo>
                <a:lnTo>
                  <a:pt x="0" y="0"/>
                </a:lnTo>
                <a:lnTo>
                  <a:pt x="5" y="50"/>
                </a:lnTo>
                <a:lnTo>
                  <a:pt x="25" y="41"/>
                </a:lnTo>
                <a:lnTo>
                  <a:pt x="15" y="12"/>
                </a:lnTo>
                <a:lnTo>
                  <a:pt x="0" y="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grpSp>
        <p:nvGrpSpPr>
          <p:cNvPr id="6" name="Group 29"/>
          <p:cNvGrpSpPr>
            <a:grpSpLocks/>
          </p:cNvGrpSpPr>
          <p:nvPr/>
        </p:nvGrpSpPr>
        <p:grpSpPr bwMode="auto">
          <a:xfrm>
            <a:off x="6030034" y="2847051"/>
            <a:ext cx="1422354" cy="919617"/>
            <a:chOff x="4086" y="2626"/>
            <a:chExt cx="835" cy="555"/>
          </a:xfrm>
          <a:solidFill>
            <a:schemeClr val="accent3"/>
          </a:solidFill>
        </p:grpSpPr>
        <p:sp>
          <p:nvSpPr>
            <p:cNvPr id="785" name="Freeform 30"/>
            <p:cNvSpPr>
              <a:spLocks/>
            </p:cNvSpPr>
            <p:nvPr/>
          </p:nvSpPr>
          <p:spPr bwMode="auto">
            <a:xfrm>
              <a:off x="4086" y="2626"/>
              <a:ext cx="835" cy="526"/>
            </a:xfrm>
            <a:custGeom>
              <a:avLst/>
              <a:gdLst>
                <a:gd name="T0" fmla="*/ 0 w 835"/>
                <a:gd name="T1" fmla="*/ 250 h 526"/>
                <a:gd name="T2" fmla="*/ 35 w 835"/>
                <a:gd name="T3" fmla="*/ 226 h 526"/>
                <a:gd name="T4" fmla="*/ 95 w 835"/>
                <a:gd name="T5" fmla="*/ 177 h 526"/>
                <a:gd name="T6" fmla="*/ 118 w 835"/>
                <a:gd name="T7" fmla="*/ 145 h 526"/>
                <a:gd name="T8" fmla="*/ 162 w 835"/>
                <a:gd name="T9" fmla="*/ 114 h 526"/>
                <a:gd name="T10" fmla="*/ 192 w 835"/>
                <a:gd name="T11" fmla="*/ 81 h 526"/>
                <a:gd name="T12" fmla="*/ 225 w 835"/>
                <a:gd name="T13" fmla="*/ 106 h 526"/>
                <a:gd name="T14" fmla="*/ 293 w 835"/>
                <a:gd name="T15" fmla="*/ 160 h 526"/>
                <a:gd name="T16" fmla="*/ 368 w 835"/>
                <a:gd name="T17" fmla="*/ 185 h 526"/>
                <a:gd name="T18" fmla="*/ 499 w 835"/>
                <a:gd name="T19" fmla="*/ 187 h 526"/>
                <a:gd name="T20" fmla="*/ 522 w 835"/>
                <a:gd name="T21" fmla="*/ 151 h 526"/>
                <a:gd name="T22" fmla="*/ 588 w 835"/>
                <a:gd name="T23" fmla="*/ 123 h 526"/>
                <a:gd name="T24" fmla="*/ 607 w 835"/>
                <a:gd name="T25" fmla="*/ 98 h 526"/>
                <a:gd name="T26" fmla="*/ 572 w 835"/>
                <a:gd name="T27" fmla="*/ 78 h 526"/>
                <a:gd name="T28" fmla="*/ 602 w 835"/>
                <a:gd name="T29" fmla="*/ 72 h 526"/>
                <a:gd name="T30" fmla="*/ 642 w 835"/>
                <a:gd name="T31" fmla="*/ 28 h 526"/>
                <a:gd name="T32" fmla="*/ 681 w 835"/>
                <a:gd name="T33" fmla="*/ 0 h 526"/>
                <a:gd name="T34" fmla="*/ 734 w 835"/>
                <a:gd name="T35" fmla="*/ 69 h 526"/>
                <a:gd name="T36" fmla="*/ 783 w 835"/>
                <a:gd name="T37" fmla="*/ 104 h 526"/>
                <a:gd name="T38" fmla="*/ 811 w 835"/>
                <a:gd name="T39" fmla="*/ 147 h 526"/>
                <a:gd name="T40" fmla="*/ 785 w 835"/>
                <a:gd name="T41" fmla="*/ 177 h 526"/>
                <a:gd name="T42" fmla="*/ 770 w 835"/>
                <a:gd name="T43" fmla="*/ 185 h 526"/>
                <a:gd name="T44" fmla="*/ 744 w 835"/>
                <a:gd name="T45" fmla="*/ 210 h 526"/>
                <a:gd name="T46" fmla="*/ 691 w 835"/>
                <a:gd name="T47" fmla="*/ 232 h 526"/>
                <a:gd name="T48" fmla="*/ 663 w 835"/>
                <a:gd name="T49" fmla="*/ 226 h 526"/>
                <a:gd name="T50" fmla="*/ 602 w 835"/>
                <a:gd name="T51" fmla="*/ 247 h 526"/>
                <a:gd name="T52" fmla="*/ 618 w 835"/>
                <a:gd name="T53" fmla="*/ 276 h 526"/>
                <a:gd name="T54" fmla="*/ 668 w 835"/>
                <a:gd name="T55" fmla="*/ 274 h 526"/>
                <a:gd name="T56" fmla="*/ 622 w 835"/>
                <a:gd name="T57" fmla="*/ 312 h 526"/>
                <a:gd name="T58" fmla="*/ 633 w 835"/>
                <a:gd name="T59" fmla="*/ 355 h 526"/>
                <a:gd name="T60" fmla="*/ 634 w 835"/>
                <a:gd name="T61" fmla="*/ 382 h 526"/>
                <a:gd name="T62" fmla="*/ 613 w 835"/>
                <a:gd name="T63" fmla="*/ 463 h 526"/>
                <a:gd name="T64" fmla="*/ 552 w 835"/>
                <a:gd name="T65" fmla="*/ 493 h 526"/>
                <a:gd name="T66" fmla="*/ 543 w 835"/>
                <a:gd name="T67" fmla="*/ 489 h 526"/>
                <a:gd name="T68" fmla="*/ 499 w 835"/>
                <a:gd name="T69" fmla="*/ 510 h 526"/>
                <a:gd name="T70" fmla="*/ 490 w 835"/>
                <a:gd name="T71" fmla="*/ 506 h 526"/>
                <a:gd name="T72" fmla="*/ 429 w 835"/>
                <a:gd name="T73" fmla="*/ 484 h 526"/>
                <a:gd name="T74" fmla="*/ 380 w 835"/>
                <a:gd name="T75" fmla="*/ 494 h 526"/>
                <a:gd name="T76" fmla="*/ 375 w 835"/>
                <a:gd name="T77" fmla="*/ 506 h 526"/>
                <a:gd name="T78" fmla="*/ 342 w 835"/>
                <a:gd name="T79" fmla="*/ 471 h 526"/>
                <a:gd name="T80" fmla="*/ 341 w 835"/>
                <a:gd name="T81" fmla="*/ 434 h 526"/>
                <a:gd name="T82" fmla="*/ 323 w 835"/>
                <a:gd name="T83" fmla="*/ 412 h 526"/>
                <a:gd name="T84" fmla="*/ 305 w 835"/>
                <a:gd name="T85" fmla="*/ 392 h 526"/>
                <a:gd name="T86" fmla="*/ 220 w 835"/>
                <a:gd name="T87" fmla="*/ 410 h 526"/>
                <a:gd name="T88" fmla="*/ 205 w 835"/>
                <a:gd name="T89" fmla="*/ 414 h 526"/>
                <a:gd name="T90" fmla="*/ 166 w 835"/>
                <a:gd name="T91" fmla="*/ 416 h 526"/>
                <a:gd name="T92" fmla="*/ 100 w 835"/>
                <a:gd name="T93" fmla="*/ 381 h 526"/>
                <a:gd name="T94" fmla="*/ 65 w 835"/>
                <a:gd name="T95" fmla="*/ 347 h 526"/>
                <a:gd name="T96" fmla="*/ 71 w 835"/>
                <a:gd name="T97" fmla="*/ 325 h 526"/>
                <a:gd name="T98" fmla="*/ 75 w 835"/>
                <a:gd name="T99" fmla="*/ 295 h 526"/>
                <a:gd name="T100" fmla="*/ 13 w 835"/>
                <a:gd name="T101" fmla="*/ 278 h 526"/>
                <a:gd name="T102" fmla="*/ 14 w 835"/>
                <a:gd name="T103" fmla="*/ 256 h 526"/>
                <a:gd name="T104" fmla="*/ 0 w 835"/>
                <a:gd name="T105" fmla="*/ 250 h 5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35"/>
                <a:gd name="T160" fmla="*/ 0 h 526"/>
                <a:gd name="T161" fmla="*/ 835 w 835"/>
                <a:gd name="T162" fmla="*/ 526 h 5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35" h="526">
                  <a:moveTo>
                    <a:pt x="0" y="250"/>
                  </a:moveTo>
                  <a:lnTo>
                    <a:pt x="0" y="250"/>
                  </a:lnTo>
                  <a:lnTo>
                    <a:pt x="5" y="230"/>
                  </a:lnTo>
                  <a:lnTo>
                    <a:pt x="35" y="226"/>
                  </a:lnTo>
                  <a:lnTo>
                    <a:pt x="88" y="198"/>
                  </a:lnTo>
                  <a:lnTo>
                    <a:pt x="95" y="177"/>
                  </a:lnTo>
                  <a:lnTo>
                    <a:pt x="85" y="152"/>
                  </a:lnTo>
                  <a:lnTo>
                    <a:pt x="118" y="145"/>
                  </a:lnTo>
                  <a:lnTo>
                    <a:pt x="127" y="112"/>
                  </a:lnTo>
                  <a:lnTo>
                    <a:pt x="162" y="114"/>
                  </a:lnTo>
                  <a:lnTo>
                    <a:pt x="166" y="92"/>
                  </a:lnTo>
                  <a:lnTo>
                    <a:pt x="192" y="81"/>
                  </a:lnTo>
                  <a:lnTo>
                    <a:pt x="206" y="100"/>
                  </a:lnTo>
                  <a:lnTo>
                    <a:pt x="225" y="106"/>
                  </a:lnTo>
                  <a:lnTo>
                    <a:pt x="233" y="145"/>
                  </a:lnTo>
                  <a:lnTo>
                    <a:pt x="293" y="160"/>
                  </a:lnTo>
                  <a:lnTo>
                    <a:pt x="319" y="187"/>
                  </a:lnTo>
                  <a:lnTo>
                    <a:pt x="368" y="185"/>
                  </a:lnTo>
                  <a:lnTo>
                    <a:pt x="424" y="206"/>
                  </a:lnTo>
                  <a:lnTo>
                    <a:pt x="499" y="187"/>
                  </a:lnTo>
                  <a:lnTo>
                    <a:pt x="522" y="172"/>
                  </a:lnTo>
                  <a:lnTo>
                    <a:pt x="522" y="151"/>
                  </a:lnTo>
                  <a:lnTo>
                    <a:pt x="543" y="153"/>
                  </a:lnTo>
                  <a:lnTo>
                    <a:pt x="588" y="123"/>
                  </a:lnTo>
                  <a:lnTo>
                    <a:pt x="625" y="121"/>
                  </a:lnTo>
                  <a:lnTo>
                    <a:pt x="607" y="98"/>
                  </a:lnTo>
                  <a:lnTo>
                    <a:pt x="572" y="104"/>
                  </a:lnTo>
                  <a:lnTo>
                    <a:pt x="572" y="78"/>
                  </a:lnTo>
                  <a:lnTo>
                    <a:pt x="581" y="64"/>
                  </a:lnTo>
                  <a:lnTo>
                    <a:pt x="602" y="72"/>
                  </a:lnTo>
                  <a:lnTo>
                    <a:pt x="621" y="63"/>
                  </a:lnTo>
                  <a:lnTo>
                    <a:pt x="642" y="28"/>
                  </a:lnTo>
                  <a:lnTo>
                    <a:pt x="632" y="16"/>
                  </a:lnTo>
                  <a:lnTo>
                    <a:pt x="681" y="0"/>
                  </a:lnTo>
                  <a:lnTo>
                    <a:pt x="709" y="11"/>
                  </a:lnTo>
                  <a:lnTo>
                    <a:pt x="734" y="69"/>
                  </a:lnTo>
                  <a:lnTo>
                    <a:pt x="776" y="82"/>
                  </a:lnTo>
                  <a:lnTo>
                    <a:pt x="783" y="104"/>
                  </a:lnTo>
                  <a:lnTo>
                    <a:pt x="834" y="90"/>
                  </a:lnTo>
                  <a:lnTo>
                    <a:pt x="811" y="147"/>
                  </a:lnTo>
                  <a:lnTo>
                    <a:pt x="781" y="155"/>
                  </a:lnTo>
                  <a:lnTo>
                    <a:pt x="785" y="177"/>
                  </a:lnTo>
                  <a:lnTo>
                    <a:pt x="776" y="190"/>
                  </a:lnTo>
                  <a:lnTo>
                    <a:pt x="770" y="185"/>
                  </a:lnTo>
                  <a:lnTo>
                    <a:pt x="744" y="201"/>
                  </a:lnTo>
                  <a:lnTo>
                    <a:pt x="744" y="210"/>
                  </a:lnTo>
                  <a:lnTo>
                    <a:pt x="726" y="207"/>
                  </a:lnTo>
                  <a:lnTo>
                    <a:pt x="691" y="232"/>
                  </a:lnTo>
                  <a:lnTo>
                    <a:pt x="651" y="253"/>
                  </a:lnTo>
                  <a:lnTo>
                    <a:pt x="663" y="226"/>
                  </a:lnTo>
                  <a:lnTo>
                    <a:pt x="657" y="216"/>
                  </a:lnTo>
                  <a:lnTo>
                    <a:pt x="602" y="247"/>
                  </a:lnTo>
                  <a:lnTo>
                    <a:pt x="600" y="255"/>
                  </a:lnTo>
                  <a:lnTo>
                    <a:pt x="618" y="276"/>
                  </a:lnTo>
                  <a:lnTo>
                    <a:pt x="643" y="267"/>
                  </a:lnTo>
                  <a:lnTo>
                    <a:pt x="668" y="274"/>
                  </a:lnTo>
                  <a:lnTo>
                    <a:pt x="634" y="290"/>
                  </a:lnTo>
                  <a:lnTo>
                    <a:pt x="622" y="312"/>
                  </a:lnTo>
                  <a:lnTo>
                    <a:pt x="658" y="360"/>
                  </a:lnTo>
                  <a:lnTo>
                    <a:pt x="633" y="355"/>
                  </a:lnTo>
                  <a:lnTo>
                    <a:pt x="658" y="371"/>
                  </a:lnTo>
                  <a:lnTo>
                    <a:pt x="634" y="382"/>
                  </a:lnTo>
                  <a:lnTo>
                    <a:pt x="659" y="386"/>
                  </a:lnTo>
                  <a:lnTo>
                    <a:pt x="613" y="463"/>
                  </a:lnTo>
                  <a:lnTo>
                    <a:pt x="582" y="485"/>
                  </a:lnTo>
                  <a:lnTo>
                    <a:pt x="552" y="493"/>
                  </a:lnTo>
                  <a:lnTo>
                    <a:pt x="550" y="493"/>
                  </a:lnTo>
                  <a:lnTo>
                    <a:pt x="543" y="489"/>
                  </a:lnTo>
                  <a:lnTo>
                    <a:pt x="535" y="502"/>
                  </a:lnTo>
                  <a:lnTo>
                    <a:pt x="499" y="510"/>
                  </a:lnTo>
                  <a:lnTo>
                    <a:pt x="496" y="525"/>
                  </a:lnTo>
                  <a:lnTo>
                    <a:pt x="490" y="506"/>
                  </a:lnTo>
                  <a:lnTo>
                    <a:pt x="466" y="507"/>
                  </a:lnTo>
                  <a:lnTo>
                    <a:pt x="429" y="484"/>
                  </a:lnTo>
                  <a:lnTo>
                    <a:pt x="389" y="494"/>
                  </a:lnTo>
                  <a:lnTo>
                    <a:pt x="380" y="494"/>
                  </a:lnTo>
                  <a:lnTo>
                    <a:pt x="381" y="510"/>
                  </a:lnTo>
                  <a:lnTo>
                    <a:pt x="375" y="506"/>
                  </a:lnTo>
                  <a:lnTo>
                    <a:pt x="350" y="498"/>
                  </a:lnTo>
                  <a:lnTo>
                    <a:pt x="342" y="471"/>
                  </a:lnTo>
                  <a:lnTo>
                    <a:pt x="326" y="474"/>
                  </a:lnTo>
                  <a:lnTo>
                    <a:pt x="341" y="434"/>
                  </a:lnTo>
                  <a:lnTo>
                    <a:pt x="340" y="421"/>
                  </a:lnTo>
                  <a:lnTo>
                    <a:pt x="323" y="412"/>
                  </a:lnTo>
                  <a:lnTo>
                    <a:pt x="309" y="407"/>
                  </a:lnTo>
                  <a:lnTo>
                    <a:pt x="305" y="392"/>
                  </a:lnTo>
                  <a:lnTo>
                    <a:pt x="246" y="417"/>
                  </a:lnTo>
                  <a:lnTo>
                    <a:pt x="220" y="410"/>
                  </a:lnTo>
                  <a:lnTo>
                    <a:pt x="207" y="424"/>
                  </a:lnTo>
                  <a:lnTo>
                    <a:pt x="205" y="414"/>
                  </a:lnTo>
                  <a:lnTo>
                    <a:pt x="196" y="416"/>
                  </a:lnTo>
                  <a:lnTo>
                    <a:pt x="166" y="416"/>
                  </a:lnTo>
                  <a:lnTo>
                    <a:pt x="143" y="395"/>
                  </a:lnTo>
                  <a:lnTo>
                    <a:pt x="100" y="381"/>
                  </a:lnTo>
                  <a:lnTo>
                    <a:pt x="72" y="371"/>
                  </a:lnTo>
                  <a:lnTo>
                    <a:pt x="65" y="347"/>
                  </a:lnTo>
                  <a:lnTo>
                    <a:pt x="80" y="344"/>
                  </a:lnTo>
                  <a:lnTo>
                    <a:pt x="71" y="325"/>
                  </a:lnTo>
                  <a:lnTo>
                    <a:pt x="90" y="302"/>
                  </a:lnTo>
                  <a:lnTo>
                    <a:pt x="75" y="295"/>
                  </a:lnTo>
                  <a:lnTo>
                    <a:pt x="54" y="303"/>
                  </a:lnTo>
                  <a:lnTo>
                    <a:pt x="13" y="278"/>
                  </a:lnTo>
                  <a:lnTo>
                    <a:pt x="14" y="274"/>
                  </a:lnTo>
                  <a:lnTo>
                    <a:pt x="14" y="256"/>
                  </a:lnTo>
                  <a:lnTo>
                    <a:pt x="0" y="250"/>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86" name="Freeform 31"/>
            <p:cNvSpPr>
              <a:spLocks/>
            </p:cNvSpPr>
            <p:nvPr/>
          </p:nvSpPr>
          <p:spPr bwMode="auto">
            <a:xfrm>
              <a:off x="4564" y="3155"/>
              <a:ext cx="31" cy="26"/>
            </a:xfrm>
            <a:custGeom>
              <a:avLst/>
              <a:gdLst>
                <a:gd name="T0" fmla="*/ 0 w 31"/>
                <a:gd name="T1" fmla="*/ 19 h 26"/>
                <a:gd name="T2" fmla="*/ 0 w 31"/>
                <a:gd name="T3" fmla="*/ 19 h 26"/>
                <a:gd name="T4" fmla="*/ 9 w 31"/>
                <a:gd name="T5" fmla="*/ 0 h 26"/>
                <a:gd name="T6" fmla="*/ 30 w 31"/>
                <a:gd name="T7" fmla="*/ 4 h 26"/>
                <a:gd name="T8" fmla="*/ 13 w 31"/>
                <a:gd name="T9" fmla="*/ 25 h 26"/>
                <a:gd name="T10" fmla="*/ 0 w 31"/>
                <a:gd name="T11" fmla="*/ 19 h 26"/>
                <a:gd name="T12" fmla="*/ 0 w 31"/>
                <a:gd name="T13" fmla="*/ 19 h 26"/>
                <a:gd name="T14" fmla="*/ 0 60000 65536"/>
                <a:gd name="T15" fmla="*/ 0 60000 65536"/>
                <a:gd name="T16" fmla="*/ 0 60000 65536"/>
                <a:gd name="T17" fmla="*/ 0 60000 65536"/>
                <a:gd name="T18" fmla="*/ 0 60000 65536"/>
                <a:gd name="T19" fmla="*/ 0 60000 65536"/>
                <a:gd name="T20" fmla="*/ 0 60000 65536"/>
                <a:gd name="T21" fmla="*/ 0 w 31"/>
                <a:gd name="T22" fmla="*/ 0 h 26"/>
                <a:gd name="T23" fmla="*/ 31 w 3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6">
                  <a:moveTo>
                    <a:pt x="0" y="19"/>
                  </a:moveTo>
                  <a:lnTo>
                    <a:pt x="0" y="19"/>
                  </a:lnTo>
                  <a:lnTo>
                    <a:pt x="9" y="0"/>
                  </a:lnTo>
                  <a:lnTo>
                    <a:pt x="30" y="4"/>
                  </a:lnTo>
                  <a:lnTo>
                    <a:pt x="13" y="25"/>
                  </a:lnTo>
                  <a:lnTo>
                    <a:pt x="0" y="19"/>
                  </a:lnTo>
                </a:path>
              </a:pathLst>
            </a:custGeom>
            <a:grpFill/>
            <a:ln w="12700">
              <a:solidFill>
                <a:schemeClr val="bg1"/>
              </a:solidFill>
              <a:round/>
              <a:headEnd/>
              <a:tailEnd/>
            </a:ln>
          </p:spPr>
          <p:txBody>
            <a:bodyPr lIns="0" tIns="0" rIns="0" bIns="0" anchor="ctr">
              <a:spAutoFit/>
            </a:bodyPr>
            <a:lstStyle/>
            <a:p>
              <a:pPr>
                <a:defRPr/>
              </a:pPr>
              <a:endParaRPr lang="en-GB"/>
            </a:p>
          </p:txBody>
        </p:sp>
      </p:grpSp>
      <p:sp>
        <p:nvSpPr>
          <p:cNvPr id="540" name="Freeform 539"/>
          <p:cNvSpPr>
            <a:spLocks/>
          </p:cNvSpPr>
          <p:nvPr/>
        </p:nvSpPr>
        <p:spPr bwMode="auto">
          <a:xfrm>
            <a:off x="7107640" y="3606042"/>
            <a:ext cx="45532" cy="74293"/>
          </a:xfrm>
          <a:custGeom>
            <a:avLst/>
            <a:gdLst>
              <a:gd name="T0" fmla="*/ 0 w 25"/>
              <a:gd name="T1" fmla="*/ 29348570 h 46"/>
              <a:gd name="T2" fmla="*/ 0 w 25"/>
              <a:gd name="T3" fmla="*/ 29348570 h 46"/>
              <a:gd name="T4" fmla="*/ 16003094 w 25"/>
              <a:gd name="T5" fmla="*/ 73372696 h 46"/>
              <a:gd name="T6" fmla="*/ 42676691 w 25"/>
              <a:gd name="T7" fmla="*/ 0 h 46"/>
              <a:gd name="T8" fmla="*/ 19559484 w 25"/>
              <a:gd name="T9" fmla="*/ 1630618 h 46"/>
              <a:gd name="T10" fmla="*/ 0 w 25"/>
              <a:gd name="T11" fmla="*/ 29348570 h 46"/>
              <a:gd name="T12" fmla="*/ 0 w 25"/>
              <a:gd name="T13" fmla="*/ 29348570 h 46"/>
              <a:gd name="T14" fmla="*/ 0 60000 65536"/>
              <a:gd name="T15" fmla="*/ 0 60000 65536"/>
              <a:gd name="T16" fmla="*/ 0 60000 65536"/>
              <a:gd name="T17" fmla="*/ 0 60000 65536"/>
              <a:gd name="T18" fmla="*/ 0 60000 65536"/>
              <a:gd name="T19" fmla="*/ 0 60000 65536"/>
              <a:gd name="T20" fmla="*/ 0 60000 65536"/>
              <a:gd name="T21" fmla="*/ 0 w 25"/>
              <a:gd name="T22" fmla="*/ 0 h 46"/>
              <a:gd name="T23" fmla="*/ 25 w 25"/>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46">
                <a:moveTo>
                  <a:pt x="0" y="18"/>
                </a:moveTo>
                <a:lnTo>
                  <a:pt x="0" y="18"/>
                </a:lnTo>
                <a:lnTo>
                  <a:pt x="9" y="45"/>
                </a:lnTo>
                <a:lnTo>
                  <a:pt x="24" y="0"/>
                </a:lnTo>
                <a:lnTo>
                  <a:pt x="11" y="1"/>
                </a:lnTo>
                <a:lnTo>
                  <a:pt x="0" y="1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41" name="Freeform 540"/>
          <p:cNvSpPr>
            <a:spLocks/>
          </p:cNvSpPr>
          <p:nvPr/>
        </p:nvSpPr>
        <p:spPr bwMode="auto">
          <a:xfrm>
            <a:off x="5899939" y="3334976"/>
            <a:ext cx="680821" cy="660599"/>
          </a:xfrm>
          <a:custGeom>
            <a:avLst/>
            <a:gdLst>
              <a:gd name="T0" fmla="*/ 0 w 401"/>
              <a:gd name="T1" fmla="*/ 310135055 h 399"/>
              <a:gd name="T2" fmla="*/ 64899953 w 401"/>
              <a:gd name="T3" fmla="*/ 294713849 h 399"/>
              <a:gd name="T4" fmla="*/ 50993623 w 401"/>
              <a:gd name="T5" fmla="*/ 203901388 h 399"/>
              <a:gd name="T6" fmla="*/ 140617183 w 401"/>
              <a:gd name="T7" fmla="*/ 128508783 h 399"/>
              <a:gd name="T8" fmla="*/ 152979608 w 401"/>
              <a:gd name="T9" fmla="*/ 94239436 h 399"/>
              <a:gd name="T10" fmla="*/ 125164463 w 401"/>
              <a:gd name="T11" fmla="*/ 32555890 h 399"/>
              <a:gd name="T12" fmla="*/ 202426860 w 401"/>
              <a:gd name="T13" fmla="*/ 13707744 h 399"/>
              <a:gd name="T14" fmla="*/ 258055907 w 401"/>
              <a:gd name="T15" fmla="*/ 11994277 h 399"/>
              <a:gd name="T16" fmla="*/ 242604430 w 401"/>
              <a:gd name="T17" fmla="*/ 83959921 h 399"/>
              <a:gd name="T18" fmla="*/ 230242005 w 401"/>
              <a:gd name="T19" fmla="*/ 130222251 h 399"/>
              <a:gd name="T20" fmla="*/ 251875316 w 401"/>
              <a:gd name="T21" fmla="*/ 185053247 h 399"/>
              <a:gd name="T22" fmla="*/ 418762536 w 401"/>
              <a:gd name="T23" fmla="*/ 243311137 h 399"/>
              <a:gd name="T24" fmla="*/ 435760404 w 401"/>
              <a:gd name="T25" fmla="*/ 203901388 h 399"/>
              <a:gd name="T26" fmla="*/ 446576438 w 401"/>
              <a:gd name="T27" fmla="*/ 236457268 h 399"/>
              <a:gd name="T28" fmla="*/ 499115190 w 401"/>
              <a:gd name="T29" fmla="*/ 209041790 h 399"/>
              <a:gd name="T30" fmla="*/ 596465711 w 401"/>
              <a:gd name="T31" fmla="*/ 191907116 h 399"/>
              <a:gd name="T32" fmla="*/ 610373284 w 401"/>
              <a:gd name="T33" fmla="*/ 226176463 h 399"/>
              <a:gd name="T34" fmla="*/ 517658205 w 401"/>
              <a:gd name="T35" fmla="*/ 354685288 h 399"/>
              <a:gd name="T36" fmla="*/ 496024894 w 401"/>
              <a:gd name="T37" fmla="*/ 325556261 h 399"/>
              <a:gd name="T38" fmla="*/ 508386076 w 401"/>
              <a:gd name="T39" fmla="*/ 275865708 h 399"/>
              <a:gd name="T40" fmla="*/ 429578570 w 401"/>
              <a:gd name="T41" fmla="*/ 239884202 h 399"/>
              <a:gd name="T42" fmla="*/ 431123717 w 401"/>
              <a:gd name="T43" fmla="*/ 272438773 h 399"/>
              <a:gd name="T44" fmla="*/ 431123717 w 401"/>
              <a:gd name="T45" fmla="*/ 296427316 h 399"/>
              <a:gd name="T46" fmla="*/ 420307683 w 401"/>
              <a:gd name="T47" fmla="*/ 351258353 h 399"/>
              <a:gd name="T48" fmla="*/ 256510760 w 401"/>
              <a:gd name="T49" fmla="*/ 505469106 h 399"/>
              <a:gd name="T50" fmla="*/ 194701121 w 401"/>
              <a:gd name="T51" fmla="*/ 681954934 h 399"/>
              <a:gd name="T52" fmla="*/ 128256001 w 401"/>
              <a:gd name="T53" fmla="*/ 507182573 h 399"/>
              <a:gd name="T54" fmla="*/ 97350561 w 401"/>
              <a:gd name="T55" fmla="*/ 346117951 h 399"/>
              <a:gd name="T56" fmla="*/ 78807526 w 401"/>
              <a:gd name="T57" fmla="*/ 371819961 h 399"/>
              <a:gd name="T58" fmla="*/ 18543021 w 401"/>
              <a:gd name="T59" fmla="*/ 344404484 h 399"/>
              <a:gd name="T60" fmla="*/ 18543021 w 401"/>
              <a:gd name="T61" fmla="*/ 330696663 h 399"/>
              <a:gd name="T62" fmla="*/ 0 w 401"/>
              <a:gd name="T63" fmla="*/ 310135055 h 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1"/>
              <a:gd name="T97" fmla="*/ 0 h 399"/>
              <a:gd name="T98" fmla="*/ 401 w 401"/>
              <a:gd name="T99" fmla="*/ 399 h 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1" h="399">
                <a:moveTo>
                  <a:pt x="0" y="181"/>
                </a:moveTo>
                <a:lnTo>
                  <a:pt x="0" y="181"/>
                </a:lnTo>
                <a:lnTo>
                  <a:pt x="11" y="172"/>
                </a:lnTo>
                <a:lnTo>
                  <a:pt x="42" y="172"/>
                </a:lnTo>
                <a:lnTo>
                  <a:pt x="20" y="130"/>
                </a:lnTo>
                <a:lnTo>
                  <a:pt x="33" y="119"/>
                </a:lnTo>
                <a:lnTo>
                  <a:pt x="51" y="120"/>
                </a:lnTo>
                <a:lnTo>
                  <a:pt x="91" y="75"/>
                </a:lnTo>
                <a:lnTo>
                  <a:pt x="88" y="62"/>
                </a:lnTo>
                <a:lnTo>
                  <a:pt x="99" y="55"/>
                </a:lnTo>
                <a:lnTo>
                  <a:pt x="81" y="41"/>
                </a:lnTo>
                <a:lnTo>
                  <a:pt x="81" y="19"/>
                </a:lnTo>
                <a:lnTo>
                  <a:pt x="120" y="19"/>
                </a:lnTo>
                <a:lnTo>
                  <a:pt x="131" y="8"/>
                </a:lnTo>
                <a:lnTo>
                  <a:pt x="152" y="0"/>
                </a:lnTo>
                <a:lnTo>
                  <a:pt x="167" y="7"/>
                </a:lnTo>
                <a:lnTo>
                  <a:pt x="148" y="30"/>
                </a:lnTo>
                <a:lnTo>
                  <a:pt x="157" y="49"/>
                </a:lnTo>
                <a:lnTo>
                  <a:pt x="142" y="52"/>
                </a:lnTo>
                <a:lnTo>
                  <a:pt x="149" y="76"/>
                </a:lnTo>
                <a:lnTo>
                  <a:pt x="177" y="86"/>
                </a:lnTo>
                <a:lnTo>
                  <a:pt x="163" y="108"/>
                </a:lnTo>
                <a:lnTo>
                  <a:pt x="200" y="129"/>
                </a:lnTo>
                <a:lnTo>
                  <a:pt x="271" y="142"/>
                </a:lnTo>
                <a:lnTo>
                  <a:pt x="273" y="121"/>
                </a:lnTo>
                <a:lnTo>
                  <a:pt x="282" y="119"/>
                </a:lnTo>
                <a:lnTo>
                  <a:pt x="284" y="129"/>
                </a:lnTo>
                <a:lnTo>
                  <a:pt x="289" y="138"/>
                </a:lnTo>
                <a:lnTo>
                  <a:pt x="325" y="134"/>
                </a:lnTo>
                <a:lnTo>
                  <a:pt x="323" y="122"/>
                </a:lnTo>
                <a:lnTo>
                  <a:pt x="382" y="97"/>
                </a:lnTo>
                <a:lnTo>
                  <a:pt x="386" y="112"/>
                </a:lnTo>
                <a:lnTo>
                  <a:pt x="400" y="117"/>
                </a:lnTo>
                <a:lnTo>
                  <a:pt x="395" y="132"/>
                </a:lnTo>
                <a:lnTo>
                  <a:pt x="370" y="141"/>
                </a:lnTo>
                <a:lnTo>
                  <a:pt x="335" y="207"/>
                </a:lnTo>
                <a:lnTo>
                  <a:pt x="328" y="180"/>
                </a:lnTo>
                <a:lnTo>
                  <a:pt x="321" y="190"/>
                </a:lnTo>
                <a:lnTo>
                  <a:pt x="313" y="178"/>
                </a:lnTo>
                <a:lnTo>
                  <a:pt x="329" y="161"/>
                </a:lnTo>
                <a:lnTo>
                  <a:pt x="298" y="159"/>
                </a:lnTo>
                <a:lnTo>
                  <a:pt x="278" y="140"/>
                </a:lnTo>
                <a:lnTo>
                  <a:pt x="272" y="151"/>
                </a:lnTo>
                <a:lnTo>
                  <a:pt x="279" y="159"/>
                </a:lnTo>
                <a:lnTo>
                  <a:pt x="270" y="165"/>
                </a:lnTo>
                <a:lnTo>
                  <a:pt x="279" y="173"/>
                </a:lnTo>
                <a:lnTo>
                  <a:pt x="284" y="211"/>
                </a:lnTo>
                <a:lnTo>
                  <a:pt x="272" y="205"/>
                </a:lnTo>
                <a:lnTo>
                  <a:pt x="249" y="234"/>
                </a:lnTo>
                <a:lnTo>
                  <a:pt x="166" y="295"/>
                </a:lnTo>
                <a:lnTo>
                  <a:pt x="160" y="369"/>
                </a:lnTo>
                <a:lnTo>
                  <a:pt x="126" y="398"/>
                </a:lnTo>
                <a:lnTo>
                  <a:pt x="95" y="341"/>
                </a:lnTo>
                <a:lnTo>
                  <a:pt x="83" y="296"/>
                </a:lnTo>
                <a:lnTo>
                  <a:pt x="72" y="285"/>
                </a:lnTo>
                <a:lnTo>
                  <a:pt x="63" y="202"/>
                </a:lnTo>
                <a:lnTo>
                  <a:pt x="56" y="199"/>
                </a:lnTo>
                <a:lnTo>
                  <a:pt x="51" y="217"/>
                </a:lnTo>
                <a:lnTo>
                  <a:pt x="32" y="223"/>
                </a:lnTo>
                <a:lnTo>
                  <a:pt x="12" y="201"/>
                </a:lnTo>
                <a:lnTo>
                  <a:pt x="31" y="189"/>
                </a:lnTo>
                <a:lnTo>
                  <a:pt x="12" y="193"/>
                </a:lnTo>
                <a:lnTo>
                  <a:pt x="0" y="181"/>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42" name="Freeform 541"/>
          <p:cNvSpPr>
            <a:spLocks/>
          </p:cNvSpPr>
          <p:nvPr/>
        </p:nvSpPr>
        <p:spPr bwMode="auto">
          <a:xfrm>
            <a:off x="5342707" y="3232573"/>
            <a:ext cx="446654" cy="373469"/>
          </a:xfrm>
          <a:custGeom>
            <a:avLst/>
            <a:gdLst>
              <a:gd name="T0" fmla="*/ 0 w 262"/>
              <a:gd name="T1" fmla="*/ 12162959 h 224"/>
              <a:gd name="T2" fmla="*/ 0 w 262"/>
              <a:gd name="T3" fmla="*/ 12162959 h 224"/>
              <a:gd name="T4" fmla="*/ 10905410 w 262"/>
              <a:gd name="T5" fmla="*/ 0 h 224"/>
              <a:gd name="T6" fmla="*/ 42065151 w 262"/>
              <a:gd name="T7" fmla="*/ 29539366 h 224"/>
              <a:gd name="T8" fmla="*/ 81014809 w 262"/>
              <a:gd name="T9" fmla="*/ 5213449 h 224"/>
              <a:gd name="T10" fmla="*/ 84130302 w 262"/>
              <a:gd name="T11" fmla="*/ 27801989 h 224"/>
              <a:gd name="T12" fmla="*/ 102825638 w 262"/>
              <a:gd name="T13" fmla="*/ 36490190 h 224"/>
              <a:gd name="T14" fmla="*/ 105942360 w 262"/>
              <a:gd name="T15" fmla="*/ 60817427 h 224"/>
              <a:gd name="T16" fmla="*/ 162028369 w 262"/>
              <a:gd name="T17" fmla="*/ 88619426 h 224"/>
              <a:gd name="T18" fmla="*/ 213442456 w 262"/>
              <a:gd name="T19" fmla="*/ 79931205 h 224"/>
              <a:gd name="T20" fmla="*/ 208767998 w 262"/>
              <a:gd name="T21" fmla="*/ 66029556 h 224"/>
              <a:gd name="T22" fmla="*/ 275760660 w 262"/>
              <a:gd name="T23" fmla="*/ 41703638 h 224"/>
              <a:gd name="T24" fmla="*/ 363007722 w 262"/>
              <a:gd name="T25" fmla="*/ 85143335 h 224"/>
              <a:gd name="T26" fmla="*/ 364565459 w 262"/>
              <a:gd name="T27" fmla="*/ 109470581 h 224"/>
              <a:gd name="T28" fmla="*/ 350543333 w 262"/>
              <a:gd name="T29" fmla="*/ 152911586 h 224"/>
              <a:gd name="T30" fmla="*/ 353658806 w 262"/>
              <a:gd name="T31" fmla="*/ 215466409 h 224"/>
              <a:gd name="T32" fmla="*/ 375470864 w 262"/>
              <a:gd name="T33" fmla="*/ 234580188 h 224"/>
              <a:gd name="T34" fmla="*/ 356775527 w 262"/>
              <a:gd name="T35" fmla="*/ 265856920 h 224"/>
              <a:gd name="T36" fmla="*/ 406630590 w 262"/>
              <a:gd name="T37" fmla="*/ 337099903 h 224"/>
              <a:gd name="T38" fmla="*/ 373913127 w 262"/>
              <a:gd name="T39" fmla="*/ 387491814 h 224"/>
              <a:gd name="T40" fmla="*/ 283550592 w 262"/>
              <a:gd name="T41" fmla="*/ 370115413 h 224"/>
              <a:gd name="T42" fmla="*/ 263297519 w 262"/>
              <a:gd name="T43" fmla="*/ 338837280 h 224"/>
              <a:gd name="T44" fmla="*/ 200978066 w 262"/>
              <a:gd name="T45" fmla="*/ 349264258 h 224"/>
              <a:gd name="T46" fmla="*/ 155797422 w 262"/>
              <a:gd name="T47" fmla="*/ 317986125 h 224"/>
              <a:gd name="T48" fmla="*/ 124637696 w 262"/>
              <a:gd name="T49" fmla="*/ 258907414 h 224"/>
              <a:gd name="T50" fmla="*/ 101267901 w 262"/>
              <a:gd name="T51" fmla="*/ 248480518 h 224"/>
              <a:gd name="T52" fmla="*/ 95035706 w 262"/>
              <a:gd name="T53" fmla="*/ 262382167 h 224"/>
              <a:gd name="T54" fmla="*/ 66992682 w 262"/>
              <a:gd name="T55" fmla="*/ 201564761 h 224"/>
              <a:gd name="T56" fmla="*/ 28043015 w 262"/>
              <a:gd name="T57" fmla="*/ 165074540 h 224"/>
              <a:gd name="T58" fmla="*/ 46739609 w 262"/>
              <a:gd name="T59" fmla="*/ 109470581 h 224"/>
              <a:gd name="T60" fmla="*/ 29601999 w 262"/>
              <a:gd name="T61" fmla="*/ 102519757 h 224"/>
              <a:gd name="T62" fmla="*/ 14022131 w 262"/>
              <a:gd name="T63" fmla="*/ 71243004 h 224"/>
              <a:gd name="T64" fmla="*/ 0 w 262"/>
              <a:gd name="T65" fmla="*/ 12162959 h 224"/>
              <a:gd name="T66" fmla="*/ 0 w 262"/>
              <a:gd name="T67" fmla="*/ 12162959 h 2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2"/>
              <a:gd name="T103" fmla="*/ 0 h 224"/>
              <a:gd name="T104" fmla="*/ 262 w 262"/>
              <a:gd name="T105" fmla="*/ 224 h 2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2" h="224">
                <a:moveTo>
                  <a:pt x="0" y="7"/>
                </a:moveTo>
                <a:lnTo>
                  <a:pt x="0" y="7"/>
                </a:lnTo>
                <a:lnTo>
                  <a:pt x="7" y="0"/>
                </a:lnTo>
                <a:lnTo>
                  <a:pt x="27" y="17"/>
                </a:lnTo>
                <a:lnTo>
                  <a:pt x="52" y="3"/>
                </a:lnTo>
                <a:lnTo>
                  <a:pt x="54" y="16"/>
                </a:lnTo>
                <a:lnTo>
                  <a:pt x="66" y="21"/>
                </a:lnTo>
                <a:lnTo>
                  <a:pt x="68" y="35"/>
                </a:lnTo>
                <a:lnTo>
                  <a:pt x="104" y="51"/>
                </a:lnTo>
                <a:lnTo>
                  <a:pt x="137" y="46"/>
                </a:lnTo>
                <a:lnTo>
                  <a:pt x="134" y="38"/>
                </a:lnTo>
                <a:lnTo>
                  <a:pt x="177" y="24"/>
                </a:lnTo>
                <a:lnTo>
                  <a:pt x="233" y="49"/>
                </a:lnTo>
                <a:lnTo>
                  <a:pt x="234" y="63"/>
                </a:lnTo>
                <a:lnTo>
                  <a:pt x="225" y="88"/>
                </a:lnTo>
                <a:lnTo>
                  <a:pt x="227" y="124"/>
                </a:lnTo>
                <a:lnTo>
                  <a:pt x="241" y="135"/>
                </a:lnTo>
                <a:lnTo>
                  <a:pt x="229" y="153"/>
                </a:lnTo>
                <a:lnTo>
                  <a:pt x="261" y="194"/>
                </a:lnTo>
                <a:lnTo>
                  <a:pt x="240" y="223"/>
                </a:lnTo>
                <a:lnTo>
                  <a:pt x="182" y="213"/>
                </a:lnTo>
                <a:lnTo>
                  <a:pt x="169" y="195"/>
                </a:lnTo>
                <a:lnTo>
                  <a:pt x="129" y="201"/>
                </a:lnTo>
                <a:lnTo>
                  <a:pt x="100" y="183"/>
                </a:lnTo>
                <a:lnTo>
                  <a:pt x="80" y="149"/>
                </a:lnTo>
                <a:lnTo>
                  <a:pt x="65" y="143"/>
                </a:lnTo>
                <a:lnTo>
                  <a:pt x="61" y="151"/>
                </a:lnTo>
                <a:lnTo>
                  <a:pt x="43" y="116"/>
                </a:lnTo>
                <a:lnTo>
                  <a:pt x="18" y="95"/>
                </a:lnTo>
                <a:lnTo>
                  <a:pt x="30" y="63"/>
                </a:lnTo>
                <a:lnTo>
                  <a:pt x="19" y="59"/>
                </a:lnTo>
                <a:lnTo>
                  <a:pt x="9" y="41"/>
                </a:lnTo>
                <a:lnTo>
                  <a:pt x="0" y="7"/>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grpSp>
        <p:nvGrpSpPr>
          <p:cNvPr id="7" name="Group 35"/>
          <p:cNvGrpSpPr>
            <a:grpSpLocks/>
          </p:cNvGrpSpPr>
          <p:nvPr/>
        </p:nvGrpSpPr>
        <p:grpSpPr bwMode="auto">
          <a:xfrm>
            <a:off x="7330966" y="3083957"/>
            <a:ext cx="377270" cy="369452"/>
            <a:chOff x="4850" y="2769"/>
            <a:chExt cx="221" cy="223"/>
          </a:xfrm>
          <a:solidFill>
            <a:schemeClr val="accent3"/>
          </a:solidFill>
        </p:grpSpPr>
        <p:sp>
          <p:nvSpPr>
            <p:cNvPr id="781" name="Freeform 780"/>
            <p:cNvSpPr>
              <a:spLocks/>
            </p:cNvSpPr>
            <p:nvPr/>
          </p:nvSpPr>
          <p:spPr bwMode="auto">
            <a:xfrm>
              <a:off x="4850" y="2954"/>
              <a:ext cx="33" cy="38"/>
            </a:xfrm>
            <a:custGeom>
              <a:avLst/>
              <a:gdLst>
                <a:gd name="T0" fmla="*/ 0 w 33"/>
                <a:gd name="T1" fmla="*/ 10 h 38"/>
                <a:gd name="T2" fmla="*/ 0 w 33"/>
                <a:gd name="T3" fmla="*/ 10 h 38"/>
                <a:gd name="T4" fmla="*/ 1 w 33"/>
                <a:gd name="T5" fmla="*/ 19 h 38"/>
                <a:gd name="T6" fmla="*/ 8 w 33"/>
                <a:gd name="T7" fmla="*/ 10 h 38"/>
                <a:gd name="T8" fmla="*/ 12 w 33"/>
                <a:gd name="T9" fmla="*/ 15 h 38"/>
                <a:gd name="T10" fmla="*/ 8 w 33"/>
                <a:gd name="T11" fmla="*/ 37 h 38"/>
                <a:gd name="T12" fmla="*/ 23 w 33"/>
                <a:gd name="T13" fmla="*/ 37 h 38"/>
                <a:gd name="T14" fmla="*/ 32 w 33"/>
                <a:gd name="T15" fmla="*/ 14 h 38"/>
                <a:gd name="T16" fmla="*/ 27 w 33"/>
                <a:gd name="T17" fmla="*/ 1 h 38"/>
                <a:gd name="T18" fmla="*/ 12 w 33"/>
                <a:gd name="T19" fmla="*/ 0 h 38"/>
                <a:gd name="T20" fmla="*/ 0 w 33"/>
                <a:gd name="T21" fmla="*/ 10 h 38"/>
                <a:gd name="T22" fmla="*/ 0 w 33"/>
                <a:gd name="T23" fmla="*/ 1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8"/>
                <a:gd name="T38" fmla="*/ 33 w 33"/>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8">
                  <a:moveTo>
                    <a:pt x="0" y="10"/>
                  </a:moveTo>
                  <a:lnTo>
                    <a:pt x="0" y="10"/>
                  </a:lnTo>
                  <a:lnTo>
                    <a:pt x="1" y="19"/>
                  </a:lnTo>
                  <a:lnTo>
                    <a:pt x="8" y="10"/>
                  </a:lnTo>
                  <a:lnTo>
                    <a:pt x="12" y="15"/>
                  </a:lnTo>
                  <a:lnTo>
                    <a:pt x="8" y="37"/>
                  </a:lnTo>
                  <a:lnTo>
                    <a:pt x="23" y="37"/>
                  </a:lnTo>
                  <a:lnTo>
                    <a:pt x="32" y="14"/>
                  </a:lnTo>
                  <a:lnTo>
                    <a:pt x="27" y="1"/>
                  </a:lnTo>
                  <a:lnTo>
                    <a:pt x="12" y="0"/>
                  </a:lnTo>
                  <a:lnTo>
                    <a:pt x="0" y="10"/>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82" name="Freeform 781"/>
            <p:cNvSpPr>
              <a:spLocks/>
            </p:cNvSpPr>
            <p:nvPr/>
          </p:nvSpPr>
          <p:spPr bwMode="auto">
            <a:xfrm>
              <a:off x="4866" y="2835"/>
              <a:ext cx="155" cy="125"/>
            </a:xfrm>
            <a:custGeom>
              <a:avLst/>
              <a:gdLst>
                <a:gd name="T0" fmla="*/ 0 w 155"/>
                <a:gd name="T1" fmla="*/ 116 h 125"/>
                <a:gd name="T2" fmla="*/ 0 w 155"/>
                <a:gd name="T3" fmla="*/ 116 h 125"/>
                <a:gd name="T4" fmla="*/ 27 w 155"/>
                <a:gd name="T5" fmla="*/ 93 h 125"/>
                <a:gd name="T6" fmla="*/ 66 w 155"/>
                <a:gd name="T7" fmla="*/ 93 h 125"/>
                <a:gd name="T8" fmla="*/ 82 w 155"/>
                <a:gd name="T9" fmla="*/ 65 h 125"/>
                <a:gd name="T10" fmla="*/ 89 w 155"/>
                <a:gd name="T11" fmla="*/ 63 h 125"/>
                <a:gd name="T12" fmla="*/ 89 w 155"/>
                <a:gd name="T13" fmla="*/ 74 h 125"/>
                <a:gd name="T14" fmla="*/ 107 w 155"/>
                <a:gd name="T15" fmla="*/ 63 h 125"/>
                <a:gd name="T16" fmla="*/ 122 w 155"/>
                <a:gd name="T17" fmla="*/ 42 h 125"/>
                <a:gd name="T18" fmla="*/ 129 w 155"/>
                <a:gd name="T19" fmla="*/ 6 h 125"/>
                <a:gd name="T20" fmla="*/ 141 w 155"/>
                <a:gd name="T21" fmla="*/ 8 h 125"/>
                <a:gd name="T22" fmla="*/ 137 w 155"/>
                <a:gd name="T23" fmla="*/ 0 h 125"/>
                <a:gd name="T24" fmla="*/ 144 w 155"/>
                <a:gd name="T25" fmla="*/ 1 h 125"/>
                <a:gd name="T26" fmla="*/ 154 w 155"/>
                <a:gd name="T27" fmla="*/ 30 h 125"/>
                <a:gd name="T28" fmla="*/ 141 w 155"/>
                <a:gd name="T29" fmla="*/ 51 h 125"/>
                <a:gd name="T30" fmla="*/ 141 w 155"/>
                <a:gd name="T31" fmla="*/ 70 h 125"/>
                <a:gd name="T32" fmla="*/ 131 w 155"/>
                <a:gd name="T33" fmla="*/ 98 h 125"/>
                <a:gd name="T34" fmla="*/ 124 w 155"/>
                <a:gd name="T35" fmla="*/ 102 h 125"/>
                <a:gd name="T36" fmla="*/ 124 w 155"/>
                <a:gd name="T37" fmla="*/ 91 h 125"/>
                <a:gd name="T38" fmla="*/ 101 w 155"/>
                <a:gd name="T39" fmla="*/ 107 h 125"/>
                <a:gd name="T40" fmla="*/ 82 w 155"/>
                <a:gd name="T41" fmla="*/ 100 h 125"/>
                <a:gd name="T42" fmla="*/ 83 w 155"/>
                <a:gd name="T43" fmla="*/ 113 h 125"/>
                <a:gd name="T44" fmla="*/ 67 w 155"/>
                <a:gd name="T45" fmla="*/ 124 h 125"/>
                <a:gd name="T46" fmla="*/ 62 w 155"/>
                <a:gd name="T47" fmla="*/ 106 h 125"/>
                <a:gd name="T48" fmla="*/ 0 w 155"/>
                <a:gd name="T49" fmla="*/ 116 h 125"/>
                <a:gd name="T50" fmla="*/ 0 w 155"/>
                <a:gd name="T51" fmla="*/ 116 h 1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5"/>
                <a:gd name="T79" fmla="*/ 0 h 125"/>
                <a:gd name="T80" fmla="*/ 155 w 155"/>
                <a:gd name="T81" fmla="*/ 125 h 12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5" h="125">
                  <a:moveTo>
                    <a:pt x="0" y="116"/>
                  </a:moveTo>
                  <a:lnTo>
                    <a:pt x="0" y="116"/>
                  </a:lnTo>
                  <a:lnTo>
                    <a:pt x="27" y="93"/>
                  </a:lnTo>
                  <a:lnTo>
                    <a:pt x="66" y="93"/>
                  </a:lnTo>
                  <a:lnTo>
                    <a:pt x="82" y="65"/>
                  </a:lnTo>
                  <a:lnTo>
                    <a:pt x="89" y="63"/>
                  </a:lnTo>
                  <a:lnTo>
                    <a:pt x="89" y="74"/>
                  </a:lnTo>
                  <a:lnTo>
                    <a:pt x="107" y="63"/>
                  </a:lnTo>
                  <a:lnTo>
                    <a:pt x="122" y="42"/>
                  </a:lnTo>
                  <a:lnTo>
                    <a:pt x="129" y="6"/>
                  </a:lnTo>
                  <a:lnTo>
                    <a:pt x="141" y="8"/>
                  </a:lnTo>
                  <a:lnTo>
                    <a:pt x="137" y="0"/>
                  </a:lnTo>
                  <a:lnTo>
                    <a:pt x="144" y="1"/>
                  </a:lnTo>
                  <a:lnTo>
                    <a:pt x="154" y="30"/>
                  </a:lnTo>
                  <a:lnTo>
                    <a:pt x="141" y="51"/>
                  </a:lnTo>
                  <a:lnTo>
                    <a:pt x="141" y="70"/>
                  </a:lnTo>
                  <a:lnTo>
                    <a:pt x="131" y="98"/>
                  </a:lnTo>
                  <a:lnTo>
                    <a:pt x="124" y="102"/>
                  </a:lnTo>
                  <a:lnTo>
                    <a:pt x="124" y="91"/>
                  </a:lnTo>
                  <a:lnTo>
                    <a:pt x="101" y="107"/>
                  </a:lnTo>
                  <a:lnTo>
                    <a:pt x="82" y="100"/>
                  </a:lnTo>
                  <a:lnTo>
                    <a:pt x="83" y="113"/>
                  </a:lnTo>
                  <a:lnTo>
                    <a:pt x="67" y="124"/>
                  </a:lnTo>
                  <a:lnTo>
                    <a:pt x="62" y="106"/>
                  </a:lnTo>
                  <a:lnTo>
                    <a:pt x="0" y="116"/>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83" name="Freeform 782"/>
            <p:cNvSpPr>
              <a:spLocks/>
            </p:cNvSpPr>
            <p:nvPr/>
          </p:nvSpPr>
          <p:spPr bwMode="auto">
            <a:xfrm>
              <a:off x="4885" y="2948"/>
              <a:ext cx="32" cy="23"/>
            </a:xfrm>
            <a:custGeom>
              <a:avLst/>
              <a:gdLst>
                <a:gd name="T0" fmla="*/ 0 w 32"/>
                <a:gd name="T1" fmla="*/ 12 h 23"/>
                <a:gd name="T2" fmla="*/ 0 w 32"/>
                <a:gd name="T3" fmla="*/ 12 h 23"/>
                <a:gd name="T4" fmla="*/ 10 w 32"/>
                <a:gd name="T5" fmla="*/ 22 h 23"/>
                <a:gd name="T6" fmla="*/ 28 w 32"/>
                <a:gd name="T7" fmla="*/ 14 h 23"/>
                <a:gd name="T8" fmla="*/ 31 w 32"/>
                <a:gd name="T9" fmla="*/ 0 h 23"/>
                <a:gd name="T10" fmla="*/ 0 w 32"/>
                <a:gd name="T11" fmla="*/ 12 h 23"/>
                <a:gd name="T12" fmla="*/ 0 w 32"/>
                <a:gd name="T13" fmla="*/ 12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12"/>
                  </a:moveTo>
                  <a:lnTo>
                    <a:pt x="0" y="12"/>
                  </a:lnTo>
                  <a:lnTo>
                    <a:pt x="10" y="22"/>
                  </a:lnTo>
                  <a:lnTo>
                    <a:pt x="28" y="14"/>
                  </a:lnTo>
                  <a:lnTo>
                    <a:pt x="31" y="0"/>
                  </a:lnTo>
                  <a:lnTo>
                    <a:pt x="0" y="12"/>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84" name="Freeform 783"/>
            <p:cNvSpPr>
              <a:spLocks/>
            </p:cNvSpPr>
            <p:nvPr/>
          </p:nvSpPr>
          <p:spPr bwMode="auto">
            <a:xfrm>
              <a:off x="4990" y="2769"/>
              <a:ext cx="81" cy="67"/>
            </a:xfrm>
            <a:custGeom>
              <a:avLst/>
              <a:gdLst>
                <a:gd name="T0" fmla="*/ 0 w 81"/>
                <a:gd name="T1" fmla="*/ 47 h 67"/>
                <a:gd name="T2" fmla="*/ 0 w 81"/>
                <a:gd name="T3" fmla="*/ 47 h 67"/>
                <a:gd name="T4" fmla="*/ 3 w 81"/>
                <a:gd name="T5" fmla="*/ 66 h 67"/>
                <a:gd name="T6" fmla="*/ 17 w 81"/>
                <a:gd name="T7" fmla="*/ 59 h 67"/>
                <a:gd name="T8" fmla="*/ 8 w 81"/>
                <a:gd name="T9" fmla="*/ 48 h 67"/>
                <a:gd name="T10" fmla="*/ 46 w 81"/>
                <a:gd name="T11" fmla="*/ 58 h 67"/>
                <a:gd name="T12" fmla="*/ 55 w 81"/>
                <a:gd name="T13" fmla="*/ 42 h 67"/>
                <a:gd name="T14" fmla="*/ 80 w 81"/>
                <a:gd name="T15" fmla="*/ 37 h 67"/>
                <a:gd name="T16" fmla="*/ 71 w 81"/>
                <a:gd name="T17" fmla="*/ 27 h 67"/>
                <a:gd name="T18" fmla="*/ 74 w 81"/>
                <a:gd name="T19" fmla="*/ 18 h 67"/>
                <a:gd name="T20" fmla="*/ 53 w 81"/>
                <a:gd name="T21" fmla="*/ 20 h 67"/>
                <a:gd name="T22" fmla="*/ 27 w 81"/>
                <a:gd name="T23" fmla="*/ 0 h 67"/>
                <a:gd name="T24" fmla="*/ 18 w 81"/>
                <a:gd name="T25" fmla="*/ 38 h 67"/>
                <a:gd name="T26" fmla="*/ 7 w 81"/>
                <a:gd name="T27" fmla="*/ 35 h 67"/>
                <a:gd name="T28" fmla="*/ 0 w 81"/>
                <a:gd name="T29" fmla="*/ 47 h 67"/>
                <a:gd name="T30" fmla="*/ 0 w 81"/>
                <a:gd name="T31" fmla="*/ 47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67"/>
                <a:gd name="T50" fmla="*/ 81 w 81"/>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67">
                  <a:moveTo>
                    <a:pt x="0" y="47"/>
                  </a:moveTo>
                  <a:lnTo>
                    <a:pt x="0" y="47"/>
                  </a:lnTo>
                  <a:lnTo>
                    <a:pt x="3" y="66"/>
                  </a:lnTo>
                  <a:lnTo>
                    <a:pt x="17" y="59"/>
                  </a:lnTo>
                  <a:lnTo>
                    <a:pt x="8" y="48"/>
                  </a:lnTo>
                  <a:lnTo>
                    <a:pt x="46" y="58"/>
                  </a:lnTo>
                  <a:lnTo>
                    <a:pt x="55" y="42"/>
                  </a:lnTo>
                  <a:lnTo>
                    <a:pt x="80" y="37"/>
                  </a:lnTo>
                  <a:lnTo>
                    <a:pt x="71" y="27"/>
                  </a:lnTo>
                  <a:lnTo>
                    <a:pt x="74" y="18"/>
                  </a:lnTo>
                  <a:lnTo>
                    <a:pt x="53" y="20"/>
                  </a:lnTo>
                  <a:lnTo>
                    <a:pt x="27" y="0"/>
                  </a:lnTo>
                  <a:lnTo>
                    <a:pt x="18" y="38"/>
                  </a:lnTo>
                  <a:lnTo>
                    <a:pt x="7" y="35"/>
                  </a:lnTo>
                  <a:lnTo>
                    <a:pt x="0" y="47"/>
                  </a:lnTo>
                </a:path>
              </a:pathLst>
            </a:custGeom>
            <a:grpFill/>
            <a:ln w="12700">
              <a:solidFill>
                <a:schemeClr val="bg1"/>
              </a:solidFill>
              <a:round/>
              <a:headEnd/>
              <a:tailEnd/>
            </a:ln>
          </p:spPr>
          <p:txBody>
            <a:bodyPr lIns="0" tIns="0" rIns="0" bIns="0" anchor="ctr">
              <a:spAutoFit/>
            </a:bodyPr>
            <a:lstStyle/>
            <a:p>
              <a:pPr>
                <a:defRPr/>
              </a:pPr>
              <a:endParaRPr lang="en-GB"/>
            </a:p>
          </p:txBody>
        </p:sp>
      </p:grpSp>
      <p:sp>
        <p:nvSpPr>
          <p:cNvPr id="544" name="Freeform 543"/>
          <p:cNvSpPr>
            <a:spLocks/>
          </p:cNvSpPr>
          <p:nvPr/>
        </p:nvSpPr>
        <p:spPr bwMode="auto">
          <a:xfrm>
            <a:off x="7207377" y="3154266"/>
            <a:ext cx="149606" cy="140552"/>
          </a:xfrm>
          <a:custGeom>
            <a:avLst/>
            <a:gdLst>
              <a:gd name="T0" fmla="*/ 0 w 87"/>
              <a:gd name="T1" fmla="*/ 82254980 h 84"/>
              <a:gd name="T2" fmla="*/ 0 w 87"/>
              <a:gd name="T3" fmla="*/ 82254980 h 84"/>
              <a:gd name="T4" fmla="*/ 25363482 w 87"/>
              <a:gd name="T5" fmla="*/ 94505205 h 84"/>
              <a:gd name="T6" fmla="*/ 9510832 w 87"/>
              <a:gd name="T7" fmla="*/ 136509117 h 84"/>
              <a:gd name="T8" fmla="*/ 47555429 w 87"/>
              <a:gd name="T9" fmla="*/ 145258884 h 84"/>
              <a:gd name="T10" fmla="*/ 87186425 w 87"/>
              <a:gd name="T11" fmla="*/ 120757154 h 84"/>
              <a:gd name="T12" fmla="*/ 69748624 w 87"/>
              <a:gd name="T13" fmla="*/ 87505655 h 84"/>
              <a:gd name="T14" fmla="*/ 115718915 w 87"/>
              <a:gd name="T15" fmla="*/ 56003032 h 84"/>
              <a:gd name="T16" fmla="*/ 136326972 w 87"/>
              <a:gd name="T17" fmla="*/ 14000427 h 84"/>
              <a:gd name="T18" fmla="*/ 134741833 w 87"/>
              <a:gd name="T19" fmla="*/ 8751093 h 84"/>
              <a:gd name="T20" fmla="*/ 125231004 w 87"/>
              <a:gd name="T21" fmla="*/ 0 h 84"/>
              <a:gd name="T22" fmla="*/ 84014889 w 87"/>
              <a:gd name="T23" fmla="*/ 28002177 h 84"/>
              <a:gd name="T24" fmla="*/ 84014889 w 87"/>
              <a:gd name="T25" fmla="*/ 43752828 h 84"/>
              <a:gd name="T26" fmla="*/ 55482379 w 87"/>
              <a:gd name="T27" fmla="*/ 38502163 h 84"/>
              <a:gd name="T28" fmla="*/ 0 w 87"/>
              <a:gd name="T29" fmla="*/ 82254980 h 84"/>
              <a:gd name="T30" fmla="*/ 0 w 87"/>
              <a:gd name="T31" fmla="*/ 82254980 h 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7"/>
              <a:gd name="T49" fmla="*/ 0 h 84"/>
              <a:gd name="T50" fmla="*/ 87 w 87"/>
              <a:gd name="T51" fmla="*/ 84 h 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7" h="84">
                <a:moveTo>
                  <a:pt x="0" y="47"/>
                </a:moveTo>
                <a:lnTo>
                  <a:pt x="0" y="47"/>
                </a:lnTo>
                <a:lnTo>
                  <a:pt x="16" y="54"/>
                </a:lnTo>
                <a:lnTo>
                  <a:pt x="6" y="78"/>
                </a:lnTo>
                <a:lnTo>
                  <a:pt x="30" y="83"/>
                </a:lnTo>
                <a:lnTo>
                  <a:pt x="55" y="69"/>
                </a:lnTo>
                <a:lnTo>
                  <a:pt x="44" y="50"/>
                </a:lnTo>
                <a:lnTo>
                  <a:pt x="73" y="32"/>
                </a:lnTo>
                <a:lnTo>
                  <a:pt x="86" y="8"/>
                </a:lnTo>
                <a:lnTo>
                  <a:pt x="85" y="5"/>
                </a:lnTo>
                <a:lnTo>
                  <a:pt x="79" y="0"/>
                </a:lnTo>
                <a:lnTo>
                  <a:pt x="53" y="16"/>
                </a:lnTo>
                <a:lnTo>
                  <a:pt x="53" y="25"/>
                </a:lnTo>
                <a:lnTo>
                  <a:pt x="35" y="22"/>
                </a:lnTo>
                <a:lnTo>
                  <a:pt x="0" y="47"/>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45" name="Freeform 544"/>
          <p:cNvSpPr>
            <a:spLocks/>
          </p:cNvSpPr>
          <p:nvPr/>
        </p:nvSpPr>
        <p:spPr bwMode="auto">
          <a:xfrm>
            <a:off x="7252910" y="3270724"/>
            <a:ext cx="78057" cy="108427"/>
          </a:xfrm>
          <a:custGeom>
            <a:avLst/>
            <a:gdLst>
              <a:gd name="T0" fmla="*/ 0 w 48"/>
              <a:gd name="T1" fmla="*/ 109657851 h 66"/>
              <a:gd name="T2" fmla="*/ 0 w 48"/>
              <a:gd name="T3" fmla="*/ 109657851 h 66"/>
              <a:gd name="T4" fmla="*/ 7087791 w 48"/>
              <a:gd name="T5" fmla="*/ 23618536 h 66"/>
              <a:gd name="T6" fmla="*/ 42527939 w 48"/>
              <a:gd name="T7" fmla="*/ 0 h 66"/>
              <a:gd name="T8" fmla="*/ 66626182 w 48"/>
              <a:gd name="T9" fmla="*/ 67482449 h 66"/>
              <a:gd name="T10" fmla="*/ 42527939 w 48"/>
              <a:gd name="T11" fmla="*/ 99535812 h 66"/>
              <a:gd name="T12" fmla="*/ 0 w 48"/>
              <a:gd name="T13" fmla="*/ 109657851 h 66"/>
              <a:gd name="T14" fmla="*/ 0 w 48"/>
              <a:gd name="T15" fmla="*/ 109657851 h 66"/>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66"/>
              <a:gd name="T26" fmla="*/ 48 w 4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66">
                <a:moveTo>
                  <a:pt x="0" y="65"/>
                </a:moveTo>
                <a:lnTo>
                  <a:pt x="0" y="65"/>
                </a:lnTo>
                <a:lnTo>
                  <a:pt x="5" y="14"/>
                </a:lnTo>
                <a:lnTo>
                  <a:pt x="30" y="0"/>
                </a:lnTo>
                <a:lnTo>
                  <a:pt x="47" y="40"/>
                </a:lnTo>
                <a:lnTo>
                  <a:pt x="30" y="59"/>
                </a:lnTo>
                <a:lnTo>
                  <a:pt x="0" y="6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46" name="Freeform 545"/>
          <p:cNvSpPr>
            <a:spLocks/>
          </p:cNvSpPr>
          <p:nvPr/>
        </p:nvSpPr>
        <p:spPr bwMode="auto">
          <a:xfrm>
            <a:off x="6647978" y="3666280"/>
            <a:ext cx="166952" cy="188742"/>
          </a:xfrm>
          <a:custGeom>
            <a:avLst/>
            <a:gdLst>
              <a:gd name="T0" fmla="*/ 0 w 99"/>
              <a:gd name="T1" fmla="*/ 42094425 h 115"/>
              <a:gd name="T2" fmla="*/ 0 w 99"/>
              <a:gd name="T3" fmla="*/ 42094425 h 115"/>
              <a:gd name="T4" fmla="*/ 19818444 w 99"/>
              <a:gd name="T5" fmla="*/ 69035380 h 115"/>
              <a:gd name="T6" fmla="*/ 13720178 w 99"/>
              <a:gd name="T7" fmla="*/ 116181404 h 115"/>
              <a:gd name="T8" fmla="*/ 67079713 w 99"/>
              <a:gd name="T9" fmla="*/ 95976345 h 115"/>
              <a:gd name="T10" fmla="*/ 89946687 w 99"/>
              <a:gd name="T11" fmla="*/ 116181404 h 115"/>
              <a:gd name="T12" fmla="*/ 109766361 w 99"/>
              <a:gd name="T13" fmla="*/ 163327409 h 115"/>
              <a:gd name="T14" fmla="*/ 102143220 w 99"/>
              <a:gd name="T15" fmla="*/ 191951392 h 115"/>
              <a:gd name="T16" fmla="*/ 149403240 w 99"/>
              <a:gd name="T17" fmla="*/ 183532509 h 115"/>
              <a:gd name="T18" fmla="*/ 126536285 w 99"/>
              <a:gd name="T19" fmla="*/ 121232994 h 115"/>
              <a:gd name="T20" fmla="*/ 76226495 w 99"/>
              <a:gd name="T21" fmla="*/ 75769967 h 115"/>
              <a:gd name="T22" fmla="*/ 89946687 w 99"/>
              <a:gd name="T23" fmla="*/ 50513318 h 115"/>
              <a:gd name="T24" fmla="*/ 62505087 w 99"/>
              <a:gd name="T25" fmla="*/ 35359838 h 115"/>
              <a:gd name="T26" fmla="*/ 41161773 w 99"/>
              <a:gd name="T27" fmla="*/ 0 h 115"/>
              <a:gd name="T28" fmla="*/ 27441590 w 99"/>
              <a:gd name="T29" fmla="*/ 0 h 115"/>
              <a:gd name="T30" fmla="*/ 28966466 w 99"/>
              <a:gd name="T31" fmla="*/ 26940955 h 115"/>
              <a:gd name="T32" fmla="*/ 19818444 w 99"/>
              <a:gd name="T33" fmla="*/ 20205065 h 115"/>
              <a:gd name="T34" fmla="*/ 0 w 99"/>
              <a:gd name="T35" fmla="*/ 42094425 h 115"/>
              <a:gd name="T36" fmla="*/ 0 w 99"/>
              <a:gd name="T37" fmla="*/ 42094425 h 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9"/>
              <a:gd name="T58" fmla="*/ 0 h 115"/>
              <a:gd name="T59" fmla="*/ 99 w 99"/>
              <a:gd name="T60" fmla="*/ 115 h 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9" h="115">
                <a:moveTo>
                  <a:pt x="0" y="25"/>
                </a:moveTo>
                <a:lnTo>
                  <a:pt x="0" y="25"/>
                </a:lnTo>
                <a:lnTo>
                  <a:pt x="13" y="41"/>
                </a:lnTo>
                <a:lnTo>
                  <a:pt x="9" y="69"/>
                </a:lnTo>
                <a:lnTo>
                  <a:pt x="44" y="57"/>
                </a:lnTo>
                <a:lnTo>
                  <a:pt x="59" y="69"/>
                </a:lnTo>
                <a:lnTo>
                  <a:pt x="72" y="97"/>
                </a:lnTo>
                <a:lnTo>
                  <a:pt x="67" y="114"/>
                </a:lnTo>
                <a:lnTo>
                  <a:pt x="98" y="109"/>
                </a:lnTo>
                <a:lnTo>
                  <a:pt x="83" y="72"/>
                </a:lnTo>
                <a:lnTo>
                  <a:pt x="50" y="45"/>
                </a:lnTo>
                <a:lnTo>
                  <a:pt x="59" y="30"/>
                </a:lnTo>
                <a:lnTo>
                  <a:pt x="41" y="21"/>
                </a:lnTo>
                <a:lnTo>
                  <a:pt x="27" y="0"/>
                </a:lnTo>
                <a:lnTo>
                  <a:pt x="18" y="0"/>
                </a:lnTo>
                <a:lnTo>
                  <a:pt x="19" y="16"/>
                </a:lnTo>
                <a:lnTo>
                  <a:pt x="13" y="12"/>
                </a:lnTo>
                <a:lnTo>
                  <a:pt x="0" y="2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grpSp>
        <p:nvGrpSpPr>
          <p:cNvPr id="8" name="Group 43"/>
          <p:cNvGrpSpPr>
            <a:grpSpLocks/>
          </p:cNvGrpSpPr>
          <p:nvPr/>
        </p:nvGrpSpPr>
        <p:grpSpPr bwMode="auto">
          <a:xfrm>
            <a:off x="1040950" y="1662392"/>
            <a:ext cx="2055470" cy="1519983"/>
            <a:chOff x="1156" y="1908"/>
            <a:chExt cx="1207" cy="919"/>
          </a:xfrm>
          <a:solidFill>
            <a:schemeClr val="accent3"/>
          </a:solidFill>
        </p:grpSpPr>
        <p:sp>
          <p:nvSpPr>
            <p:cNvPr id="762" name="Freeform 761"/>
            <p:cNvSpPr>
              <a:spLocks/>
            </p:cNvSpPr>
            <p:nvPr/>
          </p:nvSpPr>
          <p:spPr bwMode="auto">
            <a:xfrm>
              <a:off x="1156" y="2232"/>
              <a:ext cx="1166" cy="595"/>
            </a:xfrm>
            <a:custGeom>
              <a:avLst/>
              <a:gdLst>
                <a:gd name="T0" fmla="*/ 93 w 1166"/>
                <a:gd name="T1" fmla="*/ 82 h 595"/>
                <a:gd name="T2" fmla="*/ 110 w 1166"/>
                <a:gd name="T3" fmla="*/ 69 h 595"/>
                <a:gd name="T4" fmla="*/ 177 w 1166"/>
                <a:gd name="T5" fmla="*/ 35 h 595"/>
                <a:gd name="T6" fmla="*/ 250 w 1166"/>
                <a:gd name="T7" fmla="*/ 52 h 595"/>
                <a:gd name="T8" fmla="*/ 347 w 1166"/>
                <a:gd name="T9" fmla="*/ 95 h 595"/>
                <a:gd name="T10" fmla="*/ 453 w 1166"/>
                <a:gd name="T11" fmla="*/ 123 h 595"/>
                <a:gd name="T12" fmla="*/ 450 w 1166"/>
                <a:gd name="T13" fmla="*/ 93 h 595"/>
                <a:gd name="T14" fmla="*/ 515 w 1166"/>
                <a:gd name="T15" fmla="*/ 93 h 595"/>
                <a:gd name="T16" fmla="*/ 595 w 1166"/>
                <a:gd name="T17" fmla="*/ 105 h 595"/>
                <a:gd name="T18" fmla="*/ 597 w 1166"/>
                <a:gd name="T19" fmla="*/ 85 h 595"/>
                <a:gd name="T20" fmla="*/ 624 w 1166"/>
                <a:gd name="T21" fmla="*/ 114 h 595"/>
                <a:gd name="T22" fmla="*/ 632 w 1166"/>
                <a:gd name="T23" fmla="*/ 78 h 595"/>
                <a:gd name="T24" fmla="*/ 620 w 1166"/>
                <a:gd name="T25" fmla="*/ 18 h 595"/>
                <a:gd name="T26" fmla="*/ 676 w 1166"/>
                <a:gd name="T27" fmla="*/ 44 h 595"/>
                <a:gd name="T28" fmla="*/ 685 w 1166"/>
                <a:gd name="T29" fmla="*/ 61 h 595"/>
                <a:gd name="T30" fmla="*/ 721 w 1166"/>
                <a:gd name="T31" fmla="*/ 76 h 595"/>
                <a:gd name="T32" fmla="*/ 743 w 1166"/>
                <a:gd name="T33" fmla="*/ 109 h 595"/>
                <a:gd name="T34" fmla="*/ 797 w 1166"/>
                <a:gd name="T35" fmla="*/ 55 h 595"/>
                <a:gd name="T36" fmla="*/ 798 w 1166"/>
                <a:gd name="T37" fmla="*/ 85 h 595"/>
                <a:gd name="T38" fmla="*/ 783 w 1166"/>
                <a:gd name="T39" fmla="*/ 137 h 595"/>
                <a:gd name="T40" fmla="*/ 695 w 1166"/>
                <a:gd name="T41" fmla="*/ 143 h 595"/>
                <a:gd name="T42" fmla="*/ 698 w 1166"/>
                <a:gd name="T43" fmla="*/ 183 h 595"/>
                <a:gd name="T44" fmla="*/ 689 w 1166"/>
                <a:gd name="T45" fmla="*/ 208 h 595"/>
                <a:gd name="T46" fmla="*/ 661 w 1166"/>
                <a:gd name="T47" fmla="*/ 226 h 595"/>
                <a:gd name="T48" fmla="*/ 653 w 1166"/>
                <a:gd name="T49" fmla="*/ 293 h 595"/>
                <a:gd name="T50" fmla="*/ 759 w 1166"/>
                <a:gd name="T51" fmla="*/ 359 h 595"/>
                <a:gd name="T52" fmla="*/ 800 w 1166"/>
                <a:gd name="T53" fmla="*/ 404 h 595"/>
                <a:gd name="T54" fmla="*/ 817 w 1166"/>
                <a:gd name="T55" fmla="*/ 440 h 595"/>
                <a:gd name="T56" fmla="*/ 836 w 1166"/>
                <a:gd name="T57" fmla="*/ 375 h 595"/>
                <a:gd name="T58" fmla="*/ 849 w 1166"/>
                <a:gd name="T59" fmla="*/ 293 h 595"/>
                <a:gd name="T60" fmla="*/ 858 w 1166"/>
                <a:gd name="T61" fmla="*/ 252 h 595"/>
                <a:gd name="T62" fmla="*/ 900 w 1166"/>
                <a:gd name="T63" fmla="*/ 225 h 595"/>
                <a:gd name="T64" fmla="*/ 974 w 1166"/>
                <a:gd name="T65" fmla="*/ 248 h 595"/>
                <a:gd name="T66" fmla="*/ 980 w 1166"/>
                <a:gd name="T67" fmla="*/ 283 h 595"/>
                <a:gd name="T68" fmla="*/ 978 w 1166"/>
                <a:gd name="T69" fmla="*/ 312 h 595"/>
                <a:gd name="T70" fmla="*/ 1022 w 1166"/>
                <a:gd name="T71" fmla="*/ 300 h 595"/>
                <a:gd name="T72" fmla="*/ 1061 w 1166"/>
                <a:gd name="T73" fmla="*/ 285 h 595"/>
                <a:gd name="T74" fmla="*/ 1058 w 1166"/>
                <a:gd name="T75" fmla="*/ 300 h 595"/>
                <a:gd name="T76" fmla="*/ 1079 w 1166"/>
                <a:gd name="T77" fmla="*/ 316 h 595"/>
                <a:gd name="T78" fmla="*/ 1082 w 1166"/>
                <a:gd name="T79" fmla="*/ 336 h 595"/>
                <a:gd name="T80" fmla="*/ 1118 w 1166"/>
                <a:gd name="T81" fmla="*/ 362 h 595"/>
                <a:gd name="T82" fmla="*/ 1144 w 1166"/>
                <a:gd name="T83" fmla="*/ 381 h 595"/>
                <a:gd name="T84" fmla="*/ 1156 w 1166"/>
                <a:gd name="T85" fmla="*/ 400 h 595"/>
                <a:gd name="T86" fmla="*/ 985 w 1166"/>
                <a:gd name="T87" fmla="*/ 477 h 595"/>
                <a:gd name="T88" fmla="*/ 1047 w 1166"/>
                <a:gd name="T89" fmla="*/ 482 h 595"/>
                <a:gd name="T90" fmla="*/ 1053 w 1166"/>
                <a:gd name="T91" fmla="*/ 527 h 595"/>
                <a:gd name="T92" fmla="*/ 1108 w 1166"/>
                <a:gd name="T93" fmla="*/ 523 h 595"/>
                <a:gd name="T94" fmla="*/ 1022 w 1166"/>
                <a:gd name="T95" fmla="*/ 552 h 595"/>
                <a:gd name="T96" fmla="*/ 1010 w 1166"/>
                <a:gd name="T97" fmla="*/ 540 h 595"/>
                <a:gd name="T98" fmla="*/ 960 w 1166"/>
                <a:gd name="T99" fmla="*/ 539 h 595"/>
                <a:gd name="T100" fmla="*/ 846 w 1166"/>
                <a:gd name="T101" fmla="*/ 574 h 595"/>
                <a:gd name="T102" fmla="*/ 798 w 1166"/>
                <a:gd name="T103" fmla="*/ 582 h 595"/>
                <a:gd name="T104" fmla="*/ 820 w 1166"/>
                <a:gd name="T105" fmla="*/ 550 h 595"/>
                <a:gd name="T106" fmla="*/ 770 w 1166"/>
                <a:gd name="T107" fmla="*/ 518 h 595"/>
                <a:gd name="T108" fmla="*/ 735 w 1166"/>
                <a:gd name="T109" fmla="*/ 479 h 595"/>
                <a:gd name="T110" fmla="*/ 634 w 1166"/>
                <a:gd name="T111" fmla="*/ 480 h 595"/>
                <a:gd name="T112" fmla="*/ 244 w 1166"/>
                <a:gd name="T113" fmla="*/ 462 h 595"/>
                <a:gd name="T114" fmla="*/ 188 w 1166"/>
                <a:gd name="T115" fmla="*/ 431 h 595"/>
                <a:gd name="T116" fmla="*/ 149 w 1166"/>
                <a:gd name="T117" fmla="*/ 366 h 595"/>
                <a:gd name="T118" fmla="*/ 48 w 1166"/>
                <a:gd name="T119" fmla="*/ 291 h 595"/>
                <a:gd name="T120" fmla="*/ 0 w 1166"/>
                <a:gd name="T121" fmla="*/ 264 h 5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6"/>
                <a:gd name="T184" fmla="*/ 0 h 595"/>
                <a:gd name="T185" fmla="*/ 1166 w 1166"/>
                <a:gd name="T186" fmla="*/ 595 h 59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6" h="595">
                  <a:moveTo>
                    <a:pt x="0" y="264"/>
                  </a:moveTo>
                  <a:lnTo>
                    <a:pt x="0" y="264"/>
                  </a:lnTo>
                  <a:lnTo>
                    <a:pt x="0" y="55"/>
                  </a:lnTo>
                  <a:lnTo>
                    <a:pt x="93" y="82"/>
                  </a:lnTo>
                  <a:lnTo>
                    <a:pt x="88" y="71"/>
                  </a:lnTo>
                  <a:lnTo>
                    <a:pt x="98" y="64"/>
                  </a:lnTo>
                  <a:lnTo>
                    <a:pt x="154" y="42"/>
                  </a:lnTo>
                  <a:lnTo>
                    <a:pt x="110" y="69"/>
                  </a:lnTo>
                  <a:lnTo>
                    <a:pt x="136" y="62"/>
                  </a:lnTo>
                  <a:lnTo>
                    <a:pt x="136" y="67"/>
                  </a:lnTo>
                  <a:lnTo>
                    <a:pt x="183" y="43"/>
                  </a:lnTo>
                  <a:lnTo>
                    <a:pt x="177" y="35"/>
                  </a:lnTo>
                  <a:lnTo>
                    <a:pt x="207" y="64"/>
                  </a:lnTo>
                  <a:lnTo>
                    <a:pt x="227" y="47"/>
                  </a:lnTo>
                  <a:lnTo>
                    <a:pt x="225" y="64"/>
                  </a:lnTo>
                  <a:lnTo>
                    <a:pt x="250" y="52"/>
                  </a:lnTo>
                  <a:lnTo>
                    <a:pt x="319" y="73"/>
                  </a:lnTo>
                  <a:lnTo>
                    <a:pt x="351" y="72"/>
                  </a:lnTo>
                  <a:lnTo>
                    <a:pt x="369" y="85"/>
                  </a:lnTo>
                  <a:lnTo>
                    <a:pt x="347" y="95"/>
                  </a:lnTo>
                  <a:lnTo>
                    <a:pt x="360" y="100"/>
                  </a:lnTo>
                  <a:lnTo>
                    <a:pt x="422" y="94"/>
                  </a:lnTo>
                  <a:lnTo>
                    <a:pt x="450" y="112"/>
                  </a:lnTo>
                  <a:lnTo>
                    <a:pt x="453" y="123"/>
                  </a:lnTo>
                  <a:lnTo>
                    <a:pt x="460" y="116"/>
                  </a:lnTo>
                  <a:lnTo>
                    <a:pt x="450" y="100"/>
                  </a:lnTo>
                  <a:lnTo>
                    <a:pt x="479" y="80"/>
                  </a:lnTo>
                  <a:lnTo>
                    <a:pt x="450" y="93"/>
                  </a:lnTo>
                  <a:lnTo>
                    <a:pt x="440" y="87"/>
                  </a:lnTo>
                  <a:lnTo>
                    <a:pt x="475" y="72"/>
                  </a:lnTo>
                  <a:lnTo>
                    <a:pt x="494" y="93"/>
                  </a:lnTo>
                  <a:lnTo>
                    <a:pt x="515" y="93"/>
                  </a:lnTo>
                  <a:lnTo>
                    <a:pt x="528" y="102"/>
                  </a:lnTo>
                  <a:lnTo>
                    <a:pt x="582" y="100"/>
                  </a:lnTo>
                  <a:lnTo>
                    <a:pt x="580" y="93"/>
                  </a:lnTo>
                  <a:lnTo>
                    <a:pt x="595" y="105"/>
                  </a:lnTo>
                  <a:lnTo>
                    <a:pt x="598" y="95"/>
                  </a:lnTo>
                  <a:lnTo>
                    <a:pt x="586" y="99"/>
                  </a:lnTo>
                  <a:lnTo>
                    <a:pt x="577" y="86"/>
                  </a:lnTo>
                  <a:lnTo>
                    <a:pt x="597" y="85"/>
                  </a:lnTo>
                  <a:lnTo>
                    <a:pt x="605" y="94"/>
                  </a:lnTo>
                  <a:lnTo>
                    <a:pt x="613" y="91"/>
                  </a:lnTo>
                  <a:lnTo>
                    <a:pt x="609" y="106"/>
                  </a:lnTo>
                  <a:lnTo>
                    <a:pt x="624" y="114"/>
                  </a:lnTo>
                  <a:lnTo>
                    <a:pt x="620" y="93"/>
                  </a:lnTo>
                  <a:lnTo>
                    <a:pt x="648" y="81"/>
                  </a:lnTo>
                  <a:lnTo>
                    <a:pt x="640" y="71"/>
                  </a:lnTo>
                  <a:lnTo>
                    <a:pt x="632" y="78"/>
                  </a:lnTo>
                  <a:lnTo>
                    <a:pt x="646" y="61"/>
                  </a:lnTo>
                  <a:lnTo>
                    <a:pt x="607" y="48"/>
                  </a:lnTo>
                  <a:lnTo>
                    <a:pt x="611" y="17"/>
                  </a:lnTo>
                  <a:lnTo>
                    <a:pt x="620" y="18"/>
                  </a:lnTo>
                  <a:lnTo>
                    <a:pt x="625" y="0"/>
                  </a:lnTo>
                  <a:lnTo>
                    <a:pt x="655" y="17"/>
                  </a:lnTo>
                  <a:lnTo>
                    <a:pt x="656" y="29"/>
                  </a:lnTo>
                  <a:lnTo>
                    <a:pt x="676" y="44"/>
                  </a:lnTo>
                  <a:lnTo>
                    <a:pt x="663" y="44"/>
                  </a:lnTo>
                  <a:lnTo>
                    <a:pt x="668" y="49"/>
                  </a:lnTo>
                  <a:lnTo>
                    <a:pt x="661" y="56"/>
                  </a:lnTo>
                  <a:lnTo>
                    <a:pt x="685" y="61"/>
                  </a:lnTo>
                  <a:lnTo>
                    <a:pt x="677" y="64"/>
                  </a:lnTo>
                  <a:lnTo>
                    <a:pt x="692" y="90"/>
                  </a:lnTo>
                  <a:lnTo>
                    <a:pt x="704" y="67"/>
                  </a:lnTo>
                  <a:lnTo>
                    <a:pt x="721" y="76"/>
                  </a:lnTo>
                  <a:lnTo>
                    <a:pt x="726" y="91"/>
                  </a:lnTo>
                  <a:lnTo>
                    <a:pt x="717" y="95"/>
                  </a:lnTo>
                  <a:lnTo>
                    <a:pt x="733" y="114"/>
                  </a:lnTo>
                  <a:lnTo>
                    <a:pt x="743" y="109"/>
                  </a:lnTo>
                  <a:lnTo>
                    <a:pt x="755" y="81"/>
                  </a:lnTo>
                  <a:lnTo>
                    <a:pt x="769" y="78"/>
                  </a:lnTo>
                  <a:lnTo>
                    <a:pt x="758" y="53"/>
                  </a:lnTo>
                  <a:lnTo>
                    <a:pt x="797" y="55"/>
                  </a:lnTo>
                  <a:lnTo>
                    <a:pt x="814" y="69"/>
                  </a:lnTo>
                  <a:lnTo>
                    <a:pt x="807" y="77"/>
                  </a:lnTo>
                  <a:lnTo>
                    <a:pt x="815" y="81"/>
                  </a:lnTo>
                  <a:lnTo>
                    <a:pt x="798" y="85"/>
                  </a:lnTo>
                  <a:lnTo>
                    <a:pt x="813" y="117"/>
                  </a:lnTo>
                  <a:lnTo>
                    <a:pt x="788" y="134"/>
                  </a:lnTo>
                  <a:lnTo>
                    <a:pt x="779" y="126"/>
                  </a:lnTo>
                  <a:lnTo>
                    <a:pt x="783" y="137"/>
                  </a:lnTo>
                  <a:lnTo>
                    <a:pt x="743" y="129"/>
                  </a:lnTo>
                  <a:lnTo>
                    <a:pt x="751" y="140"/>
                  </a:lnTo>
                  <a:lnTo>
                    <a:pt x="735" y="156"/>
                  </a:lnTo>
                  <a:lnTo>
                    <a:pt x="695" y="143"/>
                  </a:lnTo>
                  <a:lnTo>
                    <a:pt x="710" y="156"/>
                  </a:lnTo>
                  <a:lnTo>
                    <a:pt x="739" y="159"/>
                  </a:lnTo>
                  <a:lnTo>
                    <a:pt x="719" y="185"/>
                  </a:lnTo>
                  <a:lnTo>
                    <a:pt x="698" y="183"/>
                  </a:lnTo>
                  <a:lnTo>
                    <a:pt x="688" y="197"/>
                  </a:lnTo>
                  <a:lnTo>
                    <a:pt x="650" y="185"/>
                  </a:lnTo>
                  <a:lnTo>
                    <a:pt x="685" y="197"/>
                  </a:lnTo>
                  <a:lnTo>
                    <a:pt x="689" y="208"/>
                  </a:lnTo>
                  <a:lnTo>
                    <a:pt x="663" y="212"/>
                  </a:lnTo>
                  <a:lnTo>
                    <a:pt x="668" y="215"/>
                  </a:lnTo>
                  <a:lnTo>
                    <a:pt x="661" y="216"/>
                  </a:lnTo>
                  <a:lnTo>
                    <a:pt x="661" y="226"/>
                  </a:lnTo>
                  <a:lnTo>
                    <a:pt x="633" y="241"/>
                  </a:lnTo>
                  <a:lnTo>
                    <a:pt x="627" y="289"/>
                  </a:lnTo>
                  <a:lnTo>
                    <a:pt x="638" y="300"/>
                  </a:lnTo>
                  <a:lnTo>
                    <a:pt x="653" y="293"/>
                  </a:lnTo>
                  <a:lnTo>
                    <a:pt x="659" y="330"/>
                  </a:lnTo>
                  <a:lnTo>
                    <a:pt x="681" y="322"/>
                  </a:lnTo>
                  <a:lnTo>
                    <a:pt x="707" y="333"/>
                  </a:lnTo>
                  <a:lnTo>
                    <a:pt x="759" y="359"/>
                  </a:lnTo>
                  <a:lnTo>
                    <a:pt x="755" y="370"/>
                  </a:lnTo>
                  <a:lnTo>
                    <a:pt x="761" y="362"/>
                  </a:lnTo>
                  <a:lnTo>
                    <a:pt x="800" y="364"/>
                  </a:lnTo>
                  <a:lnTo>
                    <a:pt x="800" y="404"/>
                  </a:lnTo>
                  <a:lnTo>
                    <a:pt x="812" y="417"/>
                  </a:lnTo>
                  <a:lnTo>
                    <a:pt x="803" y="420"/>
                  </a:lnTo>
                  <a:lnTo>
                    <a:pt x="823" y="427"/>
                  </a:lnTo>
                  <a:lnTo>
                    <a:pt x="817" y="440"/>
                  </a:lnTo>
                  <a:lnTo>
                    <a:pt x="836" y="439"/>
                  </a:lnTo>
                  <a:lnTo>
                    <a:pt x="862" y="418"/>
                  </a:lnTo>
                  <a:lnTo>
                    <a:pt x="851" y="413"/>
                  </a:lnTo>
                  <a:lnTo>
                    <a:pt x="836" y="375"/>
                  </a:lnTo>
                  <a:lnTo>
                    <a:pt x="885" y="342"/>
                  </a:lnTo>
                  <a:lnTo>
                    <a:pt x="877" y="342"/>
                  </a:lnTo>
                  <a:lnTo>
                    <a:pt x="867" y="303"/>
                  </a:lnTo>
                  <a:lnTo>
                    <a:pt x="849" y="293"/>
                  </a:lnTo>
                  <a:lnTo>
                    <a:pt x="872" y="277"/>
                  </a:lnTo>
                  <a:lnTo>
                    <a:pt x="864" y="269"/>
                  </a:lnTo>
                  <a:lnTo>
                    <a:pt x="868" y="255"/>
                  </a:lnTo>
                  <a:lnTo>
                    <a:pt x="858" y="252"/>
                  </a:lnTo>
                  <a:lnTo>
                    <a:pt x="868" y="238"/>
                  </a:lnTo>
                  <a:lnTo>
                    <a:pt x="857" y="229"/>
                  </a:lnTo>
                  <a:lnTo>
                    <a:pt x="863" y="216"/>
                  </a:lnTo>
                  <a:lnTo>
                    <a:pt x="900" y="225"/>
                  </a:lnTo>
                  <a:lnTo>
                    <a:pt x="916" y="218"/>
                  </a:lnTo>
                  <a:lnTo>
                    <a:pt x="947" y="238"/>
                  </a:lnTo>
                  <a:lnTo>
                    <a:pt x="947" y="246"/>
                  </a:lnTo>
                  <a:lnTo>
                    <a:pt x="974" y="248"/>
                  </a:lnTo>
                  <a:lnTo>
                    <a:pt x="977" y="267"/>
                  </a:lnTo>
                  <a:lnTo>
                    <a:pt x="953" y="268"/>
                  </a:lnTo>
                  <a:lnTo>
                    <a:pt x="973" y="271"/>
                  </a:lnTo>
                  <a:lnTo>
                    <a:pt x="980" y="283"/>
                  </a:lnTo>
                  <a:lnTo>
                    <a:pt x="958" y="300"/>
                  </a:lnTo>
                  <a:lnTo>
                    <a:pt x="990" y="292"/>
                  </a:lnTo>
                  <a:lnTo>
                    <a:pt x="992" y="306"/>
                  </a:lnTo>
                  <a:lnTo>
                    <a:pt x="978" y="312"/>
                  </a:lnTo>
                  <a:lnTo>
                    <a:pt x="998" y="297"/>
                  </a:lnTo>
                  <a:lnTo>
                    <a:pt x="1000" y="307"/>
                  </a:lnTo>
                  <a:lnTo>
                    <a:pt x="1018" y="292"/>
                  </a:lnTo>
                  <a:lnTo>
                    <a:pt x="1022" y="300"/>
                  </a:lnTo>
                  <a:lnTo>
                    <a:pt x="1035" y="279"/>
                  </a:lnTo>
                  <a:lnTo>
                    <a:pt x="1030" y="275"/>
                  </a:lnTo>
                  <a:lnTo>
                    <a:pt x="1045" y="264"/>
                  </a:lnTo>
                  <a:lnTo>
                    <a:pt x="1061" y="285"/>
                  </a:lnTo>
                  <a:lnTo>
                    <a:pt x="1047" y="291"/>
                  </a:lnTo>
                  <a:lnTo>
                    <a:pt x="1062" y="288"/>
                  </a:lnTo>
                  <a:lnTo>
                    <a:pt x="1068" y="297"/>
                  </a:lnTo>
                  <a:lnTo>
                    <a:pt x="1058" y="300"/>
                  </a:lnTo>
                  <a:lnTo>
                    <a:pt x="1071" y="301"/>
                  </a:lnTo>
                  <a:lnTo>
                    <a:pt x="1062" y="308"/>
                  </a:lnTo>
                  <a:lnTo>
                    <a:pt x="1072" y="306"/>
                  </a:lnTo>
                  <a:lnTo>
                    <a:pt x="1079" y="316"/>
                  </a:lnTo>
                  <a:lnTo>
                    <a:pt x="1074" y="320"/>
                  </a:lnTo>
                  <a:lnTo>
                    <a:pt x="1088" y="328"/>
                  </a:lnTo>
                  <a:lnTo>
                    <a:pt x="1066" y="336"/>
                  </a:lnTo>
                  <a:lnTo>
                    <a:pt x="1082" y="336"/>
                  </a:lnTo>
                  <a:lnTo>
                    <a:pt x="1079" y="344"/>
                  </a:lnTo>
                  <a:lnTo>
                    <a:pt x="1102" y="351"/>
                  </a:lnTo>
                  <a:lnTo>
                    <a:pt x="1110" y="369"/>
                  </a:lnTo>
                  <a:lnTo>
                    <a:pt x="1118" y="362"/>
                  </a:lnTo>
                  <a:lnTo>
                    <a:pt x="1142" y="375"/>
                  </a:lnTo>
                  <a:lnTo>
                    <a:pt x="1091" y="390"/>
                  </a:lnTo>
                  <a:lnTo>
                    <a:pt x="1102" y="399"/>
                  </a:lnTo>
                  <a:lnTo>
                    <a:pt x="1144" y="381"/>
                  </a:lnTo>
                  <a:lnTo>
                    <a:pt x="1144" y="396"/>
                  </a:lnTo>
                  <a:lnTo>
                    <a:pt x="1163" y="393"/>
                  </a:lnTo>
                  <a:lnTo>
                    <a:pt x="1165" y="400"/>
                  </a:lnTo>
                  <a:lnTo>
                    <a:pt x="1156" y="400"/>
                  </a:lnTo>
                  <a:lnTo>
                    <a:pt x="1165" y="418"/>
                  </a:lnTo>
                  <a:lnTo>
                    <a:pt x="1106" y="453"/>
                  </a:lnTo>
                  <a:lnTo>
                    <a:pt x="1021" y="453"/>
                  </a:lnTo>
                  <a:lnTo>
                    <a:pt x="985" y="477"/>
                  </a:lnTo>
                  <a:lnTo>
                    <a:pt x="955" y="513"/>
                  </a:lnTo>
                  <a:lnTo>
                    <a:pt x="985" y="486"/>
                  </a:lnTo>
                  <a:lnTo>
                    <a:pt x="1031" y="470"/>
                  </a:lnTo>
                  <a:lnTo>
                    <a:pt x="1047" y="482"/>
                  </a:lnTo>
                  <a:lnTo>
                    <a:pt x="1017" y="492"/>
                  </a:lnTo>
                  <a:lnTo>
                    <a:pt x="1041" y="497"/>
                  </a:lnTo>
                  <a:lnTo>
                    <a:pt x="1035" y="508"/>
                  </a:lnTo>
                  <a:lnTo>
                    <a:pt x="1053" y="527"/>
                  </a:lnTo>
                  <a:lnTo>
                    <a:pt x="1089" y="535"/>
                  </a:lnTo>
                  <a:lnTo>
                    <a:pt x="1098" y="510"/>
                  </a:lnTo>
                  <a:lnTo>
                    <a:pt x="1098" y="525"/>
                  </a:lnTo>
                  <a:lnTo>
                    <a:pt x="1108" y="523"/>
                  </a:lnTo>
                  <a:lnTo>
                    <a:pt x="1091" y="539"/>
                  </a:lnTo>
                  <a:lnTo>
                    <a:pt x="1049" y="550"/>
                  </a:lnTo>
                  <a:lnTo>
                    <a:pt x="1034" y="568"/>
                  </a:lnTo>
                  <a:lnTo>
                    <a:pt x="1022" y="552"/>
                  </a:lnTo>
                  <a:lnTo>
                    <a:pt x="1062" y="537"/>
                  </a:lnTo>
                  <a:lnTo>
                    <a:pt x="1041" y="538"/>
                  </a:lnTo>
                  <a:lnTo>
                    <a:pt x="1045" y="527"/>
                  </a:lnTo>
                  <a:lnTo>
                    <a:pt x="1010" y="540"/>
                  </a:lnTo>
                  <a:lnTo>
                    <a:pt x="1000" y="532"/>
                  </a:lnTo>
                  <a:lnTo>
                    <a:pt x="1000" y="510"/>
                  </a:lnTo>
                  <a:lnTo>
                    <a:pt x="977" y="503"/>
                  </a:lnTo>
                  <a:lnTo>
                    <a:pt x="960" y="539"/>
                  </a:lnTo>
                  <a:lnTo>
                    <a:pt x="891" y="552"/>
                  </a:lnTo>
                  <a:lnTo>
                    <a:pt x="843" y="566"/>
                  </a:lnTo>
                  <a:lnTo>
                    <a:pt x="835" y="572"/>
                  </a:lnTo>
                  <a:lnTo>
                    <a:pt x="846" y="574"/>
                  </a:lnTo>
                  <a:lnTo>
                    <a:pt x="849" y="579"/>
                  </a:lnTo>
                  <a:lnTo>
                    <a:pt x="791" y="594"/>
                  </a:lnTo>
                  <a:lnTo>
                    <a:pt x="794" y="587"/>
                  </a:lnTo>
                  <a:lnTo>
                    <a:pt x="798" y="582"/>
                  </a:lnTo>
                  <a:lnTo>
                    <a:pt x="800" y="576"/>
                  </a:lnTo>
                  <a:lnTo>
                    <a:pt x="809" y="571"/>
                  </a:lnTo>
                  <a:lnTo>
                    <a:pt x="810" y="539"/>
                  </a:lnTo>
                  <a:lnTo>
                    <a:pt x="820" y="550"/>
                  </a:lnTo>
                  <a:lnTo>
                    <a:pt x="837" y="546"/>
                  </a:lnTo>
                  <a:lnTo>
                    <a:pt x="823" y="527"/>
                  </a:lnTo>
                  <a:lnTo>
                    <a:pt x="773" y="518"/>
                  </a:lnTo>
                  <a:lnTo>
                    <a:pt x="770" y="518"/>
                  </a:lnTo>
                  <a:lnTo>
                    <a:pt x="765" y="493"/>
                  </a:lnTo>
                  <a:lnTo>
                    <a:pt x="755" y="495"/>
                  </a:lnTo>
                  <a:lnTo>
                    <a:pt x="746" y="480"/>
                  </a:lnTo>
                  <a:lnTo>
                    <a:pt x="735" y="479"/>
                  </a:lnTo>
                  <a:lnTo>
                    <a:pt x="735" y="488"/>
                  </a:lnTo>
                  <a:lnTo>
                    <a:pt x="722" y="475"/>
                  </a:lnTo>
                  <a:lnTo>
                    <a:pt x="699" y="493"/>
                  </a:lnTo>
                  <a:lnTo>
                    <a:pt x="634" y="480"/>
                  </a:lnTo>
                  <a:lnTo>
                    <a:pt x="626" y="468"/>
                  </a:lnTo>
                  <a:lnTo>
                    <a:pt x="625" y="476"/>
                  </a:lnTo>
                  <a:lnTo>
                    <a:pt x="249" y="476"/>
                  </a:lnTo>
                  <a:lnTo>
                    <a:pt x="244" y="462"/>
                  </a:lnTo>
                  <a:lnTo>
                    <a:pt x="224" y="458"/>
                  </a:lnTo>
                  <a:lnTo>
                    <a:pt x="225" y="449"/>
                  </a:lnTo>
                  <a:lnTo>
                    <a:pt x="183" y="437"/>
                  </a:lnTo>
                  <a:lnTo>
                    <a:pt x="188" y="431"/>
                  </a:lnTo>
                  <a:lnTo>
                    <a:pt x="178" y="414"/>
                  </a:lnTo>
                  <a:lnTo>
                    <a:pt x="168" y="413"/>
                  </a:lnTo>
                  <a:lnTo>
                    <a:pt x="145" y="377"/>
                  </a:lnTo>
                  <a:lnTo>
                    <a:pt x="149" y="366"/>
                  </a:lnTo>
                  <a:lnTo>
                    <a:pt x="150" y="347"/>
                  </a:lnTo>
                  <a:lnTo>
                    <a:pt x="124" y="336"/>
                  </a:lnTo>
                  <a:lnTo>
                    <a:pt x="76" y="273"/>
                  </a:lnTo>
                  <a:lnTo>
                    <a:pt x="48" y="291"/>
                  </a:lnTo>
                  <a:lnTo>
                    <a:pt x="41" y="283"/>
                  </a:lnTo>
                  <a:lnTo>
                    <a:pt x="39" y="281"/>
                  </a:lnTo>
                  <a:lnTo>
                    <a:pt x="26" y="264"/>
                  </a:lnTo>
                  <a:lnTo>
                    <a:pt x="0" y="264"/>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63" name="Freeform 45"/>
            <p:cNvSpPr>
              <a:spLocks/>
            </p:cNvSpPr>
            <p:nvPr/>
          </p:nvSpPr>
          <p:spPr bwMode="auto">
            <a:xfrm>
              <a:off x="1330" y="2676"/>
              <a:ext cx="69" cy="40"/>
            </a:xfrm>
            <a:custGeom>
              <a:avLst/>
              <a:gdLst>
                <a:gd name="T0" fmla="*/ 0 w 69"/>
                <a:gd name="T1" fmla="*/ 0 h 40"/>
                <a:gd name="T2" fmla="*/ 0 w 69"/>
                <a:gd name="T3" fmla="*/ 0 h 40"/>
                <a:gd name="T4" fmla="*/ 37 w 69"/>
                <a:gd name="T5" fmla="*/ 8 h 40"/>
                <a:gd name="T6" fmla="*/ 68 w 69"/>
                <a:gd name="T7" fmla="*/ 39 h 40"/>
                <a:gd name="T8" fmla="*/ 50 w 69"/>
                <a:gd name="T9" fmla="*/ 33 h 40"/>
                <a:gd name="T10" fmla="*/ 0 w 69"/>
                <a:gd name="T11" fmla="*/ 0 h 40"/>
                <a:gd name="T12" fmla="*/ 0 w 69"/>
                <a:gd name="T13" fmla="*/ 0 h 40"/>
                <a:gd name="T14" fmla="*/ 0 60000 65536"/>
                <a:gd name="T15" fmla="*/ 0 60000 65536"/>
                <a:gd name="T16" fmla="*/ 0 60000 65536"/>
                <a:gd name="T17" fmla="*/ 0 60000 65536"/>
                <a:gd name="T18" fmla="*/ 0 60000 65536"/>
                <a:gd name="T19" fmla="*/ 0 60000 65536"/>
                <a:gd name="T20" fmla="*/ 0 60000 65536"/>
                <a:gd name="T21" fmla="*/ 0 w 69"/>
                <a:gd name="T22" fmla="*/ 0 h 40"/>
                <a:gd name="T23" fmla="*/ 69 w 69"/>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40">
                  <a:moveTo>
                    <a:pt x="0" y="0"/>
                  </a:moveTo>
                  <a:lnTo>
                    <a:pt x="0" y="0"/>
                  </a:lnTo>
                  <a:lnTo>
                    <a:pt x="37" y="8"/>
                  </a:lnTo>
                  <a:lnTo>
                    <a:pt x="68" y="39"/>
                  </a:lnTo>
                  <a:lnTo>
                    <a:pt x="50" y="33"/>
                  </a:lnTo>
                  <a:lnTo>
                    <a:pt x="0" y="0"/>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64" name="Freeform 763"/>
            <p:cNvSpPr>
              <a:spLocks/>
            </p:cNvSpPr>
            <p:nvPr/>
          </p:nvSpPr>
          <p:spPr bwMode="auto">
            <a:xfrm>
              <a:off x="1362" y="2165"/>
              <a:ext cx="144" cy="89"/>
            </a:xfrm>
            <a:custGeom>
              <a:avLst/>
              <a:gdLst>
                <a:gd name="T0" fmla="*/ 0 w 144"/>
                <a:gd name="T1" fmla="*/ 66 h 89"/>
                <a:gd name="T2" fmla="*/ 0 w 144"/>
                <a:gd name="T3" fmla="*/ 66 h 89"/>
                <a:gd name="T4" fmla="*/ 6 w 144"/>
                <a:gd name="T5" fmla="*/ 55 h 89"/>
                <a:gd name="T6" fmla="*/ 27 w 144"/>
                <a:gd name="T7" fmla="*/ 18 h 89"/>
                <a:gd name="T8" fmla="*/ 17 w 144"/>
                <a:gd name="T9" fmla="*/ 3 h 89"/>
                <a:gd name="T10" fmla="*/ 61 w 144"/>
                <a:gd name="T11" fmla="*/ 0 h 89"/>
                <a:gd name="T12" fmla="*/ 92 w 144"/>
                <a:gd name="T13" fmla="*/ 14 h 89"/>
                <a:gd name="T14" fmla="*/ 112 w 144"/>
                <a:gd name="T15" fmla="*/ 6 h 89"/>
                <a:gd name="T16" fmla="*/ 143 w 144"/>
                <a:gd name="T17" fmla="*/ 27 h 89"/>
                <a:gd name="T18" fmla="*/ 77 w 144"/>
                <a:gd name="T19" fmla="*/ 59 h 89"/>
                <a:gd name="T20" fmla="*/ 72 w 144"/>
                <a:gd name="T21" fmla="*/ 79 h 89"/>
                <a:gd name="T22" fmla="*/ 39 w 144"/>
                <a:gd name="T23" fmla="*/ 88 h 89"/>
                <a:gd name="T24" fmla="*/ 25 w 144"/>
                <a:gd name="T25" fmla="*/ 73 h 89"/>
                <a:gd name="T26" fmla="*/ 0 w 144"/>
                <a:gd name="T27" fmla="*/ 66 h 89"/>
                <a:gd name="T28" fmla="*/ 0 w 144"/>
                <a:gd name="T29" fmla="*/ 66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4"/>
                <a:gd name="T46" fmla="*/ 0 h 89"/>
                <a:gd name="T47" fmla="*/ 144 w 144"/>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4" h="89">
                  <a:moveTo>
                    <a:pt x="0" y="66"/>
                  </a:moveTo>
                  <a:lnTo>
                    <a:pt x="0" y="66"/>
                  </a:lnTo>
                  <a:lnTo>
                    <a:pt x="6" y="55"/>
                  </a:lnTo>
                  <a:lnTo>
                    <a:pt x="27" y="18"/>
                  </a:lnTo>
                  <a:lnTo>
                    <a:pt x="17" y="3"/>
                  </a:lnTo>
                  <a:lnTo>
                    <a:pt x="61" y="0"/>
                  </a:lnTo>
                  <a:lnTo>
                    <a:pt x="92" y="14"/>
                  </a:lnTo>
                  <a:lnTo>
                    <a:pt x="112" y="6"/>
                  </a:lnTo>
                  <a:lnTo>
                    <a:pt x="143" y="27"/>
                  </a:lnTo>
                  <a:lnTo>
                    <a:pt x="77" y="59"/>
                  </a:lnTo>
                  <a:lnTo>
                    <a:pt x="72" y="79"/>
                  </a:lnTo>
                  <a:lnTo>
                    <a:pt x="39" y="88"/>
                  </a:lnTo>
                  <a:lnTo>
                    <a:pt x="25" y="73"/>
                  </a:lnTo>
                  <a:lnTo>
                    <a:pt x="0" y="66"/>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65" name="Freeform 764"/>
            <p:cNvSpPr>
              <a:spLocks/>
            </p:cNvSpPr>
            <p:nvPr/>
          </p:nvSpPr>
          <p:spPr bwMode="auto">
            <a:xfrm>
              <a:off x="1403" y="2082"/>
              <a:ext cx="101" cy="51"/>
            </a:xfrm>
            <a:custGeom>
              <a:avLst/>
              <a:gdLst>
                <a:gd name="T0" fmla="*/ 0 w 101"/>
                <a:gd name="T1" fmla="*/ 38 h 51"/>
                <a:gd name="T2" fmla="*/ 0 w 101"/>
                <a:gd name="T3" fmla="*/ 38 h 51"/>
                <a:gd name="T4" fmla="*/ 23 w 101"/>
                <a:gd name="T5" fmla="*/ 45 h 51"/>
                <a:gd name="T6" fmla="*/ 29 w 101"/>
                <a:gd name="T7" fmla="*/ 37 h 51"/>
                <a:gd name="T8" fmla="*/ 34 w 101"/>
                <a:gd name="T9" fmla="*/ 50 h 51"/>
                <a:gd name="T10" fmla="*/ 45 w 101"/>
                <a:gd name="T11" fmla="*/ 45 h 51"/>
                <a:gd name="T12" fmla="*/ 43 w 101"/>
                <a:gd name="T13" fmla="*/ 33 h 51"/>
                <a:gd name="T14" fmla="*/ 54 w 101"/>
                <a:gd name="T15" fmla="*/ 39 h 51"/>
                <a:gd name="T16" fmla="*/ 60 w 101"/>
                <a:gd name="T17" fmla="*/ 21 h 51"/>
                <a:gd name="T18" fmla="*/ 69 w 101"/>
                <a:gd name="T19" fmla="*/ 20 h 51"/>
                <a:gd name="T20" fmla="*/ 72 w 101"/>
                <a:gd name="T21" fmla="*/ 37 h 51"/>
                <a:gd name="T22" fmla="*/ 94 w 101"/>
                <a:gd name="T23" fmla="*/ 24 h 51"/>
                <a:gd name="T24" fmla="*/ 87 w 101"/>
                <a:gd name="T25" fmla="*/ 10 h 51"/>
                <a:gd name="T26" fmla="*/ 100 w 101"/>
                <a:gd name="T27" fmla="*/ 7 h 51"/>
                <a:gd name="T28" fmla="*/ 86 w 101"/>
                <a:gd name="T29" fmla="*/ 0 h 51"/>
                <a:gd name="T30" fmla="*/ 50 w 101"/>
                <a:gd name="T31" fmla="*/ 7 h 51"/>
                <a:gd name="T32" fmla="*/ 0 w 101"/>
                <a:gd name="T33" fmla="*/ 38 h 51"/>
                <a:gd name="T34" fmla="*/ 0 w 101"/>
                <a:gd name="T35" fmla="*/ 38 h 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51"/>
                <a:gd name="T56" fmla="*/ 101 w 101"/>
                <a:gd name="T57" fmla="*/ 51 h 5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51">
                  <a:moveTo>
                    <a:pt x="0" y="38"/>
                  </a:moveTo>
                  <a:lnTo>
                    <a:pt x="0" y="38"/>
                  </a:lnTo>
                  <a:lnTo>
                    <a:pt x="23" y="45"/>
                  </a:lnTo>
                  <a:lnTo>
                    <a:pt x="29" y="37"/>
                  </a:lnTo>
                  <a:lnTo>
                    <a:pt x="34" y="50"/>
                  </a:lnTo>
                  <a:lnTo>
                    <a:pt x="45" y="45"/>
                  </a:lnTo>
                  <a:lnTo>
                    <a:pt x="43" y="33"/>
                  </a:lnTo>
                  <a:lnTo>
                    <a:pt x="54" y="39"/>
                  </a:lnTo>
                  <a:lnTo>
                    <a:pt x="60" y="21"/>
                  </a:lnTo>
                  <a:lnTo>
                    <a:pt x="69" y="20"/>
                  </a:lnTo>
                  <a:lnTo>
                    <a:pt x="72" y="37"/>
                  </a:lnTo>
                  <a:lnTo>
                    <a:pt x="94" y="24"/>
                  </a:lnTo>
                  <a:lnTo>
                    <a:pt x="87" y="10"/>
                  </a:lnTo>
                  <a:lnTo>
                    <a:pt x="100" y="7"/>
                  </a:lnTo>
                  <a:lnTo>
                    <a:pt x="86" y="0"/>
                  </a:lnTo>
                  <a:lnTo>
                    <a:pt x="50" y="7"/>
                  </a:lnTo>
                  <a:lnTo>
                    <a:pt x="0" y="38"/>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66" name="Freeform 765"/>
            <p:cNvSpPr>
              <a:spLocks/>
            </p:cNvSpPr>
            <p:nvPr/>
          </p:nvSpPr>
          <p:spPr bwMode="auto">
            <a:xfrm>
              <a:off x="1457" y="2196"/>
              <a:ext cx="247" cy="122"/>
            </a:xfrm>
            <a:custGeom>
              <a:avLst/>
              <a:gdLst>
                <a:gd name="T0" fmla="*/ 0 w 247"/>
                <a:gd name="T1" fmla="*/ 39 h 122"/>
                <a:gd name="T2" fmla="*/ 0 w 247"/>
                <a:gd name="T3" fmla="*/ 39 h 122"/>
                <a:gd name="T4" fmla="*/ 12 w 247"/>
                <a:gd name="T5" fmla="*/ 29 h 122"/>
                <a:gd name="T6" fmla="*/ 6 w 247"/>
                <a:gd name="T7" fmla="*/ 24 h 122"/>
                <a:gd name="T8" fmla="*/ 35 w 247"/>
                <a:gd name="T9" fmla="*/ 7 h 122"/>
                <a:gd name="T10" fmla="*/ 59 w 247"/>
                <a:gd name="T11" fmla="*/ 0 h 122"/>
                <a:gd name="T12" fmla="*/ 67 w 247"/>
                <a:gd name="T13" fmla="*/ 13 h 122"/>
                <a:gd name="T14" fmla="*/ 59 w 247"/>
                <a:gd name="T15" fmla="*/ 20 h 122"/>
                <a:gd name="T16" fmla="*/ 81 w 247"/>
                <a:gd name="T17" fmla="*/ 10 h 122"/>
                <a:gd name="T18" fmla="*/ 105 w 247"/>
                <a:gd name="T19" fmla="*/ 18 h 122"/>
                <a:gd name="T20" fmla="*/ 96 w 247"/>
                <a:gd name="T21" fmla="*/ 27 h 122"/>
                <a:gd name="T22" fmla="*/ 124 w 247"/>
                <a:gd name="T23" fmla="*/ 21 h 122"/>
                <a:gd name="T24" fmla="*/ 116 w 247"/>
                <a:gd name="T25" fmla="*/ 11 h 122"/>
                <a:gd name="T26" fmla="*/ 127 w 247"/>
                <a:gd name="T27" fmla="*/ 12 h 122"/>
                <a:gd name="T28" fmla="*/ 149 w 247"/>
                <a:gd name="T29" fmla="*/ 44 h 122"/>
                <a:gd name="T30" fmla="*/ 157 w 247"/>
                <a:gd name="T31" fmla="*/ 37 h 122"/>
                <a:gd name="T32" fmla="*/ 148 w 247"/>
                <a:gd name="T33" fmla="*/ 1 h 122"/>
                <a:gd name="T34" fmla="*/ 166 w 247"/>
                <a:gd name="T35" fmla="*/ 2 h 122"/>
                <a:gd name="T36" fmla="*/ 186 w 247"/>
                <a:gd name="T37" fmla="*/ 14 h 122"/>
                <a:gd name="T38" fmla="*/ 197 w 247"/>
                <a:gd name="T39" fmla="*/ 58 h 122"/>
                <a:gd name="T40" fmla="*/ 246 w 247"/>
                <a:gd name="T41" fmla="*/ 80 h 122"/>
                <a:gd name="T42" fmla="*/ 245 w 247"/>
                <a:gd name="T43" fmla="*/ 91 h 122"/>
                <a:gd name="T44" fmla="*/ 232 w 247"/>
                <a:gd name="T45" fmla="*/ 86 h 122"/>
                <a:gd name="T46" fmla="*/ 217 w 247"/>
                <a:gd name="T47" fmla="*/ 94 h 122"/>
                <a:gd name="T48" fmla="*/ 238 w 247"/>
                <a:gd name="T49" fmla="*/ 104 h 122"/>
                <a:gd name="T50" fmla="*/ 219 w 247"/>
                <a:gd name="T51" fmla="*/ 114 h 122"/>
                <a:gd name="T52" fmla="*/ 187 w 247"/>
                <a:gd name="T53" fmla="*/ 109 h 122"/>
                <a:gd name="T54" fmla="*/ 169 w 247"/>
                <a:gd name="T55" fmla="*/ 97 h 122"/>
                <a:gd name="T56" fmla="*/ 128 w 247"/>
                <a:gd name="T57" fmla="*/ 117 h 122"/>
                <a:gd name="T58" fmla="*/ 78 w 247"/>
                <a:gd name="T59" fmla="*/ 121 h 122"/>
                <a:gd name="T60" fmla="*/ 68 w 247"/>
                <a:gd name="T61" fmla="*/ 102 h 122"/>
                <a:gd name="T62" fmla="*/ 40 w 247"/>
                <a:gd name="T63" fmla="*/ 100 h 122"/>
                <a:gd name="T64" fmla="*/ 22 w 247"/>
                <a:gd name="T65" fmla="*/ 84 h 122"/>
                <a:gd name="T66" fmla="*/ 93 w 247"/>
                <a:gd name="T67" fmla="*/ 74 h 122"/>
                <a:gd name="T68" fmla="*/ 19 w 247"/>
                <a:gd name="T69" fmla="*/ 69 h 122"/>
                <a:gd name="T70" fmla="*/ 9 w 247"/>
                <a:gd name="T71" fmla="*/ 59 h 122"/>
                <a:gd name="T72" fmla="*/ 47 w 247"/>
                <a:gd name="T73" fmla="*/ 48 h 122"/>
                <a:gd name="T74" fmla="*/ 12 w 247"/>
                <a:gd name="T75" fmla="*/ 49 h 122"/>
                <a:gd name="T76" fmla="*/ 15 w 247"/>
                <a:gd name="T77" fmla="*/ 44 h 122"/>
                <a:gd name="T78" fmla="*/ 0 w 247"/>
                <a:gd name="T79" fmla="*/ 39 h 122"/>
                <a:gd name="T80" fmla="*/ 0 w 247"/>
                <a:gd name="T81" fmla="*/ 39 h 1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7"/>
                <a:gd name="T124" fmla="*/ 0 h 122"/>
                <a:gd name="T125" fmla="*/ 247 w 247"/>
                <a:gd name="T126" fmla="*/ 122 h 1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7" h="122">
                  <a:moveTo>
                    <a:pt x="0" y="39"/>
                  </a:moveTo>
                  <a:lnTo>
                    <a:pt x="0" y="39"/>
                  </a:lnTo>
                  <a:lnTo>
                    <a:pt x="12" y="29"/>
                  </a:lnTo>
                  <a:lnTo>
                    <a:pt x="6" y="24"/>
                  </a:lnTo>
                  <a:lnTo>
                    <a:pt x="35" y="7"/>
                  </a:lnTo>
                  <a:lnTo>
                    <a:pt x="59" y="0"/>
                  </a:lnTo>
                  <a:lnTo>
                    <a:pt x="67" y="13"/>
                  </a:lnTo>
                  <a:lnTo>
                    <a:pt x="59" y="20"/>
                  </a:lnTo>
                  <a:lnTo>
                    <a:pt x="81" y="10"/>
                  </a:lnTo>
                  <a:lnTo>
                    <a:pt x="105" y="18"/>
                  </a:lnTo>
                  <a:lnTo>
                    <a:pt x="96" y="27"/>
                  </a:lnTo>
                  <a:lnTo>
                    <a:pt x="124" y="21"/>
                  </a:lnTo>
                  <a:lnTo>
                    <a:pt x="116" y="11"/>
                  </a:lnTo>
                  <a:lnTo>
                    <a:pt x="127" y="12"/>
                  </a:lnTo>
                  <a:lnTo>
                    <a:pt x="149" y="44"/>
                  </a:lnTo>
                  <a:lnTo>
                    <a:pt x="157" y="37"/>
                  </a:lnTo>
                  <a:lnTo>
                    <a:pt x="148" y="1"/>
                  </a:lnTo>
                  <a:lnTo>
                    <a:pt x="166" y="2"/>
                  </a:lnTo>
                  <a:lnTo>
                    <a:pt x="186" y="14"/>
                  </a:lnTo>
                  <a:lnTo>
                    <a:pt x="197" y="58"/>
                  </a:lnTo>
                  <a:lnTo>
                    <a:pt x="246" y="80"/>
                  </a:lnTo>
                  <a:lnTo>
                    <a:pt x="245" y="91"/>
                  </a:lnTo>
                  <a:lnTo>
                    <a:pt x="232" y="86"/>
                  </a:lnTo>
                  <a:lnTo>
                    <a:pt x="217" y="94"/>
                  </a:lnTo>
                  <a:lnTo>
                    <a:pt x="238" y="104"/>
                  </a:lnTo>
                  <a:lnTo>
                    <a:pt x="219" y="114"/>
                  </a:lnTo>
                  <a:lnTo>
                    <a:pt x="187" y="109"/>
                  </a:lnTo>
                  <a:lnTo>
                    <a:pt x="169" y="97"/>
                  </a:lnTo>
                  <a:lnTo>
                    <a:pt x="128" y="117"/>
                  </a:lnTo>
                  <a:lnTo>
                    <a:pt x="78" y="121"/>
                  </a:lnTo>
                  <a:lnTo>
                    <a:pt x="68" y="102"/>
                  </a:lnTo>
                  <a:lnTo>
                    <a:pt x="40" y="100"/>
                  </a:lnTo>
                  <a:lnTo>
                    <a:pt x="22" y="84"/>
                  </a:lnTo>
                  <a:lnTo>
                    <a:pt x="93" y="74"/>
                  </a:lnTo>
                  <a:lnTo>
                    <a:pt x="19" y="69"/>
                  </a:lnTo>
                  <a:lnTo>
                    <a:pt x="9" y="59"/>
                  </a:lnTo>
                  <a:lnTo>
                    <a:pt x="47" y="48"/>
                  </a:lnTo>
                  <a:lnTo>
                    <a:pt x="12" y="49"/>
                  </a:lnTo>
                  <a:lnTo>
                    <a:pt x="15" y="44"/>
                  </a:lnTo>
                  <a:lnTo>
                    <a:pt x="0" y="39"/>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67" name="Freeform 766"/>
            <p:cNvSpPr>
              <a:spLocks/>
            </p:cNvSpPr>
            <p:nvPr/>
          </p:nvSpPr>
          <p:spPr bwMode="auto">
            <a:xfrm>
              <a:off x="1475" y="2101"/>
              <a:ext cx="168" cy="68"/>
            </a:xfrm>
            <a:custGeom>
              <a:avLst/>
              <a:gdLst>
                <a:gd name="T0" fmla="*/ 0 w 168"/>
                <a:gd name="T1" fmla="*/ 44 h 68"/>
                <a:gd name="T2" fmla="*/ 0 w 168"/>
                <a:gd name="T3" fmla="*/ 44 h 68"/>
                <a:gd name="T4" fmla="*/ 6 w 168"/>
                <a:gd name="T5" fmla="*/ 38 h 68"/>
                <a:gd name="T6" fmla="*/ 34 w 168"/>
                <a:gd name="T7" fmla="*/ 32 h 68"/>
                <a:gd name="T8" fmla="*/ 6 w 168"/>
                <a:gd name="T9" fmla="*/ 33 h 68"/>
                <a:gd name="T10" fmla="*/ 39 w 168"/>
                <a:gd name="T11" fmla="*/ 27 h 68"/>
                <a:gd name="T12" fmla="*/ 12 w 168"/>
                <a:gd name="T13" fmla="*/ 27 h 68"/>
                <a:gd name="T14" fmla="*/ 14 w 168"/>
                <a:gd name="T15" fmla="*/ 19 h 68"/>
                <a:gd name="T16" fmla="*/ 40 w 168"/>
                <a:gd name="T17" fmla="*/ 19 h 68"/>
                <a:gd name="T18" fmla="*/ 22 w 168"/>
                <a:gd name="T19" fmla="*/ 17 h 68"/>
                <a:gd name="T20" fmla="*/ 36 w 168"/>
                <a:gd name="T21" fmla="*/ 10 h 68"/>
                <a:gd name="T22" fmla="*/ 70 w 168"/>
                <a:gd name="T23" fmla="*/ 19 h 68"/>
                <a:gd name="T24" fmla="*/ 87 w 168"/>
                <a:gd name="T25" fmla="*/ 36 h 68"/>
                <a:gd name="T26" fmla="*/ 118 w 168"/>
                <a:gd name="T27" fmla="*/ 37 h 68"/>
                <a:gd name="T28" fmla="*/ 106 w 168"/>
                <a:gd name="T29" fmla="*/ 27 h 68"/>
                <a:gd name="T30" fmla="*/ 113 w 168"/>
                <a:gd name="T31" fmla="*/ 20 h 68"/>
                <a:gd name="T32" fmla="*/ 99 w 168"/>
                <a:gd name="T33" fmla="*/ 12 h 68"/>
                <a:gd name="T34" fmla="*/ 121 w 168"/>
                <a:gd name="T35" fmla="*/ 0 h 68"/>
                <a:gd name="T36" fmla="*/ 131 w 168"/>
                <a:gd name="T37" fmla="*/ 14 h 68"/>
                <a:gd name="T38" fmla="*/ 124 w 168"/>
                <a:gd name="T39" fmla="*/ 21 h 68"/>
                <a:gd name="T40" fmla="*/ 136 w 168"/>
                <a:gd name="T41" fmla="*/ 23 h 68"/>
                <a:gd name="T42" fmla="*/ 132 w 168"/>
                <a:gd name="T43" fmla="*/ 31 h 68"/>
                <a:gd name="T44" fmla="*/ 147 w 168"/>
                <a:gd name="T45" fmla="*/ 33 h 68"/>
                <a:gd name="T46" fmla="*/ 156 w 168"/>
                <a:gd name="T47" fmla="*/ 23 h 68"/>
                <a:gd name="T48" fmla="*/ 167 w 168"/>
                <a:gd name="T49" fmla="*/ 35 h 68"/>
                <a:gd name="T50" fmla="*/ 158 w 168"/>
                <a:gd name="T51" fmla="*/ 50 h 68"/>
                <a:gd name="T52" fmla="*/ 122 w 168"/>
                <a:gd name="T53" fmla="*/ 49 h 68"/>
                <a:gd name="T54" fmla="*/ 67 w 168"/>
                <a:gd name="T55" fmla="*/ 67 h 68"/>
                <a:gd name="T56" fmla="*/ 45 w 168"/>
                <a:gd name="T57" fmla="*/ 57 h 68"/>
                <a:gd name="T58" fmla="*/ 91 w 168"/>
                <a:gd name="T59" fmla="*/ 42 h 68"/>
                <a:gd name="T60" fmla="*/ 51 w 168"/>
                <a:gd name="T61" fmla="*/ 51 h 68"/>
                <a:gd name="T62" fmla="*/ 58 w 168"/>
                <a:gd name="T63" fmla="*/ 39 h 68"/>
                <a:gd name="T64" fmla="*/ 38 w 168"/>
                <a:gd name="T65" fmla="*/ 52 h 68"/>
                <a:gd name="T66" fmla="*/ 14 w 168"/>
                <a:gd name="T67" fmla="*/ 49 h 68"/>
                <a:gd name="T68" fmla="*/ 0 w 168"/>
                <a:gd name="T69" fmla="*/ 44 h 68"/>
                <a:gd name="T70" fmla="*/ 0 w 168"/>
                <a:gd name="T71" fmla="*/ 44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8"/>
                <a:gd name="T109" fmla="*/ 0 h 68"/>
                <a:gd name="T110" fmla="*/ 168 w 168"/>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8" h="68">
                  <a:moveTo>
                    <a:pt x="0" y="44"/>
                  </a:moveTo>
                  <a:lnTo>
                    <a:pt x="0" y="44"/>
                  </a:lnTo>
                  <a:lnTo>
                    <a:pt x="6" y="38"/>
                  </a:lnTo>
                  <a:lnTo>
                    <a:pt x="34" y="32"/>
                  </a:lnTo>
                  <a:lnTo>
                    <a:pt x="6" y="33"/>
                  </a:lnTo>
                  <a:lnTo>
                    <a:pt x="39" y="27"/>
                  </a:lnTo>
                  <a:lnTo>
                    <a:pt x="12" y="27"/>
                  </a:lnTo>
                  <a:lnTo>
                    <a:pt x="14" y="19"/>
                  </a:lnTo>
                  <a:lnTo>
                    <a:pt x="40" y="19"/>
                  </a:lnTo>
                  <a:lnTo>
                    <a:pt x="22" y="17"/>
                  </a:lnTo>
                  <a:lnTo>
                    <a:pt x="36" y="10"/>
                  </a:lnTo>
                  <a:lnTo>
                    <a:pt x="70" y="19"/>
                  </a:lnTo>
                  <a:lnTo>
                    <a:pt x="87" y="36"/>
                  </a:lnTo>
                  <a:lnTo>
                    <a:pt x="118" y="37"/>
                  </a:lnTo>
                  <a:lnTo>
                    <a:pt x="106" y="27"/>
                  </a:lnTo>
                  <a:lnTo>
                    <a:pt x="113" y="20"/>
                  </a:lnTo>
                  <a:lnTo>
                    <a:pt x="99" y="12"/>
                  </a:lnTo>
                  <a:lnTo>
                    <a:pt x="121" y="0"/>
                  </a:lnTo>
                  <a:lnTo>
                    <a:pt x="131" y="14"/>
                  </a:lnTo>
                  <a:lnTo>
                    <a:pt x="124" y="21"/>
                  </a:lnTo>
                  <a:lnTo>
                    <a:pt x="136" y="23"/>
                  </a:lnTo>
                  <a:lnTo>
                    <a:pt x="132" y="31"/>
                  </a:lnTo>
                  <a:lnTo>
                    <a:pt x="147" y="33"/>
                  </a:lnTo>
                  <a:lnTo>
                    <a:pt x="156" y="23"/>
                  </a:lnTo>
                  <a:lnTo>
                    <a:pt x="167" y="35"/>
                  </a:lnTo>
                  <a:lnTo>
                    <a:pt x="158" y="50"/>
                  </a:lnTo>
                  <a:lnTo>
                    <a:pt x="122" y="49"/>
                  </a:lnTo>
                  <a:lnTo>
                    <a:pt x="67" y="67"/>
                  </a:lnTo>
                  <a:lnTo>
                    <a:pt x="45" y="57"/>
                  </a:lnTo>
                  <a:lnTo>
                    <a:pt x="91" y="42"/>
                  </a:lnTo>
                  <a:lnTo>
                    <a:pt x="51" y="51"/>
                  </a:lnTo>
                  <a:lnTo>
                    <a:pt x="58" y="39"/>
                  </a:lnTo>
                  <a:lnTo>
                    <a:pt x="38" y="52"/>
                  </a:lnTo>
                  <a:lnTo>
                    <a:pt x="14" y="49"/>
                  </a:lnTo>
                  <a:lnTo>
                    <a:pt x="0" y="44"/>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68" name="Freeform 767"/>
            <p:cNvSpPr>
              <a:spLocks/>
            </p:cNvSpPr>
            <p:nvPr/>
          </p:nvSpPr>
          <p:spPr bwMode="auto">
            <a:xfrm>
              <a:off x="1641" y="2031"/>
              <a:ext cx="87" cy="43"/>
            </a:xfrm>
            <a:custGeom>
              <a:avLst/>
              <a:gdLst>
                <a:gd name="T0" fmla="*/ 0 w 87"/>
                <a:gd name="T1" fmla="*/ 0 h 43"/>
                <a:gd name="T2" fmla="*/ 0 w 87"/>
                <a:gd name="T3" fmla="*/ 0 h 43"/>
                <a:gd name="T4" fmla="*/ 7 w 87"/>
                <a:gd name="T5" fmla="*/ 15 h 43"/>
                <a:gd name="T6" fmla="*/ 28 w 87"/>
                <a:gd name="T7" fmla="*/ 15 h 43"/>
                <a:gd name="T8" fmla="*/ 21 w 87"/>
                <a:gd name="T9" fmla="*/ 18 h 43"/>
                <a:gd name="T10" fmla="*/ 26 w 87"/>
                <a:gd name="T11" fmla="*/ 23 h 43"/>
                <a:gd name="T12" fmla="*/ 8 w 87"/>
                <a:gd name="T13" fmla="*/ 25 h 43"/>
                <a:gd name="T14" fmla="*/ 38 w 87"/>
                <a:gd name="T15" fmla="*/ 31 h 43"/>
                <a:gd name="T16" fmla="*/ 86 w 87"/>
                <a:gd name="T17" fmla="*/ 42 h 43"/>
                <a:gd name="T18" fmla="*/ 79 w 87"/>
                <a:gd name="T19" fmla="*/ 17 h 43"/>
                <a:gd name="T20" fmla="*/ 44 w 87"/>
                <a:gd name="T21" fmla="*/ 3 h 43"/>
                <a:gd name="T22" fmla="*/ 33 w 87"/>
                <a:gd name="T23" fmla="*/ 9 h 43"/>
                <a:gd name="T24" fmla="*/ 30 w 87"/>
                <a:gd name="T25" fmla="*/ 0 h 43"/>
                <a:gd name="T26" fmla="*/ 0 w 87"/>
                <a:gd name="T27" fmla="*/ 0 h 43"/>
                <a:gd name="T28" fmla="*/ 0 w 87"/>
                <a:gd name="T29" fmla="*/ 0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43"/>
                <a:gd name="T47" fmla="*/ 87 w 87"/>
                <a:gd name="T48" fmla="*/ 43 h 4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43">
                  <a:moveTo>
                    <a:pt x="0" y="0"/>
                  </a:moveTo>
                  <a:lnTo>
                    <a:pt x="0" y="0"/>
                  </a:lnTo>
                  <a:lnTo>
                    <a:pt x="7" y="15"/>
                  </a:lnTo>
                  <a:lnTo>
                    <a:pt x="28" y="15"/>
                  </a:lnTo>
                  <a:lnTo>
                    <a:pt x="21" y="18"/>
                  </a:lnTo>
                  <a:lnTo>
                    <a:pt x="26" y="23"/>
                  </a:lnTo>
                  <a:lnTo>
                    <a:pt x="8" y="25"/>
                  </a:lnTo>
                  <a:lnTo>
                    <a:pt x="38" y="31"/>
                  </a:lnTo>
                  <a:lnTo>
                    <a:pt x="86" y="42"/>
                  </a:lnTo>
                  <a:lnTo>
                    <a:pt x="79" y="17"/>
                  </a:lnTo>
                  <a:lnTo>
                    <a:pt x="44" y="3"/>
                  </a:lnTo>
                  <a:lnTo>
                    <a:pt x="33" y="9"/>
                  </a:lnTo>
                  <a:lnTo>
                    <a:pt x="30" y="0"/>
                  </a:lnTo>
                  <a:lnTo>
                    <a:pt x="0" y="0"/>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69" name="Freeform 768"/>
            <p:cNvSpPr>
              <a:spLocks/>
            </p:cNvSpPr>
            <p:nvPr/>
          </p:nvSpPr>
          <p:spPr bwMode="auto">
            <a:xfrm>
              <a:off x="1681" y="2110"/>
              <a:ext cx="70" cy="43"/>
            </a:xfrm>
            <a:custGeom>
              <a:avLst/>
              <a:gdLst>
                <a:gd name="T0" fmla="*/ 0 w 70"/>
                <a:gd name="T1" fmla="*/ 28 h 43"/>
                <a:gd name="T2" fmla="*/ 0 w 70"/>
                <a:gd name="T3" fmla="*/ 28 h 43"/>
                <a:gd name="T4" fmla="*/ 8 w 70"/>
                <a:gd name="T5" fmla="*/ 18 h 43"/>
                <a:gd name="T6" fmla="*/ 21 w 70"/>
                <a:gd name="T7" fmla="*/ 19 h 43"/>
                <a:gd name="T8" fmla="*/ 4 w 70"/>
                <a:gd name="T9" fmla="*/ 9 h 43"/>
                <a:gd name="T10" fmla="*/ 8 w 70"/>
                <a:gd name="T11" fmla="*/ 3 h 43"/>
                <a:gd name="T12" fmla="*/ 36 w 70"/>
                <a:gd name="T13" fmla="*/ 17 h 43"/>
                <a:gd name="T14" fmla="*/ 20 w 70"/>
                <a:gd name="T15" fmla="*/ 2 h 43"/>
                <a:gd name="T16" fmla="*/ 62 w 70"/>
                <a:gd name="T17" fmla="*/ 0 h 43"/>
                <a:gd name="T18" fmla="*/ 69 w 70"/>
                <a:gd name="T19" fmla="*/ 31 h 43"/>
                <a:gd name="T20" fmla="*/ 61 w 70"/>
                <a:gd name="T21" fmla="*/ 26 h 43"/>
                <a:gd name="T22" fmla="*/ 60 w 70"/>
                <a:gd name="T23" fmla="*/ 42 h 43"/>
                <a:gd name="T24" fmla="*/ 27 w 70"/>
                <a:gd name="T25" fmla="*/ 41 h 43"/>
                <a:gd name="T26" fmla="*/ 33 w 70"/>
                <a:gd name="T27" fmla="*/ 36 h 43"/>
                <a:gd name="T28" fmla="*/ 24 w 70"/>
                <a:gd name="T29" fmla="*/ 30 h 43"/>
                <a:gd name="T30" fmla="*/ 48 w 70"/>
                <a:gd name="T31" fmla="*/ 22 h 43"/>
                <a:gd name="T32" fmla="*/ 0 w 70"/>
                <a:gd name="T33" fmla="*/ 28 h 43"/>
                <a:gd name="T34" fmla="*/ 0 w 70"/>
                <a:gd name="T35" fmla="*/ 2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0"/>
                <a:gd name="T55" fmla="*/ 0 h 43"/>
                <a:gd name="T56" fmla="*/ 70 w 70"/>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0" h="43">
                  <a:moveTo>
                    <a:pt x="0" y="28"/>
                  </a:moveTo>
                  <a:lnTo>
                    <a:pt x="0" y="28"/>
                  </a:lnTo>
                  <a:lnTo>
                    <a:pt x="8" y="18"/>
                  </a:lnTo>
                  <a:lnTo>
                    <a:pt x="21" y="19"/>
                  </a:lnTo>
                  <a:lnTo>
                    <a:pt x="4" y="9"/>
                  </a:lnTo>
                  <a:lnTo>
                    <a:pt x="8" y="3"/>
                  </a:lnTo>
                  <a:lnTo>
                    <a:pt x="36" y="17"/>
                  </a:lnTo>
                  <a:lnTo>
                    <a:pt x="20" y="2"/>
                  </a:lnTo>
                  <a:lnTo>
                    <a:pt x="62" y="0"/>
                  </a:lnTo>
                  <a:lnTo>
                    <a:pt x="69" y="31"/>
                  </a:lnTo>
                  <a:lnTo>
                    <a:pt x="61" y="26"/>
                  </a:lnTo>
                  <a:lnTo>
                    <a:pt x="60" y="42"/>
                  </a:lnTo>
                  <a:lnTo>
                    <a:pt x="27" y="41"/>
                  </a:lnTo>
                  <a:lnTo>
                    <a:pt x="33" y="36"/>
                  </a:lnTo>
                  <a:lnTo>
                    <a:pt x="24" y="30"/>
                  </a:lnTo>
                  <a:lnTo>
                    <a:pt x="48" y="22"/>
                  </a:lnTo>
                  <a:lnTo>
                    <a:pt x="0" y="28"/>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70" name="Freeform 769"/>
            <p:cNvSpPr>
              <a:spLocks/>
            </p:cNvSpPr>
            <p:nvPr/>
          </p:nvSpPr>
          <p:spPr bwMode="auto">
            <a:xfrm>
              <a:off x="1683" y="2183"/>
              <a:ext cx="82" cy="67"/>
            </a:xfrm>
            <a:custGeom>
              <a:avLst/>
              <a:gdLst>
                <a:gd name="T0" fmla="*/ 0 w 82"/>
                <a:gd name="T1" fmla="*/ 33 h 67"/>
                <a:gd name="T2" fmla="*/ 0 w 82"/>
                <a:gd name="T3" fmla="*/ 33 h 67"/>
                <a:gd name="T4" fmla="*/ 4 w 82"/>
                <a:gd name="T5" fmla="*/ 24 h 67"/>
                <a:gd name="T6" fmla="*/ 31 w 82"/>
                <a:gd name="T7" fmla="*/ 29 h 67"/>
                <a:gd name="T8" fmla="*/ 27 w 82"/>
                <a:gd name="T9" fmla="*/ 19 h 67"/>
                <a:gd name="T10" fmla="*/ 34 w 82"/>
                <a:gd name="T11" fmla="*/ 19 h 67"/>
                <a:gd name="T12" fmla="*/ 16 w 82"/>
                <a:gd name="T13" fmla="*/ 14 h 67"/>
                <a:gd name="T14" fmla="*/ 25 w 82"/>
                <a:gd name="T15" fmla="*/ 11 h 67"/>
                <a:gd name="T16" fmla="*/ 17 w 82"/>
                <a:gd name="T17" fmla="*/ 5 h 67"/>
                <a:gd name="T18" fmla="*/ 68 w 82"/>
                <a:gd name="T19" fmla="*/ 0 h 67"/>
                <a:gd name="T20" fmla="*/ 70 w 82"/>
                <a:gd name="T21" fmla="*/ 14 h 67"/>
                <a:gd name="T22" fmla="*/ 54 w 82"/>
                <a:gd name="T23" fmla="*/ 26 h 67"/>
                <a:gd name="T24" fmla="*/ 78 w 82"/>
                <a:gd name="T25" fmla="*/ 29 h 67"/>
                <a:gd name="T26" fmla="*/ 81 w 82"/>
                <a:gd name="T27" fmla="*/ 53 h 67"/>
                <a:gd name="T28" fmla="*/ 46 w 82"/>
                <a:gd name="T29" fmla="*/ 66 h 67"/>
                <a:gd name="T30" fmla="*/ 31 w 82"/>
                <a:gd name="T31" fmla="*/ 47 h 67"/>
                <a:gd name="T32" fmla="*/ 0 w 82"/>
                <a:gd name="T33" fmla="*/ 33 h 67"/>
                <a:gd name="T34" fmla="*/ 0 w 82"/>
                <a:gd name="T35" fmla="*/ 33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2"/>
                <a:gd name="T55" fmla="*/ 0 h 67"/>
                <a:gd name="T56" fmla="*/ 82 w 82"/>
                <a:gd name="T57" fmla="*/ 67 h 6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2" h="67">
                  <a:moveTo>
                    <a:pt x="0" y="33"/>
                  </a:moveTo>
                  <a:lnTo>
                    <a:pt x="0" y="33"/>
                  </a:lnTo>
                  <a:lnTo>
                    <a:pt x="4" y="24"/>
                  </a:lnTo>
                  <a:lnTo>
                    <a:pt x="31" y="29"/>
                  </a:lnTo>
                  <a:lnTo>
                    <a:pt x="27" y="19"/>
                  </a:lnTo>
                  <a:lnTo>
                    <a:pt x="34" y="19"/>
                  </a:lnTo>
                  <a:lnTo>
                    <a:pt x="16" y="14"/>
                  </a:lnTo>
                  <a:lnTo>
                    <a:pt x="25" y="11"/>
                  </a:lnTo>
                  <a:lnTo>
                    <a:pt x="17" y="5"/>
                  </a:lnTo>
                  <a:lnTo>
                    <a:pt x="68" y="0"/>
                  </a:lnTo>
                  <a:lnTo>
                    <a:pt x="70" y="14"/>
                  </a:lnTo>
                  <a:lnTo>
                    <a:pt x="54" y="26"/>
                  </a:lnTo>
                  <a:lnTo>
                    <a:pt x="78" y="29"/>
                  </a:lnTo>
                  <a:lnTo>
                    <a:pt x="81" y="53"/>
                  </a:lnTo>
                  <a:lnTo>
                    <a:pt x="46" y="66"/>
                  </a:lnTo>
                  <a:lnTo>
                    <a:pt x="31" y="47"/>
                  </a:lnTo>
                  <a:lnTo>
                    <a:pt x="0" y="33"/>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71" name="Freeform 770"/>
            <p:cNvSpPr>
              <a:spLocks/>
            </p:cNvSpPr>
            <p:nvPr/>
          </p:nvSpPr>
          <p:spPr bwMode="auto">
            <a:xfrm>
              <a:off x="1740" y="2042"/>
              <a:ext cx="49" cy="34"/>
            </a:xfrm>
            <a:custGeom>
              <a:avLst/>
              <a:gdLst>
                <a:gd name="T0" fmla="*/ 0 w 49"/>
                <a:gd name="T1" fmla="*/ 0 h 34"/>
                <a:gd name="T2" fmla="*/ 0 w 49"/>
                <a:gd name="T3" fmla="*/ 0 h 34"/>
                <a:gd name="T4" fmla="*/ 5 w 49"/>
                <a:gd name="T5" fmla="*/ 20 h 34"/>
                <a:gd name="T6" fmla="*/ 20 w 49"/>
                <a:gd name="T7" fmla="*/ 21 h 34"/>
                <a:gd name="T8" fmla="*/ 7 w 49"/>
                <a:gd name="T9" fmla="*/ 24 h 34"/>
                <a:gd name="T10" fmla="*/ 14 w 49"/>
                <a:gd name="T11" fmla="*/ 33 h 34"/>
                <a:gd name="T12" fmla="*/ 44 w 49"/>
                <a:gd name="T13" fmla="*/ 28 h 34"/>
                <a:gd name="T14" fmla="*/ 48 w 49"/>
                <a:gd name="T15" fmla="*/ 16 h 34"/>
                <a:gd name="T16" fmla="*/ 0 w 49"/>
                <a:gd name="T17" fmla="*/ 0 h 34"/>
                <a:gd name="T18" fmla="*/ 0 w 49"/>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34"/>
                <a:gd name="T32" fmla="*/ 49 w 49"/>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34">
                  <a:moveTo>
                    <a:pt x="0" y="0"/>
                  </a:moveTo>
                  <a:lnTo>
                    <a:pt x="0" y="0"/>
                  </a:lnTo>
                  <a:lnTo>
                    <a:pt x="5" y="20"/>
                  </a:lnTo>
                  <a:lnTo>
                    <a:pt x="20" y="21"/>
                  </a:lnTo>
                  <a:lnTo>
                    <a:pt x="7" y="24"/>
                  </a:lnTo>
                  <a:lnTo>
                    <a:pt x="14" y="33"/>
                  </a:lnTo>
                  <a:lnTo>
                    <a:pt x="44" y="28"/>
                  </a:lnTo>
                  <a:lnTo>
                    <a:pt x="48" y="16"/>
                  </a:lnTo>
                  <a:lnTo>
                    <a:pt x="0" y="0"/>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72" name="Freeform 771"/>
            <p:cNvSpPr>
              <a:spLocks/>
            </p:cNvSpPr>
            <p:nvPr/>
          </p:nvSpPr>
          <p:spPr bwMode="auto">
            <a:xfrm>
              <a:off x="1757" y="2093"/>
              <a:ext cx="236" cy="76"/>
            </a:xfrm>
            <a:custGeom>
              <a:avLst/>
              <a:gdLst>
                <a:gd name="T0" fmla="*/ 0 w 236"/>
                <a:gd name="T1" fmla="*/ 12 h 76"/>
                <a:gd name="T2" fmla="*/ 0 w 236"/>
                <a:gd name="T3" fmla="*/ 12 h 76"/>
                <a:gd name="T4" fmla="*/ 15 w 236"/>
                <a:gd name="T5" fmla="*/ 0 h 76"/>
                <a:gd name="T6" fmla="*/ 35 w 236"/>
                <a:gd name="T7" fmla="*/ 7 h 76"/>
                <a:gd name="T8" fmla="*/ 49 w 236"/>
                <a:gd name="T9" fmla="*/ 12 h 76"/>
                <a:gd name="T10" fmla="*/ 45 w 236"/>
                <a:gd name="T11" fmla="*/ 21 h 76"/>
                <a:gd name="T12" fmla="*/ 72 w 236"/>
                <a:gd name="T13" fmla="*/ 13 h 76"/>
                <a:gd name="T14" fmla="*/ 89 w 236"/>
                <a:gd name="T15" fmla="*/ 21 h 76"/>
                <a:gd name="T16" fmla="*/ 75 w 236"/>
                <a:gd name="T17" fmla="*/ 21 h 76"/>
                <a:gd name="T18" fmla="*/ 105 w 236"/>
                <a:gd name="T19" fmla="*/ 26 h 76"/>
                <a:gd name="T20" fmla="*/ 72 w 236"/>
                <a:gd name="T21" fmla="*/ 28 h 76"/>
                <a:gd name="T22" fmla="*/ 89 w 236"/>
                <a:gd name="T23" fmla="*/ 34 h 76"/>
                <a:gd name="T24" fmla="*/ 76 w 236"/>
                <a:gd name="T25" fmla="*/ 40 h 76"/>
                <a:gd name="T26" fmla="*/ 93 w 236"/>
                <a:gd name="T27" fmla="*/ 35 h 76"/>
                <a:gd name="T28" fmla="*/ 107 w 236"/>
                <a:gd name="T29" fmla="*/ 49 h 76"/>
                <a:gd name="T30" fmla="*/ 111 w 236"/>
                <a:gd name="T31" fmla="*/ 43 h 76"/>
                <a:gd name="T32" fmla="*/ 154 w 236"/>
                <a:gd name="T33" fmla="*/ 49 h 76"/>
                <a:gd name="T34" fmla="*/ 199 w 236"/>
                <a:gd name="T35" fmla="*/ 35 h 76"/>
                <a:gd name="T36" fmla="*/ 235 w 236"/>
                <a:gd name="T37" fmla="*/ 52 h 76"/>
                <a:gd name="T38" fmla="*/ 224 w 236"/>
                <a:gd name="T39" fmla="*/ 59 h 76"/>
                <a:gd name="T40" fmla="*/ 228 w 236"/>
                <a:gd name="T41" fmla="*/ 72 h 76"/>
                <a:gd name="T42" fmla="*/ 206 w 236"/>
                <a:gd name="T43" fmla="*/ 75 h 76"/>
                <a:gd name="T44" fmla="*/ 182 w 236"/>
                <a:gd name="T45" fmla="*/ 63 h 76"/>
                <a:gd name="T46" fmla="*/ 182 w 236"/>
                <a:gd name="T47" fmla="*/ 72 h 76"/>
                <a:gd name="T48" fmla="*/ 169 w 236"/>
                <a:gd name="T49" fmla="*/ 73 h 76"/>
                <a:gd name="T50" fmla="*/ 116 w 236"/>
                <a:gd name="T51" fmla="*/ 75 h 76"/>
                <a:gd name="T52" fmla="*/ 111 w 236"/>
                <a:gd name="T53" fmla="*/ 64 h 76"/>
                <a:gd name="T54" fmla="*/ 98 w 236"/>
                <a:gd name="T55" fmla="*/ 73 h 76"/>
                <a:gd name="T56" fmla="*/ 82 w 236"/>
                <a:gd name="T57" fmla="*/ 64 h 76"/>
                <a:gd name="T58" fmla="*/ 71 w 236"/>
                <a:gd name="T59" fmla="*/ 71 h 76"/>
                <a:gd name="T60" fmla="*/ 51 w 236"/>
                <a:gd name="T61" fmla="*/ 22 h 76"/>
                <a:gd name="T62" fmla="*/ 26 w 236"/>
                <a:gd name="T63" fmla="*/ 27 h 76"/>
                <a:gd name="T64" fmla="*/ 0 w 236"/>
                <a:gd name="T65" fmla="*/ 12 h 76"/>
                <a:gd name="T66" fmla="*/ 0 w 236"/>
                <a:gd name="T67" fmla="*/ 12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6"/>
                <a:gd name="T103" fmla="*/ 0 h 76"/>
                <a:gd name="T104" fmla="*/ 236 w 236"/>
                <a:gd name="T105" fmla="*/ 76 h 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6" h="76">
                  <a:moveTo>
                    <a:pt x="0" y="12"/>
                  </a:moveTo>
                  <a:lnTo>
                    <a:pt x="0" y="12"/>
                  </a:lnTo>
                  <a:lnTo>
                    <a:pt x="15" y="0"/>
                  </a:lnTo>
                  <a:lnTo>
                    <a:pt x="35" y="7"/>
                  </a:lnTo>
                  <a:lnTo>
                    <a:pt x="49" y="12"/>
                  </a:lnTo>
                  <a:lnTo>
                    <a:pt x="45" y="21"/>
                  </a:lnTo>
                  <a:lnTo>
                    <a:pt x="72" y="13"/>
                  </a:lnTo>
                  <a:lnTo>
                    <a:pt x="89" y="21"/>
                  </a:lnTo>
                  <a:lnTo>
                    <a:pt x="75" y="21"/>
                  </a:lnTo>
                  <a:lnTo>
                    <a:pt x="105" y="26"/>
                  </a:lnTo>
                  <a:lnTo>
                    <a:pt x="72" y="28"/>
                  </a:lnTo>
                  <a:lnTo>
                    <a:pt x="89" y="34"/>
                  </a:lnTo>
                  <a:lnTo>
                    <a:pt x="76" y="40"/>
                  </a:lnTo>
                  <a:lnTo>
                    <a:pt x="93" y="35"/>
                  </a:lnTo>
                  <a:lnTo>
                    <a:pt x="107" y="49"/>
                  </a:lnTo>
                  <a:lnTo>
                    <a:pt x="111" y="43"/>
                  </a:lnTo>
                  <a:lnTo>
                    <a:pt x="154" y="49"/>
                  </a:lnTo>
                  <a:lnTo>
                    <a:pt x="199" y="35"/>
                  </a:lnTo>
                  <a:lnTo>
                    <a:pt x="235" y="52"/>
                  </a:lnTo>
                  <a:lnTo>
                    <a:pt x="224" y="59"/>
                  </a:lnTo>
                  <a:lnTo>
                    <a:pt x="228" y="72"/>
                  </a:lnTo>
                  <a:lnTo>
                    <a:pt x="206" y="75"/>
                  </a:lnTo>
                  <a:lnTo>
                    <a:pt x="182" y="63"/>
                  </a:lnTo>
                  <a:lnTo>
                    <a:pt x="182" y="72"/>
                  </a:lnTo>
                  <a:lnTo>
                    <a:pt x="169" y="73"/>
                  </a:lnTo>
                  <a:lnTo>
                    <a:pt x="116" y="75"/>
                  </a:lnTo>
                  <a:lnTo>
                    <a:pt x="111" y="64"/>
                  </a:lnTo>
                  <a:lnTo>
                    <a:pt x="98" y="73"/>
                  </a:lnTo>
                  <a:lnTo>
                    <a:pt x="82" y="64"/>
                  </a:lnTo>
                  <a:lnTo>
                    <a:pt x="71" y="71"/>
                  </a:lnTo>
                  <a:lnTo>
                    <a:pt x="51" y="22"/>
                  </a:lnTo>
                  <a:lnTo>
                    <a:pt x="26" y="27"/>
                  </a:lnTo>
                  <a:lnTo>
                    <a:pt x="0" y="12"/>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73" name="Freeform 772"/>
            <p:cNvSpPr>
              <a:spLocks/>
            </p:cNvSpPr>
            <p:nvPr/>
          </p:nvSpPr>
          <p:spPr bwMode="auto">
            <a:xfrm>
              <a:off x="1767" y="1966"/>
              <a:ext cx="154" cy="100"/>
            </a:xfrm>
            <a:custGeom>
              <a:avLst/>
              <a:gdLst>
                <a:gd name="T0" fmla="*/ 0 w 154"/>
                <a:gd name="T1" fmla="*/ 31 h 100"/>
                <a:gd name="T2" fmla="*/ 0 w 154"/>
                <a:gd name="T3" fmla="*/ 31 h 100"/>
                <a:gd name="T4" fmla="*/ 37 w 154"/>
                <a:gd name="T5" fmla="*/ 26 h 100"/>
                <a:gd name="T6" fmla="*/ 17 w 154"/>
                <a:gd name="T7" fmla="*/ 12 h 100"/>
                <a:gd name="T8" fmla="*/ 50 w 154"/>
                <a:gd name="T9" fmla="*/ 6 h 100"/>
                <a:gd name="T10" fmla="*/ 24 w 154"/>
                <a:gd name="T11" fmla="*/ 0 h 100"/>
                <a:gd name="T12" fmla="*/ 65 w 154"/>
                <a:gd name="T13" fmla="*/ 8 h 100"/>
                <a:gd name="T14" fmla="*/ 77 w 154"/>
                <a:gd name="T15" fmla="*/ 26 h 100"/>
                <a:gd name="T16" fmla="*/ 98 w 154"/>
                <a:gd name="T17" fmla="*/ 27 h 100"/>
                <a:gd name="T18" fmla="*/ 106 w 154"/>
                <a:gd name="T19" fmla="*/ 40 h 100"/>
                <a:gd name="T20" fmla="*/ 108 w 154"/>
                <a:gd name="T21" fmla="*/ 31 h 100"/>
                <a:gd name="T22" fmla="*/ 118 w 154"/>
                <a:gd name="T23" fmla="*/ 31 h 100"/>
                <a:gd name="T24" fmla="*/ 114 w 154"/>
                <a:gd name="T25" fmla="*/ 40 h 100"/>
                <a:gd name="T26" fmla="*/ 126 w 154"/>
                <a:gd name="T27" fmla="*/ 46 h 100"/>
                <a:gd name="T28" fmla="*/ 118 w 154"/>
                <a:gd name="T29" fmla="*/ 55 h 100"/>
                <a:gd name="T30" fmla="*/ 142 w 154"/>
                <a:gd name="T31" fmla="*/ 54 h 100"/>
                <a:gd name="T32" fmla="*/ 153 w 154"/>
                <a:gd name="T33" fmla="*/ 67 h 100"/>
                <a:gd name="T34" fmla="*/ 124 w 154"/>
                <a:gd name="T35" fmla="*/ 71 h 100"/>
                <a:gd name="T36" fmla="*/ 116 w 154"/>
                <a:gd name="T37" fmla="*/ 83 h 100"/>
                <a:gd name="T38" fmla="*/ 110 w 154"/>
                <a:gd name="T39" fmla="*/ 71 h 100"/>
                <a:gd name="T40" fmla="*/ 102 w 154"/>
                <a:gd name="T41" fmla="*/ 99 h 100"/>
                <a:gd name="T42" fmla="*/ 84 w 154"/>
                <a:gd name="T43" fmla="*/ 84 h 100"/>
                <a:gd name="T44" fmla="*/ 93 w 154"/>
                <a:gd name="T45" fmla="*/ 99 h 100"/>
                <a:gd name="T46" fmla="*/ 57 w 154"/>
                <a:gd name="T47" fmla="*/ 97 h 100"/>
                <a:gd name="T48" fmla="*/ 46 w 154"/>
                <a:gd name="T49" fmla="*/ 89 h 100"/>
                <a:gd name="T50" fmla="*/ 63 w 154"/>
                <a:gd name="T51" fmla="*/ 88 h 100"/>
                <a:gd name="T52" fmla="*/ 45 w 154"/>
                <a:gd name="T53" fmla="*/ 85 h 100"/>
                <a:gd name="T54" fmla="*/ 40 w 154"/>
                <a:gd name="T55" fmla="*/ 81 h 100"/>
                <a:gd name="T56" fmla="*/ 50 w 154"/>
                <a:gd name="T57" fmla="*/ 80 h 100"/>
                <a:gd name="T58" fmla="*/ 34 w 154"/>
                <a:gd name="T59" fmla="*/ 74 h 100"/>
                <a:gd name="T60" fmla="*/ 83 w 154"/>
                <a:gd name="T61" fmla="*/ 65 h 100"/>
                <a:gd name="T62" fmla="*/ 24 w 154"/>
                <a:gd name="T63" fmla="*/ 67 h 100"/>
                <a:gd name="T64" fmla="*/ 13 w 154"/>
                <a:gd name="T65" fmla="*/ 57 h 100"/>
                <a:gd name="T66" fmla="*/ 34 w 154"/>
                <a:gd name="T67" fmla="*/ 53 h 100"/>
                <a:gd name="T68" fmla="*/ 2 w 154"/>
                <a:gd name="T69" fmla="*/ 46 h 100"/>
                <a:gd name="T70" fmla="*/ 9 w 154"/>
                <a:gd name="T71" fmla="*/ 45 h 100"/>
                <a:gd name="T72" fmla="*/ 0 w 154"/>
                <a:gd name="T73" fmla="*/ 38 h 100"/>
                <a:gd name="T74" fmla="*/ 37 w 154"/>
                <a:gd name="T75" fmla="*/ 38 h 100"/>
                <a:gd name="T76" fmla="*/ 0 w 154"/>
                <a:gd name="T77" fmla="*/ 31 h 100"/>
                <a:gd name="T78" fmla="*/ 0 w 154"/>
                <a:gd name="T79" fmla="*/ 31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4"/>
                <a:gd name="T121" fmla="*/ 0 h 100"/>
                <a:gd name="T122" fmla="*/ 154 w 154"/>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4" h="100">
                  <a:moveTo>
                    <a:pt x="0" y="31"/>
                  </a:moveTo>
                  <a:lnTo>
                    <a:pt x="0" y="31"/>
                  </a:lnTo>
                  <a:lnTo>
                    <a:pt x="37" y="26"/>
                  </a:lnTo>
                  <a:lnTo>
                    <a:pt x="17" y="12"/>
                  </a:lnTo>
                  <a:lnTo>
                    <a:pt x="50" y="6"/>
                  </a:lnTo>
                  <a:lnTo>
                    <a:pt x="24" y="0"/>
                  </a:lnTo>
                  <a:lnTo>
                    <a:pt x="65" y="8"/>
                  </a:lnTo>
                  <a:lnTo>
                    <a:pt x="77" y="26"/>
                  </a:lnTo>
                  <a:lnTo>
                    <a:pt x="98" y="27"/>
                  </a:lnTo>
                  <a:lnTo>
                    <a:pt x="106" y="40"/>
                  </a:lnTo>
                  <a:lnTo>
                    <a:pt x="108" y="31"/>
                  </a:lnTo>
                  <a:lnTo>
                    <a:pt x="118" y="31"/>
                  </a:lnTo>
                  <a:lnTo>
                    <a:pt x="114" y="40"/>
                  </a:lnTo>
                  <a:lnTo>
                    <a:pt x="126" y="46"/>
                  </a:lnTo>
                  <a:lnTo>
                    <a:pt x="118" y="55"/>
                  </a:lnTo>
                  <a:lnTo>
                    <a:pt x="142" y="54"/>
                  </a:lnTo>
                  <a:lnTo>
                    <a:pt x="153" y="67"/>
                  </a:lnTo>
                  <a:lnTo>
                    <a:pt x="124" y="71"/>
                  </a:lnTo>
                  <a:lnTo>
                    <a:pt x="116" y="83"/>
                  </a:lnTo>
                  <a:lnTo>
                    <a:pt x="110" y="71"/>
                  </a:lnTo>
                  <a:lnTo>
                    <a:pt x="102" y="99"/>
                  </a:lnTo>
                  <a:lnTo>
                    <a:pt x="84" y="84"/>
                  </a:lnTo>
                  <a:lnTo>
                    <a:pt x="93" y="99"/>
                  </a:lnTo>
                  <a:lnTo>
                    <a:pt x="57" y="97"/>
                  </a:lnTo>
                  <a:lnTo>
                    <a:pt x="46" y="89"/>
                  </a:lnTo>
                  <a:lnTo>
                    <a:pt x="63" y="88"/>
                  </a:lnTo>
                  <a:lnTo>
                    <a:pt x="45" y="85"/>
                  </a:lnTo>
                  <a:lnTo>
                    <a:pt x="40" y="81"/>
                  </a:lnTo>
                  <a:lnTo>
                    <a:pt x="50" y="80"/>
                  </a:lnTo>
                  <a:lnTo>
                    <a:pt x="34" y="74"/>
                  </a:lnTo>
                  <a:lnTo>
                    <a:pt x="83" y="65"/>
                  </a:lnTo>
                  <a:lnTo>
                    <a:pt x="24" y="67"/>
                  </a:lnTo>
                  <a:lnTo>
                    <a:pt x="13" y="57"/>
                  </a:lnTo>
                  <a:lnTo>
                    <a:pt x="34" y="53"/>
                  </a:lnTo>
                  <a:lnTo>
                    <a:pt x="2" y="46"/>
                  </a:lnTo>
                  <a:lnTo>
                    <a:pt x="9" y="45"/>
                  </a:lnTo>
                  <a:lnTo>
                    <a:pt x="0" y="38"/>
                  </a:lnTo>
                  <a:lnTo>
                    <a:pt x="37" y="38"/>
                  </a:lnTo>
                  <a:lnTo>
                    <a:pt x="0" y="31"/>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74" name="Freeform 773"/>
            <p:cNvSpPr>
              <a:spLocks/>
            </p:cNvSpPr>
            <p:nvPr/>
          </p:nvSpPr>
          <p:spPr bwMode="auto">
            <a:xfrm>
              <a:off x="1767" y="2137"/>
              <a:ext cx="38" cy="26"/>
            </a:xfrm>
            <a:custGeom>
              <a:avLst/>
              <a:gdLst>
                <a:gd name="T0" fmla="*/ 0 w 38"/>
                <a:gd name="T1" fmla="*/ 17 h 26"/>
                <a:gd name="T2" fmla="*/ 0 w 38"/>
                <a:gd name="T3" fmla="*/ 17 h 26"/>
                <a:gd name="T4" fmla="*/ 6 w 38"/>
                <a:gd name="T5" fmla="*/ 0 h 26"/>
                <a:gd name="T6" fmla="*/ 30 w 38"/>
                <a:gd name="T7" fmla="*/ 5 h 26"/>
                <a:gd name="T8" fmla="*/ 37 w 38"/>
                <a:gd name="T9" fmla="*/ 25 h 26"/>
                <a:gd name="T10" fmla="*/ 0 w 38"/>
                <a:gd name="T11" fmla="*/ 17 h 26"/>
                <a:gd name="T12" fmla="*/ 0 w 38"/>
                <a:gd name="T13" fmla="*/ 17 h 26"/>
                <a:gd name="T14" fmla="*/ 0 60000 65536"/>
                <a:gd name="T15" fmla="*/ 0 60000 65536"/>
                <a:gd name="T16" fmla="*/ 0 60000 65536"/>
                <a:gd name="T17" fmla="*/ 0 60000 65536"/>
                <a:gd name="T18" fmla="*/ 0 60000 65536"/>
                <a:gd name="T19" fmla="*/ 0 60000 65536"/>
                <a:gd name="T20" fmla="*/ 0 60000 65536"/>
                <a:gd name="T21" fmla="*/ 0 w 38"/>
                <a:gd name="T22" fmla="*/ 0 h 26"/>
                <a:gd name="T23" fmla="*/ 38 w 3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6">
                  <a:moveTo>
                    <a:pt x="0" y="17"/>
                  </a:moveTo>
                  <a:lnTo>
                    <a:pt x="0" y="17"/>
                  </a:lnTo>
                  <a:lnTo>
                    <a:pt x="6" y="0"/>
                  </a:lnTo>
                  <a:lnTo>
                    <a:pt x="30" y="5"/>
                  </a:lnTo>
                  <a:lnTo>
                    <a:pt x="37" y="25"/>
                  </a:lnTo>
                  <a:lnTo>
                    <a:pt x="0" y="17"/>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75" name="Freeform 774"/>
            <p:cNvSpPr>
              <a:spLocks/>
            </p:cNvSpPr>
            <p:nvPr/>
          </p:nvSpPr>
          <p:spPr bwMode="auto">
            <a:xfrm>
              <a:off x="1767" y="2075"/>
              <a:ext cx="43" cy="10"/>
            </a:xfrm>
            <a:custGeom>
              <a:avLst/>
              <a:gdLst>
                <a:gd name="T0" fmla="*/ 0 w 43"/>
                <a:gd name="T1" fmla="*/ 4 h 10"/>
                <a:gd name="T2" fmla="*/ 0 w 43"/>
                <a:gd name="T3" fmla="*/ 4 h 10"/>
                <a:gd name="T4" fmla="*/ 10 w 43"/>
                <a:gd name="T5" fmla="*/ 9 h 10"/>
                <a:gd name="T6" fmla="*/ 42 w 43"/>
                <a:gd name="T7" fmla="*/ 4 h 10"/>
                <a:gd name="T8" fmla="*/ 11 w 43"/>
                <a:gd name="T9" fmla="*/ 0 h 10"/>
                <a:gd name="T10" fmla="*/ 0 w 43"/>
                <a:gd name="T11" fmla="*/ 4 h 10"/>
                <a:gd name="T12" fmla="*/ 0 w 43"/>
                <a:gd name="T13" fmla="*/ 4 h 10"/>
                <a:gd name="T14" fmla="*/ 0 60000 65536"/>
                <a:gd name="T15" fmla="*/ 0 60000 65536"/>
                <a:gd name="T16" fmla="*/ 0 60000 65536"/>
                <a:gd name="T17" fmla="*/ 0 60000 65536"/>
                <a:gd name="T18" fmla="*/ 0 60000 65536"/>
                <a:gd name="T19" fmla="*/ 0 60000 65536"/>
                <a:gd name="T20" fmla="*/ 0 60000 65536"/>
                <a:gd name="T21" fmla="*/ 0 w 43"/>
                <a:gd name="T22" fmla="*/ 0 h 10"/>
                <a:gd name="T23" fmla="*/ 43 w 43"/>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0">
                  <a:moveTo>
                    <a:pt x="0" y="4"/>
                  </a:moveTo>
                  <a:lnTo>
                    <a:pt x="0" y="4"/>
                  </a:lnTo>
                  <a:lnTo>
                    <a:pt x="10" y="9"/>
                  </a:lnTo>
                  <a:lnTo>
                    <a:pt x="42" y="4"/>
                  </a:lnTo>
                  <a:lnTo>
                    <a:pt x="11" y="0"/>
                  </a:lnTo>
                  <a:lnTo>
                    <a:pt x="0" y="4"/>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76" name="Freeform 775"/>
            <p:cNvSpPr>
              <a:spLocks/>
            </p:cNvSpPr>
            <p:nvPr/>
          </p:nvSpPr>
          <p:spPr bwMode="auto">
            <a:xfrm>
              <a:off x="1774" y="2179"/>
              <a:ext cx="75" cy="53"/>
            </a:xfrm>
            <a:custGeom>
              <a:avLst/>
              <a:gdLst>
                <a:gd name="T0" fmla="*/ 0 w 75"/>
                <a:gd name="T1" fmla="*/ 9 h 53"/>
                <a:gd name="T2" fmla="*/ 0 w 75"/>
                <a:gd name="T3" fmla="*/ 9 h 53"/>
                <a:gd name="T4" fmla="*/ 2 w 75"/>
                <a:gd name="T5" fmla="*/ 33 h 53"/>
                <a:gd name="T6" fmla="*/ 10 w 75"/>
                <a:gd name="T7" fmla="*/ 38 h 53"/>
                <a:gd name="T8" fmla="*/ 7 w 75"/>
                <a:gd name="T9" fmla="*/ 52 h 53"/>
                <a:gd name="T10" fmla="*/ 18 w 75"/>
                <a:gd name="T11" fmla="*/ 52 h 53"/>
                <a:gd name="T12" fmla="*/ 30 w 75"/>
                <a:gd name="T13" fmla="*/ 41 h 53"/>
                <a:gd name="T14" fmla="*/ 18 w 75"/>
                <a:gd name="T15" fmla="*/ 33 h 53"/>
                <a:gd name="T16" fmla="*/ 48 w 75"/>
                <a:gd name="T17" fmla="*/ 33 h 53"/>
                <a:gd name="T18" fmla="*/ 74 w 75"/>
                <a:gd name="T19" fmla="*/ 4 h 53"/>
                <a:gd name="T20" fmla="*/ 6 w 75"/>
                <a:gd name="T21" fmla="*/ 0 h 53"/>
                <a:gd name="T22" fmla="*/ 15 w 75"/>
                <a:gd name="T23" fmla="*/ 10 h 53"/>
                <a:gd name="T24" fmla="*/ 0 w 75"/>
                <a:gd name="T25" fmla="*/ 9 h 53"/>
                <a:gd name="T26" fmla="*/ 0 w 75"/>
                <a:gd name="T27" fmla="*/ 9 h 5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5"/>
                <a:gd name="T43" fmla="*/ 0 h 53"/>
                <a:gd name="T44" fmla="*/ 75 w 75"/>
                <a:gd name="T45" fmla="*/ 53 h 5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5" h="53">
                  <a:moveTo>
                    <a:pt x="0" y="9"/>
                  </a:moveTo>
                  <a:lnTo>
                    <a:pt x="0" y="9"/>
                  </a:lnTo>
                  <a:lnTo>
                    <a:pt x="2" y="33"/>
                  </a:lnTo>
                  <a:lnTo>
                    <a:pt x="10" y="38"/>
                  </a:lnTo>
                  <a:lnTo>
                    <a:pt x="7" y="52"/>
                  </a:lnTo>
                  <a:lnTo>
                    <a:pt x="18" y="52"/>
                  </a:lnTo>
                  <a:lnTo>
                    <a:pt x="30" y="41"/>
                  </a:lnTo>
                  <a:lnTo>
                    <a:pt x="18" y="33"/>
                  </a:lnTo>
                  <a:lnTo>
                    <a:pt x="48" y="33"/>
                  </a:lnTo>
                  <a:lnTo>
                    <a:pt x="74" y="4"/>
                  </a:lnTo>
                  <a:lnTo>
                    <a:pt x="6" y="0"/>
                  </a:lnTo>
                  <a:lnTo>
                    <a:pt x="15" y="10"/>
                  </a:lnTo>
                  <a:lnTo>
                    <a:pt x="0" y="9"/>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77" name="Freeform 59"/>
            <p:cNvSpPr>
              <a:spLocks/>
            </p:cNvSpPr>
            <p:nvPr/>
          </p:nvSpPr>
          <p:spPr bwMode="auto">
            <a:xfrm>
              <a:off x="1824" y="1908"/>
              <a:ext cx="421" cy="214"/>
            </a:xfrm>
            <a:custGeom>
              <a:avLst/>
              <a:gdLst>
                <a:gd name="T0" fmla="*/ 37 w 421"/>
                <a:gd name="T1" fmla="*/ 50 h 214"/>
                <a:gd name="T2" fmla="*/ 31 w 421"/>
                <a:gd name="T3" fmla="*/ 58 h 214"/>
                <a:gd name="T4" fmla="*/ 36 w 421"/>
                <a:gd name="T5" fmla="*/ 68 h 214"/>
                <a:gd name="T6" fmla="*/ 66 w 421"/>
                <a:gd name="T7" fmla="*/ 83 h 214"/>
                <a:gd name="T8" fmla="*/ 89 w 421"/>
                <a:gd name="T9" fmla="*/ 71 h 214"/>
                <a:gd name="T10" fmla="*/ 135 w 421"/>
                <a:gd name="T11" fmla="*/ 72 h 214"/>
                <a:gd name="T12" fmla="*/ 166 w 421"/>
                <a:gd name="T13" fmla="*/ 75 h 214"/>
                <a:gd name="T14" fmla="*/ 172 w 421"/>
                <a:gd name="T15" fmla="*/ 74 h 214"/>
                <a:gd name="T16" fmla="*/ 142 w 421"/>
                <a:gd name="T17" fmla="*/ 111 h 214"/>
                <a:gd name="T18" fmla="*/ 111 w 421"/>
                <a:gd name="T19" fmla="*/ 93 h 214"/>
                <a:gd name="T20" fmla="*/ 90 w 421"/>
                <a:gd name="T21" fmla="*/ 103 h 214"/>
                <a:gd name="T22" fmla="*/ 100 w 421"/>
                <a:gd name="T23" fmla="*/ 131 h 214"/>
                <a:gd name="T24" fmla="*/ 132 w 421"/>
                <a:gd name="T25" fmla="*/ 145 h 214"/>
                <a:gd name="T26" fmla="*/ 62 w 421"/>
                <a:gd name="T27" fmla="*/ 157 h 214"/>
                <a:gd name="T28" fmla="*/ 88 w 421"/>
                <a:gd name="T29" fmla="*/ 158 h 214"/>
                <a:gd name="T30" fmla="*/ 109 w 421"/>
                <a:gd name="T31" fmla="*/ 157 h 214"/>
                <a:gd name="T32" fmla="*/ 88 w 421"/>
                <a:gd name="T33" fmla="*/ 167 h 214"/>
                <a:gd name="T34" fmla="*/ 132 w 421"/>
                <a:gd name="T35" fmla="*/ 159 h 214"/>
                <a:gd name="T36" fmla="*/ 51 w 421"/>
                <a:gd name="T37" fmla="*/ 168 h 214"/>
                <a:gd name="T38" fmla="*/ 39 w 421"/>
                <a:gd name="T39" fmla="*/ 207 h 214"/>
                <a:gd name="T40" fmla="*/ 72 w 421"/>
                <a:gd name="T41" fmla="*/ 202 h 214"/>
                <a:gd name="T42" fmla="*/ 93 w 421"/>
                <a:gd name="T43" fmla="*/ 203 h 214"/>
                <a:gd name="T44" fmla="*/ 126 w 421"/>
                <a:gd name="T45" fmla="*/ 207 h 214"/>
                <a:gd name="T46" fmla="*/ 149 w 421"/>
                <a:gd name="T47" fmla="*/ 205 h 214"/>
                <a:gd name="T48" fmla="*/ 191 w 421"/>
                <a:gd name="T49" fmla="*/ 193 h 214"/>
                <a:gd name="T50" fmla="*/ 135 w 421"/>
                <a:gd name="T51" fmla="*/ 184 h 214"/>
                <a:gd name="T52" fmla="*/ 188 w 421"/>
                <a:gd name="T53" fmla="*/ 162 h 214"/>
                <a:gd name="T54" fmla="*/ 204 w 421"/>
                <a:gd name="T55" fmla="*/ 155 h 214"/>
                <a:gd name="T56" fmla="*/ 235 w 421"/>
                <a:gd name="T57" fmla="*/ 142 h 214"/>
                <a:gd name="T58" fmla="*/ 217 w 421"/>
                <a:gd name="T59" fmla="*/ 129 h 214"/>
                <a:gd name="T60" fmla="*/ 237 w 421"/>
                <a:gd name="T61" fmla="*/ 125 h 214"/>
                <a:gd name="T62" fmla="*/ 235 w 421"/>
                <a:gd name="T63" fmla="*/ 108 h 214"/>
                <a:gd name="T64" fmla="*/ 268 w 421"/>
                <a:gd name="T65" fmla="*/ 98 h 214"/>
                <a:gd name="T66" fmla="*/ 305 w 421"/>
                <a:gd name="T67" fmla="*/ 90 h 214"/>
                <a:gd name="T68" fmla="*/ 341 w 421"/>
                <a:gd name="T69" fmla="*/ 53 h 214"/>
                <a:gd name="T70" fmla="*/ 357 w 421"/>
                <a:gd name="T71" fmla="*/ 50 h 214"/>
                <a:gd name="T72" fmla="*/ 393 w 421"/>
                <a:gd name="T73" fmla="*/ 23 h 214"/>
                <a:gd name="T74" fmla="*/ 345 w 421"/>
                <a:gd name="T75" fmla="*/ 6 h 214"/>
                <a:gd name="T76" fmla="*/ 249 w 421"/>
                <a:gd name="T77" fmla="*/ 11 h 214"/>
                <a:gd name="T78" fmla="*/ 219 w 421"/>
                <a:gd name="T79" fmla="*/ 19 h 214"/>
                <a:gd name="T80" fmla="*/ 154 w 421"/>
                <a:gd name="T81" fmla="*/ 7 h 214"/>
                <a:gd name="T82" fmla="*/ 147 w 421"/>
                <a:gd name="T83" fmla="*/ 21 h 214"/>
                <a:gd name="T84" fmla="*/ 117 w 421"/>
                <a:gd name="T85" fmla="*/ 23 h 214"/>
                <a:gd name="T86" fmla="*/ 65 w 421"/>
                <a:gd name="T87" fmla="*/ 33 h 214"/>
                <a:gd name="T88" fmla="*/ 0 w 421"/>
                <a:gd name="T89" fmla="*/ 50 h 2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1"/>
                <a:gd name="T136" fmla="*/ 0 h 214"/>
                <a:gd name="T137" fmla="*/ 421 w 421"/>
                <a:gd name="T138" fmla="*/ 214 h 2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1" h="214">
                  <a:moveTo>
                    <a:pt x="0" y="50"/>
                  </a:moveTo>
                  <a:lnTo>
                    <a:pt x="0" y="50"/>
                  </a:lnTo>
                  <a:lnTo>
                    <a:pt x="37" y="50"/>
                  </a:lnTo>
                  <a:lnTo>
                    <a:pt x="24" y="58"/>
                  </a:lnTo>
                  <a:lnTo>
                    <a:pt x="76" y="53"/>
                  </a:lnTo>
                  <a:lnTo>
                    <a:pt x="31" y="58"/>
                  </a:lnTo>
                  <a:lnTo>
                    <a:pt x="45" y="62"/>
                  </a:lnTo>
                  <a:lnTo>
                    <a:pt x="30" y="63"/>
                  </a:lnTo>
                  <a:lnTo>
                    <a:pt x="36" y="68"/>
                  </a:lnTo>
                  <a:lnTo>
                    <a:pt x="103" y="60"/>
                  </a:lnTo>
                  <a:lnTo>
                    <a:pt x="37" y="73"/>
                  </a:lnTo>
                  <a:lnTo>
                    <a:pt x="66" y="83"/>
                  </a:lnTo>
                  <a:lnTo>
                    <a:pt x="92" y="68"/>
                  </a:lnTo>
                  <a:lnTo>
                    <a:pt x="135" y="66"/>
                  </a:lnTo>
                  <a:lnTo>
                    <a:pt x="89" y="71"/>
                  </a:lnTo>
                  <a:lnTo>
                    <a:pt x="78" y="83"/>
                  </a:lnTo>
                  <a:lnTo>
                    <a:pt x="106" y="85"/>
                  </a:lnTo>
                  <a:lnTo>
                    <a:pt x="135" y="72"/>
                  </a:lnTo>
                  <a:lnTo>
                    <a:pt x="115" y="84"/>
                  </a:lnTo>
                  <a:lnTo>
                    <a:pt x="135" y="84"/>
                  </a:lnTo>
                  <a:lnTo>
                    <a:pt x="166" y="75"/>
                  </a:lnTo>
                  <a:lnTo>
                    <a:pt x="162" y="63"/>
                  </a:lnTo>
                  <a:lnTo>
                    <a:pt x="197" y="54"/>
                  </a:lnTo>
                  <a:lnTo>
                    <a:pt x="172" y="74"/>
                  </a:lnTo>
                  <a:lnTo>
                    <a:pt x="225" y="70"/>
                  </a:lnTo>
                  <a:lnTo>
                    <a:pt x="117" y="90"/>
                  </a:lnTo>
                  <a:lnTo>
                    <a:pt x="142" y="111"/>
                  </a:lnTo>
                  <a:lnTo>
                    <a:pt x="163" y="111"/>
                  </a:lnTo>
                  <a:lnTo>
                    <a:pt x="152" y="115"/>
                  </a:lnTo>
                  <a:lnTo>
                    <a:pt x="111" y="93"/>
                  </a:lnTo>
                  <a:lnTo>
                    <a:pt x="75" y="90"/>
                  </a:lnTo>
                  <a:lnTo>
                    <a:pt x="74" y="99"/>
                  </a:lnTo>
                  <a:lnTo>
                    <a:pt x="90" y="103"/>
                  </a:lnTo>
                  <a:lnTo>
                    <a:pt x="75" y="107"/>
                  </a:lnTo>
                  <a:lnTo>
                    <a:pt x="117" y="130"/>
                  </a:lnTo>
                  <a:lnTo>
                    <a:pt x="100" y="131"/>
                  </a:lnTo>
                  <a:lnTo>
                    <a:pt x="143" y="132"/>
                  </a:lnTo>
                  <a:lnTo>
                    <a:pt x="119" y="138"/>
                  </a:lnTo>
                  <a:lnTo>
                    <a:pt x="132" y="145"/>
                  </a:lnTo>
                  <a:lnTo>
                    <a:pt x="93" y="133"/>
                  </a:lnTo>
                  <a:lnTo>
                    <a:pt x="71" y="138"/>
                  </a:lnTo>
                  <a:lnTo>
                    <a:pt x="62" y="157"/>
                  </a:lnTo>
                  <a:lnTo>
                    <a:pt x="84" y="151"/>
                  </a:lnTo>
                  <a:lnTo>
                    <a:pt x="80" y="158"/>
                  </a:lnTo>
                  <a:lnTo>
                    <a:pt x="88" y="158"/>
                  </a:lnTo>
                  <a:lnTo>
                    <a:pt x="101" y="143"/>
                  </a:lnTo>
                  <a:lnTo>
                    <a:pt x="97" y="155"/>
                  </a:lnTo>
                  <a:lnTo>
                    <a:pt x="109" y="157"/>
                  </a:lnTo>
                  <a:lnTo>
                    <a:pt x="85" y="162"/>
                  </a:lnTo>
                  <a:lnTo>
                    <a:pt x="100" y="163"/>
                  </a:lnTo>
                  <a:lnTo>
                    <a:pt x="88" y="167"/>
                  </a:lnTo>
                  <a:lnTo>
                    <a:pt x="98" y="175"/>
                  </a:lnTo>
                  <a:lnTo>
                    <a:pt x="115" y="175"/>
                  </a:lnTo>
                  <a:lnTo>
                    <a:pt x="132" y="159"/>
                  </a:lnTo>
                  <a:lnTo>
                    <a:pt x="103" y="181"/>
                  </a:lnTo>
                  <a:lnTo>
                    <a:pt x="75" y="165"/>
                  </a:lnTo>
                  <a:lnTo>
                    <a:pt x="51" y="168"/>
                  </a:lnTo>
                  <a:lnTo>
                    <a:pt x="71" y="185"/>
                  </a:lnTo>
                  <a:lnTo>
                    <a:pt x="36" y="194"/>
                  </a:lnTo>
                  <a:lnTo>
                    <a:pt x="39" y="207"/>
                  </a:lnTo>
                  <a:lnTo>
                    <a:pt x="46" y="195"/>
                  </a:lnTo>
                  <a:lnTo>
                    <a:pt x="47" y="207"/>
                  </a:lnTo>
                  <a:lnTo>
                    <a:pt x="72" y="202"/>
                  </a:lnTo>
                  <a:lnTo>
                    <a:pt x="89" y="212"/>
                  </a:lnTo>
                  <a:lnTo>
                    <a:pt x="102" y="211"/>
                  </a:lnTo>
                  <a:lnTo>
                    <a:pt x="93" y="203"/>
                  </a:lnTo>
                  <a:lnTo>
                    <a:pt x="117" y="206"/>
                  </a:lnTo>
                  <a:lnTo>
                    <a:pt x="115" y="198"/>
                  </a:lnTo>
                  <a:lnTo>
                    <a:pt x="126" y="207"/>
                  </a:lnTo>
                  <a:lnTo>
                    <a:pt x="133" y="205"/>
                  </a:lnTo>
                  <a:lnTo>
                    <a:pt x="129" y="199"/>
                  </a:lnTo>
                  <a:lnTo>
                    <a:pt x="149" y="205"/>
                  </a:lnTo>
                  <a:lnTo>
                    <a:pt x="149" y="213"/>
                  </a:lnTo>
                  <a:lnTo>
                    <a:pt x="185" y="205"/>
                  </a:lnTo>
                  <a:lnTo>
                    <a:pt x="191" y="193"/>
                  </a:lnTo>
                  <a:lnTo>
                    <a:pt x="175" y="195"/>
                  </a:lnTo>
                  <a:lnTo>
                    <a:pt x="175" y="184"/>
                  </a:lnTo>
                  <a:lnTo>
                    <a:pt x="135" y="184"/>
                  </a:lnTo>
                  <a:lnTo>
                    <a:pt x="188" y="181"/>
                  </a:lnTo>
                  <a:lnTo>
                    <a:pt x="196" y="172"/>
                  </a:lnTo>
                  <a:lnTo>
                    <a:pt x="188" y="162"/>
                  </a:lnTo>
                  <a:lnTo>
                    <a:pt x="218" y="162"/>
                  </a:lnTo>
                  <a:lnTo>
                    <a:pt x="225" y="158"/>
                  </a:lnTo>
                  <a:lnTo>
                    <a:pt x="204" y="155"/>
                  </a:lnTo>
                  <a:lnTo>
                    <a:pt x="231" y="154"/>
                  </a:lnTo>
                  <a:lnTo>
                    <a:pt x="213" y="147"/>
                  </a:lnTo>
                  <a:lnTo>
                    <a:pt x="235" y="142"/>
                  </a:lnTo>
                  <a:lnTo>
                    <a:pt x="234" y="136"/>
                  </a:lnTo>
                  <a:lnTo>
                    <a:pt x="194" y="133"/>
                  </a:lnTo>
                  <a:lnTo>
                    <a:pt x="217" y="129"/>
                  </a:lnTo>
                  <a:lnTo>
                    <a:pt x="193" y="127"/>
                  </a:lnTo>
                  <a:lnTo>
                    <a:pt x="235" y="131"/>
                  </a:lnTo>
                  <a:lnTo>
                    <a:pt x="237" y="125"/>
                  </a:lnTo>
                  <a:lnTo>
                    <a:pt x="193" y="123"/>
                  </a:lnTo>
                  <a:lnTo>
                    <a:pt x="250" y="115"/>
                  </a:lnTo>
                  <a:lnTo>
                    <a:pt x="235" y="108"/>
                  </a:lnTo>
                  <a:lnTo>
                    <a:pt x="276" y="111"/>
                  </a:lnTo>
                  <a:lnTo>
                    <a:pt x="289" y="99"/>
                  </a:lnTo>
                  <a:lnTo>
                    <a:pt x="268" y="98"/>
                  </a:lnTo>
                  <a:lnTo>
                    <a:pt x="295" y="96"/>
                  </a:lnTo>
                  <a:lnTo>
                    <a:pt x="292" y="88"/>
                  </a:lnTo>
                  <a:lnTo>
                    <a:pt x="305" y="90"/>
                  </a:lnTo>
                  <a:lnTo>
                    <a:pt x="375" y="55"/>
                  </a:lnTo>
                  <a:lnTo>
                    <a:pt x="297" y="67"/>
                  </a:lnTo>
                  <a:lnTo>
                    <a:pt x="341" y="53"/>
                  </a:lnTo>
                  <a:lnTo>
                    <a:pt x="314" y="54"/>
                  </a:lnTo>
                  <a:lnTo>
                    <a:pt x="308" y="47"/>
                  </a:lnTo>
                  <a:lnTo>
                    <a:pt x="357" y="50"/>
                  </a:lnTo>
                  <a:lnTo>
                    <a:pt x="420" y="32"/>
                  </a:lnTo>
                  <a:lnTo>
                    <a:pt x="419" y="23"/>
                  </a:lnTo>
                  <a:lnTo>
                    <a:pt x="393" y="23"/>
                  </a:lnTo>
                  <a:lnTo>
                    <a:pt x="386" y="9"/>
                  </a:lnTo>
                  <a:lnTo>
                    <a:pt x="314" y="16"/>
                  </a:lnTo>
                  <a:lnTo>
                    <a:pt x="345" y="6"/>
                  </a:lnTo>
                  <a:lnTo>
                    <a:pt x="250" y="0"/>
                  </a:lnTo>
                  <a:lnTo>
                    <a:pt x="242" y="7"/>
                  </a:lnTo>
                  <a:lnTo>
                    <a:pt x="249" y="11"/>
                  </a:lnTo>
                  <a:lnTo>
                    <a:pt x="231" y="4"/>
                  </a:lnTo>
                  <a:lnTo>
                    <a:pt x="189" y="4"/>
                  </a:lnTo>
                  <a:lnTo>
                    <a:pt x="219" y="19"/>
                  </a:lnTo>
                  <a:lnTo>
                    <a:pt x="208" y="23"/>
                  </a:lnTo>
                  <a:lnTo>
                    <a:pt x="193" y="8"/>
                  </a:lnTo>
                  <a:lnTo>
                    <a:pt x="154" y="7"/>
                  </a:lnTo>
                  <a:lnTo>
                    <a:pt x="162" y="13"/>
                  </a:lnTo>
                  <a:lnTo>
                    <a:pt x="132" y="11"/>
                  </a:lnTo>
                  <a:lnTo>
                    <a:pt x="147" y="21"/>
                  </a:lnTo>
                  <a:lnTo>
                    <a:pt x="124" y="15"/>
                  </a:lnTo>
                  <a:lnTo>
                    <a:pt x="131" y="21"/>
                  </a:lnTo>
                  <a:lnTo>
                    <a:pt x="117" y="23"/>
                  </a:lnTo>
                  <a:lnTo>
                    <a:pt x="147" y="37"/>
                  </a:lnTo>
                  <a:lnTo>
                    <a:pt x="81" y="22"/>
                  </a:lnTo>
                  <a:lnTo>
                    <a:pt x="65" y="33"/>
                  </a:lnTo>
                  <a:lnTo>
                    <a:pt x="91" y="38"/>
                  </a:lnTo>
                  <a:lnTo>
                    <a:pt x="47" y="34"/>
                  </a:lnTo>
                  <a:lnTo>
                    <a:pt x="0" y="50"/>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78" name="Freeform 777"/>
            <p:cNvSpPr>
              <a:spLocks/>
            </p:cNvSpPr>
            <p:nvPr/>
          </p:nvSpPr>
          <p:spPr bwMode="auto">
            <a:xfrm>
              <a:off x="1851" y="2184"/>
              <a:ext cx="392" cy="278"/>
            </a:xfrm>
            <a:custGeom>
              <a:avLst/>
              <a:gdLst>
                <a:gd name="T0" fmla="*/ 0 w 392"/>
                <a:gd name="T1" fmla="*/ 61 h 278"/>
                <a:gd name="T2" fmla="*/ 19 w 392"/>
                <a:gd name="T3" fmla="*/ 10 h 278"/>
                <a:gd name="T4" fmla="*/ 69 w 392"/>
                <a:gd name="T5" fmla="*/ 4 h 278"/>
                <a:gd name="T6" fmla="*/ 51 w 392"/>
                <a:gd name="T7" fmla="*/ 49 h 278"/>
                <a:gd name="T8" fmla="*/ 47 w 392"/>
                <a:gd name="T9" fmla="*/ 72 h 278"/>
                <a:gd name="T10" fmla="*/ 73 w 392"/>
                <a:gd name="T11" fmla="*/ 56 h 278"/>
                <a:gd name="T12" fmla="*/ 70 w 392"/>
                <a:gd name="T13" fmla="*/ 38 h 278"/>
                <a:gd name="T14" fmla="*/ 82 w 392"/>
                <a:gd name="T15" fmla="*/ 28 h 278"/>
                <a:gd name="T16" fmla="*/ 85 w 392"/>
                <a:gd name="T17" fmla="*/ 23 h 278"/>
                <a:gd name="T18" fmla="*/ 88 w 392"/>
                <a:gd name="T19" fmla="*/ 14 h 278"/>
                <a:gd name="T20" fmla="*/ 116 w 392"/>
                <a:gd name="T21" fmla="*/ 3 h 278"/>
                <a:gd name="T22" fmla="*/ 128 w 392"/>
                <a:gd name="T23" fmla="*/ 21 h 278"/>
                <a:gd name="T24" fmla="*/ 139 w 392"/>
                <a:gd name="T25" fmla="*/ 36 h 278"/>
                <a:gd name="T26" fmla="*/ 170 w 392"/>
                <a:gd name="T27" fmla="*/ 28 h 278"/>
                <a:gd name="T28" fmla="*/ 215 w 392"/>
                <a:gd name="T29" fmla="*/ 49 h 278"/>
                <a:gd name="T30" fmla="*/ 225 w 392"/>
                <a:gd name="T31" fmla="*/ 53 h 278"/>
                <a:gd name="T32" fmla="*/ 231 w 392"/>
                <a:gd name="T33" fmla="*/ 65 h 278"/>
                <a:gd name="T34" fmla="*/ 254 w 392"/>
                <a:gd name="T35" fmla="*/ 60 h 278"/>
                <a:gd name="T36" fmla="*/ 246 w 392"/>
                <a:gd name="T37" fmla="*/ 71 h 278"/>
                <a:gd name="T38" fmla="*/ 262 w 392"/>
                <a:gd name="T39" fmla="*/ 82 h 278"/>
                <a:gd name="T40" fmla="*/ 267 w 392"/>
                <a:gd name="T41" fmla="*/ 85 h 278"/>
                <a:gd name="T42" fmla="*/ 279 w 392"/>
                <a:gd name="T43" fmla="*/ 92 h 278"/>
                <a:gd name="T44" fmla="*/ 287 w 392"/>
                <a:gd name="T45" fmla="*/ 98 h 278"/>
                <a:gd name="T46" fmla="*/ 312 w 392"/>
                <a:gd name="T47" fmla="*/ 99 h 278"/>
                <a:gd name="T48" fmla="*/ 322 w 392"/>
                <a:gd name="T49" fmla="*/ 114 h 278"/>
                <a:gd name="T50" fmla="*/ 305 w 392"/>
                <a:gd name="T51" fmla="*/ 120 h 278"/>
                <a:gd name="T52" fmla="*/ 329 w 392"/>
                <a:gd name="T53" fmla="*/ 146 h 278"/>
                <a:gd name="T54" fmla="*/ 353 w 392"/>
                <a:gd name="T55" fmla="*/ 162 h 278"/>
                <a:gd name="T56" fmla="*/ 367 w 392"/>
                <a:gd name="T57" fmla="*/ 169 h 278"/>
                <a:gd name="T58" fmla="*/ 388 w 392"/>
                <a:gd name="T59" fmla="*/ 184 h 278"/>
                <a:gd name="T60" fmla="*/ 381 w 392"/>
                <a:gd name="T61" fmla="*/ 189 h 278"/>
                <a:gd name="T62" fmla="*/ 364 w 392"/>
                <a:gd name="T63" fmla="*/ 195 h 278"/>
                <a:gd name="T64" fmla="*/ 317 w 392"/>
                <a:gd name="T65" fmla="*/ 178 h 278"/>
                <a:gd name="T66" fmla="*/ 312 w 392"/>
                <a:gd name="T67" fmla="*/ 190 h 278"/>
                <a:gd name="T68" fmla="*/ 310 w 392"/>
                <a:gd name="T69" fmla="*/ 198 h 278"/>
                <a:gd name="T70" fmla="*/ 341 w 392"/>
                <a:gd name="T71" fmla="*/ 220 h 278"/>
                <a:gd name="T72" fmla="*/ 351 w 392"/>
                <a:gd name="T73" fmla="*/ 240 h 278"/>
                <a:gd name="T74" fmla="*/ 290 w 392"/>
                <a:gd name="T75" fmla="*/ 239 h 278"/>
                <a:gd name="T76" fmla="*/ 256 w 392"/>
                <a:gd name="T77" fmla="*/ 256 h 278"/>
                <a:gd name="T78" fmla="*/ 256 w 392"/>
                <a:gd name="T79" fmla="*/ 242 h 278"/>
                <a:gd name="T80" fmla="*/ 227 w 392"/>
                <a:gd name="T81" fmla="*/ 219 h 278"/>
                <a:gd name="T82" fmla="*/ 208 w 392"/>
                <a:gd name="T83" fmla="*/ 224 h 278"/>
                <a:gd name="T84" fmla="*/ 182 w 392"/>
                <a:gd name="T85" fmla="*/ 229 h 278"/>
                <a:gd name="T86" fmla="*/ 173 w 392"/>
                <a:gd name="T87" fmla="*/ 202 h 278"/>
                <a:gd name="T88" fmla="*/ 213 w 392"/>
                <a:gd name="T89" fmla="*/ 186 h 278"/>
                <a:gd name="T90" fmla="*/ 221 w 392"/>
                <a:gd name="T91" fmla="*/ 128 h 278"/>
                <a:gd name="T92" fmla="*/ 215 w 392"/>
                <a:gd name="T93" fmla="*/ 120 h 278"/>
                <a:gd name="T94" fmla="*/ 182 w 392"/>
                <a:gd name="T95" fmla="*/ 119 h 278"/>
                <a:gd name="T96" fmla="*/ 170 w 392"/>
                <a:gd name="T97" fmla="*/ 101 h 278"/>
                <a:gd name="T98" fmla="*/ 148 w 392"/>
                <a:gd name="T99" fmla="*/ 86 h 278"/>
                <a:gd name="T100" fmla="*/ 115 w 392"/>
                <a:gd name="T101" fmla="*/ 95 h 278"/>
                <a:gd name="T102" fmla="*/ 26 w 392"/>
                <a:gd name="T103" fmla="*/ 89 h 278"/>
                <a:gd name="T104" fmla="*/ 39 w 392"/>
                <a:gd name="T105" fmla="*/ 72 h 278"/>
                <a:gd name="T106" fmla="*/ 0 w 392"/>
                <a:gd name="T107" fmla="*/ 61 h 2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2"/>
                <a:gd name="T163" fmla="*/ 0 h 278"/>
                <a:gd name="T164" fmla="*/ 392 w 392"/>
                <a:gd name="T165" fmla="*/ 278 h 2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2" h="278">
                  <a:moveTo>
                    <a:pt x="0" y="61"/>
                  </a:moveTo>
                  <a:lnTo>
                    <a:pt x="0" y="61"/>
                  </a:lnTo>
                  <a:lnTo>
                    <a:pt x="3" y="32"/>
                  </a:lnTo>
                  <a:lnTo>
                    <a:pt x="19" y="10"/>
                  </a:lnTo>
                  <a:lnTo>
                    <a:pt x="47" y="0"/>
                  </a:lnTo>
                  <a:lnTo>
                    <a:pt x="69" y="4"/>
                  </a:lnTo>
                  <a:lnTo>
                    <a:pt x="45" y="32"/>
                  </a:lnTo>
                  <a:lnTo>
                    <a:pt x="51" y="49"/>
                  </a:lnTo>
                  <a:lnTo>
                    <a:pt x="69" y="65"/>
                  </a:lnTo>
                  <a:lnTo>
                    <a:pt x="47" y="72"/>
                  </a:lnTo>
                  <a:lnTo>
                    <a:pt x="70" y="71"/>
                  </a:lnTo>
                  <a:lnTo>
                    <a:pt x="73" y="56"/>
                  </a:lnTo>
                  <a:lnTo>
                    <a:pt x="56" y="47"/>
                  </a:lnTo>
                  <a:lnTo>
                    <a:pt x="70" y="38"/>
                  </a:lnTo>
                  <a:lnTo>
                    <a:pt x="59" y="25"/>
                  </a:lnTo>
                  <a:lnTo>
                    <a:pt x="82" y="28"/>
                  </a:lnTo>
                  <a:lnTo>
                    <a:pt x="61" y="21"/>
                  </a:lnTo>
                  <a:lnTo>
                    <a:pt x="85" y="23"/>
                  </a:lnTo>
                  <a:lnTo>
                    <a:pt x="69" y="13"/>
                  </a:lnTo>
                  <a:lnTo>
                    <a:pt x="88" y="14"/>
                  </a:lnTo>
                  <a:lnTo>
                    <a:pt x="100" y="4"/>
                  </a:lnTo>
                  <a:lnTo>
                    <a:pt x="116" y="3"/>
                  </a:lnTo>
                  <a:lnTo>
                    <a:pt x="117" y="16"/>
                  </a:lnTo>
                  <a:lnTo>
                    <a:pt x="128" y="21"/>
                  </a:lnTo>
                  <a:lnTo>
                    <a:pt x="124" y="49"/>
                  </a:lnTo>
                  <a:lnTo>
                    <a:pt x="139" y="36"/>
                  </a:lnTo>
                  <a:lnTo>
                    <a:pt x="148" y="41"/>
                  </a:lnTo>
                  <a:lnTo>
                    <a:pt x="170" y="28"/>
                  </a:lnTo>
                  <a:lnTo>
                    <a:pt x="202" y="36"/>
                  </a:lnTo>
                  <a:lnTo>
                    <a:pt x="215" y="49"/>
                  </a:lnTo>
                  <a:lnTo>
                    <a:pt x="206" y="56"/>
                  </a:lnTo>
                  <a:lnTo>
                    <a:pt x="225" y="53"/>
                  </a:lnTo>
                  <a:lnTo>
                    <a:pt x="219" y="61"/>
                  </a:lnTo>
                  <a:lnTo>
                    <a:pt x="231" y="65"/>
                  </a:lnTo>
                  <a:lnTo>
                    <a:pt x="240" y="55"/>
                  </a:lnTo>
                  <a:lnTo>
                    <a:pt x="254" y="60"/>
                  </a:lnTo>
                  <a:lnTo>
                    <a:pt x="258" y="69"/>
                  </a:lnTo>
                  <a:lnTo>
                    <a:pt x="246" y="71"/>
                  </a:lnTo>
                  <a:lnTo>
                    <a:pt x="265" y="71"/>
                  </a:lnTo>
                  <a:lnTo>
                    <a:pt x="262" y="82"/>
                  </a:lnTo>
                  <a:lnTo>
                    <a:pt x="276" y="76"/>
                  </a:lnTo>
                  <a:lnTo>
                    <a:pt x="267" y="85"/>
                  </a:lnTo>
                  <a:lnTo>
                    <a:pt x="295" y="83"/>
                  </a:lnTo>
                  <a:lnTo>
                    <a:pt x="279" y="92"/>
                  </a:lnTo>
                  <a:lnTo>
                    <a:pt x="292" y="92"/>
                  </a:lnTo>
                  <a:lnTo>
                    <a:pt x="287" y="98"/>
                  </a:lnTo>
                  <a:lnTo>
                    <a:pt x="300" y="89"/>
                  </a:lnTo>
                  <a:lnTo>
                    <a:pt x="312" y="99"/>
                  </a:lnTo>
                  <a:lnTo>
                    <a:pt x="290" y="107"/>
                  </a:lnTo>
                  <a:lnTo>
                    <a:pt x="322" y="114"/>
                  </a:lnTo>
                  <a:lnTo>
                    <a:pt x="294" y="116"/>
                  </a:lnTo>
                  <a:lnTo>
                    <a:pt x="305" y="120"/>
                  </a:lnTo>
                  <a:lnTo>
                    <a:pt x="296" y="129"/>
                  </a:lnTo>
                  <a:lnTo>
                    <a:pt x="329" y="146"/>
                  </a:lnTo>
                  <a:lnTo>
                    <a:pt x="345" y="143"/>
                  </a:lnTo>
                  <a:lnTo>
                    <a:pt x="353" y="162"/>
                  </a:lnTo>
                  <a:lnTo>
                    <a:pt x="369" y="161"/>
                  </a:lnTo>
                  <a:lnTo>
                    <a:pt x="367" y="169"/>
                  </a:lnTo>
                  <a:lnTo>
                    <a:pt x="391" y="174"/>
                  </a:lnTo>
                  <a:lnTo>
                    <a:pt x="388" y="184"/>
                  </a:lnTo>
                  <a:lnTo>
                    <a:pt x="376" y="183"/>
                  </a:lnTo>
                  <a:lnTo>
                    <a:pt x="381" y="189"/>
                  </a:lnTo>
                  <a:lnTo>
                    <a:pt x="375" y="199"/>
                  </a:lnTo>
                  <a:lnTo>
                    <a:pt x="364" y="195"/>
                  </a:lnTo>
                  <a:lnTo>
                    <a:pt x="362" y="214"/>
                  </a:lnTo>
                  <a:lnTo>
                    <a:pt x="317" y="178"/>
                  </a:lnTo>
                  <a:lnTo>
                    <a:pt x="300" y="182"/>
                  </a:lnTo>
                  <a:lnTo>
                    <a:pt x="312" y="190"/>
                  </a:lnTo>
                  <a:lnTo>
                    <a:pt x="303" y="199"/>
                  </a:lnTo>
                  <a:lnTo>
                    <a:pt x="310" y="198"/>
                  </a:lnTo>
                  <a:lnTo>
                    <a:pt x="320" y="216"/>
                  </a:lnTo>
                  <a:lnTo>
                    <a:pt x="341" y="220"/>
                  </a:lnTo>
                  <a:lnTo>
                    <a:pt x="340" y="231"/>
                  </a:lnTo>
                  <a:lnTo>
                    <a:pt x="351" y="240"/>
                  </a:lnTo>
                  <a:lnTo>
                    <a:pt x="345" y="264"/>
                  </a:lnTo>
                  <a:lnTo>
                    <a:pt x="290" y="239"/>
                  </a:lnTo>
                  <a:lnTo>
                    <a:pt x="327" y="277"/>
                  </a:lnTo>
                  <a:lnTo>
                    <a:pt x="256" y="256"/>
                  </a:lnTo>
                  <a:lnTo>
                    <a:pt x="246" y="243"/>
                  </a:lnTo>
                  <a:lnTo>
                    <a:pt x="256" y="242"/>
                  </a:lnTo>
                  <a:lnTo>
                    <a:pt x="233" y="234"/>
                  </a:lnTo>
                  <a:lnTo>
                    <a:pt x="227" y="219"/>
                  </a:lnTo>
                  <a:lnTo>
                    <a:pt x="209" y="214"/>
                  </a:lnTo>
                  <a:lnTo>
                    <a:pt x="208" y="224"/>
                  </a:lnTo>
                  <a:lnTo>
                    <a:pt x="198" y="219"/>
                  </a:lnTo>
                  <a:lnTo>
                    <a:pt x="182" y="229"/>
                  </a:lnTo>
                  <a:lnTo>
                    <a:pt x="163" y="219"/>
                  </a:lnTo>
                  <a:lnTo>
                    <a:pt x="173" y="202"/>
                  </a:lnTo>
                  <a:lnTo>
                    <a:pt x="225" y="202"/>
                  </a:lnTo>
                  <a:lnTo>
                    <a:pt x="213" y="186"/>
                  </a:lnTo>
                  <a:lnTo>
                    <a:pt x="242" y="161"/>
                  </a:lnTo>
                  <a:lnTo>
                    <a:pt x="221" y="128"/>
                  </a:lnTo>
                  <a:lnTo>
                    <a:pt x="207" y="125"/>
                  </a:lnTo>
                  <a:lnTo>
                    <a:pt x="215" y="120"/>
                  </a:lnTo>
                  <a:lnTo>
                    <a:pt x="183" y="129"/>
                  </a:lnTo>
                  <a:lnTo>
                    <a:pt x="182" y="119"/>
                  </a:lnTo>
                  <a:lnTo>
                    <a:pt x="194" y="114"/>
                  </a:lnTo>
                  <a:lnTo>
                    <a:pt x="170" y="101"/>
                  </a:lnTo>
                  <a:lnTo>
                    <a:pt x="170" y="91"/>
                  </a:lnTo>
                  <a:lnTo>
                    <a:pt x="148" y="86"/>
                  </a:lnTo>
                  <a:lnTo>
                    <a:pt x="153" y="100"/>
                  </a:lnTo>
                  <a:lnTo>
                    <a:pt x="115" y="95"/>
                  </a:lnTo>
                  <a:lnTo>
                    <a:pt x="125" y="102"/>
                  </a:lnTo>
                  <a:lnTo>
                    <a:pt x="26" y="89"/>
                  </a:lnTo>
                  <a:lnTo>
                    <a:pt x="8" y="71"/>
                  </a:lnTo>
                  <a:lnTo>
                    <a:pt x="39" y="72"/>
                  </a:lnTo>
                  <a:lnTo>
                    <a:pt x="0" y="61"/>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79" name="Freeform 778"/>
            <p:cNvSpPr>
              <a:spLocks/>
            </p:cNvSpPr>
            <p:nvPr/>
          </p:nvSpPr>
          <p:spPr bwMode="auto">
            <a:xfrm>
              <a:off x="1890" y="2375"/>
              <a:ext cx="92" cy="62"/>
            </a:xfrm>
            <a:custGeom>
              <a:avLst/>
              <a:gdLst>
                <a:gd name="T0" fmla="*/ 0 w 92"/>
                <a:gd name="T1" fmla="*/ 50 h 62"/>
                <a:gd name="T2" fmla="*/ 0 w 92"/>
                <a:gd name="T3" fmla="*/ 50 h 62"/>
                <a:gd name="T4" fmla="*/ 14 w 92"/>
                <a:gd name="T5" fmla="*/ 38 h 62"/>
                <a:gd name="T6" fmla="*/ 22 w 92"/>
                <a:gd name="T7" fmla="*/ 0 h 62"/>
                <a:gd name="T8" fmla="*/ 30 w 92"/>
                <a:gd name="T9" fmla="*/ 14 h 62"/>
                <a:gd name="T10" fmla="*/ 51 w 92"/>
                <a:gd name="T11" fmla="*/ 17 h 62"/>
                <a:gd name="T12" fmla="*/ 91 w 92"/>
                <a:gd name="T13" fmla="*/ 45 h 62"/>
                <a:gd name="T14" fmla="*/ 86 w 92"/>
                <a:gd name="T15" fmla="*/ 54 h 62"/>
                <a:gd name="T16" fmla="*/ 49 w 92"/>
                <a:gd name="T17" fmla="*/ 41 h 62"/>
                <a:gd name="T18" fmla="*/ 27 w 92"/>
                <a:gd name="T19" fmla="*/ 61 h 62"/>
                <a:gd name="T20" fmla="*/ 21 w 92"/>
                <a:gd name="T21" fmla="*/ 45 h 62"/>
                <a:gd name="T22" fmla="*/ 0 w 92"/>
                <a:gd name="T23" fmla="*/ 50 h 62"/>
                <a:gd name="T24" fmla="*/ 0 w 92"/>
                <a:gd name="T25" fmla="*/ 5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62"/>
                <a:gd name="T41" fmla="*/ 92 w 92"/>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62">
                  <a:moveTo>
                    <a:pt x="0" y="50"/>
                  </a:moveTo>
                  <a:lnTo>
                    <a:pt x="0" y="50"/>
                  </a:lnTo>
                  <a:lnTo>
                    <a:pt x="14" y="38"/>
                  </a:lnTo>
                  <a:lnTo>
                    <a:pt x="22" y="0"/>
                  </a:lnTo>
                  <a:lnTo>
                    <a:pt x="30" y="14"/>
                  </a:lnTo>
                  <a:lnTo>
                    <a:pt x="51" y="17"/>
                  </a:lnTo>
                  <a:lnTo>
                    <a:pt x="91" y="45"/>
                  </a:lnTo>
                  <a:lnTo>
                    <a:pt x="86" y="54"/>
                  </a:lnTo>
                  <a:lnTo>
                    <a:pt x="49" y="41"/>
                  </a:lnTo>
                  <a:lnTo>
                    <a:pt x="27" y="61"/>
                  </a:lnTo>
                  <a:lnTo>
                    <a:pt x="21" y="45"/>
                  </a:lnTo>
                  <a:lnTo>
                    <a:pt x="0" y="50"/>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80" name="Freeform 779"/>
            <p:cNvSpPr>
              <a:spLocks/>
            </p:cNvSpPr>
            <p:nvPr/>
          </p:nvSpPr>
          <p:spPr bwMode="auto">
            <a:xfrm>
              <a:off x="2271" y="2661"/>
              <a:ext cx="92" cy="89"/>
            </a:xfrm>
            <a:custGeom>
              <a:avLst/>
              <a:gdLst>
                <a:gd name="T0" fmla="*/ 0 w 92"/>
                <a:gd name="T1" fmla="*/ 69 h 89"/>
                <a:gd name="T2" fmla="*/ 0 w 92"/>
                <a:gd name="T3" fmla="*/ 69 h 89"/>
                <a:gd name="T4" fmla="*/ 37 w 92"/>
                <a:gd name="T5" fmla="*/ 4 h 89"/>
                <a:gd name="T6" fmla="*/ 52 w 92"/>
                <a:gd name="T7" fmla="*/ 0 h 89"/>
                <a:gd name="T8" fmla="*/ 34 w 92"/>
                <a:gd name="T9" fmla="*/ 34 h 89"/>
                <a:gd name="T10" fmla="*/ 46 w 92"/>
                <a:gd name="T11" fmla="*/ 26 h 89"/>
                <a:gd name="T12" fmla="*/ 54 w 92"/>
                <a:gd name="T13" fmla="*/ 41 h 89"/>
                <a:gd name="T14" fmla="*/ 78 w 92"/>
                <a:gd name="T15" fmla="*/ 41 h 89"/>
                <a:gd name="T16" fmla="*/ 73 w 92"/>
                <a:gd name="T17" fmla="*/ 54 h 89"/>
                <a:gd name="T18" fmla="*/ 85 w 92"/>
                <a:gd name="T19" fmla="*/ 53 h 89"/>
                <a:gd name="T20" fmla="*/ 77 w 92"/>
                <a:gd name="T21" fmla="*/ 67 h 89"/>
                <a:gd name="T22" fmla="*/ 88 w 92"/>
                <a:gd name="T23" fmla="*/ 60 h 89"/>
                <a:gd name="T24" fmla="*/ 91 w 92"/>
                <a:gd name="T25" fmla="*/ 73 h 89"/>
                <a:gd name="T26" fmla="*/ 79 w 92"/>
                <a:gd name="T27" fmla="*/ 88 h 89"/>
                <a:gd name="T28" fmla="*/ 78 w 92"/>
                <a:gd name="T29" fmla="*/ 77 h 89"/>
                <a:gd name="T30" fmla="*/ 73 w 92"/>
                <a:gd name="T31" fmla="*/ 83 h 89"/>
                <a:gd name="T32" fmla="*/ 73 w 92"/>
                <a:gd name="T33" fmla="*/ 66 h 89"/>
                <a:gd name="T34" fmla="*/ 50 w 92"/>
                <a:gd name="T35" fmla="*/ 83 h 89"/>
                <a:gd name="T36" fmla="*/ 63 w 92"/>
                <a:gd name="T37" fmla="*/ 71 h 89"/>
                <a:gd name="T38" fmla="*/ 45 w 92"/>
                <a:gd name="T39" fmla="*/ 73 h 89"/>
                <a:gd name="T40" fmla="*/ 49 w 92"/>
                <a:gd name="T41" fmla="*/ 66 h 89"/>
                <a:gd name="T42" fmla="*/ 0 w 92"/>
                <a:gd name="T43" fmla="*/ 69 h 89"/>
                <a:gd name="T44" fmla="*/ 0 w 92"/>
                <a:gd name="T45" fmla="*/ 69 h 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2"/>
                <a:gd name="T70" fmla="*/ 0 h 89"/>
                <a:gd name="T71" fmla="*/ 92 w 92"/>
                <a:gd name="T72" fmla="*/ 89 h 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2" h="89">
                  <a:moveTo>
                    <a:pt x="0" y="69"/>
                  </a:moveTo>
                  <a:lnTo>
                    <a:pt x="0" y="69"/>
                  </a:lnTo>
                  <a:lnTo>
                    <a:pt x="37" y="4"/>
                  </a:lnTo>
                  <a:lnTo>
                    <a:pt x="52" y="0"/>
                  </a:lnTo>
                  <a:lnTo>
                    <a:pt x="34" y="34"/>
                  </a:lnTo>
                  <a:lnTo>
                    <a:pt x="46" y="26"/>
                  </a:lnTo>
                  <a:lnTo>
                    <a:pt x="54" y="41"/>
                  </a:lnTo>
                  <a:lnTo>
                    <a:pt x="78" y="41"/>
                  </a:lnTo>
                  <a:lnTo>
                    <a:pt x="73" y="54"/>
                  </a:lnTo>
                  <a:lnTo>
                    <a:pt x="85" y="53"/>
                  </a:lnTo>
                  <a:lnTo>
                    <a:pt x="77" y="67"/>
                  </a:lnTo>
                  <a:lnTo>
                    <a:pt x="88" y="60"/>
                  </a:lnTo>
                  <a:lnTo>
                    <a:pt x="91" y="73"/>
                  </a:lnTo>
                  <a:lnTo>
                    <a:pt x="79" y="88"/>
                  </a:lnTo>
                  <a:lnTo>
                    <a:pt x="78" y="77"/>
                  </a:lnTo>
                  <a:lnTo>
                    <a:pt x="73" y="83"/>
                  </a:lnTo>
                  <a:lnTo>
                    <a:pt x="73" y="66"/>
                  </a:lnTo>
                  <a:lnTo>
                    <a:pt x="50" y="83"/>
                  </a:lnTo>
                  <a:lnTo>
                    <a:pt x="63" y="71"/>
                  </a:lnTo>
                  <a:lnTo>
                    <a:pt x="45" y="73"/>
                  </a:lnTo>
                  <a:lnTo>
                    <a:pt x="49" y="66"/>
                  </a:lnTo>
                  <a:lnTo>
                    <a:pt x="0" y="69"/>
                  </a:lnTo>
                </a:path>
              </a:pathLst>
            </a:custGeom>
            <a:grpFill/>
            <a:ln w="12700">
              <a:solidFill>
                <a:schemeClr val="bg1"/>
              </a:solidFill>
              <a:round/>
              <a:headEnd/>
              <a:tailEnd/>
            </a:ln>
          </p:spPr>
          <p:txBody>
            <a:bodyPr lIns="0" tIns="0" rIns="0" bIns="0" anchor="ctr">
              <a:spAutoFit/>
            </a:bodyPr>
            <a:lstStyle/>
            <a:p>
              <a:pPr>
                <a:defRPr/>
              </a:pPr>
              <a:endParaRPr lang="en-GB"/>
            </a:p>
          </p:txBody>
        </p:sp>
      </p:grpSp>
      <p:sp>
        <p:nvSpPr>
          <p:cNvPr id="548" name="Freeform 547"/>
          <p:cNvSpPr>
            <a:spLocks/>
          </p:cNvSpPr>
          <p:nvPr/>
        </p:nvSpPr>
        <p:spPr bwMode="auto">
          <a:xfrm>
            <a:off x="2621588" y="1638300"/>
            <a:ext cx="1411513" cy="999934"/>
          </a:xfrm>
          <a:custGeom>
            <a:avLst/>
            <a:gdLst>
              <a:gd name="T0" fmla="*/ 91471449 w 830"/>
              <a:gd name="T1" fmla="*/ 245076928 h 606"/>
              <a:gd name="T2" fmla="*/ 182942897 w 830"/>
              <a:gd name="T3" fmla="*/ 205933045 h 606"/>
              <a:gd name="T4" fmla="*/ 148834854 w 830"/>
              <a:gd name="T5" fmla="*/ 199125753 h 606"/>
              <a:gd name="T6" fmla="*/ 243406691 w 830"/>
              <a:gd name="T7" fmla="*/ 132750054 h 606"/>
              <a:gd name="T8" fmla="*/ 275964501 w 830"/>
              <a:gd name="T9" fmla="*/ 88500049 h 606"/>
              <a:gd name="T10" fmla="*/ 410846402 w 830"/>
              <a:gd name="T11" fmla="*/ 86798879 h 606"/>
              <a:gd name="T12" fmla="*/ 455807010 w 830"/>
              <a:gd name="T13" fmla="*/ 76586617 h 606"/>
              <a:gd name="T14" fmla="*/ 576735842 w 830"/>
              <a:gd name="T15" fmla="*/ 86798879 h 606"/>
              <a:gd name="T16" fmla="*/ 561231411 w 830"/>
              <a:gd name="T17" fmla="*/ 44250025 h 606"/>
              <a:gd name="T18" fmla="*/ 607742213 w 830"/>
              <a:gd name="T19" fmla="*/ 39143894 h 606"/>
              <a:gd name="T20" fmla="*/ 617044622 w 830"/>
              <a:gd name="T21" fmla="*/ 15317063 h 606"/>
              <a:gd name="T22" fmla="*/ 702315412 w 830"/>
              <a:gd name="T23" fmla="*/ 20423184 h 606"/>
              <a:gd name="T24" fmla="*/ 976729641 w 830"/>
              <a:gd name="T25" fmla="*/ 15317063 h 606"/>
              <a:gd name="T26" fmla="*/ 767429787 w 830"/>
              <a:gd name="T27" fmla="*/ 39143894 h 606"/>
              <a:gd name="T28" fmla="*/ 1021690249 w 830"/>
              <a:gd name="T29" fmla="*/ 39143894 h 606"/>
              <a:gd name="T30" fmla="*/ 883708037 w 830"/>
              <a:gd name="T31" fmla="*/ 85096383 h 606"/>
              <a:gd name="T32" fmla="*/ 992232826 w 830"/>
              <a:gd name="T33" fmla="*/ 97009816 h 606"/>
              <a:gd name="T34" fmla="*/ 1017038421 w 830"/>
              <a:gd name="T35" fmla="*/ 171893978 h 606"/>
              <a:gd name="T36" fmla="*/ 1172075258 w 830"/>
              <a:gd name="T37" fmla="*/ 97009816 h 606"/>
              <a:gd name="T38" fmla="*/ 1227888469 w 830"/>
              <a:gd name="T39" fmla="*/ 151472062 h 606"/>
              <a:gd name="T40" fmla="*/ 1114711852 w 830"/>
              <a:gd name="T41" fmla="*/ 209336691 h 606"/>
              <a:gd name="T42" fmla="*/ 1141067641 w 830"/>
              <a:gd name="T43" fmla="*/ 234865991 h 606"/>
              <a:gd name="T44" fmla="*/ 1137967253 w 830"/>
              <a:gd name="T45" fmla="*/ 311452587 h 606"/>
              <a:gd name="T46" fmla="*/ 1158122266 w 830"/>
              <a:gd name="T47" fmla="*/ 354000198 h 606"/>
              <a:gd name="T48" fmla="*/ 1085254430 w 830"/>
              <a:gd name="T49" fmla="*/ 384635619 h 606"/>
              <a:gd name="T50" fmla="*/ 1128664844 w 830"/>
              <a:gd name="T51" fmla="*/ 437395390 h 606"/>
              <a:gd name="T52" fmla="*/ 1105409443 w 830"/>
              <a:gd name="T53" fmla="*/ 442501511 h 606"/>
              <a:gd name="T54" fmla="*/ 1066650856 w 830"/>
              <a:gd name="T55" fmla="*/ 473135628 h 606"/>
              <a:gd name="T56" fmla="*/ 1030992658 w 830"/>
              <a:gd name="T57" fmla="*/ 496962453 h 606"/>
              <a:gd name="T58" fmla="*/ 1018589860 w 830"/>
              <a:gd name="T59" fmla="*/ 546318578 h 606"/>
              <a:gd name="T60" fmla="*/ 1052696620 w 830"/>
              <a:gd name="T61" fmla="*/ 595674703 h 606"/>
              <a:gd name="T62" fmla="*/ 1086804624 w 830"/>
              <a:gd name="T63" fmla="*/ 641625878 h 606"/>
              <a:gd name="T64" fmla="*/ 1021690249 w 830"/>
              <a:gd name="T65" fmla="*/ 604184470 h 606"/>
              <a:gd name="T66" fmla="*/ 930218839 w 830"/>
              <a:gd name="T67" fmla="*/ 641625878 h 606"/>
              <a:gd name="T68" fmla="*/ 1071301438 w 830"/>
              <a:gd name="T69" fmla="*/ 662049057 h 606"/>
              <a:gd name="T70" fmla="*/ 855800809 w 830"/>
              <a:gd name="T71" fmla="*/ 714808992 h 606"/>
              <a:gd name="T72" fmla="*/ 786034606 w 830"/>
              <a:gd name="T73" fmla="*/ 805011475 h 606"/>
              <a:gd name="T74" fmla="*/ 759678817 w 830"/>
              <a:gd name="T75" fmla="*/ 806712646 h 606"/>
              <a:gd name="T76" fmla="*/ 696113390 w 830"/>
              <a:gd name="T77" fmla="*/ 857771246 h 606"/>
              <a:gd name="T78" fmla="*/ 686810981 w 830"/>
              <a:gd name="T79" fmla="*/ 900318776 h 606"/>
              <a:gd name="T80" fmla="*/ 654253171 w 830"/>
              <a:gd name="T81" fmla="*/ 924146905 h 606"/>
              <a:gd name="T82" fmla="*/ 638749829 w 830"/>
              <a:gd name="T83" fmla="*/ 1014348084 h 606"/>
              <a:gd name="T84" fmla="*/ 586037006 w 830"/>
              <a:gd name="T85" fmla="*/ 1002434672 h 606"/>
              <a:gd name="T86" fmla="*/ 524023019 w 830"/>
              <a:gd name="T87" fmla="*/ 982011493 h 606"/>
              <a:gd name="T88" fmla="*/ 455807010 w 830"/>
              <a:gd name="T89" fmla="*/ 905424897 h 606"/>
              <a:gd name="T90" fmla="*/ 443404213 w 830"/>
              <a:gd name="T91" fmla="*/ 885001717 h 606"/>
              <a:gd name="T92" fmla="*/ 406195820 w 830"/>
              <a:gd name="T93" fmla="*/ 769271238 h 606"/>
              <a:gd name="T94" fmla="*/ 462009031 w 830"/>
              <a:gd name="T95" fmla="*/ 723318758 h 606"/>
              <a:gd name="T96" fmla="*/ 479062411 w 830"/>
              <a:gd name="T97" fmla="*/ 658645412 h 606"/>
              <a:gd name="T98" fmla="*/ 458907398 w 830"/>
              <a:gd name="T99" fmla="*/ 636521062 h 606"/>
              <a:gd name="T100" fmla="*/ 434101803 w 830"/>
              <a:gd name="T101" fmla="*/ 610991761 h 606"/>
              <a:gd name="T102" fmla="*/ 410846402 w 830"/>
              <a:gd name="T103" fmla="*/ 575251524 h 606"/>
              <a:gd name="T104" fmla="*/ 386040807 w 830"/>
              <a:gd name="T105" fmla="*/ 575251524 h 606"/>
              <a:gd name="T106" fmla="*/ 378288592 w 830"/>
              <a:gd name="T107" fmla="*/ 513981986 h 606"/>
              <a:gd name="T108" fmla="*/ 306972117 w 830"/>
              <a:gd name="T109" fmla="*/ 410164919 h 606"/>
              <a:gd name="T110" fmla="*/ 128679841 w 830"/>
              <a:gd name="T111" fmla="*/ 384635619 h 606"/>
              <a:gd name="T112" fmla="*/ 103874246 w 830"/>
              <a:gd name="T113" fmla="*/ 364212440 h 606"/>
              <a:gd name="T114" fmla="*/ 155036875 w 830"/>
              <a:gd name="T115" fmla="*/ 335279412 h 606"/>
              <a:gd name="T116" fmla="*/ 0 w 830"/>
              <a:gd name="T117" fmla="*/ 289326933 h 6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30"/>
              <a:gd name="T178" fmla="*/ 0 h 606"/>
              <a:gd name="T179" fmla="*/ 830 w 830"/>
              <a:gd name="T180" fmla="*/ 606 h 6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30" h="606">
                <a:moveTo>
                  <a:pt x="0" y="170"/>
                </a:moveTo>
                <a:lnTo>
                  <a:pt x="0" y="170"/>
                </a:lnTo>
                <a:lnTo>
                  <a:pt x="5" y="161"/>
                </a:lnTo>
                <a:lnTo>
                  <a:pt x="59" y="144"/>
                </a:lnTo>
                <a:lnTo>
                  <a:pt x="93" y="144"/>
                </a:lnTo>
                <a:lnTo>
                  <a:pt x="112" y="130"/>
                </a:lnTo>
                <a:lnTo>
                  <a:pt x="107" y="126"/>
                </a:lnTo>
                <a:lnTo>
                  <a:pt x="118" y="121"/>
                </a:lnTo>
                <a:lnTo>
                  <a:pt x="108" y="118"/>
                </a:lnTo>
                <a:lnTo>
                  <a:pt x="127" y="112"/>
                </a:lnTo>
                <a:lnTo>
                  <a:pt x="120" y="108"/>
                </a:lnTo>
                <a:lnTo>
                  <a:pt x="96" y="117"/>
                </a:lnTo>
                <a:lnTo>
                  <a:pt x="72" y="105"/>
                </a:lnTo>
                <a:lnTo>
                  <a:pt x="103" y="98"/>
                </a:lnTo>
                <a:lnTo>
                  <a:pt x="120" y="79"/>
                </a:lnTo>
                <a:lnTo>
                  <a:pt x="157" y="78"/>
                </a:lnTo>
                <a:lnTo>
                  <a:pt x="155" y="57"/>
                </a:lnTo>
                <a:lnTo>
                  <a:pt x="183" y="57"/>
                </a:lnTo>
                <a:lnTo>
                  <a:pt x="211" y="72"/>
                </a:lnTo>
                <a:lnTo>
                  <a:pt x="178" y="52"/>
                </a:lnTo>
                <a:lnTo>
                  <a:pt x="240" y="40"/>
                </a:lnTo>
                <a:lnTo>
                  <a:pt x="255" y="49"/>
                </a:lnTo>
                <a:lnTo>
                  <a:pt x="257" y="67"/>
                </a:lnTo>
                <a:lnTo>
                  <a:pt x="265" y="51"/>
                </a:lnTo>
                <a:lnTo>
                  <a:pt x="305" y="63"/>
                </a:lnTo>
                <a:lnTo>
                  <a:pt x="291" y="54"/>
                </a:lnTo>
                <a:lnTo>
                  <a:pt x="311" y="55"/>
                </a:lnTo>
                <a:lnTo>
                  <a:pt x="294" y="45"/>
                </a:lnTo>
                <a:lnTo>
                  <a:pt x="289" y="36"/>
                </a:lnTo>
                <a:lnTo>
                  <a:pt x="298" y="35"/>
                </a:lnTo>
                <a:lnTo>
                  <a:pt x="378" y="60"/>
                </a:lnTo>
                <a:lnTo>
                  <a:pt x="372" y="51"/>
                </a:lnTo>
                <a:lnTo>
                  <a:pt x="389" y="50"/>
                </a:lnTo>
                <a:lnTo>
                  <a:pt x="378" y="43"/>
                </a:lnTo>
                <a:lnTo>
                  <a:pt x="405" y="45"/>
                </a:lnTo>
                <a:lnTo>
                  <a:pt x="362" y="26"/>
                </a:lnTo>
                <a:lnTo>
                  <a:pt x="440" y="36"/>
                </a:lnTo>
                <a:lnTo>
                  <a:pt x="422" y="26"/>
                </a:lnTo>
                <a:lnTo>
                  <a:pt x="377" y="24"/>
                </a:lnTo>
                <a:lnTo>
                  <a:pt x="392" y="23"/>
                </a:lnTo>
                <a:lnTo>
                  <a:pt x="364" y="14"/>
                </a:lnTo>
                <a:lnTo>
                  <a:pt x="397" y="16"/>
                </a:lnTo>
                <a:lnTo>
                  <a:pt x="383" y="12"/>
                </a:lnTo>
                <a:lnTo>
                  <a:pt x="398" y="9"/>
                </a:lnTo>
                <a:lnTo>
                  <a:pt x="455" y="26"/>
                </a:lnTo>
                <a:lnTo>
                  <a:pt x="449" y="20"/>
                </a:lnTo>
                <a:lnTo>
                  <a:pt x="474" y="14"/>
                </a:lnTo>
                <a:lnTo>
                  <a:pt x="453" y="12"/>
                </a:lnTo>
                <a:lnTo>
                  <a:pt x="452" y="4"/>
                </a:lnTo>
                <a:lnTo>
                  <a:pt x="466" y="0"/>
                </a:lnTo>
                <a:lnTo>
                  <a:pt x="619" y="4"/>
                </a:lnTo>
                <a:lnTo>
                  <a:pt x="630" y="9"/>
                </a:lnTo>
                <a:lnTo>
                  <a:pt x="626" y="12"/>
                </a:lnTo>
                <a:lnTo>
                  <a:pt x="523" y="13"/>
                </a:lnTo>
                <a:lnTo>
                  <a:pt x="535" y="18"/>
                </a:lnTo>
                <a:lnTo>
                  <a:pt x="495" y="23"/>
                </a:lnTo>
                <a:lnTo>
                  <a:pt x="640" y="14"/>
                </a:lnTo>
                <a:lnTo>
                  <a:pt x="645" y="22"/>
                </a:lnTo>
                <a:lnTo>
                  <a:pt x="626" y="27"/>
                </a:lnTo>
                <a:lnTo>
                  <a:pt x="659" y="23"/>
                </a:lnTo>
                <a:lnTo>
                  <a:pt x="697" y="33"/>
                </a:lnTo>
                <a:lnTo>
                  <a:pt x="640" y="49"/>
                </a:lnTo>
                <a:lnTo>
                  <a:pt x="548" y="47"/>
                </a:lnTo>
                <a:lnTo>
                  <a:pt x="570" y="50"/>
                </a:lnTo>
                <a:lnTo>
                  <a:pt x="531" y="57"/>
                </a:lnTo>
                <a:lnTo>
                  <a:pt x="531" y="65"/>
                </a:lnTo>
                <a:lnTo>
                  <a:pt x="632" y="52"/>
                </a:lnTo>
                <a:lnTo>
                  <a:pt x="640" y="57"/>
                </a:lnTo>
                <a:lnTo>
                  <a:pt x="619" y="70"/>
                </a:lnTo>
                <a:lnTo>
                  <a:pt x="684" y="50"/>
                </a:lnTo>
                <a:lnTo>
                  <a:pt x="688" y="69"/>
                </a:lnTo>
                <a:lnTo>
                  <a:pt x="656" y="101"/>
                </a:lnTo>
                <a:lnTo>
                  <a:pt x="718" y="64"/>
                </a:lnTo>
                <a:lnTo>
                  <a:pt x="718" y="70"/>
                </a:lnTo>
                <a:lnTo>
                  <a:pt x="747" y="69"/>
                </a:lnTo>
                <a:lnTo>
                  <a:pt x="756" y="57"/>
                </a:lnTo>
                <a:lnTo>
                  <a:pt x="789" y="55"/>
                </a:lnTo>
                <a:lnTo>
                  <a:pt x="829" y="66"/>
                </a:lnTo>
                <a:lnTo>
                  <a:pt x="790" y="82"/>
                </a:lnTo>
                <a:lnTo>
                  <a:pt x="792" y="89"/>
                </a:lnTo>
                <a:lnTo>
                  <a:pt x="702" y="98"/>
                </a:lnTo>
                <a:lnTo>
                  <a:pt x="774" y="99"/>
                </a:lnTo>
                <a:lnTo>
                  <a:pt x="715" y="113"/>
                </a:lnTo>
                <a:lnTo>
                  <a:pt x="719" y="123"/>
                </a:lnTo>
                <a:lnTo>
                  <a:pt x="759" y="113"/>
                </a:lnTo>
                <a:lnTo>
                  <a:pt x="730" y="126"/>
                </a:lnTo>
                <a:lnTo>
                  <a:pt x="726" y="142"/>
                </a:lnTo>
                <a:lnTo>
                  <a:pt x="736" y="138"/>
                </a:lnTo>
                <a:lnTo>
                  <a:pt x="708" y="153"/>
                </a:lnTo>
                <a:lnTo>
                  <a:pt x="698" y="183"/>
                </a:lnTo>
                <a:lnTo>
                  <a:pt x="713" y="177"/>
                </a:lnTo>
                <a:lnTo>
                  <a:pt x="734" y="183"/>
                </a:lnTo>
                <a:lnTo>
                  <a:pt x="715" y="183"/>
                </a:lnTo>
                <a:lnTo>
                  <a:pt x="715" y="192"/>
                </a:lnTo>
                <a:lnTo>
                  <a:pt x="746" y="196"/>
                </a:lnTo>
                <a:lnTo>
                  <a:pt x="747" y="208"/>
                </a:lnTo>
                <a:lnTo>
                  <a:pt x="700" y="205"/>
                </a:lnTo>
                <a:lnTo>
                  <a:pt x="713" y="210"/>
                </a:lnTo>
                <a:lnTo>
                  <a:pt x="687" y="214"/>
                </a:lnTo>
                <a:lnTo>
                  <a:pt x="700" y="226"/>
                </a:lnTo>
                <a:lnTo>
                  <a:pt x="724" y="227"/>
                </a:lnTo>
                <a:lnTo>
                  <a:pt x="710" y="234"/>
                </a:lnTo>
                <a:lnTo>
                  <a:pt x="729" y="241"/>
                </a:lnTo>
                <a:lnTo>
                  <a:pt x="728" y="257"/>
                </a:lnTo>
                <a:lnTo>
                  <a:pt x="693" y="247"/>
                </a:lnTo>
                <a:lnTo>
                  <a:pt x="714" y="255"/>
                </a:lnTo>
                <a:lnTo>
                  <a:pt x="701" y="261"/>
                </a:lnTo>
                <a:lnTo>
                  <a:pt x="713" y="260"/>
                </a:lnTo>
                <a:lnTo>
                  <a:pt x="710" y="270"/>
                </a:lnTo>
                <a:lnTo>
                  <a:pt x="735" y="275"/>
                </a:lnTo>
                <a:lnTo>
                  <a:pt x="695" y="272"/>
                </a:lnTo>
                <a:lnTo>
                  <a:pt x="688" y="278"/>
                </a:lnTo>
                <a:lnTo>
                  <a:pt x="718" y="290"/>
                </a:lnTo>
                <a:lnTo>
                  <a:pt x="714" y="301"/>
                </a:lnTo>
                <a:lnTo>
                  <a:pt x="689" y="307"/>
                </a:lnTo>
                <a:lnTo>
                  <a:pt x="665" y="292"/>
                </a:lnTo>
                <a:lnTo>
                  <a:pt x="629" y="305"/>
                </a:lnTo>
                <a:lnTo>
                  <a:pt x="655" y="313"/>
                </a:lnTo>
                <a:lnTo>
                  <a:pt x="630" y="320"/>
                </a:lnTo>
                <a:lnTo>
                  <a:pt x="657" y="321"/>
                </a:lnTo>
                <a:lnTo>
                  <a:pt x="648" y="336"/>
                </a:lnTo>
                <a:lnTo>
                  <a:pt x="659" y="327"/>
                </a:lnTo>
                <a:lnTo>
                  <a:pt x="688" y="340"/>
                </a:lnTo>
                <a:lnTo>
                  <a:pt x="679" y="350"/>
                </a:lnTo>
                <a:lnTo>
                  <a:pt x="695" y="346"/>
                </a:lnTo>
                <a:lnTo>
                  <a:pt x="688" y="356"/>
                </a:lnTo>
                <a:lnTo>
                  <a:pt x="699" y="351"/>
                </a:lnTo>
                <a:lnTo>
                  <a:pt x="701" y="377"/>
                </a:lnTo>
                <a:lnTo>
                  <a:pt x="688" y="368"/>
                </a:lnTo>
                <a:lnTo>
                  <a:pt x="688" y="377"/>
                </a:lnTo>
                <a:lnTo>
                  <a:pt x="675" y="377"/>
                </a:lnTo>
                <a:lnTo>
                  <a:pt x="659" y="355"/>
                </a:lnTo>
                <a:lnTo>
                  <a:pt x="619" y="344"/>
                </a:lnTo>
                <a:lnTo>
                  <a:pt x="647" y="358"/>
                </a:lnTo>
                <a:lnTo>
                  <a:pt x="611" y="365"/>
                </a:lnTo>
                <a:lnTo>
                  <a:pt x="600" y="377"/>
                </a:lnTo>
                <a:lnTo>
                  <a:pt x="634" y="380"/>
                </a:lnTo>
                <a:lnTo>
                  <a:pt x="605" y="387"/>
                </a:lnTo>
                <a:lnTo>
                  <a:pt x="649" y="378"/>
                </a:lnTo>
                <a:lnTo>
                  <a:pt x="691" y="389"/>
                </a:lnTo>
                <a:lnTo>
                  <a:pt x="636" y="419"/>
                </a:lnTo>
                <a:lnTo>
                  <a:pt x="584" y="432"/>
                </a:lnTo>
                <a:lnTo>
                  <a:pt x="565" y="433"/>
                </a:lnTo>
                <a:lnTo>
                  <a:pt x="552" y="420"/>
                </a:lnTo>
                <a:lnTo>
                  <a:pt x="558" y="433"/>
                </a:lnTo>
                <a:lnTo>
                  <a:pt x="543" y="441"/>
                </a:lnTo>
                <a:lnTo>
                  <a:pt x="523" y="473"/>
                </a:lnTo>
                <a:lnTo>
                  <a:pt x="507" y="473"/>
                </a:lnTo>
                <a:lnTo>
                  <a:pt x="503" y="482"/>
                </a:lnTo>
                <a:lnTo>
                  <a:pt x="487" y="484"/>
                </a:lnTo>
                <a:lnTo>
                  <a:pt x="480" y="480"/>
                </a:lnTo>
                <a:lnTo>
                  <a:pt x="490" y="474"/>
                </a:lnTo>
                <a:lnTo>
                  <a:pt x="479" y="473"/>
                </a:lnTo>
                <a:lnTo>
                  <a:pt x="473" y="489"/>
                </a:lnTo>
                <a:lnTo>
                  <a:pt x="448" y="491"/>
                </a:lnTo>
                <a:lnTo>
                  <a:pt x="449" y="504"/>
                </a:lnTo>
                <a:lnTo>
                  <a:pt x="433" y="505"/>
                </a:lnTo>
                <a:lnTo>
                  <a:pt x="447" y="515"/>
                </a:lnTo>
                <a:lnTo>
                  <a:pt x="429" y="518"/>
                </a:lnTo>
                <a:lnTo>
                  <a:pt x="443" y="529"/>
                </a:lnTo>
                <a:lnTo>
                  <a:pt x="431" y="529"/>
                </a:lnTo>
                <a:lnTo>
                  <a:pt x="440" y="532"/>
                </a:lnTo>
                <a:lnTo>
                  <a:pt x="431" y="545"/>
                </a:lnTo>
                <a:lnTo>
                  <a:pt x="422" y="543"/>
                </a:lnTo>
                <a:lnTo>
                  <a:pt x="429" y="549"/>
                </a:lnTo>
                <a:lnTo>
                  <a:pt x="412" y="554"/>
                </a:lnTo>
                <a:lnTo>
                  <a:pt x="422" y="572"/>
                </a:lnTo>
                <a:lnTo>
                  <a:pt x="412" y="596"/>
                </a:lnTo>
                <a:lnTo>
                  <a:pt x="400" y="597"/>
                </a:lnTo>
                <a:lnTo>
                  <a:pt x="409" y="605"/>
                </a:lnTo>
                <a:lnTo>
                  <a:pt x="381" y="605"/>
                </a:lnTo>
                <a:lnTo>
                  <a:pt x="378" y="589"/>
                </a:lnTo>
                <a:lnTo>
                  <a:pt x="339" y="591"/>
                </a:lnTo>
                <a:lnTo>
                  <a:pt x="348" y="587"/>
                </a:lnTo>
                <a:lnTo>
                  <a:pt x="328" y="580"/>
                </a:lnTo>
                <a:lnTo>
                  <a:pt x="338" y="577"/>
                </a:lnTo>
                <a:lnTo>
                  <a:pt x="323" y="577"/>
                </a:lnTo>
                <a:lnTo>
                  <a:pt x="328" y="564"/>
                </a:lnTo>
                <a:lnTo>
                  <a:pt x="320" y="567"/>
                </a:lnTo>
                <a:lnTo>
                  <a:pt x="294" y="532"/>
                </a:lnTo>
                <a:lnTo>
                  <a:pt x="294" y="522"/>
                </a:lnTo>
                <a:lnTo>
                  <a:pt x="313" y="510"/>
                </a:lnTo>
                <a:lnTo>
                  <a:pt x="305" y="507"/>
                </a:lnTo>
                <a:lnTo>
                  <a:pt x="286" y="520"/>
                </a:lnTo>
                <a:lnTo>
                  <a:pt x="286" y="494"/>
                </a:lnTo>
                <a:lnTo>
                  <a:pt x="268" y="480"/>
                </a:lnTo>
                <a:lnTo>
                  <a:pt x="273" y="460"/>
                </a:lnTo>
                <a:lnTo>
                  <a:pt x="262" y="452"/>
                </a:lnTo>
                <a:lnTo>
                  <a:pt x="277" y="434"/>
                </a:lnTo>
                <a:lnTo>
                  <a:pt x="268" y="432"/>
                </a:lnTo>
                <a:lnTo>
                  <a:pt x="301" y="432"/>
                </a:lnTo>
                <a:lnTo>
                  <a:pt x="298" y="425"/>
                </a:lnTo>
                <a:lnTo>
                  <a:pt x="275" y="426"/>
                </a:lnTo>
                <a:lnTo>
                  <a:pt x="309" y="410"/>
                </a:lnTo>
                <a:lnTo>
                  <a:pt x="301" y="405"/>
                </a:lnTo>
                <a:lnTo>
                  <a:pt x="309" y="387"/>
                </a:lnTo>
                <a:lnTo>
                  <a:pt x="281" y="387"/>
                </a:lnTo>
                <a:lnTo>
                  <a:pt x="251" y="372"/>
                </a:lnTo>
                <a:lnTo>
                  <a:pt x="305" y="380"/>
                </a:lnTo>
                <a:lnTo>
                  <a:pt x="296" y="374"/>
                </a:lnTo>
                <a:lnTo>
                  <a:pt x="305" y="371"/>
                </a:lnTo>
                <a:lnTo>
                  <a:pt x="284" y="360"/>
                </a:lnTo>
                <a:lnTo>
                  <a:pt x="291" y="355"/>
                </a:lnTo>
                <a:lnTo>
                  <a:pt x="280" y="359"/>
                </a:lnTo>
                <a:lnTo>
                  <a:pt x="288" y="352"/>
                </a:lnTo>
                <a:lnTo>
                  <a:pt x="274" y="352"/>
                </a:lnTo>
                <a:lnTo>
                  <a:pt x="289" y="347"/>
                </a:lnTo>
                <a:lnTo>
                  <a:pt x="265" y="338"/>
                </a:lnTo>
                <a:lnTo>
                  <a:pt x="260" y="352"/>
                </a:lnTo>
                <a:lnTo>
                  <a:pt x="240" y="352"/>
                </a:lnTo>
                <a:lnTo>
                  <a:pt x="236" y="347"/>
                </a:lnTo>
                <a:lnTo>
                  <a:pt x="249" y="338"/>
                </a:lnTo>
                <a:lnTo>
                  <a:pt x="239" y="338"/>
                </a:lnTo>
                <a:lnTo>
                  <a:pt x="251" y="316"/>
                </a:lnTo>
                <a:lnTo>
                  <a:pt x="237" y="312"/>
                </a:lnTo>
                <a:lnTo>
                  <a:pt x="244" y="302"/>
                </a:lnTo>
                <a:lnTo>
                  <a:pt x="221" y="275"/>
                </a:lnTo>
                <a:lnTo>
                  <a:pt x="229" y="274"/>
                </a:lnTo>
                <a:lnTo>
                  <a:pt x="198" y="250"/>
                </a:lnTo>
                <a:lnTo>
                  <a:pt x="198" y="241"/>
                </a:lnTo>
                <a:lnTo>
                  <a:pt x="165" y="229"/>
                </a:lnTo>
                <a:lnTo>
                  <a:pt x="134" y="222"/>
                </a:lnTo>
                <a:lnTo>
                  <a:pt x="106" y="234"/>
                </a:lnTo>
                <a:lnTo>
                  <a:pt x="83" y="226"/>
                </a:lnTo>
                <a:lnTo>
                  <a:pt x="91" y="235"/>
                </a:lnTo>
                <a:lnTo>
                  <a:pt x="67" y="231"/>
                </a:lnTo>
                <a:lnTo>
                  <a:pt x="46" y="222"/>
                </a:lnTo>
                <a:lnTo>
                  <a:pt x="67" y="214"/>
                </a:lnTo>
                <a:lnTo>
                  <a:pt x="21" y="205"/>
                </a:lnTo>
                <a:lnTo>
                  <a:pt x="38" y="198"/>
                </a:lnTo>
                <a:lnTo>
                  <a:pt x="93" y="200"/>
                </a:lnTo>
                <a:lnTo>
                  <a:pt x="100" y="197"/>
                </a:lnTo>
                <a:lnTo>
                  <a:pt x="90" y="192"/>
                </a:lnTo>
                <a:lnTo>
                  <a:pt x="99" y="187"/>
                </a:lnTo>
                <a:lnTo>
                  <a:pt x="50" y="191"/>
                </a:lnTo>
                <a:lnTo>
                  <a:pt x="0" y="17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49" name="Freeform 548"/>
          <p:cNvSpPr>
            <a:spLocks/>
          </p:cNvSpPr>
          <p:nvPr/>
        </p:nvSpPr>
        <p:spPr bwMode="auto">
          <a:xfrm>
            <a:off x="3749064" y="2413351"/>
            <a:ext cx="258019" cy="114452"/>
          </a:xfrm>
          <a:custGeom>
            <a:avLst/>
            <a:gdLst>
              <a:gd name="T0" fmla="*/ 0 w 151"/>
              <a:gd name="T1" fmla="*/ 40104274 h 70"/>
              <a:gd name="T2" fmla="*/ 0 w 151"/>
              <a:gd name="T3" fmla="*/ 40104274 h 70"/>
              <a:gd name="T4" fmla="*/ 15652254 w 151"/>
              <a:gd name="T5" fmla="*/ 35091241 h 70"/>
              <a:gd name="T6" fmla="*/ 6260402 w 151"/>
              <a:gd name="T7" fmla="*/ 25065175 h 70"/>
              <a:gd name="T8" fmla="*/ 26607957 w 151"/>
              <a:gd name="T9" fmla="*/ 31749650 h 70"/>
              <a:gd name="T10" fmla="*/ 17217354 w 151"/>
              <a:gd name="T11" fmla="*/ 13367662 h 70"/>
              <a:gd name="T12" fmla="*/ 40695106 w 151"/>
              <a:gd name="T13" fmla="*/ 23395026 h 70"/>
              <a:gd name="T14" fmla="*/ 29739408 w 151"/>
              <a:gd name="T15" fmla="*/ 1671443 h 70"/>
              <a:gd name="T16" fmla="*/ 65737964 w 151"/>
              <a:gd name="T17" fmla="*/ 18381988 h 70"/>
              <a:gd name="T18" fmla="*/ 68868163 w 151"/>
              <a:gd name="T19" fmla="*/ 48460201 h 70"/>
              <a:gd name="T20" fmla="*/ 87650631 w 151"/>
              <a:gd name="T21" fmla="*/ 15039104 h 70"/>
              <a:gd name="T22" fmla="*/ 106433080 w 151"/>
              <a:gd name="T23" fmla="*/ 28408059 h 70"/>
              <a:gd name="T24" fmla="*/ 122085329 w 151"/>
              <a:gd name="T25" fmla="*/ 11697513 h 70"/>
              <a:gd name="T26" fmla="*/ 134607378 w 151"/>
              <a:gd name="T27" fmla="*/ 31749650 h 70"/>
              <a:gd name="T28" fmla="*/ 131477179 w 151"/>
              <a:gd name="T29" fmla="*/ 13367662 h 70"/>
              <a:gd name="T30" fmla="*/ 170607214 w 151"/>
              <a:gd name="T31" fmla="*/ 13367662 h 70"/>
              <a:gd name="T32" fmla="*/ 175302514 w 151"/>
              <a:gd name="T33" fmla="*/ 0 h 70"/>
              <a:gd name="T34" fmla="*/ 192519862 w 151"/>
              <a:gd name="T35" fmla="*/ 11697513 h 70"/>
              <a:gd name="T36" fmla="*/ 214432511 w 151"/>
              <a:gd name="T37" fmla="*/ 6684477 h 70"/>
              <a:gd name="T38" fmla="*/ 198780262 w 151"/>
              <a:gd name="T39" fmla="*/ 15039104 h 70"/>
              <a:gd name="T40" fmla="*/ 234780059 w 151"/>
              <a:gd name="T41" fmla="*/ 51801792 h 70"/>
              <a:gd name="T42" fmla="*/ 203475561 w 151"/>
              <a:gd name="T43" fmla="*/ 83551432 h 70"/>
              <a:gd name="T44" fmla="*/ 117390029 w 151"/>
              <a:gd name="T45" fmla="*/ 115301092 h 70"/>
              <a:gd name="T46" fmla="*/ 39130007 w 151"/>
              <a:gd name="T47" fmla="*/ 100261993 h 70"/>
              <a:gd name="T48" fmla="*/ 57912465 w 151"/>
              <a:gd name="T49" fmla="*/ 70183775 h 70"/>
              <a:gd name="T50" fmla="*/ 12522054 w 151"/>
              <a:gd name="T51" fmla="*/ 60157709 h 70"/>
              <a:gd name="T52" fmla="*/ 56347365 w 151"/>
              <a:gd name="T53" fmla="*/ 58486267 h 70"/>
              <a:gd name="T54" fmla="*/ 40695106 w 151"/>
              <a:gd name="T55" fmla="*/ 48460201 h 70"/>
              <a:gd name="T56" fmla="*/ 56347365 w 151"/>
              <a:gd name="T57" fmla="*/ 40104274 h 70"/>
              <a:gd name="T58" fmla="*/ 0 w 151"/>
              <a:gd name="T59" fmla="*/ 40104274 h 70"/>
              <a:gd name="T60" fmla="*/ 0 w 151"/>
              <a:gd name="T61" fmla="*/ 40104274 h 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1"/>
              <a:gd name="T94" fmla="*/ 0 h 70"/>
              <a:gd name="T95" fmla="*/ 151 w 151"/>
              <a:gd name="T96" fmla="*/ 70 h 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1" h="70">
                <a:moveTo>
                  <a:pt x="0" y="24"/>
                </a:moveTo>
                <a:lnTo>
                  <a:pt x="0" y="24"/>
                </a:lnTo>
                <a:lnTo>
                  <a:pt x="10" y="21"/>
                </a:lnTo>
                <a:lnTo>
                  <a:pt x="4" y="15"/>
                </a:lnTo>
                <a:lnTo>
                  <a:pt x="17" y="19"/>
                </a:lnTo>
                <a:lnTo>
                  <a:pt x="11" y="8"/>
                </a:lnTo>
                <a:lnTo>
                  <a:pt x="26" y="14"/>
                </a:lnTo>
                <a:lnTo>
                  <a:pt x="19" y="1"/>
                </a:lnTo>
                <a:lnTo>
                  <a:pt x="42" y="11"/>
                </a:lnTo>
                <a:lnTo>
                  <a:pt x="44" y="29"/>
                </a:lnTo>
                <a:lnTo>
                  <a:pt x="56" y="9"/>
                </a:lnTo>
                <a:lnTo>
                  <a:pt x="68" y="17"/>
                </a:lnTo>
                <a:lnTo>
                  <a:pt x="78" y="7"/>
                </a:lnTo>
                <a:lnTo>
                  <a:pt x="86" y="19"/>
                </a:lnTo>
                <a:lnTo>
                  <a:pt x="84" y="8"/>
                </a:lnTo>
                <a:lnTo>
                  <a:pt x="109" y="8"/>
                </a:lnTo>
                <a:lnTo>
                  <a:pt x="112" y="0"/>
                </a:lnTo>
                <a:lnTo>
                  <a:pt x="123" y="7"/>
                </a:lnTo>
                <a:lnTo>
                  <a:pt x="137" y="4"/>
                </a:lnTo>
                <a:lnTo>
                  <a:pt x="127" y="9"/>
                </a:lnTo>
                <a:lnTo>
                  <a:pt x="150" y="31"/>
                </a:lnTo>
                <a:lnTo>
                  <a:pt x="130" y="50"/>
                </a:lnTo>
                <a:lnTo>
                  <a:pt x="75" y="69"/>
                </a:lnTo>
                <a:lnTo>
                  <a:pt x="25" y="60"/>
                </a:lnTo>
                <a:lnTo>
                  <a:pt x="37" y="42"/>
                </a:lnTo>
                <a:lnTo>
                  <a:pt x="8" y="36"/>
                </a:lnTo>
                <a:lnTo>
                  <a:pt x="36" y="35"/>
                </a:lnTo>
                <a:lnTo>
                  <a:pt x="26" y="29"/>
                </a:lnTo>
                <a:lnTo>
                  <a:pt x="36" y="24"/>
                </a:lnTo>
                <a:lnTo>
                  <a:pt x="0" y="2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50" name="Freeform 549"/>
          <p:cNvSpPr>
            <a:spLocks/>
          </p:cNvSpPr>
          <p:nvPr/>
        </p:nvSpPr>
        <p:spPr bwMode="auto">
          <a:xfrm>
            <a:off x="1596019" y="3419309"/>
            <a:ext cx="704671" cy="429690"/>
          </a:xfrm>
          <a:custGeom>
            <a:avLst/>
            <a:gdLst>
              <a:gd name="T0" fmla="*/ 0 w 412"/>
              <a:gd name="T1" fmla="*/ 5082858 h 261"/>
              <a:gd name="T2" fmla="*/ 0 w 412"/>
              <a:gd name="T3" fmla="*/ 5082858 h 261"/>
              <a:gd name="T4" fmla="*/ 29795363 w 412"/>
              <a:gd name="T5" fmla="*/ 72852125 h 261"/>
              <a:gd name="T6" fmla="*/ 65864618 w 412"/>
              <a:gd name="T7" fmla="*/ 105042701 h 261"/>
              <a:gd name="T8" fmla="*/ 64295518 w 412"/>
              <a:gd name="T9" fmla="*/ 123679407 h 261"/>
              <a:gd name="T10" fmla="*/ 45477599 w 412"/>
              <a:gd name="T11" fmla="*/ 127067544 h 261"/>
              <a:gd name="T12" fmla="*/ 86250404 w 412"/>
              <a:gd name="T13" fmla="*/ 142316113 h 261"/>
              <a:gd name="T14" fmla="*/ 108205270 w 412"/>
              <a:gd name="T15" fmla="*/ 174506710 h 261"/>
              <a:gd name="T16" fmla="*/ 106637423 w 412"/>
              <a:gd name="T17" fmla="*/ 199919690 h 261"/>
              <a:gd name="T18" fmla="*/ 152115002 w 412"/>
              <a:gd name="T19" fmla="*/ 242275958 h 261"/>
              <a:gd name="T20" fmla="*/ 163092435 w 412"/>
              <a:gd name="T21" fmla="*/ 228722108 h 261"/>
              <a:gd name="T22" fmla="*/ 53318085 w 412"/>
              <a:gd name="T23" fmla="*/ 62686412 h 261"/>
              <a:gd name="T24" fmla="*/ 47045445 w 412"/>
              <a:gd name="T25" fmla="*/ 18636711 h 261"/>
              <a:gd name="T26" fmla="*/ 70568158 w 412"/>
              <a:gd name="T27" fmla="*/ 28802429 h 261"/>
              <a:gd name="T28" fmla="*/ 111340964 w 412"/>
              <a:gd name="T29" fmla="*/ 101654564 h 261"/>
              <a:gd name="T30" fmla="*/ 169365114 w 412"/>
              <a:gd name="T31" fmla="*/ 155869963 h 261"/>
              <a:gd name="T32" fmla="*/ 166228168 w 412"/>
              <a:gd name="T33" fmla="*/ 176200127 h 261"/>
              <a:gd name="T34" fmla="*/ 246205893 w 412"/>
              <a:gd name="T35" fmla="*/ 250746952 h 261"/>
              <a:gd name="T36" fmla="*/ 255615479 w 412"/>
              <a:gd name="T37" fmla="*/ 282937507 h 261"/>
              <a:gd name="T38" fmla="*/ 246205893 w 412"/>
              <a:gd name="T39" fmla="*/ 303267631 h 261"/>
              <a:gd name="T40" fmla="*/ 265023813 w 412"/>
              <a:gd name="T41" fmla="*/ 332070050 h 261"/>
              <a:gd name="T42" fmla="*/ 417138854 w 412"/>
              <a:gd name="T43" fmla="*/ 410005092 h 261"/>
              <a:gd name="T44" fmla="*/ 484571299 w 412"/>
              <a:gd name="T45" fmla="*/ 403227517 h 261"/>
              <a:gd name="T46" fmla="*/ 528479779 w 412"/>
              <a:gd name="T47" fmla="*/ 440500929 h 261"/>
              <a:gd name="T48" fmla="*/ 545729852 w 412"/>
              <a:gd name="T49" fmla="*/ 404922236 h 261"/>
              <a:gd name="T50" fmla="*/ 567684718 w 412"/>
              <a:gd name="T51" fmla="*/ 403227517 h 261"/>
              <a:gd name="T52" fmla="*/ 545729852 w 412"/>
              <a:gd name="T53" fmla="*/ 372731680 h 261"/>
              <a:gd name="T54" fmla="*/ 594344377 w 412"/>
              <a:gd name="T55" fmla="*/ 360872550 h 261"/>
              <a:gd name="T56" fmla="*/ 613162297 w 412"/>
              <a:gd name="T57" fmla="*/ 347318700 h 261"/>
              <a:gd name="T58" fmla="*/ 617867090 w 412"/>
              <a:gd name="T59" fmla="*/ 340541043 h 261"/>
              <a:gd name="T60" fmla="*/ 624139730 w 412"/>
              <a:gd name="T61" fmla="*/ 357484413 h 261"/>
              <a:gd name="T62" fmla="*/ 644526749 w 412"/>
              <a:gd name="T63" fmla="*/ 282937507 h 261"/>
              <a:gd name="T64" fmla="*/ 617867090 w 412"/>
              <a:gd name="T65" fmla="*/ 272771795 h 261"/>
              <a:gd name="T66" fmla="*/ 569253817 w 412"/>
              <a:gd name="T67" fmla="*/ 282937507 h 261"/>
              <a:gd name="T68" fmla="*/ 544162005 w 412"/>
              <a:gd name="T69" fmla="*/ 347318700 h 261"/>
              <a:gd name="T70" fmla="*/ 481434353 w 412"/>
              <a:gd name="T71" fmla="*/ 354094974 h 261"/>
              <a:gd name="T72" fmla="*/ 454775946 w 412"/>
              <a:gd name="T73" fmla="*/ 338847625 h 261"/>
              <a:gd name="T74" fmla="*/ 414001908 w 412"/>
              <a:gd name="T75" fmla="*/ 259217945 h 261"/>
              <a:gd name="T76" fmla="*/ 412434061 w 412"/>
              <a:gd name="T77" fmla="*/ 199919690 h 261"/>
              <a:gd name="T78" fmla="*/ 426548440 w 412"/>
              <a:gd name="T79" fmla="*/ 171117271 h 261"/>
              <a:gd name="T80" fmla="*/ 384206555 w 412"/>
              <a:gd name="T81" fmla="*/ 155869963 h 261"/>
              <a:gd name="T82" fmla="*/ 330888489 w 412"/>
              <a:gd name="T83" fmla="*/ 72852125 h 261"/>
              <a:gd name="T84" fmla="*/ 285410832 w 412"/>
              <a:gd name="T85" fmla="*/ 89794132 h 261"/>
              <a:gd name="T86" fmla="*/ 227387973 w 412"/>
              <a:gd name="T87" fmla="*/ 22024853 h 261"/>
              <a:gd name="T88" fmla="*/ 130160136 w 412"/>
              <a:gd name="T89" fmla="*/ 35578703 h 261"/>
              <a:gd name="T90" fmla="*/ 48614545 w 412"/>
              <a:gd name="T91" fmla="*/ 0 h 261"/>
              <a:gd name="T92" fmla="*/ 0 w 412"/>
              <a:gd name="T93" fmla="*/ 5082858 h 261"/>
              <a:gd name="T94" fmla="*/ 0 w 412"/>
              <a:gd name="T95" fmla="*/ 5082858 h 2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12"/>
              <a:gd name="T145" fmla="*/ 0 h 261"/>
              <a:gd name="T146" fmla="*/ 412 w 412"/>
              <a:gd name="T147" fmla="*/ 261 h 2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12" h="261">
                <a:moveTo>
                  <a:pt x="0" y="3"/>
                </a:moveTo>
                <a:lnTo>
                  <a:pt x="0" y="3"/>
                </a:lnTo>
                <a:lnTo>
                  <a:pt x="19" y="43"/>
                </a:lnTo>
                <a:lnTo>
                  <a:pt x="42" y="62"/>
                </a:lnTo>
                <a:lnTo>
                  <a:pt x="41" y="73"/>
                </a:lnTo>
                <a:lnTo>
                  <a:pt x="29" y="75"/>
                </a:lnTo>
                <a:lnTo>
                  <a:pt x="55" y="84"/>
                </a:lnTo>
                <a:lnTo>
                  <a:pt x="69" y="103"/>
                </a:lnTo>
                <a:lnTo>
                  <a:pt x="68" y="118"/>
                </a:lnTo>
                <a:lnTo>
                  <a:pt x="97" y="143"/>
                </a:lnTo>
                <a:lnTo>
                  <a:pt x="104" y="135"/>
                </a:lnTo>
                <a:lnTo>
                  <a:pt x="34" y="37"/>
                </a:lnTo>
                <a:lnTo>
                  <a:pt x="30" y="11"/>
                </a:lnTo>
                <a:lnTo>
                  <a:pt x="45" y="17"/>
                </a:lnTo>
                <a:lnTo>
                  <a:pt x="71" y="60"/>
                </a:lnTo>
                <a:lnTo>
                  <a:pt x="108" y="92"/>
                </a:lnTo>
                <a:lnTo>
                  <a:pt x="106" y="104"/>
                </a:lnTo>
                <a:lnTo>
                  <a:pt x="157" y="148"/>
                </a:lnTo>
                <a:lnTo>
                  <a:pt x="163" y="167"/>
                </a:lnTo>
                <a:lnTo>
                  <a:pt x="157" y="179"/>
                </a:lnTo>
                <a:lnTo>
                  <a:pt x="169" y="196"/>
                </a:lnTo>
                <a:lnTo>
                  <a:pt x="266" y="242"/>
                </a:lnTo>
                <a:lnTo>
                  <a:pt x="309" y="238"/>
                </a:lnTo>
                <a:lnTo>
                  <a:pt x="337" y="260"/>
                </a:lnTo>
                <a:lnTo>
                  <a:pt x="348" y="239"/>
                </a:lnTo>
                <a:lnTo>
                  <a:pt x="362" y="238"/>
                </a:lnTo>
                <a:lnTo>
                  <a:pt x="348" y="220"/>
                </a:lnTo>
                <a:lnTo>
                  <a:pt x="379" y="213"/>
                </a:lnTo>
                <a:lnTo>
                  <a:pt x="391" y="205"/>
                </a:lnTo>
                <a:lnTo>
                  <a:pt x="394" y="201"/>
                </a:lnTo>
                <a:lnTo>
                  <a:pt x="398" y="211"/>
                </a:lnTo>
                <a:lnTo>
                  <a:pt x="411" y="167"/>
                </a:lnTo>
                <a:lnTo>
                  <a:pt x="394" y="161"/>
                </a:lnTo>
                <a:lnTo>
                  <a:pt x="363" y="167"/>
                </a:lnTo>
                <a:lnTo>
                  <a:pt x="347" y="205"/>
                </a:lnTo>
                <a:lnTo>
                  <a:pt x="307" y="209"/>
                </a:lnTo>
                <a:lnTo>
                  <a:pt x="290" y="200"/>
                </a:lnTo>
                <a:lnTo>
                  <a:pt x="264" y="153"/>
                </a:lnTo>
                <a:lnTo>
                  <a:pt x="263" y="118"/>
                </a:lnTo>
                <a:lnTo>
                  <a:pt x="272" y="101"/>
                </a:lnTo>
                <a:lnTo>
                  <a:pt x="245" y="92"/>
                </a:lnTo>
                <a:lnTo>
                  <a:pt x="211" y="43"/>
                </a:lnTo>
                <a:lnTo>
                  <a:pt x="182" y="53"/>
                </a:lnTo>
                <a:lnTo>
                  <a:pt x="145" y="13"/>
                </a:lnTo>
                <a:lnTo>
                  <a:pt x="83" y="21"/>
                </a:lnTo>
                <a:lnTo>
                  <a:pt x="31" y="0"/>
                </a:lnTo>
                <a:lnTo>
                  <a:pt x="0" y="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51" name="Freeform 550"/>
          <p:cNvSpPr>
            <a:spLocks/>
          </p:cNvSpPr>
          <p:nvPr/>
        </p:nvSpPr>
        <p:spPr bwMode="auto">
          <a:xfrm>
            <a:off x="6357435" y="2887215"/>
            <a:ext cx="739363" cy="303193"/>
          </a:xfrm>
          <a:custGeom>
            <a:avLst/>
            <a:gdLst>
              <a:gd name="T0" fmla="*/ 0 w 434"/>
              <a:gd name="T1" fmla="*/ 97804222 h 183"/>
              <a:gd name="T2" fmla="*/ 0 w 434"/>
              <a:gd name="T3" fmla="*/ 97804222 h 183"/>
              <a:gd name="T4" fmla="*/ 21780710 w 434"/>
              <a:gd name="T5" fmla="*/ 130405179 h 183"/>
              <a:gd name="T6" fmla="*/ 51342202 w 434"/>
              <a:gd name="T7" fmla="*/ 140699736 h 183"/>
              <a:gd name="T8" fmla="*/ 63787960 w 434"/>
              <a:gd name="T9" fmla="*/ 207618979 h 183"/>
              <a:gd name="T10" fmla="*/ 157136156 w 434"/>
              <a:gd name="T11" fmla="*/ 233356025 h 183"/>
              <a:gd name="T12" fmla="*/ 197588027 w 434"/>
              <a:gd name="T13" fmla="*/ 279684804 h 183"/>
              <a:gd name="T14" fmla="*/ 273821727 w 434"/>
              <a:gd name="T15" fmla="*/ 276252848 h 183"/>
              <a:gd name="T16" fmla="*/ 360947101 w 434"/>
              <a:gd name="T17" fmla="*/ 312285761 h 183"/>
              <a:gd name="T18" fmla="*/ 477632633 w 434"/>
              <a:gd name="T19" fmla="*/ 279684804 h 183"/>
              <a:gd name="T20" fmla="*/ 513416994 w 434"/>
              <a:gd name="T21" fmla="*/ 253946448 h 183"/>
              <a:gd name="T22" fmla="*/ 513416994 w 434"/>
              <a:gd name="T23" fmla="*/ 217913535 h 183"/>
              <a:gd name="T24" fmla="*/ 546088045 w 434"/>
              <a:gd name="T25" fmla="*/ 221345491 h 183"/>
              <a:gd name="T26" fmla="*/ 616100113 w 434"/>
              <a:gd name="T27" fmla="*/ 169870047 h 183"/>
              <a:gd name="T28" fmla="*/ 673665330 w 434"/>
              <a:gd name="T29" fmla="*/ 166438092 h 183"/>
              <a:gd name="T30" fmla="*/ 645660348 w 434"/>
              <a:gd name="T31" fmla="*/ 126973224 h 183"/>
              <a:gd name="T32" fmla="*/ 591207349 w 434"/>
              <a:gd name="T33" fmla="*/ 137269090 h 183"/>
              <a:gd name="T34" fmla="*/ 591207349 w 434"/>
              <a:gd name="T35" fmla="*/ 92656289 h 183"/>
              <a:gd name="T36" fmla="*/ 605209762 w 434"/>
              <a:gd name="T37" fmla="*/ 68633890 h 183"/>
              <a:gd name="T38" fmla="*/ 566314585 w 434"/>
              <a:gd name="T39" fmla="*/ 61771289 h 183"/>
              <a:gd name="T40" fmla="*/ 465186875 w 434"/>
              <a:gd name="T41" fmla="*/ 89224334 h 183"/>
              <a:gd name="T42" fmla="*/ 378061578 w 434"/>
              <a:gd name="T43" fmla="*/ 49759445 h 183"/>
              <a:gd name="T44" fmla="*/ 320496438 w 434"/>
              <a:gd name="T45" fmla="*/ 54907378 h 183"/>
              <a:gd name="T46" fmla="*/ 300271146 w 434"/>
              <a:gd name="T47" fmla="*/ 22306411 h 183"/>
              <a:gd name="T48" fmla="*/ 244261492 w 434"/>
              <a:gd name="T49" fmla="*/ 0 h 183"/>
              <a:gd name="T50" fmla="*/ 214701257 w 434"/>
              <a:gd name="T51" fmla="*/ 24022389 h 183"/>
              <a:gd name="T52" fmla="*/ 213145849 w 434"/>
              <a:gd name="T53" fmla="*/ 68633890 h 183"/>
              <a:gd name="T54" fmla="*/ 85569928 w 434"/>
              <a:gd name="T55" fmla="*/ 48043467 h 183"/>
              <a:gd name="T56" fmla="*/ 0 w 434"/>
              <a:gd name="T57" fmla="*/ 97804222 h 183"/>
              <a:gd name="T58" fmla="*/ 0 w 434"/>
              <a:gd name="T59" fmla="*/ 97804222 h 1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4"/>
              <a:gd name="T91" fmla="*/ 0 h 183"/>
              <a:gd name="T92" fmla="*/ 434 w 434"/>
              <a:gd name="T93" fmla="*/ 183 h 18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4" h="183">
                <a:moveTo>
                  <a:pt x="0" y="57"/>
                </a:moveTo>
                <a:lnTo>
                  <a:pt x="0" y="57"/>
                </a:lnTo>
                <a:lnTo>
                  <a:pt x="14" y="76"/>
                </a:lnTo>
                <a:lnTo>
                  <a:pt x="33" y="82"/>
                </a:lnTo>
                <a:lnTo>
                  <a:pt x="41" y="121"/>
                </a:lnTo>
                <a:lnTo>
                  <a:pt x="101" y="136"/>
                </a:lnTo>
                <a:lnTo>
                  <a:pt x="127" y="163"/>
                </a:lnTo>
                <a:lnTo>
                  <a:pt x="176" y="161"/>
                </a:lnTo>
                <a:lnTo>
                  <a:pt x="232" y="182"/>
                </a:lnTo>
                <a:lnTo>
                  <a:pt x="307" y="163"/>
                </a:lnTo>
                <a:lnTo>
                  <a:pt x="330" y="148"/>
                </a:lnTo>
                <a:lnTo>
                  <a:pt x="330" y="127"/>
                </a:lnTo>
                <a:lnTo>
                  <a:pt x="351" y="129"/>
                </a:lnTo>
                <a:lnTo>
                  <a:pt x="396" y="99"/>
                </a:lnTo>
                <a:lnTo>
                  <a:pt x="433" y="97"/>
                </a:lnTo>
                <a:lnTo>
                  <a:pt x="415" y="74"/>
                </a:lnTo>
                <a:lnTo>
                  <a:pt x="380" y="80"/>
                </a:lnTo>
                <a:lnTo>
                  <a:pt x="380" y="54"/>
                </a:lnTo>
                <a:lnTo>
                  <a:pt x="389" y="40"/>
                </a:lnTo>
                <a:lnTo>
                  <a:pt x="364" y="36"/>
                </a:lnTo>
                <a:lnTo>
                  <a:pt x="299" y="52"/>
                </a:lnTo>
                <a:lnTo>
                  <a:pt x="243" y="29"/>
                </a:lnTo>
                <a:lnTo>
                  <a:pt x="206" y="32"/>
                </a:lnTo>
                <a:lnTo>
                  <a:pt x="193" y="13"/>
                </a:lnTo>
                <a:lnTo>
                  <a:pt x="157" y="0"/>
                </a:lnTo>
                <a:lnTo>
                  <a:pt x="138" y="14"/>
                </a:lnTo>
                <a:lnTo>
                  <a:pt x="137" y="40"/>
                </a:lnTo>
                <a:lnTo>
                  <a:pt x="55" y="28"/>
                </a:lnTo>
                <a:lnTo>
                  <a:pt x="0" y="57"/>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52" name="Freeform 551"/>
          <p:cNvSpPr>
            <a:spLocks/>
          </p:cNvSpPr>
          <p:nvPr/>
        </p:nvSpPr>
        <p:spPr bwMode="auto">
          <a:xfrm>
            <a:off x="5527006" y="3608052"/>
            <a:ext cx="173458" cy="196774"/>
          </a:xfrm>
          <a:custGeom>
            <a:avLst/>
            <a:gdLst>
              <a:gd name="T0" fmla="*/ 0 w 105"/>
              <a:gd name="T1" fmla="*/ 143570889 h 119"/>
              <a:gd name="T2" fmla="*/ 0 w 105"/>
              <a:gd name="T3" fmla="*/ 143570889 h 119"/>
              <a:gd name="T4" fmla="*/ 20480870 w 105"/>
              <a:gd name="T5" fmla="*/ 201682754 h 119"/>
              <a:gd name="T6" fmla="*/ 57054450 w 105"/>
              <a:gd name="T7" fmla="*/ 193136590 h 119"/>
              <a:gd name="T8" fmla="*/ 114110109 w 105"/>
              <a:gd name="T9" fmla="*/ 141860872 h 119"/>
              <a:gd name="T10" fmla="*/ 112646586 w 105"/>
              <a:gd name="T11" fmla="*/ 117932397 h 119"/>
              <a:gd name="T12" fmla="*/ 150683680 w 105"/>
              <a:gd name="T13" fmla="*/ 73494155 h 119"/>
              <a:gd name="T14" fmla="*/ 152145994 w 105"/>
              <a:gd name="T15" fmla="*/ 59820554 h 119"/>
              <a:gd name="T16" fmla="*/ 131665133 w 105"/>
              <a:gd name="T17" fmla="*/ 34183359 h 119"/>
              <a:gd name="T18" fmla="*/ 84850527 w 105"/>
              <a:gd name="T19" fmla="*/ 0 h 119"/>
              <a:gd name="T20" fmla="*/ 73147160 w 105"/>
              <a:gd name="T21" fmla="*/ 1708710 h 119"/>
              <a:gd name="T22" fmla="*/ 78998834 w 105"/>
              <a:gd name="T23" fmla="*/ 18801043 h 119"/>
              <a:gd name="T24" fmla="*/ 62907334 w 105"/>
              <a:gd name="T25" fmla="*/ 54693117 h 119"/>
              <a:gd name="T26" fmla="*/ 73147160 w 105"/>
              <a:gd name="T27" fmla="*/ 71785445 h 119"/>
              <a:gd name="T28" fmla="*/ 58517973 w 105"/>
              <a:gd name="T29" fmla="*/ 119642415 h 119"/>
              <a:gd name="T30" fmla="*/ 0 w 105"/>
              <a:gd name="T31" fmla="*/ 143570889 h 119"/>
              <a:gd name="T32" fmla="*/ 0 w 105"/>
              <a:gd name="T33" fmla="*/ 143570889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5"/>
              <a:gd name="T52" fmla="*/ 0 h 119"/>
              <a:gd name="T53" fmla="*/ 105 w 105"/>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5" h="119">
                <a:moveTo>
                  <a:pt x="0" y="84"/>
                </a:moveTo>
                <a:lnTo>
                  <a:pt x="0" y="84"/>
                </a:lnTo>
                <a:lnTo>
                  <a:pt x="14" y="118"/>
                </a:lnTo>
                <a:lnTo>
                  <a:pt x="39" y="113"/>
                </a:lnTo>
                <a:lnTo>
                  <a:pt x="78" y="83"/>
                </a:lnTo>
                <a:lnTo>
                  <a:pt x="77" y="69"/>
                </a:lnTo>
                <a:lnTo>
                  <a:pt x="103" y="43"/>
                </a:lnTo>
                <a:lnTo>
                  <a:pt x="104" y="35"/>
                </a:lnTo>
                <a:lnTo>
                  <a:pt x="90" y="20"/>
                </a:lnTo>
                <a:lnTo>
                  <a:pt x="58" y="0"/>
                </a:lnTo>
                <a:lnTo>
                  <a:pt x="50" y="1"/>
                </a:lnTo>
                <a:lnTo>
                  <a:pt x="54" y="11"/>
                </a:lnTo>
                <a:lnTo>
                  <a:pt x="43" y="32"/>
                </a:lnTo>
                <a:lnTo>
                  <a:pt x="50" y="42"/>
                </a:lnTo>
                <a:lnTo>
                  <a:pt x="40" y="70"/>
                </a:lnTo>
                <a:lnTo>
                  <a:pt x="0" y="8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53" name="Freeform 552"/>
          <p:cNvSpPr>
            <a:spLocks/>
          </p:cNvSpPr>
          <p:nvPr/>
        </p:nvSpPr>
        <p:spPr bwMode="auto">
          <a:xfrm>
            <a:off x="6177472" y="3477537"/>
            <a:ext cx="188636" cy="96379"/>
          </a:xfrm>
          <a:custGeom>
            <a:avLst/>
            <a:gdLst>
              <a:gd name="T0" fmla="*/ 0 w 111"/>
              <a:gd name="T1" fmla="*/ 39317863 h 57"/>
              <a:gd name="T2" fmla="*/ 0 w 111"/>
              <a:gd name="T3" fmla="*/ 39317863 h 57"/>
              <a:gd name="T4" fmla="*/ 21675035 w 111"/>
              <a:gd name="T5" fmla="*/ 0 h 57"/>
              <a:gd name="T6" fmla="*/ 88246756 w 111"/>
              <a:gd name="T7" fmla="*/ 25020341 h 57"/>
              <a:gd name="T8" fmla="*/ 123855015 w 111"/>
              <a:gd name="T9" fmla="*/ 62549509 h 57"/>
              <a:gd name="T10" fmla="*/ 170300826 w 111"/>
              <a:gd name="T11" fmla="*/ 62549509 h 57"/>
              <a:gd name="T12" fmla="*/ 167203860 w 111"/>
              <a:gd name="T13" fmla="*/ 100080026 h 57"/>
              <a:gd name="T14" fmla="*/ 57283304 w 111"/>
              <a:gd name="T15" fmla="*/ 76847032 h 57"/>
              <a:gd name="T16" fmla="*/ 0 w 111"/>
              <a:gd name="T17" fmla="*/ 39317863 h 57"/>
              <a:gd name="T18" fmla="*/ 0 w 111"/>
              <a:gd name="T19" fmla="*/ 39317863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57"/>
              <a:gd name="T32" fmla="*/ 111 w 111"/>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57">
                <a:moveTo>
                  <a:pt x="0" y="22"/>
                </a:moveTo>
                <a:lnTo>
                  <a:pt x="0" y="22"/>
                </a:lnTo>
                <a:lnTo>
                  <a:pt x="14" y="0"/>
                </a:lnTo>
                <a:lnTo>
                  <a:pt x="57" y="14"/>
                </a:lnTo>
                <a:lnTo>
                  <a:pt x="80" y="35"/>
                </a:lnTo>
                <a:lnTo>
                  <a:pt x="110" y="35"/>
                </a:lnTo>
                <a:lnTo>
                  <a:pt x="108" y="56"/>
                </a:lnTo>
                <a:lnTo>
                  <a:pt x="37" y="43"/>
                </a:lnTo>
                <a:lnTo>
                  <a:pt x="0" y="2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grpSp>
        <p:nvGrpSpPr>
          <p:cNvPr id="9" name="Group 69"/>
          <p:cNvGrpSpPr>
            <a:grpSpLocks/>
          </p:cNvGrpSpPr>
          <p:nvPr/>
        </p:nvGrpSpPr>
        <p:grpSpPr bwMode="auto">
          <a:xfrm>
            <a:off x="8185154" y="4979473"/>
            <a:ext cx="277529" cy="325282"/>
            <a:chOff x="5352" y="3915"/>
            <a:chExt cx="163" cy="197"/>
          </a:xfrm>
          <a:solidFill>
            <a:schemeClr val="accent3"/>
          </a:solidFill>
        </p:grpSpPr>
        <p:sp>
          <p:nvSpPr>
            <p:cNvPr id="760" name="Freeform 759"/>
            <p:cNvSpPr>
              <a:spLocks/>
            </p:cNvSpPr>
            <p:nvPr/>
          </p:nvSpPr>
          <p:spPr bwMode="auto">
            <a:xfrm>
              <a:off x="5352" y="4012"/>
              <a:ext cx="106" cy="100"/>
            </a:xfrm>
            <a:custGeom>
              <a:avLst/>
              <a:gdLst>
                <a:gd name="T0" fmla="*/ 0 w 106"/>
                <a:gd name="T1" fmla="*/ 87 h 100"/>
                <a:gd name="T2" fmla="*/ 0 w 106"/>
                <a:gd name="T3" fmla="*/ 87 h 100"/>
                <a:gd name="T4" fmla="*/ 22 w 106"/>
                <a:gd name="T5" fmla="*/ 56 h 100"/>
                <a:gd name="T6" fmla="*/ 60 w 106"/>
                <a:gd name="T7" fmla="*/ 34 h 100"/>
                <a:gd name="T8" fmla="*/ 79 w 106"/>
                <a:gd name="T9" fmla="*/ 0 h 100"/>
                <a:gd name="T10" fmla="*/ 91 w 106"/>
                <a:gd name="T11" fmla="*/ 10 h 100"/>
                <a:gd name="T12" fmla="*/ 104 w 106"/>
                <a:gd name="T13" fmla="*/ 6 h 100"/>
                <a:gd name="T14" fmla="*/ 105 w 106"/>
                <a:gd name="T15" fmla="*/ 18 h 100"/>
                <a:gd name="T16" fmla="*/ 85 w 106"/>
                <a:gd name="T17" fmla="*/ 41 h 100"/>
                <a:gd name="T18" fmla="*/ 90 w 106"/>
                <a:gd name="T19" fmla="*/ 52 h 100"/>
                <a:gd name="T20" fmla="*/ 67 w 106"/>
                <a:gd name="T21" fmla="*/ 56 h 100"/>
                <a:gd name="T22" fmla="*/ 57 w 106"/>
                <a:gd name="T23" fmla="*/ 89 h 100"/>
                <a:gd name="T24" fmla="*/ 34 w 106"/>
                <a:gd name="T25" fmla="*/ 99 h 100"/>
                <a:gd name="T26" fmla="*/ 0 w 106"/>
                <a:gd name="T27" fmla="*/ 87 h 100"/>
                <a:gd name="T28" fmla="*/ 0 w 106"/>
                <a:gd name="T29" fmla="*/ 87 h 1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6"/>
                <a:gd name="T46" fmla="*/ 0 h 100"/>
                <a:gd name="T47" fmla="*/ 106 w 106"/>
                <a:gd name="T48" fmla="*/ 100 h 1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6" h="100">
                  <a:moveTo>
                    <a:pt x="0" y="87"/>
                  </a:moveTo>
                  <a:lnTo>
                    <a:pt x="0" y="87"/>
                  </a:lnTo>
                  <a:lnTo>
                    <a:pt x="22" y="56"/>
                  </a:lnTo>
                  <a:lnTo>
                    <a:pt x="60" y="34"/>
                  </a:lnTo>
                  <a:lnTo>
                    <a:pt x="79" y="0"/>
                  </a:lnTo>
                  <a:lnTo>
                    <a:pt x="91" y="10"/>
                  </a:lnTo>
                  <a:lnTo>
                    <a:pt x="104" y="6"/>
                  </a:lnTo>
                  <a:lnTo>
                    <a:pt x="105" y="18"/>
                  </a:lnTo>
                  <a:lnTo>
                    <a:pt x="85" y="41"/>
                  </a:lnTo>
                  <a:lnTo>
                    <a:pt x="90" y="52"/>
                  </a:lnTo>
                  <a:lnTo>
                    <a:pt x="67" y="56"/>
                  </a:lnTo>
                  <a:lnTo>
                    <a:pt x="57" y="89"/>
                  </a:lnTo>
                  <a:lnTo>
                    <a:pt x="34" y="99"/>
                  </a:lnTo>
                  <a:lnTo>
                    <a:pt x="0" y="87"/>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61" name="Freeform 760"/>
            <p:cNvSpPr>
              <a:spLocks/>
            </p:cNvSpPr>
            <p:nvPr/>
          </p:nvSpPr>
          <p:spPr bwMode="auto">
            <a:xfrm>
              <a:off x="5435" y="3915"/>
              <a:ext cx="80" cy="110"/>
            </a:xfrm>
            <a:custGeom>
              <a:avLst/>
              <a:gdLst>
                <a:gd name="T0" fmla="*/ 0 w 80"/>
                <a:gd name="T1" fmla="*/ 0 h 110"/>
                <a:gd name="T2" fmla="*/ 0 w 80"/>
                <a:gd name="T3" fmla="*/ 0 h 110"/>
                <a:gd name="T4" fmla="*/ 22 w 80"/>
                <a:gd name="T5" fmla="*/ 13 h 110"/>
                <a:gd name="T6" fmla="*/ 28 w 80"/>
                <a:gd name="T7" fmla="*/ 37 h 110"/>
                <a:gd name="T8" fmla="*/ 37 w 80"/>
                <a:gd name="T9" fmla="*/ 43 h 110"/>
                <a:gd name="T10" fmla="*/ 43 w 80"/>
                <a:gd name="T11" fmla="*/ 33 h 110"/>
                <a:gd name="T12" fmla="*/ 47 w 80"/>
                <a:gd name="T13" fmla="*/ 50 h 110"/>
                <a:gd name="T14" fmla="*/ 79 w 80"/>
                <a:gd name="T15" fmla="*/ 50 h 110"/>
                <a:gd name="T16" fmla="*/ 73 w 80"/>
                <a:gd name="T17" fmla="*/ 74 h 110"/>
                <a:gd name="T18" fmla="*/ 57 w 80"/>
                <a:gd name="T19" fmla="*/ 77 h 110"/>
                <a:gd name="T20" fmla="*/ 43 w 80"/>
                <a:gd name="T21" fmla="*/ 108 h 110"/>
                <a:gd name="T22" fmla="*/ 28 w 80"/>
                <a:gd name="T23" fmla="*/ 109 h 110"/>
                <a:gd name="T24" fmla="*/ 35 w 80"/>
                <a:gd name="T25" fmla="*/ 98 h 110"/>
                <a:gd name="T26" fmla="*/ 15 w 80"/>
                <a:gd name="T27" fmla="*/ 75 h 110"/>
                <a:gd name="T28" fmla="*/ 31 w 80"/>
                <a:gd name="T29" fmla="*/ 56 h 110"/>
                <a:gd name="T30" fmla="*/ 28 w 80"/>
                <a:gd name="T31" fmla="*/ 40 h 110"/>
                <a:gd name="T32" fmla="*/ 0 w 80"/>
                <a:gd name="T33" fmla="*/ 0 h 110"/>
                <a:gd name="T34" fmla="*/ 0 w 80"/>
                <a:gd name="T35" fmla="*/ 0 h 1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0"/>
                <a:gd name="T55" fmla="*/ 0 h 110"/>
                <a:gd name="T56" fmla="*/ 80 w 80"/>
                <a:gd name="T57" fmla="*/ 110 h 1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0" h="110">
                  <a:moveTo>
                    <a:pt x="0" y="0"/>
                  </a:moveTo>
                  <a:lnTo>
                    <a:pt x="0" y="0"/>
                  </a:lnTo>
                  <a:lnTo>
                    <a:pt x="22" y="13"/>
                  </a:lnTo>
                  <a:lnTo>
                    <a:pt x="28" y="37"/>
                  </a:lnTo>
                  <a:lnTo>
                    <a:pt x="37" y="43"/>
                  </a:lnTo>
                  <a:lnTo>
                    <a:pt x="43" y="33"/>
                  </a:lnTo>
                  <a:lnTo>
                    <a:pt x="47" y="50"/>
                  </a:lnTo>
                  <a:lnTo>
                    <a:pt x="79" y="50"/>
                  </a:lnTo>
                  <a:lnTo>
                    <a:pt x="73" y="74"/>
                  </a:lnTo>
                  <a:lnTo>
                    <a:pt x="57" y="77"/>
                  </a:lnTo>
                  <a:lnTo>
                    <a:pt x="43" y="108"/>
                  </a:lnTo>
                  <a:lnTo>
                    <a:pt x="28" y="109"/>
                  </a:lnTo>
                  <a:lnTo>
                    <a:pt x="35" y="98"/>
                  </a:lnTo>
                  <a:lnTo>
                    <a:pt x="15" y="75"/>
                  </a:lnTo>
                  <a:lnTo>
                    <a:pt x="31" y="56"/>
                  </a:lnTo>
                  <a:lnTo>
                    <a:pt x="28" y="40"/>
                  </a:lnTo>
                  <a:lnTo>
                    <a:pt x="0" y="0"/>
                  </a:lnTo>
                </a:path>
              </a:pathLst>
            </a:custGeom>
            <a:grpFill/>
            <a:ln w="12700">
              <a:solidFill>
                <a:schemeClr val="bg1"/>
              </a:solidFill>
              <a:round/>
              <a:headEnd/>
              <a:tailEnd/>
            </a:ln>
          </p:spPr>
          <p:txBody>
            <a:bodyPr lIns="0" tIns="0" rIns="0" bIns="0" anchor="ctr">
              <a:spAutoFit/>
            </a:bodyPr>
            <a:lstStyle/>
            <a:p>
              <a:pPr>
                <a:defRPr/>
              </a:pPr>
              <a:endParaRPr lang="en-GB"/>
            </a:p>
          </p:txBody>
        </p:sp>
      </p:grpSp>
      <p:sp>
        <p:nvSpPr>
          <p:cNvPr id="555" name="Freeform 554"/>
          <p:cNvSpPr>
            <a:spLocks/>
          </p:cNvSpPr>
          <p:nvPr/>
        </p:nvSpPr>
        <p:spPr bwMode="auto">
          <a:xfrm>
            <a:off x="5730818" y="3306867"/>
            <a:ext cx="392449" cy="329296"/>
          </a:xfrm>
          <a:custGeom>
            <a:avLst/>
            <a:gdLst>
              <a:gd name="T0" fmla="*/ 0 w 230"/>
              <a:gd name="T1" fmla="*/ 184855067 h 199"/>
              <a:gd name="T2" fmla="*/ 0 w 230"/>
              <a:gd name="T3" fmla="*/ 184855067 h 199"/>
              <a:gd name="T4" fmla="*/ 34336892 w 230"/>
              <a:gd name="T5" fmla="*/ 196837704 h 199"/>
              <a:gd name="T6" fmla="*/ 112372904 w 230"/>
              <a:gd name="T7" fmla="*/ 184855067 h 199"/>
              <a:gd name="T8" fmla="*/ 126419980 w 230"/>
              <a:gd name="T9" fmla="*/ 150623590 h 199"/>
              <a:gd name="T10" fmla="*/ 179485088 w 230"/>
              <a:gd name="T11" fmla="*/ 131794665 h 199"/>
              <a:gd name="T12" fmla="*/ 184167446 w 230"/>
              <a:gd name="T13" fmla="*/ 102696964 h 199"/>
              <a:gd name="T14" fmla="*/ 202895633 w 230"/>
              <a:gd name="T15" fmla="*/ 95850677 h 199"/>
              <a:gd name="T16" fmla="*/ 195092534 w 230"/>
              <a:gd name="T17" fmla="*/ 80446837 h 199"/>
              <a:gd name="T18" fmla="*/ 213821969 w 230"/>
              <a:gd name="T19" fmla="*/ 78734284 h 199"/>
              <a:gd name="T20" fmla="*/ 227867797 w 230"/>
              <a:gd name="T21" fmla="*/ 49636583 h 199"/>
              <a:gd name="T22" fmla="*/ 221625068 w 230"/>
              <a:gd name="T23" fmla="*/ 20538866 h 199"/>
              <a:gd name="T24" fmla="*/ 293419571 w 230"/>
              <a:gd name="T25" fmla="*/ 0 h 199"/>
              <a:gd name="T26" fmla="*/ 357409805 w 230"/>
              <a:gd name="T27" fmla="*/ 42790286 h 199"/>
              <a:gd name="T28" fmla="*/ 340240740 w 230"/>
              <a:gd name="T29" fmla="*/ 61617913 h 199"/>
              <a:gd name="T30" fmla="*/ 279372495 w 230"/>
              <a:gd name="T31" fmla="*/ 61617913 h 199"/>
              <a:gd name="T32" fmla="*/ 279372495 w 230"/>
              <a:gd name="T33" fmla="*/ 99274475 h 199"/>
              <a:gd name="T34" fmla="*/ 307465399 w 230"/>
              <a:gd name="T35" fmla="*/ 123237133 h 199"/>
              <a:gd name="T36" fmla="*/ 290297582 w 230"/>
              <a:gd name="T37" fmla="*/ 135218463 h 199"/>
              <a:gd name="T38" fmla="*/ 294979941 w 230"/>
              <a:gd name="T39" fmla="*/ 157469877 h 199"/>
              <a:gd name="T40" fmla="*/ 232550156 w 230"/>
              <a:gd name="T41" fmla="*/ 234492937 h 199"/>
              <a:gd name="T42" fmla="*/ 204457252 w 230"/>
              <a:gd name="T43" fmla="*/ 232781693 h 199"/>
              <a:gd name="T44" fmla="*/ 184167446 w 230"/>
              <a:gd name="T45" fmla="*/ 251609309 h 199"/>
              <a:gd name="T46" fmla="*/ 218503079 w 230"/>
              <a:gd name="T47" fmla="*/ 323497286 h 199"/>
              <a:gd name="T48" fmla="*/ 170120370 w 230"/>
              <a:gd name="T49" fmla="*/ 323497286 h 199"/>
              <a:gd name="T50" fmla="*/ 152952514 w 230"/>
              <a:gd name="T51" fmla="*/ 338902414 h 199"/>
              <a:gd name="T52" fmla="*/ 117055263 w 230"/>
              <a:gd name="T53" fmla="*/ 296110830 h 199"/>
              <a:gd name="T54" fmla="*/ 17167821 w 230"/>
              <a:gd name="T55" fmla="*/ 304669670 h 199"/>
              <a:gd name="T56" fmla="*/ 49943099 w 230"/>
              <a:gd name="T57" fmla="*/ 255031799 h 199"/>
              <a:gd name="T58" fmla="*/ 0 w 230"/>
              <a:gd name="T59" fmla="*/ 184855067 h 199"/>
              <a:gd name="T60" fmla="*/ 0 w 230"/>
              <a:gd name="T61" fmla="*/ 184855067 h 19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0"/>
              <a:gd name="T94" fmla="*/ 0 h 199"/>
              <a:gd name="T95" fmla="*/ 230 w 230"/>
              <a:gd name="T96" fmla="*/ 199 h 19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0" h="199">
                <a:moveTo>
                  <a:pt x="0" y="108"/>
                </a:moveTo>
                <a:lnTo>
                  <a:pt x="0" y="108"/>
                </a:lnTo>
                <a:lnTo>
                  <a:pt x="22" y="115"/>
                </a:lnTo>
                <a:lnTo>
                  <a:pt x="72" y="108"/>
                </a:lnTo>
                <a:lnTo>
                  <a:pt x="81" y="88"/>
                </a:lnTo>
                <a:lnTo>
                  <a:pt x="115" y="77"/>
                </a:lnTo>
                <a:lnTo>
                  <a:pt x="118" y="60"/>
                </a:lnTo>
                <a:lnTo>
                  <a:pt x="130" y="56"/>
                </a:lnTo>
                <a:lnTo>
                  <a:pt x="125" y="47"/>
                </a:lnTo>
                <a:lnTo>
                  <a:pt x="137" y="46"/>
                </a:lnTo>
                <a:lnTo>
                  <a:pt x="146" y="29"/>
                </a:lnTo>
                <a:lnTo>
                  <a:pt x="142" y="12"/>
                </a:lnTo>
                <a:lnTo>
                  <a:pt x="188" y="0"/>
                </a:lnTo>
                <a:lnTo>
                  <a:pt x="229" y="25"/>
                </a:lnTo>
                <a:lnTo>
                  <a:pt x="218" y="36"/>
                </a:lnTo>
                <a:lnTo>
                  <a:pt x="179" y="36"/>
                </a:lnTo>
                <a:lnTo>
                  <a:pt x="179" y="58"/>
                </a:lnTo>
                <a:lnTo>
                  <a:pt x="197" y="72"/>
                </a:lnTo>
                <a:lnTo>
                  <a:pt x="186" y="79"/>
                </a:lnTo>
                <a:lnTo>
                  <a:pt x="189" y="92"/>
                </a:lnTo>
                <a:lnTo>
                  <a:pt x="149" y="137"/>
                </a:lnTo>
                <a:lnTo>
                  <a:pt x="131" y="136"/>
                </a:lnTo>
                <a:lnTo>
                  <a:pt x="118" y="147"/>
                </a:lnTo>
                <a:lnTo>
                  <a:pt x="140" y="189"/>
                </a:lnTo>
                <a:lnTo>
                  <a:pt x="109" y="189"/>
                </a:lnTo>
                <a:lnTo>
                  <a:pt x="98" y="198"/>
                </a:lnTo>
                <a:lnTo>
                  <a:pt x="75" y="173"/>
                </a:lnTo>
                <a:lnTo>
                  <a:pt x="11" y="178"/>
                </a:lnTo>
                <a:lnTo>
                  <a:pt x="32" y="149"/>
                </a:lnTo>
                <a:lnTo>
                  <a:pt x="0" y="10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grpSp>
        <p:nvGrpSpPr>
          <p:cNvPr id="11" name="Group 73"/>
          <p:cNvGrpSpPr>
            <a:grpSpLocks/>
          </p:cNvGrpSpPr>
          <p:nvPr/>
        </p:nvGrpSpPr>
        <p:grpSpPr bwMode="auto">
          <a:xfrm>
            <a:off x="7597572" y="4234517"/>
            <a:ext cx="277530" cy="172680"/>
            <a:chOff x="5006" y="3464"/>
            <a:chExt cx="164" cy="107"/>
          </a:xfrm>
          <a:solidFill>
            <a:schemeClr val="accent3"/>
          </a:solidFill>
        </p:grpSpPr>
        <p:sp>
          <p:nvSpPr>
            <p:cNvPr id="757" name="Freeform 756"/>
            <p:cNvSpPr>
              <a:spLocks/>
            </p:cNvSpPr>
            <p:nvPr/>
          </p:nvSpPr>
          <p:spPr bwMode="auto">
            <a:xfrm>
              <a:off x="5006" y="3464"/>
              <a:ext cx="136" cy="107"/>
            </a:xfrm>
            <a:custGeom>
              <a:avLst/>
              <a:gdLst>
                <a:gd name="T0" fmla="*/ 0 w 136"/>
                <a:gd name="T1" fmla="*/ 0 h 107"/>
                <a:gd name="T2" fmla="*/ 0 w 136"/>
                <a:gd name="T3" fmla="*/ 0 h 107"/>
                <a:gd name="T4" fmla="*/ 2 w 136"/>
                <a:gd name="T5" fmla="*/ 88 h 107"/>
                <a:gd name="T6" fmla="*/ 24 w 136"/>
                <a:gd name="T7" fmla="*/ 91 h 107"/>
                <a:gd name="T8" fmla="*/ 46 w 136"/>
                <a:gd name="T9" fmla="*/ 67 h 107"/>
                <a:gd name="T10" fmla="*/ 70 w 136"/>
                <a:gd name="T11" fmla="*/ 78 h 107"/>
                <a:gd name="T12" fmla="*/ 93 w 136"/>
                <a:gd name="T13" fmla="*/ 101 h 107"/>
                <a:gd name="T14" fmla="*/ 135 w 136"/>
                <a:gd name="T15" fmla="*/ 106 h 107"/>
                <a:gd name="T16" fmla="*/ 87 w 136"/>
                <a:gd name="T17" fmla="*/ 67 h 107"/>
                <a:gd name="T18" fmla="*/ 90 w 136"/>
                <a:gd name="T19" fmla="*/ 47 h 107"/>
                <a:gd name="T20" fmla="*/ 67 w 136"/>
                <a:gd name="T21" fmla="*/ 41 h 107"/>
                <a:gd name="T22" fmla="*/ 46 w 136"/>
                <a:gd name="T23" fmla="*/ 16 h 107"/>
                <a:gd name="T24" fmla="*/ 0 w 136"/>
                <a:gd name="T25" fmla="*/ 0 h 107"/>
                <a:gd name="T26" fmla="*/ 0 w 136"/>
                <a:gd name="T27" fmla="*/ 0 h 1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07"/>
                <a:gd name="T44" fmla="*/ 136 w 136"/>
                <a:gd name="T45" fmla="*/ 107 h 10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07">
                  <a:moveTo>
                    <a:pt x="0" y="0"/>
                  </a:moveTo>
                  <a:lnTo>
                    <a:pt x="0" y="0"/>
                  </a:lnTo>
                  <a:lnTo>
                    <a:pt x="2" y="88"/>
                  </a:lnTo>
                  <a:lnTo>
                    <a:pt x="24" y="91"/>
                  </a:lnTo>
                  <a:lnTo>
                    <a:pt x="46" y="67"/>
                  </a:lnTo>
                  <a:lnTo>
                    <a:pt x="70" y="78"/>
                  </a:lnTo>
                  <a:lnTo>
                    <a:pt x="93" y="101"/>
                  </a:lnTo>
                  <a:lnTo>
                    <a:pt x="135" y="106"/>
                  </a:lnTo>
                  <a:lnTo>
                    <a:pt x="87" y="67"/>
                  </a:lnTo>
                  <a:lnTo>
                    <a:pt x="90" y="47"/>
                  </a:lnTo>
                  <a:lnTo>
                    <a:pt x="67" y="41"/>
                  </a:lnTo>
                  <a:lnTo>
                    <a:pt x="46" y="16"/>
                  </a:lnTo>
                  <a:lnTo>
                    <a:pt x="0" y="0"/>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58" name="Freeform 75"/>
            <p:cNvSpPr>
              <a:spLocks/>
            </p:cNvSpPr>
            <p:nvPr/>
          </p:nvSpPr>
          <p:spPr bwMode="auto">
            <a:xfrm>
              <a:off x="5105" y="3487"/>
              <a:ext cx="57" cy="28"/>
            </a:xfrm>
            <a:custGeom>
              <a:avLst/>
              <a:gdLst>
                <a:gd name="T0" fmla="*/ 0 w 57"/>
                <a:gd name="T1" fmla="*/ 18 h 28"/>
                <a:gd name="T2" fmla="*/ 0 w 57"/>
                <a:gd name="T3" fmla="*/ 18 h 28"/>
                <a:gd name="T4" fmla="*/ 33 w 57"/>
                <a:gd name="T5" fmla="*/ 27 h 28"/>
                <a:gd name="T6" fmla="*/ 56 w 57"/>
                <a:gd name="T7" fmla="*/ 8 h 28"/>
                <a:gd name="T8" fmla="*/ 47 w 57"/>
                <a:gd name="T9" fmla="*/ 0 h 28"/>
                <a:gd name="T10" fmla="*/ 40 w 57"/>
                <a:gd name="T11" fmla="*/ 10 h 28"/>
                <a:gd name="T12" fmla="*/ 0 w 57"/>
                <a:gd name="T13" fmla="*/ 18 h 28"/>
                <a:gd name="T14" fmla="*/ 0 w 57"/>
                <a:gd name="T15" fmla="*/ 18 h 28"/>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28"/>
                <a:gd name="T26" fmla="*/ 57 w 57"/>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28">
                  <a:moveTo>
                    <a:pt x="0" y="18"/>
                  </a:moveTo>
                  <a:lnTo>
                    <a:pt x="0" y="18"/>
                  </a:lnTo>
                  <a:lnTo>
                    <a:pt x="33" y="27"/>
                  </a:lnTo>
                  <a:lnTo>
                    <a:pt x="56" y="8"/>
                  </a:lnTo>
                  <a:lnTo>
                    <a:pt x="47" y="0"/>
                  </a:lnTo>
                  <a:lnTo>
                    <a:pt x="40" y="10"/>
                  </a:lnTo>
                  <a:lnTo>
                    <a:pt x="0" y="18"/>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59" name="Freeform 758"/>
            <p:cNvSpPr>
              <a:spLocks/>
            </p:cNvSpPr>
            <p:nvPr/>
          </p:nvSpPr>
          <p:spPr bwMode="auto">
            <a:xfrm>
              <a:off x="5139" y="3466"/>
              <a:ext cx="31" cy="28"/>
            </a:xfrm>
            <a:custGeom>
              <a:avLst/>
              <a:gdLst>
                <a:gd name="T0" fmla="*/ 0 w 31"/>
                <a:gd name="T1" fmla="*/ 0 h 28"/>
                <a:gd name="T2" fmla="*/ 0 w 31"/>
                <a:gd name="T3" fmla="*/ 0 h 28"/>
                <a:gd name="T4" fmla="*/ 23 w 31"/>
                <a:gd name="T5" fmla="*/ 12 h 28"/>
                <a:gd name="T6" fmla="*/ 30 w 31"/>
                <a:gd name="T7" fmla="*/ 27 h 28"/>
                <a:gd name="T8" fmla="*/ 29 w 31"/>
                <a:gd name="T9" fmla="*/ 16 h 28"/>
                <a:gd name="T10" fmla="*/ 0 w 31"/>
                <a:gd name="T11" fmla="*/ 0 h 28"/>
                <a:gd name="T12" fmla="*/ 0 w 31"/>
                <a:gd name="T13" fmla="*/ 0 h 28"/>
                <a:gd name="T14" fmla="*/ 0 60000 65536"/>
                <a:gd name="T15" fmla="*/ 0 60000 65536"/>
                <a:gd name="T16" fmla="*/ 0 60000 65536"/>
                <a:gd name="T17" fmla="*/ 0 60000 65536"/>
                <a:gd name="T18" fmla="*/ 0 60000 65536"/>
                <a:gd name="T19" fmla="*/ 0 60000 65536"/>
                <a:gd name="T20" fmla="*/ 0 60000 65536"/>
                <a:gd name="T21" fmla="*/ 0 w 31"/>
                <a:gd name="T22" fmla="*/ 0 h 28"/>
                <a:gd name="T23" fmla="*/ 31 w 31"/>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8">
                  <a:moveTo>
                    <a:pt x="0" y="0"/>
                  </a:moveTo>
                  <a:lnTo>
                    <a:pt x="0" y="0"/>
                  </a:lnTo>
                  <a:lnTo>
                    <a:pt x="23" y="12"/>
                  </a:lnTo>
                  <a:lnTo>
                    <a:pt x="30" y="27"/>
                  </a:lnTo>
                  <a:lnTo>
                    <a:pt x="29" y="16"/>
                  </a:lnTo>
                  <a:lnTo>
                    <a:pt x="0" y="0"/>
                  </a:lnTo>
                </a:path>
              </a:pathLst>
            </a:custGeom>
            <a:grpFill/>
            <a:ln w="12700">
              <a:solidFill>
                <a:schemeClr val="bg1"/>
              </a:solidFill>
              <a:round/>
              <a:headEnd/>
              <a:tailEnd/>
            </a:ln>
          </p:spPr>
          <p:txBody>
            <a:bodyPr lIns="0" tIns="0" rIns="0" bIns="0" anchor="ctr">
              <a:spAutoFit/>
            </a:bodyPr>
            <a:lstStyle/>
            <a:p>
              <a:pPr>
                <a:defRPr/>
              </a:pPr>
              <a:endParaRPr lang="en-GB"/>
            </a:p>
          </p:txBody>
        </p:sp>
      </p:grpSp>
      <p:grpSp>
        <p:nvGrpSpPr>
          <p:cNvPr id="12" name="Group 77"/>
          <p:cNvGrpSpPr>
            <a:grpSpLocks/>
          </p:cNvGrpSpPr>
          <p:nvPr/>
        </p:nvGrpSpPr>
        <p:grpSpPr bwMode="auto">
          <a:xfrm>
            <a:off x="7042699" y="3756660"/>
            <a:ext cx="210320" cy="297170"/>
            <a:chOff x="4680" y="3175"/>
            <a:chExt cx="125" cy="179"/>
          </a:xfrm>
          <a:solidFill>
            <a:schemeClr val="accent3"/>
          </a:solidFill>
        </p:grpSpPr>
        <p:sp>
          <p:nvSpPr>
            <p:cNvPr id="751" name="Freeform 750"/>
            <p:cNvSpPr>
              <a:spLocks/>
            </p:cNvSpPr>
            <p:nvPr/>
          </p:nvSpPr>
          <p:spPr bwMode="auto">
            <a:xfrm>
              <a:off x="4680" y="3275"/>
              <a:ext cx="32" cy="40"/>
            </a:xfrm>
            <a:custGeom>
              <a:avLst/>
              <a:gdLst>
                <a:gd name="T0" fmla="*/ 0 w 32"/>
                <a:gd name="T1" fmla="*/ 39 h 40"/>
                <a:gd name="T2" fmla="*/ 0 w 32"/>
                <a:gd name="T3" fmla="*/ 39 h 40"/>
                <a:gd name="T4" fmla="*/ 22 w 32"/>
                <a:gd name="T5" fmla="*/ 21 h 40"/>
                <a:gd name="T6" fmla="*/ 31 w 32"/>
                <a:gd name="T7" fmla="*/ 0 h 40"/>
                <a:gd name="T8" fmla="*/ 0 w 32"/>
                <a:gd name="T9" fmla="*/ 39 h 40"/>
                <a:gd name="T10" fmla="*/ 0 w 32"/>
                <a:gd name="T11" fmla="*/ 39 h 40"/>
                <a:gd name="T12" fmla="*/ 0 60000 65536"/>
                <a:gd name="T13" fmla="*/ 0 60000 65536"/>
                <a:gd name="T14" fmla="*/ 0 60000 65536"/>
                <a:gd name="T15" fmla="*/ 0 60000 65536"/>
                <a:gd name="T16" fmla="*/ 0 60000 65536"/>
                <a:gd name="T17" fmla="*/ 0 60000 65536"/>
                <a:gd name="T18" fmla="*/ 0 w 32"/>
                <a:gd name="T19" fmla="*/ 0 h 40"/>
                <a:gd name="T20" fmla="*/ 32 w 3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32" h="40">
                  <a:moveTo>
                    <a:pt x="0" y="39"/>
                  </a:moveTo>
                  <a:lnTo>
                    <a:pt x="0" y="39"/>
                  </a:lnTo>
                  <a:lnTo>
                    <a:pt x="22" y="21"/>
                  </a:lnTo>
                  <a:lnTo>
                    <a:pt x="31" y="0"/>
                  </a:lnTo>
                  <a:lnTo>
                    <a:pt x="0" y="39"/>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52" name="Freeform 79"/>
            <p:cNvSpPr>
              <a:spLocks/>
            </p:cNvSpPr>
            <p:nvPr/>
          </p:nvSpPr>
          <p:spPr bwMode="auto">
            <a:xfrm>
              <a:off x="4717" y="3175"/>
              <a:ext cx="57" cy="84"/>
            </a:xfrm>
            <a:custGeom>
              <a:avLst/>
              <a:gdLst>
                <a:gd name="T0" fmla="*/ 0 w 57"/>
                <a:gd name="T1" fmla="*/ 33 h 84"/>
                <a:gd name="T2" fmla="*/ 0 w 57"/>
                <a:gd name="T3" fmla="*/ 33 h 84"/>
                <a:gd name="T4" fmla="*/ 11 w 57"/>
                <a:gd name="T5" fmla="*/ 0 h 84"/>
                <a:gd name="T6" fmla="*/ 30 w 57"/>
                <a:gd name="T7" fmla="*/ 1 h 84"/>
                <a:gd name="T8" fmla="*/ 35 w 57"/>
                <a:gd name="T9" fmla="*/ 23 h 84"/>
                <a:gd name="T10" fmla="*/ 20 w 57"/>
                <a:gd name="T11" fmla="*/ 45 h 84"/>
                <a:gd name="T12" fmla="*/ 23 w 57"/>
                <a:gd name="T13" fmla="*/ 58 h 84"/>
                <a:gd name="T14" fmla="*/ 53 w 57"/>
                <a:gd name="T15" fmla="*/ 66 h 84"/>
                <a:gd name="T16" fmla="*/ 56 w 57"/>
                <a:gd name="T17" fmla="*/ 83 h 84"/>
                <a:gd name="T18" fmla="*/ 38 w 57"/>
                <a:gd name="T19" fmla="*/ 66 h 84"/>
                <a:gd name="T20" fmla="*/ 38 w 57"/>
                <a:gd name="T21" fmla="*/ 74 h 84"/>
                <a:gd name="T22" fmla="*/ 11 w 57"/>
                <a:gd name="T23" fmla="*/ 66 h 84"/>
                <a:gd name="T24" fmla="*/ 0 w 57"/>
                <a:gd name="T25" fmla="*/ 33 h 84"/>
                <a:gd name="T26" fmla="*/ 0 w 57"/>
                <a:gd name="T27" fmla="*/ 3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84"/>
                <a:gd name="T44" fmla="*/ 57 w 57"/>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84">
                  <a:moveTo>
                    <a:pt x="0" y="33"/>
                  </a:moveTo>
                  <a:lnTo>
                    <a:pt x="0" y="33"/>
                  </a:lnTo>
                  <a:lnTo>
                    <a:pt x="11" y="0"/>
                  </a:lnTo>
                  <a:lnTo>
                    <a:pt x="30" y="1"/>
                  </a:lnTo>
                  <a:lnTo>
                    <a:pt x="35" y="23"/>
                  </a:lnTo>
                  <a:lnTo>
                    <a:pt x="20" y="45"/>
                  </a:lnTo>
                  <a:lnTo>
                    <a:pt x="23" y="58"/>
                  </a:lnTo>
                  <a:lnTo>
                    <a:pt x="53" y="66"/>
                  </a:lnTo>
                  <a:lnTo>
                    <a:pt x="56" y="83"/>
                  </a:lnTo>
                  <a:lnTo>
                    <a:pt x="38" y="66"/>
                  </a:lnTo>
                  <a:lnTo>
                    <a:pt x="38" y="74"/>
                  </a:lnTo>
                  <a:lnTo>
                    <a:pt x="11" y="66"/>
                  </a:lnTo>
                  <a:lnTo>
                    <a:pt x="0" y="33"/>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53" name="Freeform 752"/>
            <p:cNvSpPr>
              <a:spLocks/>
            </p:cNvSpPr>
            <p:nvPr/>
          </p:nvSpPr>
          <p:spPr bwMode="auto">
            <a:xfrm>
              <a:off x="4722" y="3246"/>
              <a:ext cx="17" cy="18"/>
            </a:xfrm>
            <a:custGeom>
              <a:avLst/>
              <a:gdLst>
                <a:gd name="T0" fmla="*/ 0 w 17"/>
                <a:gd name="T1" fmla="*/ 0 h 18"/>
                <a:gd name="T2" fmla="*/ 0 w 17"/>
                <a:gd name="T3" fmla="*/ 0 h 18"/>
                <a:gd name="T4" fmla="*/ 8 w 17"/>
                <a:gd name="T5" fmla="*/ 0 h 18"/>
                <a:gd name="T6" fmla="*/ 16 w 17"/>
                <a:gd name="T7" fmla="*/ 3 h 18"/>
                <a:gd name="T8" fmla="*/ 12 w 17"/>
                <a:gd name="T9" fmla="*/ 17 h 18"/>
                <a:gd name="T10" fmla="*/ 0 w 17"/>
                <a:gd name="T11" fmla="*/ 0 h 18"/>
                <a:gd name="T12" fmla="*/ 0 w 17"/>
                <a:gd name="T13" fmla="*/ 0 h 18"/>
                <a:gd name="T14" fmla="*/ 0 60000 65536"/>
                <a:gd name="T15" fmla="*/ 0 60000 65536"/>
                <a:gd name="T16" fmla="*/ 0 60000 65536"/>
                <a:gd name="T17" fmla="*/ 0 60000 65536"/>
                <a:gd name="T18" fmla="*/ 0 60000 65536"/>
                <a:gd name="T19" fmla="*/ 0 60000 65536"/>
                <a:gd name="T20" fmla="*/ 0 60000 65536"/>
                <a:gd name="T21" fmla="*/ 0 w 17"/>
                <a:gd name="T22" fmla="*/ 0 h 18"/>
                <a:gd name="T23" fmla="*/ 17 w 1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8">
                  <a:moveTo>
                    <a:pt x="0" y="0"/>
                  </a:moveTo>
                  <a:lnTo>
                    <a:pt x="0" y="0"/>
                  </a:lnTo>
                  <a:lnTo>
                    <a:pt x="8" y="0"/>
                  </a:lnTo>
                  <a:lnTo>
                    <a:pt x="16" y="3"/>
                  </a:lnTo>
                  <a:lnTo>
                    <a:pt x="12" y="17"/>
                  </a:lnTo>
                  <a:lnTo>
                    <a:pt x="0" y="0"/>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54" name="Freeform 81"/>
            <p:cNvSpPr>
              <a:spLocks/>
            </p:cNvSpPr>
            <p:nvPr/>
          </p:nvSpPr>
          <p:spPr bwMode="auto">
            <a:xfrm>
              <a:off x="4744" y="3267"/>
              <a:ext cx="15" cy="22"/>
            </a:xfrm>
            <a:custGeom>
              <a:avLst/>
              <a:gdLst>
                <a:gd name="T0" fmla="*/ 0 w 15"/>
                <a:gd name="T1" fmla="*/ 0 h 22"/>
                <a:gd name="T2" fmla="*/ 0 w 15"/>
                <a:gd name="T3" fmla="*/ 0 h 22"/>
                <a:gd name="T4" fmla="*/ 1 w 15"/>
                <a:gd name="T5" fmla="*/ 21 h 22"/>
                <a:gd name="T6" fmla="*/ 14 w 15"/>
                <a:gd name="T7" fmla="*/ 12 h 22"/>
                <a:gd name="T8" fmla="*/ 0 w 15"/>
                <a:gd name="T9" fmla="*/ 0 h 22"/>
                <a:gd name="T10" fmla="*/ 0 w 15"/>
                <a:gd name="T11" fmla="*/ 0 h 22"/>
                <a:gd name="T12" fmla="*/ 0 60000 65536"/>
                <a:gd name="T13" fmla="*/ 0 60000 65536"/>
                <a:gd name="T14" fmla="*/ 0 60000 65536"/>
                <a:gd name="T15" fmla="*/ 0 60000 65536"/>
                <a:gd name="T16" fmla="*/ 0 60000 65536"/>
                <a:gd name="T17" fmla="*/ 0 60000 65536"/>
                <a:gd name="T18" fmla="*/ 0 w 15"/>
                <a:gd name="T19" fmla="*/ 0 h 22"/>
                <a:gd name="T20" fmla="*/ 15 w 1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5" h="22">
                  <a:moveTo>
                    <a:pt x="0" y="0"/>
                  </a:moveTo>
                  <a:lnTo>
                    <a:pt x="0" y="0"/>
                  </a:lnTo>
                  <a:lnTo>
                    <a:pt x="1" y="21"/>
                  </a:lnTo>
                  <a:lnTo>
                    <a:pt x="14" y="12"/>
                  </a:lnTo>
                  <a:lnTo>
                    <a:pt x="0" y="0"/>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55" name="Freeform 754"/>
            <p:cNvSpPr>
              <a:spLocks/>
            </p:cNvSpPr>
            <p:nvPr/>
          </p:nvSpPr>
          <p:spPr bwMode="auto">
            <a:xfrm>
              <a:off x="4745" y="3297"/>
              <a:ext cx="60" cy="57"/>
            </a:xfrm>
            <a:custGeom>
              <a:avLst/>
              <a:gdLst>
                <a:gd name="T0" fmla="*/ 0 w 60"/>
                <a:gd name="T1" fmla="*/ 38 h 57"/>
                <a:gd name="T2" fmla="*/ 0 w 60"/>
                <a:gd name="T3" fmla="*/ 38 h 57"/>
                <a:gd name="T4" fmla="*/ 13 w 60"/>
                <a:gd name="T5" fmla="*/ 18 h 57"/>
                <a:gd name="T6" fmla="*/ 28 w 60"/>
                <a:gd name="T7" fmla="*/ 22 h 57"/>
                <a:gd name="T8" fmla="*/ 49 w 60"/>
                <a:gd name="T9" fmla="*/ 0 h 57"/>
                <a:gd name="T10" fmla="*/ 59 w 60"/>
                <a:gd name="T11" fmla="*/ 13 h 57"/>
                <a:gd name="T12" fmla="*/ 58 w 60"/>
                <a:gd name="T13" fmla="*/ 46 h 57"/>
                <a:gd name="T14" fmla="*/ 53 w 60"/>
                <a:gd name="T15" fmla="*/ 32 h 57"/>
                <a:gd name="T16" fmla="*/ 47 w 60"/>
                <a:gd name="T17" fmla="*/ 56 h 57"/>
                <a:gd name="T18" fmla="*/ 32 w 60"/>
                <a:gd name="T19" fmla="*/ 50 h 57"/>
                <a:gd name="T20" fmla="*/ 23 w 60"/>
                <a:gd name="T21" fmla="*/ 25 h 57"/>
                <a:gd name="T22" fmla="*/ 0 w 60"/>
                <a:gd name="T23" fmla="*/ 38 h 57"/>
                <a:gd name="T24" fmla="*/ 0 w 60"/>
                <a:gd name="T25" fmla="*/ 3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57"/>
                <a:gd name="T41" fmla="*/ 60 w 60"/>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57">
                  <a:moveTo>
                    <a:pt x="0" y="38"/>
                  </a:moveTo>
                  <a:lnTo>
                    <a:pt x="0" y="38"/>
                  </a:lnTo>
                  <a:lnTo>
                    <a:pt x="13" y="18"/>
                  </a:lnTo>
                  <a:lnTo>
                    <a:pt x="28" y="22"/>
                  </a:lnTo>
                  <a:lnTo>
                    <a:pt x="49" y="0"/>
                  </a:lnTo>
                  <a:lnTo>
                    <a:pt x="59" y="13"/>
                  </a:lnTo>
                  <a:lnTo>
                    <a:pt x="58" y="46"/>
                  </a:lnTo>
                  <a:lnTo>
                    <a:pt x="53" y="32"/>
                  </a:lnTo>
                  <a:lnTo>
                    <a:pt x="47" y="56"/>
                  </a:lnTo>
                  <a:lnTo>
                    <a:pt x="32" y="50"/>
                  </a:lnTo>
                  <a:lnTo>
                    <a:pt x="23" y="25"/>
                  </a:lnTo>
                  <a:lnTo>
                    <a:pt x="0" y="38"/>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56" name="Freeform 755"/>
            <p:cNvSpPr>
              <a:spLocks/>
            </p:cNvSpPr>
            <p:nvPr/>
          </p:nvSpPr>
          <p:spPr bwMode="auto">
            <a:xfrm>
              <a:off x="4752" y="3283"/>
              <a:ext cx="14" cy="24"/>
            </a:xfrm>
            <a:custGeom>
              <a:avLst/>
              <a:gdLst>
                <a:gd name="T0" fmla="*/ 0 w 14"/>
                <a:gd name="T1" fmla="*/ 14 h 24"/>
                <a:gd name="T2" fmla="*/ 0 w 14"/>
                <a:gd name="T3" fmla="*/ 14 h 24"/>
                <a:gd name="T4" fmla="*/ 3 w 14"/>
                <a:gd name="T5" fmla="*/ 10 h 24"/>
                <a:gd name="T6" fmla="*/ 13 w 14"/>
                <a:gd name="T7" fmla="*/ 0 h 24"/>
                <a:gd name="T8" fmla="*/ 9 w 14"/>
                <a:gd name="T9" fmla="*/ 23 h 24"/>
                <a:gd name="T10" fmla="*/ 0 w 14"/>
                <a:gd name="T11" fmla="*/ 14 h 24"/>
                <a:gd name="T12" fmla="*/ 0 w 14"/>
                <a:gd name="T13" fmla="*/ 14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0" y="14"/>
                  </a:moveTo>
                  <a:lnTo>
                    <a:pt x="0" y="14"/>
                  </a:lnTo>
                  <a:lnTo>
                    <a:pt x="3" y="10"/>
                  </a:lnTo>
                  <a:lnTo>
                    <a:pt x="13" y="0"/>
                  </a:lnTo>
                  <a:lnTo>
                    <a:pt x="9" y="23"/>
                  </a:lnTo>
                  <a:lnTo>
                    <a:pt x="0" y="14"/>
                  </a:lnTo>
                </a:path>
              </a:pathLst>
            </a:custGeom>
            <a:grpFill/>
            <a:ln w="12700">
              <a:solidFill>
                <a:schemeClr val="bg1"/>
              </a:solidFill>
              <a:round/>
              <a:headEnd/>
              <a:tailEnd/>
            </a:ln>
          </p:spPr>
          <p:txBody>
            <a:bodyPr lIns="0" tIns="0" rIns="0" bIns="0" anchor="ctr">
              <a:spAutoFit/>
            </a:bodyPr>
            <a:lstStyle/>
            <a:p>
              <a:pPr>
                <a:defRPr/>
              </a:pPr>
              <a:endParaRPr lang="en-GB"/>
            </a:p>
          </p:txBody>
        </p:sp>
      </p:grpSp>
      <p:sp>
        <p:nvSpPr>
          <p:cNvPr id="558" name="Freeform 557"/>
          <p:cNvSpPr>
            <a:spLocks/>
          </p:cNvSpPr>
          <p:nvPr/>
        </p:nvSpPr>
        <p:spPr bwMode="auto">
          <a:xfrm>
            <a:off x="4939418" y="1943501"/>
            <a:ext cx="3800892" cy="1234861"/>
          </a:xfrm>
          <a:custGeom>
            <a:avLst/>
            <a:gdLst>
              <a:gd name="T0" fmla="*/ 37309631 w 2232"/>
              <a:gd name="T1" fmla="*/ 710412683 h 748"/>
              <a:gd name="T2" fmla="*/ 66845385 w 2232"/>
              <a:gd name="T3" fmla="*/ 442943307 h 748"/>
              <a:gd name="T4" fmla="*/ 129026444 w 2232"/>
              <a:gd name="T5" fmla="*/ 374798509 h 748"/>
              <a:gd name="T6" fmla="*/ 167890879 w 2232"/>
              <a:gd name="T7" fmla="*/ 560493703 h 748"/>
              <a:gd name="T8" fmla="*/ 300026834 w 2232"/>
              <a:gd name="T9" fmla="*/ 560493703 h 748"/>
              <a:gd name="T10" fmla="*/ 421280687 w 2232"/>
              <a:gd name="T11" fmla="*/ 431017413 h 748"/>
              <a:gd name="T12" fmla="*/ 592281039 w 2232"/>
              <a:gd name="T13" fmla="*/ 420796150 h 748"/>
              <a:gd name="T14" fmla="*/ 879870995 w 2232"/>
              <a:gd name="T15" fmla="*/ 419092823 h 748"/>
              <a:gd name="T16" fmla="*/ 881425770 w 2232"/>
              <a:gd name="T17" fmla="*/ 270877252 h 748"/>
              <a:gd name="T18" fmla="*/ 990243836 w 2232"/>
              <a:gd name="T19" fmla="*/ 408870255 h 748"/>
              <a:gd name="T20" fmla="*/ 1008898646 w 2232"/>
              <a:gd name="T21" fmla="*/ 398648993 h 748"/>
              <a:gd name="T22" fmla="*/ 1089734496 w 2232"/>
              <a:gd name="T23" fmla="*/ 417389497 h 748"/>
              <a:gd name="T24" fmla="*/ 1035326087 w 2232"/>
              <a:gd name="T25" fmla="*/ 238507527 h 748"/>
              <a:gd name="T26" fmla="*/ 1094397576 w 2232"/>
              <a:gd name="T27" fmla="*/ 247026768 h 748"/>
              <a:gd name="T28" fmla="*/ 1139479826 w 2232"/>
              <a:gd name="T29" fmla="*/ 195917844 h 748"/>
              <a:gd name="T30" fmla="*/ 1400642498 w 2232"/>
              <a:gd name="T31" fmla="*/ 78367386 h 748"/>
              <a:gd name="T32" fmla="*/ 1576305929 w 2232"/>
              <a:gd name="T33" fmla="*/ 56220229 h 748"/>
              <a:gd name="T34" fmla="*/ 1786169430 w 2232"/>
              <a:gd name="T35" fmla="*/ 47700987 h 748"/>
              <a:gd name="T36" fmla="*/ 1699115726 w 2232"/>
              <a:gd name="T37" fmla="*/ 223174980 h 748"/>
              <a:gd name="T38" fmla="*/ 1835914761 w 2232"/>
              <a:gd name="T39" fmla="*/ 209545759 h 748"/>
              <a:gd name="T40" fmla="*/ 2044223487 w 2232"/>
              <a:gd name="T41" fmla="*/ 218065001 h 748"/>
              <a:gd name="T42" fmla="*/ 2147483647 w 2232"/>
              <a:gd name="T43" fmla="*/ 284506472 h 748"/>
              <a:gd name="T44" fmla="*/ 2147483647 w 2232"/>
              <a:gd name="T45" fmla="*/ 267469294 h 748"/>
              <a:gd name="T46" fmla="*/ 2147483647 w 2232"/>
              <a:gd name="T47" fmla="*/ 371390551 h 748"/>
              <a:gd name="T48" fmla="*/ 2147483647 w 2232"/>
              <a:gd name="T49" fmla="*/ 361169288 h 748"/>
              <a:gd name="T50" fmla="*/ 2147483647 w 2232"/>
              <a:gd name="T51" fmla="*/ 459979180 h 748"/>
              <a:gd name="T52" fmla="*/ 2147483647 w 2232"/>
              <a:gd name="T53" fmla="*/ 562197029 h 748"/>
              <a:gd name="T54" fmla="*/ 2147483647 w 2232"/>
              <a:gd name="T55" fmla="*/ 492348905 h 748"/>
              <a:gd name="T56" fmla="*/ 2147483647 w 2232"/>
              <a:gd name="T57" fmla="*/ 613305954 h 748"/>
              <a:gd name="T58" fmla="*/ 2147483647 w 2232"/>
              <a:gd name="T59" fmla="*/ 725746535 h 748"/>
              <a:gd name="T60" fmla="*/ 2147483647 w 2232"/>
              <a:gd name="T61" fmla="*/ 850110236 h 748"/>
              <a:gd name="T62" fmla="*/ 2147483647 w 2232"/>
              <a:gd name="T63" fmla="*/ 982994484 h 748"/>
              <a:gd name="T64" fmla="*/ 2147483647 w 2232"/>
              <a:gd name="T65" fmla="*/ 689970157 h 748"/>
              <a:gd name="T66" fmla="*/ 2147483647 w 2232"/>
              <a:gd name="T67" fmla="*/ 662711553 h 748"/>
              <a:gd name="T68" fmla="*/ 2147483647 w 2232"/>
              <a:gd name="T69" fmla="*/ 747893692 h 748"/>
              <a:gd name="T70" fmla="*/ 2147483647 w 2232"/>
              <a:gd name="T71" fmla="*/ 919959665 h 748"/>
              <a:gd name="T72" fmla="*/ 2147483647 w 2232"/>
              <a:gd name="T73" fmla="*/ 974475243 h 748"/>
              <a:gd name="T74" fmla="*/ 2147483647 w 2232"/>
              <a:gd name="T75" fmla="*/ 1257278307 h 748"/>
              <a:gd name="T76" fmla="*/ 2135941517 w 2232"/>
              <a:gd name="T77" fmla="*/ 1051139282 h 748"/>
              <a:gd name="T78" fmla="*/ 1898097047 w 2232"/>
              <a:gd name="T79" fmla="*/ 1042621346 h 748"/>
              <a:gd name="T80" fmla="*/ 1507907035 w 2232"/>
              <a:gd name="T81" fmla="*/ 998327031 h 748"/>
              <a:gd name="T82" fmla="*/ 1147252456 w 2232"/>
              <a:gd name="T83" fmla="*/ 1042621346 h 748"/>
              <a:gd name="T84" fmla="*/ 1016671276 w 2232"/>
              <a:gd name="T85" fmla="*/ 1001733684 h 748"/>
              <a:gd name="T86" fmla="*/ 778825559 w 2232"/>
              <a:gd name="T87" fmla="*/ 877368677 h 748"/>
              <a:gd name="T88" fmla="*/ 620262008 w 2232"/>
              <a:gd name="T89" fmla="*/ 916553013 h 748"/>
              <a:gd name="T90" fmla="*/ 645134673 w 2232"/>
              <a:gd name="T91" fmla="*/ 1001733684 h 748"/>
              <a:gd name="T92" fmla="*/ 553416642 w 2232"/>
              <a:gd name="T93" fmla="*/ 993215747 h 748"/>
              <a:gd name="T94" fmla="*/ 415062832 w 2232"/>
              <a:gd name="T95" fmla="*/ 1013659578 h 748"/>
              <a:gd name="T96" fmla="*/ 401072348 w 2232"/>
              <a:gd name="T97" fmla="*/ 1097136923 h 748"/>
              <a:gd name="T98" fmla="*/ 452372453 w 2232"/>
              <a:gd name="T99" fmla="*/ 1161875068 h 748"/>
              <a:gd name="T100" fmla="*/ 411953282 w 2232"/>
              <a:gd name="T101" fmla="*/ 1253870349 h 748"/>
              <a:gd name="T102" fmla="*/ 290699429 w 2232"/>
              <a:gd name="T103" fmla="*/ 1206169383 h 748"/>
              <a:gd name="T104" fmla="*/ 272044619 w 2232"/>
              <a:gd name="T105" fmla="*/ 1092025639 h 748"/>
              <a:gd name="T106" fmla="*/ 138353849 w 2232"/>
              <a:gd name="T107" fmla="*/ 1000030358 h 748"/>
              <a:gd name="T108" fmla="*/ 93272845 w 2232"/>
              <a:gd name="T109" fmla="*/ 954032717 h 748"/>
              <a:gd name="T110" fmla="*/ 6217857 w 2232"/>
              <a:gd name="T111" fmla="*/ 880776635 h 7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32"/>
              <a:gd name="T169" fmla="*/ 0 h 748"/>
              <a:gd name="T170" fmla="*/ 2232 w 2232"/>
              <a:gd name="T171" fmla="*/ 748 h 7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32" h="748">
                <a:moveTo>
                  <a:pt x="8" y="492"/>
                </a:moveTo>
                <a:lnTo>
                  <a:pt x="13" y="474"/>
                </a:lnTo>
                <a:lnTo>
                  <a:pt x="22" y="458"/>
                </a:lnTo>
                <a:lnTo>
                  <a:pt x="15" y="439"/>
                </a:lnTo>
                <a:lnTo>
                  <a:pt x="15" y="428"/>
                </a:lnTo>
                <a:lnTo>
                  <a:pt x="46" y="423"/>
                </a:lnTo>
                <a:lnTo>
                  <a:pt x="24" y="417"/>
                </a:lnTo>
                <a:lnTo>
                  <a:pt x="25" y="409"/>
                </a:lnTo>
                <a:lnTo>
                  <a:pt x="11" y="411"/>
                </a:lnTo>
                <a:lnTo>
                  <a:pt x="63" y="367"/>
                </a:lnTo>
                <a:lnTo>
                  <a:pt x="40" y="321"/>
                </a:lnTo>
                <a:lnTo>
                  <a:pt x="46" y="299"/>
                </a:lnTo>
                <a:lnTo>
                  <a:pt x="32" y="274"/>
                </a:lnTo>
                <a:lnTo>
                  <a:pt x="43" y="260"/>
                </a:lnTo>
                <a:lnTo>
                  <a:pt x="24" y="241"/>
                </a:lnTo>
                <a:lnTo>
                  <a:pt x="29" y="225"/>
                </a:lnTo>
                <a:lnTo>
                  <a:pt x="55" y="207"/>
                </a:lnTo>
                <a:lnTo>
                  <a:pt x="69" y="205"/>
                </a:lnTo>
                <a:lnTo>
                  <a:pt x="86" y="209"/>
                </a:lnTo>
                <a:lnTo>
                  <a:pt x="71" y="213"/>
                </a:lnTo>
                <a:lnTo>
                  <a:pt x="83" y="220"/>
                </a:lnTo>
                <a:lnTo>
                  <a:pt x="123" y="222"/>
                </a:lnTo>
                <a:lnTo>
                  <a:pt x="195" y="259"/>
                </a:lnTo>
                <a:lnTo>
                  <a:pt x="196" y="277"/>
                </a:lnTo>
                <a:lnTo>
                  <a:pt x="166" y="294"/>
                </a:lnTo>
                <a:lnTo>
                  <a:pt x="69" y="271"/>
                </a:lnTo>
                <a:lnTo>
                  <a:pt x="109" y="298"/>
                </a:lnTo>
                <a:lnTo>
                  <a:pt x="108" y="329"/>
                </a:lnTo>
                <a:lnTo>
                  <a:pt x="146" y="344"/>
                </a:lnTo>
                <a:lnTo>
                  <a:pt x="157" y="342"/>
                </a:lnTo>
                <a:lnTo>
                  <a:pt x="151" y="329"/>
                </a:lnTo>
                <a:lnTo>
                  <a:pt x="133" y="324"/>
                </a:lnTo>
                <a:lnTo>
                  <a:pt x="138" y="313"/>
                </a:lnTo>
                <a:lnTo>
                  <a:pt x="155" y="325"/>
                </a:lnTo>
                <a:lnTo>
                  <a:pt x="193" y="329"/>
                </a:lnTo>
                <a:lnTo>
                  <a:pt x="177" y="304"/>
                </a:lnTo>
                <a:lnTo>
                  <a:pt x="212" y="284"/>
                </a:lnTo>
                <a:lnTo>
                  <a:pt x="237" y="298"/>
                </a:lnTo>
                <a:lnTo>
                  <a:pt x="236" y="243"/>
                </a:lnTo>
                <a:lnTo>
                  <a:pt x="226" y="234"/>
                </a:lnTo>
                <a:lnTo>
                  <a:pt x="268" y="247"/>
                </a:lnTo>
                <a:lnTo>
                  <a:pt x="271" y="253"/>
                </a:lnTo>
                <a:lnTo>
                  <a:pt x="248" y="263"/>
                </a:lnTo>
                <a:lnTo>
                  <a:pt x="271" y="281"/>
                </a:lnTo>
                <a:lnTo>
                  <a:pt x="290" y="260"/>
                </a:lnTo>
                <a:lnTo>
                  <a:pt x="368" y="227"/>
                </a:lnTo>
                <a:lnTo>
                  <a:pt x="380" y="226"/>
                </a:lnTo>
                <a:lnTo>
                  <a:pt x="368" y="231"/>
                </a:lnTo>
                <a:lnTo>
                  <a:pt x="381" y="247"/>
                </a:lnTo>
                <a:lnTo>
                  <a:pt x="438" y="226"/>
                </a:lnTo>
                <a:lnTo>
                  <a:pt x="451" y="241"/>
                </a:lnTo>
                <a:lnTo>
                  <a:pt x="464" y="230"/>
                </a:lnTo>
                <a:lnTo>
                  <a:pt x="457" y="212"/>
                </a:lnTo>
                <a:lnTo>
                  <a:pt x="465" y="206"/>
                </a:lnTo>
                <a:lnTo>
                  <a:pt x="509" y="215"/>
                </a:lnTo>
                <a:lnTo>
                  <a:pt x="566" y="246"/>
                </a:lnTo>
                <a:lnTo>
                  <a:pt x="577" y="231"/>
                </a:lnTo>
                <a:lnTo>
                  <a:pt x="565" y="215"/>
                </a:lnTo>
                <a:lnTo>
                  <a:pt x="547" y="211"/>
                </a:lnTo>
                <a:lnTo>
                  <a:pt x="554" y="186"/>
                </a:lnTo>
                <a:lnTo>
                  <a:pt x="542" y="183"/>
                </a:lnTo>
                <a:lnTo>
                  <a:pt x="546" y="171"/>
                </a:lnTo>
                <a:lnTo>
                  <a:pt x="567" y="159"/>
                </a:lnTo>
                <a:lnTo>
                  <a:pt x="581" y="129"/>
                </a:lnTo>
                <a:lnTo>
                  <a:pt x="610" y="130"/>
                </a:lnTo>
                <a:lnTo>
                  <a:pt x="625" y="134"/>
                </a:lnTo>
                <a:lnTo>
                  <a:pt x="614" y="166"/>
                </a:lnTo>
                <a:lnTo>
                  <a:pt x="626" y="181"/>
                </a:lnTo>
                <a:lnTo>
                  <a:pt x="622" y="225"/>
                </a:lnTo>
                <a:lnTo>
                  <a:pt x="637" y="240"/>
                </a:lnTo>
                <a:lnTo>
                  <a:pt x="631" y="256"/>
                </a:lnTo>
                <a:lnTo>
                  <a:pt x="609" y="268"/>
                </a:lnTo>
                <a:lnTo>
                  <a:pt x="616" y="274"/>
                </a:lnTo>
                <a:lnTo>
                  <a:pt x="586" y="280"/>
                </a:lnTo>
                <a:lnTo>
                  <a:pt x="618" y="291"/>
                </a:lnTo>
                <a:lnTo>
                  <a:pt x="653" y="256"/>
                </a:lnTo>
                <a:lnTo>
                  <a:pt x="649" y="234"/>
                </a:lnTo>
                <a:lnTo>
                  <a:pt x="661" y="231"/>
                </a:lnTo>
                <a:lnTo>
                  <a:pt x="680" y="227"/>
                </a:lnTo>
                <a:lnTo>
                  <a:pt x="689" y="239"/>
                </a:lnTo>
                <a:lnTo>
                  <a:pt x="688" y="256"/>
                </a:lnTo>
                <a:lnTo>
                  <a:pt x="711" y="261"/>
                </a:lnTo>
                <a:lnTo>
                  <a:pt x="693" y="255"/>
                </a:lnTo>
                <a:lnTo>
                  <a:pt x="701" y="245"/>
                </a:lnTo>
                <a:lnTo>
                  <a:pt x="694" y="231"/>
                </a:lnTo>
                <a:lnTo>
                  <a:pt x="641" y="221"/>
                </a:lnTo>
                <a:lnTo>
                  <a:pt x="649" y="187"/>
                </a:lnTo>
                <a:lnTo>
                  <a:pt x="631" y="166"/>
                </a:lnTo>
                <a:lnTo>
                  <a:pt x="657" y="146"/>
                </a:lnTo>
                <a:lnTo>
                  <a:pt x="654" y="132"/>
                </a:lnTo>
                <a:lnTo>
                  <a:pt x="666" y="140"/>
                </a:lnTo>
                <a:lnTo>
                  <a:pt x="660" y="167"/>
                </a:lnTo>
                <a:lnTo>
                  <a:pt x="668" y="171"/>
                </a:lnTo>
                <a:lnTo>
                  <a:pt x="704" y="180"/>
                </a:lnTo>
                <a:lnTo>
                  <a:pt x="672" y="157"/>
                </a:lnTo>
                <a:lnTo>
                  <a:pt x="696" y="158"/>
                </a:lnTo>
                <a:lnTo>
                  <a:pt x="691" y="149"/>
                </a:lnTo>
                <a:lnTo>
                  <a:pt x="704" y="145"/>
                </a:lnTo>
                <a:lnTo>
                  <a:pt x="770" y="162"/>
                </a:lnTo>
                <a:lnTo>
                  <a:pt x="757" y="174"/>
                </a:lnTo>
                <a:lnTo>
                  <a:pt x="756" y="192"/>
                </a:lnTo>
                <a:lnTo>
                  <a:pt x="769" y="202"/>
                </a:lnTo>
                <a:lnTo>
                  <a:pt x="776" y="162"/>
                </a:lnTo>
                <a:lnTo>
                  <a:pt x="740" y="142"/>
                </a:lnTo>
                <a:lnTo>
                  <a:pt x="733" y="115"/>
                </a:lnTo>
                <a:lnTo>
                  <a:pt x="816" y="105"/>
                </a:lnTo>
                <a:lnTo>
                  <a:pt x="806" y="79"/>
                </a:lnTo>
                <a:lnTo>
                  <a:pt x="816" y="85"/>
                </a:lnTo>
                <a:lnTo>
                  <a:pt x="830" y="75"/>
                </a:lnTo>
                <a:lnTo>
                  <a:pt x="820" y="72"/>
                </a:lnTo>
                <a:lnTo>
                  <a:pt x="908" y="51"/>
                </a:lnTo>
                <a:lnTo>
                  <a:pt x="901" y="46"/>
                </a:lnTo>
                <a:lnTo>
                  <a:pt x="941" y="43"/>
                </a:lnTo>
                <a:lnTo>
                  <a:pt x="941" y="50"/>
                </a:lnTo>
                <a:lnTo>
                  <a:pt x="951" y="50"/>
                </a:lnTo>
                <a:lnTo>
                  <a:pt x="980" y="41"/>
                </a:lnTo>
                <a:lnTo>
                  <a:pt x="994" y="46"/>
                </a:lnTo>
                <a:lnTo>
                  <a:pt x="981" y="35"/>
                </a:lnTo>
                <a:lnTo>
                  <a:pt x="1014" y="33"/>
                </a:lnTo>
                <a:lnTo>
                  <a:pt x="1015" y="19"/>
                </a:lnTo>
                <a:lnTo>
                  <a:pt x="1054" y="0"/>
                </a:lnTo>
                <a:lnTo>
                  <a:pt x="1081" y="11"/>
                </a:lnTo>
                <a:lnTo>
                  <a:pt x="1058" y="21"/>
                </a:lnTo>
                <a:lnTo>
                  <a:pt x="1098" y="20"/>
                </a:lnTo>
                <a:lnTo>
                  <a:pt x="1082" y="35"/>
                </a:lnTo>
                <a:lnTo>
                  <a:pt x="1149" y="28"/>
                </a:lnTo>
                <a:lnTo>
                  <a:pt x="1186" y="50"/>
                </a:lnTo>
                <a:lnTo>
                  <a:pt x="1181" y="59"/>
                </a:lnTo>
                <a:lnTo>
                  <a:pt x="1168" y="54"/>
                </a:lnTo>
                <a:lnTo>
                  <a:pt x="1185" y="61"/>
                </a:lnTo>
                <a:lnTo>
                  <a:pt x="1177" y="74"/>
                </a:lnTo>
                <a:lnTo>
                  <a:pt x="1054" y="139"/>
                </a:lnTo>
                <a:lnTo>
                  <a:pt x="1093" y="131"/>
                </a:lnTo>
                <a:lnTo>
                  <a:pt x="1085" y="123"/>
                </a:lnTo>
                <a:lnTo>
                  <a:pt x="1147" y="110"/>
                </a:lnTo>
                <a:lnTo>
                  <a:pt x="1130" y="113"/>
                </a:lnTo>
                <a:lnTo>
                  <a:pt x="1134" y="101"/>
                </a:lnTo>
                <a:lnTo>
                  <a:pt x="1168" y="110"/>
                </a:lnTo>
                <a:lnTo>
                  <a:pt x="1174" y="101"/>
                </a:lnTo>
                <a:lnTo>
                  <a:pt x="1181" y="123"/>
                </a:lnTo>
                <a:lnTo>
                  <a:pt x="1198" y="124"/>
                </a:lnTo>
                <a:lnTo>
                  <a:pt x="1183" y="115"/>
                </a:lnTo>
                <a:lnTo>
                  <a:pt x="1215" y="110"/>
                </a:lnTo>
                <a:lnTo>
                  <a:pt x="1255" y="115"/>
                </a:lnTo>
                <a:lnTo>
                  <a:pt x="1251" y="123"/>
                </a:lnTo>
                <a:lnTo>
                  <a:pt x="1285" y="129"/>
                </a:lnTo>
                <a:lnTo>
                  <a:pt x="1315" y="128"/>
                </a:lnTo>
                <a:lnTo>
                  <a:pt x="1316" y="108"/>
                </a:lnTo>
                <a:lnTo>
                  <a:pt x="1325" y="105"/>
                </a:lnTo>
                <a:lnTo>
                  <a:pt x="1401" y="128"/>
                </a:lnTo>
                <a:lnTo>
                  <a:pt x="1390" y="162"/>
                </a:lnTo>
                <a:lnTo>
                  <a:pt x="1426" y="186"/>
                </a:lnTo>
                <a:lnTo>
                  <a:pt x="1445" y="153"/>
                </a:lnTo>
                <a:lnTo>
                  <a:pt x="1458" y="167"/>
                </a:lnTo>
                <a:lnTo>
                  <a:pt x="1483" y="162"/>
                </a:lnTo>
                <a:lnTo>
                  <a:pt x="1517" y="174"/>
                </a:lnTo>
                <a:lnTo>
                  <a:pt x="1544" y="167"/>
                </a:lnTo>
                <a:lnTo>
                  <a:pt x="1541" y="153"/>
                </a:lnTo>
                <a:lnTo>
                  <a:pt x="1560" y="132"/>
                </a:lnTo>
                <a:lnTo>
                  <a:pt x="1674" y="147"/>
                </a:lnTo>
                <a:lnTo>
                  <a:pt x="1681" y="157"/>
                </a:lnTo>
                <a:lnTo>
                  <a:pt x="1667" y="162"/>
                </a:lnTo>
                <a:lnTo>
                  <a:pt x="1703" y="167"/>
                </a:lnTo>
                <a:lnTo>
                  <a:pt x="1717" y="183"/>
                </a:lnTo>
                <a:lnTo>
                  <a:pt x="1802" y="180"/>
                </a:lnTo>
                <a:lnTo>
                  <a:pt x="1818" y="192"/>
                </a:lnTo>
                <a:lnTo>
                  <a:pt x="1812" y="207"/>
                </a:lnTo>
                <a:lnTo>
                  <a:pt x="1837" y="218"/>
                </a:lnTo>
                <a:lnTo>
                  <a:pt x="1850" y="209"/>
                </a:lnTo>
                <a:lnTo>
                  <a:pt x="1910" y="216"/>
                </a:lnTo>
                <a:lnTo>
                  <a:pt x="1923" y="207"/>
                </a:lnTo>
                <a:lnTo>
                  <a:pt x="1930" y="221"/>
                </a:lnTo>
                <a:lnTo>
                  <a:pt x="1955" y="232"/>
                </a:lnTo>
                <a:lnTo>
                  <a:pt x="1967" y="224"/>
                </a:lnTo>
                <a:lnTo>
                  <a:pt x="1955" y="212"/>
                </a:lnTo>
                <a:lnTo>
                  <a:pt x="1962" y="202"/>
                </a:lnTo>
                <a:lnTo>
                  <a:pt x="2068" y="217"/>
                </a:lnTo>
                <a:lnTo>
                  <a:pt x="2138" y="257"/>
                </a:lnTo>
                <a:lnTo>
                  <a:pt x="2153" y="257"/>
                </a:lnTo>
                <a:lnTo>
                  <a:pt x="2171" y="289"/>
                </a:lnTo>
                <a:lnTo>
                  <a:pt x="2164" y="271"/>
                </a:lnTo>
                <a:lnTo>
                  <a:pt x="2175" y="270"/>
                </a:lnTo>
                <a:lnTo>
                  <a:pt x="2182" y="276"/>
                </a:lnTo>
                <a:lnTo>
                  <a:pt x="2202" y="274"/>
                </a:lnTo>
                <a:lnTo>
                  <a:pt x="2231" y="293"/>
                </a:lnTo>
                <a:lnTo>
                  <a:pt x="2190" y="313"/>
                </a:lnTo>
                <a:lnTo>
                  <a:pt x="2198" y="319"/>
                </a:lnTo>
                <a:lnTo>
                  <a:pt x="2184" y="322"/>
                </a:lnTo>
                <a:lnTo>
                  <a:pt x="2196" y="330"/>
                </a:lnTo>
                <a:lnTo>
                  <a:pt x="2171" y="330"/>
                </a:lnTo>
                <a:lnTo>
                  <a:pt x="2163" y="319"/>
                </a:lnTo>
                <a:lnTo>
                  <a:pt x="2153" y="323"/>
                </a:lnTo>
                <a:lnTo>
                  <a:pt x="2138" y="304"/>
                </a:lnTo>
                <a:lnTo>
                  <a:pt x="2110" y="305"/>
                </a:lnTo>
                <a:lnTo>
                  <a:pt x="2103" y="294"/>
                </a:lnTo>
                <a:lnTo>
                  <a:pt x="2110" y="289"/>
                </a:lnTo>
                <a:lnTo>
                  <a:pt x="2099" y="289"/>
                </a:lnTo>
                <a:lnTo>
                  <a:pt x="2090" y="293"/>
                </a:lnTo>
                <a:lnTo>
                  <a:pt x="2100" y="306"/>
                </a:lnTo>
                <a:lnTo>
                  <a:pt x="2094" y="313"/>
                </a:lnTo>
                <a:lnTo>
                  <a:pt x="2071" y="326"/>
                </a:lnTo>
                <a:lnTo>
                  <a:pt x="2055" y="324"/>
                </a:lnTo>
                <a:lnTo>
                  <a:pt x="2081" y="360"/>
                </a:lnTo>
                <a:lnTo>
                  <a:pt x="2077" y="374"/>
                </a:lnTo>
                <a:lnTo>
                  <a:pt x="2050" y="364"/>
                </a:lnTo>
                <a:lnTo>
                  <a:pt x="2051" y="370"/>
                </a:lnTo>
                <a:lnTo>
                  <a:pt x="2002" y="388"/>
                </a:lnTo>
                <a:lnTo>
                  <a:pt x="1958" y="425"/>
                </a:lnTo>
                <a:lnTo>
                  <a:pt x="1928" y="411"/>
                </a:lnTo>
                <a:lnTo>
                  <a:pt x="1900" y="426"/>
                </a:lnTo>
                <a:lnTo>
                  <a:pt x="1900" y="412"/>
                </a:lnTo>
                <a:lnTo>
                  <a:pt x="1885" y="427"/>
                </a:lnTo>
                <a:lnTo>
                  <a:pt x="1865" y="425"/>
                </a:lnTo>
                <a:lnTo>
                  <a:pt x="1845" y="461"/>
                </a:lnTo>
                <a:lnTo>
                  <a:pt x="1861" y="469"/>
                </a:lnTo>
                <a:lnTo>
                  <a:pt x="1854" y="480"/>
                </a:lnTo>
                <a:lnTo>
                  <a:pt x="1862" y="499"/>
                </a:lnTo>
                <a:lnTo>
                  <a:pt x="1848" y="496"/>
                </a:lnTo>
                <a:lnTo>
                  <a:pt x="1840" y="512"/>
                </a:lnTo>
                <a:lnTo>
                  <a:pt x="1845" y="526"/>
                </a:lnTo>
                <a:lnTo>
                  <a:pt x="1815" y="539"/>
                </a:lnTo>
                <a:lnTo>
                  <a:pt x="1818" y="555"/>
                </a:lnTo>
                <a:lnTo>
                  <a:pt x="1798" y="559"/>
                </a:lnTo>
                <a:lnTo>
                  <a:pt x="1792" y="577"/>
                </a:lnTo>
                <a:lnTo>
                  <a:pt x="1774" y="596"/>
                </a:lnTo>
                <a:lnTo>
                  <a:pt x="1759" y="526"/>
                </a:lnTo>
                <a:lnTo>
                  <a:pt x="1761" y="489"/>
                </a:lnTo>
                <a:lnTo>
                  <a:pt x="1774" y="466"/>
                </a:lnTo>
                <a:lnTo>
                  <a:pt x="1795" y="462"/>
                </a:lnTo>
                <a:lnTo>
                  <a:pt x="1843" y="415"/>
                </a:lnTo>
                <a:lnTo>
                  <a:pt x="1867" y="405"/>
                </a:lnTo>
                <a:lnTo>
                  <a:pt x="1874" y="378"/>
                </a:lnTo>
                <a:lnTo>
                  <a:pt x="1885" y="370"/>
                </a:lnTo>
                <a:lnTo>
                  <a:pt x="1866" y="370"/>
                </a:lnTo>
                <a:lnTo>
                  <a:pt x="1860" y="392"/>
                </a:lnTo>
                <a:lnTo>
                  <a:pt x="1819" y="411"/>
                </a:lnTo>
                <a:lnTo>
                  <a:pt x="1823" y="383"/>
                </a:lnTo>
                <a:lnTo>
                  <a:pt x="1779" y="389"/>
                </a:lnTo>
                <a:lnTo>
                  <a:pt x="1738" y="426"/>
                </a:lnTo>
                <a:lnTo>
                  <a:pt x="1746" y="441"/>
                </a:lnTo>
                <a:lnTo>
                  <a:pt x="1702" y="446"/>
                </a:lnTo>
                <a:lnTo>
                  <a:pt x="1696" y="442"/>
                </a:lnTo>
                <a:lnTo>
                  <a:pt x="1711" y="439"/>
                </a:lnTo>
                <a:lnTo>
                  <a:pt x="1674" y="430"/>
                </a:lnTo>
                <a:lnTo>
                  <a:pt x="1664" y="439"/>
                </a:lnTo>
                <a:lnTo>
                  <a:pt x="1580" y="440"/>
                </a:lnTo>
                <a:lnTo>
                  <a:pt x="1480" y="525"/>
                </a:lnTo>
                <a:lnTo>
                  <a:pt x="1500" y="529"/>
                </a:lnTo>
                <a:lnTo>
                  <a:pt x="1500" y="544"/>
                </a:lnTo>
                <a:lnTo>
                  <a:pt x="1512" y="534"/>
                </a:lnTo>
                <a:lnTo>
                  <a:pt x="1509" y="547"/>
                </a:lnTo>
                <a:lnTo>
                  <a:pt x="1524" y="540"/>
                </a:lnTo>
                <a:lnTo>
                  <a:pt x="1522" y="548"/>
                </a:lnTo>
                <a:lnTo>
                  <a:pt x="1527" y="534"/>
                </a:lnTo>
                <a:lnTo>
                  <a:pt x="1541" y="535"/>
                </a:lnTo>
                <a:lnTo>
                  <a:pt x="1563" y="553"/>
                </a:lnTo>
                <a:lnTo>
                  <a:pt x="1544" y="554"/>
                </a:lnTo>
                <a:lnTo>
                  <a:pt x="1561" y="560"/>
                </a:lnTo>
                <a:lnTo>
                  <a:pt x="1564" y="572"/>
                </a:lnTo>
                <a:lnTo>
                  <a:pt x="1551" y="599"/>
                </a:lnTo>
                <a:lnTo>
                  <a:pt x="1548" y="640"/>
                </a:lnTo>
                <a:lnTo>
                  <a:pt x="1478" y="725"/>
                </a:lnTo>
                <a:lnTo>
                  <a:pt x="1453" y="736"/>
                </a:lnTo>
                <a:lnTo>
                  <a:pt x="1434" y="725"/>
                </a:lnTo>
                <a:lnTo>
                  <a:pt x="1417" y="741"/>
                </a:lnTo>
                <a:lnTo>
                  <a:pt x="1416" y="738"/>
                </a:lnTo>
                <a:lnTo>
                  <a:pt x="1425" y="725"/>
                </a:lnTo>
                <a:lnTo>
                  <a:pt x="1421" y="703"/>
                </a:lnTo>
                <a:lnTo>
                  <a:pt x="1451" y="695"/>
                </a:lnTo>
                <a:lnTo>
                  <a:pt x="1474" y="638"/>
                </a:lnTo>
                <a:lnTo>
                  <a:pt x="1423" y="652"/>
                </a:lnTo>
                <a:lnTo>
                  <a:pt x="1416" y="630"/>
                </a:lnTo>
                <a:lnTo>
                  <a:pt x="1374" y="617"/>
                </a:lnTo>
                <a:lnTo>
                  <a:pt x="1349" y="559"/>
                </a:lnTo>
                <a:lnTo>
                  <a:pt x="1321" y="548"/>
                </a:lnTo>
                <a:lnTo>
                  <a:pt x="1272" y="564"/>
                </a:lnTo>
                <a:lnTo>
                  <a:pt x="1282" y="576"/>
                </a:lnTo>
                <a:lnTo>
                  <a:pt x="1261" y="611"/>
                </a:lnTo>
                <a:lnTo>
                  <a:pt x="1242" y="620"/>
                </a:lnTo>
                <a:lnTo>
                  <a:pt x="1221" y="612"/>
                </a:lnTo>
                <a:lnTo>
                  <a:pt x="1196" y="608"/>
                </a:lnTo>
                <a:lnTo>
                  <a:pt x="1131" y="624"/>
                </a:lnTo>
                <a:lnTo>
                  <a:pt x="1075" y="601"/>
                </a:lnTo>
                <a:lnTo>
                  <a:pt x="1038" y="604"/>
                </a:lnTo>
                <a:lnTo>
                  <a:pt x="1025" y="585"/>
                </a:lnTo>
                <a:lnTo>
                  <a:pt x="989" y="572"/>
                </a:lnTo>
                <a:lnTo>
                  <a:pt x="970" y="586"/>
                </a:lnTo>
                <a:lnTo>
                  <a:pt x="969" y="612"/>
                </a:lnTo>
                <a:lnTo>
                  <a:pt x="887" y="600"/>
                </a:lnTo>
                <a:lnTo>
                  <a:pt x="843" y="624"/>
                </a:lnTo>
                <a:lnTo>
                  <a:pt x="820" y="634"/>
                </a:lnTo>
                <a:lnTo>
                  <a:pt x="791" y="615"/>
                </a:lnTo>
                <a:lnTo>
                  <a:pt x="772" y="625"/>
                </a:lnTo>
                <a:lnTo>
                  <a:pt x="738" y="612"/>
                </a:lnTo>
                <a:lnTo>
                  <a:pt x="725" y="611"/>
                </a:lnTo>
                <a:lnTo>
                  <a:pt x="715" y="591"/>
                </a:lnTo>
                <a:lnTo>
                  <a:pt x="696" y="591"/>
                </a:lnTo>
                <a:lnTo>
                  <a:pt x="688" y="594"/>
                </a:lnTo>
                <a:lnTo>
                  <a:pt x="674" y="579"/>
                </a:lnTo>
                <a:lnTo>
                  <a:pt x="664" y="583"/>
                </a:lnTo>
                <a:lnTo>
                  <a:pt x="654" y="588"/>
                </a:lnTo>
                <a:lnTo>
                  <a:pt x="616" y="556"/>
                </a:lnTo>
                <a:lnTo>
                  <a:pt x="605" y="553"/>
                </a:lnTo>
                <a:lnTo>
                  <a:pt x="579" y="529"/>
                </a:lnTo>
                <a:lnTo>
                  <a:pt x="555" y="544"/>
                </a:lnTo>
                <a:lnTo>
                  <a:pt x="550" y="534"/>
                </a:lnTo>
                <a:lnTo>
                  <a:pt x="514" y="532"/>
                </a:lnTo>
                <a:lnTo>
                  <a:pt x="501" y="515"/>
                </a:lnTo>
                <a:lnTo>
                  <a:pt x="482" y="516"/>
                </a:lnTo>
                <a:lnTo>
                  <a:pt x="475" y="524"/>
                </a:lnTo>
                <a:lnTo>
                  <a:pt x="451" y="528"/>
                </a:lnTo>
                <a:lnTo>
                  <a:pt x="444" y="524"/>
                </a:lnTo>
                <a:lnTo>
                  <a:pt x="435" y="537"/>
                </a:lnTo>
                <a:lnTo>
                  <a:pt x="428" y="534"/>
                </a:lnTo>
                <a:lnTo>
                  <a:pt x="399" y="538"/>
                </a:lnTo>
                <a:lnTo>
                  <a:pt x="389" y="534"/>
                </a:lnTo>
                <a:lnTo>
                  <a:pt x="386" y="538"/>
                </a:lnTo>
                <a:lnTo>
                  <a:pt x="401" y="553"/>
                </a:lnTo>
                <a:lnTo>
                  <a:pt x="391" y="562"/>
                </a:lnTo>
                <a:lnTo>
                  <a:pt x="392" y="575"/>
                </a:lnTo>
                <a:lnTo>
                  <a:pt x="408" y="576"/>
                </a:lnTo>
                <a:lnTo>
                  <a:pt x="415" y="588"/>
                </a:lnTo>
                <a:lnTo>
                  <a:pt x="411" y="597"/>
                </a:lnTo>
                <a:lnTo>
                  <a:pt x="399" y="591"/>
                </a:lnTo>
                <a:lnTo>
                  <a:pt x="389" y="596"/>
                </a:lnTo>
                <a:lnTo>
                  <a:pt x="380" y="591"/>
                </a:lnTo>
                <a:lnTo>
                  <a:pt x="376" y="583"/>
                </a:lnTo>
                <a:lnTo>
                  <a:pt x="365" y="588"/>
                </a:lnTo>
                <a:lnTo>
                  <a:pt x="356" y="583"/>
                </a:lnTo>
                <a:lnTo>
                  <a:pt x="347" y="591"/>
                </a:lnTo>
                <a:lnTo>
                  <a:pt x="335" y="592"/>
                </a:lnTo>
                <a:lnTo>
                  <a:pt x="327" y="583"/>
                </a:lnTo>
                <a:lnTo>
                  <a:pt x="283" y="580"/>
                </a:lnTo>
                <a:lnTo>
                  <a:pt x="278" y="585"/>
                </a:lnTo>
                <a:lnTo>
                  <a:pt x="274" y="585"/>
                </a:lnTo>
                <a:lnTo>
                  <a:pt x="267" y="595"/>
                </a:lnTo>
                <a:lnTo>
                  <a:pt x="268" y="605"/>
                </a:lnTo>
                <a:lnTo>
                  <a:pt x="263" y="605"/>
                </a:lnTo>
                <a:lnTo>
                  <a:pt x="259" y="597"/>
                </a:lnTo>
                <a:lnTo>
                  <a:pt x="253" y="598"/>
                </a:lnTo>
                <a:lnTo>
                  <a:pt x="251" y="627"/>
                </a:lnTo>
                <a:lnTo>
                  <a:pt x="258" y="636"/>
                </a:lnTo>
                <a:lnTo>
                  <a:pt x="258" y="644"/>
                </a:lnTo>
                <a:lnTo>
                  <a:pt x="265" y="643"/>
                </a:lnTo>
                <a:lnTo>
                  <a:pt x="274" y="639"/>
                </a:lnTo>
                <a:lnTo>
                  <a:pt x="282" y="652"/>
                </a:lnTo>
                <a:lnTo>
                  <a:pt x="288" y="660"/>
                </a:lnTo>
                <a:lnTo>
                  <a:pt x="294" y="671"/>
                </a:lnTo>
                <a:lnTo>
                  <a:pt x="304" y="673"/>
                </a:lnTo>
                <a:lnTo>
                  <a:pt x="291" y="682"/>
                </a:lnTo>
                <a:lnTo>
                  <a:pt x="282" y="674"/>
                </a:lnTo>
                <a:lnTo>
                  <a:pt x="273" y="707"/>
                </a:lnTo>
                <a:lnTo>
                  <a:pt x="284" y="715"/>
                </a:lnTo>
                <a:lnTo>
                  <a:pt x="294" y="747"/>
                </a:lnTo>
                <a:lnTo>
                  <a:pt x="285" y="741"/>
                </a:lnTo>
                <a:lnTo>
                  <a:pt x="276" y="738"/>
                </a:lnTo>
                <a:lnTo>
                  <a:pt x="265" y="736"/>
                </a:lnTo>
                <a:lnTo>
                  <a:pt x="258" y="733"/>
                </a:lnTo>
                <a:lnTo>
                  <a:pt x="250" y="731"/>
                </a:lnTo>
                <a:lnTo>
                  <a:pt x="244" y="720"/>
                </a:lnTo>
                <a:lnTo>
                  <a:pt x="230" y="727"/>
                </a:lnTo>
                <a:lnTo>
                  <a:pt x="217" y="726"/>
                </a:lnTo>
                <a:lnTo>
                  <a:pt x="209" y="717"/>
                </a:lnTo>
                <a:lnTo>
                  <a:pt x="187" y="708"/>
                </a:lnTo>
                <a:lnTo>
                  <a:pt x="165" y="709"/>
                </a:lnTo>
                <a:lnTo>
                  <a:pt x="142" y="694"/>
                </a:lnTo>
                <a:lnTo>
                  <a:pt x="160" y="679"/>
                </a:lnTo>
                <a:lnTo>
                  <a:pt x="162" y="667"/>
                </a:lnTo>
                <a:lnTo>
                  <a:pt x="162" y="654"/>
                </a:lnTo>
                <a:lnTo>
                  <a:pt x="163" y="645"/>
                </a:lnTo>
                <a:lnTo>
                  <a:pt x="175" y="641"/>
                </a:lnTo>
                <a:lnTo>
                  <a:pt x="169" y="622"/>
                </a:lnTo>
                <a:lnTo>
                  <a:pt x="155" y="617"/>
                </a:lnTo>
                <a:lnTo>
                  <a:pt x="148" y="614"/>
                </a:lnTo>
                <a:lnTo>
                  <a:pt x="139" y="617"/>
                </a:lnTo>
                <a:lnTo>
                  <a:pt x="118" y="612"/>
                </a:lnTo>
                <a:lnTo>
                  <a:pt x="102" y="593"/>
                </a:lnTo>
                <a:lnTo>
                  <a:pt x="89" y="587"/>
                </a:lnTo>
                <a:lnTo>
                  <a:pt x="83" y="570"/>
                </a:lnTo>
                <a:lnTo>
                  <a:pt x="71" y="568"/>
                </a:lnTo>
                <a:lnTo>
                  <a:pt x="60" y="574"/>
                </a:lnTo>
                <a:lnTo>
                  <a:pt x="53" y="577"/>
                </a:lnTo>
                <a:lnTo>
                  <a:pt x="50" y="569"/>
                </a:lnTo>
                <a:lnTo>
                  <a:pt x="44" y="562"/>
                </a:lnTo>
                <a:lnTo>
                  <a:pt x="60" y="560"/>
                </a:lnTo>
                <a:lnTo>
                  <a:pt x="59" y="555"/>
                </a:lnTo>
                <a:lnTo>
                  <a:pt x="55" y="552"/>
                </a:lnTo>
                <a:lnTo>
                  <a:pt x="50" y="548"/>
                </a:lnTo>
                <a:lnTo>
                  <a:pt x="41" y="528"/>
                </a:lnTo>
                <a:lnTo>
                  <a:pt x="29" y="517"/>
                </a:lnTo>
                <a:lnTo>
                  <a:pt x="17" y="517"/>
                </a:lnTo>
                <a:lnTo>
                  <a:pt x="4" y="517"/>
                </a:lnTo>
                <a:lnTo>
                  <a:pt x="0" y="502"/>
                </a:lnTo>
                <a:lnTo>
                  <a:pt x="8" y="49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59" name="Freeform 558"/>
          <p:cNvSpPr>
            <a:spLocks/>
          </p:cNvSpPr>
          <p:nvPr/>
        </p:nvSpPr>
        <p:spPr bwMode="auto">
          <a:xfrm>
            <a:off x="5401248" y="1780862"/>
            <a:ext cx="117083" cy="52206"/>
          </a:xfrm>
          <a:custGeom>
            <a:avLst/>
            <a:gdLst>
              <a:gd name="T0" fmla="*/ 0 w 69"/>
              <a:gd name="T1" fmla="*/ 37227388 h 31"/>
              <a:gd name="T2" fmla="*/ 0 w 69"/>
              <a:gd name="T3" fmla="*/ 37227388 h 31"/>
              <a:gd name="T4" fmla="*/ 21608912 w 69"/>
              <a:gd name="T5" fmla="*/ 24818262 h 31"/>
              <a:gd name="T6" fmla="*/ 6174684 w 69"/>
              <a:gd name="T7" fmla="*/ 15954786 h 31"/>
              <a:gd name="T8" fmla="*/ 80263432 w 69"/>
              <a:gd name="T9" fmla="*/ 0 h 31"/>
              <a:gd name="T10" fmla="*/ 94155865 w 69"/>
              <a:gd name="T11" fmla="*/ 1772162 h 31"/>
              <a:gd name="T12" fmla="*/ 78720382 w 69"/>
              <a:gd name="T13" fmla="*/ 14182624 h 31"/>
              <a:gd name="T14" fmla="*/ 104960937 w 69"/>
              <a:gd name="T15" fmla="*/ 14182624 h 31"/>
              <a:gd name="T16" fmla="*/ 37044375 w 69"/>
              <a:gd name="T17" fmla="*/ 42546536 h 31"/>
              <a:gd name="T18" fmla="*/ 21608912 w 69"/>
              <a:gd name="T19" fmla="*/ 53183511 h 31"/>
              <a:gd name="T20" fmla="*/ 24696253 w 69"/>
              <a:gd name="T21" fmla="*/ 39000881 h 31"/>
              <a:gd name="T22" fmla="*/ 0 w 69"/>
              <a:gd name="T23" fmla="*/ 37227388 h 31"/>
              <a:gd name="T24" fmla="*/ 0 w 69"/>
              <a:gd name="T25" fmla="*/ 37227388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9"/>
              <a:gd name="T40" fmla="*/ 0 h 31"/>
              <a:gd name="T41" fmla="*/ 69 w 6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9" h="31">
                <a:moveTo>
                  <a:pt x="0" y="21"/>
                </a:moveTo>
                <a:lnTo>
                  <a:pt x="0" y="21"/>
                </a:lnTo>
                <a:lnTo>
                  <a:pt x="14" y="14"/>
                </a:lnTo>
                <a:lnTo>
                  <a:pt x="4" y="9"/>
                </a:lnTo>
                <a:lnTo>
                  <a:pt x="52" y="0"/>
                </a:lnTo>
                <a:lnTo>
                  <a:pt x="61" y="1"/>
                </a:lnTo>
                <a:lnTo>
                  <a:pt x="51" y="8"/>
                </a:lnTo>
                <a:lnTo>
                  <a:pt x="68" y="8"/>
                </a:lnTo>
                <a:lnTo>
                  <a:pt x="24" y="24"/>
                </a:lnTo>
                <a:lnTo>
                  <a:pt x="14" y="30"/>
                </a:lnTo>
                <a:lnTo>
                  <a:pt x="16" y="22"/>
                </a:lnTo>
                <a:lnTo>
                  <a:pt x="0" y="21"/>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60" name="Freeform 559"/>
          <p:cNvSpPr>
            <a:spLocks/>
          </p:cNvSpPr>
          <p:nvPr/>
        </p:nvSpPr>
        <p:spPr bwMode="auto">
          <a:xfrm>
            <a:off x="5435940" y="2300907"/>
            <a:ext cx="47701" cy="26103"/>
          </a:xfrm>
          <a:custGeom>
            <a:avLst/>
            <a:gdLst>
              <a:gd name="T0" fmla="*/ 0 w 28"/>
              <a:gd name="T1" fmla="*/ 24956500 h 16"/>
              <a:gd name="T2" fmla="*/ 0 w 28"/>
              <a:gd name="T3" fmla="*/ 24956500 h 16"/>
              <a:gd name="T4" fmla="*/ 12447022 w 28"/>
              <a:gd name="T5" fmla="*/ 0 h 16"/>
              <a:gd name="T6" fmla="*/ 42007299 w 28"/>
              <a:gd name="T7" fmla="*/ 13310219 h 16"/>
              <a:gd name="T8" fmla="*/ 0 w 28"/>
              <a:gd name="T9" fmla="*/ 24956500 h 16"/>
              <a:gd name="T10" fmla="*/ 0 w 28"/>
              <a:gd name="T11" fmla="*/ 24956500 h 16"/>
              <a:gd name="T12" fmla="*/ 0 60000 65536"/>
              <a:gd name="T13" fmla="*/ 0 60000 65536"/>
              <a:gd name="T14" fmla="*/ 0 60000 65536"/>
              <a:gd name="T15" fmla="*/ 0 60000 65536"/>
              <a:gd name="T16" fmla="*/ 0 60000 65536"/>
              <a:gd name="T17" fmla="*/ 0 60000 65536"/>
              <a:gd name="T18" fmla="*/ 0 w 28"/>
              <a:gd name="T19" fmla="*/ 0 h 16"/>
              <a:gd name="T20" fmla="*/ 28 w 2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8" h="16">
                <a:moveTo>
                  <a:pt x="0" y="15"/>
                </a:moveTo>
                <a:lnTo>
                  <a:pt x="0" y="15"/>
                </a:lnTo>
                <a:lnTo>
                  <a:pt x="8" y="0"/>
                </a:lnTo>
                <a:lnTo>
                  <a:pt x="27" y="8"/>
                </a:lnTo>
                <a:lnTo>
                  <a:pt x="0" y="1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61" name="Freeform 560"/>
          <p:cNvSpPr>
            <a:spLocks/>
          </p:cNvSpPr>
          <p:nvPr/>
        </p:nvSpPr>
        <p:spPr bwMode="auto">
          <a:xfrm>
            <a:off x="5511829" y="2150316"/>
            <a:ext cx="145271" cy="100396"/>
          </a:xfrm>
          <a:custGeom>
            <a:avLst/>
            <a:gdLst>
              <a:gd name="T0" fmla="*/ 0 w 84"/>
              <a:gd name="T1" fmla="*/ 47622488 h 63"/>
              <a:gd name="T2" fmla="*/ 0 w 84"/>
              <a:gd name="T3" fmla="*/ 47622488 h 63"/>
              <a:gd name="T4" fmla="*/ 11222458 w 84"/>
              <a:gd name="T5" fmla="*/ 69846223 h 63"/>
              <a:gd name="T6" fmla="*/ 25652236 w 84"/>
              <a:gd name="T7" fmla="*/ 61908725 h 63"/>
              <a:gd name="T8" fmla="*/ 41686311 w 84"/>
              <a:gd name="T9" fmla="*/ 76194962 h 63"/>
              <a:gd name="T10" fmla="*/ 54511791 w 84"/>
              <a:gd name="T11" fmla="*/ 69846223 h 63"/>
              <a:gd name="T12" fmla="*/ 49702711 w 84"/>
              <a:gd name="T13" fmla="*/ 95243717 h 63"/>
              <a:gd name="T14" fmla="*/ 133074048 w 84"/>
              <a:gd name="T15" fmla="*/ 98418716 h 63"/>
              <a:gd name="T16" fmla="*/ 101007183 w 84"/>
              <a:gd name="T17" fmla="*/ 80957460 h 63"/>
              <a:gd name="T18" fmla="*/ 84974383 w 84"/>
              <a:gd name="T19" fmla="*/ 50796228 h 63"/>
              <a:gd name="T20" fmla="*/ 86578676 w 84"/>
              <a:gd name="T21" fmla="*/ 17461241 h 63"/>
              <a:gd name="T22" fmla="*/ 107420556 w 84"/>
              <a:gd name="T23" fmla="*/ 0 h 63"/>
              <a:gd name="T24" fmla="*/ 35272928 w 84"/>
              <a:gd name="T25" fmla="*/ 6350001 h 63"/>
              <a:gd name="T26" fmla="*/ 17635831 w 84"/>
              <a:gd name="T27" fmla="*/ 47622488 h 63"/>
              <a:gd name="T28" fmla="*/ 0 w 84"/>
              <a:gd name="T29" fmla="*/ 47622488 h 63"/>
              <a:gd name="T30" fmla="*/ 0 w 84"/>
              <a:gd name="T31" fmla="*/ 47622488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4"/>
              <a:gd name="T49" fmla="*/ 0 h 63"/>
              <a:gd name="T50" fmla="*/ 84 w 84"/>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4" h="63">
                <a:moveTo>
                  <a:pt x="0" y="30"/>
                </a:moveTo>
                <a:lnTo>
                  <a:pt x="0" y="30"/>
                </a:lnTo>
                <a:lnTo>
                  <a:pt x="7" y="44"/>
                </a:lnTo>
                <a:lnTo>
                  <a:pt x="16" y="39"/>
                </a:lnTo>
                <a:lnTo>
                  <a:pt x="26" y="48"/>
                </a:lnTo>
                <a:lnTo>
                  <a:pt x="34" y="44"/>
                </a:lnTo>
                <a:lnTo>
                  <a:pt x="31" y="60"/>
                </a:lnTo>
                <a:lnTo>
                  <a:pt x="83" y="62"/>
                </a:lnTo>
                <a:lnTo>
                  <a:pt x="63" y="51"/>
                </a:lnTo>
                <a:lnTo>
                  <a:pt x="53" y="32"/>
                </a:lnTo>
                <a:lnTo>
                  <a:pt x="54" y="11"/>
                </a:lnTo>
                <a:lnTo>
                  <a:pt x="67" y="0"/>
                </a:lnTo>
                <a:lnTo>
                  <a:pt x="22" y="4"/>
                </a:lnTo>
                <a:lnTo>
                  <a:pt x="11" y="30"/>
                </a:lnTo>
                <a:lnTo>
                  <a:pt x="0" y="3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62" name="Freeform 561"/>
          <p:cNvSpPr>
            <a:spLocks/>
          </p:cNvSpPr>
          <p:nvPr/>
        </p:nvSpPr>
        <p:spPr bwMode="auto">
          <a:xfrm>
            <a:off x="5563866" y="1977637"/>
            <a:ext cx="357756" cy="172680"/>
          </a:xfrm>
          <a:custGeom>
            <a:avLst/>
            <a:gdLst>
              <a:gd name="T0" fmla="*/ 0 w 211"/>
              <a:gd name="T1" fmla="*/ 154608593 h 103"/>
              <a:gd name="T2" fmla="*/ 0 w 211"/>
              <a:gd name="T3" fmla="*/ 154608593 h 103"/>
              <a:gd name="T4" fmla="*/ 30821668 w 211"/>
              <a:gd name="T5" fmla="*/ 158122454 h 103"/>
              <a:gd name="T6" fmla="*/ 10787834 w 211"/>
              <a:gd name="T7" fmla="*/ 173934207 h 103"/>
              <a:gd name="T8" fmla="*/ 64725751 w 211"/>
              <a:gd name="T9" fmla="*/ 179205661 h 103"/>
              <a:gd name="T10" fmla="*/ 66267578 w 211"/>
              <a:gd name="T11" fmla="*/ 158122454 h 103"/>
              <a:gd name="T12" fmla="*/ 81678427 w 211"/>
              <a:gd name="T13" fmla="*/ 163392583 h 103"/>
              <a:gd name="T14" fmla="*/ 66267578 w 211"/>
              <a:gd name="T15" fmla="*/ 151094733 h 103"/>
              <a:gd name="T16" fmla="*/ 87842014 w 211"/>
              <a:gd name="T17" fmla="*/ 154608593 h 103"/>
              <a:gd name="T18" fmla="*/ 81678427 w 211"/>
              <a:gd name="T19" fmla="*/ 131767835 h 103"/>
              <a:gd name="T20" fmla="*/ 94006842 w 211"/>
              <a:gd name="T21" fmla="*/ 145823279 h 103"/>
              <a:gd name="T22" fmla="*/ 107877085 w 211"/>
              <a:gd name="T23" fmla="*/ 133525428 h 103"/>
              <a:gd name="T24" fmla="*/ 98629843 w 211"/>
              <a:gd name="T25" fmla="*/ 117713717 h 103"/>
              <a:gd name="T26" fmla="*/ 130993329 w 211"/>
              <a:gd name="T27" fmla="*/ 119469985 h 103"/>
              <a:gd name="T28" fmla="*/ 123287914 w 211"/>
              <a:gd name="T29" fmla="*/ 110685996 h 103"/>
              <a:gd name="T30" fmla="*/ 137156916 w 211"/>
              <a:gd name="T31" fmla="*/ 114199856 h 103"/>
              <a:gd name="T32" fmla="*/ 146404158 w 211"/>
              <a:gd name="T33" fmla="*/ 94872959 h 103"/>
              <a:gd name="T34" fmla="*/ 306677318 w 211"/>
              <a:gd name="T35" fmla="*/ 38652480 h 103"/>
              <a:gd name="T36" fmla="*/ 323629975 w 211"/>
              <a:gd name="T37" fmla="*/ 15811716 h 103"/>
              <a:gd name="T38" fmla="*/ 292807075 w 211"/>
              <a:gd name="T39" fmla="*/ 0 h 103"/>
              <a:gd name="T40" fmla="*/ 225000171 w 211"/>
              <a:gd name="T41" fmla="*/ 36894887 h 103"/>
              <a:gd name="T42" fmla="*/ 154109573 w 211"/>
              <a:gd name="T43" fmla="*/ 36894887 h 103"/>
              <a:gd name="T44" fmla="*/ 80136580 w 211"/>
              <a:gd name="T45" fmla="*/ 84331356 h 103"/>
              <a:gd name="T46" fmla="*/ 40068911 w 211"/>
              <a:gd name="T47" fmla="*/ 91359098 h 103"/>
              <a:gd name="T48" fmla="*/ 41609507 w 211"/>
              <a:gd name="T49" fmla="*/ 110685996 h 103"/>
              <a:gd name="T50" fmla="*/ 63185164 w 211"/>
              <a:gd name="T51" fmla="*/ 114199856 h 103"/>
              <a:gd name="T52" fmla="*/ 38527083 w 211"/>
              <a:gd name="T53" fmla="*/ 114199856 h 103"/>
              <a:gd name="T54" fmla="*/ 49314921 w 211"/>
              <a:gd name="T55" fmla="*/ 122983846 h 103"/>
              <a:gd name="T56" fmla="*/ 30821668 w 211"/>
              <a:gd name="T57" fmla="*/ 133525428 h 103"/>
              <a:gd name="T58" fmla="*/ 52397336 w 211"/>
              <a:gd name="T59" fmla="*/ 142309418 h 103"/>
              <a:gd name="T60" fmla="*/ 0 w 211"/>
              <a:gd name="T61" fmla="*/ 154608593 h 103"/>
              <a:gd name="T62" fmla="*/ 0 w 211"/>
              <a:gd name="T63" fmla="*/ 154608593 h 1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1"/>
              <a:gd name="T97" fmla="*/ 0 h 103"/>
              <a:gd name="T98" fmla="*/ 211 w 211"/>
              <a:gd name="T99" fmla="*/ 103 h 10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1" h="103">
                <a:moveTo>
                  <a:pt x="0" y="88"/>
                </a:moveTo>
                <a:lnTo>
                  <a:pt x="0" y="88"/>
                </a:lnTo>
                <a:lnTo>
                  <a:pt x="20" y="90"/>
                </a:lnTo>
                <a:lnTo>
                  <a:pt x="7" y="99"/>
                </a:lnTo>
                <a:lnTo>
                  <a:pt x="42" y="102"/>
                </a:lnTo>
                <a:lnTo>
                  <a:pt x="43" y="90"/>
                </a:lnTo>
                <a:lnTo>
                  <a:pt x="53" y="93"/>
                </a:lnTo>
                <a:lnTo>
                  <a:pt x="43" y="86"/>
                </a:lnTo>
                <a:lnTo>
                  <a:pt x="57" y="88"/>
                </a:lnTo>
                <a:lnTo>
                  <a:pt x="53" y="75"/>
                </a:lnTo>
                <a:lnTo>
                  <a:pt x="61" y="83"/>
                </a:lnTo>
                <a:lnTo>
                  <a:pt x="70" y="76"/>
                </a:lnTo>
                <a:lnTo>
                  <a:pt x="64" y="67"/>
                </a:lnTo>
                <a:lnTo>
                  <a:pt x="85" y="68"/>
                </a:lnTo>
                <a:lnTo>
                  <a:pt x="80" y="63"/>
                </a:lnTo>
                <a:lnTo>
                  <a:pt x="89" y="65"/>
                </a:lnTo>
                <a:lnTo>
                  <a:pt x="95" y="54"/>
                </a:lnTo>
                <a:lnTo>
                  <a:pt x="199" y="22"/>
                </a:lnTo>
                <a:lnTo>
                  <a:pt x="210" y="9"/>
                </a:lnTo>
                <a:lnTo>
                  <a:pt x="190" y="0"/>
                </a:lnTo>
                <a:lnTo>
                  <a:pt x="146" y="21"/>
                </a:lnTo>
                <a:lnTo>
                  <a:pt x="100" y="21"/>
                </a:lnTo>
                <a:lnTo>
                  <a:pt x="52" y="48"/>
                </a:lnTo>
                <a:lnTo>
                  <a:pt x="26" y="52"/>
                </a:lnTo>
                <a:lnTo>
                  <a:pt x="27" y="63"/>
                </a:lnTo>
                <a:lnTo>
                  <a:pt x="41" y="65"/>
                </a:lnTo>
                <a:lnTo>
                  <a:pt x="25" y="65"/>
                </a:lnTo>
                <a:lnTo>
                  <a:pt x="32" y="70"/>
                </a:lnTo>
                <a:lnTo>
                  <a:pt x="20" y="76"/>
                </a:lnTo>
                <a:lnTo>
                  <a:pt x="34" y="81"/>
                </a:lnTo>
                <a:lnTo>
                  <a:pt x="0" y="8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63" name="Freeform 562"/>
          <p:cNvSpPr>
            <a:spLocks/>
          </p:cNvSpPr>
          <p:nvPr/>
        </p:nvSpPr>
        <p:spPr bwMode="auto">
          <a:xfrm>
            <a:off x="5769847" y="1758776"/>
            <a:ext cx="69382" cy="32126"/>
          </a:xfrm>
          <a:custGeom>
            <a:avLst/>
            <a:gdLst>
              <a:gd name="T0" fmla="*/ 0 w 41"/>
              <a:gd name="T1" fmla="*/ 20480869 h 21"/>
              <a:gd name="T2" fmla="*/ 0 w 41"/>
              <a:gd name="T3" fmla="*/ 20480869 h 21"/>
              <a:gd name="T4" fmla="*/ 18421813 w 41"/>
              <a:gd name="T5" fmla="*/ 29258380 h 21"/>
              <a:gd name="T6" fmla="*/ 61407284 w 41"/>
              <a:gd name="T7" fmla="*/ 19018550 h 21"/>
              <a:gd name="T8" fmla="*/ 35309714 w 41"/>
              <a:gd name="T9" fmla="*/ 0 h 21"/>
              <a:gd name="T10" fmla="*/ 0 w 41"/>
              <a:gd name="T11" fmla="*/ 20480869 h 21"/>
              <a:gd name="T12" fmla="*/ 0 w 41"/>
              <a:gd name="T13" fmla="*/ 20480869 h 21"/>
              <a:gd name="T14" fmla="*/ 0 60000 65536"/>
              <a:gd name="T15" fmla="*/ 0 60000 65536"/>
              <a:gd name="T16" fmla="*/ 0 60000 65536"/>
              <a:gd name="T17" fmla="*/ 0 60000 65536"/>
              <a:gd name="T18" fmla="*/ 0 60000 65536"/>
              <a:gd name="T19" fmla="*/ 0 60000 65536"/>
              <a:gd name="T20" fmla="*/ 0 60000 65536"/>
              <a:gd name="T21" fmla="*/ 0 w 41"/>
              <a:gd name="T22" fmla="*/ 0 h 21"/>
              <a:gd name="T23" fmla="*/ 41 w 4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1">
                <a:moveTo>
                  <a:pt x="0" y="14"/>
                </a:moveTo>
                <a:lnTo>
                  <a:pt x="0" y="14"/>
                </a:lnTo>
                <a:lnTo>
                  <a:pt x="12" y="20"/>
                </a:lnTo>
                <a:lnTo>
                  <a:pt x="40" y="13"/>
                </a:lnTo>
                <a:lnTo>
                  <a:pt x="23" y="0"/>
                </a:lnTo>
                <a:lnTo>
                  <a:pt x="0" y="1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64" name="Freeform 563"/>
          <p:cNvSpPr>
            <a:spLocks/>
          </p:cNvSpPr>
          <p:nvPr/>
        </p:nvSpPr>
        <p:spPr bwMode="auto">
          <a:xfrm>
            <a:off x="6431155" y="1825036"/>
            <a:ext cx="65047" cy="22086"/>
          </a:xfrm>
          <a:custGeom>
            <a:avLst/>
            <a:gdLst>
              <a:gd name="T0" fmla="*/ 0 w 38"/>
              <a:gd name="T1" fmla="*/ 0 h 14"/>
              <a:gd name="T2" fmla="*/ 0 w 38"/>
              <a:gd name="T3" fmla="*/ 0 h 14"/>
              <a:gd name="T4" fmla="*/ 25132214 w 38"/>
              <a:gd name="T5" fmla="*/ 15557395 h 14"/>
              <a:gd name="T6" fmla="*/ 17277847 w 38"/>
              <a:gd name="T7" fmla="*/ 20224737 h 14"/>
              <a:gd name="T8" fmla="*/ 39268060 w 38"/>
              <a:gd name="T9" fmla="*/ 20224737 h 14"/>
              <a:gd name="T10" fmla="*/ 58117536 w 38"/>
              <a:gd name="T11" fmla="*/ 9334686 h 14"/>
              <a:gd name="T12" fmla="*/ 0 w 38"/>
              <a:gd name="T13" fmla="*/ 0 h 14"/>
              <a:gd name="T14" fmla="*/ 0 w 38"/>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14"/>
              <a:gd name="T26" fmla="*/ 38 w 38"/>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14">
                <a:moveTo>
                  <a:pt x="0" y="0"/>
                </a:moveTo>
                <a:lnTo>
                  <a:pt x="0" y="0"/>
                </a:lnTo>
                <a:lnTo>
                  <a:pt x="16" y="10"/>
                </a:lnTo>
                <a:lnTo>
                  <a:pt x="11" y="13"/>
                </a:lnTo>
                <a:lnTo>
                  <a:pt x="25" y="13"/>
                </a:lnTo>
                <a:lnTo>
                  <a:pt x="37" y="6"/>
                </a:lnTo>
                <a:lnTo>
                  <a:pt x="0" y="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65" name="Freeform 564"/>
          <p:cNvSpPr>
            <a:spLocks/>
          </p:cNvSpPr>
          <p:nvPr/>
        </p:nvSpPr>
        <p:spPr bwMode="auto">
          <a:xfrm>
            <a:off x="6444165" y="1764799"/>
            <a:ext cx="149606" cy="62244"/>
          </a:xfrm>
          <a:custGeom>
            <a:avLst/>
            <a:gdLst>
              <a:gd name="T0" fmla="*/ 0 w 88"/>
              <a:gd name="T1" fmla="*/ 51992477 h 38"/>
              <a:gd name="T2" fmla="*/ 0 w 88"/>
              <a:gd name="T3" fmla="*/ 51992477 h 38"/>
              <a:gd name="T4" fmla="*/ 35635620 w 88"/>
              <a:gd name="T5" fmla="*/ 16772225 h 38"/>
              <a:gd name="T6" fmla="*/ 86764515 w 88"/>
              <a:gd name="T7" fmla="*/ 0 h 38"/>
              <a:gd name="T8" fmla="*/ 134795229 w 88"/>
              <a:gd name="T9" fmla="*/ 30188970 h 38"/>
              <a:gd name="T10" fmla="*/ 119301972 w 88"/>
              <a:gd name="T11" fmla="*/ 35220247 h 38"/>
              <a:gd name="T12" fmla="*/ 122400126 w 88"/>
              <a:gd name="T13" fmla="*/ 48638292 h 38"/>
              <a:gd name="T14" fmla="*/ 52678585 w 88"/>
              <a:gd name="T15" fmla="*/ 62055032 h 38"/>
              <a:gd name="T16" fmla="*/ 0 w 88"/>
              <a:gd name="T17" fmla="*/ 51992477 h 38"/>
              <a:gd name="T18" fmla="*/ 0 w 88"/>
              <a:gd name="T19" fmla="*/ 51992477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
              <a:gd name="T31" fmla="*/ 0 h 38"/>
              <a:gd name="T32" fmla="*/ 88 w 88"/>
              <a:gd name="T33" fmla="*/ 38 h 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 h="38">
                <a:moveTo>
                  <a:pt x="0" y="31"/>
                </a:moveTo>
                <a:lnTo>
                  <a:pt x="0" y="31"/>
                </a:lnTo>
                <a:lnTo>
                  <a:pt x="23" y="10"/>
                </a:lnTo>
                <a:lnTo>
                  <a:pt x="56" y="0"/>
                </a:lnTo>
                <a:lnTo>
                  <a:pt x="87" y="18"/>
                </a:lnTo>
                <a:lnTo>
                  <a:pt x="77" y="21"/>
                </a:lnTo>
                <a:lnTo>
                  <a:pt x="79" y="29"/>
                </a:lnTo>
                <a:lnTo>
                  <a:pt x="34" y="37"/>
                </a:lnTo>
                <a:lnTo>
                  <a:pt x="0" y="31"/>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66" name="Freeform 565"/>
          <p:cNvSpPr>
            <a:spLocks/>
          </p:cNvSpPr>
          <p:nvPr/>
        </p:nvSpPr>
        <p:spPr bwMode="auto">
          <a:xfrm>
            <a:off x="6474519" y="1819011"/>
            <a:ext cx="164785" cy="74293"/>
          </a:xfrm>
          <a:custGeom>
            <a:avLst/>
            <a:gdLst>
              <a:gd name="T0" fmla="*/ 0 w 98"/>
              <a:gd name="T1" fmla="*/ 32371164 h 45"/>
              <a:gd name="T2" fmla="*/ 0 w 98"/>
              <a:gd name="T3" fmla="*/ 32371164 h 45"/>
              <a:gd name="T4" fmla="*/ 27281675 w 98"/>
              <a:gd name="T5" fmla="*/ 37482673 h 45"/>
              <a:gd name="T6" fmla="*/ 45470282 w 98"/>
              <a:gd name="T7" fmla="*/ 63040231 h 45"/>
              <a:gd name="T8" fmla="*/ 60626625 w 98"/>
              <a:gd name="T9" fmla="*/ 54520614 h 45"/>
              <a:gd name="T10" fmla="*/ 121253251 w 98"/>
              <a:gd name="T11" fmla="*/ 74966652 h 45"/>
              <a:gd name="T12" fmla="*/ 142472871 w 98"/>
              <a:gd name="T13" fmla="*/ 66447034 h 45"/>
              <a:gd name="T14" fmla="*/ 125799785 w 98"/>
              <a:gd name="T15" fmla="*/ 47705703 h 45"/>
              <a:gd name="T16" fmla="*/ 137925106 w 98"/>
              <a:gd name="T17" fmla="*/ 52817212 h 45"/>
              <a:gd name="T18" fmla="*/ 147019404 w 98"/>
              <a:gd name="T19" fmla="*/ 22149450 h 45"/>
              <a:gd name="T20" fmla="*/ 115189975 w 98"/>
              <a:gd name="T21" fmla="*/ 6814914 h 45"/>
              <a:gd name="T22" fmla="*/ 83361776 w 98"/>
              <a:gd name="T23" fmla="*/ 28964361 h 45"/>
              <a:gd name="T24" fmla="*/ 109127929 w 98"/>
              <a:gd name="T25" fmla="*/ 17037935 h 45"/>
              <a:gd name="T26" fmla="*/ 93971586 w 98"/>
              <a:gd name="T27" fmla="*/ 0 h 45"/>
              <a:gd name="T28" fmla="*/ 42438028 w 98"/>
              <a:gd name="T29" fmla="*/ 6814914 h 45"/>
              <a:gd name="T30" fmla="*/ 0 w 98"/>
              <a:gd name="T31" fmla="*/ 32371164 h 45"/>
              <a:gd name="T32" fmla="*/ 0 w 98"/>
              <a:gd name="T33" fmla="*/ 32371164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45"/>
              <a:gd name="T53" fmla="*/ 98 w 98"/>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45">
                <a:moveTo>
                  <a:pt x="0" y="19"/>
                </a:moveTo>
                <a:lnTo>
                  <a:pt x="0" y="19"/>
                </a:lnTo>
                <a:lnTo>
                  <a:pt x="18" y="22"/>
                </a:lnTo>
                <a:lnTo>
                  <a:pt x="30" y="37"/>
                </a:lnTo>
                <a:lnTo>
                  <a:pt x="40" y="32"/>
                </a:lnTo>
                <a:lnTo>
                  <a:pt x="80" y="44"/>
                </a:lnTo>
                <a:lnTo>
                  <a:pt x="94" y="39"/>
                </a:lnTo>
                <a:lnTo>
                  <a:pt x="83" y="28"/>
                </a:lnTo>
                <a:lnTo>
                  <a:pt x="91" y="31"/>
                </a:lnTo>
                <a:lnTo>
                  <a:pt x="97" y="13"/>
                </a:lnTo>
                <a:lnTo>
                  <a:pt x="76" y="4"/>
                </a:lnTo>
                <a:lnTo>
                  <a:pt x="55" y="17"/>
                </a:lnTo>
                <a:lnTo>
                  <a:pt x="72" y="10"/>
                </a:lnTo>
                <a:lnTo>
                  <a:pt x="62" y="0"/>
                </a:lnTo>
                <a:lnTo>
                  <a:pt x="28" y="4"/>
                </a:lnTo>
                <a:lnTo>
                  <a:pt x="0" y="19"/>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67" name="Freeform 566"/>
          <p:cNvSpPr>
            <a:spLocks/>
          </p:cNvSpPr>
          <p:nvPr/>
        </p:nvSpPr>
        <p:spPr bwMode="auto">
          <a:xfrm>
            <a:off x="6630630" y="1857162"/>
            <a:ext cx="138766" cy="74293"/>
          </a:xfrm>
          <a:custGeom>
            <a:avLst/>
            <a:gdLst>
              <a:gd name="T0" fmla="*/ 0 w 82"/>
              <a:gd name="T1" fmla="*/ 61957319 h 46"/>
              <a:gd name="T2" fmla="*/ 0 w 82"/>
              <a:gd name="T3" fmla="*/ 61957319 h 46"/>
              <a:gd name="T4" fmla="*/ 9210906 w 82"/>
              <a:gd name="T5" fmla="*/ 73370170 h 46"/>
              <a:gd name="T6" fmla="*/ 113603665 w 82"/>
              <a:gd name="T7" fmla="*/ 58696140 h 46"/>
              <a:gd name="T8" fmla="*/ 124349719 w 82"/>
              <a:gd name="T9" fmla="*/ 34239839 h 46"/>
              <a:gd name="T10" fmla="*/ 95181857 w 82"/>
              <a:gd name="T11" fmla="*/ 14674035 h 46"/>
              <a:gd name="T12" fmla="*/ 70618188 w 82"/>
              <a:gd name="T13" fmla="*/ 22825711 h 46"/>
              <a:gd name="T14" fmla="*/ 73688489 w 82"/>
              <a:gd name="T15" fmla="*/ 6522361 h 46"/>
              <a:gd name="T16" fmla="*/ 59872134 w 82"/>
              <a:gd name="T17" fmla="*/ 0 h 46"/>
              <a:gd name="T18" fmla="*/ 12281210 w 82"/>
              <a:gd name="T19" fmla="*/ 53804371 h 46"/>
              <a:gd name="T20" fmla="*/ 0 w 82"/>
              <a:gd name="T21" fmla="*/ 61957319 h 46"/>
              <a:gd name="T22" fmla="*/ 0 w 82"/>
              <a:gd name="T23" fmla="*/ 61957319 h 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46"/>
              <a:gd name="T38" fmla="*/ 82 w 82"/>
              <a:gd name="T39" fmla="*/ 46 h 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46">
                <a:moveTo>
                  <a:pt x="0" y="38"/>
                </a:moveTo>
                <a:lnTo>
                  <a:pt x="0" y="38"/>
                </a:lnTo>
                <a:lnTo>
                  <a:pt x="6" y="45"/>
                </a:lnTo>
                <a:lnTo>
                  <a:pt x="74" y="36"/>
                </a:lnTo>
                <a:lnTo>
                  <a:pt x="81" y="21"/>
                </a:lnTo>
                <a:lnTo>
                  <a:pt x="62" y="9"/>
                </a:lnTo>
                <a:lnTo>
                  <a:pt x="46" y="14"/>
                </a:lnTo>
                <a:lnTo>
                  <a:pt x="48" y="4"/>
                </a:lnTo>
                <a:lnTo>
                  <a:pt x="39" y="0"/>
                </a:lnTo>
                <a:lnTo>
                  <a:pt x="8" y="33"/>
                </a:lnTo>
                <a:lnTo>
                  <a:pt x="0" y="3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68" name="Freeform 567"/>
          <p:cNvSpPr>
            <a:spLocks/>
          </p:cNvSpPr>
          <p:nvPr/>
        </p:nvSpPr>
        <p:spPr bwMode="auto">
          <a:xfrm>
            <a:off x="7493583" y="2011770"/>
            <a:ext cx="156112" cy="72285"/>
          </a:xfrm>
          <a:custGeom>
            <a:avLst/>
            <a:gdLst>
              <a:gd name="T0" fmla="*/ 0 w 92"/>
              <a:gd name="T1" fmla="*/ 40628330 h 43"/>
              <a:gd name="T2" fmla="*/ 0 w 92"/>
              <a:gd name="T3" fmla="*/ 40628330 h 43"/>
              <a:gd name="T4" fmla="*/ 27783597 w 92"/>
              <a:gd name="T5" fmla="*/ 1766334 h 43"/>
              <a:gd name="T6" fmla="*/ 47849462 w 92"/>
              <a:gd name="T7" fmla="*/ 0 h 43"/>
              <a:gd name="T8" fmla="*/ 80263441 w 92"/>
              <a:gd name="T9" fmla="*/ 28262669 h 43"/>
              <a:gd name="T10" fmla="*/ 84895093 w 92"/>
              <a:gd name="T11" fmla="*/ 7065335 h 43"/>
              <a:gd name="T12" fmla="*/ 120396413 w 92"/>
              <a:gd name="T13" fmla="*/ 24730003 h 43"/>
              <a:gd name="T14" fmla="*/ 117309072 w 92"/>
              <a:gd name="T15" fmla="*/ 51226339 h 43"/>
              <a:gd name="T16" fmla="*/ 140462268 w 92"/>
              <a:gd name="T17" fmla="*/ 61824337 h 43"/>
              <a:gd name="T18" fmla="*/ 66372268 w 92"/>
              <a:gd name="T19" fmla="*/ 65358332 h 43"/>
              <a:gd name="T20" fmla="*/ 61741877 w 92"/>
              <a:gd name="T21" fmla="*/ 54759005 h 43"/>
              <a:gd name="T22" fmla="*/ 49393754 w 92"/>
              <a:gd name="T23" fmla="*/ 74189998 h 43"/>
              <a:gd name="T24" fmla="*/ 0 w 92"/>
              <a:gd name="T25" fmla="*/ 40628330 h 43"/>
              <a:gd name="T26" fmla="*/ 0 w 92"/>
              <a:gd name="T27" fmla="*/ 40628330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2"/>
              <a:gd name="T43" fmla="*/ 0 h 43"/>
              <a:gd name="T44" fmla="*/ 92 w 92"/>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2" h="43">
                <a:moveTo>
                  <a:pt x="0" y="23"/>
                </a:moveTo>
                <a:lnTo>
                  <a:pt x="0" y="23"/>
                </a:lnTo>
                <a:lnTo>
                  <a:pt x="18" y="1"/>
                </a:lnTo>
                <a:lnTo>
                  <a:pt x="31" y="0"/>
                </a:lnTo>
                <a:lnTo>
                  <a:pt x="52" y="16"/>
                </a:lnTo>
                <a:lnTo>
                  <a:pt x="55" y="4"/>
                </a:lnTo>
                <a:lnTo>
                  <a:pt x="78" y="14"/>
                </a:lnTo>
                <a:lnTo>
                  <a:pt x="76" y="29"/>
                </a:lnTo>
                <a:lnTo>
                  <a:pt x="91" y="35"/>
                </a:lnTo>
                <a:lnTo>
                  <a:pt x="43" y="37"/>
                </a:lnTo>
                <a:lnTo>
                  <a:pt x="40" y="31"/>
                </a:lnTo>
                <a:lnTo>
                  <a:pt x="32" y="42"/>
                </a:lnTo>
                <a:lnTo>
                  <a:pt x="0" y="2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69" name="Freeform 568"/>
          <p:cNvSpPr>
            <a:spLocks/>
          </p:cNvSpPr>
          <p:nvPr/>
        </p:nvSpPr>
        <p:spPr bwMode="auto">
          <a:xfrm>
            <a:off x="7601994" y="2013779"/>
            <a:ext cx="95401" cy="52206"/>
          </a:xfrm>
          <a:custGeom>
            <a:avLst/>
            <a:gdLst>
              <a:gd name="T0" fmla="*/ 0 w 57"/>
              <a:gd name="T1" fmla="*/ 0 h 30"/>
              <a:gd name="T2" fmla="*/ 0 w 57"/>
              <a:gd name="T3" fmla="*/ 0 h 30"/>
              <a:gd name="T4" fmla="*/ 28531889 w 57"/>
              <a:gd name="T5" fmla="*/ 20821862 h 30"/>
              <a:gd name="T6" fmla="*/ 21023629 w 57"/>
              <a:gd name="T7" fmla="*/ 39751953 h 30"/>
              <a:gd name="T8" fmla="*/ 34538987 w 57"/>
              <a:gd name="T9" fmla="*/ 54894382 h 30"/>
              <a:gd name="T10" fmla="*/ 60068552 w 57"/>
              <a:gd name="T11" fmla="*/ 54894382 h 30"/>
              <a:gd name="T12" fmla="*/ 84095739 w 57"/>
              <a:gd name="T13" fmla="*/ 34072515 h 30"/>
              <a:gd name="T14" fmla="*/ 0 w 57"/>
              <a:gd name="T15" fmla="*/ 0 h 30"/>
              <a:gd name="T16" fmla="*/ 0 w 57"/>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30"/>
              <a:gd name="T29" fmla="*/ 57 w 57"/>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30">
                <a:moveTo>
                  <a:pt x="0" y="0"/>
                </a:moveTo>
                <a:lnTo>
                  <a:pt x="0" y="0"/>
                </a:lnTo>
                <a:lnTo>
                  <a:pt x="19" y="11"/>
                </a:lnTo>
                <a:lnTo>
                  <a:pt x="14" y="21"/>
                </a:lnTo>
                <a:lnTo>
                  <a:pt x="23" y="29"/>
                </a:lnTo>
                <a:lnTo>
                  <a:pt x="40" y="29"/>
                </a:lnTo>
                <a:lnTo>
                  <a:pt x="56" y="18"/>
                </a:lnTo>
                <a:lnTo>
                  <a:pt x="0" y="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70" name="Freeform 569"/>
          <p:cNvSpPr>
            <a:spLocks/>
          </p:cNvSpPr>
          <p:nvPr/>
        </p:nvSpPr>
        <p:spPr bwMode="auto">
          <a:xfrm>
            <a:off x="7610668" y="2824971"/>
            <a:ext cx="71551" cy="246971"/>
          </a:xfrm>
          <a:custGeom>
            <a:avLst/>
            <a:gdLst>
              <a:gd name="T0" fmla="*/ 0 w 43"/>
              <a:gd name="T1" fmla="*/ 65259437 h 149"/>
              <a:gd name="T2" fmla="*/ 0 w 43"/>
              <a:gd name="T3" fmla="*/ 65259437 h 149"/>
              <a:gd name="T4" fmla="*/ 10389683 w 43"/>
              <a:gd name="T5" fmla="*/ 96172434 h 149"/>
              <a:gd name="T6" fmla="*/ 10389683 w 43"/>
              <a:gd name="T7" fmla="*/ 254170820 h 149"/>
              <a:gd name="T8" fmla="*/ 20779367 w 43"/>
              <a:gd name="T9" fmla="*/ 235278901 h 149"/>
              <a:gd name="T10" fmla="*/ 37107049 w 43"/>
              <a:gd name="T11" fmla="*/ 247301269 h 149"/>
              <a:gd name="T12" fmla="*/ 19295470 w 43"/>
              <a:gd name="T13" fmla="*/ 204365925 h 149"/>
              <a:gd name="T14" fmla="*/ 29685153 w 43"/>
              <a:gd name="T15" fmla="*/ 159715118 h 149"/>
              <a:gd name="T16" fmla="*/ 62339309 w 43"/>
              <a:gd name="T17" fmla="*/ 173454260 h 149"/>
              <a:gd name="T18" fmla="*/ 31169045 w 43"/>
              <a:gd name="T19" fmla="*/ 89302883 h 149"/>
              <a:gd name="T20" fmla="*/ 20779367 w 43"/>
              <a:gd name="T21" fmla="*/ 0 h 149"/>
              <a:gd name="T22" fmla="*/ 0 w 43"/>
              <a:gd name="T23" fmla="*/ 65259437 h 149"/>
              <a:gd name="T24" fmla="*/ 0 w 43"/>
              <a:gd name="T25" fmla="*/ 65259437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149"/>
              <a:gd name="T41" fmla="*/ 43 w 43"/>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149">
                <a:moveTo>
                  <a:pt x="0" y="38"/>
                </a:moveTo>
                <a:lnTo>
                  <a:pt x="0" y="38"/>
                </a:lnTo>
                <a:lnTo>
                  <a:pt x="7" y="56"/>
                </a:lnTo>
                <a:lnTo>
                  <a:pt x="7" y="148"/>
                </a:lnTo>
                <a:lnTo>
                  <a:pt x="14" y="137"/>
                </a:lnTo>
                <a:lnTo>
                  <a:pt x="25" y="144"/>
                </a:lnTo>
                <a:lnTo>
                  <a:pt x="13" y="119"/>
                </a:lnTo>
                <a:lnTo>
                  <a:pt x="20" y="93"/>
                </a:lnTo>
                <a:lnTo>
                  <a:pt x="42" y="101"/>
                </a:lnTo>
                <a:lnTo>
                  <a:pt x="21" y="52"/>
                </a:lnTo>
                <a:lnTo>
                  <a:pt x="14" y="0"/>
                </a:lnTo>
                <a:lnTo>
                  <a:pt x="0" y="3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71" name="Freeform 570"/>
          <p:cNvSpPr>
            <a:spLocks/>
          </p:cNvSpPr>
          <p:nvPr/>
        </p:nvSpPr>
        <p:spPr bwMode="auto">
          <a:xfrm>
            <a:off x="7716909" y="2043896"/>
            <a:ext cx="108410" cy="36142"/>
          </a:xfrm>
          <a:custGeom>
            <a:avLst/>
            <a:gdLst>
              <a:gd name="T0" fmla="*/ 0 w 64"/>
              <a:gd name="T1" fmla="*/ 0 h 22"/>
              <a:gd name="T2" fmla="*/ 0 w 64"/>
              <a:gd name="T3" fmla="*/ 0 h 22"/>
              <a:gd name="T4" fmla="*/ 16920514 w 64"/>
              <a:gd name="T5" fmla="*/ 23618538 h 22"/>
              <a:gd name="T6" fmla="*/ 61526777 w 64"/>
              <a:gd name="T7" fmla="*/ 35427802 h 22"/>
              <a:gd name="T8" fmla="*/ 96905705 w 64"/>
              <a:gd name="T9" fmla="*/ 28680208 h 22"/>
              <a:gd name="T10" fmla="*/ 0 w 64"/>
              <a:gd name="T11" fmla="*/ 0 h 22"/>
              <a:gd name="T12" fmla="*/ 0 w 64"/>
              <a:gd name="T13" fmla="*/ 0 h 22"/>
              <a:gd name="T14" fmla="*/ 0 60000 65536"/>
              <a:gd name="T15" fmla="*/ 0 60000 65536"/>
              <a:gd name="T16" fmla="*/ 0 60000 65536"/>
              <a:gd name="T17" fmla="*/ 0 60000 65536"/>
              <a:gd name="T18" fmla="*/ 0 60000 65536"/>
              <a:gd name="T19" fmla="*/ 0 60000 65536"/>
              <a:gd name="T20" fmla="*/ 0 60000 65536"/>
              <a:gd name="T21" fmla="*/ 0 w 64"/>
              <a:gd name="T22" fmla="*/ 0 h 22"/>
              <a:gd name="T23" fmla="*/ 64 w 6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22">
                <a:moveTo>
                  <a:pt x="0" y="0"/>
                </a:moveTo>
                <a:lnTo>
                  <a:pt x="0" y="0"/>
                </a:lnTo>
                <a:lnTo>
                  <a:pt x="11" y="14"/>
                </a:lnTo>
                <a:lnTo>
                  <a:pt x="40" y="21"/>
                </a:lnTo>
                <a:lnTo>
                  <a:pt x="63" y="17"/>
                </a:lnTo>
                <a:lnTo>
                  <a:pt x="0" y="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grpSp>
        <p:nvGrpSpPr>
          <p:cNvPr id="13" name="Group 98"/>
          <p:cNvGrpSpPr>
            <a:grpSpLocks/>
          </p:cNvGrpSpPr>
          <p:nvPr/>
        </p:nvGrpSpPr>
        <p:grpSpPr bwMode="auto">
          <a:xfrm>
            <a:off x="4568650" y="1800942"/>
            <a:ext cx="383776" cy="194766"/>
            <a:chOff x="3227" y="1992"/>
            <a:chExt cx="225" cy="118"/>
          </a:xfrm>
          <a:solidFill>
            <a:schemeClr val="accent3"/>
          </a:solidFill>
        </p:grpSpPr>
        <p:sp>
          <p:nvSpPr>
            <p:cNvPr id="748" name="Freeform 747"/>
            <p:cNvSpPr>
              <a:spLocks/>
            </p:cNvSpPr>
            <p:nvPr/>
          </p:nvSpPr>
          <p:spPr bwMode="auto">
            <a:xfrm>
              <a:off x="3227" y="2006"/>
              <a:ext cx="146" cy="104"/>
            </a:xfrm>
            <a:custGeom>
              <a:avLst/>
              <a:gdLst>
                <a:gd name="T0" fmla="*/ 0 w 146"/>
                <a:gd name="T1" fmla="*/ 13 h 104"/>
                <a:gd name="T2" fmla="*/ 0 w 146"/>
                <a:gd name="T3" fmla="*/ 13 h 104"/>
                <a:gd name="T4" fmla="*/ 1 w 146"/>
                <a:gd name="T5" fmla="*/ 25 h 104"/>
                <a:gd name="T6" fmla="*/ 16 w 146"/>
                <a:gd name="T7" fmla="*/ 25 h 104"/>
                <a:gd name="T8" fmla="*/ 12 w 146"/>
                <a:gd name="T9" fmla="*/ 31 h 104"/>
                <a:gd name="T10" fmla="*/ 22 w 146"/>
                <a:gd name="T11" fmla="*/ 35 h 104"/>
                <a:gd name="T12" fmla="*/ 8 w 146"/>
                <a:gd name="T13" fmla="*/ 34 h 104"/>
                <a:gd name="T14" fmla="*/ 34 w 146"/>
                <a:gd name="T15" fmla="*/ 45 h 104"/>
                <a:gd name="T16" fmla="*/ 23 w 146"/>
                <a:gd name="T17" fmla="*/ 49 h 104"/>
                <a:gd name="T18" fmla="*/ 31 w 146"/>
                <a:gd name="T19" fmla="*/ 57 h 104"/>
                <a:gd name="T20" fmla="*/ 53 w 146"/>
                <a:gd name="T21" fmla="*/ 52 h 104"/>
                <a:gd name="T22" fmla="*/ 53 w 146"/>
                <a:gd name="T23" fmla="*/ 42 h 104"/>
                <a:gd name="T24" fmla="*/ 64 w 146"/>
                <a:gd name="T25" fmla="*/ 38 h 104"/>
                <a:gd name="T26" fmla="*/ 66 w 146"/>
                <a:gd name="T27" fmla="*/ 50 h 104"/>
                <a:gd name="T28" fmla="*/ 80 w 146"/>
                <a:gd name="T29" fmla="*/ 42 h 104"/>
                <a:gd name="T30" fmla="*/ 77 w 146"/>
                <a:gd name="T31" fmla="*/ 50 h 104"/>
                <a:gd name="T32" fmla="*/ 90 w 146"/>
                <a:gd name="T33" fmla="*/ 50 h 104"/>
                <a:gd name="T34" fmla="*/ 40 w 146"/>
                <a:gd name="T35" fmla="*/ 62 h 104"/>
                <a:gd name="T36" fmla="*/ 43 w 146"/>
                <a:gd name="T37" fmla="*/ 71 h 104"/>
                <a:gd name="T38" fmla="*/ 84 w 146"/>
                <a:gd name="T39" fmla="*/ 64 h 104"/>
                <a:gd name="T40" fmla="*/ 55 w 146"/>
                <a:gd name="T41" fmla="*/ 73 h 104"/>
                <a:gd name="T42" fmla="*/ 72 w 146"/>
                <a:gd name="T43" fmla="*/ 78 h 104"/>
                <a:gd name="T44" fmla="*/ 44 w 146"/>
                <a:gd name="T45" fmla="*/ 82 h 104"/>
                <a:gd name="T46" fmla="*/ 86 w 146"/>
                <a:gd name="T47" fmla="*/ 103 h 104"/>
                <a:gd name="T48" fmla="*/ 113 w 146"/>
                <a:gd name="T49" fmla="*/ 50 h 104"/>
                <a:gd name="T50" fmla="*/ 145 w 146"/>
                <a:gd name="T51" fmla="*/ 37 h 104"/>
                <a:gd name="T52" fmla="*/ 109 w 146"/>
                <a:gd name="T53" fmla="*/ 28 h 104"/>
                <a:gd name="T54" fmla="*/ 104 w 146"/>
                <a:gd name="T55" fmla="*/ 15 h 104"/>
                <a:gd name="T56" fmla="*/ 94 w 146"/>
                <a:gd name="T57" fmla="*/ 23 h 104"/>
                <a:gd name="T58" fmla="*/ 99 w 146"/>
                <a:gd name="T59" fmla="*/ 10 h 104"/>
                <a:gd name="T60" fmla="*/ 75 w 146"/>
                <a:gd name="T61" fmla="*/ 0 h 104"/>
                <a:gd name="T62" fmla="*/ 67 w 146"/>
                <a:gd name="T63" fmla="*/ 10 h 104"/>
                <a:gd name="T64" fmla="*/ 78 w 146"/>
                <a:gd name="T65" fmla="*/ 35 h 104"/>
                <a:gd name="T66" fmla="*/ 51 w 146"/>
                <a:gd name="T67" fmla="*/ 10 h 104"/>
                <a:gd name="T68" fmla="*/ 43 w 146"/>
                <a:gd name="T69" fmla="*/ 15 h 104"/>
                <a:gd name="T70" fmla="*/ 48 w 146"/>
                <a:gd name="T71" fmla="*/ 28 h 104"/>
                <a:gd name="T72" fmla="*/ 22 w 146"/>
                <a:gd name="T73" fmla="*/ 16 h 104"/>
                <a:gd name="T74" fmla="*/ 40 w 146"/>
                <a:gd name="T75" fmla="*/ 9 h 104"/>
                <a:gd name="T76" fmla="*/ 0 w 146"/>
                <a:gd name="T77" fmla="*/ 13 h 104"/>
                <a:gd name="T78" fmla="*/ 0 w 146"/>
                <a:gd name="T79" fmla="*/ 13 h 1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6"/>
                <a:gd name="T121" fmla="*/ 0 h 104"/>
                <a:gd name="T122" fmla="*/ 146 w 146"/>
                <a:gd name="T123" fmla="*/ 104 h 1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6" h="104">
                  <a:moveTo>
                    <a:pt x="0" y="13"/>
                  </a:moveTo>
                  <a:lnTo>
                    <a:pt x="0" y="13"/>
                  </a:lnTo>
                  <a:lnTo>
                    <a:pt x="1" y="25"/>
                  </a:lnTo>
                  <a:lnTo>
                    <a:pt x="16" y="25"/>
                  </a:lnTo>
                  <a:lnTo>
                    <a:pt x="12" y="31"/>
                  </a:lnTo>
                  <a:lnTo>
                    <a:pt x="22" y="35"/>
                  </a:lnTo>
                  <a:lnTo>
                    <a:pt x="8" y="34"/>
                  </a:lnTo>
                  <a:lnTo>
                    <a:pt x="34" y="45"/>
                  </a:lnTo>
                  <a:lnTo>
                    <a:pt x="23" y="49"/>
                  </a:lnTo>
                  <a:lnTo>
                    <a:pt x="31" y="57"/>
                  </a:lnTo>
                  <a:lnTo>
                    <a:pt x="53" y="52"/>
                  </a:lnTo>
                  <a:lnTo>
                    <a:pt x="53" y="42"/>
                  </a:lnTo>
                  <a:lnTo>
                    <a:pt x="64" y="38"/>
                  </a:lnTo>
                  <a:lnTo>
                    <a:pt x="66" y="50"/>
                  </a:lnTo>
                  <a:lnTo>
                    <a:pt x="80" y="42"/>
                  </a:lnTo>
                  <a:lnTo>
                    <a:pt x="77" y="50"/>
                  </a:lnTo>
                  <a:lnTo>
                    <a:pt x="90" y="50"/>
                  </a:lnTo>
                  <a:lnTo>
                    <a:pt x="40" y="62"/>
                  </a:lnTo>
                  <a:lnTo>
                    <a:pt x="43" y="71"/>
                  </a:lnTo>
                  <a:lnTo>
                    <a:pt x="84" y="64"/>
                  </a:lnTo>
                  <a:lnTo>
                    <a:pt x="55" y="73"/>
                  </a:lnTo>
                  <a:lnTo>
                    <a:pt x="72" y="78"/>
                  </a:lnTo>
                  <a:lnTo>
                    <a:pt x="44" y="82"/>
                  </a:lnTo>
                  <a:lnTo>
                    <a:pt x="86" y="103"/>
                  </a:lnTo>
                  <a:lnTo>
                    <a:pt x="113" y="50"/>
                  </a:lnTo>
                  <a:lnTo>
                    <a:pt x="145" y="37"/>
                  </a:lnTo>
                  <a:lnTo>
                    <a:pt x="109" y="28"/>
                  </a:lnTo>
                  <a:lnTo>
                    <a:pt x="104" y="15"/>
                  </a:lnTo>
                  <a:lnTo>
                    <a:pt x="94" y="23"/>
                  </a:lnTo>
                  <a:lnTo>
                    <a:pt x="99" y="10"/>
                  </a:lnTo>
                  <a:lnTo>
                    <a:pt x="75" y="0"/>
                  </a:lnTo>
                  <a:lnTo>
                    <a:pt x="67" y="10"/>
                  </a:lnTo>
                  <a:lnTo>
                    <a:pt x="78" y="35"/>
                  </a:lnTo>
                  <a:lnTo>
                    <a:pt x="51" y="10"/>
                  </a:lnTo>
                  <a:lnTo>
                    <a:pt x="43" y="15"/>
                  </a:lnTo>
                  <a:lnTo>
                    <a:pt x="48" y="28"/>
                  </a:lnTo>
                  <a:lnTo>
                    <a:pt x="22" y="16"/>
                  </a:lnTo>
                  <a:lnTo>
                    <a:pt x="40" y="9"/>
                  </a:lnTo>
                  <a:lnTo>
                    <a:pt x="0" y="13"/>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49" name="Freeform 748"/>
            <p:cNvSpPr>
              <a:spLocks/>
            </p:cNvSpPr>
            <p:nvPr/>
          </p:nvSpPr>
          <p:spPr bwMode="auto">
            <a:xfrm>
              <a:off x="3320" y="1992"/>
              <a:ext cx="132" cy="44"/>
            </a:xfrm>
            <a:custGeom>
              <a:avLst/>
              <a:gdLst>
                <a:gd name="T0" fmla="*/ 0 w 132"/>
                <a:gd name="T1" fmla="*/ 11 h 44"/>
                <a:gd name="T2" fmla="*/ 0 w 132"/>
                <a:gd name="T3" fmla="*/ 11 h 44"/>
                <a:gd name="T4" fmla="*/ 19 w 132"/>
                <a:gd name="T5" fmla="*/ 15 h 44"/>
                <a:gd name="T6" fmla="*/ 7 w 132"/>
                <a:gd name="T7" fmla="*/ 20 h 44"/>
                <a:gd name="T8" fmla="*/ 12 w 132"/>
                <a:gd name="T9" fmla="*/ 24 h 44"/>
                <a:gd name="T10" fmla="*/ 60 w 132"/>
                <a:gd name="T11" fmla="*/ 23 h 44"/>
                <a:gd name="T12" fmla="*/ 30 w 132"/>
                <a:gd name="T13" fmla="*/ 29 h 44"/>
                <a:gd name="T14" fmla="*/ 78 w 132"/>
                <a:gd name="T15" fmla="*/ 43 h 44"/>
                <a:gd name="T16" fmla="*/ 110 w 132"/>
                <a:gd name="T17" fmla="*/ 35 h 44"/>
                <a:gd name="T18" fmla="*/ 131 w 132"/>
                <a:gd name="T19" fmla="*/ 20 h 44"/>
                <a:gd name="T20" fmla="*/ 125 w 132"/>
                <a:gd name="T21" fmla="*/ 12 h 44"/>
                <a:gd name="T22" fmla="*/ 94 w 132"/>
                <a:gd name="T23" fmla="*/ 13 h 44"/>
                <a:gd name="T24" fmla="*/ 99 w 132"/>
                <a:gd name="T25" fmla="*/ 5 h 44"/>
                <a:gd name="T26" fmla="*/ 74 w 132"/>
                <a:gd name="T27" fmla="*/ 13 h 44"/>
                <a:gd name="T28" fmla="*/ 71 w 132"/>
                <a:gd name="T29" fmla="*/ 0 h 44"/>
                <a:gd name="T30" fmla="*/ 65 w 132"/>
                <a:gd name="T31" fmla="*/ 17 h 44"/>
                <a:gd name="T32" fmla="*/ 30 w 132"/>
                <a:gd name="T33" fmla="*/ 0 h 44"/>
                <a:gd name="T34" fmla="*/ 31 w 132"/>
                <a:gd name="T35" fmla="*/ 10 h 44"/>
                <a:gd name="T36" fmla="*/ 20 w 132"/>
                <a:gd name="T37" fmla="*/ 5 h 44"/>
                <a:gd name="T38" fmla="*/ 25 w 132"/>
                <a:gd name="T39" fmla="*/ 15 h 44"/>
                <a:gd name="T40" fmla="*/ 0 w 132"/>
                <a:gd name="T41" fmla="*/ 11 h 44"/>
                <a:gd name="T42" fmla="*/ 0 w 132"/>
                <a:gd name="T43" fmla="*/ 11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2"/>
                <a:gd name="T67" fmla="*/ 0 h 44"/>
                <a:gd name="T68" fmla="*/ 132 w 132"/>
                <a:gd name="T69" fmla="*/ 44 h 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2" h="44">
                  <a:moveTo>
                    <a:pt x="0" y="11"/>
                  </a:moveTo>
                  <a:lnTo>
                    <a:pt x="0" y="11"/>
                  </a:lnTo>
                  <a:lnTo>
                    <a:pt x="19" y="15"/>
                  </a:lnTo>
                  <a:lnTo>
                    <a:pt x="7" y="20"/>
                  </a:lnTo>
                  <a:lnTo>
                    <a:pt x="12" y="24"/>
                  </a:lnTo>
                  <a:lnTo>
                    <a:pt x="60" y="23"/>
                  </a:lnTo>
                  <a:lnTo>
                    <a:pt x="30" y="29"/>
                  </a:lnTo>
                  <a:lnTo>
                    <a:pt x="78" y="43"/>
                  </a:lnTo>
                  <a:lnTo>
                    <a:pt x="110" y="35"/>
                  </a:lnTo>
                  <a:lnTo>
                    <a:pt x="131" y="20"/>
                  </a:lnTo>
                  <a:lnTo>
                    <a:pt x="125" y="12"/>
                  </a:lnTo>
                  <a:lnTo>
                    <a:pt x="94" y="13"/>
                  </a:lnTo>
                  <a:lnTo>
                    <a:pt x="99" y="5"/>
                  </a:lnTo>
                  <a:lnTo>
                    <a:pt x="74" y="13"/>
                  </a:lnTo>
                  <a:lnTo>
                    <a:pt x="71" y="0"/>
                  </a:lnTo>
                  <a:lnTo>
                    <a:pt x="65" y="17"/>
                  </a:lnTo>
                  <a:lnTo>
                    <a:pt x="30" y="0"/>
                  </a:lnTo>
                  <a:lnTo>
                    <a:pt x="31" y="10"/>
                  </a:lnTo>
                  <a:lnTo>
                    <a:pt x="20" y="5"/>
                  </a:lnTo>
                  <a:lnTo>
                    <a:pt x="25" y="15"/>
                  </a:lnTo>
                  <a:lnTo>
                    <a:pt x="0" y="11"/>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50" name="Freeform 749"/>
            <p:cNvSpPr>
              <a:spLocks/>
            </p:cNvSpPr>
            <p:nvPr/>
          </p:nvSpPr>
          <p:spPr bwMode="auto">
            <a:xfrm>
              <a:off x="3365" y="2062"/>
              <a:ext cx="57" cy="29"/>
            </a:xfrm>
            <a:custGeom>
              <a:avLst/>
              <a:gdLst>
                <a:gd name="T0" fmla="*/ 0 w 57"/>
                <a:gd name="T1" fmla="*/ 22 h 29"/>
                <a:gd name="T2" fmla="*/ 0 w 57"/>
                <a:gd name="T3" fmla="*/ 22 h 29"/>
                <a:gd name="T4" fmla="*/ 5 w 57"/>
                <a:gd name="T5" fmla="*/ 8 h 29"/>
                <a:gd name="T6" fmla="*/ 28 w 57"/>
                <a:gd name="T7" fmla="*/ 0 h 29"/>
                <a:gd name="T8" fmla="*/ 32 w 57"/>
                <a:gd name="T9" fmla="*/ 8 h 29"/>
                <a:gd name="T10" fmla="*/ 56 w 57"/>
                <a:gd name="T11" fmla="*/ 14 h 29"/>
                <a:gd name="T12" fmla="*/ 22 w 57"/>
                <a:gd name="T13" fmla="*/ 28 h 29"/>
                <a:gd name="T14" fmla="*/ 28 w 57"/>
                <a:gd name="T15" fmla="*/ 21 h 29"/>
                <a:gd name="T16" fmla="*/ 0 w 57"/>
                <a:gd name="T17" fmla="*/ 22 h 29"/>
                <a:gd name="T18" fmla="*/ 0 w 57"/>
                <a:gd name="T19" fmla="*/ 22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9"/>
                <a:gd name="T32" fmla="*/ 57 w 57"/>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9">
                  <a:moveTo>
                    <a:pt x="0" y="22"/>
                  </a:moveTo>
                  <a:lnTo>
                    <a:pt x="0" y="22"/>
                  </a:lnTo>
                  <a:lnTo>
                    <a:pt x="5" y="8"/>
                  </a:lnTo>
                  <a:lnTo>
                    <a:pt x="28" y="0"/>
                  </a:lnTo>
                  <a:lnTo>
                    <a:pt x="32" y="8"/>
                  </a:lnTo>
                  <a:lnTo>
                    <a:pt x="56" y="14"/>
                  </a:lnTo>
                  <a:lnTo>
                    <a:pt x="22" y="28"/>
                  </a:lnTo>
                  <a:lnTo>
                    <a:pt x="28" y="21"/>
                  </a:lnTo>
                  <a:lnTo>
                    <a:pt x="0" y="22"/>
                  </a:lnTo>
                </a:path>
              </a:pathLst>
            </a:custGeom>
            <a:grpFill/>
            <a:ln w="12700">
              <a:solidFill>
                <a:schemeClr val="bg1"/>
              </a:solidFill>
              <a:round/>
              <a:headEnd/>
              <a:tailEnd/>
            </a:ln>
          </p:spPr>
          <p:txBody>
            <a:bodyPr lIns="0" tIns="0" rIns="0" bIns="0" anchor="ctr">
              <a:spAutoFit/>
            </a:bodyPr>
            <a:lstStyle/>
            <a:p>
              <a:pPr>
                <a:defRPr/>
              </a:pPr>
              <a:endParaRPr lang="en-GB"/>
            </a:p>
          </p:txBody>
        </p:sp>
      </p:grpSp>
      <p:sp>
        <p:nvSpPr>
          <p:cNvPr id="573" name="Freeform 572"/>
          <p:cNvSpPr>
            <a:spLocks/>
          </p:cNvSpPr>
          <p:nvPr/>
        </p:nvSpPr>
        <p:spPr bwMode="auto">
          <a:xfrm>
            <a:off x="6587267" y="3706439"/>
            <a:ext cx="186467" cy="347368"/>
          </a:xfrm>
          <a:custGeom>
            <a:avLst/>
            <a:gdLst>
              <a:gd name="T0" fmla="*/ 0 w 109"/>
              <a:gd name="T1" fmla="*/ 56982790 h 209"/>
              <a:gd name="T2" fmla="*/ 0 w 109"/>
              <a:gd name="T3" fmla="*/ 56982790 h 209"/>
              <a:gd name="T4" fmla="*/ 10982123 w 109"/>
              <a:gd name="T5" fmla="*/ 29354730 h 209"/>
              <a:gd name="T6" fmla="*/ 56477515 w 109"/>
              <a:gd name="T7" fmla="*/ 0 h 209"/>
              <a:gd name="T8" fmla="*/ 76872341 w 109"/>
              <a:gd name="T9" fmla="*/ 27628059 h 209"/>
              <a:gd name="T10" fmla="*/ 70597203 w 109"/>
              <a:gd name="T11" fmla="*/ 75977484 h 209"/>
              <a:gd name="T12" fmla="*/ 125505307 w 109"/>
              <a:gd name="T13" fmla="*/ 55256119 h 209"/>
              <a:gd name="T14" fmla="*/ 149037702 w 109"/>
              <a:gd name="T15" fmla="*/ 75977484 h 209"/>
              <a:gd name="T16" fmla="*/ 169431313 w 109"/>
              <a:gd name="T17" fmla="*/ 124325605 h 209"/>
              <a:gd name="T18" fmla="*/ 161587978 w 109"/>
              <a:gd name="T19" fmla="*/ 153680325 h 209"/>
              <a:gd name="T20" fmla="*/ 120798327 w 109"/>
              <a:gd name="T21" fmla="*/ 151953654 h 209"/>
              <a:gd name="T22" fmla="*/ 105110482 w 109"/>
              <a:gd name="T23" fmla="*/ 165768336 h 209"/>
              <a:gd name="T24" fmla="*/ 112955031 w 109"/>
              <a:gd name="T25" fmla="*/ 215843148 h 209"/>
              <a:gd name="T26" fmla="*/ 58045674 w 109"/>
              <a:gd name="T27" fmla="*/ 172675061 h 209"/>
              <a:gd name="T28" fmla="*/ 34514522 w 109"/>
              <a:gd name="T29" fmla="*/ 250377881 h 209"/>
              <a:gd name="T30" fmla="*/ 61183243 w 109"/>
              <a:gd name="T31" fmla="*/ 319448661 h 209"/>
              <a:gd name="T32" fmla="*/ 98835344 w 109"/>
              <a:gd name="T33" fmla="*/ 345348807 h 209"/>
              <a:gd name="T34" fmla="*/ 78440499 w 109"/>
              <a:gd name="T35" fmla="*/ 359163489 h 209"/>
              <a:gd name="T36" fmla="*/ 73734772 w 109"/>
              <a:gd name="T37" fmla="*/ 336715370 h 209"/>
              <a:gd name="T38" fmla="*/ 58045674 w 109"/>
              <a:gd name="T39" fmla="*/ 336715370 h 209"/>
              <a:gd name="T40" fmla="*/ 15687850 w 109"/>
              <a:gd name="T41" fmla="*/ 298727295 h 209"/>
              <a:gd name="T42" fmla="*/ 23532404 w 109"/>
              <a:gd name="T43" fmla="*/ 252104552 h 209"/>
              <a:gd name="T44" fmla="*/ 45495397 w 109"/>
              <a:gd name="T45" fmla="*/ 210663135 h 209"/>
              <a:gd name="T46" fmla="*/ 15687850 w 109"/>
              <a:gd name="T47" fmla="*/ 141593628 h 209"/>
              <a:gd name="T48" fmla="*/ 25100562 w 109"/>
              <a:gd name="T49" fmla="*/ 110512237 h 209"/>
              <a:gd name="T50" fmla="*/ 0 w 109"/>
              <a:gd name="T51" fmla="*/ 56982790 h 209"/>
              <a:gd name="T52" fmla="*/ 0 w 109"/>
              <a:gd name="T53" fmla="*/ 56982790 h 20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9"/>
              <a:gd name="T82" fmla="*/ 0 h 209"/>
              <a:gd name="T83" fmla="*/ 109 w 109"/>
              <a:gd name="T84" fmla="*/ 209 h 20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9" h="209">
                <a:moveTo>
                  <a:pt x="0" y="33"/>
                </a:moveTo>
                <a:lnTo>
                  <a:pt x="0" y="33"/>
                </a:lnTo>
                <a:lnTo>
                  <a:pt x="7" y="17"/>
                </a:lnTo>
                <a:lnTo>
                  <a:pt x="36" y="0"/>
                </a:lnTo>
                <a:lnTo>
                  <a:pt x="49" y="16"/>
                </a:lnTo>
                <a:lnTo>
                  <a:pt x="45" y="44"/>
                </a:lnTo>
                <a:lnTo>
                  <a:pt x="80" y="32"/>
                </a:lnTo>
                <a:lnTo>
                  <a:pt x="95" y="44"/>
                </a:lnTo>
                <a:lnTo>
                  <a:pt x="108" y="72"/>
                </a:lnTo>
                <a:lnTo>
                  <a:pt x="103" y="89"/>
                </a:lnTo>
                <a:lnTo>
                  <a:pt x="77" y="88"/>
                </a:lnTo>
                <a:lnTo>
                  <a:pt x="67" y="96"/>
                </a:lnTo>
                <a:lnTo>
                  <a:pt x="72" y="125"/>
                </a:lnTo>
                <a:lnTo>
                  <a:pt x="37" y="100"/>
                </a:lnTo>
                <a:lnTo>
                  <a:pt x="22" y="145"/>
                </a:lnTo>
                <a:lnTo>
                  <a:pt x="39" y="185"/>
                </a:lnTo>
                <a:lnTo>
                  <a:pt x="63" y="200"/>
                </a:lnTo>
                <a:lnTo>
                  <a:pt x="50" y="208"/>
                </a:lnTo>
                <a:lnTo>
                  <a:pt x="47" y="195"/>
                </a:lnTo>
                <a:lnTo>
                  <a:pt x="37" y="195"/>
                </a:lnTo>
                <a:lnTo>
                  <a:pt x="10" y="173"/>
                </a:lnTo>
                <a:lnTo>
                  <a:pt x="15" y="146"/>
                </a:lnTo>
                <a:lnTo>
                  <a:pt x="29" y="122"/>
                </a:lnTo>
                <a:lnTo>
                  <a:pt x="10" y="82"/>
                </a:lnTo>
                <a:lnTo>
                  <a:pt x="16" y="64"/>
                </a:lnTo>
                <a:lnTo>
                  <a:pt x="0" y="3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74" name="Freeform 573"/>
          <p:cNvSpPr>
            <a:spLocks/>
          </p:cNvSpPr>
          <p:nvPr/>
        </p:nvSpPr>
        <p:spPr bwMode="auto">
          <a:xfrm>
            <a:off x="4928576" y="3174347"/>
            <a:ext cx="431477" cy="162638"/>
          </a:xfrm>
          <a:custGeom>
            <a:avLst/>
            <a:gdLst>
              <a:gd name="T0" fmla="*/ 0 w 252"/>
              <a:gd name="T1" fmla="*/ 55671680 h 99"/>
              <a:gd name="T2" fmla="*/ 0 w 252"/>
              <a:gd name="T3" fmla="*/ 55671680 h 99"/>
              <a:gd name="T4" fmla="*/ 17287462 w 252"/>
              <a:gd name="T5" fmla="*/ 97848223 h 99"/>
              <a:gd name="T6" fmla="*/ 1572043 w 252"/>
              <a:gd name="T7" fmla="*/ 102908575 h 99"/>
              <a:gd name="T8" fmla="*/ 17287462 w 252"/>
              <a:gd name="T9" fmla="*/ 109657442 h 99"/>
              <a:gd name="T10" fmla="*/ 23573131 w 252"/>
              <a:gd name="T11" fmla="*/ 136650313 h 99"/>
              <a:gd name="T12" fmla="*/ 45575473 w 252"/>
              <a:gd name="T13" fmla="*/ 133275879 h 99"/>
              <a:gd name="T14" fmla="*/ 23573131 w 252"/>
              <a:gd name="T15" fmla="*/ 145085098 h 99"/>
              <a:gd name="T16" fmla="*/ 48718305 w 252"/>
              <a:gd name="T17" fmla="*/ 140023447 h 99"/>
              <a:gd name="T18" fmla="*/ 75435513 w 252"/>
              <a:gd name="T19" fmla="*/ 156894316 h 99"/>
              <a:gd name="T20" fmla="*/ 100580697 w 252"/>
              <a:gd name="T21" fmla="*/ 138336230 h 99"/>
              <a:gd name="T22" fmla="*/ 139869232 w 252"/>
              <a:gd name="T23" fmla="*/ 161954668 h 99"/>
              <a:gd name="T24" fmla="*/ 207447058 w 252"/>
              <a:gd name="T25" fmla="*/ 138336230 h 99"/>
              <a:gd name="T26" fmla="*/ 205876268 w 252"/>
              <a:gd name="T27" fmla="*/ 165329101 h 99"/>
              <a:gd name="T28" fmla="*/ 218448850 w 252"/>
              <a:gd name="T29" fmla="*/ 138336230 h 99"/>
              <a:gd name="T30" fmla="*/ 347317583 w 252"/>
              <a:gd name="T31" fmla="*/ 133275879 h 99"/>
              <a:gd name="T32" fmla="*/ 394463826 w 252"/>
              <a:gd name="T33" fmla="*/ 129901445 h 99"/>
              <a:gd name="T34" fmla="*/ 380320454 w 252"/>
              <a:gd name="T35" fmla="*/ 72542549 h 99"/>
              <a:gd name="T36" fmla="*/ 391320994 w 252"/>
              <a:gd name="T37" fmla="*/ 60733330 h 99"/>
              <a:gd name="T38" fmla="*/ 350460415 w 252"/>
              <a:gd name="T39" fmla="*/ 11809224 h 99"/>
              <a:gd name="T40" fmla="*/ 323743129 w 252"/>
              <a:gd name="T41" fmla="*/ 11809224 h 99"/>
              <a:gd name="T42" fmla="*/ 253022511 w 252"/>
              <a:gd name="T43" fmla="*/ 32053232 h 99"/>
              <a:gd name="T44" fmla="*/ 190159600 w 252"/>
              <a:gd name="T45" fmla="*/ 0 h 99"/>
              <a:gd name="T46" fmla="*/ 150871025 w 252"/>
              <a:gd name="T47" fmla="*/ 1687217 h 99"/>
              <a:gd name="T48" fmla="*/ 102152740 w 252"/>
              <a:gd name="T49" fmla="*/ 30366016 h 99"/>
              <a:gd name="T50" fmla="*/ 61290888 w 252"/>
              <a:gd name="T51" fmla="*/ 21931231 h 99"/>
              <a:gd name="T52" fmla="*/ 73863470 w 252"/>
              <a:gd name="T53" fmla="*/ 37114883 h 99"/>
              <a:gd name="T54" fmla="*/ 0 w 252"/>
              <a:gd name="T55" fmla="*/ 55671680 h 99"/>
              <a:gd name="T56" fmla="*/ 0 w 252"/>
              <a:gd name="T57" fmla="*/ 55671680 h 9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2"/>
              <a:gd name="T88" fmla="*/ 0 h 99"/>
              <a:gd name="T89" fmla="*/ 252 w 252"/>
              <a:gd name="T90" fmla="*/ 99 h 9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2" h="99">
                <a:moveTo>
                  <a:pt x="0" y="33"/>
                </a:moveTo>
                <a:lnTo>
                  <a:pt x="0" y="33"/>
                </a:lnTo>
                <a:lnTo>
                  <a:pt x="11" y="58"/>
                </a:lnTo>
                <a:lnTo>
                  <a:pt x="1" y="61"/>
                </a:lnTo>
                <a:lnTo>
                  <a:pt x="11" y="65"/>
                </a:lnTo>
                <a:lnTo>
                  <a:pt x="15" y="81"/>
                </a:lnTo>
                <a:lnTo>
                  <a:pt x="29" y="79"/>
                </a:lnTo>
                <a:lnTo>
                  <a:pt x="15" y="86"/>
                </a:lnTo>
                <a:lnTo>
                  <a:pt x="31" y="83"/>
                </a:lnTo>
                <a:lnTo>
                  <a:pt x="48" y="93"/>
                </a:lnTo>
                <a:lnTo>
                  <a:pt x="64" y="82"/>
                </a:lnTo>
                <a:lnTo>
                  <a:pt x="89" y="96"/>
                </a:lnTo>
                <a:lnTo>
                  <a:pt x="132" y="82"/>
                </a:lnTo>
                <a:lnTo>
                  <a:pt x="131" y="98"/>
                </a:lnTo>
                <a:lnTo>
                  <a:pt x="139" y="82"/>
                </a:lnTo>
                <a:lnTo>
                  <a:pt x="221" y="79"/>
                </a:lnTo>
                <a:lnTo>
                  <a:pt x="251" y="77"/>
                </a:lnTo>
                <a:lnTo>
                  <a:pt x="242" y="43"/>
                </a:lnTo>
                <a:lnTo>
                  <a:pt x="249" y="36"/>
                </a:lnTo>
                <a:lnTo>
                  <a:pt x="223" y="7"/>
                </a:lnTo>
                <a:lnTo>
                  <a:pt x="206" y="7"/>
                </a:lnTo>
                <a:lnTo>
                  <a:pt x="161" y="19"/>
                </a:lnTo>
                <a:lnTo>
                  <a:pt x="121" y="0"/>
                </a:lnTo>
                <a:lnTo>
                  <a:pt x="96" y="1"/>
                </a:lnTo>
                <a:lnTo>
                  <a:pt x="65" y="18"/>
                </a:lnTo>
                <a:lnTo>
                  <a:pt x="39" y="13"/>
                </a:lnTo>
                <a:lnTo>
                  <a:pt x="47" y="22"/>
                </a:lnTo>
                <a:lnTo>
                  <a:pt x="0" y="3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75" name="Freeform 574"/>
          <p:cNvSpPr>
            <a:spLocks/>
          </p:cNvSpPr>
          <p:nvPr/>
        </p:nvSpPr>
        <p:spPr bwMode="auto">
          <a:xfrm>
            <a:off x="414338" y="2224609"/>
            <a:ext cx="691664" cy="584299"/>
          </a:xfrm>
          <a:custGeom>
            <a:avLst/>
            <a:gdLst>
              <a:gd name="T0" fmla="*/ 0 w 408"/>
              <a:gd name="T1" fmla="*/ 228607924 h 355"/>
              <a:gd name="T2" fmla="*/ 24649159 w 408"/>
              <a:gd name="T3" fmla="*/ 243848794 h 355"/>
              <a:gd name="T4" fmla="*/ 103220134 w 408"/>
              <a:gd name="T5" fmla="*/ 264168652 h 355"/>
              <a:gd name="T6" fmla="*/ 152519673 w 408"/>
              <a:gd name="T7" fmla="*/ 260782660 h 355"/>
              <a:gd name="T8" fmla="*/ 146357076 w 408"/>
              <a:gd name="T9" fmla="*/ 304810972 h 355"/>
              <a:gd name="T10" fmla="*/ 38514693 w 408"/>
              <a:gd name="T11" fmla="*/ 379319803 h 355"/>
              <a:gd name="T12" fmla="*/ 43136961 w 408"/>
              <a:gd name="T13" fmla="*/ 382707097 h 355"/>
              <a:gd name="T14" fmla="*/ 90894939 w 408"/>
              <a:gd name="T15" fmla="*/ 401333959 h 355"/>
              <a:gd name="T16" fmla="*/ 87814261 w 408"/>
              <a:gd name="T17" fmla="*/ 440281982 h 355"/>
              <a:gd name="T18" fmla="*/ 137113800 w 408"/>
              <a:gd name="T19" fmla="*/ 401333959 h 355"/>
              <a:gd name="T20" fmla="*/ 134031881 w 408"/>
              <a:gd name="T21" fmla="*/ 460603141 h 355"/>
              <a:gd name="T22" fmla="*/ 164843666 w 408"/>
              <a:gd name="T23" fmla="*/ 453829855 h 355"/>
              <a:gd name="T24" fmla="*/ 198737332 w 408"/>
              <a:gd name="T25" fmla="*/ 465683431 h 355"/>
              <a:gd name="T26" fmla="*/ 237252015 w 408"/>
              <a:gd name="T27" fmla="*/ 462296138 h 355"/>
              <a:gd name="T28" fmla="*/ 164843666 w 408"/>
              <a:gd name="T29" fmla="*/ 552045758 h 355"/>
              <a:gd name="T30" fmla="*/ 124788605 w 408"/>
              <a:gd name="T31" fmla="*/ 568979624 h 355"/>
              <a:gd name="T32" fmla="*/ 134031881 w 408"/>
              <a:gd name="T33" fmla="*/ 577447208 h 355"/>
              <a:gd name="T34" fmla="*/ 197196993 w 408"/>
              <a:gd name="T35" fmla="*/ 558819044 h 355"/>
              <a:gd name="T36" fmla="*/ 212602866 w 408"/>
              <a:gd name="T37" fmla="*/ 546965468 h 355"/>
              <a:gd name="T38" fmla="*/ 306578444 w 408"/>
              <a:gd name="T39" fmla="*/ 469069424 h 355"/>
              <a:gd name="T40" fmla="*/ 360500319 w 408"/>
              <a:gd name="T41" fmla="*/ 384400093 h 355"/>
              <a:gd name="T42" fmla="*/ 363580997 w 408"/>
              <a:gd name="T43" fmla="*/ 384400093 h 355"/>
              <a:gd name="T44" fmla="*/ 375906192 w 408"/>
              <a:gd name="T45" fmla="*/ 392867677 h 355"/>
              <a:gd name="T46" fmla="*/ 348175124 w 408"/>
              <a:gd name="T47" fmla="*/ 404721253 h 355"/>
              <a:gd name="T48" fmla="*/ 357418400 w 408"/>
              <a:gd name="T49" fmla="*/ 436895989 h 355"/>
              <a:gd name="T50" fmla="*/ 406717939 w 408"/>
              <a:gd name="T51" fmla="*/ 430121402 h 355"/>
              <a:gd name="T52" fmla="*/ 406717939 w 408"/>
              <a:gd name="T53" fmla="*/ 403026956 h 355"/>
              <a:gd name="T54" fmla="*/ 419043134 w 408"/>
              <a:gd name="T55" fmla="*/ 399640963 h 355"/>
              <a:gd name="T56" fmla="*/ 445232622 w 408"/>
              <a:gd name="T57" fmla="*/ 406414249 h 355"/>
              <a:gd name="T58" fmla="*/ 582346383 w 408"/>
              <a:gd name="T59" fmla="*/ 440281982 h 355"/>
              <a:gd name="T60" fmla="*/ 606995532 w 408"/>
              <a:gd name="T61" fmla="*/ 433508695 h 355"/>
              <a:gd name="T62" fmla="*/ 616238808 w 408"/>
              <a:gd name="T63" fmla="*/ 460603141 h 355"/>
              <a:gd name="T64" fmla="*/ 606995532 w 408"/>
              <a:gd name="T65" fmla="*/ 421655119 h 355"/>
              <a:gd name="T66" fmla="*/ 566940510 w 408"/>
              <a:gd name="T67" fmla="*/ 67735485 h 355"/>
              <a:gd name="T68" fmla="*/ 332769251 w 408"/>
              <a:gd name="T69" fmla="*/ 22014166 h 355"/>
              <a:gd name="T70" fmla="*/ 264983083 w 408"/>
              <a:gd name="T71" fmla="*/ 25401460 h 355"/>
              <a:gd name="T72" fmla="*/ 263442744 w 408"/>
              <a:gd name="T73" fmla="*/ 8467586 h 355"/>
              <a:gd name="T74" fmla="*/ 212602866 w 408"/>
              <a:gd name="T75" fmla="*/ 22014166 h 355"/>
              <a:gd name="T76" fmla="*/ 171006263 w 408"/>
              <a:gd name="T77" fmla="*/ 45721329 h 355"/>
              <a:gd name="T78" fmla="*/ 127869283 w 408"/>
              <a:gd name="T79" fmla="*/ 44028332 h 355"/>
              <a:gd name="T80" fmla="*/ 117085668 w 408"/>
              <a:gd name="T81" fmla="*/ 55881908 h 355"/>
              <a:gd name="T82" fmla="*/ 38514693 w 408"/>
              <a:gd name="T83" fmla="*/ 103297535 h 355"/>
              <a:gd name="T84" fmla="*/ 24649159 w 408"/>
              <a:gd name="T85" fmla="*/ 121924397 h 355"/>
              <a:gd name="T86" fmla="*/ 180249539 w 408"/>
              <a:gd name="T87" fmla="*/ 194740192 h 355"/>
              <a:gd name="T88" fmla="*/ 127869283 w 408"/>
              <a:gd name="T89" fmla="*/ 203206474 h 355"/>
              <a:gd name="T90" fmla="*/ 130951202 w 408"/>
              <a:gd name="T91" fmla="*/ 213367054 h 355"/>
              <a:gd name="T92" fmla="*/ 90894939 w 408"/>
              <a:gd name="T93" fmla="*/ 189659902 h 355"/>
              <a:gd name="T94" fmla="*/ 0 w 408"/>
              <a:gd name="T95" fmla="*/ 228607924 h 3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08"/>
              <a:gd name="T145" fmla="*/ 0 h 355"/>
              <a:gd name="T146" fmla="*/ 408 w 408"/>
              <a:gd name="T147" fmla="*/ 355 h 3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08" h="355">
                <a:moveTo>
                  <a:pt x="0" y="135"/>
                </a:moveTo>
                <a:lnTo>
                  <a:pt x="0" y="135"/>
                </a:lnTo>
                <a:lnTo>
                  <a:pt x="26" y="142"/>
                </a:lnTo>
                <a:lnTo>
                  <a:pt x="16" y="144"/>
                </a:lnTo>
                <a:lnTo>
                  <a:pt x="27" y="157"/>
                </a:lnTo>
                <a:lnTo>
                  <a:pt x="67" y="156"/>
                </a:lnTo>
                <a:lnTo>
                  <a:pt x="73" y="165"/>
                </a:lnTo>
                <a:lnTo>
                  <a:pt x="99" y="154"/>
                </a:lnTo>
                <a:lnTo>
                  <a:pt x="90" y="159"/>
                </a:lnTo>
                <a:lnTo>
                  <a:pt x="95" y="180"/>
                </a:lnTo>
                <a:lnTo>
                  <a:pt x="40" y="201"/>
                </a:lnTo>
                <a:lnTo>
                  <a:pt x="25" y="224"/>
                </a:lnTo>
                <a:lnTo>
                  <a:pt x="38" y="220"/>
                </a:lnTo>
                <a:lnTo>
                  <a:pt x="28" y="226"/>
                </a:lnTo>
                <a:lnTo>
                  <a:pt x="38" y="234"/>
                </a:lnTo>
                <a:lnTo>
                  <a:pt x="59" y="237"/>
                </a:lnTo>
                <a:lnTo>
                  <a:pt x="47" y="249"/>
                </a:lnTo>
                <a:lnTo>
                  <a:pt x="57" y="260"/>
                </a:lnTo>
                <a:lnTo>
                  <a:pt x="67" y="261"/>
                </a:lnTo>
                <a:lnTo>
                  <a:pt x="89" y="237"/>
                </a:lnTo>
                <a:lnTo>
                  <a:pt x="76" y="249"/>
                </a:lnTo>
                <a:lnTo>
                  <a:pt x="87" y="272"/>
                </a:lnTo>
                <a:lnTo>
                  <a:pt x="81" y="282"/>
                </a:lnTo>
                <a:lnTo>
                  <a:pt x="107" y="268"/>
                </a:lnTo>
                <a:lnTo>
                  <a:pt x="124" y="285"/>
                </a:lnTo>
                <a:lnTo>
                  <a:pt x="129" y="275"/>
                </a:lnTo>
                <a:lnTo>
                  <a:pt x="135" y="282"/>
                </a:lnTo>
                <a:lnTo>
                  <a:pt x="154" y="273"/>
                </a:lnTo>
                <a:lnTo>
                  <a:pt x="127" y="317"/>
                </a:lnTo>
                <a:lnTo>
                  <a:pt x="107" y="326"/>
                </a:lnTo>
                <a:lnTo>
                  <a:pt x="107" y="335"/>
                </a:lnTo>
                <a:lnTo>
                  <a:pt x="81" y="336"/>
                </a:lnTo>
                <a:lnTo>
                  <a:pt x="63" y="354"/>
                </a:lnTo>
                <a:lnTo>
                  <a:pt x="87" y="341"/>
                </a:lnTo>
                <a:lnTo>
                  <a:pt x="113" y="341"/>
                </a:lnTo>
                <a:lnTo>
                  <a:pt x="128" y="330"/>
                </a:lnTo>
                <a:lnTo>
                  <a:pt x="121" y="321"/>
                </a:lnTo>
                <a:lnTo>
                  <a:pt x="138" y="323"/>
                </a:lnTo>
                <a:lnTo>
                  <a:pt x="189" y="290"/>
                </a:lnTo>
                <a:lnTo>
                  <a:pt x="199" y="277"/>
                </a:lnTo>
                <a:lnTo>
                  <a:pt x="190" y="268"/>
                </a:lnTo>
                <a:lnTo>
                  <a:pt x="234" y="227"/>
                </a:lnTo>
                <a:lnTo>
                  <a:pt x="241" y="207"/>
                </a:lnTo>
                <a:lnTo>
                  <a:pt x="236" y="227"/>
                </a:lnTo>
                <a:lnTo>
                  <a:pt x="254" y="223"/>
                </a:lnTo>
                <a:lnTo>
                  <a:pt x="244" y="232"/>
                </a:lnTo>
                <a:lnTo>
                  <a:pt x="259" y="236"/>
                </a:lnTo>
                <a:lnTo>
                  <a:pt x="226" y="239"/>
                </a:lnTo>
                <a:lnTo>
                  <a:pt x="220" y="258"/>
                </a:lnTo>
                <a:lnTo>
                  <a:pt x="232" y="258"/>
                </a:lnTo>
                <a:lnTo>
                  <a:pt x="221" y="271"/>
                </a:lnTo>
                <a:lnTo>
                  <a:pt x="264" y="254"/>
                </a:lnTo>
                <a:lnTo>
                  <a:pt x="270" y="243"/>
                </a:lnTo>
                <a:lnTo>
                  <a:pt x="264" y="238"/>
                </a:lnTo>
                <a:lnTo>
                  <a:pt x="274" y="228"/>
                </a:lnTo>
                <a:lnTo>
                  <a:pt x="272" y="236"/>
                </a:lnTo>
                <a:lnTo>
                  <a:pt x="294" y="231"/>
                </a:lnTo>
                <a:lnTo>
                  <a:pt x="289" y="240"/>
                </a:lnTo>
                <a:lnTo>
                  <a:pt x="325" y="254"/>
                </a:lnTo>
                <a:lnTo>
                  <a:pt x="378" y="260"/>
                </a:lnTo>
                <a:lnTo>
                  <a:pt x="387" y="252"/>
                </a:lnTo>
                <a:lnTo>
                  <a:pt x="394" y="256"/>
                </a:lnTo>
                <a:lnTo>
                  <a:pt x="385" y="264"/>
                </a:lnTo>
                <a:lnTo>
                  <a:pt x="400" y="272"/>
                </a:lnTo>
                <a:lnTo>
                  <a:pt x="407" y="266"/>
                </a:lnTo>
                <a:lnTo>
                  <a:pt x="394" y="249"/>
                </a:lnTo>
                <a:lnTo>
                  <a:pt x="368" y="249"/>
                </a:lnTo>
                <a:lnTo>
                  <a:pt x="368" y="40"/>
                </a:lnTo>
                <a:lnTo>
                  <a:pt x="222" y="23"/>
                </a:lnTo>
                <a:lnTo>
                  <a:pt x="216" y="13"/>
                </a:lnTo>
                <a:lnTo>
                  <a:pt x="176" y="6"/>
                </a:lnTo>
                <a:lnTo>
                  <a:pt x="172" y="15"/>
                </a:lnTo>
                <a:lnTo>
                  <a:pt x="160" y="12"/>
                </a:lnTo>
                <a:lnTo>
                  <a:pt x="171" y="5"/>
                </a:lnTo>
                <a:lnTo>
                  <a:pt x="154" y="0"/>
                </a:lnTo>
                <a:lnTo>
                  <a:pt x="138" y="13"/>
                </a:lnTo>
                <a:lnTo>
                  <a:pt x="112" y="15"/>
                </a:lnTo>
                <a:lnTo>
                  <a:pt x="111" y="27"/>
                </a:lnTo>
                <a:lnTo>
                  <a:pt x="108" y="20"/>
                </a:lnTo>
                <a:lnTo>
                  <a:pt x="83" y="26"/>
                </a:lnTo>
                <a:lnTo>
                  <a:pt x="87" y="36"/>
                </a:lnTo>
                <a:lnTo>
                  <a:pt x="76" y="33"/>
                </a:lnTo>
                <a:lnTo>
                  <a:pt x="61" y="53"/>
                </a:lnTo>
                <a:lnTo>
                  <a:pt x="25" y="61"/>
                </a:lnTo>
                <a:lnTo>
                  <a:pt x="27" y="70"/>
                </a:lnTo>
                <a:lnTo>
                  <a:pt x="16" y="72"/>
                </a:lnTo>
                <a:lnTo>
                  <a:pt x="59" y="101"/>
                </a:lnTo>
                <a:lnTo>
                  <a:pt x="117" y="115"/>
                </a:lnTo>
                <a:lnTo>
                  <a:pt x="81" y="111"/>
                </a:lnTo>
                <a:lnTo>
                  <a:pt x="83" y="120"/>
                </a:lnTo>
                <a:lnTo>
                  <a:pt x="97" y="120"/>
                </a:lnTo>
                <a:lnTo>
                  <a:pt x="85" y="126"/>
                </a:lnTo>
                <a:lnTo>
                  <a:pt x="59" y="125"/>
                </a:lnTo>
                <a:lnTo>
                  <a:pt x="59" y="112"/>
                </a:lnTo>
                <a:lnTo>
                  <a:pt x="46" y="114"/>
                </a:lnTo>
                <a:lnTo>
                  <a:pt x="0" y="13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76" name="Freeform 575"/>
          <p:cNvSpPr>
            <a:spLocks/>
          </p:cNvSpPr>
          <p:nvPr/>
        </p:nvSpPr>
        <p:spPr bwMode="auto">
          <a:xfrm>
            <a:off x="720059" y="2714537"/>
            <a:ext cx="60711" cy="36142"/>
          </a:xfrm>
          <a:custGeom>
            <a:avLst/>
            <a:gdLst>
              <a:gd name="T0" fmla="*/ 0 w 36"/>
              <a:gd name="T1" fmla="*/ 15183716 h 22"/>
              <a:gd name="T2" fmla="*/ 0 w 36"/>
              <a:gd name="T3" fmla="*/ 15183716 h 22"/>
              <a:gd name="T4" fmla="*/ 15245114 w 36"/>
              <a:gd name="T5" fmla="*/ 35427802 h 22"/>
              <a:gd name="T6" fmla="*/ 53358518 w 36"/>
              <a:gd name="T7" fmla="*/ 6747597 h 22"/>
              <a:gd name="T8" fmla="*/ 16769995 w 36"/>
              <a:gd name="T9" fmla="*/ 0 h 22"/>
              <a:gd name="T10" fmla="*/ 21343409 w 36"/>
              <a:gd name="T11" fmla="*/ 13496492 h 22"/>
              <a:gd name="T12" fmla="*/ 0 w 36"/>
              <a:gd name="T13" fmla="*/ 15183716 h 22"/>
              <a:gd name="T14" fmla="*/ 0 w 36"/>
              <a:gd name="T15" fmla="*/ 15183716 h 2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2"/>
              <a:gd name="T26" fmla="*/ 36 w 3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2">
                <a:moveTo>
                  <a:pt x="0" y="9"/>
                </a:moveTo>
                <a:lnTo>
                  <a:pt x="0" y="9"/>
                </a:lnTo>
                <a:lnTo>
                  <a:pt x="10" y="21"/>
                </a:lnTo>
                <a:lnTo>
                  <a:pt x="35" y="4"/>
                </a:lnTo>
                <a:lnTo>
                  <a:pt x="11" y="0"/>
                </a:lnTo>
                <a:lnTo>
                  <a:pt x="14" y="8"/>
                </a:lnTo>
                <a:lnTo>
                  <a:pt x="0" y="9"/>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77" name="Freeform 576"/>
          <p:cNvSpPr>
            <a:spLocks/>
          </p:cNvSpPr>
          <p:nvPr/>
        </p:nvSpPr>
        <p:spPr bwMode="auto">
          <a:xfrm>
            <a:off x="1106001" y="2648277"/>
            <a:ext cx="190803" cy="164648"/>
          </a:xfrm>
          <a:custGeom>
            <a:avLst/>
            <a:gdLst>
              <a:gd name="T0" fmla="*/ 0 w 110"/>
              <a:gd name="T1" fmla="*/ 17289607 h 99"/>
              <a:gd name="T2" fmla="*/ 0 w 110"/>
              <a:gd name="T3" fmla="*/ 17289607 h 99"/>
              <a:gd name="T4" fmla="*/ 6451601 w 110"/>
              <a:gd name="T5" fmla="*/ 41495580 h 99"/>
              <a:gd name="T6" fmla="*/ 30645101 w 110"/>
              <a:gd name="T7" fmla="*/ 51868825 h 99"/>
              <a:gd name="T8" fmla="*/ 41935408 w 110"/>
              <a:gd name="T9" fmla="*/ 43223367 h 99"/>
              <a:gd name="T10" fmla="*/ 20967704 w 110"/>
              <a:gd name="T11" fmla="*/ 31121030 h 99"/>
              <a:gd name="T12" fmla="*/ 41935408 w 110"/>
              <a:gd name="T13" fmla="*/ 31121030 h 99"/>
              <a:gd name="T14" fmla="*/ 59677303 w 110"/>
              <a:gd name="T15" fmla="*/ 51868825 h 99"/>
              <a:gd name="T16" fmla="*/ 54838605 w 110"/>
              <a:gd name="T17" fmla="*/ 15560515 h 99"/>
              <a:gd name="T18" fmla="*/ 69354701 w 110"/>
              <a:gd name="T19" fmla="*/ 48410642 h 99"/>
              <a:gd name="T20" fmla="*/ 106451410 w 110"/>
              <a:gd name="T21" fmla="*/ 67429335 h 99"/>
              <a:gd name="T22" fmla="*/ 99999812 w 110"/>
              <a:gd name="T23" fmla="*/ 89906232 h 99"/>
              <a:gd name="T24" fmla="*/ 141935200 w 110"/>
              <a:gd name="T25" fmla="*/ 119298160 h 99"/>
              <a:gd name="T26" fmla="*/ 130644903 w 110"/>
              <a:gd name="T27" fmla="*/ 143504128 h 99"/>
              <a:gd name="T28" fmla="*/ 153225497 w 110"/>
              <a:gd name="T29" fmla="*/ 124485435 h 99"/>
              <a:gd name="T30" fmla="*/ 156451296 w 110"/>
              <a:gd name="T31" fmla="*/ 169437873 h 99"/>
              <a:gd name="T32" fmla="*/ 174193231 w 110"/>
              <a:gd name="T33" fmla="*/ 160793729 h 99"/>
              <a:gd name="T34" fmla="*/ 175806131 w 110"/>
              <a:gd name="T35" fmla="*/ 127943618 h 99"/>
              <a:gd name="T36" fmla="*/ 133870703 w 110"/>
              <a:gd name="T37" fmla="*/ 108924925 h 99"/>
              <a:gd name="T38" fmla="*/ 56451504 w 110"/>
              <a:gd name="T39" fmla="*/ 0 h 99"/>
              <a:gd name="T40" fmla="*/ 11290302 w 110"/>
              <a:gd name="T41" fmla="*/ 31121030 h 99"/>
              <a:gd name="T42" fmla="*/ 0 w 110"/>
              <a:gd name="T43" fmla="*/ 17289607 h 99"/>
              <a:gd name="T44" fmla="*/ 0 w 110"/>
              <a:gd name="T45" fmla="*/ 1728960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0"/>
              <a:gd name="T70" fmla="*/ 0 h 99"/>
              <a:gd name="T71" fmla="*/ 110 w 110"/>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0" h="99">
                <a:moveTo>
                  <a:pt x="0" y="10"/>
                </a:moveTo>
                <a:lnTo>
                  <a:pt x="0" y="10"/>
                </a:lnTo>
                <a:lnTo>
                  <a:pt x="4" y="24"/>
                </a:lnTo>
                <a:lnTo>
                  <a:pt x="19" y="30"/>
                </a:lnTo>
                <a:lnTo>
                  <a:pt x="26" y="25"/>
                </a:lnTo>
                <a:lnTo>
                  <a:pt x="13" y="18"/>
                </a:lnTo>
                <a:lnTo>
                  <a:pt x="26" y="18"/>
                </a:lnTo>
                <a:lnTo>
                  <a:pt x="37" y="30"/>
                </a:lnTo>
                <a:lnTo>
                  <a:pt x="34" y="9"/>
                </a:lnTo>
                <a:lnTo>
                  <a:pt x="43" y="28"/>
                </a:lnTo>
                <a:lnTo>
                  <a:pt x="66" y="39"/>
                </a:lnTo>
                <a:lnTo>
                  <a:pt x="62" y="52"/>
                </a:lnTo>
                <a:lnTo>
                  <a:pt x="88" y="69"/>
                </a:lnTo>
                <a:lnTo>
                  <a:pt x="81" y="83"/>
                </a:lnTo>
                <a:lnTo>
                  <a:pt x="95" y="72"/>
                </a:lnTo>
                <a:lnTo>
                  <a:pt x="97" y="98"/>
                </a:lnTo>
                <a:lnTo>
                  <a:pt x="108" y="93"/>
                </a:lnTo>
                <a:lnTo>
                  <a:pt x="109" y="74"/>
                </a:lnTo>
                <a:lnTo>
                  <a:pt x="83" y="63"/>
                </a:lnTo>
                <a:lnTo>
                  <a:pt x="35" y="0"/>
                </a:lnTo>
                <a:lnTo>
                  <a:pt x="7" y="18"/>
                </a:lnTo>
                <a:lnTo>
                  <a:pt x="0" y="1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78" name="Freeform 577"/>
          <p:cNvSpPr>
            <a:spLocks/>
          </p:cNvSpPr>
          <p:nvPr/>
        </p:nvSpPr>
        <p:spPr bwMode="auto">
          <a:xfrm>
            <a:off x="1149365" y="2702489"/>
            <a:ext cx="34692" cy="28110"/>
          </a:xfrm>
          <a:custGeom>
            <a:avLst/>
            <a:gdLst>
              <a:gd name="T0" fmla="*/ 0 w 20"/>
              <a:gd name="T1" fmla="*/ 0 h 16"/>
              <a:gd name="T2" fmla="*/ 0 w 20"/>
              <a:gd name="T3" fmla="*/ 0 h 16"/>
              <a:gd name="T4" fmla="*/ 9677399 w 20"/>
              <a:gd name="T5" fmla="*/ 28942503 h 16"/>
              <a:gd name="T6" fmla="*/ 11290301 w 20"/>
              <a:gd name="T7" fmla="*/ 13505854 h 16"/>
              <a:gd name="T8" fmla="*/ 30645098 w 20"/>
              <a:gd name="T9" fmla="*/ 27013096 h 16"/>
              <a:gd name="T10" fmla="*/ 12903200 w 20"/>
              <a:gd name="T11" fmla="*/ 13505854 h 16"/>
              <a:gd name="T12" fmla="*/ 29032199 w 20"/>
              <a:gd name="T13" fmla="*/ 3858815 h 16"/>
              <a:gd name="T14" fmla="*/ 0 w 20"/>
              <a:gd name="T15" fmla="*/ 0 h 16"/>
              <a:gd name="T16" fmla="*/ 0 w 20"/>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6"/>
              <a:gd name="T29" fmla="*/ 20 w 20"/>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6">
                <a:moveTo>
                  <a:pt x="0" y="0"/>
                </a:moveTo>
                <a:lnTo>
                  <a:pt x="0" y="0"/>
                </a:lnTo>
                <a:lnTo>
                  <a:pt x="6" y="15"/>
                </a:lnTo>
                <a:lnTo>
                  <a:pt x="7" y="7"/>
                </a:lnTo>
                <a:lnTo>
                  <a:pt x="19" y="14"/>
                </a:lnTo>
                <a:lnTo>
                  <a:pt x="8" y="7"/>
                </a:lnTo>
                <a:lnTo>
                  <a:pt x="18" y="2"/>
                </a:lnTo>
                <a:lnTo>
                  <a:pt x="0" y="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79" name="Freeform 578"/>
          <p:cNvSpPr>
            <a:spLocks/>
          </p:cNvSpPr>
          <p:nvPr/>
        </p:nvSpPr>
        <p:spPr bwMode="auto">
          <a:xfrm>
            <a:off x="1162375" y="2724577"/>
            <a:ext cx="21682" cy="42165"/>
          </a:xfrm>
          <a:custGeom>
            <a:avLst/>
            <a:gdLst>
              <a:gd name="T0" fmla="*/ 0 w 12"/>
              <a:gd name="T1" fmla="*/ 0 h 25"/>
              <a:gd name="T2" fmla="*/ 0 w 12"/>
              <a:gd name="T3" fmla="*/ 0 h 25"/>
              <a:gd name="T4" fmla="*/ 17500864 w 12"/>
              <a:gd name="T5" fmla="*/ 7112783 h 25"/>
              <a:gd name="T6" fmla="*/ 19251082 w 12"/>
              <a:gd name="T7" fmla="*/ 42676691 h 25"/>
              <a:gd name="T8" fmla="*/ 0 w 12"/>
              <a:gd name="T9" fmla="*/ 0 h 25"/>
              <a:gd name="T10" fmla="*/ 0 w 12"/>
              <a:gd name="T11" fmla="*/ 0 h 25"/>
              <a:gd name="T12" fmla="*/ 0 60000 65536"/>
              <a:gd name="T13" fmla="*/ 0 60000 65536"/>
              <a:gd name="T14" fmla="*/ 0 60000 65536"/>
              <a:gd name="T15" fmla="*/ 0 60000 65536"/>
              <a:gd name="T16" fmla="*/ 0 60000 65536"/>
              <a:gd name="T17" fmla="*/ 0 60000 65536"/>
              <a:gd name="T18" fmla="*/ 0 w 12"/>
              <a:gd name="T19" fmla="*/ 0 h 25"/>
              <a:gd name="T20" fmla="*/ 12 w 12"/>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2" h="25">
                <a:moveTo>
                  <a:pt x="0" y="0"/>
                </a:moveTo>
                <a:lnTo>
                  <a:pt x="0" y="0"/>
                </a:lnTo>
                <a:lnTo>
                  <a:pt x="10" y="4"/>
                </a:lnTo>
                <a:lnTo>
                  <a:pt x="11" y="24"/>
                </a:lnTo>
                <a:lnTo>
                  <a:pt x="0" y="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80" name="Freeform 579"/>
          <p:cNvSpPr>
            <a:spLocks/>
          </p:cNvSpPr>
          <p:nvPr/>
        </p:nvSpPr>
        <p:spPr bwMode="auto">
          <a:xfrm>
            <a:off x="1184057" y="2704498"/>
            <a:ext cx="28186" cy="28110"/>
          </a:xfrm>
          <a:custGeom>
            <a:avLst/>
            <a:gdLst>
              <a:gd name="T0" fmla="*/ 0 w 15"/>
              <a:gd name="T1" fmla="*/ 0 h 16"/>
              <a:gd name="T2" fmla="*/ 0 w 15"/>
              <a:gd name="T3" fmla="*/ 0 h 16"/>
              <a:gd name="T4" fmla="*/ 5677928 w 15"/>
              <a:gd name="T5" fmla="*/ 28942503 h 16"/>
              <a:gd name="T6" fmla="*/ 20821357 w 15"/>
              <a:gd name="T7" fmla="*/ 28942503 h 16"/>
              <a:gd name="T8" fmla="*/ 13250332 w 15"/>
              <a:gd name="T9" fmla="*/ 3858815 h 16"/>
              <a:gd name="T10" fmla="*/ 26499288 w 15"/>
              <a:gd name="T11" fmla="*/ 21224870 h 16"/>
              <a:gd name="T12" fmla="*/ 15142056 w 15"/>
              <a:gd name="T13" fmla="*/ 0 h 16"/>
              <a:gd name="T14" fmla="*/ 0 w 15"/>
              <a:gd name="T15" fmla="*/ 0 h 16"/>
              <a:gd name="T16" fmla="*/ 0 w 15"/>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6"/>
              <a:gd name="T29" fmla="*/ 15 w 15"/>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6">
                <a:moveTo>
                  <a:pt x="0" y="0"/>
                </a:moveTo>
                <a:lnTo>
                  <a:pt x="0" y="0"/>
                </a:lnTo>
                <a:lnTo>
                  <a:pt x="3" y="15"/>
                </a:lnTo>
                <a:lnTo>
                  <a:pt x="11" y="15"/>
                </a:lnTo>
                <a:lnTo>
                  <a:pt x="7" y="2"/>
                </a:lnTo>
                <a:lnTo>
                  <a:pt x="14" y="11"/>
                </a:lnTo>
                <a:lnTo>
                  <a:pt x="8" y="0"/>
                </a:lnTo>
                <a:lnTo>
                  <a:pt x="0" y="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81" name="Freeform 580"/>
          <p:cNvSpPr>
            <a:spLocks/>
          </p:cNvSpPr>
          <p:nvPr/>
        </p:nvSpPr>
        <p:spPr bwMode="auto">
          <a:xfrm>
            <a:off x="1205741" y="2740640"/>
            <a:ext cx="19513" cy="18070"/>
          </a:xfrm>
          <a:custGeom>
            <a:avLst/>
            <a:gdLst>
              <a:gd name="T0" fmla="*/ 0 w 13"/>
              <a:gd name="T1" fmla="*/ 0 h 11"/>
              <a:gd name="T2" fmla="*/ 0 w 13"/>
              <a:gd name="T3" fmla="*/ 0 h 11"/>
              <a:gd name="T4" fmla="*/ 14493612 w 13"/>
              <a:gd name="T5" fmla="*/ 16869050 h 11"/>
              <a:gd name="T6" fmla="*/ 14493612 w 13"/>
              <a:gd name="T7" fmla="*/ 1687165 h 11"/>
              <a:gd name="T8" fmla="*/ 0 w 13"/>
              <a:gd name="T9" fmla="*/ 0 h 11"/>
              <a:gd name="T10" fmla="*/ 0 w 13"/>
              <a:gd name="T11" fmla="*/ 0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0"/>
                </a:moveTo>
                <a:lnTo>
                  <a:pt x="0" y="0"/>
                </a:lnTo>
                <a:lnTo>
                  <a:pt x="12" y="10"/>
                </a:lnTo>
                <a:lnTo>
                  <a:pt x="12" y="1"/>
                </a:lnTo>
                <a:lnTo>
                  <a:pt x="0" y="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82" name="Freeform 581"/>
          <p:cNvSpPr>
            <a:spLocks/>
          </p:cNvSpPr>
          <p:nvPr/>
        </p:nvSpPr>
        <p:spPr bwMode="auto">
          <a:xfrm>
            <a:off x="1212244" y="2762727"/>
            <a:ext cx="30355" cy="44174"/>
          </a:xfrm>
          <a:custGeom>
            <a:avLst/>
            <a:gdLst>
              <a:gd name="T0" fmla="*/ 0 w 19"/>
              <a:gd name="T1" fmla="*/ 0 h 26"/>
              <a:gd name="T2" fmla="*/ 0 w 19"/>
              <a:gd name="T3" fmla="*/ 0 h 26"/>
              <a:gd name="T4" fmla="*/ 19155607 w 19"/>
              <a:gd name="T5" fmla="*/ 14434772 h 26"/>
              <a:gd name="T6" fmla="*/ 24628808 w 19"/>
              <a:gd name="T7" fmla="*/ 45109675 h 26"/>
              <a:gd name="T8" fmla="*/ 0 w 19"/>
              <a:gd name="T9" fmla="*/ 0 h 26"/>
              <a:gd name="T10" fmla="*/ 0 w 19"/>
              <a:gd name="T11" fmla="*/ 0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0"/>
                </a:moveTo>
                <a:lnTo>
                  <a:pt x="0" y="0"/>
                </a:lnTo>
                <a:lnTo>
                  <a:pt x="14" y="8"/>
                </a:lnTo>
                <a:lnTo>
                  <a:pt x="18" y="25"/>
                </a:lnTo>
                <a:lnTo>
                  <a:pt x="0" y="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83" name="Freeform 582"/>
          <p:cNvSpPr>
            <a:spLocks/>
          </p:cNvSpPr>
          <p:nvPr/>
        </p:nvSpPr>
        <p:spPr bwMode="auto">
          <a:xfrm>
            <a:off x="1257777" y="2776783"/>
            <a:ext cx="19513" cy="22086"/>
          </a:xfrm>
          <a:custGeom>
            <a:avLst/>
            <a:gdLst>
              <a:gd name="T0" fmla="*/ 0 w 10"/>
              <a:gd name="T1" fmla="*/ 10841576 h 15"/>
              <a:gd name="T2" fmla="*/ 0 w 10"/>
              <a:gd name="T3" fmla="*/ 10841576 h 15"/>
              <a:gd name="T4" fmla="*/ 8165020 w 10"/>
              <a:gd name="T5" fmla="*/ 0 h 15"/>
              <a:gd name="T6" fmla="*/ 18370223 w 10"/>
              <a:gd name="T7" fmla="*/ 18973045 h 15"/>
              <a:gd name="T8" fmla="*/ 0 w 10"/>
              <a:gd name="T9" fmla="*/ 10841576 h 15"/>
              <a:gd name="T10" fmla="*/ 0 w 10"/>
              <a:gd name="T11" fmla="*/ 10841576 h 15"/>
              <a:gd name="T12" fmla="*/ 0 60000 65536"/>
              <a:gd name="T13" fmla="*/ 0 60000 65536"/>
              <a:gd name="T14" fmla="*/ 0 60000 65536"/>
              <a:gd name="T15" fmla="*/ 0 60000 65536"/>
              <a:gd name="T16" fmla="*/ 0 60000 65536"/>
              <a:gd name="T17" fmla="*/ 0 60000 65536"/>
              <a:gd name="T18" fmla="*/ 0 w 10"/>
              <a:gd name="T19" fmla="*/ 0 h 15"/>
              <a:gd name="T20" fmla="*/ 10 w 10"/>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0" h="15">
                <a:moveTo>
                  <a:pt x="0" y="8"/>
                </a:moveTo>
                <a:lnTo>
                  <a:pt x="0" y="8"/>
                </a:lnTo>
                <a:lnTo>
                  <a:pt x="4" y="0"/>
                </a:lnTo>
                <a:lnTo>
                  <a:pt x="9" y="14"/>
                </a:lnTo>
                <a:lnTo>
                  <a:pt x="0" y="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84" name="Freeform 583"/>
          <p:cNvSpPr>
            <a:spLocks/>
          </p:cNvSpPr>
          <p:nvPr/>
        </p:nvSpPr>
        <p:spPr bwMode="auto">
          <a:xfrm>
            <a:off x="1420393" y="2971548"/>
            <a:ext cx="1342131" cy="632490"/>
          </a:xfrm>
          <a:custGeom>
            <a:avLst/>
            <a:gdLst>
              <a:gd name="T0" fmla="*/ 0 w 787"/>
              <a:gd name="T1" fmla="*/ 35986208 h 382"/>
              <a:gd name="T2" fmla="*/ 31180509 w 787"/>
              <a:gd name="T3" fmla="*/ 94251414 h 382"/>
              <a:gd name="T4" fmla="*/ 6235603 w 787"/>
              <a:gd name="T5" fmla="*/ 260475223 h 382"/>
              <a:gd name="T6" fmla="*/ 57684942 w 787"/>
              <a:gd name="T7" fmla="*/ 322166221 h 382"/>
              <a:gd name="T8" fmla="*/ 88865460 w 787"/>
              <a:gd name="T9" fmla="*/ 414704110 h 382"/>
              <a:gd name="T10" fmla="*/ 162140632 w 787"/>
              <a:gd name="T11" fmla="*/ 469540844 h 382"/>
              <a:gd name="T12" fmla="*/ 291542490 w 787"/>
              <a:gd name="T13" fmla="*/ 500386343 h 382"/>
              <a:gd name="T14" fmla="*/ 445888036 w 787"/>
              <a:gd name="T15" fmla="*/ 555223077 h 382"/>
              <a:gd name="T16" fmla="*/ 544108107 w 787"/>
              <a:gd name="T17" fmla="*/ 622056083 h 382"/>
              <a:gd name="T18" fmla="*/ 581525455 w 787"/>
              <a:gd name="T19" fmla="*/ 589497017 h 382"/>
              <a:gd name="T20" fmla="*/ 629855728 w 787"/>
              <a:gd name="T21" fmla="*/ 538087416 h 382"/>
              <a:gd name="T22" fmla="*/ 748343529 w 787"/>
              <a:gd name="T23" fmla="*/ 555223077 h 382"/>
              <a:gd name="T24" fmla="*/ 728075955 w 787"/>
              <a:gd name="T25" fmla="*/ 524377578 h 382"/>
              <a:gd name="T26" fmla="*/ 776406228 w 787"/>
              <a:gd name="T27" fmla="*/ 508954173 h 382"/>
              <a:gd name="T28" fmla="*/ 866831174 w 787"/>
              <a:gd name="T29" fmla="*/ 531231842 h 382"/>
              <a:gd name="T30" fmla="*/ 893335597 w 787"/>
              <a:gd name="T31" fmla="*/ 596351282 h 382"/>
              <a:gd name="T32" fmla="*/ 938548070 w 787"/>
              <a:gd name="T33" fmla="*/ 651188016 h 382"/>
              <a:gd name="T34" fmla="*/ 916720971 w 787"/>
              <a:gd name="T35" fmla="*/ 508954173 h 382"/>
              <a:gd name="T36" fmla="*/ 1041444217 w 787"/>
              <a:gd name="T37" fmla="*/ 387285743 h 382"/>
              <a:gd name="T38" fmla="*/ 1039885941 w 787"/>
              <a:gd name="T39" fmla="*/ 375289471 h 382"/>
              <a:gd name="T40" fmla="*/ 1028971767 w 787"/>
              <a:gd name="T41" fmla="*/ 325593353 h 382"/>
              <a:gd name="T42" fmla="*/ 1028971767 w 787"/>
              <a:gd name="T43" fmla="*/ 320452655 h 382"/>
              <a:gd name="T44" fmla="*/ 1036768141 w 787"/>
              <a:gd name="T45" fmla="*/ 282752891 h 382"/>
              <a:gd name="T46" fmla="*/ 1055476190 w 787"/>
              <a:gd name="T47" fmla="*/ 308457692 h 382"/>
              <a:gd name="T48" fmla="*/ 1057035715 w 787"/>
              <a:gd name="T49" fmla="*/ 296461420 h 382"/>
              <a:gd name="T50" fmla="*/ 1164609186 w 787"/>
              <a:gd name="T51" fmla="*/ 222775459 h 382"/>
              <a:gd name="T52" fmla="*/ 1158373586 w 787"/>
              <a:gd name="T53" fmla="*/ 167937375 h 382"/>
              <a:gd name="T54" fmla="*/ 1225411908 w 787"/>
              <a:gd name="T55" fmla="*/ 123383347 h 382"/>
              <a:gd name="T56" fmla="*/ 1209821659 w 787"/>
              <a:gd name="T57" fmla="*/ 71973725 h 382"/>
              <a:gd name="T58" fmla="*/ 1147459412 w 787"/>
              <a:gd name="T59" fmla="*/ 121669781 h 382"/>
              <a:gd name="T60" fmla="*/ 1032090816 w 787"/>
              <a:gd name="T61" fmla="*/ 171365816 h 382"/>
              <a:gd name="T62" fmla="*/ 974405894 w 787"/>
              <a:gd name="T63" fmla="*/ 190215085 h 382"/>
              <a:gd name="T64" fmla="*/ 885540472 w 787"/>
              <a:gd name="T65" fmla="*/ 226202591 h 382"/>
              <a:gd name="T66" fmla="*/ 888658272 w 787"/>
              <a:gd name="T67" fmla="*/ 203924923 h 382"/>
              <a:gd name="T68" fmla="*/ 898012922 w 787"/>
              <a:gd name="T69" fmla="*/ 185074386 h 382"/>
              <a:gd name="T70" fmla="*/ 866831174 w 787"/>
              <a:gd name="T71" fmla="*/ 167937375 h 382"/>
              <a:gd name="T72" fmla="*/ 841886275 w 787"/>
              <a:gd name="T73" fmla="*/ 109673509 h 382"/>
              <a:gd name="T74" fmla="*/ 807587976 w 787"/>
              <a:gd name="T75" fmla="*/ 217633452 h 382"/>
              <a:gd name="T76" fmla="*/ 781083553 w 787"/>
              <a:gd name="T77" fmla="*/ 183360820 h 382"/>
              <a:gd name="T78" fmla="*/ 782643077 w 787"/>
              <a:gd name="T79" fmla="*/ 133664744 h 382"/>
              <a:gd name="T80" fmla="*/ 865272898 w 787"/>
              <a:gd name="T81" fmla="*/ 101105678 h 382"/>
              <a:gd name="T82" fmla="*/ 851240924 w 787"/>
              <a:gd name="T83" fmla="*/ 85682254 h 382"/>
              <a:gd name="T84" fmla="*/ 782643077 w 787"/>
              <a:gd name="T85" fmla="*/ 58263887 h 382"/>
              <a:gd name="T86" fmla="*/ 692218131 w 787"/>
              <a:gd name="T87" fmla="*/ 83968688 h 382"/>
              <a:gd name="T88" fmla="*/ 639210377 w 787"/>
              <a:gd name="T89" fmla="*/ 20564108 h 382"/>
              <a:gd name="T90" fmla="*/ 625178404 w 787"/>
              <a:gd name="T91" fmla="*/ 13709843 h 382"/>
              <a:gd name="T92" fmla="*/ 51448093 w 787"/>
              <a:gd name="T93" fmla="*/ 39414649 h 382"/>
              <a:gd name="T94" fmla="*/ 42094692 w 787"/>
              <a:gd name="T95" fmla="*/ 37699774 h 382"/>
              <a:gd name="T96" fmla="*/ 0 w 787"/>
              <a:gd name="T97" fmla="*/ 35986208 h 3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87"/>
              <a:gd name="T148" fmla="*/ 0 h 382"/>
              <a:gd name="T149" fmla="*/ 787 w 787"/>
              <a:gd name="T150" fmla="*/ 382 h 3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87" h="382">
                <a:moveTo>
                  <a:pt x="0" y="21"/>
                </a:moveTo>
                <a:lnTo>
                  <a:pt x="0" y="21"/>
                </a:lnTo>
                <a:lnTo>
                  <a:pt x="9" y="52"/>
                </a:lnTo>
                <a:lnTo>
                  <a:pt x="20" y="55"/>
                </a:lnTo>
                <a:lnTo>
                  <a:pt x="11" y="57"/>
                </a:lnTo>
                <a:lnTo>
                  <a:pt x="4" y="152"/>
                </a:lnTo>
                <a:lnTo>
                  <a:pt x="24" y="188"/>
                </a:lnTo>
                <a:lnTo>
                  <a:pt x="37" y="188"/>
                </a:lnTo>
                <a:lnTo>
                  <a:pt x="32" y="202"/>
                </a:lnTo>
                <a:lnTo>
                  <a:pt x="57" y="242"/>
                </a:lnTo>
                <a:lnTo>
                  <a:pt x="83" y="251"/>
                </a:lnTo>
                <a:lnTo>
                  <a:pt x="104" y="274"/>
                </a:lnTo>
                <a:lnTo>
                  <a:pt x="135" y="271"/>
                </a:lnTo>
                <a:lnTo>
                  <a:pt x="187" y="292"/>
                </a:lnTo>
                <a:lnTo>
                  <a:pt x="249" y="284"/>
                </a:lnTo>
                <a:lnTo>
                  <a:pt x="286" y="324"/>
                </a:lnTo>
                <a:lnTo>
                  <a:pt x="315" y="314"/>
                </a:lnTo>
                <a:lnTo>
                  <a:pt x="349" y="363"/>
                </a:lnTo>
                <a:lnTo>
                  <a:pt x="376" y="372"/>
                </a:lnTo>
                <a:lnTo>
                  <a:pt x="373" y="344"/>
                </a:lnTo>
                <a:lnTo>
                  <a:pt x="401" y="327"/>
                </a:lnTo>
                <a:lnTo>
                  <a:pt x="404" y="314"/>
                </a:lnTo>
                <a:lnTo>
                  <a:pt x="445" y="314"/>
                </a:lnTo>
                <a:lnTo>
                  <a:pt x="480" y="324"/>
                </a:lnTo>
                <a:lnTo>
                  <a:pt x="481" y="308"/>
                </a:lnTo>
                <a:lnTo>
                  <a:pt x="467" y="306"/>
                </a:lnTo>
                <a:lnTo>
                  <a:pt x="497" y="305"/>
                </a:lnTo>
                <a:lnTo>
                  <a:pt x="498" y="297"/>
                </a:lnTo>
                <a:lnTo>
                  <a:pt x="501" y="307"/>
                </a:lnTo>
                <a:lnTo>
                  <a:pt x="556" y="310"/>
                </a:lnTo>
                <a:lnTo>
                  <a:pt x="571" y="324"/>
                </a:lnTo>
                <a:lnTo>
                  <a:pt x="573" y="348"/>
                </a:lnTo>
                <a:lnTo>
                  <a:pt x="591" y="381"/>
                </a:lnTo>
                <a:lnTo>
                  <a:pt x="602" y="380"/>
                </a:lnTo>
                <a:lnTo>
                  <a:pt x="606" y="355"/>
                </a:lnTo>
                <a:lnTo>
                  <a:pt x="588" y="297"/>
                </a:lnTo>
                <a:lnTo>
                  <a:pt x="599" y="273"/>
                </a:lnTo>
                <a:lnTo>
                  <a:pt x="668" y="226"/>
                </a:lnTo>
                <a:lnTo>
                  <a:pt x="655" y="221"/>
                </a:lnTo>
                <a:lnTo>
                  <a:pt x="667" y="219"/>
                </a:lnTo>
                <a:lnTo>
                  <a:pt x="657" y="204"/>
                </a:lnTo>
                <a:lnTo>
                  <a:pt x="660" y="190"/>
                </a:lnTo>
                <a:lnTo>
                  <a:pt x="646" y="180"/>
                </a:lnTo>
                <a:lnTo>
                  <a:pt x="660" y="187"/>
                </a:lnTo>
                <a:lnTo>
                  <a:pt x="655" y="170"/>
                </a:lnTo>
                <a:lnTo>
                  <a:pt x="665" y="165"/>
                </a:lnTo>
                <a:lnTo>
                  <a:pt x="667" y="202"/>
                </a:lnTo>
                <a:lnTo>
                  <a:pt x="677" y="180"/>
                </a:lnTo>
                <a:lnTo>
                  <a:pt x="671" y="163"/>
                </a:lnTo>
                <a:lnTo>
                  <a:pt x="678" y="173"/>
                </a:lnTo>
                <a:lnTo>
                  <a:pt x="692" y="143"/>
                </a:lnTo>
                <a:lnTo>
                  <a:pt x="747" y="130"/>
                </a:lnTo>
                <a:lnTo>
                  <a:pt x="733" y="121"/>
                </a:lnTo>
                <a:lnTo>
                  <a:pt x="743" y="98"/>
                </a:lnTo>
                <a:lnTo>
                  <a:pt x="785" y="81"/>
                </a:lnTo>
                <a:lnTo>
                  <a:pt x="786" y="72"/>
                </a:lnTo>
                <a:lnTo>
                  <a:pt x="776" y="64"/>
                </a:lnTo>
                <a:lnTo>
                  <a:pt x="776" y="42"/>
                </a:lnTo>
                <a:lnTo>
                  <a:pt x="753" y="35"/>
                </a:lnTo>
                <a:lnTo>
                  <a:pt x="736" y="71"/>
                </a:lnTo>
                <a:lnTo>
                  <a:pt x="667" y="84"/>
                </a:lnTo>
                <a:lnTo>
                  <a:pt x="662" y="100"/>
                </a:lnTo>
                <a:lnTo>
                  <a:pt x="622" y="106"/>
                </a:lnTo>
                <a:lnTo>
                  <a:pt x="625" y="111"/>
                </a:lnTo>
                <a:lnTo>
                  <a:pt x="585" y="133"/>
                </a:lnTo>
                <a:lnTo>
                  <a:pt x="568" y="132"/>
                </a:lnTo>
                <a:lnTo>
                  <a:pt x="567" y="126"/>
                </a:lnTo>
                <a:lnTo>
                  <a:pt x="570" y="119"/>
                </a:lnTo>
                <a:lnTo>
                  <a:pt x="574" y="114"/>
                </a:lnTo>
                <a:lnTo>
                  <a:pt x="576" y="108"/>
                </a:lnTo>
                <a:lnTo>
                  <a:pt x="570" y="91"/>
                </a:lnTo>
                <a:lnTo>
                  <a:pt x="556" y="98"/>
                </a:lnTo>
                <a:lnTo>
                  <a:pt x="561" y="71"/>
                </a:lnTo>
                <a:lnTo>
                  <a:pt x="540" y="64"/>
                </a:lnTo>
                <a:lnTo>
                  <a:pt x="524" y="81"/>
                </a:lnTo>
                <a:lnTo>
                  <a:pt x="518" y="127"/>
                </a:lnTo>
                <a:lnTo>
                  <a:pt x="505" y="128"/>
                </a:lnTo>
                <a:lnTo>
                  <a:pt x="501" y="107"/>
                </a:lnTo>
                <a:lnTo>
                  <a:pt x="511" y="72"/>
                </a:lnTo>
                <a:lnTo>
                  <a:pt x="502" y="78"/>
                </a:lnTo>
                <a:lnTo>
                  <a:pt x="519" y="60"/>
                </a:lnTo>
                <a:lnTo>
                  <a:pt x="555" y="59"/>
                </a:lnTo>
                <a:lnTo>
                  <a:pt x="549" y="50"/>
                </a:lnTo>
                <a:lnTo>
                  <a:pt x="546" y="50"/>
                </a:lnTo>
                <a:lnTo>
                  <a:pt x="493" y="45"/>
                </a:lnTo>
                <a:lnTo>
                  <a:pt x="502" y="34"/>
                </a:lnTo>
                <a:lnTo>
                  <a:pt x="469" y="49"/>
                </a:lnTo>
                <a:lnTo>
                  <a:pt x="444" y="49"/>
                </a:lnTo>
                <a:lnTo>
                  <a:pt x="475" y="25"/>
                </a:lnTo>
                <a:lnTo>
                  <a:pt x="410" y="12"/>
                </a:lnTo>
                <a:lnTo>
                  <a:pt x="402" y="0"/>
                </a:lnTo>
                <a:lnTo>
                  <a:pt x="401" y="8"/>
                </a:lnTo>
                <a:lnTo>
                  <a:pt x="25" y="8"/>
                </a:lnTo>
                <a:lnTo>
                  <a:pt x="33" y="23"/>
                </a:lnTo>
                <a:lnTo>
                  <a:pt x="24" y="35"/>
                </a:lnTo>
                <a:lnTo>
                  <a:pt x="27" y="22"/>
                </a:lnTo>
                <a:lnTo>
                  <a:pt x="0" y="21"/>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85" name="Freeform 584"/>
          <p:cNvSpPr>
            <a:spLocks/>
          </p:cNvSpPr>
          <p:nvPr/>
        </p:nvSpPr>
        <p:spPr bwMode="auto">
          <a:xfrm>
            <a:off x="8683936" y="2517762"/>
            <a:ext cx="75889" cy="24095"/>
          </a:xfrm>
          <a:custGeom>
            <a:avLst/>
            <a:gdLst>
              <a:gd name="T0" fmla="*/ 0 w 43"/>
              <a:gd name="T1" fmla="*/ 7406368 h 14"/>
              <a:gd name="T2" fmla="*/ 0 w 43"/>
              <a:gd name="T3" fmla="*/ 7406368 h 14"/>
              <a:gd name="T4" fmla="*/ 41742022 w 43"/>
              <a:gd name="T5" fmla="*/ 0 h 14"/>
              <a:gd name="T6" fmla="*/ 70126962 w 43"/>
              <a:gd name="T7" fmla="*/ 11108871 h 14"/>
              <a:gd name="T8" fmla="*/ 55099114 w 43"/>
              <a:gd name="T9" fmla="*/ 24069679 h 14"/>
              <a:gd name="T10" fmla="*/ 0 w 43"/>
              <a:gd name="T11" fmla="*/ 7406368 h 14"/>
              <a:gd name="T12" fmla="*/ 0 w 43"/>
              <a:gd name="T13" fmla="*/ 7406368 h 14"/>
              <a:gd name="T14" fmla="*/ 0 60000 65536"/>
              <a:gd name="T15" fmla="*/ 0 60000 65536"/>
              <a:gd name="T16" fmla="*/ 0 60000 65536"/>
              <a:gd name="T17" fmla="*/ 0 60000 65536"/>
              <a:gd name="T18" fmla="*/ 0 60000 65536"/>
              <a:gd name="T19" fmla="*/ 0 60000 65536"/>
              <a:gd name="T20" fmla="*/ 0 60000 65536"/>
              <a:gd name="T21" fmla="*/ 0 w 43"/>
              <a:gd name="T22" fmla="*/ 0 h 14"/>
              <a:gd name="T23" fmla="*/ 43 w 43"/>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4">
                <a:moveTo>
                  <a:pt x="0" y="4"/>
                </a:moveTo>
                <a:lnTo>
                  <a:pt x="0" y="4"/>
                </a:lnTo>
                <a:lnTo>
                  <a:pt x="25" y="0"/>
                </a:lnTo>
                <a:lnTo>
                  <a:pt x="42" y="6"/>
                </a:lnTo>
                <a:lnTo>
                  <a:pt x="33" y="13"/>
                </a:lnTo>
                <a:lnTo>
                  <a:pt x="0" y="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12" name="Freeform 711"/>
          <p:cNvSpPr>
            <a:spLocks/>
          </p:cNvSpPr>
          <p:nvPr/>
        </p:nvSpPr>
        <p:spPr bwMode="auto">
          <a:xfrm>
            <a:off x="2754355" y="3757353"/>
            <a:ext cx="35846" cy="13217"/>
          </a:xfrm>
          <a:custGeom>
            <a:avLst/>
            <a:gdLst>
              <a:gd name="T0" fmla="*/ 0 w 21"/>
              <a:gd name="T1" fmla="*/ 0 h 8"/>
              <a:gd name="T2" fmla="*/ 0 w 21"/>
              <a:gd name="T3" fmla="*/ 0 h 8"/>
              <a:gd name="T4" fmla="*/ 2 w 21"/>
              <a:gd name="T5" fmla="*/ 7 h 8"/>
              <a:gd name="T6" fmla="*/ 20 w 21"/>
              <a:gd name="T7" fmla="*/ 4 h 8"/>
              <a:gd name="T8" fmla="*/ 0 w 21"/>
              <a:gd name="T9" fmla="*/ 0 h 8"/>
              <a:gd name="T10" fmla="*/ 0 w 21"/>
              <a:gd name="T11" fmla="*/ 0 h 8"/>
              <a:gd name="T12" fmla="*/ 0 60000 65536"/>
              <a:gd name="T13" fmla="*/ 0 60000 65536"/>
              <a:gd name="T14" fmla="*/ 0 60000 65536"/>
              <a:gd name="T15" fmla="*/ 0 60000 65536"/>
              <a:gd name="T16" fmla="*/ 0 60000 65536"/>
              <a:gd name="T17" fmla="*/ 0 60000 65536"/>
              <a:gd name="T18" fmla="*/ 0 w 21"/>
              <a:gd name="T19" fmla="*/ 0 h 8"/>
              <a:gd name="T20" fmla="*/ 21 w 21"/>
              <a:gd name="T21" fmla="*/ 8 h 8"/>
            </a:gdLst>
            <a:ahLst/>
            <a:cxnLst>
              <a:cxn ang="T12">
                <a:pos x="T0" y="T1"/>
              </a:cxn>
              <a:cxn ang="T13">
                <a:pos x="T2" y="T3"/>
              </a:cxn>
              <a:cxn ang="T14">
                <a:pos x="T4" y="T5"/>
              </a:cxn>
              <a:cxn ang="T15">
                <a:pos x="T6" y="T7"/>
              </a:cxn>
              <a:cxn ang="T16">
                <a:pos x="T8" y="T9"/>
              </a:cxn>
              <a:cxn ang="T17">
                <a:pos x="T10" y="T11"/>
              </a:cxn>
            </a:cxnLst>
            <a:rect l="T18" t="T19" r="T20" b="T21"/>
            <a:pathLst>
              <a:path w="21" h="8">
                <a:moveTo>
                  <a:pt x="0" y="0"/>
                </a:moveTo>
                <a:lnTo>
                  <a:pt x="0" y="0"/>
                </a:lnTo>
                <a:lnTo>
                  <a:pt x="2" y="7"/>
                </a:lnTo>
                <a:lnTo>
                  <a:pt x="20" y="4"/>
                </a:lnTo>
                <a:lnTo>
                  <a:pt x="0" y="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13" name="Freeform 712"/>
          <p:cNvSpPr>
            <a:spLocks/>
          </p:cNvSpPr>
          <p:nvPr/>
        </p:nvSpPr>
        <p:spPr bwMode="auto">
          <a:xfrm>
            <a:off x="2610971" y="4670998"/>
            <a:ext cx="460876" cy="794690"/>
          </a:xfrm>
          <a:custGeom>
            <a:avLst/>
            <a:gdLst>
              <a:gd name="T0" fmla="*/ 0 w 270"/>
              <a:gd name="T1" fmla="*/ 444 h 481"/>
              <a:gd name="T2" fmla="*/ 0 w 270"/>
              <a:gd name="T3" fmla="*/ 444 h 481"/>
              <a:gd name="T4" fmla="*/ 3 w 270"/>
              <a:gd name="T5" fmla="*/ 455 h 481"/>
              <a:gd name="T6" fmla="*/ 14 w 270"/>
              <a:gd name="T7" fmla="*/ 451 h 481"/>
              <a:gd name="T8" fmla="*/ 18 w 270"/>
              <a:gd name="T9" fmla="*/ 475 h 481"/>
              <a:gd name="T10" fmla="*/ 68 w 270"/>
              <a:gd name="T11" fmla="*/ 480 h 481"/>
              <a:gd name="T12" fmla="*/ 54 w 270"/>
              <a:gd name="T13" fmla="*/ 468 h 481"/>
              <a:gd name="T14" fmla="*/ 64 w 270"/>
              <a:gd name="T15" fmla="*/ 435 h 481"/>
              <a:gd name="T16" fmla="*/ 74 w 270"/>
              <a:gd name="T17" fmla="*/ 442 h 481"/>
              <a:gd name="T18" fmla="*/ 105 w 270"/>
              <a:gd name="T19" fmla="*/ 396 h 481"/>
              <a:gd name="T20" fmla="*/ 81 w 270"/>
              <a:gd name="T21" fmla="*/ 370 h 481"/>
              <a:gd name="T22" fmla="*/ 108 w 270"/>
              <a:gd name="T23" fmla="*/ 354 h 481"/>
              <a:gd name="T24" fmla="*/ 112 w 270"/>
              <a:gd name="T25" fmla="*/ 331 h 481"/>
              <a:gd name="T26" fmla="*/ 124 w 270"/>
              <a:gd name="T27" fmla="*/ 320 h 481"/>
              <a:gd name="T28" fmla="*/ 113 w 270"/>
              <a:gd name="T29" fmla="*/ 316 h 481"/>
              <a:gd name="T30" fmla="*/ 134 w 270"/>
              <a:gd name="T31" fmla="*/ 316 h 481"/>
              <a:gd name="T32" fmla="*/ 131 w 270"/>
              <a:gd name="T33" fmla="*/ 305 h 481"/>
              <a:gd name="T34" fmla="*/ 122 w 270"/>
              <a:gd name="T35" fmla="*/ 312 h 481"/>
              <a:gd name="T36" fmla="*/ 113 w 270"/>
              <a:gd name="T37" fmla="*/ 304 h 481"/>
              <a:gd name="T38" fmla="*/ 112 w 270"/>
              <a:gd name="T39" fmla="*/ 287 h 481"/>
              <a:gd name="T40" fmla="*/ 149 w 270"/>
              <a:gd name="T41" fmla="*/ 288 h 481"/>
              <a:gd name="T42" fmla="*/ 152 w 270"/>
              <a:gd name="T43" fmla="*/ 253 h 481"/>
              <a:gd name="T44" fmla="*/ 210 w 270"/>
              <a:gd name="T45" fmla="*/ 247 h 481"/>
              <a:gd name="T46" fmla="*/ 227 w 270"/>
              <a:gd name="T47" fmla="*/ 223 h 481"/>
              <a:gd name="T48" fmla="*/ 204 w 270"/>
              <a:gd name="T49" fmla="*/ 178 h 481"/>
              <a:gd name="T50" fmla="*/ 216 w 270"/>
              <a:gd name="T51" fmla="*/ 122 h 481"/>
              <a:gd name="T52" fmla="*/ 269 w 270"/>
              <a:gd name="T53" fmla="*/ 76 h 481"/>
              <a:gd name="T54" fmla="*/ 267 w 270"/>
              <a:gd name="T55" fmla="*/ 55 h 481"/>
              <a:gd name="T56" fmla="*/ 256 w 270"/>
              <a:gd name="T57" fmla="*/ 55 h 481"/>
              <a:gd name="T58" fmla="*/ 242 w 270"/>
              <a:gd name="T59" fmla="*/ 79 h 481"/>
              <a:gd name="T60" fmla="*/ 205 w 270"/>
              <a:gd name="T61" fmla="*/ 78 h 481"/>
              <a:gd name="T62" fmla="*/ 213 w 270"/>
              <a:gd name="T63" fmla="*/ 50 h 481"/>
              <a:gd name="T64" fmla="*/ 147 w 270"/>
              <a:gd name="T65" fmla="*/ 7 h 481"/>
              <a:gd name="T66" fmla="*/ 125 w 270"/>
              <a:gd name="T67" fmla="*/ 3 h 481"/>
              <a:gd name="T68" fmla="*/ 123 w 270"/>
              <a:gd name="T69" fmla="*/ 12 h 481"/>
              <a:gd name="T70" fmla="*/ 98 w 270"/>
              <a:gd name="T71" fmla="*/ 0 h 481"/>
              <a:gd name="T72" fmla="*/ 84 w 270"/>
              <a:gd name="T73" fmla="*/ 15 h 481"/>
              <a:gd name="T74" fmla="*/ 82 w 270"/>
              <a:gd name="T75" fmla="*/ 32 h 481"/>
              <a:gd name="T76" fmla="*/ 67 w 270"/>
              <a:gd name="T77" fmla="*/ 39 h 481"/>
              <a:gd name="T78" fmla="*/ 68 w 270"/>
              <a:gd name="T79" fmla="*/ 73 h 481"/>
              <a:gd name="T80" fmla="*/ 51 w 270"/>
              <a:gd name="T81" fmla="*/ 91 h 481"/>
              <a:gd name="T82" fmla="*/ 39 w 270"/>
              <a:gd name="T83" fmla="*/ 138 h 481"/>
              <a:gd name="T84" fmla="*/ 48 w 270"/>
              <a:gd name="T85" fmla="*/ 182 h 481"/>
              <a:gd name="T86" fmla="*/ 31 w 270"/>
              <a:gd name="T87" fmla="*/ 220 h 481"/>
              <a:gd name="T88" fmla="*/ 18 w 270"/>
              <a:gd name="T89" fmla="*/ 313 h 481"/>
              <a:gd name="T90" fmla="*/ 28 w 270"/>
              <a:gd name="T91" fmla="*/ 348 h 481"/>
              <a:gd name="T92" fmla="*/ 19 w 270"/>
              <a:gd name="T93" fmla="*/ 351 h 481"/>
              <a:gd name="T94" fmla="*/ 23 w 270"/>
              <a:gd name="T95" fmla="*/ 381 h 481"/>
              <a:gd name="T96" fmla="*/ 0 w 270"/>
              <a:gd name="T97" fmla="*/ 444 h 481"/>
              <a:gd name="T98" fmla="*/ 0 w 270"/>
              <a:gd name="T99" fmla="*/ 444 h 48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0"/>
              <a:gd name="T151" fmla="*/ 0 h 481"/>
              <a:gd name="T152" fmla="*/ 270 w 270"/>
              <a:gd name="T153" fmla="*/ 481 h 48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0" h="481">
                <a:moveTo>
                  <a:pt x="0" y="444"/>
                </a:moveTo>
                <a:lnTo>
                  <a:pt x="0" y="444"/>
                </a:lnTo>
                <a:lnTo>
                  <a:pt x="3" y="455"/>
                </a:lnTo>
                <a:lnTo>
                  <a:pt x="14" y="451"/>
                </a:lnTo>
                <a:lnTo>
                  <a:pt x="18" y="475"/>
                </a:lnTo>
                <a:lnTo>
                  <a:pt x="68" y="480"/>
                </a:lnTo>
                <a:lnTo>
                  <a:pt x="54" y="468"/>
                </a:lnTo>
                <a:lnTo>
                  <a:pt x="64" y="435"/>
                </a:lnTo>
                <a:lnTo>
                  <a:pt x="74" y="442"/>
                </a:lnTo>
                <a:lnTo>
                  <a:pt x="105" y="396"/>
                </a:lnTo>
                <a:lnTo>
                  <a:pt x="81" y="370"/>
                </a:lnTo>
                <a:lnTo>
                  <a:pt x="108" y="354"/>
                </a:lnTo>
                <a:lnTo>
                  <a:pt x="112" y="331"/>
                </a:lnTo>
                <a:lnTo>
                  <a:pt x="124" y="320"/>
                </a:lnTo>
                <a:lnTo>
                  <a:pt x="113" y="316"/>
                </a:lnTo>
                <a:lnTo>
                  <a:pt x="134" y="316"/>
                </a:lnTo>
                <a:lnTo>
                  <a:pt x="131" y="305"/>
                </a:lnTo>
                <a:lnTo>
                  <a:pt x="122" y="312"/>
                </a:lnTo>
                <a:lnTo>
                  <a:pt x="113" y="304"/>
                </a:lnTo>
                <a:lnTo>
                  <a:pt x="112" y="287"/>
                </a:lnTo>
                <a:lnTo>
                  <a:pt x="149" y="288"/>
                </a:lnTo>
                <a:lnTo>
                  <a:pt x="152" y="253"/>
                </a:lnTo>
                <a:lnTo>
                  <a:pt x="210" y="247"/>
                </a:lnTo>
                <a:lnTo>
                  <a:pt x="227" y="223"/>
                </a:lnTo>
                <a:lnTo>
                  <a:pt x="204" y="178"/>
                </a:lnTo>
                <a:lnTo>
                  <a:pt x="216" y="122"/>
                </a:lnTo>
                <a:lnTo>
                  <a:pt x="269" y="76"/>
                </a:lnTo>
                <a:lnTo>
                  <a:pt x="267" y="55"/>
                </a:lnTo>
                <a:lnTo>
                  <a:pt x="256" y="55"/>
                </a:lnTo>
                <a:lnTo>
                  <a:pt x="242" y="79"/>
                </a:lnTo>
                <a:lnTo>
                  <a:pt x="205" y="78"/>
                </a:lnTo>
                <a:lnTo>
                  <a:pt x="213" y="50"/>
                </a:lnTo>
                <a:lnTo>
                  <a:pt x="147" y="7"/>
                </a:lnTo>
                <a:lnTo>
                  <a:pt x="125" y="3"/>
                </a:lnTo>
                <a:lnTo>
                  <a:pt x="123" y="12"/>
                </a:lnTo>
                <a:lnTo>
                  <a:pt x="98" y="0"/>
                </a:lnTo>
                <a:lnTo>
                  <a:pt x="84" y="15"/>
                </a:lnTo>
                <a:lnTo>
                  <a:pt x="82" y="32"/>
                </a:lnTo>
                <a:lnTo>
                  <a:pt x="67" y="39"/>
                </a:lnTo>
                <a:lnTo>
                  <a:pt x="68" y="73"/>
                </a:lnTo>
                <a:lnTo>
                  <a:pt x="51" y="91"/>
                </a:lnTo>
                <a:lnTo>
                  <a:pt x="39" y="138"/>
                </a:lnTo>
                <a:lnTo>
                  <a:pt x="48" y="182"/>
                </a:lnTo>
                <a:lnTo>
                  <a:pt x="31" y="220"/>
                </a:lnTo>
                <a:lnTo>
                  <a:pt x="18" y="313"/>
                </a:lnTo>
                <a:lnTo>
                  <a:pt x="28" y="348"/>
                </a:lnTo>
                <a:lnTo>
                  <a:pt x="19" y="351"/>
                </a:lnTo>
                <a:lnTo>
                  <a:pt x="23" y="381"/>
                </a:lnTo>
                <a:lnTo>
                  <a:pt x="0" y="44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14" name="Freeform 713"/>
          <p:cNvSpPr>
            <a:spLocks/>
          </p:cNvSpPr>
          <p:nvPr/>
        </p:nvSpPr>
        <p:spPr bwMode="auto">
          <a:xfrm>
            <a:off x="2720216" y="5477253"/>
            <a:ext cx="83641" cy="69391"/>
          </a:xfrm>
          <a:custGeom>
            <a:avLst/>
            <a:gdLst>
              <a:gd name="T0" fmla="*/ 0 w 49"/>
              <a:gd name="T1" fmla="*/ 0 h 42"/>
              <a:gd name="T2" fmla="*/ 0 w 49"/>
              <a:gd name="T3" fmla="*/ 0 h 42"/>
              <a:gd name="T4" fmla="*/ 2 w 49"/>
              <a:gd name="T5" fmla="*/ 41 h 42"/>
              <a:gd name="T6" fmla="*/ 48 w 49"/>
              <a:gd name="T7" fmla="*/ 37 h 42"/>
              <a:gd name="T8" fmla="*/ 11 w 49"/>
              <a:gd name="T9" fmla="*/ 20 h 42"/>
              <a:gd name="T10" fmla="*/ 0 w 49"/>
              <a:gd name="T11" fmla="*/ 0 h 42"/>
              <a:gd name="T12" fmla="*/ 0 w 49"/>
              <a:gd name="T13" fmla="*/ 0 h 42"/>
              <a:gd name="T14" fmla="*/ 0 60000 65536"/>
              <a:gd name="T15" fmla="*/ 0 60000 65536"/>
              <a:gd name="T16" fmla="*/ 0 60000 65536"/>
              <a:gd name="T17" fmla="*/ 0 60000 65536"/>
              <a:gd name="T18" fmla="*/ 0 60000 65536"/>
              <a:gd name="T19" fmla="*/ 0 60000 65536"/>
              <a:gd name="T20" fmla="*/ 0 60000 65536"/>
              <a:gd name="T21" fmla="*/ 0 w 49"/>
              <a:gd name="T22" fmla="*/ 0 h 42"/>
              <a:gd name="T23" fmla="*/ 49 w 49"/>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42">
                <a:moveTo>
                  <a:pt x="0" y="0"/>
                </a:moveTo>
                <a:lnTo>
                  <a:pt x="0" y="0"/>
                </a:lnTo>
                <a:lnTo>
                  <a:pt x="2" y="41"/>
                </a:lnTo>
                <a:lnTo>
                  <a:pt x="48" y="37"/>
                </a:lnTo>
                <a:lnTo>
                  <a:pt x="11" y="20"/>
                </a:lnTo>
                <a:lnTo>
                  <a:pt x="0" y="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15" name="Freeform 714"/>
          <p:cNvSpPr>
            <a:spLocks/>
          </p:cNvSpPr>
          <p:nvPr/>
        </p:nvSpPr>
        <p:spPr bwMode="auto">
          <a:xfrm>
            <a:off x="2696318" y="4391783"/>
            <a:ext cx="281647" cy="305650"/>
          </a:xfrm>
          <a:custGeom>
            <a:avLst/>
            <a:gdLst>
              <a:gd name="T0" fmla="*/ 0 w 165"/>
              <a:gd name="T1" fmla="*/ 18 h 185"/>
              <a:gd name="T2" fmla="*/ 0 w 165"/>
              <a:gd name="T3" fmla="*/ 18 h 185"/>
              <a:gd name="T4" fmla="*/ 13 w 165"/>
              <a:gd name="T5" fmla="*/ 38 h 185"/>
              <a:gd name="T6" fmla="*/ 4 w 165"/>
              <a:gd name="T7" fmla="*/ 80 h 185"/>
              <a:gd name="T8" fmla="*/ 13 w 165"/>
              <a:gd name="T9" fmla="*/ 84 h 185"/>
              <a:gd name="T10" fmla="*/ 9 w 165"/>
              <a:gd name="T11" fmla="*/ 91 h 185"/>
              <a:gd name="T12" fmla="*/ 1 w 165"/>
              <a:gd name="T13" fmla="*/ 108 h 185"/>
              <a:gd name="T14" fmla="*/ 16 w 165"/>
              <a:gd name="T15" fmla="*/ 133 h 185"/>
              <a:gd name="T16" fmla="*/ 24 w 165"/>
              <a:gd name="T17" fmla="*/ 183 h 185"/>
              <a:gd name="T18" fmla="*/ 34 w 165"/>
              <a:gd name="T19" fmla="*/ 184 h 185"/>
              <a:gd name="T20" fmla="*/ 48 w 165"/>
              <a:gd name="T21" fmla="*/ 169 h 185"/>
              <a:gd name="T22" fmla="*/ 73 w 165"/>
              <a:gd name="T23" fmla="*/ 181 h 185"/>
              <a:gd name="T24" fmla="*/ 75 w 165"/>
              <a:gd name="T25" fmla="*/ 172 h 185"/>
              <a:gd name="T26" fmla="*/ 97 w 165"/>
              <a:gd name="T27" fmla="*/ 176 h 185"/>
              <a:gd name="T28" fmla="*/ 106 w 165"/>
              <a:gd name="T29" fmla="*/ 139 h 185"/>
              <a:gd name="T30" fmla="*/ 145 w 165"/>
              <a:gd name="T31" fmla="*/ 133 h 185"/>
              <a:gd name="T32" fmla="*/ 159 w 165"/>
              <a:gd name="T33" fmla="*/ 145 h 185"/>
              <a:gd name="T34" fmla="*/ 164 w 165"/>
              <a:gd name="T35" fmla="*/ 117 h 185"/>
              <a:gd name="T36" fmla="*/ 155 w 165"/>
              <a:gd name="T37" fmla="*/ 93 h 185"/>
              <a:gd name="T38" fmla="*/ 132 w 165"/>
              <a:gd name="T39" fmla="*/ 91 h 185"/>
              <a:gd name="T40" fmla="*/ 122 w 165"/>
              <a:gd name="T41" fmla="*/ 55 h 185"/>
              <a:gd name="T42" fmla="*/ 62 w 165"/>
              <a:gd name="T43" fmla="*/ 31 h 185"/>
              <a:gd name="T44" fmla="*/ 58 w 165"/>
              <a:gd name="T45" fmla="*/ 0 h 185"/>
              <a:gd name="T46" fmla="*/ 17 w 165"/>
              <a:gd name="T47" fmla="*/ 19 h 185"/>
              <a:gd name="T48" fmla="*/ 0 w 165"/>
              <a:gd name="T49" fmla="*/ 18 h 185"/>
              <a:gd name="T50" fmla="*/ 0 w 165"/>
              <a:gd name="T51" fmla="*/ 18 h 1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185"/>
              <a:gd name="T80" fmla="*/ 165 w 165"/>
              <a:gd name="T81" fmla="*/ 185 h 1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185">
                <a:moveTo>
                  <a:pt x="0" y="18"/>
                </a:moveTo>
                <a:lnTo>
                  <a:pt x="0" y="18"/>
                </a:lnTo>
                <a:lnTo>
                  <a:pt x="13" y="38"/>
                </a:lnTo>
                <a:lnTo>
                  <a:pt x="4" y="80"/>
                </a:lnTo>
                <a:lnTo>
                  <a:pt x="13" y="84"/>
                </a:lnTo>
                <a:lnTo>
                  <a:pt x="9" y="91"/>
                </a:lnTo>
                <a:lnTo>
                  <a:pt x="1" y="108"/>
                </a:lnTo>
                <a:lnTo>
                  <a:pt x="16" y="133"/>
                </a:lnTo>
                <a:lnTo>
                  <a:pt x="24" y="183"/>
                </a:lnTo>
                <a:lnTo>
                  <a:pt x="34" y="184"/>
                </a:lnTo>
                <a:lnTo>
                  <a:pt x="48" y="169"/>
                </a:lnTo>
                <a:lnTo>
                  <a:pt x="73" y="181"/>
                </a:lnTo>
                <a:lnTo>
                  <a:pt x="75" y="172"/>
                </a:lnTo>
                <a:lnTo>
                  <a:pt x="97" y="176"/>
                </a:lnTo>
                <a:lnTo>
                  <a:pt x="106" y="139"/>
                </a:lnTo>
                <a:lnTo>
                  <a:pt x="145" y="133"/>
                </a:lnTo>
                <a:lnTo>
                  <a:pt x="159" y="145"/>
                </a:lnTo>
                <a:lnTo>
                  <a:pt x="164" y="117"/>
                </a:lnTo>
                <a:lnTo>
                  <a:pt x="155" y="93"/>
                </a:lnTo>
                <a:lnTo>
                  <a:pt x="132" y="91"/>
                </a:lnTo>
                <a:lnTo>
                  <a:pt x="122" y="55"/>
                </a:lnTo>
                <a:lnTo>
                  <a:pt x="62" y="31"/>
                </a:lnTo>
                <a:lnTo>
                  <a:pt x="58" y="0"/>
                </a:lnTo>
                <a:lnTo>
                  <a:pt x="17" y="19"/>
                </a:lnTo>
                <a:lnTo>
                  <a:pt x="0" y="1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16" name="Freeform 715"/>
          <p:cNvSpPr>
            <a:spLocks/>
          </p:cNvSpPr>
          <p:nvPr/>
        </p:nvSpPr>
        <p:spPr bwMode="auto">
          <a:xfrm>
            <a:off x="2600729" y="4061350"/>
            <a:ext cx="909804" cy="898776"/>
          </a:xfrm>
          <a:custGeom>
            <a:avLst/>
            <a:gdLst>
              <a:gd name="T0" fmla="*/ 0 w 533"/>
              <a:gd name="T1" fmla="*/ 172 h 544"/>
              <a:gd name="T2" fmla="*/ 30 w 533"/>
              <a:gd name="T3" fmla="*/ 205 h 544"/>
              <a:gd name="T4" fmla="*/ 45 w 533"/>
              <a:gd name="T5" fmla="*/ 218 h 544"/>
              <a:gd name="T6" fmla="*/ 73 w 533"/>
              <a:gd name="T7" fmla="*/ 219 h 544"/>
              <a:gd name="T8" fmla="*/ 118 w 533"/>
              <a:gd name="T9" fmla="*/ 231 h 544"/>
              <a:gd name="T10" fmla="*/ 188 w 533"/>
              <a:gd name="T11" fmla="*/ 291 h 544"/>
              <a:gd name="T12" fmla="*/ 220 w 533"/>
              <a:gd name="T13" fmla="*/ 317 h 544"/>
              <a:gd name="T14" fmla="*/ 218 w 533"/>
              <a:gd name="T15" fmla="*/ 372 h 544"/>
              <a:gd name="T16" fmla="*/ 250 w 533"/>
              <a:gd name="T17" fmla="*/ 396 h 544"/>
              <a:gd name="T18" fmla="*/ 262 w 533"/>
              <a:gd name="T19" fmla="*/ 424 h 544"/>
              <a:gd name="T20" fmla="*/ 275 w 533"/>
              <a:gd name="T21" fmla="*/ 445 h 544"/>
              <a:gd name="T22" fmla="*/ 232 w 533"/>
              <a:gd name="T23" fmla="*/ 488 h 544"/>
              <a:gd name="T24" fmla="*/ 281 w 533"/>
              <a:gd name="T25" fmla="*/ 529 h 544"/>
              <a:gd name="T26" fmla="*/ 343 w 533"/>
              <a:gd name="T27" fmla="*/ 462 h 544"/>
              <a:gd name="T28" fmla="*/ 399 w 533"/>
              <a:gd name="T29" fmla="*/ 384 h 544"/>
              <a:gd name="T30" fmla="*/ 445 w 533"/>
              <a:gd name="T31" fmla="*/ 371 h 544"/>
              <a:gd name="T32" fmla="*/ 475 w 533"/>
              <a:gd name="T33" fmla="*/ 249 h 544"/>
              <a:gd name="T34" fmla="*/ 532 w 533"/>
              <a:gd name="T35" fmla="*/ 166 h 544"/>
              <a:gd name="T36" fmla="*/ 502 w 533"/>
              <a:gd name="T37" fmla="*/ 137 h 544"/>
              <a:gd name="T38" fmla="*/ 401 w 533"/>
              <a:gd name="T39" fmla="*/ 106 h 544"/>
              <a:gd name="T40" fmla="*/ 365 w 533"/>
              <a:gd name="T41" fmla="*/ 78 h 544"/>
              <a:gd name="T42" fmla="*/ 334 w 533"/>
              <a:gd name="T43" fmla="*/ 102 h 544"/>
              <a:gd name="T44" fmla="*/ 305 w 533"/>
              <a:gd name="T45" fmla="*/ 98 h 544"/>
              <a:gd name="T46" fmla="*/ 306 w 533"/>
              <a:gd name="T47" fmla="*/ 75 h 544"/>
              <a:gd name="T48" fmla="*/ 305 w 533"/>
              <a:gd name="T49" fmla="*/ 15 h 544"/>
              <a:gd name="T50" fmla="*/ 265 w 533"/>
              <a:gd name="T51" fmla="*/ 39 h 544"/>
              <a:gd name="T52" fmla="*/ 198 w 533"/>
              <a:gd name="T53" fmla="*/ 49 h 544"/>
              <a:gd name="T54" fmla="*/ 194 w 533"/>
              <a:gd name="T55" fmla="*/ 9 h 544"/>
              <a:gd name="T56" fmla="*/ 147 w 533"/>
              <a:gd name="T57" fmla="*/ 16 h 544"/>
              <a:gd name="T58" fmla="*/ 131 w 533"/>
              <a:gd name="T59" fmla="*/ 37 h 544"/>
              <a:gd name="T60" fmla="*/ 111 w 533"/>
              <a:gd name="T61" fmla="*/ 59 h 544"/>
              <a:gd name="T62" fmla="*/ 87 w 533"/>
              <a:gd name="T63" fmla="*/ 42 h 544"/>
              <a:gd name="T64" fmla="*/ 65 w 533"/>
              <a:gd name="T65" fmla="*/ 61 h 544"/>
              <a:gd name="T66" fmla="*/ 59 w 533"/>
              <a:gd name="T67" fmla="*/ 87 h 544"/>
              <a:gd name="T68" fmla="*/ 19 w 533"/>
              <a:gd name="T69" fmla="*/ 140 h 544"/>
              <a:gd name="T70" fmla="*/ 0 w 533"/>
              <a:gd name="T71" fmla="*/ 172 h 5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3"/>
              <a:gd name="T109" fmla="*/ 0 h 544"/>
              <a:gd name="T110" fmla="*/ 533 w 533"/>
              <a:gd name="T111" fmla="*/ 544 h 5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3" h="544">
                <a:moveTo>
                  <a:pt x="0" y="172"/>
                </a:moveTo>
                <a:lnTo>
                  <a:pt x="0" y="172"/>
                </a:lnTo>
                <a:lnTo>
                  <a:pt x="11" y="197"/>
                </a:lnTo>
                <a:lnTo>
                  <a:pt x="30" y="205"/>
                </a:lnTo>
                <a:lnTo>
                  <a:pt x="45" y="196"/>
                </a:lnTo>
                <a:lnTo>
                  <a:pt x="45" y="218"/>
                </a:lnTo>
                <a:lnTo>
                  <a:pt x="56" y="218"/>
                </a:lnTo>
                <a:lnTo>
                  <a:pt x="73" y="219"/>
                </a:lnTo>
                <a:lnTo>
                  <a:pt x="114" y="200"/>
                </a:lnTo>
                <a:lnTo>
                  <a:pt x="118" y="231"/>
                </a:lnTo>
                <a:lnTo>
                  <a:pt x="178" y="255"/>
                </a:lnTo>
                <a:lnTo>
                  <a:pt x="188" y="291"/>
                </a:lnTo>
                <a:lnTo>
                  <a:pt x="211" y="293"/>
                </a:lnTo>
                <a:lnTo>
                  <a:pt x="220" y="317"/>
                </a:lnTo>
                <a:lnTo>
                  <a:pt x="215" y="345"/>
                </a:lnTo>
                <a:lnTo>
                  <a:pt x="218" y="372"/>
                </a:lnTo>
                <a:lnTo>
                  <a:pt x="246" y="377"/>
                </a:lnTo>
                <a:lnTo>
                  <a:pt x="250" y="396"/>
                </a:lnTo>
                <a:lnTo>
                  <a:pt x="264" y="399"/>
                </a:lnTo>
                <a:lnTo>
                  <a:pt x="262" y="424"/>
                </a:lnTo>
                <a:lnTo>
                  <a:pt x="273" y="424"/>
                </a:lnTo>
                <a:lnTo>
                  <a:pt x="275" y="445"/>
                </a:lnTo>
                <a:lnTo>
                  <a:pt x="222" y="491"/>
                </a:lnTo>
                <a:lnTo>
                  <a:pt x="232" y="488"/>
                </a:lnTo>
                <a:lnTo>
                  <a:pt x="273" y="517"/>
                </a:lnTo>
                <a:lnTo>
                  <a:pt x="281" y="529"/>
                </a:lnTo>
                <a:lnTo>
                  <a:pt x="278" y="543"/>
                </a:lnTo>
                <a:lnTo>
                  <a:pt x="343" y="462"/>
                </a:lnTo>
                <a:lnTo>
                  <a:pt x="347" y="421"/>
                </a:lnTo>
                <a:lnTo>
                  <a:pt x="399" y="384"/>
                </a:lnTo>
                <a:lnTo>
                  <a:pt x="432" y="384"/>
                </a:lnTo>
                <a:lnTo>
                  <a:pt x="445" y="371"/>
                </a:lnTo>
                <a:lnTo>
                  <a:pt x="472" y="310"/>
                </a:lnTo>
                <a:lnTo>
                  <a:pt x="475" y="249"/>
                </a:lnTo>
                <a:lnTo>
                  <a:pt x="527" y="191"/>
                </a:lnTo>
                <a:lnTo>
                  <a:pt x="532" y="166"/>
                </a:lnTo>
                <a:lnTo>
                  <a:pt x="524" y="141"/>
                </a:lnTo>
                <a:lnTo>
                  <a:pt x="502" y="137"/>
                </a:lnTo>
                <a:lnTo>
                  <a:pt x="468" y="111"/>
                </a:lnTo>
                <a:lnTo>
                  <a:pt x="401" y="106"/>
                </a:lnTo>
                <a:lnTo>
                  <a:pt x="395" y="90"/>
                </a:lnTo>
                <a:lnTo>
                  <a:pt x="365" y="78"/>
                </a:lnTo>
                <a:lnTo>
                  <a:pt x="352" y="79"/>
                </a:lnTo>
                <a:lnTo>
                  <a:pt x="334" y="102"/>
                </a:lnTo>
                <a:lnTo>
                  <a:pt x="334" y="94"/>
                </a:lnTo>
                <a:lnTo>
                  <a:pt x="305" y="98"/>
                </a:lnTo>
                <a:lnTo>
                  <a:pt x="317" y="93"/>
                </a:lnTo>
                <a:lnTo>
                  <a:pt x="306" y="75"/>
                </a:lnTo>
                <a:lnTo>
                  <a:pt x="327" y="48"/>
                </a:lnTo>
                <a:lnTo>
                  <a:pt x="305" y="15"/>
                </a:lnTo>
                <a:lnTo>
                  <a:pt x="285" y="41"/>
                </a:lnTo>
                <a:lnTo>
                  <a:pt x="265" y="39"/>
                </a:lnTo>
                <a:lnTo>
                  <a:pt x="237" y="43"/>
                </a:lnTo>
                <a:lnTo>
                  <a:pt x="198" y="49"/>
                </a:lnTo>
                <a:lnTo>
                  <a:pt x="191" y="35"/>
                </a:lnTo>
                <a:lnTo>
                  <a:pt x="194" y="9"/>
                </a:lnTo>
                <a:lnTo>
                  <a:pt x="181" y="0"/>
                </a:lnTo>
                <a:lnTo>
                  <a:pt x="147" y="16"/>
                </a:lnTo>
                <a:lnTo>
                  <a:pt x="124" y="11"/>
                </a:lnTo>
                <a:lnTo>
                  <a:pt x="131" y="37"/>
                </a:lnTo>
                <a:lnTo>
                  <a:pt x="144" y="40"/>
                </a:lnTo>
                <a:lnTo>
                  <a:pt x="111" y="59"/>
                </a:lnTo>
                <a:lnTo>
                  <a:pt x="95" y="52"/>
                </a:lnTo>
                <a:lnTo>
                  <a:pt x="87" y="42"/>
                </a:lnTo>
                <a:lnTo>
                  <a:pt x="55" y="47"/>
                </a:lnTo>
                <a:lnTo>
                  <a:pt x="65" y="61"/>
                </a:lnTo>
                <a:lnTo>
                  <a:pt x="52" y="63"/>
                </a:lnTo>
                <a:lnTo>
                  <a:pt x="59" y="87"/>
                </a:lnTo>
                <a:lnTo>
                  <a:pt x="53" y="126"/>
                </a:lnTo>
                <a:lnTo>
                  <a:pt x="19" y="140"/>
                </a:lnTo>
                <a:lnTo>
                  <a:pt x="0" y="17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17" name="Freeform 716"/>
          <p:cNvSpPr>
            <a:spLocks/>
          </p:cNvSpPr>
          <p:nvPr/>
        </p:nvSpPr>
        <p:spPr bwMode="auto">
          <a:xfrm>
            <a:off x="2242270" y="3757353"/>
            <a:ext cx="22190" cy="61130"/>
          </a:xfrm>
          <a:custGeom>
            <a:avLst/>
            <a:gdLst>
              <a:gd name="T0" fmla="*/ 0 w 13"/>
              <a:gd name="T1" fmla="*/ 8 h 37"/>
              <a:gd name="T2" fmla="*/ 0 w 13"/>
              <a:gd name="T3" fmla="*/ 8 h 37"/>
              <a:gd name="T4" fmla="*/ 5 w 13"/>
              <a:gd name="T5" fmla="*/ 36 h 37"/>
              <a:gd name="T6" fmla="*/ 12 w 13"/>
              <a:gd name="T7" fmla="*/ 0 h 37"/>
              <a:gd name="T8" fmla="*/ 0 w 13"/>
              <a:gd name="T9" fmla="*/ 8 h 37"/>
              <a:gd name="T10" fmla="*/ 0 w 13"/>
              <a:gd name="T11" fmla="*/ 8 h 37"/>
              <a:gd name="T12" fmla="*/ 0 60000 65536"/>
              <a:gd name="T13" fmla="*/ 0 60000 65536"/>
              <a:gd name="T14" fmla="*/ 0 60000 65536"/>
              <a:gd name="T15" fmla="*/ 0 60000 65536"/>
              <a:gd name="T16" fmla="*/ 0 60000 65536"/>
              <a:gd name="T17" fmla="*/ 0 60000 65536"/>
              <a:gd name="T18" fmla="*/ 0 w 13"/>
              <a:gd name="T19" fmla="*/ 0 h 37"/>
              <a:gd name="T20" fmla="*/ 13 w 1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3" h="37">
                <a:moveTo>
                  <a:pt x="0" y="8"/>
                </a:moveTo>
                <a:lnTo>
                  <a:pt x="0" y="8"/>
                </a:lnTo>
                <a:lnTo>
                  <a:pt x="5" y="36"/>
                </a:lnTo>
                <a:lnTo>
                  <a:pt x="12" y="0"/>
                </a:lnTo>
                <a:lnTo>
                  <a:pt x="0" y="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18" name="Freeform 717"/>
          <p:cNvSpPr>
            <a:spLocks/>
          </p:cNvSpPr>
          <p:nvPr/>
        </p:nvSpPr>
        <p:spPr bwMode="auto">
          <a:xfrm>
            <a:off x="2559762" y="4570216"/>
            <a:ext cx="196299" cy="943384"/>
          </a:xfrm>
          <a:custGeom>
            <a:avLst/>
            <a:gdLst>
              <a:gd name="T0" fmla="*/ 0 w 115"/>
              <a:gd name="T1" fmla="*/ 445 h 571"/>
              <a:gd name="T2" fmla="*/ 0 w 115"/>
              <a:gd name="T3" fmla="*/ 445 h 571"/>
              <a:gd name="T4" fmla="*/ 9 w 115"/>
              <a:gd name="T5" fmla="*/ 430 h 571"/>
              <a:gd name="T6" fmla="*/ 24 w 115"/>
              <a:gd name="T7" fmla="*/ 441 h 571"/>
              <a:gd name="T8" fmla="*/ 39 w 115"/>
              <a:gd name="T9" fmla="*/ 412 h 571"/>
              <a:gd name="T10" fmla="*/ 33 w 115"/>
              <a:gd name="T11" fmla="*/ 400 h 571"/>
              <a:gd name="T12" fmla="*/ 45 w 115"/>
              <a:gd name="T13" fmla="*/ 360 h 571"/>
              <a:gd name="T14" fmla="*/ 24 w 115"/>
              <a:gd name="T15" fmla="*/ 357 h 571"/>
              <a:gd name="T16" fmla="*/ 27 w 115"/>
              <a:gd name="T17" fmla="*/ 292 h 571"/>
              <a:gd name="T18" fmla="*/ 55 w 115"/>
              <a:gd name="T19" fmla="*/ 224 h 571"/>
              <a:gd name="T20" fmla="*/ 54 w 115"/>
              <a:gd name="T21" fmla="*/ 166 h 571"/>
              <a:gd name="T22" fmla="*/ 74 w 115"/>
              <a:gd name="T23" fmla="*/ 58 h 571"/>
              <a:gd name="T24" fmla="*/ 68 w 115"/>
              <a:gd name="T25" fmla="*/ 9 h 571"/>
              <a:gd name="T26" fmla="*/ 81 w 115"/>
              <a:gd name="T27" fmla="*/ 0 h 571"/>
              <a:gd name="T28" fmla="*/ 96 w 115"/>
              <a:gd name="T29" fmla="*/ 25 h 571"/>
              <a:gd name="T30" fmla="*/ 104 w 115"/>
              <a:gd name="T31" fmla="*/ 75 h 571"/>
              <a:gd name="T32" fmla="*/ 114 w 115"/>
              <a:gd name="T33" fmla="*/ 76 h 571"/>
              <a:gd name="T34" fmla="*/ 112 w 115"/>
              <a:gd name="T35" fmla="*/ 93 h 571"/>
              <a:gd name="T36" fmla="*/ 97 w 115"/>
              <a:gd name="T37" fmla="*/ 100 h 571"/>
              <a:gd name="T38" fmla="*/ 98 w 115"/>
              <a:gd name="T39" fmla="*/ 134 h 571"/>
              <a:gd name="T40" fmla="*/ 81 w 115"/>
              <a:gd name="T41" fmla="*/ 152 h 571"/>
              <a:gd name="T42" fmla="*/ 69 w 115"/>
              <a:gd name="T43" fmla="*/ 199 h 571"/>
              <a:gd name="T44" fmla="*/ 78 w 115"/>
              <a:gd name="T45" fmla="*/ 243 h 571"/>
              <a:gd name="T46" fmla="*/ 61 w 115"/>
              <a:gd name="T47" fmla="*/ 281 h 571"/>
              <a:gd name="T48" fmla="*/ 48 w 115"/>
              <a:gd name="T49" fmla="*/ 374 h 571"/>
              <a:gd name="T50" fmla="*/ 58 w 115"/>
              <a:gd name="T51" fmla="*/ 409 h 571"/>
              <a:gd name="T52" fmla="*/ 49 w 115"/>
              <a:gd name="T53" fmla="*/ 412 h 571"/>
              <a:gd name="T54" fmla="*/ 53 w 115"/>
              <a:gd name="T55" fmla="*/ 442 h 571"/>
              <a:gd name="T56" fmla="*/ 30 w 115"/>
              <a:gd name="T57" fmla="*/ 505 h 571"/>
              <a:gd name="T58" fmla="*/ 33 w 115"/>
              <a:gd name="T59" fmla="*/ 516 h 571"/>
              <a:gd name="T60" fmla="*/ 44 w 115"/>
              <a:gd name="T61" fmla="*/ 512 h 571"/>
              <a:gd name="T62" fmla="*/ 48 w 115"/>
              <a:gd name="T63" fmla="*/ 536 h 571"/>
              <a:gd name="T64" fmla="*/ 98 w 115"/>
              <a:gd name="T65" fmla="*/ 541 h 571"/>
              <a:gd name="T66" fmla="*/ 65 w 115"/>
              <a:gd name="T67" fmla="*/ 551 h 571"/>
              <a:gd name="T68" fmla="*/ 61 w 115"/>
              <a:gd name="T69" fmla="*/ 570 h 571"/>
              <a:gd name="T70" fmla="*/ 46 w 115"/>
              <a:gd name="T71" fmla="*/ 565 h 571"/>
              <a:gd name="T72" fmla="*/ 62 w 115"/>
              <a:gd name="T73" fmla="*/ 553 h 571"/>
              <a:gd name="T74" fmla="*/ 38 w 115"/>
              <a:gd name="T75" fmla="*/ 548 h 571"/>
              <a:gd name="T76" fmla="*/ 35 w 115"/>
              <a:gd name="T77" fmla="*/ 527 h 571"/>
              <a:gd name="T78" fmla="*/ 29 w 115"/>
              <a:gd name="T79" fmla="*/ 537 h 571"/>
              <a:gd name="T80" fmla="*/ 20 w 115"/>
              <a:gd name="T81" fmla="*/ 518 h 571"/>
              <a:gd name="T82" fmla="*/ 25 w 115"/>
              <a:gd name="T83" fmla="*/ 513 h 571"/>
              <a:gd name="T84" fmla="*/ 14 w 115"/>
              <a:gd name="T85" fmla="*/ 504 h 571"/>
              <a:gd name="T86" fmla="*/ 24 w 115"/>
              <a:gd name="T87" fmla="*/ 494 h 571"/>
              <a:gd name="T88" fmla="*/ 15 w 115"/>
              <a:gd name="T89" fmla="*/ 466 h 571"/>
              <a:gd name="T90" fmla="*/ 32 w 115"/>
              <a:gd name="T91" fmla="*/ 469 h 571"/>
              <a:gd name="T92" fmla="*/ 15 w 115"/>
              <a:gd name="T93" fmla="*/ 455 h 571"/>
              <a:gd name="T94" fmla="*/ 19 w 115"/>
              <a:gd name="T95" fmla="*/ 444 h 571"/>
              <a:gd name="T96" fmla="*/ 0 w 115"/>
              <a:gd name="T97" fmla="*/ 445 h 571"/>
              <a:gd name="T98" fmla="*/ 0 w 115"/>
              <a:gd name="T99" fmla="*/ 445 h 5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5"/>
              <a:gd name="T151" fmla="*/ 0 h 571"/>
              <a:gd name="T152" fmla="*/ 115 w 115"/>
              <a:gd name="T153" fmla="*/ 571 h 57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5" h="571">
                <a:moveTo>
                  <a:pt x="0" y="445"/>
                </a:moveTo>
                <a:lnTo>
                  <a:pt x="0" y="445"/>
                </a:lnTo>
                <a:lnTo>
                  <a:pt x="9" y="430"/>
                </a:lnTo>
                <a:lnTo>
                  <a:pt x="24" y="441"/>
                </a:lnTo>
                <a:lnTo>
                  <a:pt x="39" y="412"/>
                </a:lnTo>
                <a:lnTo>
                  <a:pt x="33" y="400"/>
                </a:lnTo>
                <a:lnTo>
                  <a:pt x="45" y="360"/>
                </a:lnTo>
                <a:lnTo>
                  <a:pt x="24" y="357"/>
                </a:lnTo>
                <a:lnTo>
                  <a:pt x="27" y="292"/>
                </a:lnTo>
                <a:lnTo>
                  <a:pt x="55" y="224"/>
                </a:lnTo>
                <a:lnTo>
                  <a:pt x="54" y="166"/>
                </a:lnTo>
                <a:lnTo>
                  <a:pt x="74" y="58"/>
                </a:lnTo>
                <a:lnTo>
                  <a:pt x="68" y="9"/>
                </a:lnTo>
                <a:lnTo>
                  <a:pt x="81" y="0"/>
                </a:lnTo>
                <a:lnTo>
                  <a:pt x="96" y="25"/>
                </a:lnTo>
                <a:lnTo>
                  <a:pt x="104" y="75"/>
                </a:lnTo>
                <a:lnTo>
                  <a:pt x="114" y="76"/>
                </a:lnTo>
                <a:lnTo>
                  <a:pt x="112" y="93"/>
                </a:lnTo>
                <a:lnTo>
                  <a:pt x="97" y="100"/>
                </a:lnTo>
                <a:lnTo>
                  <a:pt x="98" y="134"/>
                </a:lnTo>
                <a:lnTo>
                  <a:pt x="81" y="152"/>
                </a:lnTo>
                <a:lnTo>
                  <a:pt x="69" y="199"/>
                </a:lnTo>
                <a:lnTo>
                  <a:pt x="78" y="243"/>
                </a:lnTo>
                <a:lnTo>
                  <a:pt x="61" y="281"/>
                </a:lnTo>
                <a:lnTo>
                  <a:pt x="48" y="374"/>
                </a:lnTo>
                <a:lnTo>
                  <a:pt x="58" y="409"/>
                </a:lnTo>
                <a:lnTo>
                  <a:pt x="49" y="412"/>
                </a:lnTo>
                <a:lnTo>
                  <a:pt x="53" y="442"/>
                </a:lnTo>
                <a:lnTo>
                  <a:pt x="30" y="505"/>
                </a:lnTo>
                <a:lnTo>
                  <a:pt x="33" y="516"/>
                </a:lnTo>
                <a:lnTo>
                  <a:pt x="44" y="512"/>
                </a:lnTo>
                <a:lnTo>
                  <a:pt x="48" y="536"/>
                </a:lnTo>
                <a:lnTo>
                  <a:pt x="98" y="541"/>
                </a:lnTo>
                <a:lnTo>
                  <a:pt x="65" y="551"/>
                </a:lnTo>
                <a:lnTo>
                  <a:pt x="61" y="570"/>
                </a:lnTo>
                <a:lnTo>
                  <a:pt x="46" y="565"/>
                </a:lnTo>
                <a:lnTo>
                  <a:pt x="62" y="553"/>
                </a:lnTo>
                <a:lnTo>
                  <a:pt x="38" y="548"/>
                </a:lnTo>
                <a:lnTo>
                  <a:pt x="35" y="527"/>
                </a:lnTo>
                <a:lnTo>
                  <a:pt x="29" y="537"/>
                </a:lnTo>
                <a:lnTo>
                  <a:pt x="20" y="518"/>
                </a:lnTo>
                <a:lnTo>
                  <a:pt x="25" y="513"/>
                </a:lnTo>
                <a:lnTo>
                  <a:pt x="14" y="504"/>
                </a:lnTo>
                <a:lnTo>
                  <a:pt x="24" y="494"/>
                </a:lnTo>
                <a:lnTo>
                  <a:pt x="15" y="466"/>
                </a:lnTo>
                <a:lnTo>
                  <a:pt x="32" y="469"/>
                </a:lnTo>
                <a:lnTo>
                  <a:pt x="15" y="455"/>
                </a:lnTo>
                <a:lnTo>
                  <a:pt x="19" y="444"/>
                </a:lnTo>
                <a:lnTo>
                  <a:pt x="0" y="44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19" name="Freeform 718"/>
          <p:cNvSpPr>
            <a:spLocks/>
          </p:cNvSpPr>
          <p:nvPr/>
        </p:nvSpPr>
        <p:spPr bwMode="auto">
          <a:xfrm>
            <a:off x="2570004" y="5359949"/>
            <a:ext cx="17069" cy="36348"/>
          </a:xfrm>
          <a:custGeom>
            <a:avLst/>
            <a:gdLst>
              <a:gd name="T0" fmla="*/ 0 w 10"/>
              <a:gd name="T1" fmla="*/ 9 h 22"/>
              <a:gd name="T2" fmla="*/ 0 w 10"/>
              <a:gd name="T3" fmla="*/ 9 h 22"/>
              <a:gd name="T4" fmla="*/ 4 w 10"/>
              <a:gd name="T5" fmla="*/ 0 h 22"/>
              <a:gd name="T6" fmla="*/ 9 w 10"/>
              <a:gd name="T7" fmla="*/ 21 h 22"/>
              <a:gd name="T8" fmla="*/ 0 w 10"/>
              <a:gd name="T9" fmla="*/ 9 h 22"/>
              <a:gd name="T10" fmla="*/ 0 w 10"/>
              <a:gd name="T11" fmla="*/ 9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0" y="9"/>
                </a:moveTo>
                <a:lnTo>
                  <a:pt x="0" y="9"/>
                </a:lnTo>
                <a:lnTo>
                  <a:pt x="4" y="0"/>
                </a:lnTo>
                <a:lnTo>
                  <a:pt x="9" y="21"/>
                </a:lnTo>
                <a:lnTo>
                  <a:pt x="0" y="9"/>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20" name="Freeform 719"/>
          <p:cNvSpPr>
            <a:spLocks/>
          </p:cNvSpPr>
          <p:nvPr/>
        </p:nvSpPr>
        <p:spPr bwMode="auto">
          <a:xfrm>
            <a:off x="2587074" y="5168299"/>
            <a:ext cx="15363" cy="46261"/>
          </a:xfrm>
          <a:custGeom>
            <a:avLst/>
            <a:gdLst>
              <a:gd name="T0" fmla="*/ 0 w 9"/>
              <a:gd name="T1" fmla="*/ 23 h 28"/>
              <a:gd name="T2" fmla="*/ 0 w 9"/>
              <a:gd name="T3" fmla="*/ 23 h 28"/>
              <a:gd name="T4" fmla="*/ 8 w 9"/>
              <a:gd name="T5" fmla="*/ 0 h 28"/>
              <a:gd name="T6" fmla="*/ 8 w 9"/>
              <a:gd name="T7" fmla="*/ 27 h 28"/>
              <a:gd name="T8" fmla="*/ 0 w 9"/>
              <a:gd name="T9" fmla="*/ 23 h 28"/>
              <a:gd name="T10" fmla="*/ 0 w 9"/>
              <a:gd name="T11" fmla="*/ 23 h 28"/>
              <a:gd name="T12" fmla="*/ 0 60000 65536"/>
              <a:gd name="T13" fmla="*/ 0 60000 65536"/>
              <a:gd name="T14" fmla="*/ 0 60000 65536"/>
              <a:gd name="T15" fmla="*/ 0 60000 65536"/>
              <a:gd name="T16" fmla="*/ 0 60000 65536"/>
              <a:gd name="T17" fmla="*/ 0 60000 65536"/>
              <a:gd name="T18" fmla="*/ 0 w 9"/>
              <a:gd name="T19" fmla="*/ 0 h 28"/>
              <a:gd name="T20" fmla="*/ 9 w 9"/>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9" h="28">
                <a:moveTo>
                  <a:pt x="0" y="23"/>
                </a:moveTo>
                <a:lnTo>
                  <a:pt x="0" y="23"/>
                </a:lnTo>
                <a:lnTo>
                  <a:pt x="8" y="0"/>
                </a:lnTo>
                <a:lnTo>
                  <a:pt x="8" y="27"/>
                </a:lnTo>
                <a:lnTo>
                  <a:pt x="0" y="2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21" name="Freeform 720"/>
          <p:cNvSpPr>
            <a:spLocks/>
          </p:cNvSpPr>
          <p:nvPr/>
        </p:nvSpPr>
        <p:spPr bwMode="auto">
          <a:xfrm>
            <a:off x="2602436" y="5500383"/>
            <a:ext cx="32432" cy="21478"/>
          </a:xfrm>
          <a:custGeom>
            <a:avLst/>
            <a:gdLst>
              <a:gd name="T0" fmla="*/ 0 w 19"/>
              <a:gd name="T1" fmla="*/ 0 h 13"/>
              <a:gd name="T2" fmla="*/ 0 w 19"/>
              <a:gd name="T3" fmla="*/ 0 h 13"/>
              <a:gd name="T4" fmla="*/ 18 w 19"/>
              <a:gd name="T5" fmla="*/ 3 h 13"/>
              <a:gd name="T6" fmla="*/ 18 w 19"/>
              <a:gd name="T7" fmla="*/ 12 h 13"/>
              <a:gd name="T8" fmla="*/ 0 w 19"/>
              <a:gd name="T9" fmla="*/ 0 h 13"/>
              <a:gd name="T10" fmla="*/ 0 w 19"/>
              <a:gd name="T11" fmla="*/ 0 h 13"/>
              <a:gd name="T12" fmla="*/ 0 60000 65536"/>
              <a:gd name="T13" fmla="*/ 0 60000 65536"/>
              <a:gd name="T14" fmla="*/ 0 60000 65536"/>
              <a:gd name="T15" fmla="*/ 0 60000 65536"/>
              <a:gd name="T16" fmla="*/ 0 60000 65536"/>
              <a:gd name="T17" fmla="*/ 0 60000 65536"/>
              <a:gd name="T18" fmla="*/ 0 w 19"/>
              <a:gd name="T19" fmla="*/ 0 h 13"/>
              <a:gd name="T20" fmla="*/ 19 w 1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9" h="13">
                <a:moveTo>
                  <a:pt x="0" y="0"/>
                </a:moveTo>
                <a:lnTo>
                  <a:pt x="0" y="0"/>
                </a:lnTo>
                <a:lnTo>
                  <a:pt x="18" y="3"/>
                </a:lnTo>
                <a:lnTo>
                  <a:pt x="18" y="12"/>
                </a:lnTo>
                <a:lnTo>
                  <a:pt x="0" y="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22" name="Freeform 721"/>
          <p:cNvSpPr>
            <a:spLocks/>
          </p:cNvSpPr>
          <p:nvPr/>
        </p:nvSpPr>
        <p:spPr bwMode="auto">
          <a:xfrm>
            <a:off x="2609264" y="5455775"/>
            <a:ext cx="47795" cy="46261"/>
          </a:xfrm>
          <a:custGeom>
            <a:avLst/>
            <a:gdLst>
              <a:gd name="T0" fmla="*/ 0 w 28"/>
              <a:gd name="T1" fmla="*/ 5 h 28"/>
              <a:gd name="T2" fmla="*/ 0 w 28"/>
              <a:gd name="T3" fmla="*/ 5 h 28"/>
              <a:gd name="T4" fmla="*/ 7 w 28"/>
              <a:gd name="T5" fmla="*/ 0 h 28"/>
              <a:gd name="T6" fmla="*/ 6 w 28"/>
              <a:gd name="T7" fmla="*/ 13 h 28"/>
              <a:gd name="T8" fmla="*/ 27 w 28"/>
              <a:gd name="T9" fmla="*/ 17 h 28"/>
              <a:gd name="T10" fmla="*/ 14 w 28"/>
              <a:gd name="T11" fmla="*/ 27 h 28"/>
              <a:gd name="T12" fmla="*/ 0 w 28"/>
              <a:gd name="T13" fmla="*/ 5 h 28"/>
              <a:gd name="T14" fmla="*/ 0 w 28"/>
              <a:gd name="T15" fmla="*/ 5 h 28"/>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8"/>
              <a:gd name="T26" fmla="*/ 28 w 28"/>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8">
                <a:moveTo>
                  <a:pt x="0" y="5"/>
                </a:moveTo>
                <a:lnTo>
                  <a:pt x="0" y="5"/>
                </a:lnTo>
                <a:lnTo>
                  <a:pt x="7" y="0"/>
                </a:lnTo>
                <a:lnTo>
                  <a:pt x="6" y="13"/>
                </a:lnTo>
                <a:lnTo>
                  <a:pt x="27" y="17"/>
                </a:lnTo>
                <a:lnTo>
                  <a:pt x="14" y="27"/>
                </a:lnTo>
                <a:lnTo>
                  <a:pt x="0" y="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23" name="Freeform 722"/>
          <p:cNvSpPr>
            <a:spLocks/>
          </p:cNvSpPr>
          <p:nvPr/>
        </p:nvSpPr>
        <p:spPr bwMode="auto">
          <a:xfrm>
            <a:off x="2641696" y="5515253"/>
            <a:ext cx="27311" cy="13217"/>
          </a:xfrm>
          <a:custGeom>
            <a:avLst/>
            <a:gdLst>
              <a:gd name="T0" fmla="*/ 0 w 16"/>
              <a:gd name="T1" fmla="*/ 5 h 8"/>
              <a:gd name="T2" fmla="*/ 0 w 16"/>
              <a:gd name="T3" fmla="*/ 5 h 8"/>
              <a:gd name="T4" fmla="*/ 4 w 16"/>
              <a:gd name="T5" fmla="*/ 0 h 8"/>
              <a:gd name="T6" fmla="*/ 15 w 16"/>
              <a:gd name="T7" fmla="*/ 7 h 8"/>
              <a:gd name="T8" fmla="*/ 0 w 16"/>
              <a:gd name="T9" fmla="*/ 5 h 8"/>
              <a:gd name="T10" fmla="*/ 0 w 16"/>
              <a:gd name="T11" fmla="*/ 5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5"/>
                </a:moveTo>
                <a:lnTo>
                  <a:pt x="0" y="5"/>
                </a:lnTo>
                <a:lnTo>
                  <a:pt x="4" y="0"/>
                </a:lnTo>
                <a:lnTo>
                  <a:pt x="15" y="7"/>
                </a:lnTo>
                <a:lnTo>
                  <a:pt x="0" y="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24" name="Freeform 723"/>
          <p:cNvSpPr>
            <a:spLocks/>
          </p:cNvSpPr>
          <p:nvPr/>
        </p:nvSpPr>
        <p:spPr bwMode="auto">
          <a:xfrm>
            <a:off x="2658765" y="5477253"/>
            <a:ext cx="66571" cy="69391"/>
          </a:xfrm>
          <a:custGeom>
            <a:avLst/>
            <a:gdLst>
              <a:gd name="T0" fmla="*/ 0 w 39"/>
              <a:gd name="T1" fmla="*/ 34 h 42"/>
              <a:gd name="T2" fmla="*/ 0 w 39"/>
              <a:gd name="T3" fmla="*/ 34 h 42"/>
              <a:gd name="T4" fmla="*/ 6 w 39"/>
              <a:gd name="T5" fmla="*/ 27 h 42"/>
              <a:gd name="T6" fmla="*/ 26 w 39"/>
              <a:gd name="T7" fmla="*/ 31 h 42"/>
              <a:gd name="T8" fmla="*/ 17 w 39"/>
              <a:gd name="T9" fmla="*/ 21 h 42"/>
              <a:gd name="T10" fmla="*/ 27 w 39"/>
              <a:gd name="T11" fmla="*/ 14 h 42"/>
              <a:gd name="T12" fmla="*/ 12 w 39"/>
              <a:gd name="T13" fmla="*/ 12 h 42"/>
              <a:gd name="T14" fmla="*/ 12 w 39"/>
              <a:gd name="T15" fmla="*/ 2 h 42"/>
              <a:gd name="T16" fmla="*/ 36 w 39"/>
              <a:gd name="T17" fmla="*/ 0 h 42"/>
              <a:gd name="T18" fmla="*/ 38 w 39"/>
              <a:gd name="T19" fmla="*/ 41 h 42"/>
              <a:gd name="T20" fmla="*/ 0 w 39"/>
              <a:gd name="T21" fmla="*/ 34 h 42"/>
              <a:gd name="T22" fmla="*/ 0 w 39"/>
              <a:gd name="T23" fmla="*/ 34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42"/>
              <a:gd name="T38" fmla="*/ 39 w 3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42">
                <a:moveTo>
                  <a:pt x="0" y="34"/>
                </a:moveTo>
                <a:lnTo>
                  <a:pt x="0" y="34"/>
                </a:lnTo>
                <a:lnTo>
                  <a:pt x="6" y="27"/>
                </a:lnTo>
                <a:lnTo>
                  <a:pt x="26" y="31"/>
                </a:lnTo>
                <a:lnTo>
                  <a:pt x="17" y="21"/>
                </a:lnTo>
                <a:lnTo>
                  <a:pt x="27" y="14"/>
                </a:lnTo>
                <a:lnTo>
                  <a:pt x="12" y="12"/>
                </a:lnTo>
                <a:lnTo>
                  <a:pt x="12" y="2"/>
                </a:lnTo>
                <a:lnTo>
                  <a:pt x="36" y="0"/>
                </a:lnTo>
                <a:lnTo>
                  <a:pt x="38" y="41"/>
                </a:lnTo>
                <a:lnTo>
                  <a:pt x="0" y="3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25" name="Freeform 724"/>
          <p:cNvSpPr>
            <a:spLocks/>
          </p:cNvSpPr>
          <p:nvPr/>
        </p:nvSpPr>
        <p:spPr bwMode="auto">
          <a:xfrm>
            <a:off x="2691197" y="5556557"/>
            <a:ext cx="49502" cy="14869"/>
          </a:xfrm>
          <a:custGeom>
            <a:avLst/>
            <a:gdLst>
              <a:gd name="T0" fmla="*/ 0 w 29"/>
              <a:gd name="T1" fmla="*/ 0 h 9"/>
              <a:gd name="T2" fmla="*/ 0 w 29"/>
              <a:gd name="T3" fmla="*/ 0 h 9"/>
              <a:gd name="T4" fmla="*/ 25 w 29"/>
              <a:gd name="T5" fmla="*/ 2 h 9"/>
              <a:gd name="T6" fmla="*/ 28 w 29"/>
              <a:gd name="T7" fmla="*/ 8 h 9"/>
              <a:gd name="T8" fmla="*/ 0 w 29"/>
              <a:gd name="T9" fmla="*/ 0 h 9"/>
              <a:gd name="T10" fmla="*/ 0 w 29"/>
              <a:gd name="T11" fmla="*/ 0 h 9"/>
              <a:gd name="T12" fmla="*/ 0 60000 65536"/>
              <a:gd name="T13" fmla="*/ 0 60000 65536"/>
              <a:gd name="T14" fmla="*/ 0 60000 65536"/>
              <a:gd name="T15" fmla="*/ 0 60000 65536"/>
              <a:gd name="T16" fmla="*/ 0 60000 65536"/>
              <a:gd name="T17" fmla="*/ 0 60000 65536"/>
              <a:gd name="T18" fmla="*/ 0 w 29"/>
              <a:gd name="T19" fmla="*/ 0 h 9"/>
              <a:gd name="T20" fmla="*/ 29 w 29"/>
              <a:gd name="T21" fmla="*/ 9 h 9"/>
            </a:gdLst>
            <a:ahLst/>
            <a:cxnLst>
              <a:cxn ang="T12">
                <a:pos x="T0" y="T1"/>
              </a:cxn>
              <a:cxn ang="T13">
                <a:pos x="T2" y="T3"/>
              </a:cxn>
              <a:cxn ang="T14">
                <a:pos x="T4" y="T5"/>
              </a:cxn>
              <a:cxn ang="T15">
                <a:pos x="T6" y="T7"/>
              </a:cxn>
              <a:cxn ang="T16">
                <a:pos x="T8" y="T9"/>
              </a:cxn>
              <a:cxn ang="T17">
                <a:pos x="T10" y="T11"/>
              </a:cxn>
            </a:cxnLst>
            <a:rect l="T18" t="T19" r="T20" b="T21"/>
            <a:pathLst>
              <a:path w="29" h="9">
                <a:moveTo>
                  <a:pt x="0" y="0"/>
                </a:moveTo>
                <a:lnTo>
                  <a:pt x="0" y="0"/>
                </a:lnTo>
                <a:lnTo>
                  <a:pt x="25" y="2"/>
                </a:lnTo>
                <a:lnTo>
                  <a:pt x="28" y="8"/>
                </a:lnTo>
                <a:lnTo>
                  <a:pt x="0" y="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26" name="Freeform 725"/>
          <p:cNvSpPr>
            <a:spLocks/>
          </p:cNvSpPr>
          <p:nvPr/>
        </p:nvSpPr>
        <p:spPr bwMode="auto">
          <a:xfrm>
            <a:off x="2737285" y="5546644"/>
            <a:ext cx="23897" cy="11565"/>
          </a:xfrm>
          <a:custGeom>
            <a:avLst/>
            <a:gdLst>
              <a:gd name="T0" fmla="*/ 0 w 14"/>
              <a:gd name="T1" fmla="*/ 6 h 7"/>
              <a:gd name="T2" fmla="*/ 0 w 14"/>
              <a:gd name="T3" fmla="*/ 6 h 7"/>
              <a:gd name="T4" fmla="*/ 3 w 14"/>
              <a:gd name="T5" fmla="*/ 0 h 7"/>
              <a:gd name="T6" fmla="*/ 13 w 14"/>
              <a:gd name="T7" fmla="*/ 6 h 7"/>
              <a:gd name="T8" fmla="*/ 0 w 14"/>
              <a:gd name="T9" fmla="*/ 6 h 7"/>
              <a:gd name="T10" fmla="*/ 0 w 14"/>
              <a:gd name="T11" fmla="*/ 6 h 7"/>
              <a:gd name="T12" fmla="*/ 0 60000 65536"/>
              <a:gd name="T13" fmla="*/ 0 60000 65536"/>
              <a:gd name="T14" fmla="*/ 0 60000 65536"/>
              <a:gd name="T15" fmla="*/ 0 60000 65536"/>
              <a:gd name="T16" fmla="*/ 0 60000 65536"/>
              <a:gd name="T17" fmla="*/ 0 60000 65536"/>
              <a:gd name="T18" fmla="*/ 0 w 14"/>
              <a:gd name="T19" fmla="*/ 0 h 7"/>
              <a:gd name="T20" fmla="*/ 14 w 14"/>
              <a:gd name="T21" fmla="*/ 7 h 7"/>
            </a:gdLst>
            <a:ahLst/>
            <a:cxnLst>
              <a:cxn ang="T12">
                <a:pos x="T0" y="T1"/>
              </a:cxn>
              <a:cxn ang="T13">
                <a:pos x="T2" y="T3"/>
              </a:cxn>
              <a:cxn ang="T14">
                <a:pos x="T4" y="T5"/>
              </a:cxn>
              <a:cxn ang="T15">
                <a:pos x="T6" y="T7"/>
              </a:cxn>
              <a:cxn ang="T16">
                <a:pos x="T8" y="T9"/>
              </a:cxn>
              <a:cxn ang="T17">
                <a:pos x="T10" y="T11"/>
              </a:cxn>
            </a:cxnLst>
            <a:rect l="T18" t="T19" r="T20" b="T21"/>
            <a:pathLst>
              <a:path w="14" h="7">
                <a:moveTo>
                  <a:pt x="0" y="6"/>
                </a:moveTo>
                <a:lnTo>
                  <a:pt x="0" y="6"/>
                </a:lnTo>
                <a:lnTo>
                  <a:pt x="3" y="0"/>
                </a:lnTo>
                <a:lnTo>
                  <a:pt x="13" y="6"/>
                </a:lnTo>
                <a:lnTo>
                  <a:pt x="0" y="6"/>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27" name="Freeform 726"/>
          <p:cNvSpPr>
            <a:spLocks/>
          </p:cNvSpPr>
          <p:nvPr/>
        </p:nvSpPr>
        <p:spPr bwMode="auto">
          <a:xfrm>
            <a:off x="2484657" y="3897786"/>
            <a:ext cx="279940" cy="373389"/>
          </a:xfrm>
          <a:custGeom>
            <a:avLst/>
            <a:gdLst>
              <a:gd name="T0" fmla="*/ 0 w 164"/>
              <a:gd name="T1" fmla="*/ 150 h 226"/>
              <a:gd name="T2" fmla="*/ 0 w 164"/>
              <a:gd name="T3" fmla="*/ 150 h 226"/>
              <a:gd name="T4" fmla="*/ 20 w 164"/>
              <a:gd name="T5" fmla="*/ 166 h 226"/>
              <a:gd name="T6" fmla="*/ 49 w 164"/>
              <a:gd name="T7" fmla="*/ 170 h 226"/>
              <a:gd name="T8" fmla="*/ 78 w 164"/>
              <a:gd name="T9" fmla="*/ 200 h 226"/>
              <a:gd name="T10" fmla="*/ 117 w 164"/>
              <a:gd name="T11" fmla="*/ 203 h 226"/>
              <a:gd name="T12" fmla="*/ 111 w 164"/>
              <a:gd name="T13" fmla="*/ 219 h 226"/>
              <a:gd name="T14" fmla="*/ 121 w 164"/>
              <a:gd name="T15" fmla="*/ 225 h 226"/>
              <a:gd name="T16" fmla="*/ 127 w 164"/>
              <a:gd name="T17" fmla="*/ 186 h 226"/>
              <a:gd name="T18" fmla="*/ 120 w 164"/>
              <a:gd name="T19" fmla="*/ 162 h 226"/>
              <a:gd name="T20" fmla="*/ 133 w 164"/>
              <a:gd name="T21" fmla="*/ 160 h 226"/>
              <a:gd name="T22" fmla="*/ 123 w 164"/>
              <a:gd name="T23" fmla="*/ 146 h 226"/>
              <a:gd name="T24" fmla="*/ 155 w 164"/>
              <a:gd name="T25" fmla="*/ 141 h 226"/>
              <a:gd name="T26" fmla="*/ 163 w 164"/>
              <a:gd name="T27" fmla="*/ 151 h 226"/>
              <a:gd name="T28" fmla="*/ 151 w 164"/>
              <a:gd name="T29" fmla="*/ 131 h 226"/>
              <a:gd name="T30" fmla="*/ 155 w 164"/>
              <a:gd name="T31" fmla="*/ 84 h 226"/>
              <a:gd name="T32" fmla="*/ 128 w 164"/>
              <a:gd name="T33" fmla="*/ 86 h 226"/>
              <a:gd name="T34" fmla="*/ 120 w 164"/>
              <a:gd name="T35" fmla="*/ 74 h 226"/>
              <a:gd name="T36" fmla="*/ 93 w 164"/>
              <a:gd name="T37" fmla="*/ 71 h 226"/>
              <a:gd name="T38" fmla="*/ 76 w 164"/>
              <a:gd name="T39" fmla="*/ 44 h 226"/>
              <a:gd name="T40" fmla="*/ 102 w 164"/>
              <a:gd name="T41" fmla="*/ 8 h 226"/>
              <a:gd name="T42" fmla="*/ 98 w 164"/>
              <a:gd name="T43" fmla="*/ 0 h 226"/>
              <a:gd name="T44" fmla="*/ 52 w 164"/>
              <a:gd name="T45" fmla="*/ 20 h 226"/>
              <a:gd name="T46" fmla="*/ 27 w 164"/>
              <a:gd name="T47" fmla="*/ 60 h 226"/>
              <a:gd name="T48" fmla="*/ 19 w 164"/>
              <a:gd name="T49" fmla="*/ 50 h 226"/>
              <a:gd name="T50" fmla="*/ 13 w 164"/>
              <a:gd name="T51" fmla="*/ 70 h 226"/>
              <a:gd name="T52" fmla="*/ 19 w 164"/>
              <a:gd name="T53" fmla="*/ 115 h 226"/>
              <a:gd name="T54" fmla="*/ 25 w 164"/>
              <a:gd name="T55" fmla="*/ 115 h 226"/>
              <a:gd name="T56" fmla="*/ 0 w 164"/>
              <a:gd name="T57" fmla="*/ 150 h 226"/>
              <a:gd name="T58" fmla="*/ 0 w 164"/>
              <a:gd name="T59" fmla="*/ 150 h 2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4"/>
              <a:gd name="T91" fmla="*/ 0 h 226"/>
              <a:gd name="T92" fmla="*/ 164 w 164"/>
              <a:gd name="T93" fmla="*/ 226 h 2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4" h="226">
                <a:moveTo>
                  <a:pt x="0" y="150"/>
                </a:moveTo>
                <a:lnTo>
                  <a:pt x="0" y="150"/>
                </a:lnTo>
                <a:lnTo>
                  <a:pt x="20" y="166"/>
                </a:lnTo>
                <a:lnTo>
                  <a:pt x="49" y="170"/>
                </a:lnTo>
                <a:lnTo>
                  <a:pt x="78" y="200"/>
                </a:lnTo>
                <a:lnTo>
                  <a:pt x="117" y="203"/>
                </a:lnTo>
                <a:lnTo>
                  <a:pt x="111" y="219"/>
                </a:lnTo>
                <a:lnTo>
                  <a:pt x="121" y="225"/>
                </a:lnTo>
                <a:lnTo>
                  <a:pt x="127" y="186"/>
                </a:lnTo>
                <a:lnTo>
                  <a:pt x="120" y="162"/>
                </a:lnTo>
                <a:lnTo>
                  <a:pt x="133" y="160"/>
                </a:lnTo>
                <a:lnTo>
                  <a:pt x="123" y="146"/>
                </a:lnTo>
                <a:lnTo>
                  <a:pt x="155" y="141"/>
                </a:lnTo>
                <a:lnTo>
                  <a:pt x="163" y="151"/>
                </a:lnTo>
                <a:lnTo>
                  <a:pt x="151" y="131"/>
                </a:lnTo>
                <a:lnTo>
                  <a:pt x="155" y="84"/>
                </a:lnTo>
                <a:lnTo>
                  <a:pt x="128" y="86"/>
                </a:lnTo>
                <a:lnTo>
                  <a:pt x="120" y="74"/>
                </a:lnTo>
                <a:lnTo>
                  <a:pt x="93" y="71"/>
                </a:lnTo>
                <a:lnTo>
                  <a:pt x="76" y="44"/>
                </a:lnTo>
                <a:lnTo>
                  <a:pt x="102" y="8"/>
                </a:lnTo>
                <a:lnTo>
                  <a:pt x="98" y="0"/>
                </a:lnTo>
                <a:lnTo>
                  <a:pt x="52" y="20"/>
                </a:lnTo>
                <a:lnTo>
                  <a:pt x="27" y="60"/>
                </a:lnTo>
                <a:lnTo>
                  <a:pt x="19" y="50"/>
                </a:lnTo>
                <a:lnTo>
                  <a:pt x="13" y="70"/>
                </a:lnTo>
                <a:lnTo>
                  <a:pt x="19" y="115"/>
                </a:lnTo>
                <a:lnTo>
                  <a:pt x="25" y="115"/>
                </a:lnTo>
                <a:lnTo>
                  <a:pt x="0" y="15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28" name="Freeform 727"/>
          <p:cNvSpPr>
            <a:spLocks/>
          </p:cNvSpPr>
          <p:nvPr/>
        </p:nvSpPr>
        <p:spPr bwMode="auto">
          <a:xfrm>
            <a:off x="2324203" y="3929177"/>
            <a:ext cx="75106" cy="61130"/>
          </a:xfrm>
          <a:custGeom>
            <a:avLst/>
            <a:gdLst>
              <a:gd name="T0" fmla="*/ 0 w 44"/>
              <a:gd name="T1" fmla="*/ 0 h 37"/>
              <a:gd name="T2" fmla="*/ 0 w 44"/>
              <a:gd name="T3" fmla="*/ 0 h 37"/>
              <a:gd name="T4" fmla="*/ 1 w 44"/>
              <a:gd name="T5" fmla="*/ 14 h 37"/>
              <a:gd name="T6" fmla="*/ 10 w 44"/>
              <a:gd name="T7" fmla="*/ 12 h 37"/>
              <a:gd name="T8" fmla="*/ 37 w 44"/>
              <a:gd name="T9" fmla="*/ 36 h 37"/>
              <a:gd name="T10" fmla="*/ 43 w 44"/>
              <a:gd name="T11" fmla="*/ 18 h 37"/>
              <a:gd name="T12" fmla="*/ 28 w 44"/>
              <a:gd name="T13" fmla="*/ 1 h 37"/>
              <a:gd name="T14" fmla="*/ 0 w 44"/>
              <a:gd name="T15" fmla="*/ 0 h 37"/>
              <a:gd name="T16" fmla="*/ 0 w 44"/>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37"/>
              <a:gd name="T29" fmla="*/ 44 w 44"/>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37">
                <a:moveTo>
                  <a:pt x="0" y="0"/>
                </a:moveTo>
                <a:lnTo>
                  <a:pt x="0" y="0"/>
                </a:lnTo>
                <a:lnTo>
                  <a:pt x="1" y="14"/>
                </a:lnTo>
                <a:lnTo>
                  <a:pt x="10" y="12"/>
                </a:lnTo>
                <a:lnTo>
                  <a:pt x="37" y="36"/>
                </a:lnTo>
                <a:lnTo>
                  <a:pt x="43" y="18"/>
                </a:lnTo>
                <a:lnTo>
                  <a:pt x="28" y="1"/>
                </a:lnTo>
                <a:lnTo>
                  <a:pt x="0" y="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29" name="Freeform 728"/>
          <p:cNvSpPr>
            <a:spLocks/>
          </p:cNvSpPr>
          <p:nvPr/>
        </p:nvSpPr>
        <p:spPr bwMode="auto">
          <a:xfrm>
            <a:off x="2341273" y="3649962"/>
            <a:ext cx="252628" cy="77652"/>
          </a:xfrm>
          <a:custGeom>
            <a:avLst/>
            <a:gdLst>
              <a:gd name="T0" fmla="*/ 0 w 148"/>
              <a:gd name="T1" fmla="*/ 18 h 47"/>
              <a:gd name="T2" fmla="*/ 0 w 148"/>
              <a:gd name="T3" fmla="*/ 18 h 47"/>
              <a:gd name="T4" fmla="*/ 20 w 148"/>
              <a:gd name="T5" fmla="*/ 2 h 47"/>
              <a:gd name="T6" fmla="*/ 58 w 148"/>
              <a:gd name="T7" fmla="*/ 0 h 47"/>
              <a:gd name="T8" fmla="*/ 147 w 148"/>
              <a:gd name="T9" fmla="*/ 39 h 47"/>
              <a:gd name="T10" fmla="*/ 99 w 148"/>
              <a:gd name="T11" fmla="*/ 46 h 47"/>
              <a:gd name="T12" fmla="*/ 107 w 148"/>
              <a:gd name="T13" fmla="*/ 37 h 47"/>
              <a:gd name="T14" fmla="*/ 84 w 148"/>
              <a:gd name="T15" fmla="*/ 22 h 47"/>
              <a:gd name="T16" fmla="*/ 40 w 148"/>
              <a:gd name="T17" fmla="*/ 14 h 47"/>
              <a:gd name="T18" fmla="*/ 42 w 148"/>
              <a:gd name="T19" fmla="*/ 7 h 47"/>
              <a:gd name="T20" fmla="*/ 0 w 148"/>
              <a:gd name="T21" fmla="*/ 18 h 47"/>
              <a:gd name="T22" fmla="*/ 0 w 148"/>
              <a:gd name="T23" fmla="*/ 18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8"/>
              <a:gd name="T37" fmla="*/ 0 h 47"/>
              <a:gd name="T38" fmla="*/ 148 w 148"/>
              <a:gd name="T39" fmla="*/ 47 h 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8" h="47">
                <a:moveTo>
                  <a:pt x="0" y="18"/>
                </a:moveTo>
                <a:lnTo>
                  <a:pt x="0" y="18"/>
                </a:lnTo>
                <a:lnTo>
                  <a:pt x="20" y="2"/>
                </a:lnTo>
                <a:lnTo>
                  <a:pt x="58" y="0"/>
                </a:lnTo>
                <a:lnTo>
                  <a:pt x="147" y="39"/>
                </a:lnTo>
                <a:lnTo>
                  <a:pt x="99" y="46"/>
                </a:lnTo>
                <a:lnTo>
                  <a:pt x="107" y="37"/>
                </a:lnTo>
                <a:lnTo>
                  <a:pt x="84" y="22"/>
                </a:lnTo>
                <a:lnTo>
                  <a:pt x="40" y="14"/>
                </a:lnTo>
                <a:lnTo>
                  <a:pt x="42" y="7"/>
                </a:lnTo>
                <a:lnTo>
                  <a:pt x="0" y="1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30" name="Freeform 729"/>
          <p:cNvSpPr>
            <a:spLocks/>
          </p:cNvSpPr>
          <p:nvPr/>
        </p:nvSpPr>
        <p:spPr bwMode="auto">
          <a:xfrm>
            <a:off x="2646817" y="3725961"/>
            <a:ext cx="80227" cy="44608"/>
          </a:xfrm>
          <a:custGeom>
            <a:avLst/>
            <a:gdLst>
              <a:gd name="T0" fmla="*/ 0 w 47"/>
              <a:gd name="T1" fmla="*/ 0 h 27"/>
              <a:gd name="T2" fmla="*/ 0 w 47"/>
              <a:gd name="T3" fmla="*/ 0 h 27"/>
              <a:gd name="T4" fmla="*/ 0 w 47"/>
              <a:gd name="T5" fmla="*/ 26 h 27"/>
              <a:gd name="T6" fmla="*/ 46 w 47"/>
              <a:gd name="T7" fmla="*/ 17 h 27"/>
              <a:gd name="T8" fmla="*/ 26 w 47"/>
              <a:gd name="T9" fmla="*/ 3 h 27"/>
              <a:gd name="T10" fmla="*/ 0 w 47"/>
              <a:gd name="T11" fmla="*/ 0 h 27"/>
              <a:gd name="T12" fmla="*/ 0 w 47"/>
              <a:gd name="T13" fmla="*/ 0 h 27"/>
              <a:gd name="T14" fmla="*/ 0 60000 65536"/>
              <a:gd name="T15" fmla="*/ 0 60000 65536"/>
              <a:gd name="T16" fmla="*/ 0 60000 65536"/>
              <a:gd name="T17" fmla="*/ 0 60000 65536"/>
              <a:gd name="T18" fmla="*/ 0 60000 65536"/>
              <a:gd name="T19" fmla="*/ 0 60000 65536"/>
              <a:gd name="T20" fmla="*/ 0 60000 65536"/>
              <a:gd name="T21" fmla="*/ 0 w 47"/>
              <a:gd name="T22" fmla="*/ 0 h 27"/>
              <a:gd name="T23" fmla="*/ 47 w 47"/>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27">
                <a:moveTo>
                  <a:pt x="0" y="0"/>
                </a:moveTo>
                <a:lnTo>
                  <a:pt x="0" y="0"/>
                </a:lnTo>
                <a:lnTo>
                  <a:pt x="0" y="26"/>
                </a:lnTo>
                <a:lnTo>
                  <a:pt x="46" y="17"/>
                </a:lnTo>
                <a:lnTo>
                  <a:pt x="26" y="3"/>
                </a:lnTo>
                <a:lnTo>
                  <a:pt x="0" y="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31" name="Freeform 730"/>
          <p:cNvSpPr>
            <a:spLocks/>
          </p:cNvSpPr>
          <p:nvPr/>
        </p:nvSpPr>
        <p:spPr bwMode="auto">
          <a:xfrm>
            <a:off x="2438569" y="4145610"/>
            <a:ext cx="131435" cy="142086"/>
          </a:xfrm>
          <a:custGeom>
            <a:avLst/>
            <a:gdLst>
              <a:gd name="T0" fmla="*/ 0 w 77"/>
              <a:gd name="T1" fmla="*/ 32 h 86"/>
              <a:gd name="T2" fmla="*/ 0 w 77"/>
              <a:gd name="T3" fmla="*/ 32 h 86"/>
              <a:gd name="T4" fmla="*/ 1 w 77"/>
              <a:gd name="T5" fmla="*/ 49 h 86"/>
              <a:gd name="T6" fmla="*/ 14 w 77"/>
              <a:gd name="T7" fmla="*/ 53 h 86"/>
              <a:gd name="T8" fmla="*/ 7 w 77"/>
              <a:gd name="T9" fmla="*/ 67 h 86"/>
              <a:gd name="T10" fmla="*/ 4 w 77"/>
              <a:gd name="T11" fmla="*/ 81 h 86"/>
              <a:gd name="T12" fmla="*/ 22 w 77"/>
              <a:gd name="T13" fmla="*/ 85 h 86"/>
              <a:gd name="T14" fmla="*/ 38 w 77"/>
              <a:gd name="T15" fmla="*/ 61 h 86"/>
              <a:gd name="T16" fmla="*/ 69 w 77"/>
              <a:gd name="T17" fmla="*/ 42 h 86"/>
              <a:gd name="T18" fmla="*/ 76 w 77"/>
              <a:gd name="T19" fmla="*/ 20 h 86"/>
              <a:gd name="T20" fmla="*/ 47 w 77"/>
              <a:gd name="T21" fmla="*/ 16 h 86"/>
              <a:gd name="T22" fmla="*/ 27 w 77"/>
              <a:gd name="T23" fmla="*/ 0 h 86"/>
              <a:gd name="T24" fmla="*/ 9 w 77"/>
              <a:gd name="T25" fmla="*/ 8 h 86"/>
              <a:gd name="T26" fmla="*/ 0 w 77"/>
              <a:gd name="T27" fmla="*/ 32 h 86"/>
              <a:gd name="T28" fmla="*/ 0 w 77"/>
              <a:gd name="T29" fmla="*/ 32 h 8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6"/>
              <a:gd name="T47" fmla="*/ 77 w 77"/>
              <a:gd name="T48" fmla="*/ 86 h 8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6">
                <a:moveTo>
                  <a:pt x="0" y="32"/>
                </a:moveTo>
                <a:lnTo>
                  <a:pt x="0" y="32"/>
                </a:lnTo>
                <a:lnTo>
                  <a:pt x="1" y="49"/>
                </a:lnTo>
                <a:lnTo>
                  <a:pt x="14" y="53"/>
                </a:lnTo>
                <a:lnTo>
                  <a:pt x="7" y="67"/>
                </a:lnTo>
                <a:lnTo>
                  <a:pt x="4" y="81"/>
                </a:lnTo>
                <a:lnTo>
                  <a:pt x="22" y="85"/>
                </a:lnTo>
                <a:lnTo>
                  <a:pt x="38" y="61"/>
                </a:lnTo>
                <a:lnTo>
                  <a:pt x="69" y="42"/>
                </a:lnTo>
                <a:lnTo>
                  <a:pt x="76" y="20"/>
                </a:lnTo>
                <a:lnTo>
                  <a:pt x="47" y="16"/>
                </a:lnTo>
                <a:lnTo>
                  <a:pt x="27" y="0"/>
                </a:lnTo>
                <a:lnTo>
                  <a:pt x="9" y="8"/>
                </a:lnTo>
                <a:lnTo>
                  <a:pt x="0" y="3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32" name="Freeform 731"/>
          <p:cNvSpPr>
            <a:spLocks/>
          </p:cNvSpPr>
          <p:nvPr/>
        </p:nvSpPr>
        <p:spPr bwMode="auto">
          <a:xfrm>
            <a:off x="2221786" y="3849874"/>
            <a:ext cx="56329" cy="24782"/>
          </a:xfrm>
          <a:custGeom>
            <a:avLst/>
            <a:gdLst>
              <a:gd name="T0" fmla="*/ 0 w 33"/>
              <a:gd name="T1" fmla="*/ 11 h 15"/>
              <a:gd name="T2" fmla="*/ 0 w 33"/>
              <a:gd name="T3" fmla="*/ 11 h 15"/>
              <a:gd name="T4" fmla="*/ 9 w 33"/>
              <a:gd name="T5" fmla="*/ 0 h 15"/>
              <a:gd name="T6" fmla="*/ 32 w 33"/>
              <a:gd name="T7" fmla="*/ 14 h 15"/>
              <a:gd name="T8" fmla="*/ 0 w 33"/>
              <a:gd name="T9" fmla="*/ 11 h 15"/>
              <a:gd name="T10" fmla="*/ 0 w 33"/>
              <a:gd name="T11" fmla="*/ 11 h 15"/>
              <a:gd name="T12" fmla="*/ 0 60000 65536"/>
              <a:gd name="T13" fmla="*/ 0 60000 65536"/>
              <a:gd name="T14" fmla="*/ 0 60000 65536"/>
              <a:gd name="T15" fmla="*/ 0 60000 65536"/>
              <a:gd name="T16" fmla="*/ 0 60000 65536"/>
              <a:gd name="T17" fmla="*/ 0 60000 65536"/>
              <a:gd name="T18" fmla="*/ 0 w 33"/>
              <a:gd name="T19" fmla="*/ 0 h 15"/>
              <a:gd name="T20" fmla="*/ 33 w 3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3" h="15">
                <a:moveTo>
                  <a:pt x="0" y="11"/>
                </a:moveTo>
                <a:lnTo>
                  <a:pt x="0" y="11"/>
                </a:lnTo>
                <a:lnTo>
                  <a:pt x="9" y="0"/>
                </a:lnTo>
                <a:lnTo>
                  <a:pt x="32" y="14"/>
                </a:lnTo>
                <a:lnTo>
                  <a:pt x="0" y="11"/>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33" name="Freeform 732"/>
          <p:cNvSpPr>
            <a:spLocks/>
          </p:cNvSpPr>
          <p:nvPr/>
        </p:nvSpPr>
        <p:spPr bwMode="auto">
          <a:xfrm>
            <a:off x="2902859" y="5439253"/>
            <a:ext cx="37553" cy="21478"/>
          </a:xfrm>
          <a:custGeom>
            <a:avLst/>
            <a:gdLst>
              <a:gd name="T0" fmla="*/ 0 w 22"/>
              <a:gd name="T1" fmla="*/ 12 h 13"/>
              <a:gd name="T2" fmla="*/ 0 w 22"/>
              <a:gd name="T3" fmla="*/ 12 h 13"/>
              <a:gd name="T4" fmla="*/ 12 w 22"/>
              <a:gd name="T5" fmla="*/ 5 h 13"/>
              <a:gd name="T6" fmla="*/ 6 w 22"/>
              <a:gd name="T7" fmla="*/ 0 h 13"/>
              <a:gd name="T8" fmla="*/ 21 w 22"/>
              <a:gd name="T9" fmla="*/ 1 h 13"/>
              <a:gd name="T10" fmla="*/ 0 w 22"/>
              <a:gd name="T11" fmla="*/ 12 h 13"/>
              <a:gd name="T12" fmla="*/ 0 w 22"/>
              <a:gd name="T13" fmla="*/ 12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0" y="12"/>
                </a:moveTo>
                <a:lnTo>
                  <a:pt x="0" y="12"/>
                </a:lnTo>
                <a:lnTo>
                  <a:pt x="12" y="5"/>
                </a:lnTo>
                <a:lnTo>
                  <a:pt x="6" y="0"/>
                </a:lnTo>
                <a:lnTo>
                  <a:pt x="21" y="1"/>
                </a:lnTo>
                <a:lnTo>
                  <a:pt x="0" y="1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34" name="Freeform 733"/>
          <p:cNvSpPr>
            <a:spLocks/>
          </p:cNvSpPr>
          <p:nvPr/>
        </p:nvSpPr>
        <p:spPr bwMode="auto">
          <a:xfrm>
            <a:off x="2931877" y="5435949"/>
            <a:ext cx="42674" cy="26435"/>
          </a:xfrm>
          <a:custGeom>
            <a:avLst/>
            <a:gdLst>
              <a:gd name="T0" fmla="*/ 0 w 25"/>
              <a:gd name="T1" fmla="*/ 15 h 16"/>
              <a:gd name="T2" fmla="*/ 0 w 25"/>
              <a:gd name="T3" fmla="*/ 15 h 16"/>
              <a:gd name="T4" fmla="*/ 11 w 25"/>
              <a:gd name="T5" fmla="*/ 0 h 16"/>
              <a:gd name="T6" fmla="*/ 24 w 25"/>
              <a:gd name="T7" fmla="*/ 5 h 16"/>
              <a:gd name="T8" fmla="*/ 0 w 25"/>
              <a:gd name="T9" fmla="*/ 15 h 16"/>
              <a:gd name="T10" fmla="*/ 0 w 25"/>
              <a:gd name="T11" fmla="*/ 15 h 16"/>
              <a:gd name="T12" fmla="*/ 0 60000 65536"/>
              <a:gd name="T13" fmla="*/ 0 60000 65536"/>
              <a:gd name="T14" fmla="*/ 0 60000 65536"/>
              <a:gd name="T15" fmla="*/ 0 60000 65536"/>
              <a:gd name="T16" fmla="*/ 0 60000 65536"/>
              <a:gd name="T17" fmla="*/ 0 60000 65536"/>
              <a:gd name="T18" fmla="*/ 0 w 25"/>
              <a:gd name="T19" fmla="*/ 0 h 16"/>
              <a:gd name="T20" fmla="*/ 25 w 2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5" h="16">
                <a:moveTo>
                  <a:pt x="0" y="15"/>
                </a:moveTo>
                <a:lnTo>
                  <a:pt x="0" y="15"/>
                </a:lnTo>
                <a:lnTo>
                  <a:pt x="11" y="0"/>
                </a:lnTo>
                <a:lnTo>
                  <a:pt x="24" y="5"/>
                </a:lnTo>
                <a:lnTo>
                  <a:pt x="0" y="1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35" name="Freeform 734"/>
          <p:cNvSpPr>
            <a:spLocks/>
          </p:cNvSpPr>
          <p:nvPr/>
        </p:nvSpPr>
        <p:spPr bwMode="auto">
          <a:xfrm>
            <a:off x="3053071" y="4051437"/>
            <a:ext cx="69985" cy="79304"/>
          </a:xfrm>
          <a:custGeom>
            <a:avLst/>
            <a:gdLst>
              <a:gd name="T0" fmla="*/ 0 w 41"/>
              <a:gd name="T1" fmla="*/ 45 h 48"/>
              <a:gd name="T2" fmla="*/ 0 w 41"/>
              <a:gd name="T3" fmla="*/ 45 h 48"/>
              <a:gd name="T4" fmla="*/ 6 w 41"/>
              <a:gd name="T5" fmla="*/ 0 h 48"/>
              <a:gd name="T6" fmla="*/ 40 w 41"/>
              <a:gd name="T7" fmla="*/ 21 h 48"/>
              <a:gd name="T8" fmla="*/ 20 w 41"/>
              <a:gd name="T9" fmla="*/ 47 h 48"/>
              <a:gd name="T10" fmla="*/ 0 w 41"/>
              <a:gd name="T11" fmla="*/ 45 h 48"/>
              <a:gd name="T12" fmla="*/ 0 w 41"/>
              <a:gd name="T13" fmla="*/ 45 h 48"/>
              <a:gd name="T14" fmla="*/ 0 60000 65536"/>
              <a:gd name="T15" fmla="*/ 0 60000 65536"/>
              <a:gd name="T16" fmla="*/ 0 60000 65536"/>
              <a:gd name="T17" fmla="*/ 0 60000 65536"/>
              <a:gd name="T18" fmla="*/ 0 60000 65536"/>
              <a:gd name="T19" fmla="*/ 0 60000 65536"/>
              <a:gd name="T20" fmla="*/ 0 60000 65536"/>
              <a:gd name="T21" fmla="*/ 0 w 41"/>
              <a:gd name="T22" fmla="*/ 0 h 48"/>
              <a:gd name="T23" fmla="*/ 41 w 41"/>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48">
                <a:moveTo>
                  <a:pt x="0" y="45"/>
                </a:moveTo>
                <a:lnTo>
                  <a:pt x="0" y="45"/>
                </a:lnTo>
                <a:lnTo>
                  <a:pt x="6" y="0"/>
                </a:lnTo>
                <a:lnTo>
                  <a:pt x="40" y="21"/>
                </a:lnTo>
                <a:lnTo>
                  <a:pt x="20" y="47"/>
                </a:lnTo>
                <a:lnTo>
                  <a:pt x="0" y="4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36" name="Freeform 735"/>
          <p:cNvSpPr>
            <a:spLocks/>
          </p:cNvSpPr>
          <p:nvPr/>
        </p:nvSpPr>
        <p:spPr bwMode="auto">
          <a:xfrm>
            <a:off x="2170578" y="3770570"/>
            <a:ext cx="93882" cy="99130"/>
          </a:xfrm>
          <a:custGeom>
            <a:avLst/>
            <a:gdLst>
              <a:gd name="T0" fmla="*/ 0 w 55"/>
              <a:gd name="T1" fmla="*/ 47 h 60"/>
              <a:gd name="T2" fmla="*/ 0 w 55"/>
              <a:gd name="T3" fmla="*/ 47 h 60"/>
              <a:gd name="T4" fmla="*/ 11 w 55"/>
              <a:gd name="T5" fmla="*/ 26 h 60"/>
              <a:gd name="T6" fmla="*/ 25 w 55"/>
              <a:gd name="T7" fmla="*/ 25 h 60"/>
              <a:gd name="T8" fmla="*/ 11 w 55"/>
              <a:gd name="T9" fmla="*/ 7 h 60"/>
              <a:gd name="T10" fmla="*/ 42 w 55"/>
              <a:gd name="T11" fmla="*/ 0 h 60"/>
              <a:gd name="T12" fmla="*/ 47 w 55"/>
              <a:gd name="T13" fmla="*/ 28 h 60"/>
              <a:gd name="T14" fmla="*/ 54 w 55"/>
              <a:gd name="T15" fmla="*/ 30 h 60"/>
              <a:gd name="T16" fmla="*/ 39 w 55"/>
              <a:gd name="T17" fmla="*/ 48 h 60"/>
              <a:gd name="T18" fmla="*/ 30 w 55"/>
              <a:gd name="T19" fmla="*/ 59 h 60"/>
              <a:gd name="T20" fmla="*/ 0 w 55"/>
              <a:gd name="T21" fmla="*/ 47 h 60"/>
              <a:gd name="T22" fmla="*/ 0 w 55"/>
              <a:gd name="T23" fmla="*/ 47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60"/>
              <a:gd name="T38" fmla="*/ 55 w 55"/>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60">
                <a:moveTo>
                  <a:pt x="0" y="47"/>
                </a:moveTo>
                <a:lnTo>
                  <a:pt x="0" y="47"/>
                </a:lnTo>
                <a:lnTo>
                  <a:pt x="11" y="26"/>
                </a:lnTo>
                <a:lnTo>
                  <a:pt x="25" y="25"/>
                </a:lnTo>
                <a:lnTo>
                  <a:pt x="11" y="7"/>
                </a:lnTo>
                <a:lnTo>
                  <a:pt x="42" y="0"/>
                </a:lnTo>
                <a:lnTo>
                  <a:pt x="47" y="28"/>
                </a:lnTo>
                <a:lnTo>
                  <a:pt x="54" y="30"/>
                </a:lnTo>
                <a:lnTo>
                  <a:pt x="39" y="48"/>
                </a:lnTo>
                <a:lnTo>
                  <a:pt x="30" y="59"/>
                </a:lnTo>
                <a:lnTo>
                  <a:pt x="0" y="47"/>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37" name="Freeform 736"/>
          <p:cNvSpPr>
            <a:spLocks/>
          </p:cNvSpPr>
          <p:nvPr/>
        </p:nvSpPr>
        <p:spPr bwMode="auto">
          <a:xfrm>
            <a:off x="2894324" y="3988655"/>
            <a:ext cx="112659" cy="155303"/>
          </a:xfrm>
          <a:custGeom>
            <a:avLst/>
            <a:gdLst>
              <a:gd name="T0" fmla="*/ 0 w 66"/>
              <a:gd name="T1" fmla="*/ 31 h 94"/>
              <a:gd name="T2" fmla="*/ 0 w 66"/>
              <a:gd name="T3" fmla="*/ 31 h 94"/>
              <a:gd name="T4" fmla="*/ 9 w 66"/>
              <a:gd name="T5" fmla="*/ 44 h 94"/>
              <a:gd name="T6" fmla="*/ 22 w 66"/>
              <a:gd name="T7" fmla="*/ 53 h 94"/>
              <a:gd name="T8" fmla="*/ 19 w 66"/>
              <a:gd name="T9" fmla="*/ 79 h 94"/>
              <a:gd name="T10" fmla="*/ 26 w 66"/>
              <a:gd name="T11" fmla="*/ 93 h 94"/>
              <a:gd name="T12" fmla="*/ 65 w 66"/>
              <a:gd name="T13" fmla="*/ 87 h 94"/>
              <a:gd name="T14" fmla="*/ 43 w 66"/>
              <a:gd name="T15" fmla="*/ 59 h 94"/>
              <a:gd name="T16" fmla="*/ 58 w 66"/>
              <a:gd name="T17" fmla="*/ 34 h 94"/>
              <a:gd name="T18" fmla="*/ 19 w 66"/>
              <a:gd name="T19" fmla="*/ 0 h 94"/>
              <a:gd name="T20" fmla="*/ 6 w 66"/>
              <a:gd name="T21" fmla="*/ 10 h 94"/>
              <a:gd name="T22" fmla="*/ 11 w 66"/>
              <a:gd name="T23" fmla="*/ 19 h 94"/>
              <a:gd name="T24" fmla="*/ 0 w 66"/>
              <a:gd name="T25" fmla="*/ 31 h 94"/>
              <a:gd name="T26" fmla="*/ 0 w 66"/>
              <a:gd name="T27" fmla="*/ 31 h 9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
              <a:gd name="T43" fmla="*/ 0 h 94"/>
              <a:gd name="T44" fmla="*/ 66 w 66"/>
              <a:gd name="T45" fmla="*/ 94 h 9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 h="94">
                <a:moveTo>
                  <a:pt x="0" y="31"/>
                </a:moveTo>
                <a:lnTo>
                  <a:pt x="0" y="31"/>
                </a:lnTo>
                <a:lnTo>
                  <a:pt x="9" y="44"/>
                </a:lnTo>
                <a:lnTo>
                  <a:pt x="22" y="53"/>
                </a:lnTo>
                <a:lnTo>
                  <a:pt x="19" y="79"/>
                </a:lnTo>
                <a:lnTo>
                  <a:pt x="26" y="93"/>
                </a:lnTo>
                <a:lnTo>
                  <a:pt x="65" y="87"/>
                </a:lnTo>
                <a:lnTo>
                  <a:pt x="43" y="59"/>
                </a:lnTo>
                <a:lnTo>
                  <a:pt x="58" y="34"/>
                </a:lnTo>
                <a:lnTo>
                  <a:pt x="19" y="0"/>
                </a:lnTo>
                <a:lnTo>
                  <a:pt x="6" y="10"/>
                </a:lnTo>
                <a:lnTo>
                  <a:pt x="11" y="19"/>
                </a:lnTo>
                <a:lnTo>
                  <a:pt x="0" y="31"/>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38" name="Freeform 737"/>
          <p:cNvSpPr>
            <a:spLocks/>
          </p:cNvSpPr>
          <p:nvPr/>
        </p:nvSpPr>
        <p:spPr bwMode="auto">
          <a:xfrm>
            <a:off x="2587074" y="3725961"/>
            <a:ext cx="61450" cy="44608"/>
          </a:xfrm>
          <a:custGeom>
            <a:avLst/>
            <a:gdLst>
              <a:gd name="T0" fmla="*/ 0 w 36"/>
              <a:gd name="T1" fmla="*/ 19 h 27"/>
              <a:gd name="T2" fmla="*/ 0 w 36"/>
              <a:gd name="T3" fmla="*/ 19 h 27"/>
              <a:gd name="T4" fmla="*/ 27 w 36"/>
              <a:gd name="T5" fmla="*/ 19 h 27"/>
              <a:gd name="T6" fmla="*/ 14 w 36"/>
              <a:gd name="T7" fmla="*/ 2 h 27"/>
              <a:gd name="T8" fmla="*/ 35 w 36"/>
              <a:gd name="T9" fmla="*/ 0 h 27"/>
              <a:gd name="T10" fmla="*/ 35 w 36"/>
              <a:gd name="T11" fmla="*/ 26 h 27"/>
              <a:gd name="T12" fmla="*/ 0 w 36"/>
              <a:gd name="T13" fmla="*/ 19 h 27"/>
              <a:gd name="T14" fmla="*/ 0 w 36"/>
              <a:gd name="T15" fmla="*/ 19 h 27"/>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7"/>
              <a:gd name="T26" fmla="*/ 36 w 36"/>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7">
                <a:moveTo>
                  <a:pt x="0" y="19"/>
                </a:moveTo>
                <a:lnTo>
                  <a:pt x="0" y="19"/>
                </a:lnTo>
                <a:lnTo>
                  <a:pt x="27" y="19"/>
                </a:lnTo>
                <a:lnTo>
                  <a:pt x="14" y="2"/>
                </a:lnTo>
                <a:lnTo>
                  <a:pt x="35" y="0"/>
                </a:lnTo>
                <a:lnTo>
                  <a:pt x="35" y="26"/>
                </a:lnTo>
                <a:lnTo>
                  <a:pt x="0" y="19"/>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39" name="Freeform 738"/>
          <p:cNvSpPr>
            <a:spLocks/>
          </p:cNvSpPr>
          <p:nvPr/>
        </p:nvSpPr>
        <p:spPr bwMode="auto">
          <a:xfrm>
            <a:off x="2237149" y="3816830"/>
            <a:ext cx="145091" cy="69391"/>
          </a:xfrm>
          <a:custGeom>
            <a:avLst/>
            <a:gdLst>
              <a:gd name="T0" fmla="*/ 0 w 85"/>
              <a:gd name="T1" fmla="*/ 20 h 42"/>
              <a:gd name="T2" fmla="*/ 0 w 85"/>
              <a:gd name="T3" fmla="*/ 20 h 42"/>
              <a:gd name="T4" fmla="*/ 15 w 85"/>
              <a:gd name="T5" fmla="*/ 2 h 42"/>
              <a:gd name="T6" fmla="*/ 60 w 85"/>
              <a:gd name="T7" fmla="*/ 0 h 42"/>
              <a:gd name="T8" fmla="*/ 84 w 85"/>
              <a:gd name="T9" fmla="*/ 13 h 42"/>
              <a:gd name="T10" fmla="*/ 64 w 85"/>
              <a:gd name="T11" fmla="*/ 15 h 42"/>
              <a:gd name="T12" fmla="*/ 29 w 85"/>
              <a:gd name="T13" fmla="*/ 41 h 42"/>
              <a:gd name="T14" fmla="*/ 23 w 85"/>
              <a:gd name="T15" fmla="*/ 34 h 42"/>
              <a:gd name="T16" fmla="*/ 0 w 85"/>
              <a:gd name="T17" fmla="*/ 20 h 42"/>
              <a:gd name="T18" fmla="*/ 0 w 85"/>
              <a:gd name="T19" fmla="*/ 2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42"/>
              <a:gd name="T32" fmla="*/ 85 w 85"/>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42">
                <a:moveTo>
                  <a:pt x="0" y="20"/>
                </a:moveTo>
                <a:lnTo>
                  <a:pt x="0" y="20"/>
                </a:lnTo>
                <a:lnTo>
                  <a:pt x="15" y="2"/>
                </a:lnTo>
                <a:lnTo>
                  <a:pt x="60" y="0"/>
                </a:lnTo>
                <a:lnTo>
                  <a:pt x="84" y="13"/>
                </a:lnTo>
                <a:lnTo>
                  <a:pt x="64" y="15"/>
                </a:lnTo>
                <a:lnTo>
                  <a:pt x="29" y="41"/>
                </a:lnTo>
                <a:lnTo>
                  <a:pt x="23" y="34"/>
                </a:lnTo>
                <a:lnTo>
                  <a:pt x="0" y="2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40" name="Freeform 739"/>
          <p:cNvSpPr>
            <a:spLocks/>
          </p:cNvSpPr>
          <p:nvPr/>
        </p:nvSpPr>
        <p:spPr bwMode="auto">
          <a:xfrm>
            <a:off x="2286651" y="3838308"/>
            <a:ext cx="95589" cy="94173"/>
          </a:xfrm>
          <a:custGeom>
            <a:avLst/>
            <a:gdLst>
              <a:gd name="T0" fmla="*/ 0 w 56"/>
              <a:gd name="T1" fmla="*/ 28 h 57"/>
              <a:gd name="T2" fmla="*/ 0 w 56"/>
              <a:gd name="T3" fmla="*/ 28 h 57"/>
              <a:gd name="T4" fmla="*/ 22 w 56"/>
              <a:gd name="T5" fmla="*/ 55 h 57"/>
              <a:gd name="T6" fmla="*/ 50 w 56"/>
              <a:gd name="T7" fmla="*/ 56 h 57"/>
              <a:gd name="T8" fmla="*/ 55 w 56"/>
              <a:gd name="T9" fmla="*/ 0 h 57"/>
              <a:gd name="T10" fmla="*/ 35 w 56"/>
              <a:gd name="T11" fmla="*/ 2 h 57"/>
              <a:gd name="T12" fmla="*/ 0 w 56"/>
              <a:gd name="T13" fmla="*/ 28 h 57"/>
              <a:gd name="T14" fmla="*/ 0 w 56"/>
              <a:gd name="T15" fmla="*/ 28 h 57"/>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7"/>
              <a:gd name="T26" fmla="*/ 56 w 56"/>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7">
                <a:moveTo>
                  <a:pt x="0" y="28"/>
                </a:moveTo>
                <a:lnTo>
                  <a:pt x="0" y="28"/>
                </a:lnTo>
                <a:lnTo>
                  <a:pt x="22" y="55"/>
                </a:lnTo>
                <a:lnTo>
                  <a:pt x="50" y="56"/>
                </a:lnTo>
                <a:lnTo>
                  <a:pt x="55" y="0"/>
                </a:lnTo>
                <a:lnTo>
                  <a:pt x="35" y="2"/>
                </a:lnTo>
                <a:lnTo>
                  <a:pt x="0" y="2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41" name="Freeform 740"/>
          <p:cNvSpPr>
            <a:spLocks/>
          </p:cNvSpPr>
          <p:nvPr/>
        </p:nvSpPr>
        <p:spPr bwMode="auto">
          <a:xfrm>
            <a:off x="2387361" y="3958916"/>
            <a:ext cx="131435" cy="57826"/>
          </a:xfrm>
          <a:custGeom>
            <a:avLst/>
            <a:gdLst>
              <a:gd name="T0" fmla="*/ 0 w 77"/>
              <a:gd name="T1" fmla="*/ 18 h 35"/>
              <a:gd name="T2" fmla="*/ 0 w 77"/>
              <a:gd name="T3" fmla="*/ 18 h 35"/>
              <a:gd name="T4" fmla="*/ 6 w 77"/>
              <a:gd name="T5" fmla="*/ 0 h 35"/>
              <a:gd name="T6" fmla="*/ 22 w 77"/>
              <a:gd name="T7" fmla="*/ 11 h 35"/>
              <a:gd name="T8" fmla="*/ 51 w 77"/>
              <a:gd name="T9" fmla="*/ 0 h 35"/>
              <a:gd name="T10" fmla="*/ 76 w 77"/>
              <a:gd name="T11" fmla="*/ 13 h 35"/>
              <a:gd name="T12" fmla="*/ 70 w 77"/>
              <a:gd name="T13" fmla="*/ 33 h 35"/>
              <a:gd name="T14" fmla="*/ 67 w 77"/>
              <a:gd name="T15" fmla="*/ 17 h 35"/>
              <a:gd name="T16" fmla="*/ 51 w 77"/>
              <a:gd name="T17" fmla="*/ 11 h 35"/>
              <a:gd name="T18" fmla="*/ 36 w 77"/>
              <a:gd name="T19" fmla="*/ 21 h 35"/>
              <a:gd name="T20" fmla="*/ 39 w 77"/>
              <a:gd name="T21" fmla="*/ 30 h 35"/>
              <a:gd name="T22" fmla="*/ 33 w 77"/>
              <a:gd name="T23" fmla="*/ 34 h 35"/>
              <a:gd name="T24" fmla="*/ 0 w 77"/>
              <a:gd name="T25" fmla="*/ 18 h 35"/>
              <a:gd name="T26" fmla="*/ 0 w 77"/>
              <a:gd name="T27" fmla="*/ 18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35"/>
              <a:gd name="T44" fmla="*/ 77 w 77"/>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35">
                <a:moveTo>
                  <a:pt x="0" y="18"/>
                </a:moveTo>
                <a:lnTo>
                  <a:pt x="0" y="18"/>
                </a:lnTo>
                <a:lnTo>
                  <a:pt x="6" y="0"/>
                </a:lnTo>
                <a:lnTo>
                  <a:pt x="22" y="11"/>
                </a:lnTo>
                <a:lnTo>
                  <a:pt x="51" y="0"/>
                </a:lnTo>
                <a:lnTo>
                  <a:pt x="76" y="13"/>
                </a:lnTo>
                <a:lnTo>
                  <a:pt x="70" y="33"/>
                </a:lnTo>
                <a:lnTo>
                  <a:pt x="67" y="17"/>
                </a:lnTo>
                <a:lnTo>
                  <a:pt x="51" y="11"/>
                </a:lnTo>
                <a:lnTo>
                  <a:pt x="36" y="21"/>
                </a:lnTo>
                <a:lnTo>
                  <a:pt x="39" y="30"/>
                </a:lnTo>
                <a:lnTo>
                  <a:pt x="33" y="34"/>
                </a:lnTo>
                <a:lnTo>
                  <a:pt x="0" y="1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42" name="Freeform 741"/>
          <p:cNvSpPr>
            <a:spLocks/>
          </p:cNvSpPr>
          <p:nvPr/>
        </p:nvSpPr>
        <p:spPr bwMode="auto">
          <a:xfrm>
            <a:off x="2861892" y="4611520"/>
            <a:ext cx="191178" cy="191651"/>
          </a:xfrm>
          <a:custGeom>
            <a:avLst/>
            <a:gdLst>
              <a:gd name="T0" fmla="*/ 0 w 112"/>
              <a:gd name="T1" fmla="*/ 43 h 116"/>
              <a:gd name="T2" fmla="*/ 0 w 112"/>
              <a:gd name="T3" fmla="*/ 43 h 116"/>
              <a:gd name="T4" fmla="*/ 9 w 112"/>
              <a:gd name="T5" fmla="*/ 6 h 116"/>
              <a:gd name="T6" fmla="*/ 48 w 112"/>
              <a:gd name="T7" fmla="*/ 0 h 116"/>
              <a:gd name="T8" fmla="*/ 62 w 112"/>
              <a:gd name="T9" fmla="*/ 12 h 116"/>
              <a:gd name="T10" fmla="*/ 65 w 112"/>
              <a:gd name="T11" fmla="*/ 39 h 116"/>
              <a:gd name="T12" fmla="*/ 93 w 112"/>
              <a:gd name="T13" fmla="*/ 44 h 116"/>
              <a:gd name="T14" fmla="*/ 97 w 112"/>
              <a:gd name="T15" fmla="*/ 63 h 116"/>
              <a:gd name="T16" fmla="*/ 111 w 112"/>
              <a:gd name="T17" fmla="*/ 66 h 116"/>
              <a:gd name="T18" fmla="*/ 109 w 112"/>
              <a:gd name="T19" fmla="*/ 91 h 116"/>
              <a:gd name="T20" fmla="*/ 95 w 112"/>
              <a:gd name="T21" fmla="*/ 115 h 116"/>
              <a:gd name="T22" fmla="*/ 58 w 112"/>
              <a:gd name="T23" fmla="*/ 114 h 116"/>
              <a:gd name="T24" fmla="*/ 66 w 112"/>
              <a:gd name="T25" fmla="*/ 86 h 116"/>
              <a:gd name="T26" fmla="*/ 0 w 112"/>
              <a:gd name="T27" fmla="*/ 43 h 116"/>
              <a:gd name="T28" fmla="*/ 0 w 112"/>
              <a:gd name="T29" fmla="*/ 43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2"/>
              <a:gd name="T46" fmla="*/ 0 h 116"/>
              <a:gd name="T47" fmla="*/ 112 w 112"/>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2" h="116">
                <a:moveTo>
                  <a:pt x="0" y="43"/>
                </a:moveTo>
                <a:lnTo>
                  <a:pt x="0" y="43"/>
                </a:lnTo>
                <a:lnTo>
                  <a:pt x="9" y="6"/>
                </a:lnTo>
                <a:lnTo>
                  <a:pt x="48" y="0"/>
                </a:lnTo>
                <a:lnTo>
                  <a:pt x="62" y="12"/>
                </a:lnTo>
                <a:lnTo>
                  <a:pt x="65" y="39"/>
                </a:lnTo>
                <a:lnTo>
                  <a:pt x="93" y="44"/>
                </a:lnTo>
                <a:lnTo>
                  <a:pt x="97" y="63"/>
                </a:lnTo>
                <a:lnTo>
                  <a:pt x="111" y="66"/>
                </a:lnTo>
                <a:lnTo>
                  <a:pt x="109" y="91"/>
                </a:lnTo>
                <a:lnTo>
                  <a:pt x="95" y="115"/>
                </a:lnTo>
                <a:lnTo>
                  <a:pt x="58" y="114"/>
                </a:lnTo>
                <a:lnTo>
                  <a:pt x="66" y="86"/>
                </a:lnTo>
                <a:lnTo>
                  <a:pt x="0" y="4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43" name="Freeform 742"/>
          <p:cNvSpPr>
            <a:spLocks/>
          </p:cNvSpPr>
          <p:nvPr/>
        </p:nvSpPr>
        <p:spPr bwMode="auto">
          <a:xfrm>
            <a:off x="2426620" y="4178654"/>
            <a:ext cx="293595" cy="408084"/>
          </a:xfrm>
          <a:custGeom>
            <a:avLst/>
            <a:gdLst>
              <a:gd name="T0" fmla="*/ 0 w 172"/>
              <a:gd name="T1" fmla="*/ 58 h 247"/>
              <a:gd name="T2" fmla="*/ 0 w 172"/>
              <a:gd name="T3" fmla="*/ 58 h 247"/>
              <a:gd name="T4" fmla="*/ 3 w 172"/>
              <a:gd name="T5" fmla="*/ 78 h 247"/>
              <a:gd name="T6" fmla="*/ 34 w 172"/>
              <a:gd name="T7" fmla="*/ 112 h 247"/>
              <a:gd name="T8" fmla="*/ 68 w 172"/>
              <a:gd name="T9" fmla="*/ 193 h 247"/>
              <a:gd name="T10" fmla="*/ 146 w 172"/>
              <a:gd name="T11" fmla="*/ 246 h 247"/>
              <a:gd name="T12" fmla="*/ 159 w 172"/>
              <a:gd name="T13" fmla="*/ 237 h 247"/>
              <a:gd name="T14" fmla="*/ 167 w 172"/>
              <a:gd name="T15" fmla="*/ 220 h 247"/>
              <a:gd name="T16" fmla="*/ 155 w 172"/>
              <a:gd name="T17" fmla="*/ 213 h 247"/>
              <a:gd name="T18" fmla="*/ 162 w 172"/>
              <a:gd name="T19" fmla="*/ 209 h 247"/>
              <a:gd name="T20" fmla="*/ 171 w 172"/>
              <a:gd name="T21" fmla="*/ 167 h 247"/>
              <a:gd name="T22" fmla="*/ 158 w 172"/>
              <a:gd name="T23" fmla="*/ 147 h 247"/>
              <a:gd name="T24" fmla="*/ 147 w 172"/>
              <a:gd name="T25" fmla="*/ 147 h 247"/>
              <a:gd name="T26" fmla="*/ 147 w 172"/>
              <a:gd name="T27" fmla="*/ 125 h 247"/>
              <a:gd name="T28" fmla="*/ 132 w 172"/>
              <a:gd name="T29" fmla="*/ 134 h 247"/>
              <a:gd name="T30" fmla="*/ 113 w 172"/>
              <a:gd name="T31" fmla="*/ 126 h 247"/>
              <a:gd name="T32" fmla="*/ 102 w 172"/>
              <a:gd name="T33" fmla="*/ 101 h 247"/>
              <a:gd name="T34" fmla="*/ 121 w 172"/>
              <a:gd name="T35" fmla="*/ 69 h 247"/>
              <a:gd name="T36" fmla="*/ 155 w 172"/>
              <a:gd name="T37" fmla="*/ 55 h 247"/>
              <a:gd name="T38" fmla="*/ 145 w 172"/>
              <a:gd name="T39" fmla="*/ 49 h 247"/>
              <a:gd name="T40" fmla="*/ 151 w 172"/>
              <a:gd name="T41" fmla="*/ 33 h 247"/>
              <a:gd name="T42" fmla="*/ 112 w 172"/>
              <a:gd name="T43" fmla="*/ 30 h 247"/>
              <a:gd name="T44" fmla="*/ 83 w 172"/>
              <a:gd name="T45" fmla="*/ 0 h 247"/>
              <a:gd name="T46" fmla="*/ 76 w 172"/>
              <a:gd name="T47" fmla="*/ 22 h 247"/>
              <a:gd name="T48" fmla="*/ 45 w 172"/>
              <a:gd name="T49" fmla="*/ 41 h 247"/>
              <a:gd name="T50" fmla="*/ 29 w 172"/>
              <a:gd name="T51" fmla="*/ 65 h 247"/>
              <a:gd name="T52" fmla="*/ 11 w 172"/>
              <a:gd name="T53" fmla="*/ 61 h 247"/>
              <a:gd name="T54" fmla="*/ 14 w 172"/>
              <a:gd name="T55" fmla="*/ 47 h 247"/>
              <a:gd name="T56" fmla="*/ 0 w 172"/>
              <a:gd name="T57" fmla="*/ 58 h 247"/>
              <a:gd name="T58" fmla="*/ 0 w 172"/>
              <a:gd name="T59" fmla="*/ 58 h 2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2"/>
              <a:gd name="T91" fmla="*/ 0 h 247"/>
              <a:gd name="T92" fmla="*/ 172 w 172"/>
              <a:gd name="T93" fmla="*/ 247 h 24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2" h="247">
                <a:moveTo>
                  <a:pt x="0" y="58"/>
                </a:moveTo>
                <a:lnTo>
                  <a:pt x="0" y="58"/>
                </a:lnTo>
                <a:lnTo>
                  <a:pt x="3" y="78"/>
                </a:lnTo>
                <a:lnTo>
                  <a:pt x="34" y="112"/>
                </a:lnTo>
                <a:lnTo>
                  <a:pt x="68" y="193"/>
                </a:lnTo>
                <a:lnTo>
                  <a:pt x="146" y="246"/>
                </a:lnTo>
                <a:lnTo>
                  <a:pt x="159" y="237"/>
                </a:lnTo>
                <a:lnTo>
                  <a:pt x="167" y="220"/>
                </a:lnTo>
                <a:lnTo>
                  <a:pt x="155" y="213"/>
                </a:lnTo>
                <a:lnTo>
                  <a:pt x="162" y="209"/>
                </a:lnTo>
                <a:lnTo>
                  <a:pt x="171" y="167"/>
                </a:lnTo>
                <a:lnTo>
                  <a:pt x="158" y="147"/>
                </a:lnTo>
                <a:lnTo>
                  <a:pt x="147" y="147"/>
                </a:lnTo>
                <a:lnTo>
                  <a:pt x="147" y="125"/>
                </a:lnTo>
                <a:lnTo>
                  <a:pt x="132" y="134"/>
                </a:lnTo>
                <a:lnTo>
                  <a:pt x="113" y="126"/>
                </a:lnTo>
                <a:lnTo>
                  <a:pt x="102" y="101"/>
                </a:lnTo>
                <a:lnTo>
                  <a:pt x="121" y="69"/>
                </a:lnTo>
                <a:lnTo>
                  <a:pt x="155" y="55"/>
                </a:lnTo>
                <a:lnTo>
                  <a:pt x="145" y="49"/>
                </a:lnTo>
                <a:lnTo>
                  <a:pt x="151" y="33"/>
                </a:lnTo>
                <a:lnTo>
                  <a:pt x="112" y="30"/>
                </a:lnTo>
                <a:lnTo>
                  <a:pt x="83" y="0"/>
                </a:lnTo>
                <a:lnTo>
                  <a:pt x="76" y="22"/>
                </a:lnTo>
                <a:lnTo>
                  <a:pt x="45" y="41"/>
                </a:lnTo>
                <a:lnTo>
                  <a:pt x="29" y="65"/>
                </a:lnTo>
                <a:lnTo>
                  <a:pt x="11" y="61"/>
                </a:lnTo>
                <a:lnTo>
                  <a:pt x="14" y="47"/>
                </a:lnTo>
                <a:lnTo>
                  <a:pt x="0" y="5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44" name="Freeform 743"/>
          <p:cNvSpPr>
            <a:spLocks/>
          </p:cNvSpPr>
          <p:nvPr/>
        </p:nvSpPr>
        <p:spPr bwMode="auto">
          <a:xfrm>
            <a:off x="2967723" y="4044829"/>
            <a:ext cx="97296" cy="89217"/>
          </a:xfrm>
          <a:custGeom>
            <a:avLst/>
            <a:gdLst>
              <a:gd name="T0" fmla="*/ 0 w 57"/>
              <a:gd name="T1" fmla="*/ 25 h 54"/>
              <a:gd name="T2" fmla="*/ 0 w 57"/>
              <a:gd name="T3" fmla="*/ 25 h 54"/>
              <a:gd name="T4" fmla="*/ 15 w 57"/>
              <a:gd name="T5" fmla="*/ 0 h 54"/>
              <a:gd name="T6" fmla="*/ 56 w 57"/>
              <a:gd name="T7" fmla="*/ 4 h 54"/>
              <a:gd name="T8" fmla="*/ 50 w 57"/>
              <a:gd name="T9" fmla="*/ 49 h 54"/>
              <a:gd name="T10" fmla="*/ 22 w 57"/>
              <a:gd name="T11" fmla="*/ 53 h 54"/>
              <a:gd name="T12" fmla="*/ 0 w 57"/>
              <a:gd name="T13" fmla="*/ 25 h 54"/>
              <a:gd name="T14" fmla="*/ 0 w 57"/>
              <a:gd name="T15" fmla="*/ 25 h 54"/>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54"/>
              <a:gd name="T26" fmla="*/ 57 w 57"/>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54">
                <a:moveTo>
                  <a:pt x="0" y="25"/>
                </a:moveTo>
                <a:lnTo>
                  <a:pt x="0" y="25"/>
                </a:lnTo>
                <a:lnTo>
                  <a:pt x="15" y="0"/>
                </a:lnTo>
                <a:lnTo>
                  <a:pt x="56" y="4"/>
                </a:lnTo>
                <a:lnTo>
                  <a:pt x="50" y="49"/>
                </a:lnTo>
                <a:lnTo>
                  <a:pt x="22" y="53"/>
                </a:lnTo>
                <a:lnTo>
                  <a:pt x="0" y="2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45" name="Freeform 744"/>
          <p:cNvSpPr>
            <a:spLocks/>
          </p:cNvSpPr>
          <p:nvPr/>
        </p:nvSpPr>
        <p:spPr bwMode="auto">
          <a:xfrm>
            <a:off x="2877255" y="3934134"/>
            <a:ext cx="23897" cy="18174"/>
          </a:xfrm>
          <a:custGeom>
            <a:avLst/>
            <a:gdLst>
              <a:gd name="T0" fmla="*/ 0 w 14"/>
              <a:gd name="T1" fmla="*/ 10 h 11"/>
              <a:gd name="T2" fmla="*/ 0 w 14"/>
              <a:gd name="T3" fmla="*/ 10 h 11"/>
              <a:gd name="T4" fmla="*/ 12 w 14"/>
              <a:gd name="T5" fmla="*/ 8 h 11"/>
              <a:gd name="T6" fmla="*/ 13 w 14"/>
              <a:gd name="T7" fmla="*/ 0 h 11"/>
              <a:gd name="T8" fmla="*/ 0 w 14"/>
              <a:gd name="T9" fmla="*/ 10 h 11"/>
              <a:gd name="T10" fmla="*/ 0 w 14"/>
              <a:gd name="T11" fmla="*/ 10 h 11"/>
              <a:gd name="T12" fmla="*/ 0 60000 65536"/>
              <a:gd name="T13" fmla="*/ 0 60000 65536"/>
              <a:gd name="T14" fmla="*/ 0 60000 65536"/>
              <a:gd name="T15" fmla="*/ 0 60000 65536"/>
              <a:gd name="T16" fmla="*/ 0 60000 65536"/>
              <a:gd name="T17" fmla="*/ 0 60000 65536"/>
              <a:gd name="T18" fmla="*/ 0 w 14"/>
              <a:gd name="T19" fmla="*/ 0 h 11"/>
              <a:gd name="T20" fmla="*/ 14 w 14"/>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4" h="11">
                <a:moveTo>
                  <a:pt x="0" y="10"/>
                </a:moveTo>
                <a:lnTo>
                  <a:pt x="0" y="10"/>
                </a:lnTo>
                <a:lnTo>
                  <a:pt x="12" y="8"/>
                </a:lnTo>
                <a:lnTo>
                  <a:pt x="13" y="0"/>
                </a:lnTo>
                <a:lnTo>
                  <a:pt x="0" y="1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46" name="Freeform 745"/>
          <p:cNvSpPr>
            <a:spLocks/>
          </p:cNvSpPr>
          <p:nvPr/>
        </p:nvSpPr>
        <p:spPr bwMode="auto">
          <a:xfrm>
            <a:off x="2959188" y="4867605"/>
            <a:ext cx="122900" cy="122260"/>
          </a:xfrm>
          <a:custGeom>
            <a:avLst/>
            <a:gdLst>
              <a:gd name="T0" fmla="*/ 0 w 72"/>
              <a:gd name="T1" fmla="*/ 59 h 74"/>
              <a:gd name="T2" fmla="*/ 0 w 72"/>
              <a:gd name="T3" fmla="*/ 59 h 74"/>
              <a:gd name="T4" fmla="*/ 12 w 72"/>
              <a:gd name="T5" fmla="*/ 3 h 74"/>
              <a:gd name="T6" fmla="*/ 22 w 72"/>
              <a:gd name="T7" fmla="*/ 0 h 74"/>
              <a:gd name="T8" fmla="*/ 63 w 72"/>
              <a:gd name="T9" fmla="*/ 29 h 74"/>
              <a:gd name="T10" fmla="*/ 71 w 72"/>
              <a:gd name="T11" fmla="*/ 41 h 74"/>
              <a:gd name="T12" fmla="*/ 68 w 72"/>
              <a:gd name="T13" fmla="*/ 55 h 74"/>
              <a:gd name="T14" fmla="*/ 49 w 72"/>
              <a:gd name="T15" fmla="*/ 73 h 74"/>
              <a:gd name="T16" fmla="*/ 0 w 72"/>
              <a:gd name="T17" fmla="*/ 59 h 74"/>
              <a:gd name="T18" fmla="*/ 0 w 72"/>
              <a:gd name="T19" fmla="*/ 59 h 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74"/>
              <a:gd name="T32" fmla="*/ 72 w 72"/>
              <a:gd name="T33" fmla="*/ 74 h 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74">
                <a:moveTo>
                  <a:pt x="0" y="59"/>
                </a:moveTo>
                <a:lnTo>
                  <a:pt x="0" y="59"/>
                </a:lnTo>
                <a:lnTo>
                  <a:pt x="12" y="3"/>
                </a:lnTo>
                <a:lnTo>
                  <a:pt x="22" y="0"/>
                </a:lnTo>
                <a:lnTo>
                  <a:pt x="63" y="29"/>
                </a:lnTo>
                <a:lnTo>
                  <a:pt x="71" y="41"/>
                </a:lnTo>
                <a:lnTo>
                  <a:pt x="68" y="55"/>
                </a:lnTo>
                <a:lnTo>
                  <a:pt x="49" y="73"/>
                </a:lnTo>
                <a:lnTo>
                  <a:pt x="0" y="59"/>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747" name="Freeform 746"/>
          <p:cNvSpPr>
            <a:spLocks/>
          </p:cNvSpPr>
          <p:nvPr/>
        </p:nvSpPr>
        <p:spPr bwMode="auto">
          <a:xfrm>
            <a:off x="2614385" y="3901091"/>
            <a:ext cx="314079" cy="259389"/>
          </a:xfrm>
          <a:custGeom>
            <a:avLst/>
            <a:gdLst>
              <a:gd name="T0" fmla="*/ 0 w 184"/>
              <a:gd name="T1" fmla="*/ 42 h 157"/>
              <a:gd name="T2" fmla="*/ 0 w 184"/>
              <a:gd name="T3" fmla="*/ 42 h 157"/>
              <a:gd name="T4" fmla="*/ 17 w 184"/>
              <a:gd name="T5" fmla="*/ 69 h 157"/>
              <a:gd name="T6" fmla="*/ 44 w 184"/>
              <a:gd name="T7" fmla="*/ 72 h 157"/>
              <a:gd name="T8" fmla="*/ 52 w 184"/>
              <a:gd name="T9" fmla="*/ 84 h 157"/>
              <a:gd name="T10" fmla="*/ 79 w 184"/>
              <a:gd name="T11" fmla="*/ 82 h 157"/>
              <a:gd name="T12" fmla="*/ 75 w 184"/>
              <a:gd name="T13" fmla="*/ 129 h 157"/>
              <a:gd name="T14" fmla="*/ 87 w 184"/>
              <a:gd name="T15" fmla="*/ 149 h 157"/>
              <a:gd name="T16" fmla="*/ 103 w 184"/>
              <a:gd name="T17" fmla="*/ 156 h 157"/>
              <a:gd name="T18" fmla="*/ 136 w 184"/>
              <a:gd name="T19" fmla="*/ 137 h 157"/>
              <a:gd name="T20" fmla="*/ 123 w 184"/>
              <a:gd name="T21" fmla="*/ 134 h 157"/>
              <a:gd name="T22" fmla="*/ 116 w 184"/>
              <a:gd name="T23" fmla="*/ 108 h 157"/>
              <a:gd name="T24" fmla="*/ 139 w 184"/>
              <a:gd name="T25" fmla="*/ 113 h 157"/>
              <a:gd name="T26" fmla="*/ 173 w 184"/>
              <a:gd name="T27" fmla="*/ 97 h 157"/>
              <a:gd name="T28" fmla="*/ 164 w 184"/>
              <a:gd name="T29" fmla="*/ 84 h 157"/>
              <a:gd name="T30" fmla="*/ 175 w 184"/>
              <a:gd name="T31" fmla="*/ 72 h 157"/>
              <a:gd name="T32" fmla="*/ 170 w 184"/>
              <a:gd name="T33" fmla="*/ 63 h 157"/>
              <a:gd name="T34" fmla="*/ 183 w 184"/>
              <a:gd name="T35" fmla="*/ 53 h 157"/>
              <a:gd name="T36" fmla="*/ 167 w 184"/>
              <a:gd name="T37" fmla="*/ 51 h 157"/>
              <a:gd name="T38" fmla="*/ 167 w 184"/>
              <a:gd name="T39" fmla="*/ 39 h 157"/>
              <a:gd name="T40" fmla="*/ 141 w 184"/>
              <a:gd name="T41" fmla="*/ 25 h 157"/>
              <a:gd name="T42" fmla="*/ 152 w 184"/>
              <a:gd name="T43" fmla="*/ 21 h 157"/>
              <a:gd name="T44" fmla="*/ 72 w 184"/>
              <a:gd name="T45" fmla="*/ 24 h 157"/>
              <a:gd name="T46" fmla="*/ 46 w 184"/>
              <a:gd name="T47" fmla="*/ 0 h 157"/>
              <a:gd name="T48" fmla="*/ 47 w 184"/>
              <a:gd name="T49" fmla="*/ 11 h 157"/>
              <a:gd name="T50" fmla="*/ 24 w 184"/>
              <a:gd name="T51" fmla="*/ 20 h 157"/>
              <a:gd name="T52" fmla="*/ 31 w 184"/>
              <a:gd name="T53" fmla="*/ 39 h 157"/>
              <a:gd name="T54" fmla="*/ 22 w 184"/>
              <a:gd name="T55" fmla="*/ 46 h 157"/>
              <a:gd name="T56" fmla="*/ 17 w 184"/>
              <a:gd name="T57" fmla="*/ 29 h 157"/>
              <a:gd name="T58" fmla="*/ 26 w 184"/>
              <a:gd name="T59" fmla="*/ 6 h 157"/>
              <a:gd name="T60" fmla="*/ 0 w 184"/>
              <a:gd name="T61" fmla="*/ 42 h 157"/>
              <a:gd name="T62" fmla="*/ 0 w 184"/>
              <a:gd name="T63" fmla="*/ 42 h 1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4"/>
              <a:gd name="T97" fmla="*/ 0 h 157"/>
              <a:gd name="T98" fmla="*/ 184 w 184"/>
              <a:gd name="T99" fmla="*/ 157 h 15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4" h="157">
                <a:moveTo>
                  <a:pt x="0" y="42"/>
                </a:moveTo>
                <a:lnTo>
                  <a:pt x="0" y="42"/>
                </a:lnTo>
                <a:lnTo>
                  <a:pt x="17" y="69"/>
                </a:lnTo>
                <a:lnTo>
                  <a:pt x="44" y="72"/>
                </a:lnTo>
                <a:lnTo>
                  <a:pt x="52" y="84"/>
                </a:lnTo>
                <a:lnTo>
                  <a:pt x="79" y="82"/>
                </a:lnTo>
                <a:lnTo>
                  <a:pt x="75" y="129"/>
                </a:lnTo>
                <a:lnTo>
                  <a:pt x="87" y="149"/>
                </a:lnTo>
                <a:lnTo>
                  <a:pt x="103" y="156"/>
                </a:lnTo>
                <a:lnTo>
                  <a:pt x="136" y="137"/>
                </a:lnTo>
                <a:lnTo>
                  <a:pt x="123" y="134"/>
                </a:lnTo>
                <a:lnTo>
                  <a:pt x="116" y="108"/>
                </a:lnTo>
                <a:lnTo>
                  <a:pt x="139" y="113"/>
                </a:lnTo>
                <a:lnTo>
                  <a:pt x="173" y="97"/>
                </a:lnTo>
                <a:lnTo>
                  <a:pt x="164" y="84"/>
                </a:lnTo>
                <a:lnTo>
                  <a:pt x="175" y="72"/>
                </a:lnTo>
                <a:lnTo>
                  <a:pt x="170" y="63"/>
                </a:lnTo>
                <a:lnTo>
                  <a:pt x="183" y="53"/>
                </a:lnTo>
                <a:lnTo>
                  <a:pt x="167" y="51"/>
                </a:lnTo>
                <a:lnTo>
                  <a:pt x="167" y="39"/>
                </a:lnTo>
                <a:lnTo>
                  <a:pt x="141" y="25"/>
                </a:lnTo>
                <a:lnTo>
                  <a:pt x="152" y="21"/>
                </a:lnTo>
                <a:lnTo>
                  <a:pt x="72" y="24"/>
                </a:lnTo>
                <a:lnTo>
                  <a:pt x="46" y="0"/>
                </a:lnTo>
                <a:lnTo>
                  <a:pt x="47" y="11"/>
                </a:lnTo>
                <a:lnTo>
                  <a:pt x="24" y="20"/>
                </a:lnTo>
                <a:lnTo>
                  <a:pt x="31" y="39"/>
                </a:lnTo>
                <a:lnTo>
                  <a:pt x="22" y="46"/>
                </a:lnTo>
                <a:lnTo>
                  <a:pt x="17" y="29"/>
                </a:lnTo>
                <a:lnTo>
                  <a:pt x="26" y="6"/>
                </a:lnTo>
                <a:lnTo>
                  <a:pt x="0" y="4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87" name="Freeform 586"/>
          <p:cNvSpPr>
            <a:spLocks/>
          </p:cNvSpPr>
          <p:nvPr/>
        </p:nvSpPr>
        <p:spPr bwMode="auto">
          <a:xfrm>
            <a:off x="6691341" y="3650218"/>
            <a:ext cx="162616" cy="335321"/>
          </a:xfrm>
          <a:custGeom>
            <a:avLst/>
            <a:gdLst>
              <a:gd name="T0" fmla="*/ 0 w 95"/>
              <a:gd name="T1" fmla="*/ 17056038 h 203"/>
              <a:gd name="T2" fmla="*/ 0 w 95"/>
              <a:gd name="T3" fmla="*/ 17056038 h 203"/>
              <a:gd name="T4" fmla="*/ 21990127 w 95"/>
              <a:gd name="T5" fmla="*/ 52872417 h 203"/>
              <a:gd name="T6" fmla="*/ 50262967 w 95"/>
              <a:gd name="T7" fmla="*/ 68222847 h 203"/>
              <a:gd name="T8" fmla="*/ 36127169 w 95"/>
              <a:gd name="T9" fmla="*/ 93806917 h 203"/>
              <a:gd name="T10" fmla="*/ 87960510 w 95"/>
              <a:gd name="T11" fmla="*/ 139856901 h 203"/>
              <a:gd name="T12" fmla="*/ 111520992 w 95"/>
              <a:gd name="T13" fmla="*/ 202962959 h 203"/>
              <a:gd name="T14" fmla="*/ 114662975 w 95"/>
              <a:gd name="T15" fmla="*/ 255835356 h 203"/>
              <a:gd name="T16" fmla="*/ 50262967 w 95"/>
              <a:gd name="T17" fmla="*/ 301886645 h 203"/>
              <a:gd name="T18" fmla="*/ 59687661 w 95"/>
              <a:gd name="T19" fmla="*/ 344525504 h 203"/>
              <a:gd name="T20" fmla="*/ 80106161 w 95"/>
              <a:gd name="T21" fmla="*/ 315530166 h 203"/>
              <a:gd name="T22" fmla="*/ 92672857 w 95"/>
              <a:gd name="T23" fmla="*/ 324058182 h 203"/>
              <a:gd name="T24" fmla="*/ 97385204 w 95"/>
              <a:gd name="T25" fmla="*/ 303592249 h 203"/>
              <a:gd name="T26" fmla="*/ 147648151 w 95"/>
              <a:gd name="T27" fmla="*/ 272891389 h 203"/>
              <a:gd name="T28" fmla="*/ 141365440 w 95"/>
              <a:gd name="T29" fmla="*/ 185906926 h 203"/>
              <a:gd name="T30" fmla="*/ 72253084 w 95"/>
              <a:gd name="T31" fmla="*/ 105744835 h 203"/>
              <a:gd name="T32" fmla="*/ 80106161 w 95"/>
              <a:gd name="T33" fmla="*/ 78456467 h 203"/>
              <a:gd name="T34" fmla="*/ 120945686 w 95"/>
              <a:gd name="T35" fmla="*/ 39227581 h 203"/>
              <a:gd name="T36" fmla="*/ 62828390 w 95"/>
              <a:gd name="T37" fmla="*/ 0 h 203"/>
              <a:gd name="T38" fmla="*/ 0 w 95"/>
              <a:gd name="T39" fmla="*/ 17056038 h 203"/>
              <a:gd name="T40" fmla="*/ 0 w 95"/>
              <a:gd name="T41" fmla="*/ 17056038 h 2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5"/>
              <a:gd name="T64" fmla="*/ 0 h 203"/>
              <a:gd name="T65" fmla="*/ 95 w 95"/>
              <a:gd name="T66" fmla="*/ 203 h 2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5" h="203">
                <a:moveTo>
                  <a:pt x="0" y="10"/>
                </a:moveTo>
                <a:lnTo>
                  <a:pt x="0" y="10"/>
                </a:lnTo>
                <a:lnTo>
                  <a:pt x="14" y="31"/>
                </a:lnTo>
                <a:lnTo>
                  <a:pt x="32" y="40"/>
                </a:lnTo>
                <a:lnTo>
                  <a:pt x="23" y="55"/>
                </a:lnTo>
                <a:lnTo>
                  <a:pt x="56" y="82"/>
                </a:lnTo>
                <a:lnTo>
                  <a:pt x="71" y="119"/>
                </a:lnTo>
                <a:lnTo>
                  <a:pt x="73" y="150"/>
                </a:lnTo>
                <a:lnTo>
                  <a:pt x="32" y="177"/>
                </a:lnTo>
                <a:lnTo>
                  <a:pt x="38" y="202"/>
                </a:lnTo>
                <a:lnTo>
                  <a:pt x="51" y="185"/>
                </a:lnTo>
                <a:lnTo>
                  <a:pt x="59" y="190"/>
                </a:lnTo>
                <a:lnTo>
                  <a:pt x="62" y="178"/>
                </a:lnTo>
                <a:lnTo>
                  <a:pt x="94" y="160"/>
                </a:lnTo>
                <a:lnTo>
                  <a:pt x="90" y="109"/>
                </a:lnTo>
                <a:lnTo>
                  <a:pt x="46" y="62"/>
                </a:lnTo>
                <a:lnTo>
                  <a:pt x="51" y="46"/>
                </a:lnTo>
                <a:lnTo>
                  <a:pt x="77" y="23"/>
                </a:lnTo>
                <a:lnTo>
                  <a:pt x="40" y="0"/>
                </a:lnTo>
                <a:lnTo>
                  <a:pt x="0" y="1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88" name="Freeform 587"/>
          <p:cNvSpPr>
            <a:spLocks/>
          </p:cNvSpPr>
          <p:nvPr/>
        </p:nvSpPr>
        <p:spPr bwMode="auto">
          <a:xfrm>
            <a:off x="5219117" y="3114110"/>
            <a:ext cx="173458" cy="76300"/>
          </a:xfrm>
          <a:custGeom>
            <a:avLst/>
            <a:gdLst>
              <a:gd name="T0" fmla="*/ 0 w 102"/>
              <a:gd name="T1" fmla="*/ 3439837 h 46"/>
              <a:gd name="T2" fmla="*/ 37206018 w 102"/>
              <a:gd name="T3" fmla="*/ 0 h 46"/>
              <a:gd name="T4" fmla="*/ 72863135 w 102"/>
              <a:gd name="T5" fmla="*/ 15478608 h 46"/>
              <a:gd name="T6" fmla="*/ 86814474 w 102"/>
              <a:gd name="T7" fmla="*/ 32676478 h 46"/>
              <a:gd name="T8" fmla="*/ 105418723 w 102"/>
              <a:gd name="T9" fmla="*/ 32676478 h 46"/>
              <a:gd name="T10" fmla="*/ 119371288 w 102"/>
              <a:gd name="T11" fmla="*/ 24077546 h 46"/>
              <a:gd name="T12" fmla="*/ 128672167 w 102"/>
              <a:gd name="T13" fmla="*/ 22356972 h 46"/>
              <a:gd name="T14" fmla="*/ 137974292 w 102"/>
              <a:gd name="T15" fmla="*/ 39556149 h 46"/>
              <a:gd name="T16" fmla="*/ 155027149 w 102"/>
              <a:gd name="T17" fmla="*/ 44715256 h 46"/>
              <a:gd name="T18" fmla="*/ 150376710 w 102"/>
              <a:gd name="T19" fmla="*/ 51593615 h 46"/>
              <a:gd name="T20" fmla="*/ 156577296 w 102"/>
              <a:gd name="T21" fmla="*/ 65352956 h 46"/>
              <a:gd name="T22" fmla="*/ 155027149 w 102"/>
              <a:gd name="T23" fmla="*/ 75671151 h 46"/>
              <a:gd name="T24" fmla="*/ 137974292 w 102"/>
              <a:gd name="T25" fmla="*/ 60192548 h 46"/>
              <a:gd name="T26" fmla="*/ 128672167 w 102"/>
              <a:gd name="T27" fmla="*/ 55033451 h 46"/>
              <a:gd name="T28" fmla="*/ 119371288 w 102"/>
              <a:gd name="T29" fmla="*/ 55033451 h 46"/>
              <a:gd name="T30" fmla="*/ 114719603 w 102"/>
              <a:gd name="T31" fmla="*/ 72231316 h 46"/>
              <a:gd name="T32" fmla="*/ 103868576 w 102"/>
              <a:gd name="T33" fmla="*/ 67072218 h 46"/>
              <a:gd name="T34" fmla="*/ 83714181 w 102"/>
              <a:gd name="T35" fmla="*/ 77391724 h 46"/>
              <a:gd name="T36" fmla="*/ 58910570 w 102"/>
              <a:gd name="T37" fmla="*/ 75671151 h 46"/>
              <a:gd name="T38" fmla="*/ 58910570 w 102"/>
              <a:gd name="T39" fmla="*/ 44715256 h 46"/>
              <a:gd name="T40" fmla="*/ 20153156 w 102"/>
              <a:gd name="T41" fmla="*/ 17197870 h 46"/>
              <a:gd name="T42" fmla="*/ 0 w 102"/>
              <a:gd name="T43" fmla="*/ 3439837 h 46"/>
              <a:gd name="T44" fmla="*/ 0 w 102"/>
              <a:gd name="T45" fmla="*/ 343983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46"/>
              <a:gd name="T71" fmla="*/ 102 w 102"/>
              <a:gd name="T72" fmla="*/ 46 h 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46">
                <a:moveTo>
                  <a:pt x="0" y="2"/>
                </a:moveTo>
                <a:lnTo>
                  <a:pt x="24" y="0"/>
                </a:lnTo>
                <a:lnTo>
                  <a:pt x="47" y="9"/>
                </a:lnTo>
                <a:lnTo>
                  <a:pt x="56" y="19"/>
                </a:lnTo>
                <a:lnTo>
                  <a:pt x="68" y="19"/>
                </a:lnTo>
                <a:lnTo>
                  <a:pt x="77" y="14"/>
                </a:lnTo>
                <a:lnTo>
                  <a:pt x="83" y="13"/>
                </a:lnTo>
                <a:lnTo>
                  <a:pt x="89" y="23"/>
                </a:lnTo>
                <a:lnTo>
                  <a:pt x="100" y="26"/>
                </a:lnTo>
                <a:lnTo>
                  <a:pt x="97" y="30"/>
                </a:lnTo>
                <a:lnTo>
                  <a:pt x="101" y="38"/>
                </a:lnTo>
                <a:lnTo>
                  <a:pt x="100" y="44"/>
                </a:lnTo>
                <a:lnTo>
                  <a:pt x="89" y="35"/>
                </a:lnTo>
                <a:lnTo>
                  <a:pt x="83" y="32"/>
                </a:lnTo>
                <a:lnTo>
                  <a:pt x="77" y="32"/>
                </a:lnTo>
                <a:lnTo>
                  <a:pt x="74" y="42"/>
                </a:lnTo>
                <a:lnTo>
                  <a:pt x="67" y="39"/>
                </a:lnTo>
                <a:lnTo>
                  <a:pt x="54" y="45"/>
                </a:lnTo>
                <a:lnTo>
                  <a:pt x="38" y="44"/>
                </a:lnTo>
                <a:lnTo>
                  <a:pt x="38" y="26"/>
                </a:lnTo>
                <a:lnTo>
                  <a:pt x="13" y="10"/>
                </a:lnTo>
                <a:lnTo>
                  <a:pt x="0" y="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89" name="Freeform 588"/>
          <p:cNvSpPr>
            <a:spLocks/>
          </p:cNvSpPr>
          <p:nvPr/>
        </p:nvSpPr>
        <p:spPr bwMode="auto">
          <a:xfrm>
            <a:off x="5342707" y="3156275"/>
            <a:ext cx="143102" cy="114452"/>
          </a:xfrm>
          <a:custGeom>
            <a:avLst/>
            <a:gdLst>
              <a:gd name="T0" fmla="*/ 48621765 w 85"/>
              <a:gd name="T1" fmla="*/ 3439855 h 69"/>
              <a:gd name="T2" fmla="*/ 54698713 w 85"/>
              <a:gd name="T3" fmla="*/ 3439855 h 69"/>
              <a:gd name="T4" fmla="*/ 74451875 w 85"/>
              <a:gd name="T5" fmla="*/ 10319564 h 69"/>
              <a:gd name="T6" fmla="*/ 92683970 w 85"/>
              <a:gd name="T7" fmla="*/ 25796947 h 69"/>
              <a:gd name="T8" fmla="*/ 103320478 w 85"/>
              <a:gd name="T9" fmla="*/ 44715498 h 69"/>
              <a:gd name="T10" fmla="*/ 127630734 w 85"/>
              <a:gd name="T11" fmla="*/ 65353310 h 69"/>
              <a:gd name="T12" fmla="*/ 115475606 w 85"/>
              <a:gd name="T13" fmla="*/ 70512435 h 69"/>
              <a:gd name="T14" fmla="*/ 106358952 w 85"/>
              <a:gd name="T15" fmla="*/ 84271851 h 69"/>
              <a:gd name="T16" fmla="*/ 104840331 w 85"/>
              <a:gd name="T17" fmla="*/ 91150268 h 69"/>
              <a:gd name="T18" fmla="*/ 100282004 w 85"/>
              <a:gd name="T19" fmla="*/ 116948516 h 69"/>
              <a:gd name="T20" fmla="*/ 82048695 w 85"/>
              <a:gd name="T21" fmla="*/ 110068809 h 69"/>
              <a:gd name="T22" fmla="*/ 79010202 w 85"/>
              <a:gd name="T23" fmla="*/ 87710414 h 69"/>
              <a:gd name="T24" fmla="*/ 60776893 w 85"/>
              <a:gd name="T25" fmla="*/ 96310704 h 69"/>
              <a:gd name="T26" fmla="*/ 44063438 w 85"/>
              <a:gd name="T27" fmla="*/ 108348226 h 69"/>
              <a:gd name="T28" fmla="*/ 33426921 w 85"/>
              <a:gd name="T29" fmla="*/ 106628955 h 69"/>
              <a:gd name="T30" fmla="*/ 24310266 w 85"/>
              <a:gd name="T31" fmla="*/ 94590122 h 69"/>
              <a:gd name="T32" fmla="*/ 18233314 w 85"/>
              <a:gd name="T33" fmla="*/ 84271851 h 69"/>
              <a:gd name="T34" fmla="*/ 25830119 w 85"/>
              <a:gd name="T35" fmla="*/ 73952289 h 69"/>
              <a:gd name="T36" fmla="*/ 30388447 w 85"/>
              <a:gd name="T37" fmla="*/ 82551268 h 69"/>
              <a:gd name="T38" fmla="*/ 53180092 w 85"/>
              <a:gd name="T39" fmla="*/ 94590122 h 69"/>
              <a:gd name="T40" fmla="*/ 57738419 w 85"/>
              <a:gd name="T41" fmla="*/ 84271851 h 69"/>
              <a:gd name="T42" fmla="*/ 36466627 w 85"/>
              <a:gd name="T43" fmla="*/ 65353310 h 69"/>
              <a:gd name="T44" fmla="*/ 30388447 w 85"/>
              <a:gd name="T45" fmla="*/ 49874623 h 69"/>
              <a:gd name="T46" fmla="*/ 22791646 w 85"/>
              <a:gd name="T47" fmla="*/ 44715498 h 69"/>
              <a:gd name="T48" fmla="*/ 22791646 w 85"/>
              <a:gd name="T49" fmla="*/ 34395926 h 69"/>
              <a:gd name="T50" fmla="*/ 13674986 w 85"/>
              <a:gd name="T51" fmla="*/ 30957384 h 69"/>
              <a:gd name="T52" fmla="*/ 0 w 85"/>
              <a:gd name="T53" fmla="*/ 29236801 h 69"/>
              <a:gd name="T54" fmla="*/ 4558328 w 85"/>
              <a:gd name="T55" fmla="*/ 17197963 h 69"/>
              <a:gd name="T56" fmla="*/ 6078183 w 85"/>
              <a:gd name="T57" fmla="*/ 10319564 h 69"/>
              <a:gd name="T58" fmla="*/ 16713460 w 85"/>
              <a:gd name="T59" fmla="*/ 10319564 h 69"/>
              <a:gd name="T60" fmla="*/ 22791646 w 85"/>
              <a:gd name="T61" fmla="*/ 15478692 h 69"/>
              <a:gd name="T62" fmla="*/ 39505101 w 85"/>
              <a:gd name="T63" fmla="*/ 30957384 h 69"/>
              <a:gd name="T64" fmla="*/ 41023731 w 85"/>
              <a:gd name="T65" fmla="*/ 20637817 h 69"/>
              <a:gd name="T66" fmla="*/ 34946774 w 85"/>
              <a:gd name="T67" fmla="*/ 8598982 h 69"/>
              <a:gd name="T68" fmla="*/ 39505101 w 85"/>
              <a:gd name="T69" fmla="*/ 0 h 69"/>
              <a:gd name="T70" fmla="*/ 48621765 w 85"/>
              <a:gd name="T71" fmla="*/ 3439855 h 69"/>
              <a:gd name="T72" fmla="*/ 48621765 w 85"/>
              <a:gd name="T73" fmla="*/ 3439855 h 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5"/>
              <a:gd name="T112" fmla="*/ 0 h 69"/>
              <a:gd name="T113" fmla="*/ 85 w 85"/>
              <a:gd name="T114" fmla="*/ 69 h 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5" h="69">
                <a:moveTo>
                  <a:pt x="32" y="2"/>
                </a:moveTo>
                <a:lnTo>
                  <a:pt x="36" y="2"/>
                </a:lnTo>
                <a:lnTo>
                  <a:pt x="49" y="6"/>
                </a:lnTo>
                <a:lnTo>
                  <a:pt x="61" y="15"/>
                </a:lnTo>
                <a:lnTo>
                  <a:pt x="68" y="26"/>
                </a:lnTo>
                <a:lnTo>
                  <a:pt x="84" y="38"/>
                </a:lnTo>
                <a:lnTo>
                  <a:pt x="76" y="41"/>
                </a:lnTo>
                <a:lnTo>
                  <a:pt x="70" y="49"/>
                </a:lnTo>
                <a:lnTo>
                  <a:pt x="69" y="53"/>
                </a:lnTo>
                <a:lnTo>
                  <a:pt x="66" y="68"/>
                </a:lnTo>
                <a:lnTo>
                  <a:pt x="54" y="64"/>
                </a:lnTo>
                <a:lnTo>
                  <a:pt x="52" y="51"/>
                </a:lnTo>
                <a:lnTo>
                  <a:pt x="40" y="56"/>
                </a:lnTo>
                <a:lnTo>
                  <a:pt x="29" y="63"/>
                </a:lnTo>
                <a:lnTo>
                  <a:pt x="22" y="62"/>
                </a:lnTo>
                <a:lnTo>
                  <a:pt x="16" y="55"/>
                </a:lnTo>
                <a:lnTo>
                  <a:pt x="12" y="49"/>
                </a:lnTo>
                <a:lnTo>
                  <a:pt x="17" y="43"/>
                </a:lnTo>
                <a:lnTo>
                  <a:pt x="20" y="48"/>
                </a:lnTo>
                <a:lnTo>
                  <a:pt x="35" y="55"/>
                </a:lnTo>
                <a:lnTo>
                  <a:pt x="38" y="49"/>
                </a:lnTo>
                <a:lnTo>
                  <a:pt x="24" y="38"/>
                </a:lnTo>
                <a:lnTo>
                  <a:pt x="20" y="29"/>
                </a:lnTo>
                <a:lnTo>
                  <a:pt x="15" y="26"/>
                </a:lnTo>
                <a:lnTo>
                  <a:pt x="15" y="20"/>
                </a:lnTo>
                <a:lnTo>
                  <a:pt x="9" y="18"/>
                </a:lnTo>
                <a:lnTo>
                  <a:pt x="0" y="17"/>
                </a:lnTo>
                <a:lnTo>
                  <a:pt x="3" y="10"/>
                </a:lnTo>
                <a:lnTo>
                  <a:pt x="4" y="6"/>
                </a:lnTo>
                <a:lnTo>
                  <a:pt x="11" y="6"/>
                </a:lnTo>
                <a:lnTo>
                  <a:pt x="15" y="9"/>
                </a:lnTo>
                <a:lnTo>
                  <a:pt x="26" y="18"/>
                </a:lnTo>
                <a:lnTo>
                  <a:pt x="27" y="12"/>
                </a:lnTo>
                <a:lnTo>
                  <a:pt x="23" y="5"/>
                </a:lnTo>
                <a:lnTo>
                  <a:pt x="26" y="0"/>
                </a:lnTo>
                <a:lnTo>
                  <a:pt x="32" y="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90" name="Freeform 589"/>
          <p:cNvSpPr>
            <a:spLocks/>
          </p:cNvSpPr>
          <p:nvPr/>
        </p:nvSpPr>
        <p:spPr bwMode="auto">
          <a:xfrm>
            <a:off x="5310183" y="3178362"/>
            <a:ext cx="101908" cy="70276"/>
          </a:xfrm>
          <a:custGeom>
            <a:avLst/>
            <a:gdLst>
              <a:gd name="T0" fmla="*/ 0 w 57"/>
              <a:gd name="T1" fmla="*/ 10017957 h 43"/>
              <a:gd name="T2" fmla="*/ 11994369 w 57"/>
              <a:gd name="T3" fmla="*/ 21705362 h 43"/>
              <a:gd name="T4" fmla="*/ 25702218 w 57"/>
              <a:gd name="T5" fmla="*/ 38401091 h 43"/>
              <a:gd name="T6" fmla="*/ 47977476 w 57"/>
              <a:gd name="T7" fmla="*/ 61775897 h 43"/>
              <a:gd name="T8" fmla="*/ 61685320 w 57"/>
              <a:gd name="T9" fmla="*/ 48419056 h 43"/>
              <a:gd name="T10" fmla="*/ 63398800 w 57"/>
              <a:gd name="T11" fmla="*/ 60106454 h 43"/>
              <a:gd name="T12" fmla="*/ 73679684 w 57"/>
              <a:gd name="T13" fmla="*/ 61775897 h 43"/>
              <a:gd name="T14" fmla="*/ 89101029 w 57"/>
              <a:gd name="T15" fmla="*/ 70124408 h 43"/>
              <a:gd name="T16" fmla="*/ 95954951 w 57"/>
              <a:gd name="T17" fmla="*/ 60106454 h 43"/>
              <a:gd name="T18" fmla="*/ 71966203 w 57"/>
              <a:gd name="T19" fmla="*/ 41739979 h 43"/>
              <a:gd name="T20" fmla="*/ 66825762 w 57"/>
              <a:gd name="T21" fmla="*/ 26713693 h 43"/>
              <a:gd name="T22" fmla="*/ 56544878 w 57"/>
              <a:gd name="T23" fmla="*/ 21705362 h 43"/>
              <a:gd name="T24" fmla="*/ 56544878 w 57"/>
              <a:gd name="T25" fmla="*/ 11687403 h 43"/>
              <a:gd name="T26" fmla="*/ 46263995 w 57"/>
              <a:gd name="T27" fmla="*/ 8348513 h 43"/>
              <a:gd name="T28" fmla="*/ 30842660 w 57"/>
              <a:gd name="T29" fmla="*/ 5008332 h 43"/>
              <a:gd name="T30" fmla="*/ 17134811 w 57"/>
              <a:gd name="T31" fmla="*/ 0 h 43"/>
              <a:gd name="T32" fmla="*/ 5140443 w 57"/>
              <a:gd name="T33" fmla="*/ 1669444 h 43"/>
              <a:gd name="T34" fmla="*/ 0 w 57"/>
              <a:gd name="T35" fmla="*/ 10017957 h 43"/>
              <a:gd name="T36" fmla="*/ 0 w 57"/>
              <a:gd name="T37" fmla="*/ 10017957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43"/>
              <a:gd name="T59" fmla="*/ 57 w 57"/>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43">
                <a:moveTo>
                  <a:pt x="0" y="6"/>
                </a:moveTo>
                <a:lnTo>
                  <a:pt x="7" y="13"/>
                </a:lnTo>
                <a:lnTo>
                  <a:pt x="15" y="23"/>
                </a:lnTo>
                <a:lnTo>
                  <a:pt x="28" y="37"/>
                </a:lnTo>
                <a:lnTo>
                  <a:pt x="36" y="29"/>
                </a:lnTo>
                <a:lnTo>
                  <a:pt x="37" y="36"/>
                </a:lnTo>
                <a:lnTo>
                  <a:pt x="43" y="37"/>
                </a:lnTo>
                <a:lnTo>
                  <a:pt x="52" y="42"/>
                </a:lnTo>
                <a:lnTo>
                  <a:pt x="56" y="36"/>
                </a:lnTo>
                <a:lnTo>
                  <a:pt x="42" y="25"/>
                </a:lnTo>
                <a:lnTo>
                  <a:pt x="39" y="16"/>
                </a:lnTo>
                <a:lnTo>
                  <a:pt x="33" y="13"/>
                </a:lnTo>
                <a:lnTo>
                  <a:pt x="33" y="7"/>
                </a:lnTo>
                <a:lnTo>
                  <a:pt x="27" y="5"/>
                </a:lnTo>
                <a:lnTo>
                  <a:pt x="18" y="3"/>
                </a:lnTo>
                <a:lnTo>
                  <a:pt x="10" y="0"/>
                </a:lnTo>
                <a:lnTo>
                  <a:pt x="3" y="1"/>
                </a:lnTo>
                <a:lnTo>
                  <a:pt x="0" y="6"/>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91" name="Freeform 590"/>
          <p:cNvSpPr>
            <a:spLocks/>
          </p:cNvSpPr>
          <p:nvPr/>
        </p:nvSpPr>
        <p:spPr bwMode="auto">
          <a:xfrm>
            <a:off x="5366557" y="2790838"/>
            <a:ext cx="971363" cy="407604"/>
          </a:xfrm>
          <a:custGeom>
            <a:avLst/>
            <a:gdLst>
              <a:gd name="T0" fmla="*/ 837896752 w 572"/>
              <a:gd name="T1" fmla="*/ 173329062 h 246"/>
              <a:gd name="T2" fmla="*/ 749778861 w 572"/>
              <a:gd name="T3" fmla="*/ 163032328 h 246"/>
              <a:gd name="T4" fmla="*/ 717313589 w 572"/>
              <a:gd name="T5" fmla="*/ 130426133 h 246"/>
              <a:gd name="T6" fmla="*/ 675574125 w 572"/>
              <a:gd name="T7" fmla="*/ 135574479 h 246"/>
              <a:gd name="T8" fmla="*/ 635379996 w 572"/>
              <a:gd name="T9" fmla="*/ 121845555 h 246"/>
              <a:gd name="T10" fmla="*/ 562720752 w 572"/>
              <a:gd name="T11" fmla="*/ 70362068 h 246"/>
              <a:gd name="T12" fmla="*/ 471510634 w 572"/>
              <a:gd name="T13" fmla="*/ 51483487 h 246"/>
              <a:gd name="T14" fmla="*/ 408126826 w 572"/>
              <a:gd name="T15" fmla="*/ 30890090 h 246"/>
              <a:gd name="T16" fmla="*/ 344743018 w 572"/>
              <a:gd name="T17" fmla="*/ 17161161 h 246"/>
              <a:gd name="T18" fmla="*/ 284452602 w 572"/>
              <a:gd name="T19" fmla="*/ 36038437 h 246"/>
              <a:gd name="T20" fmla="*/ 216431076 w 572"/>
              <a:gd name="T21" fmla="*/ 36038437 h 246"/>
              <a:gd name="T22" fmla="*/ 216431076 w 572"/>
              <a:gd name="T23" fmla="*/ 84090992 h 246"/>
              <a:gd name="T24" fmla="*/ 242711894 w 572"/>
              <a:gd name="T25" fmla="*/ 106400515 h 246"/>
              <a:gd name="T26" fmla="*/ 242711894 w 572"/>
              <a:gd name="T27" fmla="*/ 139006710 h 246"/>
              <a:gd name="T28" fmla="*/ 216431076 w 572"/>
              <a:gd name="T29" fmla="*/ 140722826 h 246"/>
              <a:gd name="T30" fmla="*/ 177782595 w 572"/>
              <a:gd name="T31" fmla="*/ 123561671 h 246"/>
              <a:gd name="T32" fmla="*/ 151501738 w 572"/>
              <a:gd name="T33" fmla="*/ 130426133 h 246"/>
              <a:gd name="T34" fmla="*/ 120583201 w 572"/>
              <a:gd name="T35" fmla="*/ 118413324 h 246"/>
              <a:gd name="T36" fmla="*/ 46378446 w 572"/>
              <a:gd name="T37" fmla="*/ 116697208 h 246"/>
              <a:gd name="T38" fmla="*/ 30918546 w 572"/>
              <a:gd name="T39" fmla="*/ 133858364 h 246"/>
              <a:gd name="T40" fmla="*/ 27826320 w 572"/>
              <a:gd name="T41" fmla="*/ 156167866 h 246"/>
              <a:gd name="T42" fmla="*/ 4637720 w 572"/>
              <a:gd name="T43" fmla="*/ 145871173 h 246"/>
              <a:gd name="T44" fmla="*/ 0 w 572"/>
              <a:gd name="T45" fmla="*/ 192206333 h 246"/>
              <a:gd name="T46" fmla="*/ 12367668 w 572"/>
              <a:gd name="T47" fmla="*/ 224813839 h 246"/>
              <a:gd name="T48" fmla="*/ 40193983 w 572"/>
              <a:gd name="T49" fmla="*/ 223097723 h 246"/>
              <a:gd name="T50" fmla="*/ 66474811 w 572"/>
              <a:gd name="T51" fmla="*/ 269432843 h 246"/>
              <a:gd name="T52" fmla="*/ 160777174 w 572"/>
              <a:gd name="T53" fmla="*/ 252271688 h 246"/>
              <a:gd name="T54" fmla="*/ 153047229 w 572"/>
              <a:gd name="T55" fmla="*/ 302039039 h 246"/>
              <a:gd name="T56" fmla="*/ 105123311 w 572"/>
              <a:gd name="T57" fmla="*/ 327780772 h 246"/>
              <a:gd name="T58" fmla="*/ 157684948 w 572"/>
              <a:gd name="T59" fmla="*/ 375833399 h 246"/>
              <a:gd name="T60" fmla="*/ 194787976 w 572"/>
              <a:gd name="T61" fmla="*/ 380981746 h 246"/>
              <a:gd name="T62" fmla="*/ 222614286 w 572"/>
              <a:gd name="T63" fmla="*/ 387846208 h 246"/>
              <a:gd name="T64" fmla="*/ 222614286 w 572"/>
              <a:gd name="T65" fmla="*/ 293458461 h 246"/>
              <a:gd name="T66" fmla="*/ 259717276 w 572"/>
              <a:gd name="T67" fmla="*/ 264284497 h 246"/>
              <a:gd name="T68" fmla="*/ 272084939 w 572"/>
              <a:gd name="T69" fmla="*/ 252271688 h 246"/>
              <a:gd name="T70" fmla="*/ 290635812 w 572"/>
              <a:gd name="T71" fmla="*/ 260852265 h 246"/>
              <a:gd name="T72" fmla="*/ 299911249 w 572"/>
              <a:gd name="T73" fmla="*/ 267716728 h 246"/>
              <a:gd name="T74" fmla="*/ 323101084 w 572"/>
              <a:gd name="T75" fmla="*/ 307187385 h 246"/>
              <a:gd name="T76" fmla="*/ 343197526 w 572"/>
              <a:gd name="T77" fmla="*/ 332929119 h 246"/>
              <a:gd name="T78" fmla="*/ 394213671 w 572"/>
              <a:gd name="T79" fmla="*/ 332929119 h 246"/>
              <a:gd name="T80" fmla="*/ 414311279 w 572"/>
              <a:gd name="T81" fmla="*/ 398142901 h 246"/>
              <a:gd name="T82" fmla="*/ 435954379 w 572"/>
              <a:gd name="T83" fmla="*/ 420452403 h 246"/>
              <a:gd name="T84" fmla="*/ 486969280 w 572"/>
              <a:gd name="T85" fmla="*/ 410155710 h 246"/>
              <a:gd name="T86" fmla="*/ 547260862 w 572"/>
              <a:gd name="T87" fmla="*/ 410155710 h 246"/>
              <a:gd name="T88" fmla="*/ 544169878 w 572"/>
              <a:gd name="T89" fmla="*/ 382697861 h 246"/>
              <a:gd name="T90" fmla="*/ 554990807 w 572"/>
              <a:gd name="T91" fmla="*/ 368968937 h 246"/>
              <a:gd name="T92" fmla="*/ 592093796 w 572"/>
              <a:gd name="T93" fmla="*/ 374117284 h 246"/>
              <a:gd name="T94" fmla="*/ 644655433 w 572"/>
              <a:gd name="T95" fmla="*/ 360388359 h 246"/>
              <a:gd name="T96" fmla="*/ 732773479 w 572"/>
              <a:gd name="T97" fmla="*/ 379265630 h 246"/>
              <a:gd name="T98" fmla="*/ 732773479 w 572"/>
              <a:gd name="T99" fmla="*/ 319200194 h 246"/>
              <a:gd name="T100" fmla="*/ 799248270 w 572"/>
              <a:gd name="T101" fmla="*/ 252271688 h 246"/>
              <a:gd name="T102" fmla="*/ 861086587 w 572"/>
              <a:gd name="T103" fmla="*/ 216233261 h 24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2"/>
              <a:gd name="T157" fmla="*/ 0 h 246"/>
              <a:gd name="T158" fmla="*/ 572 w 572"/>
              <a:gd name="T159" fmla="*/ 246 h 24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2" h="246">
                <a:moveTo>
                  <a:pt x="557" y="126"/>
                </a:moveTo>
                <a:lnTo>
                  <a:pt x="571" y="121"/>
                </a:lnTo>
                <a:lnTo>
                  <a:pt x="542" y="101"/>
                </a:lnTo>
                <a:lnTo>
                  <a:pt x="524" y="109"/>
                </a:lnTo>
                <a:lnTo>
                  <a:pt x="497" y="102"/>
                </a:lnTo>
                <a:lnTo>
                  <a:pt x="485" y="95"/>
                </a:lnTo>
                <a:lnTo>
                  <a:pt x="474" y="95"/>
                </a:lnTo>
                <a:lnTo>
                  <a:pt x="467" y="84"/>
                </a:lnTo>
                <a:lnTo>
                  <a:pt x="464" y="76"/>
                </a:lnTo>
                <a:lnTo>
                  <a:pt x="454" y="76"/>
                </a:lnTo>
                <a:lnTo>
                  <a:pt x="446" y="76"/>
                </a:lnTo>
                <a:lnTo>
                  <a:pt x="437" y="79"/>
                </a:lnTo>
                <a:lnTo>
                  <a:pt x="424" y="66"/>
                </a:lnTo>
                <a:lnTo>
                  <a:pt x="418" y="68"/>
                </a:lnTo>
                <a:lnTo>
                  <a:pt x="411" y="71"/>
                </a:lnTo>
                <a:lnTo>
                  <a:pt x="404" y="73"/>
                </a:lnTo>
                <a:lnTo>
                  <a:pt x="392" y="63"/>
                </a:lnTo>
                <a:lnTo>
                  <a:pt x="364" y="41"/>
                </a:lnTo>
                <a:lnTo>
                  <a:pt x="342" y="27"/>
                </a:lnTo>
                <a:lnTo>
                  <a:pt x="328" y="15"/>
                </a:lnTo>
                <a:lnTo>
                  <a:pt x="305" y="30"/>
                </a:lnTo>
                <a:lnTo>
                  <a:pt x="301" y="19"/>
                </a:lnTo>
                <a:lnTo>
                  <a:pt x="268" y="18"/>
                </a:lnTo>
                <a:lnTo>
                  <a:pt x="264" y="18"/>
                </a:lnTo>
                <a:lnTo>
                  <a:pt x="249" y="0"/>
                </a:lnTo>
                <a:lnTo>
                  <a:pt x="233" y="2"/>
                </a:lnTo>
                <a:lnTo>
                  <a:pt x="223" y="10"/>
                </a:lnTo>
                <a:lnTo>
                  <a:pt x="202" y="14"/>
                </a:lnTo>
                <a:lnTo>
                  <a:pt x="195" y="10"/>
                </a:lnTo>
                <a:lnTo>
                  <a:pt x="184" y="21"/>
                </a:lnTo>
                <a:lnTo>
                  <a:pt x="176" y="19"/>
                </a:lnTo>
                <a:lnTo>
                  <a:pt x="146" y="22"/>
                </a:lnTo>
                <a:lnTo>
                  <a:pt x="140" y="21"/>
                </a:lnTo>
                <a:lnTo>
                  <a:pt x="136" y="23"/>
                </a:lnTo>
                <a:lnTo>
                  <a:pt x="148" y="36"/>
                </a:lnTo>
                <a:lnTo>
                  <a:pt x="140" y="49"/>
                </a:lnTo>
                <a:lnTo>
                  <a:pt x="141" y="58"/>
                </a:lnTo>
                <a:lnTo>
                  <a:pt x="141" y="62"/>
                </a:lnTo>
                <a:lnTo>
                  <a:pt x="157" y="62"/>
                </a:lnTo>
                <a:lnTo>
                  <a:pt x="162" y="71"/>
                </a:lnTo>
                <a:lnTo>
                  <a:pt x="162" y="79"/>
                </a:lnTo>
                <a:lnTo>
                  <a:pt x="157" y="81"/>
                </a:lnTo>
                <a:lnTo>
                  <a:pt x="151" y="76"/>
                </a:lnTo>
                <a:lnTo>
                  <a:pt x="144" y="79"/>
                </a:lnTo>
                <a:lnTo>
                  <a:pt x="140" y="82"/>
                </a:lnTo>
                <a:lnTo>
                  <a:pt x="129" y="76"/>
                </a:lnTo>
                <a:lnTo>
                  <a:pt x="125" y="69"/>
                </a:lnTo>
                <a:lnTo>
                  <a:pt x="115" y="72"/>
                </a:lnTo>
                <a:lnTo>
                  <a:pt x="115" y="75"/>
                </a:lnTo>
                <a:lnTo>
                  <a:pt x="108" y="69"/>
                </a:lnTo>
                <a:lnTo>
                  <a:pt x="98" y="76"/>
                </a:lnTo>
                <a:lnTo>
                  <a:pt x="86" y="79"/>
                </a:lnTo>
                <a:lnTo>
                  <a:pt x="82" y="76"/>
                </a:lnTo>
                <a:lnTo>
                  <a:pt x="78" y="69"/>
                </a:lnTo>
                <a:lnTo>
                  <a:pt x="63" y="68"/>
                </a:lnTo>
                <a:lnTo>
                  <a:pt x="36" y="66"/>
                </a:lnTo>
                <a:lnTo>
                  <a:pt x="30" y="68"/>
                </a:lnTo>
                <a:lnTo>
                  <a:pt x="28" y="72"/>
                </a:lnTo>
                <a:lnTo>
                  <a:pt x="24" y="71"/>
                </a:lnTo>
                <a:lnTo>
                  <a:pt x="20" y="78"/>
                </a:lnTo>
                <a:lnTo>
                  <a:pt x="16" y="84"/>
                </a:lnTo>
                <a:lnTo>
                  <a:pt x="16" y="86"/>
                </a:lnTo>
                <a:lnTo>
                  <a:pt x="18" y="91"/>
                </a:lnTo>
                <a:lnTo>
                  <a:pt x="14" y="93"/>
                </a:lnTo>
                <a:lnTo>
                  <a:pt x="9" y="84"/>
                </a:lnTo>
                <a:lnTo>
                  <a:pt x="3" y="85"/>
                </a:lnTo>
                <a:lnTo>
                  <a:pt x="0" y="98"/>
                </a:lnTo>
                <a:lnTo>
                  <a:pt x="0" y="105"/>
                </a:lnTo>
                <a:lnTo>
                  <a:pt x="0" y="112"/>
                </a:lnTo>
                <a:lnTo>
                  <a:pt x="4" y="118"/>
                </a:lnTo>
                <a:lnTo>
                  <a:pt x="8" y="123"/>
                </a:lnTo>
                <a:lnTo>
                  <a:pt x="8" y="131"/>
                </a:lnTo>
                <a:lnTo>
                  <a:pt x="14" y="130"/>
                </a:lnTo>
                <a:lnTo>
                  <a:pt x="22" y="124"/>
                </a:lnTo>
                <a:lnTo>
                  <a:pt x="26" y="130"/>
                </a:lnTo>
                <a:lnTo>
                  <a:pt x="32" y="137"/>
                </a:lnTo>
                <a:lnTo>
                  <a:pt x="37" y="144"/>
                </a:lnTo>
                <a:lnTo>
                  <a:pt x="43" y="157"/>
                </a:lnTo>
                <a:lnTo>
                  <a:pt x="55" y="154"/>
                </a:lnTo>
                <a:lnTo>
                  <a:pt x="74" y="150"/>
                </a:lnTo>
                <a:lnTo>
                  <a:pt x="104" y="147"/>
                </a:lnTo>
                <a:lnTo>
                  <a:pt x="111" y="156"/>
                </a:lnTo>
                <a:lnTo>
                  <a:pt x="112" y="172"/>
                </a:lnTo>
                <a:lnTo>
                  <a:pt x="99" y="176"/>
                </a:lnTo>
                <a:lnTo>
                  <a:pt x="86" y="179"/>
                </a:lnTo>
                <a:lnTo>
                  <a:pt x="87" y="191"/>
                </a:lnTo>
                <a:lnTo>
                  <a:pt x="68" y="191"/>
                </a:lnTo>
                <a:lnTo>
                  <a:pt x="86" y="215"/>
                </a:lnTo>
                <a:lnTo>
                  <a:pt x="94" y="217"/>
                </a:lnTo>
                <a:lnTo>
                  <a:pt x="102" y="219"/>
                </a:lnTo>
                <a:lnTo>
                  <a:pt x="106" y="229"/>
                </a:lnTo>
                <a:lnTo>
                  <a:pt x="110" y="225"/>
                </a:lnTo>
                <a:lnTo>
                  <a:pt x="126" y="222"/>
                </a:lnTo>
                <a:lnTo>
                  <a:pt x="134" y="226"/>
                </a:lnTo>
                <a:lnTo>
                  <a:pt x="140" y="231"/>
                </a:lnTo>
                <a:lnTo>
                  <a:pt x="144" y="226"/>
                </a:lnTo>
                <a:lnTo>
                  <a:pt x="155" y="228"/>
                </a:lnTo>
                <a:lnTo>
                  <a:pt x="137" y="174"/>
                </a:lnTo>
                <a:lnTo>
                  <a:pt x="144" y="171"/>
                </a:lnTo>
                <a:lnTo>
                  <a:pt x="167" y="159"/>
                </a:lnTo>
                <a:lnTo>
                  <a:pt x="171" y="158"/>
                </a:lnTo>
                <a:lnTo>
                  <a:pt x="168" y="154"/>
                </a:lnTo>
                <a:lnTo>
                  <a:pt x="173" y="156"/>
                </a:lnTo>
                <a:lnTo>
                  <a:pt x="173" y="150"/>
                </a:lnTo>
                <a:lnTo>
                  <a:pt x="176" y="147"/>
                </a:lnTo>
                <a:lnTo>
                  <a:pt x="178" y="148"/>
                </a:lnTo>
                <a:lnTo>
                  <a:pt x="183" y="148"/>
                </a:lnTo>
                <a:lnTo>
                  <a:pt x="188" y="152"/>
                </a:lnTo>
                <a:lnTo>
                  <a:pt x="195" y="145"/>
                </a:lnTo>
                <a:lnTo>
                  <a:pt x="198" y="147"/>
                </a:lnTo>
                <a:lnTo>
                  <a:pt x="194" y="156"/>
                </a:lnTo>
                <a:lnTo>
                  <a:pt x="197" y="169"/>
                </a:lnTo>
                <a:lnTo>
                  <a:pt x="209" y="176"/>
                </a:lnTo>
                <a:lnTo>
                  <a:pt x="209" y="179"/>
                </a:lnTo>
                <a:lnTo>
                  <a:pt x="205" y="185"/>
                </a:lnTo>
                <a:lnTo>
                  <a:pt x="207" y="188"/>
                </a:lnTo>
                <a:lnTo>
                  <a:pt x="222" y="194"/>
                </a:lnTo>
                <a:lnTo>
                  <a:pt x="226" y="202"/>
                </a:lnTo>
                <a:lnTo>
                  <a:pt x="240" y="197"/>
                </a:lnTo>
                <a:lnTo>
                  <a:pt x="255" y="194"/>
                </a:lnTo>
                <a:lnTo>
                  <a:pt x="268" y="218"/>
                </a:lnTo>
                <a:lnTo>
                  <a:pt x="272" y="229"/>
                </a:lnTo>
                <a:lnTo>
                  <a:pt x="268" y="232"/>
                </a:lnTo>
                <a:lnTo>
                  <a:pt x="266" y="236"/>
                </a:lnTo>
                <a:lnTo>
                  <a:pt x="278" y="240"/>
                </a:lnTo>
                <a:lnTo>
                  <a:pt x="282" y="245"/>
                </a:lnTo>
                <a:lnTo>
                  <a:pt x="298" y="240"/>
                </a:lnTo>
                <a:lnTo>
                  <a:pt x="304" y="245"/>
                </a:lnTo>
                <a:lnTo>
                  <a:pt x="315" y="239"/>
                </a:lnTo>
                <a:lnTo>
                  <a:pt x="323" y="238"/>
                </a:lnTo>
                <a:lnTo>
                  <a:pt x="333" y="239"/>
                </a:lnTo>
                <a:lnTo>
                  <a:pt x="354" y="239"/>
                </a:lnTo>
                <a:lnTo>
                  <a:pt x="349" y="235"/>
                </a:lnTo>
                <a:lnTo>
                  <a:pt x="349" y="228"/>
                </a:lnTo>
                <a:lnTo>
                  <a:pt x="352" y="223"/>
                </a:lnTo>
                <a:lnTo>
                  <a:pt x="352" y="219"/>
                </a:lnTo>
                <a:lnTo>
                  <a:pt x="345" y="216"/>
                </a:lnTo>
                <a:lnTo>
                  <a:pt x="359" y="215"/>
                </a:lnTo>
                <a:lnTo>
                  <a:pt x="371" y="216"/>
                </a:lnTo>
                <a:lnTo>
                  <a:pt x="373" y="219"/>
                </a:lnTo>
                <a:lnTo>
                  <a:pt x="383" y="218"/>
                </a:lnTo>
                <a:lnTo>
                  <a:pt x="376" y="207"/>
                </a:lnTo>
                <a:lnTo>
                  <a:pt x="383" y="206"/>
                </a:lnTo>
                <a:lnTo>
                  <a:pt x="417" y="210"/>
                </a:lnTo>
                <a:lnTo>
                  <a:pt x="444" y="212"/>
                </a:lnTo>
                <a:lnTo>
                  <a:pt x="464" y="221"/>
                </a:lnTo>
                <a:lnTo>
                  <a:pt x="474" y="221"/>
                </a:lnTo>
                <a:lnTo>
                  <a:pt x="478" y="231"/>
                </a:lnTo>
                <a:lnTo>
                  <a:pt x="485" y="210"/>
                </a:lnTo>
                <a:lnTo>
                  <a:pt x="474" y="186"/>
                </a:lnTo>
                <a:lnTo>
                  <a:pt x="508" y="179"/>
                </a:lnTo>
                <a:lnTo>
                  <a:pt x="512" y="166"/>
                </a:lnTo>
                <a:lnTo>
                  <a:pt x="517" y="147"/>
                </a:lnTo>
                <a:lnTo>
                  <a:pt x="552" y="148"/>
                </a:lnTo>
                <a:lnTo>
                  <a:pt x="557" y="126"/>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92" name="Freeform 591"/>
          <p:cNvSpPr>
            <a:spLocks/>
          </p:cNvSpPr>
          <p:nvPr/>
        </p:nvSpPr>
        <p:spPr bwMode="auto">
          <a:xfrm>
            <a:off x="5600724" y="3055879"/>
            <a:ext cx="427141" cy="250988"/>
          </a:xfrm>
          <a:custGeom>
            <a:avLst/>
            <a:gdLst>
              <a:gd name="T0" fmla="*/ 37557332 w 250"/>
              <a:gd name="T1" fmla="*/ 114387181 h 153"/>
              <a:gd name="T2" fmla="*/ 43817105 w 250"/>
              <a:gd name="T3" fmla="*/ 95883169 h 153"/>
              <a:gd name="T4" fmla="*/ 53205497 w 250"/>
              <a:gd name="T5" fmla="*/ 87472254 h 153"/>
              <a:gd name="T6" fmla="*/ 70419843 w 250"/>
              <a:gd name="T7" fmla="*/ 90836620 h 153"/>
              <a:gd name="T8" fmla="*/ 89197899 w 250"/>
              <a:gd name="T9" fmla="*/ 97565352 h 153"/>
              <a:gd name="T10" fmla="*/ 93892720 w 250"/>
              <a:gd name="T11" fmla="*/ 102611900 h 153"/>
              <a:gd name="T12" fmla="*/ 106412245 w 250"/>
              <a:gd name="T13" fmla="*/ 114387181 h 153"/>
              <a:gd name="T14" fmla="*/ 115800637 w 250"/>
              <a:gd name="T15" fmla="*/ 144665176 h 153"/>
              <a:gd name="T16" fmla="*/ 129885103 w 250"/>
              <a:gd name="T17" fmla="*/ 141300810 h 153"/>
              <a:gd name="T18" fmla="*/ 151793020 w 250"/>
              <a:gd name="T19" fmla="*/ 144665176 h 153"/>
              <a:gd name="T20" fmla="*/ 183090619 w 250"/>
              <a:gd name="T21" fmla="*/ 178308874 h 153"/>
              <a:gd name="T22" fmla="*/ 215953120 w 250"/>
              <a:gd name="T23" fmla="*/ 198495069 h 153"/>
              <a:gd name="T24" fmla="*/ 247250681 w 250"/>
              <a:gd name="T25" fmla="*/ 220362150 h 153"/>
              <a:gd name="T26" fmla="*/ 259770205 w 250"/>
              <a:gd name="T27" fmla="*/ 255687991 h 153"/>
              <a:gd name="T28" fmla="*/ 278548241 w 250"/>
              <a:gd name="T29" fmla="*/ 227090881 h 153"/>
              <a:gd name="T30" fmla="*/ 281678122 w 250"/>
              <a:gd name="T31" fmla="*/ 201859435 h 153"/>
              <a:gd name="T32" fmla="*/ 269159849 w 250"/>
              <a:gd name="T33" fmla="*/ 163169188 h 153"/>
              <a:gd name="T34" fmla="*/ 295762587 w 250"/>
              <a:gd name="T35" fmla="*/ 154758273 h 153"/>
              <a:gd name="T36" fmla="*/ 328625167 w 250"/>
              <a:gd name="T37" fmla="*/ 163169188 h 153"/>
              <a:gd name="T38" fmla="*/ 381830644 w 250"/>
              <a:gd name="T39" fmla="*/ 158122639 h 153"/>
              <a:gd name="T40" fmla="*/ 381830644 w 250"/>
              <a:gd name="T41" fmla="*/ 136254261 h 153"/>
              <a:gd name="T42" fmla="*/ 317670504 w 250"/>
              <a:gd name="T43" fmla="*/ 136254261 h 153"/>
              <a:gd name="T44" fmla="*/ 286372944 w 250"/>
              <a:gd name="T45" fmla="*/ 132889895 h 153"/>
              <a:gd name="T46" fmla="*/ 258205265 w 250"/>
              <a:gd name="T47" fmla="*/ 144665176 h 153"/>
              <a:gd name="T48" fmla="*/ 239427229 w 250"/>
              <a:gd name="T49" fmla="*/ 141300810 h 153"/>
              <a:gd name="T50" fmla="*/ 223777823 w 250"/>
              <a:gd name="T51" fmla="*/ 142982993 h 153"/>
              <a:gd name="T52" fmla="*/ 204999787 w 250"/>
              <a:gd name="T53" fmla="*/ 132889895 h 153"/>
              <a:gd name="T54" fmla="*/ 204999787 w 250"/>
              <a:gd name="T55" fmla="*/ 124480278 h 153"/>
              <a:gd name="T56" fmla="*/ 201869906 w 250"/>
              <a:gd name="T57" fmla="*/ 95883169 h 153"/>
              <a:gd name="T58" fmla="*/ 140839687 w 250"/>
              <a:gd name="T59" fmla="*/ 72332588 h 153"/>
              <a:gd name="T60" fmla="*/ 109542126 w 250"/>
              <a:gd name="T61" fmla="*/ 50464210 h 153"/>
              <a:gd name="T62" fmla="*/ 70419843 w 250"/>
              <a:gd name="T63" fmla="*/ 60557308 h 153"/>
              <a:gd name="T64" fmla="*/ 45382045 w 250"/>
              <a:gd name="T65" fmla="*/ 26914936 h 153"/>
              <a:gd name="T66" fmla="*/ 46946986 w 250"/>
              <a:gd name="T67" fmla="*/ 0 h 153"/>
              <a:gd name="T68" fmla="*/ 28167689 w 250"/>
              <a:gd name="T69" fmla="*/ 117751546 h 1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0"/>
              <a:gd name="T106" fmla="*/ 0 h 153"/>
              <a:gd name="T107" fmla="*/ 250 w 250"/>
              <a:gd name="T108" fmla="*/ 153 h 1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0" h="153">
                <a:moveTo>
                  <a:pt x="18" y="70"/>
                </a:moveTo>
                <a:lnTo>
                  <a:pt x="24" y="68"/>
                </a:lnTo>
                <a:lnTo>
                  <a:pt x="26" y="62"/>
                </a:lnTo>
                <a:lnTo>
                  <a:pt x="28" y="57"/>
                </a:lnTo>
                <a:lnTo>
                  <a:pt x="36" y="60"/>
                </a:lnTo>
                <a:lnTo>
                  <a:pt x="34" y="52"/>
                </a:lnTo>
                <a:lnTo>
                  <a:pt x="41" y="49"/>
                </a:lnTo>
                <a:lnTo>
                  <a:pt x="45" y="54"/>
                </a:lnTo>
                <a:lnTo>
                  <a:pt x="51" y="54"/>
                </a:lnTo>
                <a:lnTo>
                  <a:pt x="57" y="58"/>
                </a:lnTo>
                <a:lnTo>
                  <a:pt x="60" y="60"/>
                </a:lnTo>
                <a:lnTo>
                  <a:pt x="60" y="61"/>
                </a:lnTo>
                <a:lnTo>
                  <a:pt x="61" y="66"/>
                </a:lnTo>
                <a:lnTo>
                  <a:pt x="68" y="68"/>
                </a:lnTo>
                <a:lnTo>
                  <a:pt x="68" y="75"/>
                </a:lnTo>
                <a:lnTo>
                  <a:pt x="74" y="86"/>
                </a:lnTo>
                <a:lnTo>
                  <a:pt x="81" y="87"/>
                </a:lnTo>
                <a:lnTo>
                  <a:pt x="83" y="84"/>
                </a:lnTo>
                <a:lnTo>
                  <a:pt x="91" y="80"/>
                </a:lnTo>
                <a:lnTo>
                  <a:pt x="97" y="86"/>
                </a:lnTo>
                <a:lnTo>
                  <a:pt x="105" y="94"/>
                </a:lnTo>
                <a:lnTo>
                  <a:pt x="117" y="106"/>
                </a:lnTo>
                <a:lnTo>
                  <a:pt x="137" y="111"/>
                </a:lnTo>
                <a:lnTo>
                  <a:pt x="138" y="118"/>
                </a:lnTo>
                <a:lnTo>
                  <a:pt x="151" y="124"/>
                </a:lnTo>
                <a:lnTo>
                  <a:pt x="158" y="131"/>
                </a:lnTo>
                <a:lnTo>
                  <a:pt x="153" y="152"/>
                </a:lnTo>
                <a:lnTo>
                  <a:pt x="166" y="152"/>
                </a:lnTo>
                <a:lnTo>
                  <a:pt x="173" y="141"/>
                </a:lnTo>
                <a:lnTo>
                  <a:pt x="178" y="135"/>
                </a:lnTo>
                <a:lnTo>
                  <a:pt x="182" y="130"/>
                </a:lnTo>
                <a:lnTo>
                  <a:pt x="180" y="120"/>
                </a:lnTo>
                <a:lnTo>
                  <a:pt x="170" y="116"/>
                </a:lnTo>
                <a:lnTo>
                  <a:pt x="172" y="97"/>
                </a:lnTo>
                <a:lnTo>
                  <a:pt x="181" y="90"/>
                </a:lnTo>
                <a:lnTo>
                  <a:pt x="189" y="92"/>
                </a:lnTo>
                <a:lnTo>
                  <a:pt x="207" y="89"/>
                </a:lnTo>
                <a:lnTo>
                  <a:pt x="210" y="97"/>
                </a:lnTo>
                <a:lnTo>
                  <a:pt x="221" y="96"/>
                </a:lnTo>
                <a:lnTo>
                  <a:pt x="244" y="94"/>
                </a:lnTo>
                <a:lnTo>
                  <a:pt x="249" y="86"/>
                </a:lnTo>
                <a:lnTo>
                  <a:pt x="244" y="81"/>
                </a:lnTo>
                <a:lnTo>
                  <a:pt x="229" y="81"/>
                </a:lnTo>
                <a:lnTo>
                  <a:pt x="203" y="81"/>
                </a:lnTo>
                <a:lnTo>
                  <a:pt x="193" y="81"/>
                </a:lnTo>
                <a:lnTo>
                  <a:pt x="183" y="79"/>
                </a:lnTo>
                <a:lnTo>
                  <a:pt x="167" y="87"/>
                </a:lnTo>
                <a:lnTo>
                  <a:pt x="165" y="86"/>
                </a:lnTo>
                <a:lnTo>
                  <a:pt x="161" y="82"/>
                </a:lnTo>
                <a:lnTo>
                  <a:pt x="153" y="84"/>
                </a:lnTo>
                <a:lnTo>
                  <a:pt x="145" y="87"/>
                </a:lnTo>
                <a:lnTo>
                  <a:pt x="143" y="85"/>
                </a:lnTo>
                <a:lnTo>
                  <a:pt x="141" y="82"/>
                </a:lnTo>
                <a:lnTo>
                  <a:pt x="131" y="79"/>
                </a:lnTo>
                <a:lnTo>
                  <a:pt x="129" y="78"/>
                </a:lnTo>
                <a:lnTo>
                  <a:pt x="131" y="74"/>
                </a:lnTo>
                <a:lnTo>
                  <a:pt x="136" y="71"/>
                </a:lnTo>
                <a:lnTo>
                  <a:pt x="129" y="57"/>
                </a:lnTo>
                <a:lnTo>
                  <a:pt x="118" y="36"/>
                </a:lnTo>
                <a:lnTo>
                  <a:pt x="90" y="43"/>
                </a:lnTo>
                <a:lnTo>
                  <a:pt x="83" y="36"/>
                </a:lnTo>
                <a:lnTo>
                  <a:pt x="70" y="30"/>
                </a:lnTo>
                <a:lnTo>
                  <a:pt x="58" y="39"/>
                </a:lnTo>
                <a:lnTo>
                  <a:pt x="45" y="36"/>
                </a:lnTo>
                <a:lnTo>
                  <a:pt x="32" y="27"/>
                </a:lnTo>
                <a:lnTo>
                  <a:pt x="29" y="16"/>
                </a:lnTo>
                <a:lnTo>
                  <a:pt x="31" y="8"/>
                </a:lnTo>
                <a:lnTo>
                  <a:pt x="30" y="0"/>
                </a:lnTo>
                <a:lnTo>
                  <a:pt x="0" y="16"/>
                </a:lnTo>
                <a:lnTo>
                  <a:pt x="18" y="7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93" name="Freeform 592"/>
          <p:cNvSpPr>
            <a:spLocks/>
          </p:cNvSpPr>
          <p:nvPr/>
        </p:nvSpPr>
        <p:spPr bwMode="auto">
          <a:xfrm>
            <a:off x="5542184" y="3134189"/>
            <a:ext cx="327402" cy="222876"/>
          </a:xfrm>
          <a:custGeom>
            <a:avLst/>
            <a:gdLst>
              <a:gd name="T0" fmla="*/ 0 w 191"/>
              <a:gd name="T1" fmla="*/ 32855643 h 134"/>
              <a:gd name="T2" fmla="*/ 1575071 w 191"/>
              <a:gd name="T3" fmla="*/ 63983358 h 134"/>
              <a:gd name="T4" fmla="*/ 17325780 w 191"/>
              <a:gd name="T5" fmla="*/ 44960360 h 134"/>
              <a:gd name="T6" fmla="*/ 39378027 w 191"/>
              <a:gd name="T7" fmla="*/ 69171089 h 134"/>
              <a:gd name="T8" fmla="*/ 29927604 w 191"/>
              <a:gd name="T9" fmla="*/ 83005040 h 134"/>
              <a:gd name="T10" fmla="*/ 3150142 w 191"/>
              <a:gd name="T11" fmla="*/ 69171089 h 134"/>
              <a:gd name="T12" fmla="*/ 0 w 191"/>
              <a:gd name="T13" fmla="*/ 89922036 h 134"/>
              <a:gd name="T14" fmla="*/ 3150142 w 191"/>
              <a:gd name="T15" fmla="*/ 102026743 h 134"/>
              <a:gd name="T16" fmla="*/ 17325780 w 191"/>
              <a:gd name="T17" fmla="*/ 103755986 h 134"/>
              <a:gd name="T18" fmla="*/ 11025498 w 191"/>
              <a:gd name="T19" fmla="*/ 117589937 h 134"/>
              <a:gd name="T20" fmla="*/ 23627322 w 191"/>
              <a:gd name="T21" fmla="*/ 126236156 h 134"/>
              <a:gd name="T22" fmla="*/ 23627322 w 191"/>
              <a:gd name="T23" fmla="*/ 167738009 h 134"/>
              <a:gd name="T24" fmla="*/ 64580420 w 191"/>
              <a:gd name="T25" fmla="*/ 155633302 h 134"/>
              <a:gd name="T26" fmla="*/ 88206497 w 191"/>
              <a:gd name="T27" fmla="*/ 143528595 h 134"/>
              <a:gd name="T28" fmla="*/ 141760149 w 191"/>
              <a:gd name="T29" fmla="*/ 171196496 h 134"/>
              <a:gd name="T30" fmla="*/ 173262853 w 191"/>
              <a:gd name="T31" fmla="*/ 186761047 h 134"/>
              <a:gd name="T32" fmla="*/ 181138205 w 191"/>
              <a:gd name="T33" fmla="*/ 195407266 h 134"/>
              <a:gd name="T34" fmla="*/ 184288346 w 191"/>
              <a:gd name="T35" fmla="*/ 214428948 h 134"/>
              <a:gd name="T36" fmla="*/ 215791011 w 191"/>
              <a:gd name="T37" fmla="*/ 229992143 h 134"/>
              <a:gd name="T38" fmla="*/ 261469310 w 191"/>
              <a:gd name="T39" fmla="*/ 174655025 h 134"/>
              <a:gd name="T40" fmla="*/ 291396905 w 191"/>
              <a:gd name="T41" fmla="*/ 174655025 h 134"/>
              <a:gd name="T42" fmla="*/ 296122116 w 191"/>
              <a:gd name="T43" fmla="*/ 152174814 h 134"/>
              <a:gd name="T44" fmla="*/ 299272257 w 191"/>
              <a:gd name="T45" fmla="*/ 141799351 h 134"/>
              <a:gd name="T46" fmla="*/ 289821834 w 191"/>
              <a:gd name="T47" fmla="*/ 127965400 h 134"/>
              <a:gd name="T48" fmla="*/ 267769592 w 191"/>
              <a:gd name="T49" fmla="*/ 119319181 h 134"/>
              <a:gd name="T50" fmla="*/ 266194522 w 191"/>
              <a:gd name="T51" fmla="*/ 107214474 h 134"/>
              <a:gd name="T52" fmla="*/ 234691857 w 191"/>
              <a:gd name="T53" fmla="*/ 98568255 h 134"/>
              <a:gd name="T54" fmla="*/ 215791011 w 191"/>
              <a:gd name="T55" fmla="*/ 77817308 h 134"/>
              <a:gd name="T56" fmla="*/ 207915658 w 191"/>
              <a:gd name="T57" fmla="*/ 65712601 h 134"/>
              <a:gd name="T58" fmla="*/ 193738769 w 191"/>
              <a:gd name="T59" fmla="*/ 53606580 h 134"/>
              <a:gd name="T60" fmla="*/ 184288346 w 191"/>
              <a:gd name="T61" fmla="*/ 60524870 h 134"/>
              <a:gd name="T62" fmla="*/ 177988064 w 191"/>
              <a:gd name="T63" fmla="*/ 65712601 h 134"/>
              <a:gd name="T64" fmla="*/ 166962571 w 191"/>
              <a:gd name="T65" fmla="*/ 63983358 h 134"/>
              <a:gd name="T66" fmla="*/ 157512109 w 191"/>
              <a:gd name="T67" fmla="*/ 44960360 h 134"/>
              <a:gd name="T68" fmla="*/ 157512109 w 191"/>
              <a:gd name="T69" fmla="*/ 32855643 h 134"/>
              <a:gd name="T70" fmla="*/ 146485360 w 191"/>
              <a:gd name="T71" fmla="*/ 29397156 h 134"/>
              <a:gd name="T72" fmla="*/ 143335219 w 191"/>
              <a:gd name="T73" fmla="*/ 19021687 h 134"/>
              <a:gd name="T74" fmla="*/ 130734655 w 191"/>
              <a:gd name="T75" fmla="*/ 8646222 h 134"/>
              <a:gd name="T76" fmla="*/ 121284232 w 191"/>
              <a:gd name="T77" fmla="*/ 8646222 h 134"/>
              <a:gd name="T78" fmla="*/ 114983950 w 191"/>
              <a:gd name="T79" fmla="*/ 0 h 134"/>
              <a:gd name="T80" fmla="*/ 103957202 w 191"/>
              <a:gd name="T81" fmla="*/ 5187733 h 134"/>
              <a:gd name="T82" fmla="*/ 107108598 w 191"/>
              <a:gd name="T83" fmla="*/ 19021687 h 134"/>
              <a:gd name="T84" fmla="*/ 102382131 w 191"/>
              <a:gd name="T85" fmla="*/ 15563200 h 134"/>
              <a:gd name="T86" fmla="*/ 94506779 w 191"/>
              <a:gd name="T87" fmla="*/ 13833956 h 134"/>
              <a:gd name="T88" fmla="*/ 88206497 w 191"/>
              <a:gd name="T89" fmla="*/ 32855643 h 134"/>
              <a:gd name="T90" fmla="*/ 75605913 w 191"/>
              <a:gd name="T91" fmla="*/ 36314131 h 134"/>
              <a:gd name="T92" fmla="*/ 64580420 w 191"/>
              <a:gd name="T93" fmla="*/ 32855643 h 134"/>
              <a:gd name="T94" fmla="*/ 55128742 w 191"/>
              <a:gd name="T95" fmla="*/ 41501862 h 134"/>
              <a:gd name="T96" fmla="*/ 45678319 w 191"/>
              <a:gd name="T97" fmla="*/ 32855643 h 134"/>
              <a:gd name="T98" fmla="*/ 31502675 w 191"/>
              <a:gd name="T99" fmla="*/ 24209424 h 134"/>
              <a:gd name="T100" fmla="*/ 0 w 191"/>
              <a:gd name="T101" fmla="*/ 32855643 h 134"/>
              <a:gd name="T102" fmla="*/ 0 w 191"/>
              <a:gd name="T103" fmla="*/ 32855643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1"/>
              <a:gd name="T157" fmla="*/ 0 h 134"/>
              <a:gd name="T158" fmla="*/ 191 w 191"/>
              <a:gd name="T159" fmla="*/ 134 h 1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1" h="134">
                <a:moveTo>
                  <a:pt x="0" y="19"/>
                </a:moveTo>
                <a:lnTo>
                  <a:pt x="1" y="37"/>
                </a:lnTo>
                <a:lnTo>
                  <a:pt x="11" y="26"/>
                </a:lnTo>
                <a:lnTo>
                  <a:pt x="25" y="40"/>
                </a:lnTo>
                <a:lnTo>
                  <a:pt x="19" y="48"/>
                </a:lnTo>
                <a:lnTo>
                  <a:pt x="2" y="40"/>
                </a:lnTo>
                <a:lnTo>
                  <a:pt x="0" y="52"/>
                </a:lnTo>
                <a:lnTo>
                  <a:pt x="2" y="59"/>
                </a:lnTo>
                <a:lnTo>
                  <a:pt x="11" y="60"/>
                </a:lnTo>
                <a:lnTo>
                  <a:pt x="7" y="68"/>
                </a:lnTo>
                <a:lnTo>
                  <a:pt x="15" y="73"/>
                </a:lnTo>
                <a:lnTo>
                  <a:pt x="15" y="97"/>
                </a:lnTo>
                <a:lnTo>
                  <a:pt x="41" y="90"/>
                </a:lnTo>
                <a:lnTo>
                  <a:pt x="56" y="83"/>
                </a:lnTo>
                <a:lnTo>
                  <a:pt x="90" y="99"/>
                </a:lnTo>
                <a:lnTo>
                  <a:pt x="110" y="108"/>
                </a:lnTo>
                <a:lnTo>
                  <a:pt x="115" y="113"/>
                </a:lnTo>
                <a:lnTo>
                  <a:pt x="117" y="124"/>
                </a:lnTo>
                <a:lnTo>
                  <a:pt x="137" y="133"/>
                </a:lnTo>
                <a:lnTo>
                  <a:pt x="166" y="101"/>
                </a:lnTo>
                <a:lnTo>
                  <a:pt x="185" y="101"/>
                </a:lnTo>
                <a:lnTo>
                  <a:pt x="188" y="88"/>
                </a:lnTo>
                <a:lnTo>
                  <a:pt x="190" y="82"/>
                </a:lnTo>
                <a:lnTo>
                  <a:pt x="184" y="74"/>
                </a:lnTo>
                <a:lnTo>
                  <a:pt x="170" y="69"/>
                </a:lnTo>
                <a:lnTo>
                  <a:pt x="169" y="62"/>
                </a:lnTo>
                <a:lnTo>
                  <a:pt x="149" y="57"/>
                </a:lnTo>
                <a:lnTo>
                  <a:pt x="137" y="45"/>
                </a:lnTo>
                <a:lnTo>
                  <a:pt x="132" y="38"/>
                </a:lnTo>
                <a:lnTo>
                  <a:pt x="123" y="31"/>
                </a:lnTo>
                <a:lnTo>
                  <a:pt x="117" y="35"/>
                </a:lnTo>
                <a:lnTo>
                  <a:pt x="113" y="38"/>
                </a:lnTo>
                <a:lnTo>
                  <a:pt x="106" y="37"/>
                </a:lnTo>
                <a:lnTo>
                  <a:pt x="100" y="26"/>
                </a:lnTo>
                <a:lnTo>
                  <a:pt x="100" y="19"/>
                </a:lnTo>
                <a:lnTo>
                  <a:pt x="93" y="17"/>
                </a:lnTo>
                <a:lnTo>
                  <a:pt x="91" y="11"/>
                </a:lnTo>
                <a:lnTo>
                  <a:pt x="83" y="5"/>
                </a:lnTo>
                <a:lnTo>
                  <a:pt x="77" y="5"/>
                </a:lnTo>
                <a:lnTo>
                  <a:pt x="73" y="0"/>
                </a:lnTo>
                <a:lnTo>
                  <a:pt x="66" y="3"/>
                </a:lnTo>
                <a:lnTo>
                  <a:pt x="68" y="11"/>
                </a:lnTo>
                <a:lnTo>
                  <a:pt x="65" y="9"/>
                </a:lnTo>
                <a:lnTo>
                  <a:pt x="60" y="8"/>
                </a:lnTo>
                <a:lnTo>
                  <a:pt x="56" y="19"/>
                </a:lnTo>
                <a:lnTo>
                  <a:pt x="48" y="21"/>
                </a:lnTo>
                <a:lnTo>
                  <a:pt x="41" y="19"/>
                </a:lnTo>
                <a:lnTo>
                  <a:pt x="35" y="24"/>
                </a:lnTo>
                <a:lnTo>
                  <a:pt x="29" y="19"/>
                </a:lnTo>
                <a:lnTo>
                  <a:pt x="20" y="14"/>
                </a:lnTo>
                <a:lnTo>
                  <a:pt x="0" y="19"/>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94" name="Freeform 593"/>
          <p:cNvSpPr>
            <a:spLocks/>
          </p:cNvSpPr>
          <p:nvPr/>
        </p:nvSpPr>
        <p:spPr bwMode="auto">
          <a:xfrm>
            <a:off x="5910780" y="3132180"/>
            <a:ext cx="268860" cy="114452"/>
          </a:xfrm>
          <a:custGeom>
            <a:avLst/>
            <a:gdLst>
              <a:gd name="T0" fmla="*/ 62060649 w 160"/>
              <a:gd name="T1" fmla="*/ 82551268 h 69"/>
              <a:gd name="T2" fmla="*/ 43896322 w 160"/>
              <a:gd name="T3" fmla="*/ 82551268 h 69"/>
              <a:gd name="T4" fmla="*/ 9082166 w 160"/>
              <a:gd name="T5" fmla="*/ 87710414 h 69"/>
              <a:gd name="T6" fmla="*/ 0 w 160"/>
              <a:gd name="T7" fmla="*/ 99749247 h 69"/>
              <a:gd name="T8" fmla="*/ 9082166 w 160"/>
              <a:gd name="T9" fmla="*/ 104909684 h 69"/>
              <a:gd name="T10" fmla="*/ 16649818 w 160"/>
              <a:gd name="T11" fmla="*/ 110068809 h 69"/>
              <a:gd name="T12" fmla="*/ 65087217 w 160"/>
              <a:gd name="T13" fmla="*/ 108348226 h 69"/>
              <a:gd name="T14" fmla="*/ 96874808 w 160"/>
              <a:gd name="T15" fmla="*/ 108348226 h 69"/>
              <a:gd name="T16" fmla="*/ 112011337 w 160"/>
              <a:gd name="T17" fmla="*/ 116948516 h 69"/>
              <a:gd name="T18" fmla="*/ 116552418 w 160"/>
              <a:gd name="T19" fmla="*/ 101469830 h 69"/>
              <a:gd name="T20" fmla="*/ 130175663 w 160"/>
              <a:gd name="T21" fmla="*/ 99749247 h 69"/>
              <a:gd name="T22" fmla="*/ 149853274 w 160"/>
              <a:gd name="T23" fmla="*/ 94590122 h 69"/>
              <a:gd name="T24" fmla="*/ 166503125 w 160"/>
              <a:gd name="T25" fmla="*/ 91150268 h 69"/>
              <a:gd name="T26" fmla="*/ 196777413 w 160"/>
              <a:gd name="T27" fmla="*/ 72233018 h 69"/>
              <a:gd name="T28" fmla="*/ 230078269 w 160"/>
              <a:gd name="T29" fmla="*/ 53314477 h 69"/>
              <a:gd name="T30" fmla="*/ 240673716 w 160"/>
              <a:gd name="T31" fmla="*/ 42996227 h 69"/>
              <a:gd name="T32" fmla="*/ 236132635 w 160"/>
              <a:gd name="T33" fmla="*/ 25796947 h 69"/>
              <a:gd name="T34" fmla="*/ 220996106 w 160"/>
              <a:gd name="T35" fmla="*/ 25796947 h 69"/>
              <a:gd name="T36" fmla="*/ 205859577 w 160"/>
              <a:gd name="T37" fmla="*/ 17197963 h 69"/>
              <a:gd name="T38" fmla="*/ 189208534 w 160"/>
              <a:gd name="T39" fmla="*/ 10319564 h 69"/>
              <a:gd name="T40" fmla="*/ 149853274 w 160"/>
              <a:gd name="T41" fmla="*/ 6879710 h 69"/>
              <a:gd name="T42" fmla="*/ 98388092 w 160"/>
              <a:gd name="T43" fmla="*/ 0 h 69"/>
              <a:gd name="T44" fmla="*/ 89305928 w 160"/>
              <a:gd name="T45" fmla="*/ 1719272 h 69"/>
              <a:gd name="T46" fmla="*/ 92333726 w 160"/>
              <a:gd name="T47" fmla="*/ 10319564 h 69"/>
              <a:gd name="T48" fmla="*/ 98388092 w 160"/>
              <a:gd name="T49" fmla="*/ 20637817 h 69"/>
              <a:gd name="T50" fmla="*/ 83251563 w 160"/>
              <a:gd name="T51" fmla="*/ 22357093 h 69"/>
              <a:gd name="T52" fmla="*/ 80224976 w 160"/>
              <a:gd name="T53" fmla="*/ 17197963 h 69"/>
              <a:gd name="T54" fmla="*/ 63573933 w 160"/>
              <a:gd name="T55" fmla="*/ 15478692 h 69"/>
              <a:gd name="T56" fmla="*/ 40868524 w 160"/>
              <a:gd name="T57" fmla="*/ 17197963 h 69"/>
              <a:gd name="T58" fmla="*/ 51465202 w 160"/>
              <a:gd name="T59" fmla="*/ 22357093 h 69"/>
              <a:gd name="T60" fmla="*/ 52978486 w 160"/>
              <a:gd name="T61" fmla="*/ 29236801 h 69"/>
              <a:gd name="T62" fmla="*/ 46924120 w 160"/>
              <a:gd name="T63" fmla="*/ 37835780 h 69"/>
              <a:gd name="T64" fmla="*/ 46924120 w 160"/>
              <a:gd name="T65" fmla="*/ 49874623 h 69"/>
              <a:gd name="T66" fmla="*/ 54491769 w 160"/>
              <a:gd name="T67" fmla="*/ 56754331 h 69"/>
              <a:gd name="T68" fmla="*/ 83251563 w 160"/>
              <a:gd name="T69" fmla="*/ 56754331 h 69"/>
              <a:gd name="T70" fmla="*/ 93847010 w 160"/>
              <a:gd name="T71" fmla="*/ 56754331 h 69"/>
              <a:gd name="T72" fmla="*/ 102929173 w 160"/>
              <a:gd name="T73" fmla="*/ 67072582 h 69"/>
              <a:gd name="T74" fmla="*/ 93847010 w 160"/>
              <a:gd name="T75" fmla="*/ 80831997 h 69"/>
              <a:gd name="T76" fmla="*/ 83251563 w 160"/>
              <a:gd name="T77" fmla="*/ 80831997 h 69"/>
              <a:gd name="T78" fmla="*/ 72656096 w 160"/>
              <a:gd name="T79" fmla="*/ 79111414 h 69"/>
              <a:gd name="T80" fmla="*/ 68115014 w 160"/>
              <a:gd name="T81" fmla="*/ 80831997 h 69"/>
              <a:gd name="T82" fmla="*/ 62060649 w 160"/>
              <a:gd name="T83" fmla="*/ 82551268 h 69"/>
              <a:gd name="T84" fmla="*/ 62060649 w 160"/>
              <a:gd name="T85" fmla="*/ 82551268 h 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
              <a:gd name="T130" fmla="*/ 0 h 69"/>
              <a:gd name="T131" fmla="*/ 160 w 160"/>
              <a:gd name="T132" fmla="*/ 69 h 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 h="69">
                <a:moveTo>
                  <a:pt x="41" y="48"/>
                </a:moveTo>
                <a:lnTo>
                  <a:pt x="29" y="48"/>
                </a:lnTo>
                <a:lnTo>
                  <a:pt x="6" y="51"/>
                </a:lnTo>
                <a:lnTo>
                  <a:pt x="0" y="58"/>
                </a:lnTo>
                <a:lnTo>
                  <a:pt x="6" y="61"/>
                </a:lnTo>
                <a:lnTo>
                  <a:pt x="11" y="64"/>
                </a:lnTo>
                <a:lnTo>
                  <a:pt x="43" y="63"/>
                </a:lnTo>
                <a:lnTo>
                  <a:pt x="64" y="63"/>
                </a:lnTo>
                <a:lnTo>
                  <a:pt x="74" y="68"/>
                </a:lnTo>
                <a:lnTo>
                  <a:pt x="77" y="59"/>
                </a:lnTo>
                <a:lnTo>
                  <a:pt x="86" y="58"/>
                </a:lnTo>
                <a:lnTo>
                  <a:pt x="99" y="55"/>
                </a:lnTo>
                <a:lnTo>
                  <a:pt x="110" y="53"/>
                </a:lnTo>
                <a:lnTo>
                  <a:pt x="130" y="42"/>
                </a:lnTo>
                <a:lnTo>
                  <a:pt x="152" y="31"/>
                </a:lnTo>
                <a:lnTo>
                  <a:pt x="159" y="25"/>
                </a:lnTo>
                <a:lnTo>
                  <a:pt x="156" y="15"/>
                </a:lnTo>
                <a:lnTo>
                  <a:pt x="146" y="15"/>
                </a:lnTo>
                <a:lnTo>
                  <a:pt x="136" y="10"/>
                </a:lnTo>
                <a:lnTo>
                  <a:pt x="125" y="6"/>
                </a:lnTo>
                <a:lnTo>
                  <a:pt x="99" y="4"/>
                </a:lnTo>
                <a:lnTo>
                  <a:pt x="65" y="0"/>
                </a:lnTo>
                <a:lnTo>
                  <a:pt x="59" y="1"/>
                </a:lnTo>
                <a:lnTo>
                  <a:pt x="61" y="6"/>
                </a:lnTo>
                <a:lnTo>
                  <a:pt x="65" y="12"/>
                </a:lnTo>
                <a:lnTo>
                  <a:pt x="55" y="13"/>
                </a:lnTo>
                <a:lnTo>
                  <a:pt x="53" y="10"/>
                </a:lnTo>
                <a:lnTo>
                  <a:pt x="42" y="9"/>
                </a:lnTo>
                <a:lnTo>
                  <a:pt x="27" y="10"/>
                </a:lnTo>
                <a:lnTo>
                  <a:pt x="34" y="13"/>
                </a:lnTo>
                <a:lnTo>
                  <a:pt x="35" y="17"/>
                </a:lnTo>
                <a:lnTo>
                  <a:pt x="31" y="22"/>
                </a:lnTo>
                <a:lnTo>
                  <a:pt x="31" y="29"/>
                </a:lnTo>
                <a:lnTo>
                  <a:pt x="36" y="33"/>
                </a:lnTo>
                <a:lnTo>
                  <a:pt x="55" y="33"/>
                </a:lnTo>
                <a:lnTo>
                  <a:pt x="62" y="33"/>
                </a:lnTo>
                <a:lnTo>
                  <a:pt x="68" y="39"/>
                </a:lnTo>
                <a:lnTo>
                  <a:pt x="62" y="47"/>
                </a:lnTo>
                <a:lnTo>
                  <a:pt x="55" y="47"/>
                </a:lnTo>
                <a:lnTo>
                  <a:pt x="48" y="46"/>
                </a:lnTo>
                <a:lnTo>
                  <a:pt x="45" y="47"/>
                </a:lnTo>
                <a:lnTo>
                  <a:pt x="41" y="4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95" name="Freeform 594"/>
          <p:cNvSpPr>
            <a:spLocks/>
          </p:cNvSpPr>
          <p:nvPr/>
        </p:nvSpPr>
        <p:spPr bwMode="auto">
          <a:xfrm>
            <a:off x="5884761" y="3202457"/>
            <a:ext cx="173458" cy="118465"/>
          </a:xfrm>
          <a:custGeom>
            <a:avLst/>
            <a:gdLst>
              <a:gd name="T0" fmla="*/ 0 w 102"/>
              <a:gd name="T1" fmla="*/ 102674656 h 71"/>
              <a:gd name="T2" fmla="*/ 1550147 w 102"/>
              <a:gd name="T3" fmla="*/ 107894661 h 71"/>
              <a:gd name="T4" fmla="*/ 12402423 w 102"/>
              <a:gd name="T5" fmla="*/ 109635982 h 71"/>
              <a:gd name="T6" fmla="*/ 40307556 w 102"/>
              <a:gd name="T7" fmla="*/ 111375984 h 71"/>
              <a:gd name="T8" fmla="*/ 72863135 w 102"/>
              <a:gd name="T9" fmla="*/ 73090648 h 71"/>
              <a:gd name="T10" fmla="*/ 82164034 w 102"/>
              <a:gd name="T11" fmla="*/ 97453332 h 71"/>
              <a:gd name="T12" fmla="*/ 91466159 w 102"/>
              <a:gd name="T13" fmla="*/ 121817314 h 71"/>
              <a:gd name="T14" fmla="*/ 111619309 w 102"/>
              <a:gd name="T15" fmla="*/ 111375984 h 71"/>
              <a:gd name="T16" fmla="*/ 133322607 w 102"/>
              <a:gd name="T17" fmla="*/ 102674656 h 71"/>
              <a:gd name="T18" fmla="*/ 155027149 w 102"/>
              <a:gd name="T19" fmla="*/ 109635982 h 71"/>
              <a:gd name="T20" fmla="*/ 156577296 w 102"/>
              <a:gd name="T21" fmla="*/ 73090648 h 71"/>
              <a:gd name="T22" fmla="*/ 141074585 w 102"/>
              <a:gd name="T23" fmla="*/ 66129322 h 71"/>
              <a:gd name="T24" fmla="*/ 131772460 w 102"/>
              <a:gd name="T25" fmla="*/ 67869323 h 71"/>
              <a:gd name="T26" fmla="*/ 137974292 w 102"/>
              <a:gd name="T27" fmla="*/ 45246662 h 71"/>
              <a:gd name="T28" fmla="*/ 119371288 w 102"/>
              <a:gd name="T29" fmla="*/ 40025327 h 71"/>
              <a:gd name="T30" fmla="*/ 103868576 w 102"/>
              <a:gd name="T31" fmla="*/ 38285326 h 71"/>
              <a:gd name="T32" fmla="*/ 82164034 w 102"/>
              <a:gd name="T33" fmla="*/ 38285326 h 71"/>
              <a:gd name="T34" fmla="*/ 65111157 w 102"/>
              <a:gd name="T35" fmla="*/ 38285326 h 71"/>
              <a:gd name="T36" fmla="*/ 43407859 w 102"/>
              <a:gd name="T37" fmla="*/ 38285326 h 71"/>
              <a:gd name="T38" fmla="*/ 26354992 w 102"/>
              <a:gd name="T39" fmla="*/ 34805322 h 71"/>
              <a:gd name="T40" fmla="*/ 23253454 w 102"/>
              <a:gd name="T41" fmla="*/ 31324000 h 71"/>
              <a:gd name="T42" fmla="*/ 26354992 w 102"/>
              <a:gd name="T43" fmla="*/ 22622672 h 71"/>
              <a:gd name="T44" fmla="*/ 34105725 w 102"/>
              <a:gd name="T45" fmla="*/ 17402661 h 71"/>
              <a:gd name="T46" fmla="*/ 63561010 w 102"/>
              <a:gd name="T47" fmla="*/ 10441332 h 71"/>
              <a:gd name="T48" fmla="*/ 62010864 w 102"/>
              <a:gd name="T49" fmla="*/ 0 h 71"/>
              <a:gd name="T50" fmla="*/ 40307556 w 102"/>
              <a:gd name="T51" fmla="*/ 3480005 h 71"/>
              <a:gd name="T52" fmla="*/ 20153156 w 102"/>
              <a:gd name="T53" fmla="*/ 1740002 h 71"/>
              <a:gd name="T54" fmla="*/ 7750735 w 102"/>
              <a:gd name="T55" fmla="*/ 13921338 h 71"/>
              <a:gd name="T56" fmla="*/ 3100294 w 102"/>
              <a:gd name="T57" fmla="*/ 38285326 h 71"/>
              <a:gd name="T58" fmla="*/ 4650441 w 102"/>
              <a:gd name="T59" fmla="*/ 45246662 h 71"/>
              <a:gd name="T60" fmla="*/ 3100294 w 102"/>
              <a:gd name="T61" fmla="*/ 46986664 h 71"/>
              <a:gd name="T62" fmla="*/ 17052863 w 102"/>
              <a:gd name="T63" fmla="*/ 50466668 h 71"/>
              <a:gd name="T64" fmla="*/ 23253454 w 102"/>
              <a:gd name="T65" fmla="*/ 64389320 h 71"/>
              <a:gd name="T66" fmla="*/ 20153156 w 102"/>
              <a:gd name="T67" fmla="*/ 80050655 h 71"/>
              <a:gd name="T68" fmla="*/ 15502716 w 102"/>
              <a:gd name="T69" fmla="*/ 81791976 h 71"/>
              <a:gd name="T70" fmla="*/ 10852276 w 102"/>
              <a:gd name="T71" fmla="*/ 88752004 h 71"/>
              <a:gd name="T72" fmla="*/ 0 w 102"/>
              <a:gd name="T73" fmla="*/ 102674656 h 71"/>
              <a:gd name="T74" fmla="*/ 0 w 102"/>
              <a:gd name="T75" fmla="*/ 102674656 h 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2"/>
              <a:gd name="T115" fmla="*/ 0 h 71"/>
              <a:gd name="T116" fmla="*/ 102 w 102"/>
              <a:gd name="T117" fmla="*/ 71 h 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2" h="71">
                <a:moveTo>
                  <a:pt x="0" y="59"/>
                </a:moveTo>
                <a:lnTo>
                  <a:pt x="1" y="62"/>
                </a:lnTo>
                <a:lnTo>
                  <a:pt x="8" y="63"/>
                </a:lnTo>
                <a:lnTo>
                  <a:pt x="26" y="64"/>
                </a:lnTo>
                <a:lnTo>
                  <a:pt x="47" y="42"/>
                </a:lnTo>
                <a:lnTo>
                  <a:pt x="53" y="56"/>
                </a:lnTo>
                <a:lnTo>
                  <a:pt x="59" y="70"/>
                </a:lnTo>
                <a:lnTo>
                  <a:pt x="72" y="64"/>
                </a:lnTo>
                <a:lnTo>
                  <a:pt x="86" y="59"/>
                </a:lnTo>
                <a:lnTo>
                  <a:pt x="100" y="63"/>
                </a:lnTo>
                <a:lnTo>
                  <a:pt x="101" y="42"/>
                </a:lnTo>
                <a:lnTo>
                  <a:pt x="91" y="38"/>
                </a:lnTo>
                <a:lnTo>
                  <a:pt x="85" y="39"/>
                </a:lnTo>
                <a:lnTo>
                  <a:pt x="89" y="26"/>
                </a:lnTo>
                <a:lnTo>
                  <a:pt x="77" y="23"/>
                </a:lnTo>
                <a:lnTo>
                  <a:pt x="67" y="22"/>
                </a:lnTo>
                <a:lnTo>
                  <a:pt x="53" y="22"/>
                </a:lnTo>
                <a:lnTo>
                  <a:pt x="42" y="22"/>
                </a:lnTo>
                <a:lnTo>
                  <a:pt x="28" y="22"/>
                </a:lnTo>
                <a:lnTo>
                  <a:pt x="17" y="20"/>
                </a:lnTo>
                <a:lnTo>
                  <a:pt x="15" y="18"/>
                </a:lnTo>
                <a:lnTo>
                  <a:pt x="17" y="13"/>
                </a:lnTo>
                <a:lnTo>
                  <a:pt x="22" y="10"/>
                </a:lnTo>
                <a:lnTo>
                  <a:pt x="41" y="6"/>
                </a:lnTo>
                <a:lnTo>
                  <a:pt x="40" y="0"/>
                </a:lnTo>
                <a:lnTo>
                  <a:pt x="26" y="2"/>
                </a:lnTo>
                <a:lnTo>
                  <a:pt x="13" y="1"/>
                </a:lnTo>
                <a:lnTo>
                  <a:pt x="5" y="8"/>
                </a:lnTo>
                <a:lnTo>
                  <a:pt x="2" y="22"/>
                </a:lnTo>
                <a:lnTo>
                  <a:pt x="3" y="26"/>
                </a:lnTo>
                <a:lnTo>
                  <a:pt x="2" y="27"/>
                </a:lnTo>
                <a:lnTo>
                  <a:pt x="11" y="29"/>
                </a:lnTo>
                <a:lnTo>
                  <a:pt x="15" y="37"/>
                </a:lnTo>
                <a:lnTo>
                  <a:pt x="13" y="46"/>
                </a:lnTo>
                <a:lnTo>
                  <a:pt x="10" y="47"/>
                </a:lnTo>
                <a:lnTo>
                  <a:pt x="7" y="51"/>
                </a:lnTo>
                <a:lnTo>
                  <a:pt x="0" y="59"/>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96" name="Freeform 595"/>
          <p:cNvSpPr>
            <a:spLocks/>
          </p:cNvSpPr>
          <p:nvPr/>
        </p:nvSpPr>
        <p:spPr bwMode="auto">
          <a:xfrm>
            <a:off x="4720426" y="3092021"/>
            <a:ext cx="84561" cy="80317"/>
          </a:xfrm>
          <a:custGeom>
            <a:avLst/>
            <a:gdLst>
              <a:gd name="T0" fmla="*/ 0 w 48"/>
              <a:gd name="T1" fmla="*/ 20152825 h 49"/>
              <a:gd name="T2" fmla="*/ 46584378 w 48"/>
              <a:gd name="T3" fmla="*/ 18473316 h 49"/>
              <a:gd name="T4" fmla="*/ 51574823 w 48"/>
              <a:gd name="T5" fmla="*/ 0 h 49"/>
              <a:gd name="T6" fmla="*/ 78194824 w 48"/>
              <a:gd name="T7" fmla="*/ 48703209 h 49"/>
              <a:gd name="T8" fmla="*/ 71540469 w 48"/>
              <a:gd name="T9" fmla="*/ 75572772 h 49"/>
              <a:gd name="T10" fmla="*/ 29946545 w 48"/>
              <a:gd name="T11" fmla="*/ 80611301 h 49"/>
              <a:gd name="T12" fmla="*/ 14973917 w 48"/>
              <a:gd name="T13" fmla="*/ 75572772 h 49"/>
              <a:gd name="T14" fmla="*/ 13310006 w 48"/>
              <a:gd name="T15" fmla="*/ 48703209 h 49"/>
              <a:gd name="T16" fmla="*/ 0 w 48"/>
              <a:gd name="T17" fmla="*/ 21832340 h 49"/>
              <a:gd name="T18" fmla="*/ 0 w 48"/>
              <a:gd name="T19" fmla="*/ 20152825 h 49"/>
              <a:gd name="T20" fmla="*/ 0 w 48"/>
              <a:gd name="T21" fmla="*/ 20152825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9"/>
              <a:gd name="T35" fmla="*/ 48 w 48"/>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9">
                <a:moveTo>
                  <a:pt x="0" y="12"/>
                </a:moveTo>
                <a:lnTo>
                  <a:pt x="28" y="11"/>
                </a:lnTo>
                <a:lnTo>
                  <a:pt x="31" y="0"/>
                </a:lnTo>
                <a:lnTo>
                  <a:pt x="47" y="29"/>
                </a:lnTo>
                <a:lnTo>
                  <a:pt x="43" y="45"/>
                </a:lnTo>
                <a:lnTo>
                  <a:pt x="18" y="48"/>
                </a:lnTo>
                <a:lnTo>
                  <a:pt x="9" y="45"/>
                </a:lnTo>
                <a:lnTo>
                  <a:pt x="8" y="29"/>
                </a:lnTo>
                <a:lnTo>
                  <a:pt x="0" y="13"/>
                </a:lnTo>
                <a:lnTo>
                  <a:pt x="0" y="1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97" name="Freeform 596"/>
          <p:cNvSpPr>
            <a:spLocks/>
          </p:cNvSpPr>
          <p:nvPr/>
        </p:nvSpPr>
        <p:spPr bwMode="auto">
          <a:xfrm>
            <a:off x="4763789" y="3162299"/>
            <a:ext cx="43365" cy="78307"/>
          </a:xfrm>
          <a:custGeom>
            <a:avLst/>
            <a:gdLst>
              <a:gd name="T0" fmla="*/ 0 w 25"/>
              <a:gd name="T1" fmla="*/ 60733038 h 47"/>
              <a:gd name="T2" fmla="*/ 0 w 25"/>
              <a:gd name="T3" fmla="*/ 60733038 h 47"/>
              <a:gd name="T4" fmla="*/ 1612900 w 25"/>
              <a:gd name="T5" fmla="*/ 19087337 h 47"/>
              <a:gd name="T6" fmla="*/ 19354799 w 25"/>
              <a:gd name="T7" fmla="*/ 0 h 47"/>
              <a:gd name="T8" fmla="*/ 38709598 w 25"/>
              <a:gd name="T9" fmla="*/ 46850265 h 47"/>
              <a:gd name="T10" fmla="*/ 20967704 w 25"/>
              <a:gd name="T11" fmla="*/ 79820370 h 47"/>
              <a:gd name="T12" fmla="*/ 0 w 25"/>
              <a:gd name="T13" fmla="*/ 60733038 h 47"/>
              <a:gd name="T14" fmla="*/ 0 w 25"/>
              <a:gd name="T15" fmla="*/ 60733038 h 4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47"/>
              <a:gd name="T26" fmla="*/ 25 w 25"/>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47">
                <a:moveTo>
                  <a:pt x="0" y="35"/>
                </a:moveTo>
                <a:lnTo>
                  <a:pt x="0" y="35"/>
                </a:lnTo>
                <a:lnTo>
                  <a:pt x="1" y="11"/>
                </a:lnTo>
                <a:lnTo>
                  <a:pt x="12" y="0"/>
                </a:lnTo>
                <a:lnTo>
                  <a:pt x="24" y="27"/>
                </a:lnTo>
                <a:lnTo>
                  <a:pt x="13" y="46"/>
                </a:lnTo>
                <a:lnTo>
                  <a:pt x="0" y="3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98" name="Freeform 597"/>
          <p:cNvSpPr>
            <a:spLocks/>
          </p:cNvSpPr>
          <p:nvPr/>
        </p:nvSpPr>
        <p:spPr bwMode="auto">
          <a:xfrm>
            <a:off x="4536128" y="2985604"/>
            <a:ext cx="177794" cy="70276"/>
          </a:xfrm>
          <a:custGeom>
            <a:avLst/>
            <a:gdLst>
              <a:gd name="T0" fmla="*/ 0 w 105"/>
              <a:gd name="T1" fmla="*/ 42239311 h 41"/>
              <a:gd name="T2" fmla="*/ 0 w 105"/>
              <a:gd name="T3" fmla="*/ 42239311 h 41"/>
              <a:gd name="T4" fmla="*/ 1537305 w 105"/>
              <a:gd name="T5" fmla="*/ 45911833 h 41"/>
              <a:gd name="T6" fmla="*/ 3074610 w 105"/>
              <a:gd name="T7" fmla="*/ 58766978 h 41"/>
              <a:gd name="T8" fmla="*/ 19981242 w 105"/>
              <a:gd name="T9" fmla="*/ 62440845 h 41"/>
              <a:gd name="T10" fmla="*/ 53795752 w 105"/>
              <a:gd name="T11" fmla="*/ 55094467 h 41"/>
              <a:gd name="T12" fmla="*/ 89146332 w 105"/>
              <a:gd name="T13" fmla="*/ 73459734 h 41"/>
              <a:gd name="T14" fmla="*/ 138331392 w 105"/>
              <a:gd name="T15" fmla="*/ 60604589 h 41"/>
              <a:gd name="T16" fmla="*/ 159848693 w 105"/>
              <a:gd name="T17" fmla="*/ 23874044 h 41"/>
              <a:gd name="T18" fmla="*/ 152163412 w 105"/>
              <a:gd name="T19" fmla="*/ 0 h 41"/>
              <a:gd name="T20" fmla="*/ 89146332 w 105"/>
              <a:gd name="T21" fmla="*/ 1836256 h 41"/>
              <a:gd name="T22" fmla="*/ 70702380 w 105"/>
              <a:gd name="T23" fmla="*/ 40403056 h 41"/>
              <a:gd name="T24" fmla="*/ 0 w 105"/>
              <a:gd name="T25" fmla="*/ 42239311 h 41"/>
              <a:gd name="T26" fmla="*/ 0 w 105"/>
              <a:gd name="T27" fmla="*/ 42239311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5"/>
              <a:gd name="T43" fmla="*/ 0 h 41"/>
              <a:gd name="T44" fmla="*/ 105 w 105"/>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5" h="41">
                <a:moveTo>
                  <a:pt x="0" y="23"/>
                </a:moveTo>
                <a:lnTo>
                  <a:pt x="0" y="23"/>
                </a:lnTo>
                <a:lnTo>
                  <a:pt x="1" y="25"/>
                </a:lnTo>
                <a:lnTo>
                  <a:pt x="2" y="32"/>
                </a:lnTo>
                <a:lnTo>
                  <a:pt x="13" y="34"/>
                </a:lnTo>
                <a:lnTo>
                  <a:pt x="35" y="30"/>
                </a:lnTo>
                <a:lnTo>
                  <a:pt x="58" y="40"/>
                </a:lnTo>
                <a:lnTo>
                  <a:pt x="90" y="33"/>
                </a:lnTo>
                <a:lnTo>
                  <a:pt x="104" y="13"/>
                </a:lnTo>
                <a:lnTo>
                  <a:pt x="99" y="0"/>
                </a:lnTo>
                <a:lnTo>
                  <a:pt x="58" y="1"/>
                </a:lnTo>
                <a:lnTo>
                  <a:pt x="46" y="22"/>
                </a:lnTo>
                <a:lnTo>
                  <a:pt x="0" y="2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599" name="Freeform 598"/>
          <p:cNvSpPr>
            <a:spLocks/>
          </p:cNvSpPr>
          <p:nvPr/>
        </p:nvSpPr>
        <p:spPr bwMode="auto">
          <a:xfrm>
            <a:off x="4384352" y="2909304"/>
            <a:ext cx="78057" cy="58228"/>
          </a:xfrm>
          <a:custGeom>
            <a:avLst/>
            <a:gdLst>
              <a:gd name="T0" fmla="*/ 0 w 45"/>
              <a:gd name="T1" fmla="*/ 11676657 h 33"/>
              <a:gd name="T2" fmla="*/ 0 w 45"/>
              <a:gd name="T3" fmla="*/ 11676657 h 33"/>
              <a:gd name="T4" fmla="*/ 16128999 w 45"/>
              <a:gd name="T5" fmla="*/ 1946109 h 33"/>
              <a:gd name="T6" fmla="*/ 48387003 w 45"/>
              <a:gd name="T7" fmla="*/ 0 h 33"/>
              <a:gd name="T8" fmla="*/ 69354696 w 45"/>
              <a:gd name="T9" fmla="*/ 25300818 h 33"/>
              <a:gd name="T10" fmla="*/ 70967596 w 45"/>
              <a:gd name="T11" fmla="*/ 44761905 h 33"/>
              <a:gd name="T12" fmla="*/ 62903099 w 45"/>
              <a:gd name="T13" fmla="*/ 62278289 h 33"/>
              <a:gd name="T14" fmla="*/ 0 w 45"/>
              <a:gd name="T15" fmla="*/ 11676657 h 33"/>
              <a:gd name="T16" fmla="*/ 0 w 45"/>
              <a:gd name="T17" fmla="*/ 11676657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33"/>
              <a:gd name="T29" fmla="*/ 45 w 45"/>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33">
                <a:moveTo>
                  <a:pt x="0" y="6"/>
                </a:moveTo>
                <a:lnTo>
                  <a:pt x="0" y="6"/>
                </a:lnTo>
                <a:lnTo>
                  <a:pt x="10" y="1"/>
                </a:lnTo>
                <a:lnTo>
                  <a:pt x="30" y="0"/>
                </a:lnTo>
                <a:lnTo>
                  <a:pt x="43" y="13"/>
                </a:lnTo>
                <a:lnTo>
                  <a:pt x="44" y="23"/>
                </a:lnTo>
                <a:lnTo>
                  <a:pt x="39" y="32"/>
                </a:lnTo>
                <a:lnTo>
                  <a:pt x="0" y="6"/>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00" name="Freeform 599"/>
          <p:cNvSpPr>
            <a:spLocks/>
          </p:cNvSpPr>
          <p:nvPr/>
        </p:nvSpPr>
        <p:spPr bwMode="auto">
          <a:xfrm>
            <a:off x="4837509" y="3118126"/>
            <a:ext cx="147440" cy="78307"/>
          </a:xfrm>
          <a:custGeom>
            <a:avLst/>
            <a:gdLst>
              <a:gd name="T0" fmla="*/ 0 w 86"/>
              <a:gd name="T1" fmla="*/ 53237874 h 48"/>
              <a:gd name="T2" fmla="*/ 0 w 86"/>
              <a:gd name="T3" fmla="*/ 53237874 h 48"/>
              <a:gd name="T4" fmla="*/ 7877839 w 86"/>
              <a:gd name="T5" fmla="*/ 0 h 48"/>
              <a:gd name="T6" fmla="*/ 133927029 w 86"/>
              <a:gd name="T7" fmla="*/ 11645907 h 48"/>
              <a:gd name="T8" fmla="*/ 110292264 w 86"/>
              <a:gd name="T9" fmla="*/ 44918452 h 48"/>
              <a:gd name="T10" fmla="*/ 119746672 w 86"/>
              <a:gd name="T11" fmla="*/ 63219891 h 48"/>
              <a:gd name="T12" fmla="*/ 86658754 w 86"/>
              <a:gd name="T13" fmla="*/ 64883776 h 48"/>
              <a:gd name="T14" fmla="*/ 66175857 w 86"/>
              <a:gd name="T15" fmla="*/ 78192272 h 48"/>
              <a:gd name="T16" fmla="*/ 12605046 w 86"/>
              <a:gd name="T17" fmla="*/ 78192272 h 48"/>
              <a:gd name="T18" fmla="*/ 0 w 86"/>
              <a:gd name="T19" fmla="*/ 53237874 h 48"/>
              <a:gd name="T20" fmla="*/ 0 w 86"/>
              <a:gd name="T21" fmla="*/ 53237874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48"/>
              <a:gd name="T35" fmla="*/ 86 w 86"/>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48">
                <a:moveTo>
                  <a:pt x="0" y="32"/>
                </a:moveTo>
                <a:lnTo>
                  <a:pt x="0" y="32"/>
                </a:lnTo>
                <a:lnTo>
                  <a:pt x="5" y="0"/>
                </a:lnTo>
                <a:lnTo>
                  <a:pt x="85" y="7"/>
                </a:lnTo>
                <a:lnTo>
                  <a:pt x="70" y="27"/>
                </a:lnTo>
                <a:lnTo>
                  <a:pt x="76" y="38"/>
                </a:lnTo>
                <a:lnTo>
                  <a:pt x="55" y="39"/>
                </a:lnTo>
                <a:lnTo>
                  <a:pt x="42" y="47"/>
                </a:lnTo>
                <a:lnTo>
                  <a:pt x="8" y="47"/>
                </a:lnTo>
                <a:lnTo>
                  <a:pt x="0" y="3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01" name="Freeform 600"/>
          <p:cNvSpPr>
            <a:spLocks/>
          </p:cNvSpPr>
          <p:nvPr/>
        </p:nvSpPr>
        <p:spPr bwMode="auto">
          <a:xfrm>
            <a:off x="4705249" y="2963516"/>
            <a:ext cx="134431" cy="56221"/>
          </a:xfrm>
          <a:custGeom>
            <a:avLst/>
            <a:gdLst>
              <a:gd name="T0" fmla="*/ 0 w 79"/>
              <a:gd name="T1" fmla="*/ 25637190 h 34"/>
              <a:gd name="T2" fmla="*/ 7760624 w 79"/>
              <a:gd name="T3" fmla="*/ 47856961 h 34"/>
              <a:gd name="T4" fmla="*/ 37253235 w 79"/>
              <a:gd name="T5" fmla="*/ 56403123 h 34"/>
              <a:gd name="T6" fmla="*/ 85373103 w 79"/>
              <a:gd name="T7" fmla="*/ 34183352 h 34"/>
              <a:gd name="T8" fmla="*/ 114865707 w 79"/>
              <a:gd name="T9" fmla="*/ 39310788 h 34"/>
              <a:gd name="T10" fmla="*/ 121073955 w 79"/>
              <a:gd name="T11" fmla="*/ 17092330 h 34"/>
              <a:gd name="T12" fmla="*/ 68298222 w 79"/>
              <a:gd name="T13" fmla="*/ 11963587 h 34"/>
              <a:gd name="T14" fmla="*/ 37253235 w 79"/>
              <a:gd name="T15" fmla="*/ 0 h 34"/>
              <a:gd name="T16" fmla="*/ 1552374 w 79"/>
              <a:gd name="T17" fmla="*/ 23928480 h 34"/>
              <a:gd name="T18" fmla="*/ 0 w 79"/>
              <a:gd name="T19" fmla="*/ 25637190 h 34"/>
              <a:gd name="T20" fmla="*/ 0 w 79"/>
              <a:gd name="T21" fmla="*/ 2563719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9"/>
              <a:gd name="T34" fmla="*/ 0 h 34"/>
              <a:gd name="T35" fmla="*/ 79 w 7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9" h="34">
                <a:moveTo>
                  <a:pt x="0" y="15"/>
                </a:moveTo>
                <a:lnTo>
                  <a:pt x="5" y="28"/>
                </a:lnTo>
                <a:lnTo>
                  <a:pt x="24" y="33"/>
                </a:lnTo>
                <a:lnTo>
                  <a:pt x="55" y="20"/>
                </a:lnTo>
                <a:lnTo>
                  <a:pt x="74" y="23"/>
                </a:lnTo>
                <a:lnTo>
                  <a:pt x="78" y="10"/>
                </a:lnTo>
                <a:lnTo>
                  <a:pt x="44" y="7"/>
                </a:lnTo>
                <a:lnTo>
                  <a:pt x="24" y="0"/>
                </a:lnTo>
                <a:lnTo>
                  <a:pt x="1" y="14"/>
                </a:lnTo>
                <a:lnTo>
                  <a:pt x="0" y="1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grpSp>
        <p:nvGrpSpPr>
          <p:cNvPr id="15" name="Group 167"/>
          <p:cNvGrpSpPr>
            <a:grpSpLocks/>
          </p:cNvGrpSpPr>
          <p:nvPr/>
        </p:nvGrpSpPr>
        <p:grpSpPr bwMode="auto">
          <a:xfrm>
            <a:off x="4505772" y="2716545"/>
            <a:ext cx="106243" cy="92363"/>
            <a:chOff x="3191" y="2547"/>
            <a:chExt cx="63" cy="55"/>
          </a:xfrm>
          <a:solidFill>
            <a:schemeClr val="accent3"/>
          </a:solidFill>
        </p:grpSpPr>
        <p:sp>
          <p:nvSpPr>
            <p:cNvPr id="709" name="Freeform 708"/>
            <p:cNvSpPr>
              <a:spLocks/>
            </p:cNvSpPr>
            <p:nvPr/>
          </p:nvSpPr>
          <p:spPr bwMode="auto">
            <a:xfrm>
              <a:off x="3191" y="2547"/>
              <a:ext cx="37" cy="55"/>
            </a:xfrm>
            <a:custGeom>
              <a:avLst/>
              <a:gdLst>
                <a:gd name="T0" fmla="*/ 0 w 37"/>
                <a:gd name="T1" fmla="*/ 41 h 55"/>
                <a:gd name="T2" fmla="*/ 0 w 37"/>
                <a:gd name="T3" fmla="*/ 41 h 55"/>
                <a:gd name="T4" fmla="*/ 3 w 37"/>
                <a:gd name="T5" fmla="*/ 15 h 55"/>
                <a:gd name="T6" fmla="*/ 31 w 37"/>
                <a:gd name="T7" fmla="*/ 0 h 55"/>
                <a:gd name="T8" fmla="*/ 26 w 37"/>
                <a:gd name="T9" fmla="*/ 21 h 55"/>
                <a:gd name="T10" fmla="*/ 36 w 37"/>
                <a:gd name="T11" fmla="*/ 27 h 55"/>
                <a:gd name="T12" fmla="*/ 18 w 37"/>
                <a:gd name="T13" fmla="*/ 39 h 55"/>
                <a:gd name="T14" fmla="*/ 18 w 37"/>
                <a:gd name="T15" fmla="*/ 54 h 55"/>
                <a:gd name="T16" fmla="*/ 7 w 37"/>
                <a:gd name="T17" fmla="*/ 54 h 55"/>
                <a:gd name="T18" fmla="*/ 0 w 37"/>
                <a:gd name="T19" fmla="*/ 41 h 55"/>
                <a:gd name="T20" fmla="*/ 0 w 37"/>
                <a:gd name="T21" fmla="*/ 41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55"/>
                <a:gd name="T35" fmla="*/ 37 w 37"/>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55">
                  <a:moveTo>
                    <a:pt x="0" y="41"/>
                  </a:moveTo>
                  <a:lnTo>
                    <a:pt x="0" y="41"/>
                  </a:lnTo>
                  <a:lnTo>
                    <a:pt x="3" y="15"/>
                  </a:lnTo>
                  <a:lnTo>
                    <a:pt x="31" y="0"/>
                  </a:lnTo>
                  <a:lnTo>
                    <a:pt x="26" y="21"/>
                  </a:lnTo>
                  <a:lnTo>
                    <a:pt x="36" y="27"/>
                  </a:lnTo>
                  <a:lnTo>
                    <a:pt x="18" y="39"/>
                  </a:lnTo>
                  <a:lnTo>
                    <a:pt x="18" y="54"/>
                  </a:lnTo>
                  <a:lnTo>
                    <a:pt x="7" y="54"/>
                  </a:lnTo>
                  <a:lnTo>
                    <a:pt x="0" y="41"/>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10" name="Freeform 709"/>
            <p:cNvSpPr>
              <a:spLocks/>
            </p:cNvSpPr>
            <p:nvPr/>
          </p:nvSpPr>
          <p:spPr bwMode="auto">
            <a:xfrm>
              <a:off x="3216" y="2588"/>
              <a:ext cx="13" cy="7"/>
            </a:xfrm>
            <a:custGeom>
              <a:avLst/>
              <a:gdLst>
                <a:gd name="T0" fmla="*/ 0 w 13"/>
                <a:gd name="T1" fmla="*/ 6 h 7"/>
                <a:gd name="T2" fmla="*/ 0 w 13"/>
                <a:gd name="T3" fmla="*/ 6 h 7"/>
                <a:gd name="T4" fmla="*/ 10 w 13"/>
                <a:gd name="T5" fmla="*/ 0 h 7"/>
                <a:gd name="T6" fmla="*/ 12 w 13"/>
                <a:gd name="T7" fmla="*/ 4 h 7"/>
                <a:gd name="T8" fmla="*/ 0 w 13"/>
                <a:gd name="T9" fmla="*/ 6 h 7"/>
                <a:gd name="T10" fmla="*/ 0 w 13"/>
                <a:gd name="T11" fmla="*/ 6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0" y="6"/>
                  </a:moveTo>
                  <a:lnTo>
                    <a:pt x="0" y="6"/>
                  </a:lnTo>
                  <a:lnTo>
                    <a:pt x="10" y="0"/>
                  </a:lnTo>
                  <a:lnTo>
                    <a:pt x="12" y="4"/>
                  </a:lnTo>
                  <a:lnTo>
                    <a:pt x="0" y="6"/>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11" name="Freeform 710"/>
            <p:cNvSpPr>
              <a:spLocks/>
            </p:cNvSpPr>
            <p:nvPr/>
          </p:nvSpPr>
          <p:spPr bwMode="auto">
            <a:xfrm>
              <a:off x="3232" y="2576"/>
              <a:ext cx="22" cy="24"/>
            </a:xfrm>
            <a:custGeom>
              <a:avLst/>
              <a:gdLst>
                <a:gd name="T0" fmla="*/ 0 w 22"/>
                <a:gd name="T1" fmla="*/ 12 h 24"/>
                <a:gd name="T2" fmla="*/ 0 w 22"/>
                <a:gd name="T3" fmla="*/ 12 h 24"/>
                <a:gd name="T4" fmla="*/ 16 w 22"/>
                <a:gd name="T5" fmla="*/ 23 h 24"/>
                <a:gd name="T6" fmla="*/ 21 w 22"/>
                <a:gd name="T7" fmla="*/ 11 h 24"/>
                <a:gd name="T8" fmla="*/ 17 w 22"/>
                <a:gd name="T9" fmla="*/ 0 h 24"/>
                <a:gd name="T10" fmla="*/ 0 w 22"/>
                <a:gd name="T11" fmla="*/ 12 h 24"/>
                <a:gd name="T12" fmla="*/ 0 w 22"/>
                <a:gd name="T13" fmla="*/ 12 h 24"/>
                <a:gd name="T14" fmla="*/ 0 60000 65536"/>
                <a:gd name="T15" fmla="*/ 0 60000 65536"/>
                <a:gd name="T16" fmla="*/ 0 60000 65536"/>
                <a:gd name="T17" fmla="*/ 0 60000 65536"/>
                <a:gd name="T18" fmla="*/ 0 60000 65536"/>
                <a:gd name="T19" fmla="*/ 0 60000 65536"/>
                <a:gd name="T20" fmla="*/ 0 60000 65536"/>
                <a:gd name="T21" fmla="*/ 0 w 22"/>
                <a:gd name="T22" fmla="*/ 0 h 24"/>
                <a:gd name="T23" fmla="*/ 22 w 2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4">
                  <a:moveTo>
                    <a:pt x="0" y="12"/>
                  </a:moveTo>
                  <a:lnTo>
                    <a:pt x="0" y="12"/>
                  </a:lnTo>
                  <a:lnTo>
                    <a:pt x="16" y="23"/>
                  </a:lnTo>
                  <a:lnTo>
                    <a:pt x="21" y="11"/>
                  </a:lnTo>
                  <a:lnTo>
                    <a:pt x="17" y="0"/>
                  </a:lnTo>
                  <a:lnTo>
                    <a:pt x="0" y="12"/>
                  </a:lnTo>
                </a:path>
              </a:pathLst>
            </a:custGeom>
            <a:grpFill/>
            <a:ln w="12700">
              <a:solidFill>
                <a:schemeClr val="bg1"/>
              </a:solidFill>
              <a:round/>
              <a:headEnd/>
              <a:tailEnd/>
            </a:ln>
          </p:spPr>
          <p:txBody>
            <a:bodyPr lIns="0" tIns="0" rIns="0" bIns="0" anchor="ctr">
              <a:spAutoFit/>
            </a:bodyPr>
            <a:lstStyle/>
            <a:p>
              <a:pPr>
                <a:defRPr/>
              </a:pPr>
              <a:endParaRPr lang="en-GB"/>
            </a:p>
          </p:txBody>
        </p:sp>
      </p:grpSp>
      <p:sp>
        <p:nvSpPr>
          <p:cNvPr id="603" name="Freeform 602"/>
          <p:cNvSpPr>
            <a:spLocks/>
          </p:cNvSpPr>
          <p:nvPr/>
        </p:nvSpPr>
        <p:spPr bwMode="auto">
          <a:xfrm>
            <a:off x="4796315" y="2276814"/>
            <a:ext cx="253682" cy="371462"/>
          </a:xfrm>
          <a:custGeom>
            <a:avLst/>
            <a:gdLst>
              <a:gd name="T0" fmla="*/ 0 w 149"/>
              <a:gd name="T1" fmla="*/ 39536435 h 224"/>
              <a:gd name="T2" fmla="*/ 0 w 149"/>
              <a:gd name="T3" fmla="*/ 39536435 h 224"/>
              <a:gd name="T4" fmla="*/ 15539579 w 149"/>
              <a:gd name="T5" fmla="*/ 27504408 h 224"/>
              <a:gd name="T6" fmla="*/ 38847698 w 149"/>
              <a:gd name="T7" fmla="*/ 51569784 h 224"/>
              <a:gd name="T8" fmla="*/ 83910746 w 149"/>
              <a:gd name="T9" fmla="*/ 55007506 h 224"/>
              <a:gd name="T10" fmla="*/ 108773316 w 149"/>
              <a:gd name="T11" fmla="*/ 41256607 h 224"/>
              <a:gd name="T12" fmla="*/ 116543103 w 149"/>
              <a:gd name="T13" fmla="*/ 8595619 h 224"/>
              <a:gd name="T14" fmla="*/ 158498456 w 149"/>
              <a:gd name="T15" fmla="*/ 0 h 224"/>
              <a:gd name="T16" fmla="*/ 180253400 w 149"/>
              <a:gd name="T17" fmla="*/ 12033343 h 224"/>
              <a:gd name="T18" fmla="*/ 177144488 w 149"/>
              <a:gd name="T19" fmla="*/ 39536435 h 224"/>
              <a:gd name="T20" fmla="*/ 169375947 w 149"/>
              <a:gd name="T21" fmla="*/ 67040844 h 224"/>
              <a:gd name="T22" fmla="*/ 198899392 w 149"/>
              <a:gd name="T23" fmla="*/ 99701845 h 224"/>
              <a:gd name="T24" fmla="*/ 181806609 w 149"/>
              <a:gd name="T25" fmla="*/ 123768522 h 224"/>
              <a:gd name="T26" fmla="*/ 203561514 w 149"/>
              <a:gd name="T27" fmla="*/ 166742669 h 224"/>
              <a:gd name="T28" fmla="*/ 194238517 w 149"/>
              <a:gd name="T29" fmla="*/ 204561585 h 224"/>
              <a:gd name="T30" fmla="*/ 229977293 w 149"/>
              <a:gd name="T31" fmla="*/ 283635746 h 224"/>
              <a:gd name="T32" fmla="*/ 149174213 w 149"/>
              <a:gd name="T33" fmla="*/ 359270956 h 224"/>
              <a:gd name="T34" fmla="*/ 51278369 w 149"/>
              <a:gd name="T35" fmla="*/ 383337633 h 224"/>
              <a:gd name="T36" fmla="*/ 46617494 w 149"/>
              <a:gd name="T37" fmla="*/ 367866572 h 224"/>
              <a:gd name="T38" fmla="*/ 15539579 w 149"/>
              <a:gd name="T39" fmla="*/ 357552095 h 224"/>
              <a:gd name="T40" fmla="*/ 10877457 w 149"/>
              <a:gd name="T41" fmla="*/ 281916885 h 224"/>
              <a:gd name="T42" fmla="*/ 104111194 w 149"/>
              <a:gd name="T43" fmla="*/ 201123863 h 224"/>
              <a:gd name="T44" fmla="*/ 73033274 w 149"/>
              <a:gd name="T45" fmla="*/ 161586086 h 224"/>
              <a:gd name="T46" fmla="*/ 62155821 w 149"/>
              <a:gd name="T47" fmla="*/ 80793043 h 224"/>
              <a:gd name="T48" fmla="*/ 0 w 149"/>
              <a:gd name="T49" fmla="*/ 39536435 h 224"/>
              <a:gd name="T50" fmla="*/ 0 w 149"/>
              <a:gd name="T51" fmla="*/ 39536435 h 2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9"/>
              <a:gd name="T79" fmla="*/ 0 h 224"/>
              <a:gd name="T80" fmla="*/ 149 w 149"/>
              <a:gd name="T81" fmla="*/ 224 h 22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9" h="224">
                <a:moveTo>
                  <a:pt x="0" y="23"/>
                </a:moveTo>
                <a:lnTo>
                  <a:pt x="0" y="23"/>
                </a:lnTo>
                <a:lnTo>
                  <a:pt x="10" y="16"/>
                </a:lnTo>
                <a:lnTo>
                  <a:pt x="25" y="30"/>
                </a:lnTo>
                <a:lnTo>
                  <a:pt x="54" y="32"/>
                </a:lnTo>
                <a:lnTo>
                  <a:pt x="70" y="24"/>
                </a:lnTo>
                <a:lnTo>
                  <a:pt x="75" y="5"/>
                </a:lnTo>
                <a:lnTo>
                  <a:pt x="102" y="0"/>
                </a:lnTo>
                <a:lnTo>
                  <a:pt x="116" y="7"/>
                </a:lnTo>
                <a:lnTo>
                  <a:pt x="114" y="23"/>
                </a:lnTo>
                <a:lnTo>
                  <a:pt x="109" y="39"/>
                </a:lnTo>
                <a:lnTo>
                  <a:pt x="128" y="58"/>
                </a:lnTo>
                <a:lnTo>
                  <a:pt x="117" y="72"/>
                </a:lnTo>
                <a:lnTo>
                  <a:pt x="131" y="97"/>
                </a:lnTo>
                <a:lnTo>
                  <a:pt x="125" y="119"/>
                </a:lnTo>
                <a:lnTo>
                  <a:pt x="148" y="165"/>
                </a:lnTo>
                <a:lnTo>
                  <a:pt x="96" y="209"/>
                </a:lnTo>
                <a:lnTo>
                  <a:pt x="33" y="223"/>
                </a:lnTo>
                <a:lnTo>
                  <a:pt x="30" y="214"/>
                </a:lnTo>
                <a:lnTo>
                  <a:pt x="10" y="208"/>
                </a:lnTo>
                <a:lnTo>
                  <a:pt x="7" y="164"/>
                </a:lnTo>
                <a:lnTo>
                  <a:pt x="67" y="117"/>
                </a:lnTo>
                <a:lnTo>
                  <a:pt x="47" y="94"/>
                </a:lnTo>
                <a:lnTo>
                  <a:pt x="40" y="47"/>
                </a:lnTo>
                <a:lnTo>
                  <a:pt x="0" y="2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grpSp>
        <p:nvGrpSpPr>
          <p:cNvPr id="16" name="Group 172"/>
          <p:cNvGrpSpPr>
            <a:grpSpLocks/>
          </p:cNvGrpSpPr>
          <p:nvPr/>
        </p:nvGrpSpPr>
        <p:grpSpPr bwMode="auto">
          <a:xfrm>
            <a:off x="4210895" y="2921371"/>
            <a:ext cx="325233" cy="275083"/>
            <a:chOff x="3019" y="2670"/>
            <a:chExt cx="190" cy="167"/>
          </a:xfrm>
          <a:solidFill>
            <a:schemeClr val="accent3"/>
          </a:solidFill>
        </p:grpSpPr>
        <p:sp>
          <p:nvSpPr>
            <p:cNvPr id="707" name="Freeform 706"/>
            <p:cNvSpPr>
              <a:spLocks/>
            </p:cNvSpPr>
            <p:nvPr/>
          </p:nvSpPr>
          <p:spPr bwMode="auto">
            <a:xfrm>
              <a:off x="3019" y="2670"/>
              <a:ext cx="172" cy="150"/>
            </a:xfrm>
            <a:custGeom>
              <a:avLst/>
              <a:gdLst>
                <a:gd name="T0" fmla="*/ 0 w 172"/>
                <a:gd name="T1" fmla="*/ 45 h 150"/>
                <a:gd name="T2" fmla="*/ 0 w 172"/>
                <a:gd name="T3" fmla="*/ 45 h 150"/>
                <a:gd name="T4" fmla="*/ 5 w 172"/>
                <a:gd name="T5" fmla="*/ 58 h 150"/>
                <a:gd name="T6" fmla="*/ 41 w 172"/>
                <a:gd name="T7" fmla="*/ 67 h 150"/>
                <a:gd name="T8" fmla="*/ 35 w 172"/>
                <a:gd name="T9" fmla="*/ 75 h 150"/>
                <a:gd name="T10" fmla="*/ 48 w 172"/>
                <a:gd name="T11" fmla="*/ 84 h 150"/>
                <a:gd name="T12" fmla="*/ 53 w 172"/>
                <a:gd name="T13" fmla="*/ 101 h 150"/>
                <a:gd name="T14" fmla="*/ 38 w 172"/>
                <a:gd name="T15" fmla="*/ 133 h 150"/>
                <a:gd name="T16" fmla="*/ 81 w 172"/>
                <a:gd name="T17" fmla="*/ 145 h 150"/>
                <a:gd name="T18" fmla="*/ 85 w 172"/>
                <a:gd name="T19" fmla="*/ 147 h 150"/>
                <a:gd name="T20" fmla="*/ 105 w 172"/>
                <a:gd name="T21" fmla="*/ 149 h 150"/>
                <a:gd name="T22" fmla="*/ 105 w 172"/>
                <a:gd name="T23" fmla="*/ 137 h 150"/>
                <a:gd name="T24" fmla="*/ 117 w 172"/>
                <a:gd name="T25" fmla="*/ 130 h 150"/>
                <a:gd name="T26" fmla="*/ 145 w 172"/>
                <a:gd name="T27" fmla="*/ 138 h 150"/>
                <a:gd name="T28" fmla="*/ 163 w 172"/>
                <a:gd name="T29" fmla="*/ 125 h 150"/>
                <a:gd name="T30" fmla="*/ 153 w 172"/>
                <a:gd name="T31" fmla="*/ 107 h 150"/>
                <a:gd name="T32" fmla="*/ 157 w 172"/>
                <a:gd name="T33" fmla="*/ 90 h 150"/>
                <a:gd name="T34" fmla="*/ 143 w 172"/>
                <a:gd name="T35" fmla="*/ 80 h 150"/>
                <a:gd name="T36" fmla="*/ 163 w 172"/>
                <a:gd name="T37" fmla="*/ 60 h 150"/>
                <a:gd name="T38" fmla="*/ 171 w 172"/>
                <a:gd name="T39" fmla="*/ 38 h 150"/>
                <a:gd name="T40" fmla="*/ 146 w 172"/>
                <a:gd name="T41" fmla="*/ 28 h 150"/>
                <a:gd name="T42" fmla="*/ 139 w 172"/>
                <a:gd name="T43" fmla="*/ 26 h 150"/>
                <a:gd name="T44" fmla="*/ 100 w 172"/>
                <a:gd name="T45" fmla="*/ 0 h 150"/>
                <a:gd name="T46" fmla="*/ 86 w 172"/>
                <a:gd name="T47" fmla="*/ 4 h 150"/>
                <a:gd name="T48" fmla="*/ 71 w 172"/>
                <a:gd name="T49" fmla="*/ 29 h 150"/>
                <a:gd name="T50" fmla="*/ 38 w 172"/>
                <a:gd name="T51" fmla="*/ 25 h 150"/>
                <a:gd name="T52" fmla="*/ 43 w 172"/>
                <a:gd name="T53" fmla="*/ 44 h 150"/>
                <a:gd name="T54" fmla="*/ 0 w 172"/>
                <a:gd name="T55" fmla="*/ 45 h 150"/>
                <a:gd name="T56" fmla="*/ 0 w 172"/>
                <a:gd name="T57" fmla="*/ 45 h 1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2"/>
                <a:gd name="T88" fmla="*/ 0 h 150"/>
                <a:gd name="T89" fmla="*/ 172 w 172"/>
                <a:gd name="T90" fmla="*/ 150 h 15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2" h="150">
                  <a:moveTo>
                    <a:pt x="0" y="45"/>
                  </a:moveTo>
                  <a:lnTo>
                    <a:pt x="0" y="45"/>
                  </a:lnTo>
                  <a:lnTo>
                    <a:pt x="5" y="58"/>
                  </a:lnTo>
                  <a:lnTo>
                    <a:pt x="41" y="67"/>
                  </a:lnTo>
                  <a:lnTo>
                    <a:pt x="35" y="75"/>
                  </a:lnTo>
                  <a:lnTo>
                    <a:pt x="48" y="84"/>
                  </a:lnTo>
                  <a:lnTo>
                    <a:pt x="53" y="101"/>
                  </a:lnTo>
                  <a:lnTo>
                    <a:pt x="38" y="133"/>
                  </a:lnTo>
                  <a:lnTo>
                    <a:pt x="81" y="145"/>
                  </a:lnTo>
                  <a:lnTo>
                    <a:pt x="85" y="147"/>
                  </a:lnTo>
                  <a:lnTo>
                    <a:pt x="105" y="149"/>
                  </a:lnTo>
                  <a:lnTo>
                    <a:pt x="105" y="137"/>
                  </a:lnTo>
                  <a:lnTo>
                    <a:pt x="117" y="130"/>
                  </a:lnTo>
                  <a:lnTo>
                    <a:pt x="145" y="138"/>
                  </a:lnTo>
                  <a:lnTo>
                    <a:pt x="163" y="125"/>
                  </a:lnTo>
                  <a:lnTo>
                    <a:pt x="153" y="107"/>
                  </a:lnTo>
                  <a:lnTo>
                    <a:pt x="157" y="90"/>
                  </a:lnTo>
                  <a:lnTo>
                    <a:pt x="143" y="80"/>
                  </a:lnTo>
                  <a:lnTo>
                    <a:pt x="163" y="60"/>
                  </a:lnTo>
                  <a:lnTo>
                    <a:pt x="171" y="38"/>
                  </a:lnTo>
                  <a:lnTo>
                    <a:pt x="146" y="28"/>
                  </a:lnTo>
                  <a:lnTo>
                    <a:pt x="139" y="26"/>
                  </a:lnTo>
                  <a:lnTo>
                    <a:pt x="100" y="0"/>
                  </a:lnTo>
                  <a:lnTo>
                    <a:pt x="86" y="4"/>
                  </a:lnTo>
                  <a:lnTo>
                    <a:pt x="71" y="29"/>
                  </a:lnTo>
                  <a:lnTo>
                    <a:pt x="38" y="25"/>
                  </a:lnTo>
                  <a:lnTo>
                    <a:pt x="43" y="44"/>
                  </a:lnTo>
                  <a:lnTo>
                    <a:pt x="0" y="45"/>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08" name="Freeform 707"/>
            <p:cNvSpPr>
              <a:spLocks/>
            </p:cNvSpPr>
            <p:nvPr/>
          </p:nvSpPr>
          <p:spPr bwMode="auto">
            <a:xfrm>
              <a:off x="3198" y="2808"/>
              <a:ext cx="11" cy="29"/>
            </a:xfrm>
            <a:custGeom>
              <a:avLst/>
              <a:gdLst>
                <a:gd name="T0" fmla="*/ 0 w 11"/>
                <a:gd name="T1" fmla="*/ 14 h 29"/>
                <a:gd name="T2" fmla="*/ 0 w 11"/>
                <a:gd name="T3" fmla="*/ 14 h 29"/>
                <a:gd name="T4" fmla="*/ 9 w 11"/>
                <a:gd name="T5" fmla="*/ 28 h 29"/>
                <a:gd name="T6" fmla="*/ 10 w 11"/>
                <a:gd name="T7" fmla="*/ 0 h 29"/>
                <a:gd name="T8" fmla="*/ 0 w 11"/>
                <a:gd name="T9" fmla="*/ 14 h 29"/>
                <a:gd name="T10" fmla="*/ 0 w 11"/>
                <a:gd name="T11" fmla="*/ 14 h 29"/>
                <a:gd name="T12" fmla="*/ 0 60000 65536"/>
                <a:gd name="T13" fmla="*/ 0 60000 65536"/>
                <a:gd name="T14" fmla="*/ 0 60000 65536"/>
                <a:gd name="T15" fmla="*/ 0 60000 65536"/>
                <a:gd name="T16" fmla="*/ 0 60000 65536"/>
                <a:gd name="T17" fmla="*/ 0 60000 65536"/>
                <a:gd name="T18" fmla="*/ 0 w 11"/>
                <a:gd name="T19" fmla="*/ 0 h 29"/>
                <a:gd name="T20" fmla="*/ 11 w 1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1" h="29">
                  <a:moveTo>
                    <a:pt x="0" y="14"/>
                  </a:moveTo>
                  <a:lnTo>
                    <a:pt x="0" y="14"/>
                  </a:lnTo>
                  <a:lnTo>
                    <a:pt x="9" y="28"/>
                  </a:lnTo>
                  <a:lnTo>
                    <a:pt x="10" y="0"/>
                  </a:lnTo>
                  <a:lnTo>
                    <a:pt x="0" y="14"/>
                  </a:lnTo>
                </a:path>
              </a:pathLst>
            </a:custGeom>
            <a:grpFill/>
            <a:ln w="12700">
              <a:solidFill>
                <a:schemeClr val="bg1"/>
              </a:solidFill>
              <a:round/>
              <a:headEnd/>
              <a:tailEnd/>
            </a:ln>
          </p:spPr>
          <p:txBody>
            <a:bodyPr lIns="0" tIns="0" rIns="0" bIns="0" anchor="ctr">
              <a:spAutoFit/>
            </a:bodyPr>
            <a:lstStyle/>
            <a:p>
              <a:pPr>
                <a:defRPr/>
              </a:pPr>
              <a:endParaRPr lang="en-GB"/>
            </a:p>
          </p:txBody>
        </p:sp>
      </p:grpSp>
      <p:sp>
        <p:nvSpPr>
          <p:cNvPr id="605" name="Freeform 604"/>
          <p:cNvSpPr>
            <a:spLocks/>
          </p:cNvSpPr>
          <p:nvPr/>
        </p:nvSpPr>
        <p:spPr bwMode="auto">
          <a:xfrm>
            <a:off x="4458071" y="2806900"/>
            <a:ext cx="197307" cy="218862"/>
          </a:xfrm>
          <a:custGeom>
            <a:avLst/>
            <a:gdLst>
              <a:gd name="T0" fmla="*/ 0 w 119"/>
              <a:gd name="T1" fmla="*/ 91405696 h 133"/>
              <a:gd name="T2" fmla="*/ 0 w 119"/>
              <a:gd name="T3" fmla="*/ 91405696 h 133"/>
              <a:gd name="T4" fmla="*/ 0 w 119"/>
              <a:gd name="T5" fmla="*/ 128645278 h 133"/>
              <a:gd name="T6" fmla="*/ 1473755 w 119"/>
              <a:gd name="T7" fmla="*/ 145571769 h 133"/>
              <a:gd name="T8" fmla="*/ 4421266 w 119"/>
              <a:gd name="T9" fmla="*/ 164192211 h 133"/>
              <a:gd name="T10" fmla="*/ 41263940 w 119"/>
              <a:gd name="T11" fmla="*/ 181118743 h 133"/>
              <a:gd name="T12" fmla="*/ 29473892 w 119"/>
              <a:gd name="T13" fmla="*/ 218358325 h 133"/>
              <a:gd name="T14" fmla="*/ 69264067 w 119"/>
              <a:gd name="T15" fmla="*/ 223436272 h 133"/>
              <a:gd name="T16" fmla="*/ 137055594 w 119"/>
              <a:gd name="T17" fmla="*/ 221743623 h 133"/>
              <a:gd name="T18" fmla="*/ 154739438 w 119"/>
              <a:gd name="T19" fmla="*/ 186196690 h 133"/>
              <a:gd name="T20" fmla="*/ 119370536 w 119"/>
              <a:gd name="T21" fmla="*/ 140493822 h 133"/>
              <a:gd name="T22" fmla="*/ 162108250 w 119"/>
              <a:gd name="T23" fmla="*/ 115104085 h 133"/>
              <a:gd name="T24" fmla="*/ 173898288 w 119"/>
              <a:gd name="T25" fmla="*/ 123567330 h 133"/>
              <a:gd name="T26" fmla="*/ 162108250 w 119"/>
              <a:gd name="T27" fmla="*/ 33854294 h 133"/>
              <a:gd name="T28" fmla="*/ 129686820 w 119"/>
              <a:gd name="T29" fmla="*/ 11848549 h 133"/>
              <a:gd name="T30" fmla="*/ 94317918 w 119"/>
              <a:gd name="T31" fmla="*/ 27083697 h 133"/>
              <a:gd name="T32" fmla="*/ 100212937 w 119"/>
              <a:gd name="T33" fmla="*/ 16926496 h 133"/>
              <a:gd name="T34" fmla="*/ 69264067 w 119"/>
              <a:gd name="T35" fmla="*/ 0 h 133"/>
              <a:gd name="T36" fmla="*/ 53053978 w 119"/>
              <a:gd name="T37" fmla="*/ 0 h 133"/>
              <a:gd name="T38" fmla="*/ 53053978 w 119"/>
              <a:gd name="T39" fmla="*/ 49088146 h 133"/>
              <a:gd name="T40" fmla="*/ 33895156 w 119"/>
              <a:gd name="T41" fmla="*/ 35546943 h 133"/>
              <a:gd name="T42" fmla="*/ 23578873 w 119"/>
              <a:gd name="T43" fmla="*/ 50780795 h 133"/>
              <a:gd name="T44" fmla="*/ 20632577 w 119"/>
              <a:gd name="T45" fmla="*/ 81249781 h 133"/>
              <a:gd name="T46" fmla="*/ 0 w 119"/>
              <a:gd name="T47" fmla="*/ 91405696 h 133"/>
              <a:gd name="T48" fmla="*/ 0 w 119"/>
              <a:gd name="T49" fmla="*/ 91405696 h 1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9"/>
              <a:gd name="T76" fmla="*/ 0 h 133"/>
              <a:gd name="T77" fmla="*/ 119 w 119"/>
              <a:gd name="T78" fmla="*/ 133 h 1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9" h="133">
                <a:moveTo>
                  <a:pt x="0" y="54"/>
                </a:moveTo>
                <a:lnTo>
                  <a:pt x="0" y="54"/>
                </a:lnTo>
                <a:lnTo>
                  <a:pt x="0" y="76"/>
                </a:lnTo>
                <a:lnTo>
                  <a:pt x="1" y="86"/>
                </a:lnTo>
                <a:lnTo>
                  <a:pt x="3" y="97"/>
                </a:lnTo>
                <a:lnTo>
                  <a:pt x="28" y="107"/>
                </a:lnTo>
                <a:lnTo>
                  <a:pt x="20" y="129"/>
                </a:lnTo>
                <a:lnTo>
                  <a:pt x="47" y="132"/>
                </a:lnTo>
                <a:lnTo>
                  <a:pt x="93" y="131"/>
                </a:lnTo>
                <a:lnTo>
                  <a:pt x="105" y="110"/>
                </a:lnTo>
                <a:lnTo>
                  <a:pt x="81" y="83"/>
                </a:lnTo>
                <a:lnTo>
                  <a:pt x="110" y="68"/>
                </a:lnTo>
                <a:lnTo>
                  <a:pt x="118" y="73"/>
                </a:lnTo>
                <a:lnTo>
                  <a:pt x="110" y="20"/>
                </a:lnTo>
                <a:lnTo>
                  <a:pt x="88" y="7"/>
                </a:lnTo>
                <a:lnTo>
                  <a:pt x="64" y="16"/>
                </a:lnTo>
                <a:lnTo>
                  <a:pt x="68" y="10"/>
                </a:lnTo>
                <a:lnTo>
                  <a:pt x="47" y="0"/>
                </a:lnTo>
                <a:lnTo>
                  <a:pt x="36" y="0"/>
                </a:lnTo>
                <a:lnTo>
                  <a:pt x="36" y="29"/>
                </a:lnTo>
                <a:lnTo>
                  <a:pt x="23" y="21"/>
                </a:lnTo>
                <a:lnTo>
                  <a:pt x="16" y="30"/>
                </a:lnTo>
                <a:lnTo>
                  <a:pt x="14" y="48"/>
                </a:lnTo>
                <a:lnTo>
                  <a:pt x="0" y="5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grpSp>
        <p:nvGrpSpPr>
          <p:cNvPr id="17" name="Group 176"/>
          <p:cNvGrpSpPr>
            <a:grpSpLocks/>
          </p:cNvGrpSpPr>
          <p:nvPr/>
        </p:nvGrpSpPr>
        <p:grpSpPr bwMode="auto">
          <a:xfrm>
            <a:off x="4785473" y="3182378"/>
            <a:ext cx="149608" cy="174687"/>
            <a:chOff x="3356" y="2828"/>
            <a:chExt cx="86" cy="106"/>
          </a:xfrm>
          <a:solidFill>
            <a:schemeClr val="accent3"/>
          </a:solidFill>
        </p:grpSpPr>
        <p:sp>
          <p:nvSpPr>
            <p:cNvPr id="705" name="Freeform 704"/>
            <p:cNvSpPr>
              <a:spLocks/>
            </p:cNvSpPr>
            <p:nvPr/>
          </p:nvSpPr>
          <p:spPr bwMode="auto">
            <a:xfrm>
              <a:off x="3356" y="2828"/>
              <a:ext cx="86" cy="86"/>
            </a:xfrm>
            <a:custGeom>
              <a:avLst/>
              <a:gdLst>
                <a:gd name="T0" fmla="*/ 0 w 86"/>
                <a:gd name="T1" fmla="*/ 34 h 86"/>
                <a:gd name="T2" fmla="*/ 0 w 86"/>
                <a:gd name="T3" fmla="*/ 34 h 86"/>
                <a:gd name="T4" fmla="*/ 11 w 86"/>
                <a:gd name="T5" fmla="*/ 15 h 86"/>
                <a:gd name="T6" fmla="*/ 38 w 86"/>
                <a:gd name="T7" fmla="*/ 8 h 86"/>
                <a:gd name="T8" fmla="*/ 72 w 86"/>
                <a:gd name="T9" fmla="*/ 8 h 86"/>
                <a:gd name="T10" fmla="*/ 85 w 86"/>
                <a:gd name="T11" fmla="*/ 0 h 86"/>
                <a:gd name="T12" fmla="*/ 80 w 86"/>
                <a:gd name="T13" fmla="*/ 18 h 86"/>
                <a:gd name="T14" fmla="*/ 57 w 86"/>
                <a:gd name="T15" fmla="*/ 14 h 86"/>
                <a:gd name="T16" fmla="*/ 46 w 86"/>
                <a:gd name="T17" fmla="*/ 29 h 86"/>
                <a:gd name="T18" fmla="*/ 33 w 86"/>
                <a:gd name="T19" fmla="*/ 21 h 86"/>
                <a:gd name="T20" fmla="*/ 42 w 86"/>
                <a:gd name="T21" fmla="*/ 43 h 86"/>
                <a:gd name="T22" fmla="*/ 31 w 86"/>
                <a:gd name="T23" fmla="*/ 48 h 86"/>
                <a:gd name="T24" fmla="*/ 52 w 86"/>
                <a:gd name="T25" fmla="*/ 57 h 86"/>
                <a:gd name="T26" fmla="*/ 52 w 86"/>
                <a:gd name="T27" fmla="*/ 66 h 86"/>
                <a:gd name="T28" fmla="*/ 35 w 86"/>
                <a:gd name="T29" fmla="*/ 69 h 86"/>
                <a:gd name="T30" fmla="*/ 41 w 86"/>
                <a:gd name="T31" fmla="*/ 85 h 86"/>
                <a:gd name="T32" fmla="*/ 20 w 86"/>
                <a:gd name="T33" fmla="*/ 80 h 86"/>
                <a:gd name="T34" fmla="*/ 14 w 86"/>
                <a:gd name="T35" fmla="*/ 65 h 86"/>
                <a:gd name="T36" fmla="*/ 41 w 86"/>
                <a:gd name="T37" fmla="*/ 58 h 86"/>
                <a:gd name="T38" fmla="*/ 14 w 86"/>
                <a:gd name="T39" fmla="*/ 56 h 86"/>
                <a:gd name="T40" fmla="*/ 0 w 86"/>
                <a:gd name="T41" fmla="*/ 34 h 86"/>
                <a:gd name="T42" fmla="*/ 0 w 86"/>
                <a:gd name="T43" fmla="*/ 34 h 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86"/>
                <a:gd name="T68" fmla="*/ 86 w 86"/>
                <a:gd name="T69" fmla="*/ 86 h 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86">
                  <a:moveTo>
                    <a:pt x="0" y="34"/>
                  </a:moveTo>
                  <a:lnTo>
                    <a:pt x="0" y="34"/>
                  </a:lnTo>
                  <a:lnTo>
                    <a:pt x="11" y="15"/>
                  </a:lnTo>
                  <a:lnTo>
                    <a:pt x="38" y="8"/>
                  </a:lnTo>
                  <a:lnTo>
                    <a:pt x="72" y="8"/>
                  </a:lnTo>
                  <a:lnTo>
                    <a:pt x="85" y="0"/>
                  </a:lnTo>
                  <a:lnTo>
                    <a:pt x="80" y="18"/>
                  </a:lnTo>
                  <a:lnTo>
                    <a:pt x="57" y="14"/>
                  </a:lnTo>
                  <a:lnTo>
                    <a:pt x="46" y="29"/>
                  </a:lnTo>
                  <a:lnTo>
                    <a:pt x="33" y="21"/>
                  </a:lnTo>
                  <a:lnTo>
                    <a:pt x="42" y="43"/>
                  </a:lnTo>
                  <a:lnTo>
                    <a:pt x="31" y="48"/>
                  </a:lnTo>
                  <a:lnTo>
                    <a:pt x="52" y="57"/>
                  </a:lnTo>
                  <a:lnTo>
                    <a:pt x="52" y="66"/>
                  </a:lnTo>
                  <a:lnTo>
                    <a:pt x="35" y="69"/>
                  </a:lnTo>
                  <a:lnTo>
                    <a:pt x="41" y="85"/>
                  </a:lnTo>
                  <a:lnTo>
                    <a:pt x="20" y="80"/>
                  </a:lnTo>
                  <a:lnTo>
                    <a:pt x="14" y="65"/>
                  </a:lnTo>
                  <a:lnTo>
                    <a:pt x="41" y="58"/>
                  </a:lnTo>
                  <a:lnTo>
                    <a:pt x="14" y="56"/>
                  </a:lnTo>
                  <a:lnTo>
                    <a:pt x="0" y="34"/>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06" name="Freeform 705"/>
            <p:cNvSpPr>
              <a:spLocks/>
            </p:cNvSpPr>
            <p:nvPr/>
          </p:nvSpPr>
          <p:spPr bwMode="auto">
            <a:xfrm>
              <a:off x="3401" y="2927"/>
              <a:ext cx="41" cy="7"/>
            </a:xfrm>
            <a:custGeom>
              <a:avLst/>
              <a:gdLst>
                <a:gd name="T0" fmla="*/ 0 w 41"/>
                <a:gd name="T1" fmla="*/ 6 h 7"/>
                <a:gd name="T2" fmla="*/ 0 w 41"/>
                <a:gd name="T3" fmla="*/ 6 h 7"/>
                <a:gd name="T4" fmla="*/ 3 w 41"/>
                <a:gd name="T5" fmla="*/ 0 h 7"/>
                <a:gd name="T6" fmla="*/ 40 w 41"/>
                <a:gd name="T7" fmla="*/ 6 h 7"/>
                <a:gd name="T8" fmla="*/ 13 w 41"/>
                <a:gd name="T9" fmla="*/ 6 h 7"/>
                <a:gd name="T10" fmla="*/ 0 w 41"/>
                <a:gd name="T11" fmla="*/ 6 h 7"/>
                <a:gd name="T12" fmla="*/ 0 w 41"/>
                <a:gd name="T13" fmla="*/ 6 h 7"/>
                <a:gd name="T14" fmla="*/ 0 60000 65536"/>
                <a:gd name="T15" fmla="*/ 0 60000 65536"/>
                <a:gd name="T16" fmla="*/ 0 60000 65536"/>
                <a:gd name="T17" fmla="*/ 0 60000 65536"/>
                <a:gd name="T18" fmla="*/ 0 60000 65536"/>
                <a:gd name="T19" fmla="*/ 0 60000 65536"/>
                <a:gd name="T20" fmla="*/ 0 60000 65536"/>
                <a:gd name="T21" fmla="*/ 0 w 41"/>
                <a:gd name="T22" fmla="*/ 0 h 7"/>
                <a:gd name="T23" fmla="*/ 41 w 4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7">
                  <a:moveTo>
                    <a:pt x="0" y="6"/>
                  </a:moveTo>
                  <a:lnTo>
                    <a:pt x="0" y="6"/>
                  </a:lnTo>
                  <a:lnTo>
                    <a:pt x="3" y="0"/>
                  </a:lnTo>
                  <a:lnTo>
                    <a:pt x="40" y="6"/>
                  </a:lnTo>
                  <a:lnTo>
                    <a:pt x="13" y="6"/>
                  </a:lnTo>
                  <a:lnTo>
                    <a:pt x="0" y="6"/>
                  </a:lnTo>
                </a:path>
              </a:pathLst>
            </a:custGeom>
            <a:grpFill/>
            <a:ln w="12700">
              <a:solidFill>
                <a:schemeClr val="bg1"/>
              </a:solidFill>
              <a:round/>
              <a:headEnd/>
              <a:tailEnd/>
            </a:ln>
          </p:spPr>
          <p:txBody>
            <a:bodyPr lIns="0" tIns="0" rIns="0" bIns="0" anchor="ctr">
              <a:spAutoFit/>
            </a:bodyPr>
            <a:lstStyle/>
            <a:p>
              <a:pPr>
                <a:defRPr/>
              </a:pPr>
              <a:endParaRPr lang="en-GB"/>
            </a:p>
          </p:txBody>
        </p:sp>
      </p:grpSp>
      <p:sp>
        <p:nvSpPr>
          <p:cNvPr id="607" name="Freeform 606"/>
          <p:cNvSpPr>
            <a:spLocks/>
          </p:cNvSpPr>
          <p:nvPr/>
        </p:nvSpPr>
        <p:spPr bwMode="auto">
          <a:xfrm>
            <a:off x="4687903" y="2997651"/>
            <a:ext cx="160450" cy="78307"/>
          </a:xfrm>
          <a:custGeom>
            <a:avLst/>
            <a:gdLst>
              <a:gd name="T0" fmla="*/ 0 w 93"/>
              <a:gd name="T1" fmla="*/ 44700470 h 49"/>
              <a:gd name="T2" fmla="*/ 0 w 93"/>
              <a:gd name="T3" fmla="*/ 44700470 h 49"/>
              <a:gd name="T4" fmla="*/ 22337937 w 93"/>
              <a:gd name="T5" fmla="*/ 12771562 h 49"/>
              <a:gd name="T6" fmla="*/ 52655329 w 93"/>
              <a:gd name="T7" fmla="*/ 20754422 h 49"/>
              <a:gd name="T8" fmla="*/ 102118623 w 93"/>
              <a:gd name="T9" fmla="*/ 0 h 49"/>
              <a:gd name="T10" fmla="*/ 132434743 w 93"/>
              <a:gd name="T11" fmla="*/ 4789967 h 49"/>
              <a:gd name="T12" fmla="*/ 146795741 w 93"/>
              <a:gd name="T13" fmla="*/ 15964451 h 49"/>
              <a:gd name="T14" fmla="*/ 90949660 w 93"/>
              <a:gd name="T15" fmla="*/ 67050695 h 49"/>
              <a:gd name="T16" fmla="*/ 43081751 w 93"/>
              <a:gd name="T17" fmla="*/ 76629363 h 49"/>
              <a:gd name="T18" fmla="*/ 0 w 93"/>
              <a:gd name="T19" fmla="*/ 44700470 h 49"/>
              <a:gd name="T20" fmla="*/ 0 w 93"/>
              <a:gd name="T21" fmla="*/ 4470047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49"/>
              <a:gd name="T35" fmla="*/ 93 w 93"/>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49">
                <a:moveTo>
                  <a:pt x="0" y="28"/>
                </a:moveTo>
                <a:lnTo>
                  <a:pt x="0" y="28"/>
                </a:lnTo>
                <a:lnTo>
                  <a:pt x="14" y="8"/>
                </a:lnTo>
                <a:lnTo>
                  <a:pt x="33" y="13"/>
                </a:lnTo>
                <a:lnTo>
                  <a:pt x="64" y="0"/>
                </a:lnTo>
                <a:lnTo>
                  <a:pt x="83" y="3"/>
                </a:lnTo>
                <a:lnTo>
                  <a:pt x="92" y="10"/>
                </a:lnTo>
                <a:lnTo>
                  <a:pt x="57" y="42"/>
                </a:lnTo>
                <a:lnTo>
                  <a:pt x="27" y="48"/>
                </a:lnTo>
                <a:lnTo>
                  <a:pt x="0" y="2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grpSp>
        <p:nvGrpSpPr>
          <p:cNvPr id="18" name="Group 180"/>
          <p:cNvGrpSpPr>
            <a:grpSpLocks/>
          </p:cNvGrpSpPr>
          <p:nvPr/>
        </p:nvGrpSpPr>
        <p:grpSpPr bwMode="auto">
          <a:xfrm>
            <a:off x="4473248" y="3037810"/>
            <a:ext cx="275364" cy="283113"/>
            <a:chOff x="3172" y="2740"/>
            <a:chExt cx="161" cy="170"/>
          </a:xfrm>
          <a:solidFill>
            <a:schemeClr val="accent3"/>
          </a:solidFill>
        </p:grpSpPr>
        <p:sp>
          <p:nvSpPr>
            <p:cNvPr id="702" name="Freeform 701"/>
            <p:cNvSpPr>
              <a:spLocks/>
            </p:cNvSpPr>
            <p:nvPr/>
          </p:nvSpPr>
          <p:spPr bwMode="auto">
            <a:xfrm>
              <a:off x="3172" y="2740"/>
              <a:ext cx="161" cy="151"/>
            </a:xfrm>
            <a:custGeom>
              <a:avLst/>
              <a:gdLst>
                <a:gd name="T0" fmla="*/ 0 w 161"/>
                <a:gd name="T1" fmla="*/ 37 h 151"/>
                <a:gd name="T2" fmla="*/ 0 w 161"/>
                <a:gd name="T3" fmla="*/ 37 h 151"/>
                <a:gd name="T4" fmla="*/ 4 w 161"/>
                <a:gd name="T5" fmla="*/ 20 h 151"/>
                <a:gd name="T6" fmla="*/ 23 w 161"/>
                <a:gd name="T7" fmla="*/ 11 h 151"/>
                <a:gd name="T8" fmla="*/ 31 w 161"/>
                <a:gd name="T9" fmla="*/ 19 h 151"/>
                <a:gd name="T10" fmla="*/ 50 w 161"/>
                <a:gd name="T11" fmla="*/ 4 h 151"/>
                <a:gd name="T12" fmla="*/ 72 w 161"/>
                <a:gd name="T13" fmla="*/ 0 h 151"/>
                <a:gd name="T14" fmla="*/ 95 w 161"/>
                <a:gd name="T15" fmla="*/ 10 h 151"/>
                <a:gd name="T16" fmla="*/ 95 w 161"/>
                <a:gd name="T17" fmla="*/ 27 h 151"/>
                <a:gd name="T18" fmla="*/ 76 w 161"/>
                <a:gd name="T19" fmla="*/ 29 h 151"/>
                <a:gd name="T20" fmla="*/ 78 w 161"/>
                <a:gd name="T21" fmla="*/ 50 h 151"/>
                <a:gd name="T22" fmla="*/ 108 w 161"/>
                <a:gd name="T23" fmla="*/ 83 h 151"/>
                <a:gd name="T24" fmla="*/ 127 w 161"/>
                <a:gd name="T25" fmla="*/ 86 h 151"/>
                <a:gd name="T26" fmla="*/ 126 w 161"/>
                <a:gd name="T27" fmla="*/ 93 h 151"/>
                <a:gd name="T28" fmla="*/ 160 w 161"/>
                <a:gd name="T29" fmla="*/ 115 h 151"/>
                <a:gd name="T30" fmla="*/ 136 w 161"/>
                <a:gd name="T31" fmla="*/ 112 h 151"/>
                <a:gd name="T32" fmla="*/ 141 w 161"/>
                <a:gd name="T33" fmla="*/ 133 h 151"/>
                <a:gd name="T34" fmla="*/ 127 w 161"/>
                <a:gd name="T35" fmla="*/ 150 h 151"/>
                <a:gd name="T36" fmla="*/ 121 w 161"/>
                <a:gd name="T37" fmla="*/ 116 h 151"/>
                <a:gd name="T38" fmla="*/ 61 w 161"/>
                <a:gd name="T39" fmla="*/ 78 h 151"/>
                <a:gd name="T40" fmla="*/ 47 w 161"/>
                <a:gd name="T41" fmla="*/ 53 h 151"/>
                <a:gd name="T42" fmla="*/ 28 w 161"/>
                <a:gd name="T43" fmla="*/ 45 h 151"/>
                <a:gd name="T44" fmla="*/ 10 w 161"/>
                <a:gd name="T45" fmla="*/ 55 h 151"/>
                <a:gd name="T46" fmla="*/ 0 w 161"/>
                <a:gd name="T47" fmla="*/ 37 h 151"/>
                <a:gd name="T48" fmla="*/ 0 w 161"/>
                <a:gd name="T49" fmla="*/ 3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1"/>
                <a:gd name="T76" fmla="*/ 0 h 151"/>
                <a:gd name="T77" fmla="*/ 161 w 161"/>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1" h="151">
                  <a:moveTo>
                    <a:pt x="0" y="37"/>
                  </a:moveTo>
                  <a:lnTo>
                    <a:pt x="0" y="37"/>
                  </a:lnTo>
                  <a:lnTo>
                    <a:pt x="4" y="20"/>
                  </a:lnTo>
                  <a:lnTo>
                    <a:pt x="23" y="11"/>
                  </a:lnTo>
                  <a:lnTo>
                    <a:pt x="31" y="19"/>
                  </a:lnTo>
                  <a:lnTo>
                    <a:pt x="50" y="4"/>
                  </a:lnTo>
                  <a:lnTo>
                    <a:pt x="72" y="0"/>
                  </a:lnTo>
                  <a:lnTo>
                    <a:pt x="95" y="10"/>
                  </a:lnTo>
                  <a:lnTo>
                    <a:pt x="95" y="27"/>
                  </a:lnTo>
                  <a:lnTo>
                    <a:pt x="76" y="29"/>
                  </a:lnTo>
                  <a:lnTo>
                    <a:pt x="78" y="50"/>
                  </a:lnTo>
                  <a:lnTo>
                    <a:pt x="108" y="83"/>
                  </a:lnTo>
                  <a:lnTo>
                    <a:pt x="127" y="86"/>
                  </a:lnTo>
                  <a:lnTo>
                    <a:pt x="126" y="93"/>
                  </a:lnTo>
                  <a:lnTo>
                    <a:pt x="160" y="115"/>
                  </a:lnTo>
                  <a:lnTo>
                    <a:pt x="136" y="112"/>
                  </a:lnTo>
                  <a:lnTo>
                    <a:pt x="141" y="133"/>
                  </a:lnTo>
                  <a:lnTo>
                    <a:pt x="127" y="150"/>
                  </a:lnTo>
                  <a:lnTo>
                    <a:pt x="121" y="116"/>
                  </a:lnTo>
                  <a:lnTo>
                    <a:pt x="61" y="78"/>
                  </a:lnTo>
                  <a:lnTo>
                    <a:pt x="47" y="53"/>
                  </a:lnTo>
                  <a:lnTo>
                    <a:pt x="28" y="45"/>
                  </a:lnTo>
                  <a:lnTo>
                    <a:pt x="10" y="55"/>
                  </a:lnTo>
                  <a:lnTo>
                    <a:pt x="0" y="37"/>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03" name="Freeform 702"/>
            <p:cNvSpPr>
              <a:spLocks/>
            </p:cNvSpPr>
            <p:nvPr/>
          </p:nvSpPr>
          <p:spPr bwMode="auto">
            <a:xfrm>
              <a:off x="3192" y="2836"/>
              <a:ext cx="21" cy="38"/>
            </a:xfrm>
            <a:custGeom>
              <a:avLst/>
              <a:gdLst>
                <a:gd name="T0" fmla="*/ 0 w 21"/>
                <a:gd name="T1" fmla="*/ 6 h 38"/>
                <a:gd name="T2" fmla="*/ 0 w 21"/>
                <a:gd name="T3" fmla="*/ 6 h 38"/>
                <a:gd name="T4" fmla="*/ 4 w 21"/>
                <a:gd name="T5" fmla="*/ 34 h 38"/>
                <a:gd name="T6" fmla="*/ 12 w 21"/>
                <a:gd name="T7" fmla="*/ 37 h 38"/>
                <a:gd name="T8" fmla="*/ 20 w 21"/>
                <a:gd name="T9" fmla="*/ 15 h 38"/>
                <a:gd name="T10" fmla="*/ 13 w 21"/>
                <a:gd name="T11" fmla="*/ 0 h 38"/>
                <a:gd name="T12" fmla="*/ 0 w 21"/>
                <a:gd name="T13" fmla="*/ 6 h 38"/>
                <a:gd name="T14" fmla="*/ 0 w 21"/>
                <a:gd name="T15" fmla="*/ 6 h 3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38"/>
                <a:gd name="T26" fmla="*/ 21 w 21"/>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38">
                  <a:moveTo>
                    <a:pt x="0" y="6"/>
                  </a:moveTo>
                  <a:lnTo>
                    <a:pt x="0" y="6"/>
                  </a:lnTo>
                  <a:lnTo>
                    <a:pt x="4" y="34"/>
                  </a:lnTo>
                  <a:lnTo>
                    <a:pt x="12" y="37"/>
                  </a:lnTo>
                  <a:lnTo>
                    <a:pt x="20" y="15"/>
                  </a:lnTo>
                  <a:lnTo>
                    <a:pt x="13" y="0"/>
                  </a:lnTo>
                  <a:lnTo>
                    <a:pt x="0" y="6"/>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04" name="Freeform 703"/>
            <p:cNvSpPr>
              <a:spLocks/>
            </p:cNvSpPr>
            <p:nvPr/>
          </p:nvSpPr>
          <p:spPr bwMode="auto">
            <a:xfrm>
              <a:off x="3251" y="2885"/>
              <a:ext cx="43" cy="25"/>
            </a:xfrm>
            <a:custGeom>
              <a:avLst/>
              <a:gdLst>
                <a:gd name="T0" fmla="*/ 0 w 43"/>
                <a:gd name="T1" fmla="*/ 5 h 25"/>
                <a:gd name="T2" fmla="*/ 0 w 43"/>
                <a:gd name="T3" fmla="*/ 5 h 25"/>
                <a:gd name="T4" fmla="*/ 35 w 43"/>
                <a:gd name="T5" fmla="*/ 24 h 25"/>
                <a:gd name="T6" fmla="*/ 42 w 43"/>
                <a:gd name="T7" fmla="*/ 0 h 25"/>
                <a:gd name="T8" fmla="*/ 0 w 43"/>
                <a:gd name="T9" fmla="*/ 5 h 25"/>
                <a:gd name="T10" fmla="*/ 0 w 43"/>
                <a:gd name="T11" fmla="*/ 5 h 25"/>
                <a:gd name="T12" fmla="*/ 0 60000 65536"/>
                <a:gd name="T13" fmla="*/ 0 60000 65536"/>
                <a:gd name="T14" fmla="*/ 0 60000 65536"/>
                <a:gd name="T15" fmla="*/ 0 60000 65536"/>
                <a:gd name="T16" fmla="*/ 0 60000 65536"/>
                <a:gd name="T17" fmla="*/ 0 60000 65536"/>
                <a:gd name="T18" fmla="*/ 0 w 43"/>
                <a:gd name="T19" fmla="*/ 0 h 25"/>
                <a:gd name="T20" fmla="*/ 43 w 4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3" h="25">
                  <a:moveTo>
                    <a:pt x="0" y="5"/>
                  </a:moveTo>
                  <a:lnTo>
                    <a:pt x="0" y="5"/>
                  </a:lnTo>
                  <a:lnTo>
                    <a:pt x="35" y="24"/>
                  </a:lnTo>
                  <a:lnTo>
                    <a:pt x="42" y="0"/>
                  </a:lnTo>
                  <a:lnTo>
                    <a:pt x="0" y="5"/>
                  </a:lnTo>
                </a:path>
              </a:pathLst>
            </a:custGeom>
            <a:grpFill/>
            <a:ln w="12700">
              <a:solidFill>
                <a:schemeClr val="bg1"/>
              </a:solidFill>
              <a:round/>
              <a:headEnd/>
              <a:tailEnd/>
            </a:ln>
          </p:spPr>
          <p:txBody>
            <a:bodyPr lIns="0" tIns="0" rIns="0" bIns="0" anchor="ctr">
              <a:spAutoFit/>
            </a:bodyPr>
            <a:lstStyle/>
            <a:p>
              <a:pPr>
                <a:defRPr/>
              </a:pPr>
              <a:endParaRPr lang="en-GB"/>
            </a:p>
          </p:txBody>
        </p:sp>
      </p:grpSp>
      <p:sp>
        <p:nvSpPr>
          <p:cNvPr id="609" name="Freeform 608"/>
          <p:cNvSpPr>
            <a:spLocks/>
          </p:cNvSpPr>
          <p:nvPr/>
        </p:nvSpPr>
        <p:spPr bwMode="auto">
          <a:xfrm>
            <a:off x="4449400" y="2949462"/>
            <a:ext cx="13009" cy="22086"/>
          </a:xfrm>
          <a:custGeom>
            <a:avLst/>
            <a:gdLst>
              <a:gd name="T0" fmla="*/ 0 w 8"/>
              <a:gd name="T1" fmla="*/ 19058317 h 12"/>
              <a:gd name="T2" fmla="*/ 0 w 8"/>
              <a:gd name="T3" fmla="*/ 19058317 h 12"/>
              <a:gd name="T4" fmla="*/ 7087790 w 8"/>
              <a:gd name="T5" fmla="*/ 0 h 12"/>
              <a:gd name="T6" fmla="*/ 9922669 w 8"/>
              <a:gd name="T7" fmla="*/ 23292851 h 12"/>
              <a:gd name="T8" fmla="*/ 0 w 8"/>
              <a:gd name="T9" fmla="*/ 19058317 h 12"/>
              <a:gd name="T10" fmla="*/ 0 w 8"/>
              <a:gd name="T11" fmla="*/ 1905831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0" y="9"/>
                </a:moveTo>
                <a:lnTo>
                  <a:pt x="0" y="9"/>
                </a:lnTo>
                <a:lnTo>
                  <a:pt x="5" y="0"/>
                </a:lnTo>
                <a:lnTo>
                  <a:pt x="7" y="11"/>
                </a:lnTo>
                <a:lnTo>
                  <a:pt x="0" y="9"/>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10" name="Freeform 609"/>
          <p:cNvSpPr>
            <a:spLocks/>
          </p:cNvSpPr>
          <p:nvPr/>
        </p:nvSpPr>
        <p:spPr bwMode="auto">
          <a:xfrm>
            <a:off x="4399529" y="2855090"/>
            <a:ext cx="86729" cy="80317"/>
          </a:xfrm>
          <a:custGeom>
            <a:avLst/>
            <a:gdLst>
              <a:gd name="T0" fmla="*/ 0 w 50"/>
              <a:gd name="T1" fmla="*/ 62062469 h 47"/>
              <a:gd name="T2" fmla="*/ 0 w 50"/>
              <a:gd name="T3" fmla="*/ 62062469 h 47"/>
              <a:gd name="T4" fmla="*/ 30645101 w 50"/>
              <a:gd name="T5" fmla="*/ 52936036 h 47"/>
              <a:gd name="T6" fmla="*/ 14516101 w 50"/>
              <a:gd name="T7" fmla="*/ 41982954 h 47"/>
              <a:gd name="T8" fmla="*/ 29032201 w 50"/>
              <a:gd name="T9" fmla="*/ 12777012 h 47"/>
              <a:gd name="T10" fmla="*/ 41935407 w 50"/>
              <a:gd name="T11" fmla="*/ 32856521 h 47"/>
              <a:gd name="T12" fmla="*/ 41935407 w 50"/>
              <a:gd name="T13" fmla="*/ 0 h 47"/>
              <a:gd name="T14" fmla="*/ 79032096 w 50"/>
              <a:gd name="T15" fmla="*/ 0 h 47"/>
              <a:gd name="T16" fmla="*/ 75806297 w 50"/>
              <a:gd name="T17" fmla="*/ 32856521 h 47"/>
              <a:gd name="T18" fmla="*/ 53225704 w 50"/>
              <a:gd name="T19" fmla="*/ 43809592 h 47"/>
              <a:gd name="T20" fmla="*/ 53225704 w 50"/>
              <a:gd name="T21" fmla="*/ 83967260 h 47"/>
              <a:gd name="T22" fmla="*/ 32258000 w 50"/>
              <a:gd name="T23" fmla="*/ 60237182 h 47"/>
              <a:gd name="T24" fmla="*/ 0 w 50"/>
              <a:gd name="T25" fmla="*/ 62062469 h 47"/>
              <a:gd name="T26" fmla="*/ 0 w 50"/>
              <a:gd name="T27" fmla="*/ 62062469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0"/>
              <a:gd name="T43" fmla="*/ 0 h 47"/>
              <a:gd name="T44" fmla="*/ 50 w 50"/>
              <a:gd name="T45" fmla="*/ 47 h 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0" h="47">
                <a:moveTo>
                  <a:pt x="0" y="34"/>
                </a:moveTo>
                <a:lnTo>
                  <a:pt x="0" y="34"/>
                </a:lnTo>
                <a:lnTo>
                  <a:pt x="19" y="29"/>
                </a:lnTo>
                <a:lnTo>
                  <a:pt x="9" y="23"/>
                </a:lnTo>
                <a:lnTo>
                  <a:pt x="18" y="7"/>
                </a:lnTo>
                <a:lnTo>
                  <a:pt x="26" y="18"/>
                </a:lnTo>
                <a:lnTo>
                  <a:pt x="26" y="0"/>
                </a:lnTo>
                <a:lnTo>
                  <a:pt x="49" y="0"/>
                </a:lnTo>
                <a:lnTo>
                  <a:pt x="47" y="18"/>
                </a:lnTo>
                <a:lnTo>
                  <a:pt x="33" y="24"/>
                </a:lnTo>
                <a:lnTo>
                  <a:pt x="33" y="46"/>
                </a:lnTo>
                <a:lnTo>
                  <a:pt x="20" y="33"/>
                </a:lnTo>
                <a:lnTo>
                  <a:pt x="0" y="3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11" name="Freeform 610"/>
          <p:cNvSpPr>
            <a:spLocks/>
          </p:cNvSpPr>
          <p:nvPr/>
        </p:nvSpPr>
        <p:spPr bwMode="auto">
          <a:xfrm>
            <a:off x="4432052" y="2234649"/>
            <a:ext cx="602766" cy="469849"/>
          </a:xfrm>
          <a:custGeom>
            <a:avLst/>
            <a:gdLst>
              <a:gd name="T0" fmla="*/ 0 w 354"/>
              <a:gd name="T1" fmla="*/ 360167831 h 285"/>
              <a:gd name="T2" fmla="*/ 51288450 w 354"/>
              <a:gd name="T3" fmla="*/ 366963865 h 285"/>
              <a:gd name="T4" fmla="*/ 1554611 w 354"/>
              <a:gd name="T5" fmla="*/ 389049022 h 285"/>
              <a:gd name="T6" fmla="*/ 9325172 w 354"/>
              <a:gd name="T7" fmla="*/ 423027891 h 285"/>
              <a:gd name="T8" fmla="*/ 6217197 w 354"/>
              <a:gd name="T9" fmla="*/ 436618657 h 285"/>
              <a:gd name="T10" fmla="*/ 13987759 w 354"/>
              <a:gd name="T11" fmla="*/ 468897865 h 285"/>
              <a:gd name="T12" fmla="*/ 108795341 w 354"/>
              <a:gd name="T13" fmla="*/ 451909083 h 285"/>
              <a:gd name="T14" fmla="*/ 130553653 w 354"/>
              <a:gd name="T15" fmla="*/ 451909083 h 285"/>
              <a:gd name="T16" fmla="*/ 150758602 w 354"/>
              <a:gd name="T17" fmla="*/ 385652309 h 285"/>
              <a:gd name="T18" fmla="*/ 150758602 w 354"/>
              <a:gd name="T19" fmla="*/ 358469474 h 285"/>
              <a:gd name="T20" fmla="*/ 191168538 w 354"/>
              <a:gd name="T21" fmla="*/ 273524176 h 285"/>
              <a:gd name="T22" fmla="*/ 202048317 w 354"/>
              <a:gd name="T23" fmla="*/ 200471367 h 285"/>
              <a:gd name="T24" fmla="*/ 245566189 w 354"/>
              <a:gd name="T25" fmla="*/ 130815232 h 285"/>
              <a:gd name="T26" fmla="*/ 279758891 w 354"/>
              <a:gd name="T27" fmla="*/ 105332058 h 285"/>
              <a:gd name="T28" fmla="*/ 320167542 w 354"/>
              <a:gd name="T29" fmla="*/ 83246880 h 285"/>
              <a:gd name="T30" fmla="*/ 345035153 w 354"/>
              <a:gd name="T31" fmla="*/ 71354472 h 285"/>
              <a:gd name="T32" fmla="*/ 413420557 w 354"/>
              <a:gd name="T33" fmla="*/ 98536023 h 285"/>
              <a:gd name="T34" fmla="*/ 446058649 w 354"/>
              <a:gd name="T35" fmla="*/ 52666029 h 285"/>
              <a:gd name="T36" fmla="*/ 509781469 w 354"/>
              <a:gd name="T37" fmla="*/ 56064046 h 285"/>
              <a:gd name="T38" fmla="*/ 547083392 w 354"/>
              <a:gd name="T39" fmla="*/ 52666029 h 285"/>
              <a:gd name="T40" fmla="*/ 526878443 w 354"/>
              <a:gd name="T41" fmla="*/ 50967672 h 285"/>
              <a:gd name="T42" fmla="*/ 548636756 w 354"/>
              <a:gd name="T43" fmla="*/ 27182845 h 285"/>
              <a:gd name="T44" fmla="*/ 484913936 w 354"/>
              <a:gd name="T45" fmla="*/ 27182845 h 285"/>
              <a:gd name="T46" fmla="*/ 477143377 w 354"/>
              <a:gd name="T47" fmla="*/ 0 h 285"/>
              <a:gd name="T48" fmla="*/ 458493039 w 354"/>
              <a:gd name="T49" fmla="*/ 28881201 h 285"/>
              <a:gd name="T50" fmla="*/ 422745726 w 354"/>
              <a:gd name="T51" fmla="*/ 44171637 h 285"/>
              <a:gd name="T52" fmla="*/ 422745726 w 354"/>
              <a:gd name="T53" fmla="*/ 5096375 h 285"/>
              <a:gd name="T54" fmla="*/ 349697737 w 354"/>
              <a:gd name="T55" fmla="*/ 32279219 h 285"/>
              <a:gd name="T56" fmla="*/ 345035153 w 354"/>
              <a:gd name="T57" fmla="*/ 44171637 h 285"/>
              <a:gd name="T58" fmla="*/ 323276762 w 354"/>
              <a:gd name="T59" fmla="*/ 49268012 h 285"/>
              <a:gd name="T60" fmla="*/ 298409229 w 354"/>
              <a:gd name="T61" fmla="*/ 54364386 h 285"/>
              <a:gd name="T62" fmla="*/ 276649670 w 354"/>
              <a:gd name="T63" fmla="*/ 67956455 h 285"/>
              <a:gd name="T64" fmla="*/ 244011578 w 354"/>
              <a:gd name="T65" fmla="*/ 107031718 h 285"/>
              <a:gd name="T66" fmla="*/ 223806630 w 354"/>
              <a:gd name="T67" fmla="*/ 122320840 h 285"/>
              <a:gd name="T68" fmla="*/ 230023825 w 354"/>
              <a:gd name="T69" fmla="*/ 142707640 h 285"/>
              <a:gd name="T70" fmla="*/ 155421186 w 354"/>
              <a:gd name="T71" fmla="*/ 232750576 h 285"/>
              <a:gd name="T72" fmla="*/ 108795341 w 354"/>
              <a:gd name="T73" fmla="*/ 293910976 h 285"/>
              <a:gd name="T74" fmla="*/ 76155983 w 354"/>
              <a:gd name="T75" fmla="*/ 299007350 h 285"/>
              <a:gd name="T76" fmla="*/ 51288450 w 354"/>
              <a:gd name="T77" fmla="*/ 329588201 h 285"/>
              <a:gd name="T78" fmla="*/ 31084738 w 354"/>
              <a:gd name="T79" fmla="*/ 344877405 h 285"/>
              <a:gd name="T80" fmla="*/ 29530127 w 354"/>
              <a:gd name="T81" fmla="*/ 351673440 h 285"/>
              <a:gd name="T82" fmla="*/ 0 w 354"/>
              <a:gd name="T83" fmla="*/ 360167831 h 2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4"/>
              <a:gd name="T127" fmla="*/ 0 h 285"/>
              <a:gd name="T128" fmla="*/ 354 w 354"/>
              <a:gd name="T129" fmla="*/ 285 h 2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4" h="285">
                <a:moveTo>
                  <a:pt x="0" y="212"/>
                </a:moveTo>
                <a:lnTo>
                  <a:pt x="0" y="212"/>
                </a:lnTo>
                <a:lnTo>
                  <a:pt x="1" y="224"/>
                </a:lnTo>
                <a:lnTo>
                  <a:pt x="33" y="216"/>
                </a:lnTo>
                <a:lnTo>
                  <a:pt x="34" y="221"/>
                </a:lnTo>
                <a:lnTo>
                  <a:pt x="1" y="229"/>
                </a:lnTo>
                <a:lnTo>
                  <a:pt x="9" y="234"/>
                </a:lnTo>
                <a:lnTo>
                  <a:pt x="6" y="249"/>
                </a:lnTo>
                <a:lnTo>
                  <a:pt x="28" y="236"/>
                </a:lnTo>
                <a:lnTo>
                  <a:pt x="4" y="257"/>
                </a:lnTo>
                <a:lnTo>
                  <a:pt x="18" y="257"/>
                </a:lnTo>
                <a:lnTo>
                  <a:pt x="9" y="276"/>
                </a:lnTo>
                <a:lnTo>
                  <a:pt x="43" y="284"/>
                </a:lnTo>
                <a:lnTo>
                  <a:pt x="70" y="266"/>
                </a:lnTo>
                <a:lnTo>
                  <a:pt x="76" y="249"/>
                </a:lnTo>
                <a:lnTo>
                  <a:pt x="84" y="266"/>
                </a:lnTo>
                <a:lnTo>
                  <a:pt x="100" y="245"/>
                </a:lnTo>
                <a:lnTo>
                  <a:pt x="97" y="227"/>
                </a:lnTo>
                <a:lnTo>
                  <a:pt x="104" y="220"/>
                </a:lnTo>
                <a:lnTo>
                  <a:pt x="97" y="211"/>
                </a:lnTo>
                <a:lnTo>
                  <a:pt x="98" y="171"/>
                </a:lnTo>
                <a:lnTo>
                  <a:pt x="123" y="161"/>
                </a:lnTo>
                <a:lnTo>
                  <a:pt x="118" y="149"/>
                </a:lnTo>
                <a:lnTo>
                  <a:pt x="130" y="118"/>
                </a:lnTo>
                <a:lnTo>
                  <a:pt x="153" y="95"/>
                </a:lnTo>
                <a:lnTo>
                  <a:pt x="158" y="77"/>
                </a:lnTo>
                <a:lnTo>
                  <a:pt x="175" y="73"/>
                </a:lnTo>
                <a:lnTo>
                  <a:pt x="180" y="62"/>
                </a:lnTo>
                <a:lnTo>
                  <a:pt x="205" y="64"/>
                </a:lnTo>
                <a:lnTo>
                  <a:pt x="206" y="49"/>
                </a:lnTo>
                <a:lnTo>
                  <a:pt x="212" y="49"/>
                </a:lnTo>
                <a:lnTo>
                  <a:pt x="222" y="42"/>
                </a:lnTo>
                <a:lnTo>
                  <a:pt x="237" y="56"/>
                </a:lnTo>
                <a:lnTo>
                  <a:pt x="266" y="58"/>
                </a:lnTo>
                <a:lnTo>
                  <a:pt x="282" y="50"/>
                </a:lnTo>
                <a:lnTo>
                  <a:pt x="287" y="31"/>
                </a:lnTo>
                <a:lnTo>
                  <a:pt x="314" y="26"/>
                </a:lnTo>
                <a:lnTo>
                  <a:pt x="328" y="33"/>
                </a:lnTo>
                <a:lnTo>
                  <a:pt x="326" y="49"/>
                </a:lnTo>
                <a:lnTo>
                  <a:pt x="352" y="31"/>
                </a:lnTo>
                <a:lnTo>
                  <a:pt x="335" y="34"/>
                </a:lnTo>
                <a:lnTo>
                  <a:pt x="339" y="30"/>
                </a:lnTo>
                <a:lnTo>
                  <a:pt x="322" y="25"/>
                </a:lnTo>
                <a:lnTo>
                  <a:pt x="353" y="16"/>
                </a:lnTo>
                <a:lnTo>
                  <a:pt x="328" y="5"/>
                </a:lnTo>
                <a:lnTo>
                  <a:pt x="312" y="16"/>
                </a:lnTo>
                <a:lnTo>
                  <a:pt x="320" y="2"/>
                </a:lnTo>
                <a:lnTo>
                  <a:pt x="307" y="0"/>
                </a:lnTo>
                <a:lnTo>
                  <a:pt x="299" y="16"/>
                </a:lnTo>
                <a:lnTo>
                  <a:pt x="295" y="17"/>
                </a:lnTo>
                <a:lnTo>
                  <a:pt x="295" y="4"/>
                </a:lnTo>
                <a:lnTo>
                  <a:pt x="272" y="26"/>
                </a:lnTo>
                <a:lnTo>
                  <a:pt x="284" y="6"/>
                </a:lnTo>
                <a:lnTo>
                  <a:pt x="272" y="3"/>
                </a:lnTo>
                <a:lnTo>
                  <a:pt x="248" y="27"/>
                </a:lnTo>
                <a:lnTo>
                  <a:pt x="225" y="19"/>
                </a:lnTo>
                <a:lnTo>
                  <a:pt x="231" y="33"/>
                </a:lnTo>
                <a:lnTo>
                  <a:pt x="222" y="26"/>
                </a:lnTo>
                <a:lnTo>
                  <a:pt x="206" y="43"/>
                </a:lnTo>
                <a:lnTo>
                  <a:pt x="208" y="29"/>
                </a:lnTo>
                <a:lnTo>
                  <a:pt x="199" y="41"/>
                </a:lnTo>
                <a:lnTo>
                  <a:pt x="192" y="32"/>
                </a:lnTo>
                <a:lnTo>
                  <a:pt x="197" y="45"/>
                </a:lnTo>
                <a:lnTo>
                  <a:pt x="178" y="40"/>
                </a:lnTo>
                <a:lnTo>
                  <a:pt x="173" y="56"/>
                </a:lnTo>
                <a:lnTo>
                  <a:pt x="157" y="63"/>
                </a:lnTo>
                <a:lnTo>
                  <a:pt x="172" y="64"/>
                </a:lnTo>
                <a:lnTo>
                  <a:pt x="144" y="72"/>
                </a:lnTo>
                <a:lnTo>
                  <a:pt x="139" y="84"/>
                </a:lnTo>
                <a:lnTo>
                  <a:pt x="148" y="84"/>
                </a:lnTo>
                <a:lnTo>
                  <a:pt x="113" y="104"/>
                </a:lnTo>
                <a:lnTo>
                  <a:pt x="100" y="137"/>
                </a:lnTo>
                <a:lnTo>
                  <a:pt x="63" y="166"/>
                </a:lnTo>
                <a:lnTo>
                  <a:pt x="70" y="173"/>
                </a:lnTo>
                <a:lnTo>
                  <a:pt x="86" y="168"/>
                </a:lnTo>
                <a:lnTo>
                  <a:pt x="49" y="176"/>
                </a:lnTo>
                <a:lnTo>
                  <a:pt x="28" y="188"/>
                </a:lnTo>
                <a:lnTo>
                  <a:pt x="33" y="194"/>
                </a:lnTo>
                <a:lnTo>
                  <a:pt x="19" y="194"/>
                </a:lnTo>
                <a:lnTo>
                  <a:pt x="20" y="203"/>
                </a:lnTo>
                <a:lnTo>
                  <a:pt x="2" y="203"/>
                </a:lnTo>
                <a:lnTo>
                  <a:pt x="19" y="207"/>
                </a:lnTo>
                <a:lnTo>
                  <a:pt x="0" y="21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12" name="Freeform 611"/>
          <p:cNvSpPr>
            <a:spLocks/>
          </p:cNvSpPr>
          <p:nvPr/>
        </p:nvSpPr>
        <p:spPr bwMode="auto">
          <a:xfrm>
            <a:off x="4644538" y="2810917"/>
            <a:ext cx="231999" cy="174688"/>
          </a:xfrm>
          <a:custGeom>
            <a:avLst/>
            <a:gdLst>
              <a:gd name="T0" fmla="*/ 0 w 137"/>
              <a:gd name="T1" fmla="*/ 32364034 h 103"/>
              <a:gd name="T2" fmla="*/ 0 w 137"/>
              <a:gd name="T3" fmla="*/ 32364034 h 103"/>
              <a:gd name="T4" fmla="*/ 12298256 w 137"/>
              <a:gd name="T5" fmla="*/ 129457475 h 103"/>
              <a:gd name="T6" fmla="*/ 122981312 w 137"/>
              <a:gd name="T7" fmla="*/ 178003552 h 103"/>
              <a:gd name="T8" fmla="*/ 175249229 w 137"/>
              <a:gd name="T9" fmla="*/ 183398003 h 103"/>
              <a:gd name="T10" fmla="*/ 209069110 w 137"/>
              <a:gd name="T11" fmla="*/ 134851926 h 103"/>
              <a:gd name="T12" fmla="*/ 192159789 w 137"/>
              <a:gd name="T13" fmla="*/ 79113269 h 103"/>
              <a:gd name="T14" fmla="*/ 204458040 w 137"/>
              <a:gd name="T15" fmla="*/ 66526217 h 103"/>
              <a:gd name="T16" fmla="*/ 196770858 w 137"/>
              <a:gd name="T17" fmla="*/ 23374623 h 103"/>
              <a:gd name="T18" fmla="*/ 116832806 w 137"/>
              <a:gd name="T19" fmla="*/ 8990754 h 103"/>
              <a:gd name="T20" fmla="*/ 66102345 w 137"/>
              <a:gd name="T21" fmla="*/ 0 h 103"/>
              <a:gd name="T22" fmla="*/ 0 w 137"/>
              <a:gd name="T23" fmla="*/ 32364034 h 103"/>
              <a:gd name="T24" fmla="*/ 0 w 137"/>
              <a:gd name="T25" fmla="*/ 32364034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7"/>
              <a:gd name="T40" fmla="*/ 0 h 103"/>
              <a:gd name="T41" fmla="*/ 137 w 137"/>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7" h="103">
                <a:moveTo>
                  <a:pt x="0" y="18"/>
                </a:moveTo>
                <a:lnTo>
                  <a:pt x="0" y="18"/>
                </a:lnTo>
                <a:lnTo>
                  <a:pt x="8" y="72"/>
                </a:lnTo>
                <a:lnTo>
                  <a:pt x="80" y="99"/>
                </a:lnTo>
                <a:lnTo>
                  <a:pt x="114" y="102"/>
                </a:lnTo>
                <a:lnTo>
                  <a:pt x="136" y="75"/>
                </a:lnTo>
                <a:lnTo>
                  <a:pt x="125" y="44"/>
                </a:lnTo>
                <a:lnTo>
                  <a:pt x="133" y="37"/>
                </a:lnTo>
                <a:lnTo>
                  <a:pt x="128" y="13"/>
                </a:lnTo>
                <a:lnTo>
                  <a:pt x="76" y="5"/>
                </a:lnTo>
                <a:lnTo>
                  <a:pt x="43" y="0"/>
                </a:lnTo>
                <a:lnTo>
                  <a:pt x="0" y="1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13" name="Freeform 612"/>
          <p:cNvSpPr>
            <a:spLocks/>
          </p:cNvSpPr>
          <p:nvPr/>
        </p:nvSpPr>
        <p:spPr bwMode="auto">
          <a:xfrm>
            <a:off x="4104651" y="3182378"/>
            <a:ext cx="73720" cy="126496"/>
          </a:xfrm>
          <a:custGeom>
            <a:avLst/>
            <a:gdLst>
              <a:gd name="T0" fmla="*/ 0 w 44"/>
              <a:gd name="T1" fmla="*/ 82664452 h 77"/>
              <a:gd name="T2" fmla="*/ 0 w 44"/>
              <a:gd name="T3" fmla="*/ 82664452 h 77"/>
              <a:gd name="T4" fmla="*/ 10533713 w 44"/>
              <a:gd name="T5" fmla="*/ 0 h 77"/>
              <a:gd name="T6" fmla="*/ 64706208 w 44"/>
              <a:gd name="T7" fmla="*/ 5061646 h 77"/>
              <a:gd name="T8" fmla="*/ 40629686 w 44"/>
              <a:gd name="T9" fmla="*/ 59046043 h 77"/>
              <a:gd name="T10" fmla="*/ 40629686 w 44"/>
              <a:gd name="T11" fmla="*/ 124839645 h 77"/>
              <a:gd name="T12" fmla="*/ 9028545 w 44"/>
              <a:gd name="T13" fmla="*/ 128214075 h 77"/>
              <a:gd name="T14" fmla="*/ 13542818 w 44"/>
              <a:gd name="T15" fmla="*/ 87726116 h 77"/>
              <a:gd name="T16" fmla="*/ 0 w 44"/>
              <a:gd name="T17" fmla="*/ 82664452 h 77"/>
              <a:gd name="T18" fmla="*/ 0 w 44"/>
              <a:gd name="T19" fmla="*/ 82664452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77"/>
              <a:gd name="T32" fmla="*/ 44 w 44"/>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77">
                <a:moveTo>
                  <a:pt x="0" y="49"/>
                </a:moveTo>
                <a:lnTo>
                  <a:pt x="0" y="49"/>
                </a:lnTo>
                <a:lnTo>
                  <a:pt x="7" y="0"/>
                </a:lnTo>
                <a:lnTo>
                  <a:pt x="43" y="3"/>
                </a:lnTo>
                <a:lnTo>
                  <a:pt x="27" y="35"/>
                </a:lnTo>
                <a:lnTo>
                  <a:pt x="27" y="74"/>
                </a:lnTo>
                <a:lnTo>
                  <a:pt x="6" y="76"/>
                </a:lnTo>
                <a:lnTo>
                  <a:pt x="9" y="52"/>
                </a:lnTo>
                <a:lnTo>
                  <a:pt x="0" y="49"/>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14" name="Freeform 613"/>
          <p:cNvSpPr>
            <a:spLocks/>
          </p:cNvSpPr>
          <p:nvPr/>
        </p:nvSpPr>
        <p:spPr bwMode="auto">
          <a:xfrm>
            <a:off x="4785473" y="3005683"/>
            <a:ext cx="221159" cy="126496"/>
          </a:xfrm>
          <a:custGeom>
            <a:avLst/>
            <a:gdLst>
              <a:gd name="T0" fmla="*/ 0 w 130"/>
              <a:gd name="T1" fmla="*/ 62420472 h 77"/>
              <a:gd name="T2" fmla="*/ 0 w 130"/>
              <a:gd name="T3" fmla="*/ 62420472 h 77"/>
              <a:gd name="T4" fmla="*/ 54300920 w 130"/>
              <a:gd name="T5" fmla="*/ 116404870 h 77"/>
              <a:gd name="T6" fmla="*/ 178417678 w 130"/>
              <a:gd name="T7" fmla="*/ 128214075 h 77"/>
              <a:gd name="T8" fmla="*/ 200138038 w 130"/>
              <a:gd name="T9" fmla="*/ 82664452 h 77"/>
              <a:gd name="T10" fmla="*/ 169109486 w 130"/>
              <a:gd name="T11" fmla="*/ 80977237 h 77"/>
              <a:gd name="T12" fmla="*/ 166006755 w 130"/>
              <a:gd name="T13" fmla="*/ 42175184 h 77"/>
              <a:gd name="T14" fmla="*/ 138079649 w 130"/>
              <a:gd name="T15" fmla="*/ 0 h 77"/>
              <a:gd name="T16" fmla="*/ 54300920 w 130"/>
              <a:gd name="T17" fmla="*/ 8434777 h 77"/>
              <a:gd name="T18" fmla="*/ 0 w 130"/>
              <a:gd name="T19" fmla="*/ 62420472 h 77"/>
              <a:gd name="T20" fmla="*/ 0 w 130"/>
              <a:gd name="T21" fmla="*/ 62420472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77"/>
              <a:gd name="T35" fmla="*/ 130 w 130"/>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77">
                <a:moveTo>
                  <a:pt x="0" y="37"/>
                </a:moveTo>
                <a:lnTo>
                  <a:pt x="0" y="37"/>
                </a:lnTo>
                <a:lnTo>
                  <a:pt x="35" y="69"/>
                </a:lnTo>
                <a:lnTo>
                  <a:pt x="115" y="76"/>
                </a:lnTo>
                <a:lnTo>
                  <a:pt x="129" y="49"/>
                </a:lnTo>
                <a:lnTo>
                  <a:pt x="109" y="48"/>
                </a:lnTo>
                <a:lnTo>
                  <a:pt x="107" y="25"/>
                </a:lnTo>
                <a:lnTo>
                  <a:pt x="89" y="0"/>
                </a:lnTo>
                <a:lnTo>
                  <a:pt x="35" y="5"/>
                </a:lnTo>
                <a:lnTo>
                  <a:pt x="0" y="37"/>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15" name="Freeform 614"/>
          <p:cNvSpPr>
            <a:spLocks/>
          </p:cNvSpPr>
          <p:nvPr/>
        </p:nvSpPr>
        <p:spPr bwMode="auto">
          <a:xfrm>
            <a:off x="4106820" y="3132180"/>
            <a:ext cx="286204" cy="200790"/>
          </a:xfrm>
          <a:custGeom>
            <a:avLst/>
            <a:gdLst>
              <a:gd name="T0" fmla="*/ 0 w 168"/>
              <a:gd name="T1" fmla="*/ 16931599 h 122"/>
              <a:gd name="T2" fmla="*/ 0 w 168"/>
              <a:gd name="T3" fmla="*/ 16931599 h 122"/>
              <a:gd name="T4" fmla="*/ 7779543 w 168"/>
              <a:gd name="T5" fmla="*/ 50796104 h 122"/>
              <a:gd name="T6" fmla="*/ 63788014 w 168"/>
              <a:gd name="T7" fmla="*/ 55876103 h 122"/>
              <a:gd name="T8" fmla="*/ 38895220 w 168"/>
              <a:gd name="T9" fmla="*/ 110058005 h 122"/>
              <a:gd name="T10" fmla="*/ 38895220 w 168"/>
              <a:gd name="T11" fmla="*/ 176092824 h 122"/>
              <a:gd name="T12" fmla="*/ 77790439 w 168"/>
              <a:gd name="T13" fmla="*/ 204877315 h 122"/>
              <a:gd name="T14" fmla="*/ 154025470 w 168"/>
              <a:gd name="T15" fmla="*/ 186251520 h 122"/>
              <a:gd name="T16" fmla="*/ 197588194 w 168"/>
              <a:gd name="T17" fmla="*/ 137149597 h 122"/>
              <a:gd name="T18" fmla="*/ 188253243 w 168"/>
              <a:gd name="T19" fmla="*/ 116830903 h 122"/>
              <a:gd name="T20" fmla="*/ 211590619 w 168"/>
              <a:gd name="T21" fmla="*/ 79580595 h 122"/>
              <a:gd name="T22" fmla="*/ 259820779 w 168"/>
              <a:gd name="T23" fmla="*/ 52489003 h 122"/>
              <a:gd name="T24" fmla="*/ 259820779 w 168"/>
              <a:gd name="T25" fmla="*/ 35557399 h 122"/>
              <a:gd name="T26" fmla="*/ 228703863 w 168"/>
              <a:gd name="T27" fmla="*/ 32170299 h 122"/>
              <a:gd name="T28" fmla="*/ 222480978 w 168"/>
              <a:gd name="T29" fmla="*/ 28784501 h 122"/>
              <a:gd name="T30" fmla="*/ 155580879 w 168"/>
              <a:gd name="T31" fmla="*/ 8465800 h 122"/>
              <a:gd name="T32" fmla="*/ 21780729 w 168"/>
              <a:gd name="T33" fmla="*/ 0 h 122"/>
              <a:gd name="T34" fmla="*/ 0 w 168"/>
              <a:gd name="T35" fmla="*/ 16931599 h 122"/>
              <a:gd name="T36" fmla="*/ 0 w 168"/>
              <a:gd name="T37" fmla="*/ 16931599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8"/>
              <a:gd name="T58" fmla="*/ 0 h 122"/>
              <a:gd name="T59" fmla="*/ 168 w 168"/>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8" h="122">
                <a:moveTo>
                  <a:pt x="0" y="10"/>
                </a:moveTo>
                <a:lnTo>
                  <a:pt x="0" y="10"/>
                </a:lnTo>
                <a:lnTo>
                  <a:pt x="5" y="30"/>
                </a:lnTo>
                <a:lnTo>
                  <a:pt x="41" y="33"/>
                </a:lnTo>
                <a:lnTo>
                  <a:pt x="25" y="65"/>
                </a:lnTo>
                <a:lnTo>
                  <a:pt x="25" y="104"/>
                </a:lnTo>
                <a:lnTo>
                  <a:pt x="50" y="121"/>
                </a:lnTo>
                <a:lnTo>
                  <a:pt x="99" y="110"/>
                </a:lnTo>
                <a:lnTo>
                  <a:pt x="127" y="81"/>
                </a:lnTo>
                <a:lnTo>
                  <a:pt x="121" y="69"/>
                </a:lnTo>
                <a:lnTo>
                  <a:pt x="136" y="47"/>
                </a:lnTo>
                <a:lnTo>
                  <a:pt x="167" y="31"/>
                </a:lnTo>
                <a:lnTo>
                  <a:pt x="167" y="21"/>
                </a:lnTo>
                <a:lnTo>
                  <a:pt x="147" y="19"/>
                </a:lnTo>
                <a:lnTo>
                  <a:pt x="143" y="17"/>
                </a:lnTo>
                <a:lnTo>
                  <a:pt x="100" y="5"/>
                </a:lnTo>
                <a:lnTo>
                  <a:pt x="14" y="0"/>
                </a:lnTo>
                <a:lnTo>
                  <a:pt x="0" y="1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16" name="Freeform 615"/>
          <p:cNvSpPr>
            <a:spLocks/>
          </p:cNvSpPr>
          <p:nvPr/>
        </p:nvSpPr>
        <p:spPr bwMode="auto">
          <a:xfrm>
            <a:off x="4577323" y="2314965"/>
            <a:ext cx="299214" cy="475872"/>
          </a:xfrm>
          <a:custGeom>
            <a:avLst/>
            <a:gdLst>
              <a:gd name="T0" fmla="*/ 0 w 176"/>
              <a:gd name="T1" fmla="*/ 367778835 h 289"/>
              <a:gd name="T2" fmla="*/ 0 w 176"/>
              <a:gd name="T3" fmla="*/ 367778835 h 289"/>
              <a:gd name="T4" fmla="*/ 10845458 w 176"/>
              <a:gd name="T5" fmla="*/ 423707939 h 289"/>
              <a:gd name="T6" fmla="*/ 34086076 w 176"/>
              <a:gd name="T7" fmla="*/ 449130614 h 289"/>
              <a:gd name="T8" fmla="*/ 32537615 w 176"/>
              <a:gd name="T9" fmla="*/ 488112135 h 289"/>
              <a:gd name="T10" fmla="*/ 99161316 w 176"/>
              <a:gd name="T11" fmla="*/ 462689460 h 289"/>
              <a:gd name="T12" fmla="*/ 116204349 w 176"/>
              <a:gd name="T13" fmla="*/ 384727719 h 289"/>
              <a:gd name="T14" fmla="*/ 102259483 w 176"/>
              <a:gd name="T15" fmla="*/ 383032700 h 289"/>
              <a:gd name="T16" fmla="*/ 151840122 w 176"/>
              <a:gd name="T17" fmla="*/ 359305044 h 289"/>
              <a:gd name="T18" fmla="*/ 105358896 w 176"/>
              <a:gd name="T19" fmla="*/ 352524970 h 289"/>
              <a:gd name="T20" fmla="*/ 140994668 w 176"/>
              <a:gd name="T21" fmla="*/ 359305044 h 289"/>
              <a:gd name="T22" fmla="*/ 159587408 w 176"/>
              <a:gd name="T23" fmla="*/ 338967344 h 289"/>
              <a:gd name="T24" fmla="*/ 131697676 w 176"/>
              <a:gd name="T25" fmla="*/ 313544669 h 289"/>
              <a:gd name="T26" fmla="*/ 103809190 w 176"/>
              <a:gd name="T27" fmla="*/ 330492251 h 289"/>
              <a:gd name="T28" fmla="*/ 127049803 w 176"/>
              <a:gd name="T29" fmla="*/ 315239687 h 289"/>
              <a:gd name="T30" fmla="*/ 127049803 w 176"/>
              <a:gd name="T31" fmla="*/ 245750435 h 289"/>
              <a:gd name="T32" fmla="*/ 218463833 w 176"/>
              <a:gd name="T33" fmla="*/ 177957503 h 289"/>
              <a:gd name="T34" fmla="*/ 212266253 w 176"/>
              <a:gd name="T35" fmla="*/ 164398616 h 289"/>
              <a:gd name="T36" fmla="*/ 227759580 w 176"/>
              <a:gd name="T37" fmla="*/ 130502150 h 289"/>
              <a:gd name="T38" fmla="*/ 271142639 w 176"/>
              <a:gd name="T39" fmla="*/ 120333341 h 289"/>
              <a:gd name="T40" fmla="*/ 260297185 w 176"/>
              <a:gd name="T41" fmla="*/ 40676550 h 289"/>
              <a:gd name="T42" fmla="*/ 198321387 w 176"/>
              <a:gd name="T43" fmla="*/ 0 h 289"/>
              <a:gd name="T44" fmla="*/ 189025640 w 176"/>
              <a:gd name="T45" fmla="*/ 0 h 289"/>
              <a:gd name="T46" fmla="*/ 187475934 w 176"/>
              <a:gd name="T47" fmla="*/ 25422685 h 289"/>
              <a:gd name="T48" fmla="*/ 148740710 w 176"/>
              <a:gd name="T49" fmla="*/ 22032648 h 289"/>
              <a:gd name="T50" fmla="*/ 140994668 w 176"/>
              <a:gd name="T51" fmla="*/ 40676550 h 289"/>
              <a:gd name="T52" fmla="*/ 114654643 w 176"/>
              <a:gd name="T53" fmla="*/ 47455333 h 289"/>
              <a:gd name="T54" fmla="*/ 106907357 w 176"/>
              <a:gd name="T55" fmla="*/ 77961762 h 289"/>
              <a:gd name="T56" fmla="*/ 71271565 w 176"/>
              <a:gd name="T57" fmla="*/ 116943304 h 289"/>
              <a:gd name="T58" fmla="*/ 52678825 w 176"/>
              <a:gd name="T59" fmla="*/ 169483672 h 289"/>
              <a:gd name="T60" fmla="*/ 60426111 w 176"/>
              <a:gd name="T61" fmla="*/ 189821332 h 289"/>
              <a:gd name="T62" fmla="*/ 21690917 w 176"/>
              <a:gd name="T63" fmla="*/ 206770215 h 289"/>
              <a:gd name="T64" fmla="*/ 20142450 w 176"/>
              <a:gd name="T65" fmla="*/ 274563147 h 289"/>
              <a:gd name="T66" fmla="*/ 30987909 w 176"/>
              <a:gd name="T67" fmla="*/ 289817012 h 289"/>
              <a:gd name="T68" fmla="*/ 20142450 w 176"/>
              <a:gd name="T69" fmla="*/ 301680841 h 289"/>
              <a:gd name="T70" fmla="*/ 24790329 w 176"/>
              <a:gd name="T71" fmla="*/ 332187269 h 289"/>
              <a:gd name="T72" fmla="*/ 0 w 176"/>
              <a:gd name="T73" fmla="*/ 367778835 h 289"/>
              <a:gd name="T74" fmla="*/ 0 w 176"/>
              <a:gd name="T75" fmla="*/ 367778835 h 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6"/>
              <a:gd name="T115" fmla="*/ 0 h 289"/>
              <a:gd name="T116" fmla="*/ 176 w 176"/>
              <a:gd name="T117" fmla="*/ 289 h 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6" h="289">
                <a:moveTo>
                  <a:pt x="0" y="217"/>
                </a:moveTo>
                <a:lnTo>
                  <a:pt x="0" y="217"/>
                </a:lnTo>
                <a:lnTo>
                  <a:pt x="7" y="250"/>
                </a:lnTo>
                <a:lnTo>
                  <a:pt x="22" y="265"/>
                </a:lnTo>
                <a:lnTo>
                  <a:pt x="21" y="288"/>
                </a:lnTo>
                <a:lnTo>
                  <a:pt x="64" y="273"/>
                </a:lnTo>
                <a:lnTo>
                  <a:pt x="75" y="227"/>
                </a:lnTo>
                <a:lnTo>
                  <a:pt x="66" y="226"/>
                </a:lnTo>
                <a:lnTo>
                  <a:pt x="98" y="212"/>
                </a:lnTo>
                <a:lnTo>
                  <a:pt x="68" y="208"/>
                </a:lnTo>
                <a:lnTo>
                  <a:pt x="91" y="212"/>
                </a:lnTo>
                <a:lnTo>
                  <a:pt x="103" y="200"/>
                </a:lnTo>
                <a:lnTo>
                  <a:pt x="85" y="185"/>
                </a:lnTo>
                <a:lnTo>
                  <a:pt x="67" y="195"/>
                </a:lnTo>
                <a:lnTo>
                  <a:pt x="82" y="186"/>
                </a:lnTo>
                <a:lnTo>
                  <a:pt x="82" y="145"/>
                </a:lnTo>
                <a:lnTo>
                  <a:pt x="141" y="105"/>
                </a:lnTo>
                <a:lnTo>
                  <a:pt x="137" y="97"/>
                </a:lnTo>
                <a:lnTo>
                  <a:pt x="147" y="77"/>
                </a:lnTo>
                <a:lnTo>
                  <a:pt x="175" y="71"/>
                </a:lnTo>
                <a:lnTo>
                  <a:pt x="168" y="24"/>
                </a:lnTo>
                <a:lnTo>
                  <a:pt x="128" y="0"/>
                </a:lnTo>
                <a:lnTo>
                  <a:pt x="122" y="0"/>
                </a:lnTo>
                <a:lnTo>
                  <a:pt x="121" y="15"/>
                </a:lnTo>
                <a:lnTo>
                  <a:pt x="96" y="13"/>
                </a:lnTo>
                <a:lnTo>
                  <a:pt x="91" y="24"/>
                </a:lnTo>
                <a:lnTo>
                  <a:pt x="74" y="28"/>
                </a:lnTo>
                <a:lnTo>
                  <a:pt x="69" y="46"/>
                </a:lnTo>
                <a:lnTo>
                  <a:pt x="46" y="69"/>
                </a:lnTo>
                <a:lnTo>
                  <a:pt x="34" y="100"/>
                </a:lnTo>
                <a:lnTo>
                  <a:pt x="39" y="112"/>
                </a:lnTo>
                <a:lnTo>
                  <a:pt x="14" y="122"/>
                </a:lnTo>
                <a:lnTo>
                  <a:pt x="13" y="162"/>
                </a:lnTo>
                <a:lnTo>
                  <a:pt x="20" y="171"/>
                </a:lnTo>
                <a:lnTo>
                  <a:pt x="13" y="178"/>
                </a:lnTo>
                <a:lnTo>
                  <a:pt x="16" y="196"/>
                </a:lnTo>
                <a:lnTo>
                  <a:pt x="0" y="217"/>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17" name="Freeform 616"/>
          <p:cNvSpPr>
            <a:spLocks/>
          </p:cNvSpPr>
          <p:nvPr/>
        </p:nvSpPr>
        <p:spPr bwMode="auto">
          <a:xfrm>
            <a:off x="4458071" y="3021746"/>
            <a:ext cx="104074" cy="52206"/>
          </a:xfrm>
          <a:custGeom>
            <a:avLst/>
            <a:gdLst>
              <a:gd name="T0" fmla="*/ 0 w 61"/>
              <a:gd name="T1" fmla="*/ 35455227 h 31"/>
              <a:gd name="T2" fmla="*/ 0 w 61"/>
              <a:gd name="T3" fmla="*/ 35455227 h 31"/>
              <a:gd name="T4" fmla="*/ 21846919 w 61"/>
              <a:gd name="T5" fmla="*/ 53183511 h 31"/>
              <a:gd name="T6" fmla="*/ 51494967 w 61"/>
              <a:gd name="T7" fmla="*/ 37227388 h 31"/>
              <a:gd name="T8" fmla="*/ 63978023 w 61"/>
              <a:gd name="T9" fmla="*/ 51410018 h 31"/>
              <a:gd name="T10" fmla="*/ 93627330 w 61"/>
              <a:gd name="T11" fmla="*/ 24818262 h 31"/>
              <a:gd name="T12" fmla="*/ 76462328 w 61"/>
              <a:gd name="T13" fmla="*/ 21272602 h 31"/>
              <a:gd name="T14" fmla="*/ 74902102 w 61"/>
              <a:gd name="T15" fmla="*/ 8863474 h 31"/>
              <a:gd name="T16" fmla="*/ 73340627 w 61"/>
              <a:gd name="T17" fmla="*/ 5317818 h 31"/>
              <a:gd name="T18" fmla="*/ 31209523 w 61"/>
              <a:gd name="T19" fmla="*/ 0 h 31"/>
              <a:gd name="T20" fmla="*/ 0 w 61"/>
              <a:gd name="T21" fmla="*/ 35455227 h 31"/>
              <a:gd name="T22" fmla="*/ 0 w 61"/>
              <a:gd name="T23" fmla="*/ 3545522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1"/>
              <a:gd name="T37" fmla="*/ 0 h 31"/>
              <a:gd name="T38" fmla="*/ 61 w 61"/>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1" h="31">
                <a:moveTo>
                  <a:pt x="0" y="20"/>
                </a:moveTo>
                <a:lnTo>
                  <a:pt x="0" y="20"/>
                </a:lnTo>
                <a:lnTo>
                  <a:pt x="14" y="30"/>
                </a:lnTo>
                <a:lnTo>
                  <a:pt x="33" y="21"/>
                </a:lnTo>
                <a:lnTo>
                  <a:pt x="41" y="29"/>
                </a:lnTo>
                <a:lnTo>
                  <a:pt x="60" y="14"/>
                </a:lnTo>
                <a:lnTo>
                  <a:pt x="49" y="12"/>
                </a:lnTo>
                <a:lnTo>
                  <a:pt x="48" y="5"/>
                </a:lnTo>
                <a:lnTo>
                  <a:pt x="47" y="3"/>
                </a:lnTo>
                <a:lnTo>
                  <a:pt x="20" y="0"/>
                </a:lnTo>
                <a:lnTo>
                  <a:pt x="0" y="2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18" name="Freeform 617"/>
          <p:cNvSpPr>
            <a:spLocks/>
          </p:cNvSpPr>
          <p:nvPr/>
        </p:nvSpPr>
        <p:spPr bwMode="auto">
          <a:xfrm>
            <a:off x="4924239" y="3182378"/>
            <a:ext cx="65047" cy="48189"/>
          </a:xfrm>
          <a:custGeom>
            <a:avLst/>
            <a:gdLst>
              <a:gd name="T0" fmla="*/ 0 w 39"/>
              <a:gd name="T1" fmla="*/ 30645102 h 30"/>
              <a:gd name="T2" fmla="*/ 0 w 39"/>
              <a:gd name="T3" fmla="*/ 30645102 h 30"/>
              <a:gd name="T4" fmla="*/ 7456365 w 39"/>
              <a:gd name="T5" fmla="*/ 1612900 h 30"/>
              <a:gd name="T6" fmla="*/ 38771629 w 39"/>
              <a:gd name="T7" fmla="*/ 0 h 30"/>
              <a:gd name="T8" fmla="*/ 56666420 w 39"/>
              <a:gd name="T9" fmla="*/ 22580604 h 30"/>
              <a:gd name="T10" fmla="*/ 31315267 w 39"/>
              <a:gd name="T11" fmla="*/ 22580604 h 30"/>
              <a:gd name="T12" fmla="*/ 2982058 w 39"/>
              <a:gd name="T13" fmla="*/ 46774108 h 30"/>
              <a:gd name="T14" fmla="*/ 14912730 w 39"/>
              <a:gd name="T15" fmla="*/ 32258002 h 30"/>
              <a:gd name="T16" fmla="*/ 0 w 39"/>
              <a:gd name="T17" fmla="*/ 30645102 h 30"/>
              <a:gd name="T18" fmla="*/ 0 w 39"/>
              <a:gd name="T19" fmla="*/ 3064510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30"/>
              <a:gd name="T32" fmla="*/ 39 w 39"/>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30">
                <a:moveTo>
                  <a:pt x="0" y="19"/>
                </a:moveTo>
                <a:lnTo>
                  <a:pt x="0" y="19"/>
                </a:lnTo>
                <a:lnTo>
                  <a:pt x="5" y="1"/>
                </a:lnTo>
                <a:lnTo>
                  <a:pt x="26" y="0"/>
                </a:lnTo>
                <a:lnTo>
                  <a:pt x="38" y="14"/>
                </a:lnTo>
                <a:lnTo>
                  <a:pt x="21" y="14"/>
                </a:lnTo>
                <a:lnTo>
                  <a:pt x="2" y="29"/>
                </a:lnTo>
                <a:lnTo>
                  <a:pt x="10" y="20"/>
                </a:lnTo>
                <a:lnTo>
                  <a:pt x="0" y="19"/>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grpSp>
        <p:nvGrpSpPr>
          <p:cNvPr id="19" name="Group 194"/>
          <p:cNvGrpSpPr>
            <a:grpSpLocks/>
          </p:cNvGrpSpPr>
          <p:nvPr/>
        </p:nvGrpSpPr>
        <p:grpSpPr bwMode="auto">
          <a:xfrm>
            <a:off x="4083017" y="2690380"/>
            <a:ext cx="277536" cy="265039"/>
            <a:chOff x="2942" y="2530"/>
            <a:chExt cx="163" cy="161"/>
          </a:xfrm>
          <a:solidFill>
            <a:schemeClr val="accent3"/>
          </a:solidFill>
        </p:grpSpPr>
        <p:sp>
          <p:nvSpPr>
            <p:cNvPr id="697" name="Freeform 696"/>
            <p:cNvSpPr>
              <a:spLocks/>
            </p:cNvSpPr>
            <p:nvPr/>
          </p:nvSpPr>
          <p:spPr bwMode="auto">
            <a:xfrm>
              <a:off x="2942" y="2596"/>
              <a:ext cx="57" cy="66"/>
            </a:xfrm>
            <a:custGeom>
              <a:avLst/>
              <a:gdLst>
                <a:gd name="T0" fmla="*/ 0 w 57"/>
                <a:gd name="T1" fmla="*/ 54 h 66"/>
                <a:gd name="T2" fmla="*/ 0 w 57"/>
                <a:gd name="T3" fmla="*/ 54 h 66"/>
                <a:gd name="T4" fmla="*/ 7 w 57"/>
                <a:gd name="T5" fmla="*/ 60 h 66"/>
                <a:gd name="T6" fmla="*/ 2 w 57"/>
                <a:gd name="T7" fmla="*/ 65 h 66"/>
                <a:gd name="T8" fmla="*/ 52 w 57"/>
                <a:gd name="T9" fmla="*/ 55 h 66"/>
                <a:gd name="T10" fmla="*/ 56 w 57"/>
                <a:gd name="T11" fmla="*/ 21 h 66"/>
                <a:gd name="T12" fmla="*/ 49 w 57"/>
                <a:gd name="T13" fmla="*/ 13 h 66"/>
                <a:gd name="T14" fmla="*/ 34 w 57"/>
                <a:gd name="T15" fmla="*/ 17 h 66"/>
                <a:gd name="T16" fmla="*/ 29 w 57"/>
                <a:gd name="T17" fmla="*/ 12 h 66"/>
                <a:gd name="T18" fmla="*/ 36 w 57"/>
                <a:gd name="T19" fmla="*/ 4 h 66"/>
                <a:gd name="T20" fmla="*/ 29 w 57"/>
                <a:gd name="T21" fmla="*/ 0 h 66"/>
                <a:gd name="T22" fmla="*/ 23 w 57"/>
                <a:gd name="T23" fmla="*/ 17 h 66"/>
                <a:gd name="T24" fmla="*/ 2 w 57"/>
                <a:gd name="T25" fmla="*/ 21 h 66"/>
                <a:gd name="T26" fmla="*/ 9 w 57"/>
                <a:gd name="T27" fmla="*/ 25 h 66"/>
                <a:gd name="T28" fmla="*/ 5 w 57"/>
                <a:gd name="T29" fmla="*/ 34 h 66"/>
                <a:gd name="T30" fmla="*/ 18 w 57"/>
                <a:gd name="T31" fmla="*/ 36 h 66"/>
                <a:gd name="T32" fmla="*/ 6 w 57"/>
                <a:gd name="T33" fmla="*/ 49 h 66"/>
                <a:gd name="T34" fmla="*/ 20 w 57"/>
                <a:gd name="T35" fmla="*/ 46 h 66"/>
                <a:gd name="T36" fmla="*/ 0 w 57"/>
                <a:gd name="T37" fmla="*/ 54 h 66"/>
                <a:gd name="T38" fmla="*/ 0 w 57"/>
                <a:gd name="T39" fmla="*/ 54 h 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6"/>
                <a:gd name="T62" fmla="*/ 57 w 57"/>
                <a:gd name="T63" fmla="*/ 66 h 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6">
                  <a:moveTo>
                    <a:pt x="0" y="54"/>
                  </a:moveTo>
                  <a:lnTo>
                    <a:pt x="0" y="54"/>
                  </a:lnTo>
                  <a:lnTo>
                    <a:pt x="7" y="60"/>
                  </a:lnTo>
                  <a:lnTo>
                    <a:pt x="2" y="65"/>
                  </a:lnTo>
                  <a:lnTo>
                    <a:pt x="52" y="55"/>
                  </a:lnTo>
                  <a:lnTo>
                    <a:pt x="56" y="21"/>
                  </a:lnTo>
                  <a:lnTo>
                    <a:pt x="49" y="13"/>
                  </a:lnTo>
                  <a:lnTo>
                    <a:pt x="34" y="17"/>
                  </a:lnTo>
                  <a:lnTo>
                    <a:pt x="29" y="12"/>
                  </a:lnTo>
                  <a:lnTo>
                    <a:pt x="36" y="4"/>
                  </a:lnTo>
                  <a:lnTo>
                    <a:pt x="29" y="0"/>
                  </a:lnTo>
                  <a:lnTo>
                    <a:pt x="23" y="17"/>
                  </a:lnTo>
                  <a:lnTo>
                    <a:pt x="2" y="21"/>
                  </a:lnTo>
                  <a:lnTo>
                    <a:pt x="9" y="25"/>
                  </a:lnTo>
                  <a:lnTo>
                    <a:pt x="5" y="34"/>
                  </a:lnTo>
                  <a:lnTo>
                    <a:pt x="18" y="36"/>
                  </a:lnTo>
                  <a:lnTo>
                    <a:pt x="6" y="49"/>
                  </a:lnTo>
                  <a:lnTo>
                    <a:pt x="20" y="46"/>
                  </a:lnTo>
                  <a:lnTo>
                    <a:pt x="0" y="54"/>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698" name="Freeform 697"/>
            <p:cNvSpPr>
              <a:spLocks/>
            </p:cNvSpPr>
            <p:nvPr/>
          </p:nvSpPr>
          <p:spPr bwMode="auto">
            <a:xfrm>
              <a:off x="2971" y="2592"/>
              <a:ext cx="36" cy="26"/>
            </a:xfrm>
            <a:custGeom>
              <a:avLst/>
              <a:gdLst>
                <a:gd name="T0" fmla="*/ 0 w 36"/>
                <a:gd name="T1" fmla="*/ 16 h 26"/>
                <a:gd name="T2" fmla="*/ 0 w 36"/>
                <a:gd name="T3" fmla="*/ 16 h 26"/>
                <a:gd name="T4" fmla="*/ 5 w 36"/>
                <a:gd name="T5" fmla="*/ 21 h 26"/>
                <a:gd name="T6" fmla="*/ 20 w 36"/>
                <a:gd name="T7" fmla="*/ 17 h 26"/>
                <a:gd name="T8" fmla="*/ 27 w 36"/>
                <a:gd name="T9" fmla="*/ 25 h 26"/>
                <a:gd name="T10" fmla="*/ 35 w 36"/>
                <a:gd name="T11" fmla="*/ 16 h 26"/>
                <a:gd name="T12" fmla="*/ 27 w 36"/>
                <a:gd name="T13" fmla="*/ 4 h 26"/>
                <a:gd name="T14" fmla="*/ 11 w 36"/>
                <a:gd name="T15" fmla="*/ 0 h 26"/>
                <a:gd name="T16" fmla="*/ 7 w 36"/>
                <a:gd name="T17" fmla="*/ 8 h 26"/>
                <a:gd name="T18" fmla="*/ 0 w 36"/>
                <a:gd name="T19" fmla="*/ 16 h 26"/>
                <a:gd name="T20" fmla="*/ 0 w 36"/>
                <a:gd name="T21" fmla="*/ 16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
                <a:gd name="T34" fmla="*/ 0 h 26"/>
                <a:gd name="T35" fmla="*/ 36 w 36"/>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 h="26">
                  <a:moveTo>
                    <a:pt x="0" y="16"/>
                  </a:moveTo>
                  <a:lnTo>
                    <a:pt x="0" y="16"/>
                  </a:lnTo>
                  <a:lnTo>
                    <a:pt x="5" y="21"/>
                  </a:lnTo>
                  <a:lnTo>
                    <a:pt x="20" y="17"/>
                  </a:lnTo>
                  <a:lnTo>
                    <a:pt x="27" y="25"/>
                  </a:lnTo>
                  <a:lnTo>
                    <a:pt x="35" y="16"/>
                  </a:lnTo>
                  <a:lnTo>
                    <a:pt x="27" y="4"/>
                  </a:lnTo>
                  <a:lnTo>
                    <a:pt x="11" y="0"/>
                  </a:lnTo>
                  <a:lnTo>
                    <a:pt x="7" y="8"/>
                  </a:lnTo>
                  <a:lnTo>
                    <a:pt x="0" y="16"/>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699" name="Freeform 698"/>
            <p:cNvSpPr>
              <a:spLocks/>
            </p:cNvSpPr>
            <p:nvPr/>
          </p:nvSpPr>
          <p:spPr bwMode="auto">
            <a:xfrm>
              <a:off x="2987" y="2535"/>
              <a:ext cx="10" cy="13"/>
            </a:xfrm>
            <a:custGeom>
              <a:avLst/>
              <a:gdLst>
                <a:gd name="T0" fmla="*/ 0 w 10"/>
                <a:gd name="T1" fmla="*/ 12 h 13"/>
                <a:gd name="T2" fmla="*/ 0 w 10"/>
                <a:gd name="T3" fmla="*/ 12 h 13"/>
                <a:gd name="T4" fmla="*/ 0 w 10"/>
                <a:gd name="T5" fmla="*/ 3 h 13"/>
                <a:gd name="T6" fmla="*/ 9 w 10"/>
                <a:gd name="T7" fmla="*/ 0 h 13"/>
                <a:gd name="T8" fmla="*/ 0 w 10"/>
                <a:gd name="T9" fmla="*/ 12 h 13"/>
                <a:gd name="T10" fmla="*/ 0 w 10"/>
                <a:gd name="T11" fmla="*/ 12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0" y="12"/>
                  </a:moveTo>
                  <a:lnTo>
                    <a:pt x="0" y="12"/>
                  </a:lnTo>
                  <a:lnTo>
                    <a:pt x="0" y="3"/>
                  </a:lnTo>
                  <a:lnTo>
                    <a:pt x="9" y="0"/>
                  </a:lnTo>
                  <a:lnTo>
                    <a:pt x="0" y="12"/>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00" name="Freeform 699"/>
            <p:cNvSpPr>
              <a:spLocks/>
            </p:cNvSpPr>
            <p:nvPr/>
          </p:nvSpPr>
          <p:spPr bwMode="auto">
            <a:xfrm>
              <a:off x="2991" y="2547"/>
              <a:ext cx="9" cy="8"/>
            </a:xfrm>
            <a:custGeom>
              <a:avLst/>
              <a:gdLst>
                <a:gd name="T0" fmla="*/ 0 w 9"/>
                <a:gd name="T1" fmla="*/ 6 h 8"/>
                <a:gd name="T2" fmla="*/ 0 w 9"/>
                <a:gd name="T3" fmla="*/ 6 h 8"/>
                <a:gd name="T4" fmla="*/ 4 w 9"/>
                <a:gd name="T5" fmla="*/ 0 h 8"/>
                <a:gd name="T6" fmla="*/ 8 w 9"/>
                <a:gd name="T7" fmla="*/ 7 h 8"/>
                <a:gd name="T8" fmla="*/ 0 w 9"/>
                <a:gd name="T9" fmla="*/ 6 h 8"/>
                <a:gd name="T10" fmla="*/ 0 w 9"/>
                <a:gd name="T11" fmla="*/ 6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0" y="6"/>
                  </a:moveTo>
                  <a:lnTo>
                    <a:pt x="0" y="6"/>
                  </a:lnTo>
                  <a:lnTo>
                    <a:pt x="4" y="0"/>
                  </a:lnTo>
                  <a:lnTo>
                    <a:pt x="8" y="7"/>
                  </a:lnTo>
                  <a:lnTo>
                    <a:pt x="0" y="6"/>
                  </a:lnTo>
                </a:path>
              </a:pathLst>
            </a:custGeom>
            <a:grpFill/>
            <a:ln w="12700">
              <a:solidFill>
                <a:schemeClr val="bg1"/>
              </a:solidFill>
              <a:round/>
              <a:headEnd/>
              <a:tailEnd/>
            </a:ln>
          </p:spPr>
          <p:txBody>
            <a:bodyPr lIns="0" tIns="0" rIns="0" bIns="0" anchor="ctr">
              <a:spAutoFit/>
            </a:bodyPr>
            <a:lstStyle/>
            <a:p>
              <a:pPr>
                <a:defRPr/>
              </a:pPr>
              <a:endParaRPr lang="en-GB"/>
            </a:p>
          </p:txBody>
        </p:sp>
        <p:sp>
          <p:nvSpPr>
            <p:cNvPr id="701" name="Freeform 700"/>
            <p:cNvSpPr>
              <a:spLocks/>
            </p:cNvSpPr>
            <p:nvPr/>
          </p:nvSpPr>
          <p:spPr bwMode="auto">
            <a:xfrm>
              <a:off x="2999" y="2530"/>
              <a:ext cx="106" cy="161"/>
            </a:xfrm>
            <a:custGeom>
              <a:avLst/>
              <a:gdLst>
                <a:gd name="T0" fmla="*/ 0 w 106"/>
                <a:gd name="T1" fmla="*/ 37 h 161"/>
                <a:gd name="T2" fmla="*/ 0 w 106"/>
                <a:gd name="T3" fmla="*/ 37 h 161"/>
                <a:gd name="T4" fmla="*/ 4 w 106"/>
                <a:gd name="T5" fmla="*/ 16 h 161"/>
                <a:gd name="T6" fmla="*/ 16 w 106"/>
                <a:gd name="T7" fmla="*/ 0 h 161"/>
                <a:gd name="T8" fmla="*/ 40 w 106"/>
                <a:gd name="T9" fmla="*/ 0 h 161"/>
                <a:gd name="T10" fmla="*/ 26 w 106"/>
                <a:gd name="T11" fmla="*/ 19 h 161"/>
                <a:gd name="T12" fmla="*/ 58 w 106"/>
                <a:gd name="T13" fmla="*/ 23 h 161"/>
                <a:gd name="T14" fmla="*/ 38 w 106"/>
                <a:gd name="T15" fmla="*/ 49 h 161"/>
                <a:gd name="T16" fmla="*/ 62 w 106"/>
                <a:gd name="T17" fmla="*/ 58 h 161"/>
                <a:gd name="T18" fmla="*/ 85 w 106"/>
                <a:gd name="T19" fmla="*/ 91 h 161"/>
                <a:gd name="T20" fmla="*/ 78 w 106"/>
                <a:gd name="T21" fmla="*/ 93 h 161"/>
                <a:gd name="T22" fmla="*/ 88 w 106"/>
                <a:gd name="T23" fmla="*/ 101 h 161"/>
                <a:gd name="T24" fmla="*/ 82 w 106"/>
                <a:gd name="T25" fmla="*/ 110 h 161"/>
                <a:gd name="T26" fmla="*/ 105 w 106"/>
                <a:gd name="T27" fmla="*/ 111 h 161"/>
                <a:gd name="T28" fmla="*/ 91 w 106"/>
                <a:gd name="T29" fmla="*/ 133 h 161"/>
                <a:gd name="T30" fmla="*/ 101 w 106"/>
                <a:gd name="T31" fmla="*/ 139 h 161"/>
                <a:gd name="T32" fmla="*/ 6 w 106"/>
                <a:gd name="T33" fmla="*/ 160 h 161"/>
                <a:gd name="T34" fmla="*/ 48 w 106"/>
                <a:gd name="T35" fmla="*/ 130 h 161"/>
                <a:gd name="T36" fmla="*/ 36 w 106"/>
                <a:gd name="T37" fmla="*/ 135 h 161"/>
                <a:gd name="T38" fmla="*/ 12 w 106"/>
                <a:gd name="T39" fmla="*/ 126 h 161"/>
                <a:gd name="T40" fmla="*/ 30 w 106"/>
                <a:gd name="T41" fmla="*/ 115 h 161"/>
                <a:gd name="T42" fmla="*/ 19 w 106"/>
                <a:gd name="T43" fmla="*/ 110 h 161"/>
                <a:gd name="T44" fmla="*/ 43 w 106"/>
                <a:gd name="T45" fmla="*/ 98 h 161"/>
                <a:gd name="T46" fmla="*/ 45 w 106"/>
                <a:gd name="T47" fmla="*/ 83 h 161"/>
                <a:gd name="T48" fmla="*/ 33 w 106"/>
                <a:gd name="T49" fmla="*/ 79 h 161"/>
                <a:gd name="T50" fmla="*/ 40 w 106"/>
                <a:gd name="T51" fmla="*/ 70 h 161"/>
                <a:gd name="T52" fmla="*/ 15 w 106"/>
                <a:gd name="T53" fmla="*/ 74 h 161"/>
                <a:gd name="T54" fmla="*/ 16 w 106"/>
                <a:gd name="T55" fmla="*/ 51 h 161"/>
                <a:gd name="T56" fmla="*/ 4 w 106"/>
                <a:gd name="T57" fmla="*/ 62 h 161"/>
                <a:gd name="T58" fmla="*/ 11 w 106"/>
                <a:gd name="T59" fmla="*/ 38 h 161"/>
                <a:gd name="T60" fmla="*/ 0 w 106"/>
                <a:gd name="T61" fmla="*/ 37 h 161"/>
                <a:gd name="T62" fmla="*/ 0 w 106"/>
                <a:gd name="T63" fmla="*/ 37 h 1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6"/>
                <a:gd name="T97" fmla="*/ 0 h 161"/>
                <a:gd name="T98" fmla="*/ 106 w 106"/>
                <a:gd name="T99" fmla="*/ 161 h 1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6" h="161">
                  <a:moveTo>
                    <a:pt x="0" y="37"/>
                  </a:moveTo>
                  <a:lnTo>
                    <a:pt x="0" y="37"/>
                  </a:lnTo>
                  <a:lnTo>
                    <a:pt x="4" y="16"/>
                  </a:lnTo>
                  <a:lnTo>
                    <a:pt x="16" y="0"/>
                  </a:lnTo>
                  <a:lnTo>
                    <a:pt x="40" y="0"/>
                  </a:lnTo>
                  <a:lnTo>
                    <a:pt x="26" y="19"/>
                  </a:lnTo>
                  <a:lnTo>
                    <a:pt x="58" y="23"/>
                  </a:lnTo>
                  <a:lnTo>
                    <a:pt x="38" y="49"/>
                  </a:lnTo>
                  <a:lnTo>
                    <a:pt x="62" y="58"/>
                  </a:lnTo>
                  <a:lnTo>
                    <a:pt x="85" y="91"/>
                  </a:lnTo>
                  <a:lnTo>
                    <a:pt x="78" y="93"/>
                  </a:lnTo>
                  <a:lnTo>
                    <a:pt x="88" y="101"/>
                  </a:lnTo>
                  <a:lnTo>
                    <a:pt x="82" y="110"/>
                  </a:lnTo>
                  <a:lnTo>
                    <a:pt x="105" y="111"/>
                  </a:lnTo>
                  <a:lnTo>
                    <a:pt x="91" y="133"/>
                  </a:lnTo>
                  <a:lnTo>
                    <a:pt x="101" y="139"/>
                  </a:lnTo>
                  <a:lnTo>
                    <a:pt x="6" y="160"/>
                  </a:lnTo>
                  <a:lnTo>
                    <a:pt x="48" y="130"/>
                  </a:lnTo>
                  <a:lnTo>
                    <a:pt x="36" y="135"/>
                  </a:lnTo>
                  <a:lnTo>
                    <a:pt x="12" y="126"/>
                  </a:lnTo>
                  <a:lnTo>
                    <a:pt x="30" y="115"/>
                  </a:lnTo>
                  <a:lnTo>
                    <a:pt x="19" y="110"/>
                  </a:lnTo>
                  <a:lnTo>
                    <a:pt x="43" y="98"/>
                  </a:lnTo>
                  <a:lnTo>
                    <a:pt x="45" y="83"/>
                  </a:lnTo>
                  <a:lnTo>
                    <a:pt x="33" y="79"/>
                  </a:lnTo>
                  <a:lnTo>
                    <a:pt x="40" y="70"/>
                  </a:lnTo>
                  <a:lnTo>
                    <a:pt x="15" y="74"/>
                  </a:lnTo>
                  <a:lnTo>
                    <a:pt x="16" y="51"/>
                  </a:lnTo>
                  <a:lnTo>
                    <a:pt x="4" y="62"/>
                  </a:lnTo>
                  <a:lnTo>
                    <a:pt x="11" y="38"/>
                  </a:lnTo>
                  <a:lnTo>
                    <a:pt x="0" y="37"/>
                  </a:lnTo>
                </a:path>
              </a:pathLst>
            </a:custGeom>
            <a:grpFill/>
            <a:ln w="12700">
              <a:solidFill>
                <a:schemeClr val="bg1"/>
              </a:solidFill>
              <a:round/>
              <a:headEnd/>
              <a:tailEnd/>
            </a:ln>
          </p:spPr>
          <p:txBody>
            <a:bodyPr lIns="0" tIns="0" rIns="0" bIns="0" anchor="ctr">
              <a:spAutoFit/>
            </a:bodyPr>
            <a:lstStyle/>
            <a:p>
              <a:pPr>
                <a:defRPr/>
              </a:pPr>
              <a:endParaRPr lang="en-GB"/>
            </a:p>
          </p:txBody>
        </p:sp>
      </p:grpSp>
      <p:sp>
        <p:nvSpPr>
          <p:cNvPr id="620" name="Freeform 619"/>
          <p:cNvSpPr>
            <a:spLocks/>
          </p:cNvSpPr>
          <p:nvPr/>
        </p:nvSpPr>
        <p:spPr bwMode="auto">
          <a:xfrm>
            <a:off x="4859191" y="2778789"/>
            <a:ext cx="186467" cy="146577"/>
          </a:xfrm>
          <a:custGeom>
            <a:avLst/>
            <a:gdLst>
              <a:gd name="T0" fmla="*/ 54908105 w 109"/>
              <a:gd name="T1" fmla="*/ 8289855 h 90"/>
              <a:gd name="T2" fmla="*/ 64320812 w 109"/>
              <a:gd name="T3" fmla="*/ 4974170 h 90"/>
              <a:gd name="T4" fmla="*/ 76872341 w 109"/>
              <a:gd name="T5" fmla="*/ 0 h 90"/>
              <a:gd name="T6" fmla="*/ 105110482 w 109"/>
              <a:gd name="T7" fmla="*/ 21553883 h 90"/>
              <a:gd name="T8" fmla="*/ 130211035 w 109"/>
              <a:gd name="T9" fmla="*/ 24870854 h 90"/>
              <a:gd name="T10" fmla="*/ 141193153 w 109"/>
              <a:gd name="T11" fmla="*/ 41450558 h 90"/>
              <a:gd name="T12" fmla="*/ 150605860 w 109"/>
              <a:gd name="T13" fmla="*/ 64662927 h 90"/>
              <a:gd name="T14" fmla="*/ 153743429 w 109"/>
              <a:gd name="T15" fmla="*/ 72952779 h 90"/>
              <a:gd name="T16" fmla="*/ 163156136 w 109"/>
              <a:gd name="T17" fmla="*/ 81243919 h 90"/>
              <a:gd name="T18" fmla="*/ 169431313 w 109"/>
              <a:gd name="T19" fmla="*/ 87875306 h 90"/>
              <a:gd name="T20" fmla="*/ 169431313 w 109"/>
              <a:gd name="T21" fmla="*/ 96165158 h 90"/>
              <a:gd name="T22" fmla="*/ 158450409 w 109"/>
              <a:gd name="T23" fmla="*/ 96165158 h 90"/>
              <a:gd name="T24" fmla="*/ 142762563 w 109"/>
              <a:gd name="T25" fmla="*/ 96165158 h 90"/>
              <a:gd name="T26" fmla="*/ 150605860 w 109"/>
              <a:gd name="T27" fmla="*/ 104456297 h 90"/>
              <a:gd name="T28" fmla="*/ 155312840 w 109"/>
              <a:gd name="T29" fmla="*/ 111087664 h 90"/>
              <a:gd name="T30" fmla="*/ 158450409 w 109"/>
              <a:gd name="T31" fmla="*/ 122694487 h 90"/>
              <a:gd name="T32" fmla="*/ 150605860 w 109"/>
              <a:gd name="T33" fmla="*/ 127668656 h 90"/>
              <a:gd name="T34" fmla="*/ 138055584 w 109"/>
              <a:gd name="T35" fmla="*/ 127668656 h 90"/>
              <a:gd name="T36" fmla="*/ 134918014 w 109"/>
              <a:gd name="T37" fmla="*/ 127668656 h 90"/>
              <a:gd name="T38" fmla="*/ 130211035 w 109"/>
              <a:gd name="T39" fmla="*/ 134300023 h 90"/>
              <a:gd name="T40" fmla="*/ 130211035 w 109"/>
              <a:gd name="T41" fmla="*/ 144248360 h 90"/>
              <a:gd name="T42" fmla="*/ 120798327 w 109"/>
              <a:gd name="T43" fmla="*/ 147564044 h 90"/>
              <a:gd name="T44" fmla="*/ 111385620 w 109"/>
              <a:gd name="T45" fmla="*/ 142589875 h 90"/>
              <a:gd name="T46" fmla="*/ 98835344 w 109"/>
              <a:gd name="T47" fmla="*/ 139274191 h 90"/>
              <a:gd name="T48" fmla="*/ 86285068 w 109"/>
              <a:gd name="T49" fmla="*/ 134300023 h 90"/>
              <a:gd name="T50" fmla="*/ 75302930 w 109"/>
              <a:gd name="T51" fmla="*/ 135958508 h 90"/>
              <a:gd name="T52" fmla="*/ 39220249 w 109"/>
              <a:gd name="T53" fmla="*/ 122694487 h 90"/>
              <a:gd name="T54" fmla="*/ 25100562 w 109"/>
              <a:gd name="T55" fmla="*/ 126010170 h 90"/>
              <a:gd name="T56" fmla="*/ 14119692 w 109"/>
              <a:gd name="T57" fmla="*/ 122694487 h 90"/>
              <a:gd name="T58" fmla="*/ 7844551 w 109"/>
              <a:gd name="T59" fmla="*/ 134300023 h 90"/>
              <a:gd name="T60" fmla="*/ 0 w 109"/>
              <a:gd name="T61" fmla="*/ 109430466 h 90"/>
              <a:gd name="T62" fmla="*/ 9412710 w 109"/>
              <a:gd name="T63" fmla="*/ 96165158 h 90"/>
              <a:gd name="T64" fmla="*/ 7844551 w 109"/>
              <a:gd name="T65" fmla="*/ 66321412 h 90"/>
              <a:gd name="T66" fmla="*/ 23532404 w 109"/>
              <a:gd name="T67" fmla="*/ 24870854 h 90"/>
              <a:gd name="T68" fmla="*/ 37652091 w 109"/>
              <a:gd name="T69" fmla="*/ 19896680 h 90"/>
              <a:gd name="T70" fmla="*/ 45495397 w 109"/>
              <a:gd name="T71" fmla="*/ 8289855 h 90"/>
              <a:gd name="T72" fmla="*/ 54908105 w 109"/>
              <a:gd name="T73" fmla="*/ 8289855 h 90"/>
              <a:gd name="T74" fmla="*/ 54908105 w 109"/>
              <a:gd name="T75" fmla="*/ 8289855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9"/>
              <a:gd name="T115" fmla="*/ 0 h 90"/>
              <a:gd name="T116" fmla="*/ 109 w 109"/>
              <a:gd name="T117" fmla="*/ 90 h 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9" h="90">
                <a:moveTo>
                  <a:pt x="35" y="5"/>
                </a:moveTo>
                <a:lnTo>
                  <a:pt x="41" y="3"/>
                </a:lnTo>
                <a:lnTo>
                  <a:pt x="49" y="0"/>
                </a:lnTo>
                <a:lnTo>
                  <a:pt x="67" y="13"/>
                </a:lnTo>
                <a:lnTo>
                  <a:pt x="83" y="15"/>
                </a:lnTo>
                <a:lnTo>
                  <a:pt x="90" y="25"/>
                </a:lnTo>
                <a:lnTo>
                  <a:pt x="96" y="39"/>
                </a:lnTo>
                <a:lnTo>
                  <a:pt x="98" y="44"/>
                </a:lnTo>
                <a:lnTo>
                  <a:pt x="104" y="49"/>
                </a:lnTo>
                <a:lnTo>
                  <a:pt x="108" y="53"/>
                </a:lnTo>
                <a:lnTo>
                  <a:pt x="108" y="58"/>
                </a:lnTo>
                <a:lnTo>
                  <a:pt x="101" y="58"/>
                </a:lnTo>
                <a:lnTo>
                  <a:pt x="91" y="58"/>
                </a:lnTo>
                <a:lnTo>
                  <a:pt x="96" y="63"/>
                </a:lnTo>
                <a:lnTo>
                  <a:pt x="99" y="67"/>
                </a:lnTo>
                <a:lnTo>
                  <a:pt x="101" y="74"/>
                </a:lnTo>
                <a:lnTo>
                  <a:pt x="96" y="77"/>
                </a:lnTo>
                <a:lnTo>
                  <a:pt x="88" y="77"/>
                </a:lnTo>
                <a:lnTo>
                  <a:pt x="86" y="77"/>
                </a:lnTo>
                <a:lnTo>
                  <a:pt x="83" y="81"/>
                </a:lnTo>
                <a:lnTo>
                  <a:pt x="83" y="87"/>
                </a:lnTo>
                <a:lnTo>
                  <a:pt x="77" y="89"/>
                </a:lnTo>
                <a:lnTo>
                  <a:pt x="71" y="86"/>
                </a:lnTo>
                <a:lnTo>
                  <a:pt x="63" y="84"/>
                </a:lnTo>
                <a:lnTo>
                  <a:pt x="55" y="81"/>
                </a:lnTo>
                <a:lnTo>
                  <a:pt x="48" y="82"/>
                </a:lnTo>
                <a:lnTo>
                  <a:pt x="25" y="74"/>
                </a:lnTo>
                <a:lnTo>
                  <a:pt x="16" y="76"/>
                </a:lnTo>
                <a:lnTo>
                  <a:pt x="9" y="74"/>
                </a:lnTo>
                <a:lnTo>
                  <a:pt x="5" y="81"/>
                </a:lnTo>
                <a:lnTo>
                  <a:pt x="0" y="66"/>
                </a:lnTo>
                <a:lnTo>
                  <a:pt x="6" y="58"/>
                </a:lnTo>
                <a:lnTo>
                  <a:pt x="5" y="40"/>
                </a:lnTo>
                <a:lnTo>
                  <a:pt x="15" y="15"/>
                </a:lnTo>
                <a:lnTo>
                  <a:pt x="24" y="12"/>
                </a:lnTo>
                <a:lnTo>
                  <a:pt x="29" y="5"/>
                </a:lnTo>
                <a:lnTo>
                  <a:pt x="35" y="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21" name="Freeform 620"/>
          <p:cNvSpPr>
            <a:spLocks/>
          </p:cNvSpPr>
          <p:nvPr/>
        </p:nvSpPr>
        <p:spPr bwMode="auto">
          <a:xfrm>
            <a:off x="4833174" y="2883199"/>
            <a:ext cx="409795" cy="230909"/>
          </a:xfrm>
          <a:custGeom>
            <a:avLst/>
            <a:gdLst>
              <a:gd name="T0" fmla="*/ 190643677 w 241"/>
              <a:gd name="T1" fmla="*/ 8625115 h 139"/>
              <a:gd name="T2" fmla="*/ 207693550 w 241"/>
              <a:gd name="T3" fmla="*/ 0 h 139"/>
              <a:gd name="T4" fmla="*/ 230943376 w 241"/>
              <a:gd name="T5" fmla="*/ 15525734 h 139"/>
              <a:gd name="T6" fmla="*/ 240243307 w 241"/>
              <a:gd name="T7" fmla="*/ 34500462 h 139"/>
              <a:gd name="T8" fmla="*/ 266591866 w 241"/>
              <a:gd name="T9" fmla="*/ 51750698 h 139"/>
              <a:gd name="T10" fmla="*/ 302240355 w 241"/>
              <a:gd name="T11" fmla="*/ 77626037 h 139"/>
              <a:gd name="T12" fmla="*/ 325490182 w 241"/>
              <a:gd name="T13" fmla="*/ 77626037 h 139"/>
              <a:gd name="T14" fmla="*/ 361138749 w 241"/>
              <a:gd name="T15" fmla="*/ 87976981 h 139"/>
              <a:gd name="T16" fmla="*/ 351838818 w 241"/>
              <a:gd name="T17" fmla="*/ 129376735 h 139"/>
              <a:gd name="T18" fmla="*/ 320840216 w 241"/>
              <a:gd name="T19" fmla="*/ 165602997 h 139"/>
              <a:gd name="T20" fmla="*/ 272791819 w 241"/>
              <a:gd name="T21" fmla="*/ 194928685 h 139"/>
              <a:gd name="T22" fmla="*/ 274341808 w 241"/>
              <a:gd name="T23" fmla="*/ 210453100 h 139"/>
              <a:gd name="T24" fmla="*/ 251091981 w 241"/>
              <a:gd name="T25" fmla="*/ 238054249 h 139"/>
              <a:gd name="T26" fmla="*/ 246442016 w 241"/>
              <a:gd name="T27" fmla="*/ 191478377 h 139"/>
              <a:gd name="T28" fmla="*/ 206143561 w 241"/>
              <a:gd name="T29" fmla="*/ 186302258 h 139"/>
              <a:gd name="T30" fmla="*/ 206143561 w 241"/>
              <a:gd name="T31" fmla="*/ 170777802 h 139"/>
              <a:gd name="T32" fmla="*/ 158095125 w 241"/>
              <a:gd name="T33" fmla="*/ 210453100 h 139"/>
              <a:gd name="T34" fmla="*/ 141045253 w 241"/>
              <a:gd name="T35" fmla="*/ 188028069 h 139"/>
              <a:gd name="T36" fmla="*/ 154995149 w 241"/>
              <a:gd name="T37" fmla="*/ 174228151 h 139"/>
              <a:gd name="T38" fmla="*/ 164295118 w 241"/>
              <a:gd name="T39" fmla="*/ 160426878 h 139"/>
              <a:gd name="T40" fmla="*/ 145695218 w 241"/>
              <a:gd name="T41" fmla="*/ 136277350 h 139"/>
              <a:gd name="T42" fmla="*/ 113146705 w 241"/>
              <a:gd name="T43" fmla="*/ 122477432 h 139"/>
              <a:gd name="T44" fmla="*/ 55798359 w 241"/>
              <a:gd name="T45" fmla="*/ 129376735 h 139"/>
              <a:gd name="T46" fmla="*/ 13949901 w 241"/>
              <a:gd name="T47" fmla="*/ 132827043 h 139"/>
              <a:gd name="T48" fmla="*/ 9299933 w 241"/>
              <a:gd name="T49" fmla="*/ 98326591 h 139"/>
              <a:gd name="T50" fmla="*/ 40298464 w 241"/>
              <a:gd name="T51" fmla="*/ 53475195 h 139"/>
              <a:gd name="T52" fmla="*/ 32548522 w 241"/>
              <a:gd name="T53" fmla="*/ 20700539 h 139"/>
              <a:gd name="T54" fmla="*/ 49598405 w 241"/>
              <a:gd name="T55" fmla="*/ 18974728 h 139"/>
              <a:gd name="T56" fmla="*/ 80596929 w 241"/>
              <a:gd name="T57" fmla="*/ 22425041 h 139"/>
              <a:gd name="T58" fmla="*/ 110046729 w 241"/>
              <a:gd name="T59" fmla="*/ 25875349 h 139"/>
              <a:gd name="T60" fmla="*/ 134845299 w 241"/>
              <a:gd name="T61" fmla="*/ 36224959 h 139"/>
              <a:gd name="T62" fmla="*/ 153445160 w 241"/>
              <a:gd name="T63" fmla="*/ 37950770 h 139"/>
              <a:gd name="T64" fmla="*/ 158095125 w 241"/>
              <a:gd name="T65" fmla="*/ 20700539 h 139"/>
              <a:gd name="T66" fmla="*/ 178245014 w 241"/>
              <a:gd name="T67" fmla="*/ 18974728 h 139"/>
              <a:gd name="T68" fmla="*/ 184444968 w 241"/>
              <a:gd name="T69" fmla="*/ 12075426 h 1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1"/>
              <a:gd name="T106" fmla="*/ 0 h 139"/>
              <a:gd name="T107" fmla="*/ 241 w 241"/>
              <a:gd name="T108" fmla="*/ 139 h 1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1" h="139">
                <a:moveTo>
                  <a:pt x="119" y="7"/>
                </a:moveTo>
                <a:lnTo>
                  <a:pt x="123" y="5"/>
                </a:lnTo>
                <a:lnTo>
                  <a:pt x="129" y="2"/>
                </a:lnTo>
                <a:lnTo>
                  <a:pt x="134" y="0"/>
                </a:lnTo>
                <a:lnTo>
                  <a:pt x="145" y="2"/>
                </a:lnTo>
                <a:lnTo>
                  <a:pt x="149" y="9"/>
                </a:lnTo>
                <a:lnTo>
                  <a:pt x="151" y="17"/>
                </a:lnTo>
                <a:lnTo>
                  <a:pt x="155" y="20"/>
                </a:lnTo>
                <a:lnTo>
                  <a:pt x="160" y="18"/>
                </a:lnTo>
                <a:lnTo>
                  <a:pt x="172" y="30"/>
                </a:lnTo>
                <a:lnTo>
                  <a:pt x="178" y="39"/>
                </a:lnTo>
                <a:lnTo>
                  <a:pt x="195" y="45"/>
                </a:lnTo>
                <a:lnTo>
                  <a:pt x="205" y="47"/>
                </a:lnTo>
                <a:lnTo>
                  <a:pt x="210" y="45"/>
                </a:lnTo>
                <a:lnTo>
                  <a:pt x="221" y="49"/>
                </a:lnTo>
                <a:lnTo>
                  <a:pt x="233" y="51"/>
                </a:lnTo>
                <a:lnTo>
                  <a:pt x="240" y="72"/>
                </a:lnTo>
                <a:lnTo>
                  <a:pt x="227" y="75"/>
                </a:lnTo>
                <a:lnTo>
                  <a:pt x="225" y="85"/>
                </a:lnTo>
                <a:lnTo>
                  <a:pt x="207" y="96"/>
                </a:lnTo>
                <a:lnTo>
                  <a:pt x="179" y="103"/>
                </a:lnTo>
                <a:lnTo>
                  <a:pt x="176" y="113"/>
                </a:lnTo>
                <a:lnTo>
                  <a:pt x="164" y="109"/>
                </a:lnTo>
                <a:lnTo>
                  <a:pt x="177" y="122"/>
                </a:lnTo>
                <a:lnTo>
                  <a:pt x="193" y="124"/>
                </a:lnTo>
                <a:lnTo>
                  <a:pt x="162" y="138"/>
                </a:lnTo>
                <a:lnTo>
                  <a:pt x="143" y="122"/>
                </a:lnTo>
                <a:lnTo>
                  <a:pt x="159" y="111"/>
                </a:lnTo>
                <a:lnTo>
                  <a:pt x="143" y="108"/>
                </a:lnTo>
                <a:lnTo>
                  <a:pt x="133" y="108"/>
                </a:lnTo>
                <a:lnTo>
                  <a:pt x="136" y="98"/>
                </a:lnTo>
                <a:lnTo>
                  <a:pt x="133" y="99"/>
                </a:lnTo>
                <a:lnTo>
                  <a:pt x="110" y="104"/>
                </a:lnTo>
                <a:lnTo>
                  <a:pt x="102" y="122"/>
                </a:lnTo>
                <a:lnTo>
                  <a:pt x="87" y="121"/>
                </a:lnTo>
                <a:lnTo>
                  <a:pt x="91" y="109"/>
                </a:lnTo>
                <a:lnTo>
                  <a:pt x="92" y="103"/>
                </a:lnTo>
                <a:lnTo>
                  <a:pt x="100" y="101"/>
                </a:lnTo>
                <a:lnTo>
                  <a:pt x="105" y="97"/>
                </a:lnTo>
                <a:lnTo>
                  <a:pt x="106" y="93"/>
                </a:lnTo>
                <a:lnTo>
                  <a:pt x="100" y="92"/>
                </a:lnTo>
                <a:lnTo>
                  <a:pt x="94" y="79"/>
                </a:lnTo>
                <a:lnTo>
                  <a:pt x="85" y="71"/>
                </a:lnTo>
                <a:lnTo>
                  <a:pt x="73" y="71"/>
                </a:lnTo>
                <a:lnTo>
                  <a:pt x="58" y="74"/>
                </a:lnTo>
                <a:lnTo>
                  <a:pt x="36" y="75"/>
                </a:lnTo>
                <a:lnTo>
                  <a:pt x="25" y="77"/>
                </a:lnTo>
                <a:lnTo>
                  <a:pt x="9" y="77"/>
                </a:lnTo>
                <a:lnTo>
                  <a:pt x="0" y="70"/>
                </a:lnTo>
                <a:lnTo>
                  <a:pt x="6" y="57"/>
                </a:lnTo>
                <a:lnTo>
                  <a:pt x="15" y="44"/>
                </a:lnTo>
                <a:lnTo>
                  <a:pt x="26" y="31"/>
                </a:lnTo>
                <a:lnTo>
                  <a:pt x="21" y="15"/>
                </a:lnTo>
                <a:lnTo>
                  <a:pt x="21" y="12"/>
                </a:lnTo>
                <a:lnTo>
                  <a:pt x="25" y="9"/>
                </a:lnTo>
                <a:lnTo>
                  <a:pt x="32" y="11"/>
                </a:lnTo>
                <a:lnTo>
                  <a:pt x="41" y="9"/>
                </a:lnTo>
                <a:lnTo>
                  <a:pt x="52" y="13"/>
                </a:lnTo>
                <a:lnTo>
                  <a:pt x="63" y="17"/>
                </a:lnTo>
                <a:lnTo>
                  <a:pt x="71" y="15"/>
                </a:lnTo>
                <a:lnTo>
                  <a:pt x="79" y="19"/>
                </a:lnTo>
                <a:lnTo>
                  <a:pt x="87" y="21"/>
                </a:lnTo>
                <a:lnTo>
                  <a:pt x="93" y="24"/>
                </a:lnTo>
                <a:lnTo>
                  <a:pt x="99" y="22"/>
                </a:lnTo>
                <a:lnTo>
                  <a:pt x="99" y="16"/>
                </a:lnTo>
                <a:lnTo>
                  <a:pt x="102" y="12"/>
                </a:lnTo>
                <a:lnTo>
                  <a:pt x="112" y="12"/>
                </a:lnTo>
                <a:lnTo>
                  <a:pt x="115" y="11"/>
                </a:lnTo>
                <a:lnTo>
                  <a:pt x="119" y="7"/>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22" name="Freeform 621"/>
          <p:cNvSpPr>
            <a:spLocks/>
          </p:cNvSpPr>
          <p:nvPr/>
        </p:nvSpPr>
        <p:spPr bwMode="auto">
          <a:xfrm>
            <a:off x="4937248" y="3001665"/>
            <a:ext cx="75889" cy="82323"/>
          </a:xfrm>
          <a:custGeom>
            <a:avLst/>
            <a:gdLst>
              <a:gd name="T0" fmla="*/ 15245252 w 45"/>
              <a:gd name="T1" fmla="*/ 21173698 h 51"/>
              <a:gd name="T2" fmla="*/ 22868498 w 45"/>
              <a:gd name="T3" fmla="*/ 34203856 h 51"/>
              <a:gd name="T4" fmla="*/ 27441949 w 45"/>
              <a:gd name="T5" fmla="*/ 42347396 h 51"/>
              <a:gd name="T6" fmla="*/ 32015399 w 45"/>
              <a:gd name="T7" fmla="*/ 79808144 h 51"/>
              <a:gd name="T8" fmla="*/ 38113745 w 45"/>
              <a:gd name="T9" fmla="*/ 81436595 h 51"/>
              <a:gd name="T10" fmla="*/ 44212101 w 45"/>
              <a:gd name="T11" fmla="*/ 61891357 h 51"/>
              <a:gd name="T12" fmla="*/ 45736996 w 45"/>
              <a:gd name="T13" fmla="*/ 52119377 h 51"/>
              <a:gd name="T14" fmla="*/ 64032034 w 45"/>
              <a:gd name="T15" fmla="*/ 45604298 h 51"/>
              <a:gd name="T16" fmla="*/ 67080589 w 45"/>
              <a:gd name="T17" fmla="*/ 37460758 h 51"/>
              <a:gd name="T18" fmla="*/ 59458583 w 45"/>
              <a:gd name="T19" fmla="*/ 34203856 h 51"/>
              <a:gd name="T20" fmla="*/ 50310447 w 45"/>
              <a:gd name="T21" fmla="*/ 13030163 h 51"/>
              <a:gd name="T22" fmla="*/ 35065190 w 45"/>
              <a:gd name="T23" fmla="*/ 0 h 51"/>
              <a:gd name="T24" fmla="*/ 16770147 w 45"/>
              <a:gd name="T25" fmla="*/ 0 h 51"/>
              <a:gd name="T26" fmla="*/ 0 w 45"/>
              <a:gd name="T27" fmla="*/ 1628451 h 51"/>
              <a:gd name="T28" fmla="*/ 15245252 w 45"/>
              <a:gd name="T29" fmla="*/ 21173698 h 51"/>
              <a:gd name="T30" fmla="*/ 15245252 w 45"/>
              <a:gd name="T31" fmla="*/ 21173698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51"/>
              <a:gd name="T50" fmla="*/ 45 w 45"/>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51">
                <a:moveTo>
                  <a:pt x="10" y="13"/>
                </a:moveTo>
                <a:lnTo>
                  <a:pt x="15" y="21"/>
                </a:lnTo>
                <a:lnTo>
                  <a:pt x="18" y="26"/>
                </a:lnTo>
                <a:lnTo>
                  <a:pt x="21" y="49"/>
                </a:lnTo>
                <a:lnTo>
                  <a:pt x="25" y="50"/>
                </a:lnTo>
                <a:lnTo>
                  <a:pt x="29" y="38"/>
                </a:lnTo>
                <a:lnTo>
                  <a:pt x="30" y="32"/>
                </a:lnTo>
                <a:lnTo>
                  <a:pt x="42" y="28"/>
                </a:lnTo>
                <a:lnTo>
                  <a:pt x="44" y="23"/>
                </a:lnTo>
                <a:lnTo>
                  <a:pt x="39" y="21"/>
                </a:lnTo>
                <a:lnTo>
                  <a:pt x="33" y="8"/>
                </a:lnTo>
                <a:lnTo>
                  <a:pt x="23" y="0"/>
                </a:lnTo>
                <a:lnTo>
                  <a:pt x="11" y="0"/>
                </a:lnTo>
                <a:lnTo>
                  <a:pt x="0" y="1"/>
                </a:lnTo>
                <a:lnTo>
                  <a:pt x="10" y="1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23" name="Freeform 622"/>
          <p:cNvSpPr>
            <a:spLocks/>
          </p:cNvSpPr>
          <p:nvPr/>
        </p:nvSpPr>
        <p:spPr bwMode="auto">
          <a:xfrm>
            <a:off x="4863528" y="2648277"/>
            <a:ext cx="119252" cy="78307"/>
          </a:xfrm>
          <a:custGeom>
            <a:avLst/>
            <a:gdLst>
              <a:gd name="T0" fmla="*/ 92873192 w 69"/>
              <a:gd name="T1" fmla="*/ 1811599 h 46"/>
              <a:gd name="T2" fmla="*/ 0 w 69"/>
              <a:gd name="T3" fmla="*/ 18114643 h 46"/>
              <a:gd name="T4" fmla="*/ 8006221 w 69"/>
              <a:gd name="T5" fmla="*/ 48910485 h 46"/>
              <a:gd name="T6" fmla="*/ 19215183 w 69"/>
              <a:gd name="T7" fmla="*/ 47098886 h 46"/>
              <a:gd name="T8" fmla="*/ 16012443 w 69"/>
              <a:gd name="T9" fmla="*/ 76081768 h 46"/>
              <a:gd name="T10" fmla="*/ 27221407 w 69"/>
              <a:gd name="T11" fmla="*/ 76081768 h 46"/>
              <a:gd name="T12" fmla="*/ 32024886 w 69"/>
              <a:gd name="T13" fmla="*/ 72459918 h 46"/>
              <a:gd name="T14" fmla="*/ 35227626 w 69"/>
              <a:gd name="T15" fmla="*/ 74270170 h 46"/>
              <a:gd name="T16" fmla="*/ 51240074 w 69"/>
              <a:gd name="T17" fmla="*/ 72459918 h 46"/>
              <a:gd name="T18" fmla="*/ 62449034 w 69"/>
              <a:gd name="T19" fmla="*/ 74270170 h 46"/>
              <a:gd name="T20" fmla="*/ 68853250 w 69"/>
              <a:gd name="T21" fmla="*/ 81516563 h 46"/>
              <a:gd name="T22" fmla="*/ 84865707 w 69"/>
              <a:gd name="T23" fmla="*/ 74270170 h 46"/>
              <a:gd name="T24" fmla="*/ 91271189 w 69"/>
              <a:gd name="T25" fmla="*/ 81516563 h 46"/>
              <a:gd name="T26" fmla="*/ 94473929 w 69"/>
              <a:gd name="T27" fmla="*/ 76081768 h 46"/>
              <a:gd name="T28" fmla="*/ 108885629 w 69"/>
              <a:gd name="T29" fmla="*/ 50722083 h 46"/>
              <a:gd name="T30" fmla="*/ 108885629 w 69"/>
              <a:gd name="T31" fmla="*/ 28984238 h 46"/>
              <a:gd name="T32" fmla="*/ 96074667 w 69"/>
              <a:gd name="T33" fmla="*/ 18114643 h 46"/>
              <a:gd name="T34" fmla="*/ 96074667 w 69"/>
              <a:gd name="T35" fmla="*/ 0 h 46"/>
              <a:gd name="T36" fmla="*/ 78461472 w 69"/>
              <a:gd name="T37" fmla="*/ 3623198 h 46"/>
              <a:gd name="T38" fmla="*/ 92873192 w 69"/>
              <a:gd name="T39" fmla="*/ 1811599 h 46"/>
              <a:gd name="T40" fmla="*/ 92873192 w 69"/>
              <a:gd name="T41" fmla="*/ 1811599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46"/>
              <a:gd name="T65" fmla="*/ 69 w 69"/>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46">
                <a:moveTo>
                  <a:pt x="58" y="1"/>
                </a:moveTo>
                <a:lnTo>
                  <a:pt x="0" y="10"/>
                </a:lnTo>
                <a:lnTo>
                  <a:pt x="5" y="27"/>
                </a:lnTo>
                <a:lnTo>
                  <a:pt x="12" y="26"/>
                </a:lnTo>
                <a:lnTo>
                  <a:pt x="10" y="42"/>
                </a:lnTo>
                <a:lnTo>
                  <a:pt x="17" y="42"/>
                </a:lnTo>
                <a:lnTo>
                  <a:pt x="20" y="40"/>
                </a:lnTo>
                <a:lnTo>
                  <a:pt x="22" y="41"/>
                </a:lnTo>
                <a:lnTo>
                  <a:pt x="32" y="40"/>
                </a:lnTo>
                <a:lnTo>
                  <a:pt x="39" y="41"/>
                </a:lnTo>
                <a:lnTo>
                  <a:pt x="43" y="45"/>
                </a:lnTo>
                <a:lnTo>
                  <a:pt x="53" y="41"/>
                </a:lnTo>
                <a:lnTo>
                  <a:pt x="57" y="45"/>
                </a:lnTo>
                <a:lnTo>
                  <a:pt x="59" y="42"/>
                </a:lnTo>
                <a:lnTo>
                  <a:pt x="68" y="28"/>
                </a:lnTo>
                <a:lnTo>
                  <a:pt x="68" y="16"/>
                </a:lnTo>
                <a:lnTo>
                  <a:pt x="60" y="10"/>
                </a:lnTo>
                <a:lnTo>
                  <a:pt x="60" y="0"/>
                </a:lnTo>
                <a:lnTo>
                  <a:pt x="49" y="2"/>
                </a:lnTo>
                <a:lnTo>
                  <a:pt x="58" y="1"/>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24" name="Freeform 623"/>
          <p:cNvSpPr>
            <a:spLocks/>
          </p:cNvSpPr>
          <p:nvPr/>
        </p:nvSpPr>
        <p:spPr bwMode="auto">
          <a:xfrm>
            <a:off x="4772463" y="2750679"/>
            <a:ext cx="186467" cy="92363"/>
          </a:xfrm>
          <a:custGeom>
            <a:avLst/>
            <a:gdLst>
              <a:gd name="T0" fmla="*/ 34514522 w 109"/>
              <a:gd name="T1" fmla="*/ 12801014 h 54"/>
              <a:gd name="T2" fmla="*/ 69027792 w 109"/>
              <a:gd name="T3" fmla="*/ 9144353 h 54"/>
              <a:gd name="T4" fmla="*/ 95697775 w 109"/>
              <a:gd name="T5" fmla="*/ 0 h 54"/>
              <a:gd name="T6" fmla="*/ 133348604 w 109"/>
              <a:gd name="T7" fmla="*/ 0 h 54"/>
              <a:gd name="T8" fmla="*/ 169431313 w 109"/>
              <a:gd name="T9" fmla="*/ 0 h 54"/>
              <a:gd name="T10" fmla="*/ 155312840 w 109"/>
              <a:gd name="T11" fmla="*/ 21945364 h 54"/>
              <a:gd name="T12" fmla="*/ 141193153 w 109"/>
              <a:gd name="T13" fmla="*/ 34746378 h 54"/>
              <a:gd name="T14" fmla="*/ 123935896 w 109"/>
              <a:gd name="T15" fmla="*/ 36574707 h 54"/>
              <a:gd name="T16" fmla="*/ 103542324 w 109"/>
              <a:gd name="T17" fmla="*/ 60348405 h 54"/>
              <a:gd name="T18" fmla="*/ 95697775 w 109"/>
              <a:gd name="T19" fmla="*/ 80465435 h 54"/>
              <a:gd name="T20" fmla="*/ 89422637 w 109"/>
              <a:gd name="T21" fmla="*/ 96924475 h 54"/>
              <a:gd name="T22" fmla="*/ 80009910 w 109"/>
              <a:gd name="T23" fmla="*/ 85951774 h 54"/>
              <a:gd name="T24" fmla="*/ 0 w 109"/>
              <a:gd name="T25" fmla="*/ 69492755 h 54"/>
              <a:gd name="T26" fmla="*/ 21962993 w 109"/>
              <a:gd name="T27" fmla="*/ 49377078 h 54"/>
              <a:gd name="T28" fmla="*/ 36082680 w 109"/>
              <a:gd name="T29" fmla="*/ 60348405 h 54"/>
              <a:gd name="T30" fmla="*/ 31375701 w 109"/>
              <a:gd name="T31" fmla="*/ 38404388 h 54"/>
              <a:gd name="T32" fmla="*/ 34514522 w 109"/>
              <a:gd name="T33" fmla="*/ 12801014 h 54"/>
              <a:gd name="T34" fmla="*/ 34514522 w 109"/>
              <a:gd name="T35" fmla="*/ 12801014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9"/>
              <a:gd name="T55" fmla="*/ 0 h 54"/>
              <a:gd name="T56" fmla="*/ 109 w 109"/>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9" h="54">
                <a:moveTo>
                  <a:pt x="22" y="7"/>
                </a:moveTo>
                <a:lnTo>
                  <a:pt x="44" y="5"/>
                </a:lnTo>
                <a:lnTo>
                  <a:pt x="61" y="0"/>
                </a:lnTo>
                <a:lnTo>
                  <a:pt x="85" y="0"/>
                </a:lnTo>
                <a:lnTo>
                  <a:pt x="108" y="0"/>
                </a:lnTo>
                <a:lnTo>
                  <a:pt x="99" y="12"/>
                </a:lnTo>
                <a:lnTo>
                  <a:pt x="90" y="19"/>
                </a:lnTo>
                <a:lnTo>
                  <a:pt x="79" y="20"/>
                </a:lnTo>
                <a:lnTo>
                  <a:pt x="66" y="33"/>
                </a:lnTo>
                <a:lnTo>
                  <a:pt x="61" y="44"/>
                </a:lnTo>
                <a:lnTo>
                  <a:pt x="57" y="53"/>
                </a:lnTo>
                <a:lnTo>
                  <a:pt x="51" y="47"/>
                </a:lnTo>
                <a:lnTo>
                  <a:pt x="0" y="38"/>
                </a:lnTo>
                <a:lnTo>
                  <a:pt x="14" y="27"/>
                </a:lnTo>
                <a:lnTo>
                  <a:pt x="23" y="33"/>
                </a:lnTo>
                <a:lnTo>
                  <a:pt x="20" y="21"/>
                </a:lnTo>
                <a:lnTo>
                  <a:pt x="22" y="7"/>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25" name="Freeform 624"/>
          <p:cNvSpPr>
            <a:spLocks/>
          </p:cNvSpPr>
          <p:nvPr/>
        </p:nvSpPr>
        <p:spPr bwMode="auto">
          <a:xfrm>
            <a:off x="4804986" y="2714535"/>
            <a:ext cx="160450" cy="64252"/>
          </a:xfrm>
          <a:custGeom>
            <a:avLst/>
            <a:gdLst>
              <a:gd name="T0" fmla="*/ 68810669 w 95"/>
              <a:gd name="T1" fmla="*/ 6786359 h 39"/>
              <a:gd name="T2" fmla="*/ 81044160 w 95"/>
              <a:gd name="T3" fmla="*/ 6786359 h 39"/>
              <a:gd name="T4" fmla="*/ 91747984 w 95"/>
              <a:gd name="T5" fmla="*/ 3393179 h 39"/>
              <a:gd name="T6" fmla="*/ 93276395 w 95"/>
              <a:gd name="T7" fmla="*/ 6786359 h 39"/>
              <a:gd name="T8" fmla="*/ 97864102 w 95"/>
              <a:gd name="T9" fmla="*/ 1697241 h 39"/>
              <a:gd name="T10" fmla="*/ 140679397 w 95"/>
              <a:gd name="T11" fmla="*/ 0 h 39"/>
              <a:gd name="T12" fmla="*/ 143737456 w 95"/>
              <a:gd name="T13" fmla="*/ 10179537 h 39"/>
              <a:gd name="T14" fmla="*/ 137621339 w 95"/>
              <a:gd name="T15" fmla="*/ 35630335 h 39"/>
              <a:gd name="T16" fmla="*/ 126917515 w 95"/>
              <a:gd name="T17" fmla="*/ 64473011 h 39"/>
              <a:gd name="T18" fmla="*/ 103980219 w 95"/>
              <a:gd name="T19" fmla="*/ 49203058 h 39"/>
              <a:gd name="T20" fmla="*/ 64222963 w 95"/>
              <a:gd name="T21" fmla="*/ 42416691 h 39"/>
              <a:gd name="T22" fmla="*/ 27523775 w 95"/>
              <a:gd name="T23" fmla="*/ 50900298 h 39"/>
              <a:gd name="T24" fmla="*/ 22937305 w 95"/>
              <a:gd name="T25" fmla="*/ 50900298 h 39"/>
              <a:gd name="T26" fmla="*/ 1529648 w 95"/>
              <a:gd name="T27" fmla="*/ 54293476 h 39"/>
              <a:gd name="T28" fmla="*/ 0 w 95"/>
              <a:gd name="T29" fmla="*/ 37326272 h 39"/>
              <a:gd name="T30" fmla="*/ 13761888 w 95"/>
              <a:gd name="T31" fmla="*/ 8483599 h 39"/>
              <a:gd name="T32" fmla="*/ 30583070 w 95"/>
              <a:gd name="T33" fmla="*/ 3393179 h 39"/>
              <a:gd name="T34" fmla="*/ 65752611 w 95"/>
              <a:gd name="T35" fmla="*/ 30539916 h 39"/>
              <a:gd name="T36" fmla="*/ 68810669 w 95"/>
              <a:gd name="T37" fmla="*/ 6786359 h 39"/>
              <a:gd name="T38" fmla="*/ 68810669 w 95"/>
              <a:gd name="T39" fmla="*/ 6786359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39"/>
              <a:gd name="T62" fmla="*/ 95 w 95"/>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39">
                <a:moveTo>
                  <a:pt x="45" y="4"/>
                </a:moveTo>
                <a:lnTo>
                  <a:pt x="53" y="4"/>
                </a:lnTo>
                <a:lnTo>
                  <a:pt x="60" y="2"/>
                </a:lnTo>
                <a:lnTo>
                  <a:pt x="61" y="4"/>
                </a:lnTo>
                <a:lnTo>
                  <a:pt x="64" y="1"/>
                </a:lnTo>
                <a:lnTo>
                  <a:pt x="92" y="0"/>
                </a:lnTo>
                <a:lnTo>
                  <a:pt x="94" y="6"/>
                </a:lnTo>
                <a:lnTo>
                  <a:pt x="90" y="21"/>
                </a:lnTo>
                <a:lnTo>
                  <a:pt x="83" y="38"/>
                </a:lnTo>
                <a:lnTo>
                  <a:pt x="68" y="29"/>
                </a:lnTo>
                <a:lnTo>
                  <a:pt x="42" y="25"/>
                </a:lnTo>
                <a:lnTo>
                  <a:pt x="18" y="30"/>
                </a:lnTo>
                <a:lnTo>
                  <a:pt x="15" y="30"/>
                </a:lnTo>
                <a:lnTo>
                  <a:pt x="1" y="32"/>
                </a:lnTo>
                <a:lnTo>
                  <a:pt x="0" y="22"/>
                </a:lnTo>
                <a:lnTo>
                  <a:pt x="9" y="5"/>
                </a:lnTo>
                <a:lnTo>
                  <a:pt x="20" y="2"/>
                </a:lnTo>
                <a:lnTo>
                  <a:pt x="43" y="18"/>
                </a:lnTo>
                <a:lnTo>
                  <a:pt x="45" y="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26" name="Freeform 625"/>
          <p:cNvSpPr>
            <a:spLocks/>
          </p:cNvSpPr>
          <p:nvPr/>
        </p:nvSpPr>
        <p:spPr bwMode="auto">
          <a:xfrm>
            <a:off x="4635865" y="3041825"/>
            <a:ext cx="78057" cy="42165"/>
          </a:xfrm>
          <a:custGeom>
            <a:avLst/>
            <a:gdLst>
              <a:gd name="T0" fmla="*/ 0 w 47"/>
              <a:gd name="T1" fmla="*/ 42676691 h 25"/>
              <a:gd name="T2" fmla="*/ 0 w 47"/>
              <a:gd name="T3" fmla="*/ 42676691 h 25"/>
              <a:gd name="T4" fmla="*/ 0 w 47"/>
              <a:gd name="T5" fmla="*/ 12446704 h 25"/>
              <a:gd name="T6" fmla="*/ 47314124 w 47"/>
              <a:gd name="T7" fmla="*/ 0 h 25"/>
              <a:gd name="T8" fmla="*/ 59141738 w 47"/>
              <a:gd name="T9" fmla="*/ 8890311 h 25"/>
              <a:gd name="T10" fmla="*/ 68013361 w 47"/>
              <a:gd name="T11" fmla="*/ 17781956 h 25"/>
              <a:gd name="T12" fmla="*/ 48792728 w 47"/>
              <a:gd name="T13" fmla="*/ 24894741 h 25"/>
              <a:gd name="T14" fmla="*/ 28092265 w 47"/>
              <a:gd name="T15" fmla="*/ 37341439 h 25"/>
              <a:gd name="T16" fmla="*/ 10350231 w 47"/>
              <a:gd name="T17" fmla="*/ 37341439 h 25"/>
              <a:gd name="T18" fmla="*/ 0 w 47"/>
              <a:gd name="T19" fmla="*/ 42676691 h 25"/>
              <a:gd name="T20" fmla="*/ 0 w 47"/>
              <a:gd name="T21" fmla="*/ 42676691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25"/>
              <a:gd name="T35" fmla="*/ 47 w 47"/>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25">
                <a:moveTo>
                  <a:pt x="0" y="24"/>
                </a:moveTo>
                <a:lnTo>
                  <a:pt x="0" y="24"/>
                </a:lnTo>
                <a:lnTo>
                  <a:pt x="0" y="7"/>
                </a:lnTo>
                <a:lnTo>
                  <a:pt x="32" y="0"/>
                </a:lnTo>
                <a:lnTo>
                  <a:pt x="40" y="5"/>
                </a:lnTo>
                <a:lnTo>
                  <a:pt x="46" y="10"/>
                </a:lnTo>
                <a:lnTo>
                  <a:pt x="33" y="14"/>
                </a:lnTo>
                <a:lnTo>
                  <a:pt x="19" y="21"/>
                </a:lnTo>
                <a:lnTo>
                  <a:pt x="7" y="21"/>
                </a:lnTo>
                <a:lnTo>
                  <a:pt x="0" y="2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27" name="Freeform 626"/>
          <p:cNvSpPr>
            <a:spLocks/>
          </p:cNvSpPr>
          <p:nvPr/>
        </p:nvSpPr>
        <p:spPr bwMode="auto">
          <a:xfrm>
            <a:off x="4798482" y="3176354"/>
            <a:ext cx="58542" cy="32126"/>
          </a:xfrm>
          <a:custGeom>
            <a:avLst/>
            <a:gdLst>
              <a:gd name="T0" fmla="*/ 0 w 32"/>
              <a:gd name="T1" fmla="*/ 12903200 h 20"/>
              <a:gd name="T2" fmla="*/ 10765308 w 32"/>
              <a:gd name="T3" fmla="*/ 30645098 h 20"/>
              <a:gd name="T4" fmla="*/ 55620095 w 32"/>
              <a:gd name="T5" fmla="*/ 17741898 h 20"/>
              <a:gd name="T6" fmla="*/ 46648337 w 32"/>
              <a:gd name="T7" fmla="*/ 0 h 20"/>
              <a:gd name="T8" fmla="*/ 3588436 w 32"/>
              <a:gd name="T9" fmla="*/ 14516099 h 20"/>
              <a:gd name="T10" fmla="*/ 0 w 32"/>
              <a:gd name="T11" fmla="*/ 12903200 h 20"/>
              <a:gd name="T12" fmla="*/ 0 w 32"/>
              <a:gd name="T13" fmla="*/ 12903200 h 20"/>
              <a:gd name="T14" fmla="*/ 0 60000 65536"/>
              <a:gd name="T15" fmla="*/ 0 60000 65536"/>
              <a:gd name="T16" fmla="*/ 0 60000 65536"/>
              <a:gd name="T17" fmla="*/ 0 60000 65536"/>
              <a:gd name="T18" fmla="*/ 0 60000 65536"/>
              <a:gd name="T19" fmla="*/ 0 60000 65536"/>
              <a:gd name="T20" fmla="*/ 0 60000 65536"/>
              <a:gd name="T21" fmla="*/ 0 w 32"/>
              <a:gd name="T22" fmla="*/ 0 h 20"/>
              <a:gd name="T23" fmla="*/ 32 w 32"/>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0">
                <a:moveTo>
                  <a:pt x="0" y="8"/>
                </a:moveTo>
                <a:lnTo>
                  <a:pt x="6" y="19"/>
                </a:lnTo>
                <a:lnTo>
                  <a:pt x="31" y="11"/>
                </a:lnTo>
                <a:lnTo>
                  <a:pt x="26" y="0"/>
                </a:lnTo>
                <a:lnTo>
                  <a:pt x="2" y="9"/>
                </a:lnTo>
                <a:lnTo>
                  <a:pt x="0" y="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28" name="Freeform 627"/>
          <p:cNvSpPr>
            <a:spLocks/>
          </p:cNvSpPr>
          <p:nvPr/>
        </p:nvSpPr>
        <p:spPr bwMode="auto">
          <a:xfrm>
            <a:off x="4748613" y="3065919"/>
            <a:ext cx="99739" cy="128506"/>
          </a:xfrm>
          <a:custGeom>
            <a:avLst/>
            <a:gdLst>
              <a:gd name="T0" fmla="*/ 25363600 w 58"/>
              <a:gd name="T1" fmla="*/ 23155799 h 79"/>
              <a:gd name="T2" fmla="*/ 34874474 w 58"/>
              <a:gd name="T3" fmla="*/ 0 h 79"/>
              <a:gd name="T4" fmla="*/ 90357122 w 58"/>
              <a:gd name="T5" fmla="*/ 52927169 h 79"/>
              <a:gd name="T6" fmla="*/ 80846228 w 58"/>
              <a:gd name="T7" fmla="*/ 89315408 h 79"/>
              <a:gd name="T8" fmla="*/ 88771976 w 58"/>
              <a:gd name="T9" fmla="*/ 109163411 h 79"/>
              <a:gd name="T10" fmla="*/ 31704183 w 58"/>
              <a:gd name="T11" fmla="*/ 129011413 h 79"/>
              <a:gd name="T12" fmla="*/ 0 w 58"/>
              <a:gd name="T13" fmla="*/ 104201732 h 79"/>
              <a:gd name="T14" fmla="*/ 41215057 w 58"/>
              <a:gd name="T15" fmla="*/ 100893946 h 79"/>
              <a:gd name="T16" fmla="*/ 49142055 w 58"/>
              <a:gd name="T17" fmla="*/ 72775172 h 79"/>
              <a:gd name="T18" fmla="*/ 25363600 w 58"/>
              <a:gd name="T19" fmla="*/ 23155799 h 79"/>
              <a:gd name="T20" fmla="*/ 25363600 w 58"/>
              <a:gd name="T21" fmla="*/ 23155799 h 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79"/>
              <a:gd name="T35" fmla="*/ 58 w 58"/>
              <a:gd name="T36" fmla="*/ 79 h 7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79">
                <a:moveTo>
                  <a:pt x="16" y="14"/>
                </a:moveTo>
                <a:lnTo>
                  <a:pt x="22" y="0"/>
                </a:lnTo>
                <a:lnTo>
                  <a:pt x="57" y="32"/>
                </a:lnTo>
                <a:lnTo>
                  <a:pt x="51" y="54"/>
                </a:lnTo>
                <a:lnTo>
                  <a:pt x="56" y="66"/>
                </a:lnTo>
                <a:lnTo>
                  <a:pt x="20" y="78"/>
                </a:lnTo>
                <a:lnTo>
                  <a:pt x="0" y="63"/>
                </a:lnTo>
                <a:lnTo>
                  <a:pt x="26" y="61"/>
                </a:lnTo>
                <a:lnTo>
                  <a:pt x="31" y="44"/>
                </a:lnTo>
                <a:lnTo>
                  <a:pt x="16" y="1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29" name="Freeform 628"/>
          <p:cNvSpPr>
            <a:spLocks/>
          </p:cNvSpPr>
          <p:nvPr/>
        </p:nvSpPr>
        <p:spPr bwMode="auto">
          <a:xfrm>
            <a:off x="4631530" y="3057888"/>
            <a:ext cx="160450" cy="112442"/>
          </a:xfrm>
          <a:custGeom>
            <a:avLst/>
            <a:gdLst>
              <a:gd name="T0" fmla="*/ 4891812 w 92"/>
              <a:gd name="T1" fmla="*/ 24317568 h 65"/>
              <a:gd name="T2" fmla="*/ 35870734 w 92"/>
              <a:gd name="T3" fmla="*/ 18705924 h 65"/>
              <a:gd name="T4" fmla="*/ 58696640 w 92"/>
              <a:gd name="T5" fmla="*/ 1871003 h 65"/>
              <a:gd name="T6" fmla="*/ 78262605 w 92"/>
              <a:gd name="T7" fmla="*/ 0 h 65"/>
              <a:gd name="T8" fmla="*/ 99459194 w 92"/>
              <a:gd name="T9" fmla="*/ 18705924 h 65"/>
              <a:gd name="T10" fmla="*/ 148373469 w 92"/>
              <a:gd name="T11" fmla="*/ 7482644 h 65"/>
              <a:gd name="T12" fmla="*/ 130438108 w 92"/>
              <a:gd name="T13" fmla="*/ 54246776 h 65"/>
              <a:gd name="T14" fmla="*/ 83154416 w 92"/>
              <a:gd name="T15" fmla="*/ 57987413 h 65"/>
              <a:gd name="T16" fmla="*/ 99459194 w 92"/>
              <a:gd name="T17" fmla="*/ 93529637 h 65"/>
              <a:gd name="T18" fmla="*/ 99459194 w 92"/>
              <a:gd name="T19" fmla="*/ 119716830 h 65"/>
              <a:gd name="T20" fmla="*/ 55436709 w 92"/>
              <a:gd name="T21" fmla="*/ 87917977 h 65"/>
              <a:gd name="T22" fmla="*/ 17935367 w 92"/>
              <a:gd name="T23" fmla="*/ 41152485 h 65"/>
              <a:gd name="T24" fmla="*/ 0 w 92"/>
              <a:gd name="T25" fmla="*/ 44894500 h 65"/>
              <a:gd name="T26" fmla="*/ 4891812 w 92"/>
              <a:gd name="T27" fmla="*/ 24317568 h 65"/>
              <a:gd name="T28" fmla="*/ 4891812 w 92"/>
              <a:gd name="T29" fmla="*/ 24317568 h 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2"/>
              <a:gd name="T46" fmla="*/ 0 h 65"/>
              <a:gd name="T47" fmla="*/ 92 w 92"/>
              <a:gd name="T48" fmla="*/ 65 h 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2" h="65">
                <a:moveTo>
                  <a:pt x="3" y="13"/>
                </a:moveTo>
                <a:lnTo>
                  <a:pt x="22" y="10"/>
                </a:lnTo>
                <a:lnTo>
                  <a:pt x="36" y="1"/>
                </a:lnTo>
                <a:lnTo>
                  <a:pt x="48" y="0"/>
                </a:lnTo>
                <a:lnTo>
                  <a:pt x="61" y="10"/>
                </a:lnTo>
                <a:lnTo>
                  <a:pt x="91" y="4"/>
                </a:lnTo>
                <a:lnTo>
                  <a:pt x="80" y="29"/>
                </a:lnTo>
                <a:lnTo>
                  <a:pt x="51" y="31"/>
                </a:lnTo>
                <a:lnTo>
                  <a:pt x="61" y="50"/>
                </a:lnTo>
                <a:lnTo>
                  <a:pt x="61" y="64"/>
                </a:lnTo>
                <a:lnTo>
                  <a:pt x="34" y="47"/>
                </a:lnTo>
                <a:lnTo>
                  <a:pt x="11" y="22"/>
                </a:lnTo>
                <a:lnTo>
                  <a:pt x="0" y="24"/>
                </a:lnTo>
                <a:lnTo>
                  <a:pt x="3" y="1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34" name="Freeform 633"/>
          <p:cNvSpPr>
            <a:spLocks/>
          </p:cNvSpPr>
          <p:nvPr/>
        </p:nvSpPr>
        <p:spPr bwMode="auto">
          <a:xfrm>
            <a:off x="4118997" y="3309058"/>
            <a:ext cx="472406" cy="438159"/>
          </a:xfrm>
          <a:custGeom>
            <a:avLst/>
            <a:gdLst>
              <a:gd name="T0" fmla="*/ 0 w 278"/>
              <a:gd name="T1" fmla="*/ 141 h 265"/>
              <a:gd name="T2" fmla="*/ 0 w 278"/>
              <a:gd name="T3" fmla="*/ 141 h 265"/>
              <a:gd name="T4" fmla="*/ 1 w 278"/>
              <a:gd name="T5" fmla="*/ 146 h 265"/>
              <a:gd name="T6" fmla="*/ 52 w 278"/>
              <a:gd name="T7" fmla="*/ 179 h 265"/>
              <a:gd name="T8" fmla="*/ 161 w 278"/>
              <a:gd name="T9" fmla="*/ 251 h 265"/>
              <a:gd name="T10" fmla="*/ 162 w 278"/>
              <a:gd name="T11" fmla="*/ 264 h 265"/>
              <a:gd name="T12" fmla="*/ 173 w 278"/>
              <a:gd name="T13" fmla="*/ 262 h 265"/>
              <a:gd name="T14" fmla="*/ 194 w 278"/>
              <a:gd name="T15" fmla="*/ 257 h 265"/>
              <a:gd name="T16" fmla="*/ 277 w 278"/>
              <a:gd name="T17" fmla="*/ 200 h 265"/>
              <a:gd name="T18" fmla="*/ 245 w 278"/>
              <a:gd name="T19" fmla="*/ 162 h 265"/>
              <a:gd name="T20" fmla="*/ 245 w 278"/>
              <a:gd name="T21" fmla="*/ 101 h 265"/>
              <a:gd name="T22" fmla="*/ 241 w 278"/>
              <a:gd name="T23" fmla="*/ 74 h 265"/>
              <a:gd name="T24" fmla="*/ 218 w 278"/>
              <a:gd name="T25" fmla="*/ 46 h 265"/>
              <a:gd name="T26" fmla="*/ 230 w 278"/>
              <a:gd name="T27" fmla="*/ 37 h 265"/>
              <a:gd name="T28" fmla="*/ 236 w 278"/>
              <a:gd name="T29" fmla="*/ 0 h 265"/>
              <a:gd name="T30" fmla="*/ 138 w 278"/>
              <a:gd name="T31" fmla="*/ 6 h 265"/>
              <a:gd name="T32" fmla="*/ 88 w 278"/>
              <a:gd name="T33" fmla="*/ 28 h 265"/>
              <a:gd name="T34" fmla="*/ 100 w 278"/>
              <a:gd name="T35" fmla="*/ 73 h 265"/>
              <a:gd name="T36" fmla="*/ 79 w 278"/>
              <a:gd name="T37" fmla="*/ 74 h 265"/>
              <a:gd name="T38" fmla="*/ 67 w 278"/>
              <a:gd name="T39" fmla="*/ 79 h 265"/>
              <a:gd name="T40" fmla="*/ 69 w 278"/>
              <a:gd name="T41" fmla="*/ 91 h 265"/>
              <a:gd name="T42" fmla="*/ 7 w 278"/>
              <a:gd name="T43" fmla="*/ 118 h 265"/>
              <a:gd name="T44" fmla="*/ 0 w 278"/>
              <a:gd name="T45" fmla="*/ 141 h 265"/>
              <a:gd name="T46" fmla="*/ 0 w 278"/>
              <a:gd name="T47" fmla="*/ 141 h 2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8"/>
              <a:gd name="T73" fmla="*/ 0 h 265"/>
              <a:gd name="T74" fmla="*/ 278 w 278"/>
              <a:gd name="T75" fmla="*/ 265 h 2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8" h="265">
                <a:moveTo>
                  <a:pt x="0" y="141"/>
                </a:moveTo>
                <a:lnTo>
                  <a:pt x="0" y="141"/>
                </a:lnTo>
                <a:lnTo>
                  <a:pt x="1" y="146"/>
                </a:lnTo>
                <a:lnTo>
                  <a:pt x="52" y="179"/>
                </a:lnTo>
                <a:lnTo>
                  <a:pt x="161" y="251"/>
                </a:lnTo>
                <a:lnTo>
                  <a:pt x="162" y="264"/>
                </a:lnTo>
                <a:lnTo>
                  <a:pt x="173" y="262"/>
                </a:lnTo>
                <a:lnTo>
                  <a:pt x="194" y="257"/>
                </a:lnTo>
                <a:lnTo>
                  <a:pt x="277" y="200"/>
                </a:lnTo>
                <a:lnTo>
                  <a:pt x="245" y="162"/>
                </a:lnTo>
                <a:lnTo>
                  <a:pt x="245" y="101"/>
                </a:lnTo>
                <a:lnTo>
                  <a:pt x="241" y="74"/>
                </a:lnTo>
                <a:lnTo>
                  <a:pt x="218" y="46"/>
                </a:lnTo>
                <a:lnTo>
                  <a:pt x="230" y="37"/>
                </a:lnTo>
                <a:lnTo>
                  <a:pt x="236" y="0"/>
                </a:lnTo>
                <a:lnTo>
                  <a:pt x="138" y="6"/>
                </a:lnTo>
                <a:lnTo>
                  <a:pt x="88" y="28"/>
                </a:lnTo>
                <a:lnTo>
                  <a:pt x="100" y="73"/>
                </a:lnTo>
                <a:lnTo>
                  <a:pt x="79" y="74"/>
                </a:lnTo>
                <a:lnTo>
                  <a:pt x="67" y="79"/>
                </a:lnTo>
                <a:lnTo>
                  <a:pt x="69" y="91"/>
                </a:lnTo>
                <a:lnTo>
                  <a:pt x="7" y="118"/>
                </a:lnTo>
                <a:lnTo>
                  <a:pt x="0" y="141"/>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35" name="Freeform 634"/>
          <p:cNvSpPr>
            <a:spLocks/>
          </p:cNvSpPr>
          <p:nvPr/>
        </p:nvSpPr>
        <p:spPr bwMode="auto">
          <a:xfrm>
            <a:off x="5215046" y="3300791"/>
            <a:ext cx="231105" cy="206679"/>
          </a:xfrm>
          <a:custGeom>
            <a:avLst/>
            <a:gdLst>
              <a:gd name="T0" fmla="*/ 0 w 136"/>
              <a:gd name="T1" fmla="*/ 60 h 125"/>
              <a:gd name="T2" fmla="*/ 0 w 136"/>
              <a:gd name="T3" fmla="*/ 60 h 125"/>
              <a:gd name="T4" fmla="*/ 6 w 136"/>
              <a:gd name="T5" fmla="*/ 78 h 125"/>
              <a:gd name="T6" fmla="*/ 68 w 136"/>
              <a:gd name="T7" fmla="*/ 105 h 125"/>
              <a:gd name="T8" fmla="*/ 68 w 136"/>
              <a:gd name="T9" fmla="*/ 115 h 125"/>
              <a:gd name="T10" fmla="*/ 83 w 136"/>
              <a:gd name="T11" fmla="*/ 122 h 125"/>
              <a:gd name="T12" fmla="*/ 108 w 136"/>
              <a:gd name="T13" fmla="*/ 124 h 125"/>
              <a:gd name="T14" fmla="*/ 128 w 136"/>
              <a:gd name="T15" fmla="*/ 111 h 125"/>
              <a:gd name="T16" fmla="*/ 135 w 136"/>
              <a:gd name="T17" fmla="*/ 110 h 125"/>
              <a:gd name="T18" fmla="*/ 117 w 136"/>
              <a:gd name="T19" fmla="*/ 75 h 125"/>
              <a:gd name="T20" fmla="*/ 92 w 136"/>
              <a:gd name="T21" fmla="*/ 54 h 125"/>
              <a:gd name="T22" fmla="*/ 104 w 136"/>
              <a:gd name="T23" fmla="*/ 22 h 125"/>
              <a:gd name="T24" fmla="*/ 93 w 136"/>
              <a:gd name="T25" fmla="*/ 18 h 125"/>
              <a:gd name="T26" fmla="*/ 83 w 136"/>
              <a:gd name="T27" fmla="*/ 0 h 125"/>
              <a:gd name="T28" fmla="*/ 53 w 136"/>
              <a:gd name="T29" fmla="*/ 2 h 125"/>
              <a:gd name="T30" fmla="*/ 38 w 136"/>
              <a:gd name="T31" fmla="*/ 13 h 125"/>
              <a:gd name="T32" fmla="*/ 33 w 136"/>
              <a:gd name="T33" fmla="*/ 42 h 125"/>
              <a:gd name="T34" fmla="*/ 0 w 136"/>
              <a:gd name="T35" fmla="*/ 60 h 125"/>
              <a:gd name="T36" fmla="*/ 0 w 136"/>
              <a:gd name="T37" fmla="*/ 60 h 1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125"/>
              <a:gd name="T59" fmla="*/ 136 w 136"/>
              <a:gd name="T60" fmla="*/ 125 h 1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125">
                <a:moveTo>
                  <a:pt x="0" y="60"/>
                </a:moveTo>
                <a:lnTo>
                  <a:pt x="0" y="60"/>
                </a:lnTo>
                <a:lnTo>
                  <a:pt x="6" y="78"/>
                </a:lnTo>
                <a:lnTo>
                  <a:pt x="68" y="105"/>
                </a:lnTo>
                <a:lnTo>
                  <a:pt x="68" y="115"/>
                </a:lnTo>
                <a:lnTo>
                  <a:pt x="83" y="122"/>
                </a:lnTo>
                <a:lnTo>
                  <a:pt x="108" y="124"/>
                </a:lnTo>
                <a:lnTo>
                  <a:pt x="128" y="111"/>
                </a:lnTo>
                <a:lnTo>
                  <a:pt x="135" y="110"/>
                </a:lnTo>
                <a:lnTo>
                  <a:pt x="117" y="75"/>
                </a:lnTo>
                <a:lnTo>
                  <a:pt x="92" y="54"/>
                </a:lnTo>
                <a:lnTo>
                  <a:pt x="104" y="22"/>
                </a:lnTo>
                <a:lnTo>
                  <a:pt x="93" y="18"/>
                </a:lnTo>
                <a:lnTo>
                  <a:pt x="83" y="0"/>
                </a:lnTo>
                <a:lnTo>
                  <a:pt x="53" y="2"/>
                </a:lnTo>
                <a:lnTo>
                  <a:pt x="38" y="13"/>
                </a:lnTo>
                <a:lnTo>
                  <a:pt x="33" y="42"/>
                </a:lnTo>
                <a:lnTo>
                  <a:pt x="0" y="6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36" name="Freeform 635"/>
          <p:cNvSpPr>
            <a:spLocks/>
          </p:cNvSpPr>
          <p:nvPr/>
        </p:nvSpPr>
        <p:spPr bwMode="auto">
          <a:xfrm>
            <a:off x="5121585" y="3429759"/>
            <a:ext cx="489399" cy="396824"/>
          </a:xfrm>
          <a:custGeom>
            <a:avLst/>
            <a:gdLst>
              <a:gd name="T0" fmla="*/ 0 w 288"/>
              <a:gd name="T1" fmla="*/ 62 h 240"/>
              <a:gd name="T2" fmla="*/ 0 w 288"/>
              <a:gd name="T3" fmla="*/ 62 h 240"/>
              <a:gd name="T4" fmla="*/ 4 w 288"/>
              <a:gd name="T5" fmla="*/ 41 h 240"/>
              <a:gd name="T6" fmla="*/ 19 w 288"/>
              <a:gd name="T7" fmla="*/ 46 h 240"/>
              <a:gd name="T8" fmla="*/ 38 w 288"/>
              <a:gd name="T9" fmla="*/ 33 h 240"/>
              <a:gd name="T10" fmla="*/ 46 w 288"/>
              <a:gd name="T11" fmla="*/ 24 h 240"/>
              <a:gd name="T12" fmla="*/ 30 w 288"/>
              <a:gd name="T13" fmla="*/ 10 h 240"/>
              <a:gd name="T14" fmla="*/ 61 w 288"/>
              <a:gd name="T15" fmla="*/ 0 h 240"/>
              <a:gd name="T16" fmla="*/ 123 w 288"/>
              <a:gd name="T17" fmla="*/ 27 h 240"/>
              <a:gd name="T18" fmla="*/ 123 w 288"/>
              <a:gd name="T19" fmla="*/ 37 h 240"/>
              <a:gd name="T20" fmla="*/ 138 w 288"/>
              <a:gd name="T21" fmla="*/ 44 h 240"/>
              <a:gd name="T22" fmla="*/ 151 w 288"/>
              <a:gd name="T23" fmla="*/ 51 h 240"/>
              <a:gd name="T24" fmla="*/ 163 w 288"/>
              <a:gd name="T25" fmla="*/ 46 h 240"/>
              <a:gd name="T26" fmla="*/ 187 w 288"/>
              <a:gd name="T27" fmla="*/ 54 h 240"/>
              <a:gd name="T28" fmla="*/ 220 w 288"/>
              <a:gd name="T29" fmla="*/ 108 h 240"/>
              <a:gd name="T30" fmla="*/ 224 w 288"/>
              <a:gd name="T31" fmla="*/ 112 h 240"/>
              <a:gd name="T32" fmla="*/ 237 w 288"/>
              <a:gd name="T33" fmla="*/ 133 h 240"/>
              <a:gd name="T34" fmla="*/ 280 w 288"/>
              <a:gd name="T35" fmla="*/ 139 h 240"/>
              <a:gd name="T36" fmla="*/ 287 w 288"/>
              <a:gd name="T37" fmla="*/ 149 h 240"/>
              <a:gd name="T38" fmla="*/ 277 w 288"/>
              <a:gd name="T39" fmla="*/ 177 h 240"/>
              <a:gd name="T40" fmla="*/ 237 w 288"/>
              <a:gd name="T41" fmla="*/ 191 h 240"/>
              <a:gd name="T42" fmla="*/ 193 w 288"/>
              <a:gd name="T43" fmla="*/ 200 h 240"/>
              <a:gd name="T44" fmla="*/ 159 w 288"/>
              <a:gd name="T45" fmla="*/ 239 h 240"/>
              <a:gd name="T46" fmla="*/ 159 w 288"/>
              <a:gd name="T47" fmla="*/ 224 h 240"/>
              <a:gd name="T48" fmla="*/ 134 w 288"/>
              <a:gd name="T49" fmla="*/ 214 h 240"/>
              <a:gd name="T50" fmla="*/ 109 w 288"/>
              <a:gd name="T51" fmla="*/ 227 h 240"/>
              <a:gd name="T52" fmla="*/ 84 w 288"/>
              <a:gd name="T53" fmla="*/ 184 h 240"/>
              <a:gd name="T54" fmla="*/ 64 w 288"/>
              <a:gd name="T55" fmla="*/ 167 h 240"/>
              <a:gd name="T56" fmla="*/ 51 w 288"/>
              <a:gd name="T57" fmla="*/ 122 h 240"/>
              <a:gd name="T58" fmla="*/ 0 w 288"/>
              <a:gd name="T59" fmla="*/ 62 h 240"/>
              <a:gd name="T60" fmla="*/ 0 w 288"/>
              <a:gd name="T61" fmla="*/ 62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88"/>
              <a:gd name="T94" fmla="*/ 0 h 240"/>
              <a:gd name="T95" fmla="*/ 288 w 288"/>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88" h="240">
                <a:moveTo>
                  <a:pt x="0" y="62"/>
                </a:moveTo>
                <a:lnTo>
                  <a:pt x="0" y="62"/>
                </a:lnTo>
                <a:lnTo>
                  <a:pt x="4" y="41"/>
                </a:lnTo>
                <a:lnTo>
                  <a:pt x="19" y="46"/>
                </a:lnTo>
                <a:lnTo>
                  <a:pt x="38" y="33"/>
                </a:lnTo>
                <a:lnTo>
                  <a:pt x="46" y="24"/>
                </a:lnTo>
                <a:lnTo>
                  <a:pt x="30" y="10"/>
                </a:lnTo>
                <a:lnTo>
                  <a:pt x="61" y="0"/>
                </a:lnTo>
                <a:lnTo>
                  <a:pt x="123" y="27"/>
                </a:lnTo>
                <a:lnTo>
                  <a:pt x="123" y="37"/>
                </a:lnTo>
                <a:lnTo>
                  <a:pt x="138" y="44"/>
                </a:lnTo>
                <a:lnTo>
                  <a:pt x="151" y="51"/>
                </a:lnTo>
                <a:lnTo>
                  <a:pt x="163" y="46"/>
                </a:lnTo>
                <a:lnTo>
                  <a:pt x="187" y="54"/>
                </a:lnTo>
                <a:lnTo>
                  <a:pt x="220" y="108"/>
                </a:lnTo>
                <a:lnTo>
                  <a:pt x="224" y="112"/>
                </a:lnTo>
                <a:lnTo>
                  <a:pt x="237" y="133"/>
                </a:lnTo>
                <a:lnTo>
                  <a:pt x="280" y="139"/>
                </a:lnTo>
                <a:lnTo>
                  <a:pt x="287" y="149"/>
                </a:lnTo>
                <a:lnTo>
                  <a:pt x="277" y="177"/>
                </a:lnTo>
                <a:lnTo>
                  <a:pt x="237" y="191"/>
                </a:lnTo>
                <a:lnTo>
                  <a:pt x="193" y="200"/>
                </a:lnTo>
                <a:lnTo>
                  <a:pt x="159" y="239"/>
                </a:lnTo>
                <a:lnTo>
                  <a:pt x="159" y="224"/>
                </a:lnTo>
                <a:lnTo>
                  <a:pt x="134" y="214"/>
                </a:lnTo>
                <a:lnTo>
                  <a:pt x="109" y="227"/>
                </a:lnTo>
                <a:lnTo>
                  <a:pt x="84" y="184"/>
                </a:lnTo>
                <a:lnTo>
                  <a:pt x="64" y="167"/>
                </a:lnTo>
                <a:lnTo>
                  <a:pt x="51" y="122"/>
                </a:lnTo>
                <a:lnTo>
                  <a:pt x="0" y="6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37" name="Freeform 636"/>
          <p:cNvSpPr>
            <a:spLocks/>
          </p:cNvSpPr>
          <p:nvPr/>
        </p:nvSpPr>
        <p:spPr bwMode="auto">
          <a:xfrm>
            <a:off x="5140277" y="3304098"/>
            <a:ext cx="166532" cy="124007"/>
          </a:xfrm>
          <a:custGeom>
            <a:avLst/>
            <a:gdLst>
              <a:gd name="T0" fmla="*/ 0 w 98"/>
              <a:gd name="T1" fmla="*/ 68 h 75"/>
              <a:gd name="T2" fmla="*/ 0 w 98"/>
              <a:gd name="T3" fmla="*/ 68 h 75"/>
              <a:gd name="T4" fmla="*/ 1 w 98"/>
              <a:gd name="T5" fmla="*/ 61 h 75"/>
              <a:gd name="T6" fmla="*/ 15 w 98"/>
              <a:gd name="T7" fmla="*/ 45 h 75"/>
              <a:gd name="T8" fmla="*/ 8 w 98"/>
              <a:gd name="T9" fmla="*/ 38 h 75"/>
              <a:gd name="T10" fmla="*/ 7 w 98"/>
              <a:gd name="T11" fmla="*/ 19 h 75"/>
              <a:gd name="T12" fmla="*/ 15 w 98"/>
              <a:gd name="T13" fmla="*/ 3 h 75"/>
              <a:gd name="T14" fmla="*/ 97 w 98"/>
              <a:gd name="T15" fmla="*/ 0 h 75"/>
              <a:gd name="T16" fmla="*/ 82 w 98"/>
              <a:gd name="T17" fmla="*/ 11 h 75"/>
              <a:gd name="T18" fmla="*/ 77 w 98"/>
              <a:gd name="T19" fmla="*/ 40 h 75"/>
              <a:gd name="T20" fmla="*/ 44 w 98"/>
              <a:gd name="T21" fmla="*/ 58 h 75"/>
              <a:gd name="T22" fmla="*/ 14 w 98"/>
              <a:gd name="T23" fmla="*/ 74 h 75"/>
              <a:gd name="T24" fmla="*/ 0 w 98"/>
              <a:gd name="T25" fmla="*/ 68 h 75"/>
              <a:gd name="T26" fmla="*/ 0 w 98"/>
              <a:gd name="T27" fmla="*/ 68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68"/>
                </a:moveTo>
                <a:lnTo>
                  <a:pt x="0" y="68"/>
                </a:lnTo>
                <a:lnTo>
                  <a:pt x="1" y="61"/>
                </a:lnTo>
                <a:lnTo>
                  <a:pt x="15" y="45"/>
                </a:lnTo>
                <a:lnTo>
                  <a:pt x="8" y="38"/>
                </a:lnTo>
                <a:lnTo>
                  <a:pt x="7" y="19"/>
                </a:lnTo>
                <a:lnTo>
                  <a:pt x="15" y="3"/>
                </a:lnTo>
                <a:lnTo>
                  <a:pt x="97" y="0"/>
                </a:lnTo>
                <a:lnTo>
                  <a:pt x="82" y="11"/>
                </a:lnTo>
                <a:lnTo>
                  <a:pt x="77" y="40"/>
                </a:lnTo>
                <a:lnTo>
                  <a:pt x="44" y="58"/>
                </a:lnTo>
                <a:lnTo>
                  <a:pt x="14" y="74"/>
                </a:lnTo>
                <a:lnTo>
                  <a:pt x="0" y="6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38" name="Freeform 637"/>
          <p:cNvSpPr>
            <a:spLocks/>
          </p:cNvSpPr>
          <p:nvPr/>
        </p:nvSpPr>
        <p:spPr bwMode="auto">
          <a:xfrm>
            <a:off x="5502228" y="3578568"/>
            <a:ext cx="122350" cy="82672"/>
          </a:xfrm>
          <a:custGeom>
            <a:avLst/>
            <a:gdLst>
              <a:gd name="T0" fmla="*/ 0 w 72"/>
              <a:gd name="T1" fmla="*/ 22 h 50"/>
              <a:gd name="T2" fmla="*/ 0 w 72"/>
              <a:gd name="T3" fmla="*/ 22 h 50"/>
              <a:gd name="T4" fmla="*/ 4 w 72"/>
              <a:gd name="T5" fmla="*/ 21 h 50"/>
              <a:gd name="T6" fmla="*/ 10 w 72"/>
              <a:gd name="T7" fmla="*/ 29 h 50"/>
              <a:gd name="T8" fmla="*/ 40 w 72"/>
              <a:gd name="T9" fmla="*/ 28 h 50"/>
              <a:gd name="T10" fmla="*/ 67 w 72"/>
              <a:gd name="T11" fmla="*/ 0 h 50"/>
              <a:gd name="T12" fmla="*/ 71 w 72"/>
              <a:gd name="T13" fmla="*/ 17 h 50"/>
              <a:gd name="T14" fmla="*/ 63 w 72"/>
              <a:gd name="T15" fmla="*/ 18 h 50"/>
              <a:gd name="T16" fmla="*/ 67 w 72"/>
              <a:gd name="T17" fmla="*/ 28 h 50"/>
              <a:gd name="T18" fmla="*/ 56 w 72"/>
              <a:gd name="T19" fmla="*/ 49 h 50"/>
              <a:gd name="T20" fmla="*/ 13 w 72"/>
              <a:gd name="T21" fmla="*/ 43 h 50"/>
              <a:gd name="T22" fmla="*/ 0 w 72"/>
              <a:gd name="T23" fmla="*/ 22 h 50"/>
              <a:gd name="T24" fmla="*/ 0 w 72"/>
              <a:gd name="T25" fmla="*/ 22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50"/>
              <a:gd name="T41" fmla="*/ 72 w 72"/>
              <a:gd name="T42" fmla="*/ 50 h 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50">
                <a:moveTo>
                  <a:pt x="0" y="22"/>
                </a:moveTo>
                <a:lnTo>
                  <a:pt x="0" y="22"/>
                </a:lnTo>
                <a:lnTo>
                  <a:pt x="4" y="21"/>
                </a:lnTo>
                <a:lnTo>
                  <a:pt x="10" y="29"/>
                </a:lnTo>
                <a:lnTo>
                  <a:pt x="40" y="28"/>
                </a:lnTo>
                <a:lnTo>
                  <a:pt x="67" y="0"/>
                </a:lnTo>
                <a:lnTo>
                  <a:pt x="71" y="17"/>
                </a:lnTo>
                <a:lnTo>
                  <a:pt x="63" y="18"/>
                </a:lnTo>
                <a:lnTo>
                  <a:pt x="67" y="28"/>
                </a:lnTo>
                <a:lnTo>
                  <a:pt x="56" y="49"/>
                </a:lnTo>
                <a:lnTo>
                  <a:pt x="13" y="43"/>
                </a:lnTo>
                <a:lnTo>
                  <a:pt x="0" y="2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39" name="Freeform 638"/>
          <p:cNvSpPr>
            <a:spLocks/>
          </p:cNvSpPr>
          <p:nvPr/>
        </p:nvSpPr>
        <p:spPr bwMode="auto">
          <a:xfrm>
            <a:off x="5325501" y="3745564"/>
            <a:ext cx="224308" cy="147155"/>
          </a:xfrm>
          <a:custGeom>
            <a:avLst/>
            <a:gdLst>
              <a:gd name="T0" fmla="*/ 0 w 132"/>
              <a:gd name="T1" fmla="*/ 88 h 89"/>
              <a:gd name="T2" fmla="*/ 0 w 132"/>
              <a:gd name="T3" fmla="*/ 88 h 89"/>
              <a:gd name="T4" fmla="*/ 35 w 132"/>
              <a:gd name="T5" fmla="*/ 68 h 89"/>
              <a:gd name="T6" fmla="*/ 29 w 132"/>
              <a:gd name="T7" fmla="*/ 59 h 89"/>
              <a:gd name="T8" fmla="*/ 39 w 132"/>
              <a:gd name="T9" fmla="*/ 48 h 89"/>
              <a:gd name="T10" fmla="*/ 73 w 132"/>
              <a:gd name="T11" fmla="*/ 9 h 89"/>
              <a:gd name="T12" fmla="*/ 117 w 132"/>
              <a:gd name="T13" fmla="*/ 0 h 89"/>
              <a:gd name="T14" fmla="*/ 131 w 132"/>
              <a:gd name="T15" fmla="*/ 34 h 89"/>
              <a:gd name="T16" fmla="*/ 120 w 132"/>
              <a:gd name="T17" fmla="*/ 48 h 89"/>
              <a:gd name="T18" fmla="*/ 70 w 132"/>
              <a:gd name="T19" fmla="*/ 71 h 89"/>
              <a:gd name="T20" fmla="*/ 0 w 132"/>
              <a:gd name="T21" fmla="*/ 88 h 89"/>
              <a:gd name="T22" fmla="*/ 0 w 132"/>
              <a:gd name="T23" fmla="*/ 88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2"/>
              <a:gd name="T37" fmla="*/ 0 h 89"/>
              <a:gd name="T38" fmla="*/ 132 w 132"/>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2" h="89">
                <a:moveTo>
                  <a:pt x="0" y="88"/>
                </a:moveTo>
                <a:lnTo>
                  <a:pt x="0" y="88"/>
                </a:lnTo>
                <a:lnTo>
                  <a:pt x="35" y="68"/>
                </a:lnTo>
                <a:lnTo>
                  <a:pt x="29" y="59"/>
                </a:lnTo>
                <a:lnTo>
                  <a:pt x="39" y="48"/>
                </a:lnTo>
                <a:lnTo>
                  <a:pt x="73" y="9"/>
                </a:lnTo>
                <a:lnTo>
                  <a:pt x="117" y="0"/>
                </a:lnTo>
                <a:lnTo>
                  <a:pt x="131" y="34"/>
                </a:lnTo>
                <a:lnTo>
                  <a:pt x="120" y="48"/>
                </a:lnTo>
                <a:lnTo>
                  <a:pt x="70" y="71"/>
                </a:lnTo>
                <a:lnTo>
                  <a:pt x="0" y="8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40" name="Freeform 639"/>
          <p:cNvSpPr>
            <a:spLocks/>
          </p:cNvSpPr>
          <p:nvPr/>
        </p:nvSpPr>
        <p:spPr bwMode="auto">
          <a:xfrm>
            <a:off x="5306809" y="3783593"/>
            <a:ext cx="86664" cy="109127"/>
          </a:xfrm>
          <a:custGeom>
            <a:avLst/>
            <a:gdLst>
              <a:gd name="T0" fmla="*/ 0 w 51"/>
              <a:gd name="T1" fmla="*/ 13 h 66"/>
              <a:gd name="T2" fmla="*/ 0 w 51"/>
              <a:gd name="T3" fmla="*/ 13 h 66"/>
              <a:gd name="T4" fmla="*/ 11 w 51"/>
              <a:gd name="T5" fmla="*/ 65 h 66"/>
              <a:gd name="T6" fmla="*/ 46 w 51"/>
              <a:gd name="T7" fmla="*/ 45 h 66"/>
              <a:gd name="T8" fmla="*/ 40 w 51"/>
              <a:gd name="T9" fmla="*/ 36 h 66"/>
              <a:gd name="T10" fmla="*/ 50 w 51"/>
              <a:gd name="T11" fmla="*/ 25 h 66"/>
              <a:gd name="T12" fmla="*/ 50 w 51"/>
              <a:gd name="T13" fmla="*/ 10 h 66"/>
              <a:gd name="T14" fmla="*/ 25 w 51"/>
              <a:gd name="T15" fmla="*/ 0 h 66"/>
              <a:gd name="T16" fmla="*/ 0 w 51"/>
              <a:gd name="T17" fmla="*/ 13 h 66"/>
              <a:gd name="T18" fmla="*/ 0 w 51"/>
              <a:gd name="T19" fmla="*/ 13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66"/>
              <a:gd name="T32" fmla="*/ 51 w 51"/>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66">
                <a:moveTo>
                  <a:pt x="0" y="13"/>
                </a:moveTo>
                <a:lnTo>
                  <a:pt x="0" y="13"/>
                </a:lnTo>
                <a:lnTo>
                  <a:pt x="11" y="65"/>
                </a:lnTo>
                <a:lnTo>
                  <a:pt x="46" y="45"/>
                </a:lnTo>
                <a:lnTo>
                  <a:pt x="40" y="36"/>
                </a:lnTo>
                <a:lnTo>
                  <a:pt x="50" y="25"/>
                </a:lnTo>
                <a:lnTo>
                  <a:pt x="50" y="10"/>
                </a:lnTo>
                <a:lnTo>
                  <a:pt x="25" y="0"/>
                </a:lnTo>
                <a:lnTo>
                  <a:pt x="0" y="1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41" name="Freeform 640"/>
          <p:cNvSpPr>
            <a:spLocks/>
          </p:cNvSpPr>
          <p:nvPr/>
        </p:nvSpPr>
        <p:spPr bwMode="auto">
          <a:xfrm>
            <a:off x="4586305" y="4304424"/>
            <a:ext cx="295678" cy="281083"/>
          </a:xfrm>
          <a:custGeom>
            <a:avLst/>
            <a:gdLst>
              <a:gd name="T0" fmla="*/ 0 w 174"/>
              <a:gd name="T1" fmla="*/ 159 h 170"/>
              <a:gd name="T2" fmla="*/ 0 w 174"/>
              <a:gd name="T3" fmla="*/ 159 h 170"/>
              <a:gd name="T4" fmla="*/ 23 w 174"/>
              <a:gd name="T5" fmla="*/ 153 h 170"/>
              <a:gd name="T6" fmla="*/ 134 w 174"/>
              <a:gd name="T7" fmla="*/ 169 h 170"/>
              <a:gd name="T8" fmla="*/ 159 w 174"/>
              <a:gd name="T9" fmla="*/ 162 h 170"/>
              <a:gd name="T10" fmla="*/ 142 w 174"/>
              <a:gd name="T11" fmla="*/ 149 h 170"/>
              <a:gd name="T12" fmla="*/ 142 w 174"/>
              <a:gd name="T13" fmla="*/ 98 h 170"/>
              <a:gd name="T14" fmla="*/ 173 w 174"/>
              <a:gd name="T15" fmla="*/ 98 h 170"/>
              <a:gd name="T16" fmla="*/ 170 w 174"/>
              <a:gd name="T17" fmla="*/ 70 h 170"/>
              <a:gd name="T18" fmla="*/ 142 w 174"/>
              <a:gd name="T19" fmla="*/ 73 h 170"/>
              <a:gd name="T20" fmla="*/ 139 w 174"/>
              <a:gd name="T21" fmla="*/ 24 h 170"/>
              <a:gd name="T22" fmla="*/ 127 w 174"/>
              <a:gd name="T23" fmla="*/ 15 h 170"/>
              <a:gd name="T24" fmla="*/ 109 w 174"/>
              <a:gd name="T25" fmla="*/ 16 h 170"/>
              <a:gd name="T26" fmla="*/ 105 w 174"/>
              <a:gd name="T27" fmla="*/ 30 h 170"/>
              <a:gd name="T28" fmla="*/ 86 w 174"/>
              <a:gd name="T29" fmla="*/ 32 h 170"/>
              <a:gd name="T30" fmla="*/ 63 w 174"/>
              <a:gd name="T31" fmla="*/ 0 h 170"/>
              <a:gd name="T32" fmla="*/ 11 w 174"/>
              <a:gd name="T33" fmla="*/ 7 h 170"/>
              <a:gd name="T34" fmla="*/ 30 w 174"/>
              <a:gd name="T35" fmla="*/ 71 h 170"/>
              <a:gd name="T36" fmla="*/ 0 w 174"/>
              <a:gd name="T37" fmla="*/ 159 h 170"/>
              <a:gd name="T38" fmla="*/ 0 w 174"/>
              <a:gd name="T39" fmla="*/ 159 h 1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4"/>
              <a:gd name="T61" fmla="*/ 0 h 170"/>
              <a:gd name="T62" fmla="*/ 174 w 174"/>
              <a:gd name="T63" fmla="*/ 170 h 1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4" h="170">
                <a:moveTo>
                  <a:pt x="0" y="159"/>
                </a:moveTo>
                <a:lnTo>
                  <a:pt x="0" y="159"/>
                </a:lnTo>
                <a:lnTo>
                  <a:pt x="23" y="153"/>
                </a:lnTo>
                <a:lnTo>
                  <a:pt x="134" y="169"/>
                </a:lnTo>
                <a:lnTo>
                  <a:pt x="159" y="162"/>
                </a:lnTo>
                <a:lnTo>
                  <a:pt x="142" y="149"/>
                </a:lnTo>
                <a:lnTo>
                  <a:pt x="142" y="98"/>
                </a:lnTo>
                <a:lnTo>
                  <a:pt x="173" y="98"/>
                </a:lnTo>
                <a:lnTo>
                  <a:pt x="170" y="70"/>
                </a:lnTo>
                <a:lnTo>
                  <a:pt x="142" y="73"/>
                </a:lnTo>
                <a:lnTo>
                  <a:pt x="139" y="24"/>
                </a:lnTo>
                <a:lnTo>
                  <a:pt x="127" y="15"/>
                </a:lnTo>
                <a:lnTo>
                  <a:pt x="109" y="16"/>
                </a:lnTo>
                <a:lnTo>
                  <a:pt x="105" y="30"/>
                </a:lnTo>
                <a:lnTo>
                  <a:pt x="86" y="32"/>
                </a:lnTo>
                <a:lnTo>
                  <a:pt x="63" y="0"/>
                </a:lnTo>
                <a:lnTo>
                  <a:pt x="11" y="7"/>
                </a:lnTo>
                <a:lnTo>
                  <a:pt x="30" y="71"/>
                </a:lnTo>
                <a:lnTo>
                  <a:pt x="0" y="159"/>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42" name="Freeform 641"/>
          <p:cNvSpPr>
            <a:spLocks/>
          </p:cNvSpPr>
          <p:nvPr/>
        </p:nvSpPr>
        <p:spPr bwMode="auto">
          <a:xfrm>
            <a:off x="4594801" y="4281276"/>
            <a:ext cx="25490" cy="24801"/>
          </a:xfrm>
          <a:custGeom>
            <a:avLst/>
            <a:gdLst>
              <a:gd name="T0" fmla="*/ 0 w 15"/>
              <a:gd name="T1" fmla="*/ 4 h 15"/>
              <a:gd name="T2" fmla="*/ 0 w 15"/>
              <a:gd name="T3" fmla="*/ 4 h 15"/>
              <a:gd name="T4" fmla="*/ 5 w 15"/>
              <a:gd name="T5" fmla="*/ 14 h 15"/>
              <a:gd name="T6" fmla="*/ 14 w 15"/>
              <a:gd name="T7" fmla="*/ 0 h 15"/>
              <a:gd name="T8" fmla="*/ 0 w 15"/>
              <a:gd name="T9" fmla="*/ 4 h 15"/>
              <a:gd name="T10" fmla="*/ 0 w 15"/>
              <a:gd name="T11" fmla="*/ 4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0" y="4"/>
                </a:moveTo>
                <a:lnTo>
                  <a:pt x="0" y="4"/>
                </a:lnTo>
                <a:lnTo>
                  <a:pt x="5" y="14"/>
                </a:lnTo>
                <a:lnTo>
                  <a:pt x="14" y="0"/>
                </a:lnTo>
                <a:lnTo>
                  <a:pt x="0" y="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43" name="Freeform 642"/>
          <p:cNvSpPr>
            <a:spLocks/>
          </p:cNvSpPr>
          <p:nvPr/>
        </p:nvSpPr>
        <p:spPr bwMode="auto">
          <a:xfrm>
            <a:off x="4780025" y="4577240"/>
            <a:ext cx="217511" cy="211639"/>
          </a:xfrm>
          <a:custGeom>
            <a:avLst/>
            <a:gdLst>
              <a:gd name="T0" fmla="*/ 0 w 128"/>
              <a:gd name="T1" fmla="*/ 98 h 128"/>
              <a:gd name="T2" fmla="*/ 0 w 128"/>
              <a:gd name="T3" fmla="*/ 98 h 128"/>
              <a:gd name="T4" fmla="*/ 0 w 128"/>
              <a:gd name="T5" fmla="*/ 59 h 128"/>
              <a:gd name="T6" fmla="*/ 14 w 128"/>
              <a:gd name="T7" fmla="*/ 59 h 128"/>
              <a:gd name="T8" fmla="*/ 14 w 128"/>
              <a:gd name="T9" fmla="*/ 10 h 128"/>
              <a:gd name="T10" fmla="*/ 40 w 128"/>
              <a:gd name="T11" fmla="*/ 4 h 128"/>
              <a:gd name="T12" fmla="*/ 48 w 128"/>
              <a:gd name="T13" fmla="*/ 13 h 128"/>
              <a:gd name="T14" fmla="*/ 71 w 128"/>
              <a:gd name="T15" fmla="*/ 0 h 128"/>
              <a:gd name="T16" fmla="*/ 109 w 128"/>
              <a:gd name="T17" fmla="*/ 53 h 128"/>
              <a:gd name="T18" fmla="*/ 127 w 128"/>
              <a:gd name="T19" fmla="*/ 62 h 128"/>
              <a:gd name="T20" fmla="*/ 76 w 128"/>
              <a:gd name="T21" fmla="*/ 109 h 128"/>
              <a:gd name="T22" fmla="*/ 46 w 128"/>
              <a:gd name="T23" fmla="*/ 109 h 128"/>
              <a:gd name="T24" fmla="*/ 30 w 128"/>
              <a:gd name="T25" fmla="*/ 126 h 128"/>
              <a:gd name="T26" fmla="*/ 11 w 128"/>
              <a:gd name="T27" fmla="*/ 127 h 128"/>
              <a:gd name="T28" fmla="*/ 11 w 128"/>
              <a:gd name="T29" fmla="*/ 112 h 128"/>
              <a:gd name="T30" fmla="*/ 0 w 128"/>
              <a:gd name="T31" fmla="*/ 98 h 128"/>
              <a:gd name="T32" fmla="*/ 0 w 128"/>
              <a:gd name="T33" fmla="*/ 98 h 1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8"/>
              <a:gd name="T52" fmla="*/ 0 h 128"/>
              <a:gd name="T53" fmla="*/ 128 w 128"/>
              <a:gd name="T54" fmla="*/ 128 h 1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8" h="128">
                <a:moveTo>
                  <a:pt x="0" y="98"/>
                </a:moveTo>
                <a:lnTo>
                  <a:pt x="0" y="98"/>
                </a:lnTo>
                <a:lnTo>
                  <a:pt x="0" y="59"/>
                </a:lnTo>
                <a:lnTo>
                  <a:pt x="14" y="59"/>
                </a:lnTo>
                <a:lnTo>
                  <a:pt x="14" y="10"/>
                </a:lnTo>
                <a:lnTo>
                  <a:pt x="40" y="4"/>
                </a:lnTo>
                <a:lnTo>
                  <a:pt x="48" y="13"/>
                </a:lnTo>
                <a:lnTo>
                  <a:pt x="71" y="0"/>
                </a:lnTo>
                <a:lnTo>
                  <a:pt x="109" y="53"/>
                </a:lnTo>
                <a:lnTo>
                  <a:pt x="127" y="62"/>
                </a:lnTo>
                <a:lnTo>
                  <a:pt x="76" y="109"/>
                </a:lnTo>
                <a:lnTo>
                  <a:pt x="46" y="109"/>
                </a:lnTo>
                <a:lnTo>
                  <a:pt x="30" y="126"/>
                </a:lnTo>
                <a:lnTo>
                  <a:pt x="11" y="127"/>
                </a:lnTo>
                <a:lnTo>
                  <a:pt x="11" y="112"/>
                </a:lnTo>
                <a:lnTo>
                  <a:pt x="0" y="9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44" name="Freeform 643"/>
          <p:cNvSpPr>
            <a:spLocks/>
          </p:cNvSpPr>
          <p:nvPr/>
        </p:nvSpPr>
        <p:spPr bwMode="auto">
          <a:xfrm>
            <a:off x="4992438" y="4228366"/>
            <a:ext cx="42483" cy="46296"/>
          </a:xfrm>
          <a:custGeom>
            <a:avLst/>
            <a:gdLst>
              <a:gd name="T0" fmla="*/ 0 w 25"/>
              <a:gd name="T1" fmla="*/ 4 h 28"/>
              <a:gd name="T2" fmla="*/ 0 w 25"/>
              <a:gd name="T3" fmla="*/ 4 h 28"/>
              <a:gd name="T4" fmla="*/ 3 w 25"/>
              <a:gd name="T5" fmla="*/ 14 h 28"/>
              <a:gd name="T6" fmla="*/ 9 w 25"/>
              <a:gd name="T7" fmla="*/ 27 h 28"/>
              <a:gd name="T8" fmla="*/ 24 w 25"/>
              <a:gd name="T9" fmla="*/ 11 h 28"/>
              <a:gd name="T10" fmla="*/ 23 w 25"/>
              <a:gd name="T11" fmla="*/ 0 h 28"/>
              <a:gd name="T12" fmla="*/ 0 w 25"/>
              <a:gd name="T13" fmla="*/ 4 h 28"/>
              <a:gd name="T14" fmla="*/ 0 w 25"/>
              <a:gd name="T15" fmla="*/ 4 h 2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28"/>
              <a:gd name="T26" fmla="*/ 25 w 25"/>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28">
                <a:moveTo>
                  <a:pt x="0" y="4"/>
                </a:moveTo>
                <a:lnTo>
                  <a:pt x="0" y="4"/>
                </a:lnTo>
                <a:lnTo>
                  <a:pt x="3" y="14"/>
                </a:lnTo>
                <a:lnTo>
                  <a:pt x="9" y="27"/>
                </a:lnTo>
                <a:lnTo>
                  <a:pt x="24" y="11"/>
                </a:lnTo>
                <a:lnTo>
                  <a:pt x="23" y="0"/>
                </a:lnTo>
                <a:lnTo>
                  <a:pt x="0" y="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45" name="Freeform 644"/>
          <p:cNvSpPr>
            <a:spLocks/>
          </p:cNvSpPr>
          <p:nvPr/>
        </p:nvSpPr>
        <p:spPr bwMode="auto">
          <a:xfrm>
            <a:off x="4513235" y="3889413"/>
            <a:ext cx="180126" cy="252975"/>
          </a:xfrm>
          <a:custGeom>
            <a:avLst/>
            <a:gdLst>
              <a:gd name="T0" fmla="*/ 0 w 106"/>
              <a:gd name="T1" fmla="*/ 109 h 153"/>
              <a:gd name="T2" fmla="*/ 0 w 106"/>
              <a:gd name="T3" fmla="*/ 109 h 153"/>
              <a:gd name="T4" fmla="*/ 14 w 106"/>
              <a:gd name="T5" fmla="*/ 80 h 153"/>
              <a:gd name="T6" fmla="*/ 40 w 106"/>
              <a:gd name="T7" fmla="*/ 84 h 153"/>
              <a:gd name="T8" fmla="*/ 68 w 106"/>
              <a:gd name="T9" fmla="*/ 25 h 153"/>
              <a:gd name="T10" fmla="*/ 82 w 106"/>
              <a:gd name="T11" fmla="*/ 14 h 153"/>
              <a:gd name="T12" fmla="*/ 77 w 106"/>
              <a:gd name="T13" fmla="*/ 2 h 153"/>
              <a:gd name="T14" fmla="*/ 84 w 106"/>
              <a:gd name="T15" fmla="*/ 0 h 153"/>
              <a:gd name="T16" fmla="*/ 94 w 106"/>
              <a:gd name="T17" fmla="*/ 37 h 153"/>
              <a:gd name="T18" fmla="*/ 77 w 106"/>
              <a:gd name="T19" fmla="*/ 44 h 153"/>
              <a:gd name="T20" fmla="*/ 96 w 106"/>
              <a:gd name="T21" fmla="*/ 73 h 153"/>
              <a:gd name="T22" fmla="*/ 84 w 106"/>
              <a:gd name="T23" fmla="*/ 107 h 153"/>
              <a:gd name="T24" fmla="*/ 105 w 106"/>
              <a:gd name="T25" fmla="*/ 134 h 153"/>
              <a:gd name="T26" fmla="*/ 103 w 106"/>
              <a:gd name="T27" fmla="*/ 152 h 153"/>
              <a:gd name="T28" fmla="*/ 67 w 106"/>
              <a:gd name="T29" fmla="*/ 144 h 153"/>
              <a:gd name="T30" fmla="*/ 39 w 106"/>
              <a:gd name="T31" fmla="*/ 143 h 153"/>
              <a:gd name="T32" fmla="*/ 17 w 106"/>
              <a:gd name="T33" fmla="*/ 144 h 153"/>
              <a:gd name="T34" fmla="*/ 16 w 106"/>
              <a:gd name="T35" fmla="*/ 119 h 153"/>
              <a:gd name="T36" fmla="*/ 0 w 106"/>
              <a:gd name="T37" fmla="*/ 109 h 153"/>
              <a:gd name="T38" fmla="*/ 0 w 106"/>
              <a:gd name="T39" fmla="*/ 109 h 15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6"/>
              <a:gd name="T61" fmla="*/ 0 h 153"/>
              <a:gd name="T62" fmla="*/ 106 w 106"/>
              <a:gd name="T63" fmla="*/ 153 h 15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6" h="153">
                <a:moveTo>
                  <a:pt x="0" y="109"/>
                </a:moveTo>
                <a:lnTo>
                  <a:pt x="0" y="109"/>
                </a:lnTo>
                <a:lnTo>
                  <a:pt x="14" y="80"/>
                </a:lnTo>
                <a:lnTo>
                  <a:pt x="40" y="84"/>
                </a:lnTo>
                <a:lnTo>
                  <a:pt x="68" y="25"/>
                </a:lnTo>
                <a:lnTo>
                  <a:pt x="82" y="14"/>
                </a:lnTo>
                <a:lnTo>
                  <a:pt x="77" y="2"/>
                </a:lnTo>
                <a:lnTo>
                  <a:pt x="84" y="0"/>
                </a:lnTo>
                <a:lnTo>
                  <a:pt x="94" y="37"/>
                </a:lnTo>
                <a:lnTo>
                  <a:pt x="77" y="44"/>
                </a:lnTo>
                <a:lnTo>
                  <a:pt x="96" y="73"/>
                </a:lnTo>
                <a:lnTo>
                  <a:pt x="84" y="107"/>
                </a:lnTo>
                <a:lnTo>
                  <a:pt x="105" y="134"/>
                </a:lnTo>
                <a:lnTo>
                  <a:pt x="103" y="152"/>
                </a:lnTo>
                <a:lnTo>
                  <a:pt x="67" y="144"/>
                </a:lnTo>
                <a:lnTo>
                  <a:pt x="39" y="143"/>
                </a:lnTo>
                <a:lnTo>
                  <a:pt x="17" y="144"/>
                </a:lnTo>
                <a:lnTo>
                  <a:pt x="16" y="119"/>
                </a:lnTo>
                <a:lnTo>
                  <a:pt x="0" y="109"/>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46" name="Freeform 645"/>
          <p:cNvSpPr>
            <a:spLocks/>
          </p:cNvSpPr>
          <p:nvPr/>
        </p:nvSpPr>
        <p:spPr bwMode="auto">
          <a:xfrm>
            <a:off x="4655976" y="3929095"/>
            <a:ext cx="302476" cy="183531"/>
          </a:xfrm>
          <a:custGeom>
            <a:avLst/>
            <a:gdLst>
              <a:gd name="T0" fmla="*/ 0 w 178"/>
              <a:gd name="T1" fmla="*/ 83 h 111"/>
              <a:gd name="T2" fmla="*/ 0 w 178"/>
              <a:gd name="T3" fmla="*/ 83 h 111"/>
              <a:gd name="T4" fmla="*/ 12 w 178"/>
              <a:gd name="T5" fmla="*/ 49 h 111"/>
              <a:gd name="T6" fmla="*/ 56 w 178"/>
              <a:gd name="T7" fmla="*/ 40 h 111"/>
              <a:gd name="T8" fmla="*/ 61 w 178"/>
              <a:gd name="T9" fmla="*/ 29 h 111"/>
              <a:gd name="T10" fmla="*/ 81 w 178"/>
              <a:gd name="T11" fmla="*/ 25 h 111"/>
              <a:gd name="T12" fmla="*/ 111 w 178"/>
              <a:gd name="T13" fmla="*/ 0 h 111"/>
              <a:gd name="T14" fmla="*/ 121 w 178"/>
              <a:gd name="T15" fmla="*/ 29 h 111"/>
              <a:gd name="T16" fmla="*/ 144 w 178"/>
              <a:gd name="T17" fmla="*/ 40 h 111"/>
              <a:gd name="T18" fmla="*/ 177 w 178"/>
              <a:gd name="T19" fmla="*/ 80 h 111"/>
              <a:gd name="T20" fmla="*/ 95 w 178"/>
              <a:gd name="T21" fmla="*/ 91 h 111"/>
              <a:gd name="T22" fmla="*/ 68 w 178"/>
              <a:gd name="T23" fmla="*/ 80 h 111"/>
              <a:gd name="T24" fmla="*/ 56 w 178"/>
              <a:gd name="T25" fmla="*/ 99 h 111"/>
              <a:gd name="T26" fmla="*/ 33 w 178"/>
              <a:gd name="T27" fmla="*/ 99 h 111"/>
              <a:gd name="T28" fmla="*/ 21 w 178"/>
              <a:gd name="T29" fmla="*/ 110 h 111"/>
              <a:gd name="T30" fmla="*/ 0 w 178"/>
              <a:gd name="T31" fmla="*/ 83 h 111"/>
              <a:gd name="T32" fmla="*/ 0 w 178"/>
              <a:gd name="T33" fmla="*/ 83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8"/>
              <a:gd name="T52" fmla="*/ 0 h 111"/>
              <a:gd name="T53" fmla="*/ 178 w 17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8" h="111">
                <a:moveTo>
                  <a:pt x="0" y="83"/>
                </a:moveTo>
                <a:lnTo>
                  <a:pt x="0" y="83"/>
                </a:lnTo>
                <a:lnTo>
                  <a:pt x="12" y="49"/>
                </a:lnTo>
                <a:lnTo>
                  <a:pt x="56" y="40"/>
                </a:lnTo>
                <a:lnTo>
                  <a:pt x="61" y="29"/>
                </a:lnTo>
                <a:lnTo>
                  <a:pt x="81" y="25"/>
                </a:lnTo>
                <a:lnTo>
                  <a:pt x="111" y="0"/>
                </a:lnTo>
                <a:lnTo>
                  <a:pt x="121" y="29"/>
                </a:lnTo>
                <a:lnTo>
                  <a:pt x="144" y="40"/>
                </a:lnTo>
                <a:lnTo>
                  <a:pt x="177" y="80"/>
                </a:lnTo>
                <a:lnTo>
                  <a:pt x="95" y="91"/>
                </a:lnTo>
                <a:lnTo>
                  <a:pt x="68" y="80"/>
                </a:lnTo>
                <a:lnTo>
                  <a:pt x="56" y="99"/>
                </a:lnTo>
                <a:lnTo>
                  <a:pt x="33" y="99"/>
                </a:lnTo>
                <a:lnTo>
                  <a:pt x="21" y="110"/>
                </a:lnTo>
                <a:lnTo>
                  <a:pt x="0" y="8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47" name="Freeform 646"/>
          <p:cNvSpPr>
            <a:spLocks/>
          </p:cNvSpPr>
          <p:nvPr/>
        </p:nvSpPr>
        <p:spPr bwMode="auto">
          <a:xfrm>
            <a:off x="4628787" y="3641398"/>
            <a:ext cx="249797" cy="370369"/>
          </a:xfrm>
          <a:custGeom>
            <a:avLst/>
            <a:gdLst>
              <a:gd name="T0" fmla="*/ 0 w 147"/>
              <a:gd name="T1" fmla="*/ 128 h 224"/>
              <a:gd name="T2" fmla="*/ 0 w 147"/>
              <a:gd name="T3" fmla="*/ 128 h 224"/>
              <a:gd name="T4" fmla="*/ 21 w 147"/>
              <a:gd name="T5" fmla="*/ 139 h 224"/>
              <a:gd name="T6" fmla="*/ 16 w 147"/>
              <a:gd name="T7" fmla="*/ 150 h 224"/>
              <a:gd name="T8" fmla="*/ 26 w 147"/>
              <a:gd name="T9" fmla="*/ 187 h 224"/>
              <a:gd name="T10" fmla="*/ 9 w 147"/>
              <a:gd name="T11" fmla="*/ 194 h 224"/>
              <a:gd name="T12" fmla="*/ 28 w 147"/>
              <a:gd name="T13" fmla="*/ 223 h 224"/>
              <a:gd name="T14" fmla="*/ 72 w 147"/>
              <a:gd name="T15" fmla="*/ 214 h 224"/>
              <a:gd name="T16" fmla="*/ 77 w 147"/>
              <a:gd name="T17" fmla="*/ 203 h 224"/>
              <a:gd name="T18" fmla="*/ 97 w 147"/>
              <a:gd name="T19" fmla="*/ 199 h 224"/>
              <a:gd name="T20" fmla="*/ 127 w 147"/>
              <a:gd name="T21" fmla="*/ 174 h 224"/>
              <a:gd name="T22" fmla="*/ 117 w 147"/>
              <a:gd name="T23" fmla="*/ 147 h 224"/>
              <a:gd name="T24" fmla="*/ 131 w 147"/>
              <a:gd name="T25" fmla="*/ 111 h 224"/>
              <a:gd name="T26" fmla="*/ 145 w 147"/>
              <a:gd name="T27" fmla="*/ 108 h 224"/>
              <a:gd name="T28" fmla="*/ 146 w 147"/>
              <a:gd name="T29" fmla="*/ 56 h 224"/>
              <a:gd name="T30" fmla="*/ 36 w 147"/>
              <a:gd name="T31" fmla="*/ 0 h 224"/>
              <a:gd name="T32" fmla="*/ 22 w 147"/>
              <a:gd name="T33" fmla="*/ 5 h 224"/>
              <a:gd name="T34" fmla="*/ 22 w 147"/>
              <a:gd name="T35" fmla="*/ 27 h 224"/>
              <a:gd name="T36" fmla="*/ 36 w 147"/>
              <a:gd name="T37" fmla="*/ 43 h 224"/>
              <a:gd name="T38" fmla="*/ 28 w 147"/>
              <a:gd name="T39" fmla="*/ 92 h 224"/>
              <a:gd name="T40" fmla="*/ 0 w 147"/>
              <a:gd name="T41" fmla="*/ 128 h 224"/>
              <a:gd name="T42" fmla="*/ 0 w 147"/>
              <a:gd name="T43" fmla="*/ 128 h 2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7"/>
              <a:gd name="T67" fmla="*/ 0 h 224"/>
              <a:gd name="T68" fmla="*/ 147 w 147"/>
              <a:gd name="T69" fmla="*/ 224 h 2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7" h="224">
                <a:moveTo>
                  <a:pt x="0" y="128"/>
                </a:moveTo>
                <a:lnTo>
                  <a:pt x="0" y="128"/>
                </a:lnTo>
                <a:lnTo>
                  <a:pt x="21" y="139"/>
                </a:lnTo>
                <a:lnTo>
                  <a:pt x="16" y="150"/>
                </a:lnTo>
                <a:lnTo>
                  <a:pt x="26" y="187"/>
                </a:lnTo>
                <a:lnTo>
                  <a:pt x="9" y="194"/>
                </a:lnTo>
                <a:lnTo>
                  <a:pt x="28" y="223"/>
                </a:lnTo>
                <a:lnTo>
                  <a:pt x="72" y="214"/>
                </a:lnTo>
                <a:lnTo>
                  <a:pt x="77" y="203"/>
                </a:lnTo>
                <a:lnTo>
                  <a:pt x="97" y="199"/>
                </a:lnTo>
                <a:lnTo>
                  <a:pt x="127" y="174"/>
                </a:lnTo>
                <a:lnTo>
                  <a:pt x="117" y="147"/>
                </a:lnTo>
                <a:lnTo>
                  <a:pt x="131" y="111"/>
                </a:lnTo>
                <a:lnTo>
                  <a:pt x="145" y="108"/>
                </a:lnTo>
                <a:lnTo>
                  <a:pt x="146" y="56"/>
                </a:lnTo>
                <a:lnTo>
                  <a:pt x="36" y="0"/>
                </a:lnTo>
                <a:lnTo>
                  <a:pt x="22" y="5"/>
                </a:lnTo>
                <a:lnTo>
                  <a:pt x="22" y="27"/>
                </a:lnTo>
                <a:lnTo>
                  <a:pt x="36" y="43"/>
                </a:lnTo>
                <a:lnTo>
                  <a:pt x="28" y="92"/>
                </a:lnTo>
                <a:lnTo>
                  <a:pt x="0" y="12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48" name="Freeform 647"/>
          <p:cNvSpPr>
            <a:spLocks/>
          </p:cNvSpPr>
          <p:nvPr/>
        </p:nvSpPr>
        <p:spPr bwMode="auto">
          <a:xfrm>
            <a:off x="4576109" y="4092785"/>
            <a:ext cx="176727" cy="196758"/>
          </a:xfrm>
          <a:custGeom>
            <a:avLst/>
            <a:gdLst>
              <a:gd name="T0" fmla="*/ 0 w 104"/>
              <a:gd name="T1" fmla="*/ 104 h 119"/>
              <a:gd name="T2" fmla="*/ 0 w 104"/>
              <a:gd name="T3" fmla="*/ 104 h 119"/>
              <a:gd name="T4" fmla="*/ 11 w 104"/>
              <a:gd name="T5" fmla="*/ 118 h 119"/>
              <a:gd name="T6" fmla="*/ 25 w 104"/>
              <a:gd name="T7" fmla="*/ 114 h 119"/>
              <a:gd name="T8" fmla="*/ 46 w 104"/>
              <a:gd name="T9" fmla="*/ 115 h 119"/>
              <a:gd name="T10" fmla="*/ 65 w 104"/>
              <a:gd name="T11" fmla="*/ 103 h 119"/>
              <a:gd name="T12" fmla="*/ 70 w 104"/>
              <a:gd name="T13" fmla="*/ 79 h 119"/>
              <a:gd name="T14" fmla="*/ 90 w 104"/>
              <a:gd name="T15" fmla="*/ 59 h 119"/>
              <a:gd name="T16" fmla="*/ 103 w 104"/>
              <a:gd name="T17" fmla="*/ 0 h 119"/>
              <a:gd name="T18" fmla="*/ 80 w 104"/>
              <a:gd name="T19" fmla="*/ 0 h 119"/>
              <a:gd name="T20" fmla="*/ 68 w 104"/>
              <a:gd name="T21" fmla="*/ 11 h 119"/>
              <a:gd name="T22" fmla="*/ 66 w 104"/>
              <a:gd name="T23" fmla="*/ 29 h 119"/>
              <a:gd name="T24" fmla="*/ 30 w 104"/>
              <a:gd name="T25" fmla="*/ 21 h 119"/>
              <a:gd name="T26" fmla="*/ 29 w 104"/>
              <a:gd name="T27" fmla="*/ 33 h 119"/>
              <a:gd name="T28" fmla="*/ 43 w 104"/>
              <a:gd name="T29" fmla="*/ 35 h 119"/>
              <a:gd name="T30" fmla="*/ 39 w 104"/>
              <a:gd name="T31" fmla="*/ 81 h 119"/>
              <a:gd name="T32" fmla="*/ 21 w 104"/>
              <a:gd name="T33" fmla="*/ 76 h 119"/>
              <a:gd name="T34" fmla="*/ 0 w 104"/>
              <a:gd name="T35" fmla="*/ 104 h 119"/>
              <a:gd name="T36" fmla="*/ 0 w 104"/>
              <a:gd name="T37" fmla="*/ 104 h 1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119"/>
              <a:gd name="T59" fmla="*/ 104 w 104"/>
              <a:gd name="T60" fmla="*/ 119 h 1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119">
                <a:moveTo>
                  <a:pt x="0" y="104"/>
                </a:moveTo>
                <a:lnTo>
                  <a:pt x="0" y="104"/>
                </a:lnTo>
                <a:lnTo>
                  <a:pt x="11" y="118"/>
                </a:lnTo>
                <a:lnTo>
                  <a:pt x="25" y="114"/>
                </a:lnTo>
                <a:lnTo>
                  <a:pt x="46" y="115"/>
                </a:lnTo>
                <a:lnTo>
                  <a:pt x="65" y="103"/>
                </a:lnTo>
                <a:lnTo>
                  <a:pt x="70" y="79"/>
                </a:lnTo>
                <a:lnTo>
                  <a:pt x="90" y="59"/>
                </a:lnTo>
                <a:lnTo>
                  <a:pt x="103" y="0"/>
                </a:lnTo>
                <a:lnTo>
                  <a:pt x="80" y="0"/>
                </a:lnTo>
                <a:lnTo>
                  <a:pt x="68" y="11"/>
                </a:lnTo>
                <a:lnTo>
                  <a:pt x="66" y="29"/>
                </a:lnTo>
                <a:lnTo>
                  <a:pt x="30" y="21"/>
                </a:lnTo>
                <a:lnTo>
                  <a:pt x="29" y="33"/>
                </a:lnTo>
                <a:lnTo>
                  <a:pt x="43" y="35"/>
                </a:lnTo>
                <a:lnTo>
                  <a:pt x="39" y="81"/>
                </a:lnTo>
                <a:lnTo>
                  <a:pt x="21" y="76"/>
                </a:lnTo>
                <a:lnTo>
                  <a:pt x="0" y="10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49" name="Freeform 648"/>
          <p:cNvSpPr>
            <a:spLocks/>
          </p:cNvSpPr>
          <p:nvPr/>
        </p:nvSpPr>
        <p:spPr bwMode="auto">
          <a:xfrm>
            <a:off x="4603298" y="4061370"/>
            <a:ext cx="441818" cy="413358"/>
          </a:xfrm>
          <a:custGeom>
            <a:avLst/>
            <a:gdLst>
              <a:gd name="T0" fmla="*/ 0 w 260"/>
              <a:gd name="T1" fmla="*/ 147 h 250"/>
              <a:gd name="T2" fmla="*/ 0 w 260"/>
              <a:gd name="T3" fmla="*/ 147 h 250"/>
              <a:gd name="T4" fmla="*/ 1 w 260"/>
              <a:gd name="T5" fmla="*/ 154 h 250"/>
              <a:gd name="T6" fmla="*/ 53 w 260"/>
              <a:gd name="T7" fmla="*/ 147 h 250"/>
              <a:gd name="T8" fmla="*/ 76 w 260"/>
              <a:gd name="T9" fmla="*/ 179 h 250"/>
              <a:gd name="T10" fmla="*/ 95 w 260"/>
              <a:gd name="T11" fmla="*/ 177 h 250"/>
              <a:gd name="T12" fmla="*/ 99 w 260"/>
              <a:gd name="T13" fmla="*/ 163 h 250"/>
              <a:gd name="T14" fmla="*/ 117 w 260"/>
              <a:gd name="T15" fmla="*/ 162 h 250"/>
              <a:gd name="T16" fmla="*/ 129 w 260"/>
              <a:gd name="T17" fmla="*/ 171 h 250"/>
              <a:gd name="T18" fmla="*/ 132 w 260"/>
              <a:gd name="T19" fmla="*/ 220 h 250"/>
              <a:gd name="T20" fmla="*/ 160 w 260"/>
              <a:gd name="T21" fmla="*/ 217 h 250"/>
              <a:gd name="T22" fmla="*/ 238 w 260"/>
              <a:gd name="T23" fmla="*/ 249 h 250"/>
              <a:gd name="T24" fmla="*/ 238 w 260"/>
              <a:gd name="T25" fmla="*/ 235 h 250"/>
              <a:gd name="T26" fmla="*/ 222 w 260"/>
              <a:gd name="T27" fmla="*/ 228 h 250"/>
              <a:gd name="T28" fmla="*/ 225 w 260"/>
              <a:gd name="T29" fmla="*/ 192 h 250"/>
              <a:gd name="T30" fmla="*/ 250 w 260"/>
              <a:gd name="T31" fmla="*/ 180 h 250"/>
              <a:gd name="T32" fmla="*/ 234 w 260"/>
              <a:gd name="T33" fmla="*/ 156 h 250"/>
              <a:gd name="T34" fmla="*/ 232 w 260"/>
              <a:gd name="T35" fmla="*/ 115 h 250"/>
              <a:gd name="T36" fmla="*/ 229 w 260"/>
              <a:gd name="T37" fmla="*/ 105 h 250"/>
              <a:gd name="T38" fmla="*/ 238 w 260"/>
              <a:gd name="T39" fmla="*/ 87 h 250"/>
              <a:gd name="T40" fmla="*/ 250 w 260"/>
              <a:gd name="T41" fmla="*/ 52 h 250"/>
              <a:gd name="T42" fmla="*/ 259 w 260"/>
              <a:gd name="T43" fmla="*/ 39 h 250"/>
              <a:gd name="T44" fmla="*/ 254 w 260"/>
              <a:gd name="T45" fmla="*/ 20 h 250"/>
              <a:gd name="T46" fmla="*/ 208 w 260"/>
              <a:gd name="T47" fmla="*/ 0 h 250"/>
              <a:gd name="T48" fmla="*/ 126 w 260"/>
              <a:gd name="T49" fmla="*/ 11 h 250"/>
              <a:gd name="T50" fmla="*/ 99 w 260"/>
              <a:gd name="T51" fmla="*/ 0 h 250"/>
              <a:gd name="T52" fmla="*/ 87 w 260"/>
              <a:gd name="T53" fmla="*/ 19 h 250"/>
              <a:gd name="T54" fmla="*/ 74 w 260"/>
              <a:gd name="T55" fmla="*/ 78 h 250"/>
              <a:gd name="T56" fmla="*/ 54 w 260"/>
              <a:gd name="T57" fmla="*/ 98 h 250"/>
              <a:gd name="T58" fmla="*/ 49 w 260"/>
              <a:gd name="T59" fmla="*/ 122 h 250"/>
              <a:gd name="T60" fmla="*/ 30 w 260"/>
              <a:gd name="T61" fmla="*/ 134 h 250"/>
              <a:gd name="T62" fmla="*/ 9 w 260"/>
              <a:gd name="T63" fmla="*/ 133 h 250"/>
              <a:gd name="T64" fmla="*/ 0 w 260"/>
              <a:gd name="T65" fmla="*/ 147 h 250"/>
              <a:gd name="T66" fmla="*/ 0 w 260"/>
              <a:gd name="T67" fmla="*/ 147 h 2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50"/>
              <a:gd name="T104" fmla="*/ 260 w 260"/>
              <a:gd name="T105" fmla="*/ 250 h 25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50">
                <a:moveTo>
                  <a:pt x="0" y="147"/>
                </a:moveTo>
                <a:lnTo>
                  <a:pt x="0" y="147"/>
                </a:lnTo>
                <a:lnTo>
                  <a:pt x="1" y="154"/>
                </a:lnTo>
                <a:lnTo>
                  <a:pt x="53" y="147"/>
                </a:lnTo>
                <a:lnTo>
                  <a:pt x="76" y="179"/>
                </a:lnTo>
                <a:lnTo>
                  <a:pt x="95" y="177"/>
                </a:lnTo>
                <a:lnTo>
                  <a:pt x="99" y="163"/>
                </a:lnTo>
                <a:lnTo>
                  <a:pt x="117" y="162"/>
                </a:lnTo>
                <a:lnTo>
                  <a:pt x="129" y="171"/>
                </a:lnTo>
                <a:lnTo>
                  <a:pt x="132" y="220"/>
                </a:lnTo>
                <a:lnTo>
                  <a:pt x="160" y="217"/>
                </a:lnTo>
                <a:lnTo>
                  <a:pt x="238" y="249"/>
                </a:lnTo>
                <a:lnTo>
                  <a:pt x="238" y="235"/>
                </a:lnTo>
                <a:lnTo>
                  <a:pt x="222" y="228"/>
                </a:lnTo>
                <a:lnTo>
                  <a:pt x="225" y="192"/>
                </a:lnTo>
                <a:lnTo>
                  <a:pt x="250" y="180"/>
                </a:lnTo>
                <a:lnTo>
                  <a:pt x="234" y="156"/>
                </a:lnTo>
                <a:lnTo>
                  <a:pt x="232" y="115"/>
                </a:lnTo>
                <a:lnTo>
                  <a:pt x="229" y="105"/>
                </a:lnTo>
                <a:lnTo>
                  <a:pt x="238" y="87"/>
                </a:lnTo>
                <a:lnTo>
                  <a:pt x="250" y="52"/>
                </a:lnTo>
                <a:lnTo>
                  <a:pt x="259" y="39"/>
                </a:lnTo>
                <a:lnTo>
                  <a:pt x="254" y="20"/>
                </a:lnTo>
                <a:lnTo>
                  <a:pt x="208" y="0"/>
                </a:lnTo>
                <a:lnTo>
                  <a:pt x="126" y="11"/>
                </a:lnTo>
                <a:lnTo>
                  <a:pt x="99" y="0"/>
                </a:lnTo>
                <a:lnTo>
                  <a:pt x="87" y="19"/>
                </a:lnTo>
                <a:lnTo>
                  <a:pt x="74" y="78"/>
                </a:lnTo>
                <a:lnTo>
                  <a:pt x="54" y="98"/>
                </a:lnTo>
                <a:lnTo>
                  <a:pt x="49" y="122"/>
                </a:lnTo>
                <a:lnTo>
                  <a:pt x="30" y="134"/>
                </a:lnTo>
                <a:lnTo>
                  <a:pt x="9" y="133"/>
                </a:lnTo>
                <a:lnTo>
                  <a:pt x="0" y="147"/>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50" name="Freeform 649"/>
          <p:cNvSpPr>
            <a:spLocks/>
          </p:cNvSpPr>
          <p:nvPr/>
        </p:nvSpPr>
        <p:spPr bwMode="auto">
          <a:xfrm>
            <a:off x="5068906" y="3342127"/>
            <a:ext cx="56077" cy="29762"/>
          </a:xfrm>
          <a:custGeom>
            <a:avLst/>
            <a:gdLst>
              <a:gd name="T0" fmla="*/ 0 w 33"/>
              <a:gd name="T1" fmla="*/ 9 h 18"/>
              <a:gd name="T2" fmla="*/ 0 w 33"/>
              <a:gd name="T3" fmla="*/ 9 h 18"/>
              <a:gd name="T4" fmla="*/ 11 w 33"/>
              <a:gd name="T5" fmla="*/ 17 h 18"/>
              <a:gd name="T6" fmla="*/ 32 w 33"/>
              <a:gd name="T7" fmla="*/ 0 h 18"/>
              <a:gd name="T8" fmla="*/ 0 w 33"/>
              <a:gd name="T9" fmla="*/ 9 h 18"/>
              <a:gd name="T10" fmla="*/ 0 w 33"/>
              <a:gd name="T11" fmla="*/ 9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0" y="9"/>
                </a:moveTo>
                <a:lnTo>
                  <a:pt x="0" y="9"/>
                </a:lnTo>
                <a:lnTo>
                  <a:pt x="11" y="17"/>
                </a:lnTo>
                <a:lnTo>
                  <a:pt x="32" y="0"/>
                </a:lnTo>
                <a:lnTo>
                  <a:pt x="0" y="9"/>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51" name="Freeform 650"/>
          <p:cNvSpPr>
            <a:spLocks/>
          </p:cNvSpPr>
          <p:nvPr/>
        </p:nvSpPr>
        <p:spPr bwMode="auto">
          <a:xfrm>
            <a:off x="4339906" y="3896027"/>
            <a:ext cx="64573" cy="140542"/>
          </a:xfrm>
          <a:custGeom>
            <a:avLst/>
            <a:gdLst>
              <a:gd name="T0" fmla="*/ 0 w 38"/>
              <a:gd name="T1" fmla="*/ 21 h 85"/>
              <a:gd name="T2" fmla="*/ 0 w 38"/>
              <a:gd name="T3" fmla="*/ 21 h 85"/>
              <a:gd name="T4" fmla="*/ 14 w 38"/>
              <a:gd name="T5" fmla="*/ 84 h 85"/>
              <a:gd name="T6" fmla="*/ 26 w 38"/>
              <a:gd name="T7" fmla="*/ 83 h 85"/>
              <a:gd name="T8" fmla="*/ 37 w 38"/>
              <a:gd name="T9" fmla="*/ 10 h 85"/>
              <a:gd name="T10" fmla="*/ 26 w 38"/>
              <a:gd name="T11" fmla="*/ 0 h 85"/>
              <a:gd name="T12" fmla="*/ 19 w 38"/>
              <a:gd name="T13" fmla="*/ 7 h 85"/>
              <a:gd name="T14" fmla="*/ 0 w 38"/>
              <a:gd name="T15" fmla="*/ 21 h 85"/>
              <a:gd name="T16" fmla="*/ 0 w 38"/>
              <a:gd name="T17" fmla="*/ 21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85"/>
              <a:gd name="T29" fmla="*/ 38 w 38"/>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85">
                <a:moveTo>
                  <a:pt x="0" y="21"/>
                </a:moveTo>
                <a:lnTo>
                  <a:pt x="0" y="21"/>
                </a:lnTo>
                <a:lnTo>
                  <a:pt x="14" y="84"/>
                </a:lnTo>
                <a:lnTo>
                  <a:pt x="26" y="83"/>
                </a:lnTo>
                <a:lnTo>
                  <a:pt x="37" y="10"/>
                </a:lnTo>
                <a:lnTo>
                  <a:pt x="26" y="0"/>
                </a:lnTo>
                <a:lnTo>
                  <a:pt x="19" y="7"/>
                </a:lnTo>
                <a:lnTo>
                  <a:pt x="0" y="21"/>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52" name="Freeform 651"/>
          <p:cNvSpPr>
            <a:spLocks/>
          </p:cNvSpPr>
          <p:nvPr/>
        </p:nvSpPr>
        <p:spPr bwMode="auto">
          <a:xfrm>
            <a:off x="4537025" y="4125854"/>
            <a:ext cx="44182" cy="29762"/>
          </a:xfrm>
          <a:custGeom>
            <a:avLst/>
            <a:gdLst>
              <a:gd name="T0" fmla="*/ 0 w 26"/>
              <a:gd name="T1" fmla="*/ 17 h 18"/>
              <a:gd name="T2" fmla="*/ 0 w 26"/>
              <a:gd name="T3" fmla="*/ 17 h 18"/>
              <a:gd name="T4" fmla="*/ 3 w 26"/>
              <a:gd name="T5" fmla="*/ 1 h 18"/>
              <a:gd name="T6" fmla="*/ 25 w 26"/>
              <a:gd name="T7" fmla="*/ 0 h 18"/>
              <a:gd name="T8" fmla="*/ 25 w 26"/>
              <a:gd name="T9" fmla="*/ 15 h 18"/>
              <a:gd name="T10" fmla="*/ 0 w 26"/>
              <a:gd name="T11" fmla="*/ 17 h 18"/>
              <a:gd name="T12" fmla="*/ 0 w 26"/>
              <a:gd name="T13" fmla="*/ 17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17"/>
                </a:moveTo>
                <a:lnTo>
                  <a:pt x="0" y="17"/>
                </a:lnTo>
                <a:lnTo>
                  <a:pt x="3" y="1"/>
                </a:lnTo>
                <a:lnTo>
                  <a:pt x="25" y="0"/>
                </a:lnTo>
                <a:lnTo>
                  <a:pt x="25" y="15"/>
                </a:lnTo>
                <a:lnTo>
                  <a:pt x="0" y="17"/>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53" name="Freeform 652"/>
          <p:cNvSpPr>
            <a:spLocks/>
          </p:cNvSpPr>
          <p:nvPr/>
        </p:nvSpPr>
        <p:spPr bwMode="auto">
          <a:xfrm>
            <a:off x="5082501" y="3767059"/>
            <a:ext cx="351755" cy="332340"/>
          </a:xfrm>
          <a:custGeom>
            <a:avLst/>
            <a:gdLst>
              <a:gd name="T0" fmla="*/ 0 w 207"/>
              <a:gd name="T1" fmla="*/ 140 h 201"/>
              <a:gd name="T2" fmla="*/ 0 w 207"/>
              <a:gd name="T3" fmla="*/ 140 h 201"/>
              <a:gd name="T4" fmla="*/ 16 w 207"/>
              <a:gd name="T5" fmla="*/ 129 h 201"/>
              <a:gd name="T6" fmla="*/ 17 w 207"/>
              <a:gd name="T7" fmla="*/ 105 h 201"/>
              <a:gd name="T8" fmla="*/ 44 w 207"/>
              <a:gd name="T9" fmla="*/ 72 h 201"/>
              <a:gd name="T10" fmla="*/ 55 w 207"/>
              <a:gd name="T11" fmla="*/ 13 h 201"/>
              <a:gd name="T12" fmla="*/ 76 w 207"/>
              <a:gd name="T13" fmla="*/ 0 h 201"/>
              <a:gd name="T14" fmla="*/ 92 w 207"/>
              <a:gd name="T15" fmla="*/ 40 h 201"/>
              <a:gd name="T16" fmla="*/ 137 w 207"/>
              <a:gd name="T17" fmla="*/ 74 h 201"/>
              <a:gd name="T18" fmla="*/ 121 w 207"/>
              <a:gd name="T19" fmla="*/ 95 h 201"/>
              <a:gd name="T20" fmla="*/ 136 w 207"/>
              <a:gd name="T21" fmla="*/ 100 h 201"/>
              <a:gd name="T22" fmla="*/ 152 w 207"/>
              <a:gd name="T23" fmla="*/ 124 h 201"/>
              <a:gd name="T24" fmla="*/ 206 w 207"/>
              <a:gd name="T25" fmla="*/ 138 h 201"/>
              <a:gd name="T26" fmla="*/ 165 w 207"/>
              <a:gd name="T27" fmla="*/ 179 h 201"/>
              <a:gd name="T28" fmla="*/ 122 w 207"/>
              <a:gd name="T29" fmla="*/ 194 h 201"/>
              <a:gd name="T30" fmla="*/ 83 w 207"/>
              <a:gd name="T31" fmla="*/ 200 h 201"/>
              <a:gd name="T32" fmla="*/ 39 w 207"/>
              <a:gd name="T33" fmla="*/ 185 h 201"/>
              <a:gd name="T34" fmla="*/ 24 w 207"/>
              <a:gd name="T35" fmla="*/ 156 h 201"/>
              <a:gd name="T36" fmla="*/ 0 w 207"/>
              <a:gd name="T37" fmla="*/ 140 h 201"/>
              <a:gd name="T38" fmla="*/ 0 w 207"/>
              <a:gd name="T39" fmla="*/ 140 h 2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7"/>
              <a:gd name="T61" fmla="*/ 0 h 201"/>
              <a:gd name="T62" fmla="*/ 207 w 207"/>
              <a:gd name="T63" fmla="*/ 201 h 2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7" h="201">
                <a:moveTo>
                  <a:pt x="0" y="140"/>
                </a:moveTo>
                <a:lnTo>
                  <a:pt x="0" y="140"/>
                </a:lnTo>
                <a:lnTo>
                  <a:pt x="16" y="129"/>
                </a:lnTo>
                <a:lnTo>
                  <a:pt x="17" y="105"/>
                </a:lnTo>
                <a:lnTo>
                  <a:pt x="44" y="72"/>
                </a:lnTo>
                <a:lnTo>
                  <a:pt x="55" y="13"/>
                </a:lnTo>
                <a:lnTo>
                  <a:pt x="76" y="0"/>
                </a:lnTo>
                <a:lnTo>
                  <a:pt x="92" y="40"/>
                </a:lnTo>
                <a:lnTo>
                  <a:pt x="137" y="74"/>
                </a:lnTo>
                <a:lnTo>
                  <a:pt x="121" y="95"/>
                </a:lnTo>
                <a:lnTo>
                  <a:pt x="136" y="100"/>
                </a:lnTo>
                <a:lnTo>
                  <a:pt x="152" y="124"/>
                </a:lnTo>
                <a:lnTo>
                  <a:pt x="206" y="138"/>
                </a:lnTo>
                <a:lnTo>
                  <a:pt x="165" y="179"/>
                </a:lnTo>
                <a:lnTo>
                  <a:pt x="122" y="194"/>
                </a:lnTo>
                <a:lnTo>
                  <a:pt x="83" y="200"/>
                </a:lnTo>
                <a:lnTo>
                  <a:pt x="39" y="185"/>
                </a:lnTo>
                <a:lnTo>
                  <a:pt x="24" y="156"/>
                </a:lnTo>
                <a:lnTo>
                  <a:pt x="0" y="14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54" name="Freeform 653"/>
          <p:cNvSpPr>
            <a:spLocks/>
          </p:cNvSpPr>
          <p:nvPr/>
        </p:nvSpPr>
        <p:spPr bwMode="auto">
          <a:xfrm>
            <a:off x="5288116" y="3889413"/>
            <a:ext cx="37385" cy="44643"/>
          </a:xfrm>
          <a:custGeom>
            <a:avLst/>
            <a:gdLst>
              <a:gd name="T0" fmla="*/ 0 w 22"/>
              <a:gd name="T1" fmla="*/ 21 h 27"/>
              <a:gd name="T2" fmla="*/ 0 w 22"/>
              <a:gd name="T3" fmla="*/ 21 h 27"/>
              <a:gd name="T4" fmla="*/ 15 w 22"/>
              <a:gd name="T5" fmla="*/ 26 h 27"/>
              <a:gd name="T6" fmla="*/ 21 w 22"/>
              <a:gd name="T7" fmla="*/ 18 h 27"/>
              <a:gd name="T8" fmla="*/ 10 w 22"/>
              <a:gd name="T9" fmla="*/ 16 h 27"/>
              <a:gd name="T10" fmla="*/ 21 w 22"/>
              <a:gd name="T11" fmla="*/ 10 h 27"/>
              <a:gd name="T12" fmla="*/ 16 w 22"/>
              <a:gd name="T13" fmla="*/ 0 h 27"/>
              <a:gd name="T14" fmla="*/ 0 w 22"/>
              <a:gd name="T15" fmla="*/ 21 h 27"/>
              <a:gd name="T16" fmla="*/ 0 w 22"/>
              <a:gd name="T17" fmla="*/ 21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27"/>
              <a:gd name="T29" fmla="*/ 22 w 22"/>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27">
                <a:moveTo>
                  <a:pt x="0" y="21"/>
                </a:moveTo>
                <a:lnTo>
                  <a:pt x="0" y="21"/>
                </a:lnTo>
                <a:lnTo>
                  <a:pt x="15" y="26"/>
                </a:lnTo>
                <a:lnTo>
                  <a:pt x="21" y="18"/>
                </a:lnTo>
                <a:lnTo>
                  <a:pt x="10" y="16"/>
                </a:lnTo>
                <a:lnTo>
                  <a:pt x="21" y="10"/>
                </a:lnTo>
                <a:lnTo>
                  <a:pt x="16" y="0"/>
                </a:lnTo>
                <a:lnTo>
                  <a:pt x="0" y="21"/>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55" name="Freeform 654"/>
          <p:cNvSpPr>
            <a:spLocks/>
          </p:cNvSpPr>
          <p:nvPr/>
        </p:nvSpPr>
        <p:spPr bwMode="auto">
          <a:xfrm>
            <a:off x="4520032" y="4125854"/>
            <a:ext cx="130846" cy="140542"/>
          </a:xfrm>
          <a:custGeom>
            <a:avLst/>
            <a:gdLst>
              <a:gd name="T0" fmla="*/ 0 w 77"/>
              <a:gd name="T1" fmla="*/ 40 h 85"/>
              <a:gd name="T2" fmla="*/ 0 w 77"/>
              <a:gd name="T3" fmla="*/ 40 h 85"/>
              <a:gd name="T4" fmla="*/ 9 w 77"/>
              <a:gd name="T5" fmla="*/ 27 h 85"/>
              <a:gd name="T6" fmla="*/ 14 w 77"/>
              <a:gd name="T7" fmla="*/ 28 h 85"/>
              <a:gd name="T8" fmla="*/ 10 w 77"/>
              <a:gd name="T9" fmla="*/ 17 h 85"/>
              <a:gd name="T10" fmla="*/ 35 w 77"/>
              <a:gd name="T11" fmla="*/ 15 h 85"/>
              <a:gd name="T12" fmla="*/ 35 w 77"/>
              <a:gd name="T13" fmla="*/ 0 h 85"/>
              <a:gd name="T14" fmla="*/ 63 w 77"/>
              <a:gd name="T15" fmla="*/ 1 h 85"/>
              <a:gd name="T16" fmla="*/ 62 w 77"/>
              <a:gd name="T17" fmla="*/ 13 h 85"/>
              <a:gd name="T18" fmla="*/ 76 w 77"/>
              <a:gd name="T19" fmla="*/ 15 h 85"/>
              <a:gd name="T20" fmla="*/ 72 w 77"/>
              <a:gd name="T21" fmla="*/ 61 h 85"/>
              <a:gd name="T22" fmla="*/ 54 w 77"/>
              <a:gd name="T23" fmla="*/ 56 h 85"/>
              <a:gd name="T24" fmla="*/ 33 w 77"/>
              <a:gd name="T25" fmla="*/ 84 h 85"/>
              <a:gd name="T26" fmla="*/ 0 w 77"/>
              <a:gd name="T27" fmla="*/ 40 h 85"/>
              <a:gd name="T28" fmla="*/ 0 w 77"/>
              <a:gd name="T29" fmla="*/ 40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5"/>
              <a:gd name="T47" fmla="*/ 77 w 77"/>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5">
                <a:moveTo>
                  <a:pt x="0" y="40"/>
                </a:moveTo>
                <a:lnTo>
                  <a:pt x="0" y="40"/>
                </a:lnTo>
                <a:lnTo>
                  <a:pt x="9" y="27"/>
                </a:lnTo>
                <a:lnTo>
                  <a:pt x="14" y="28"/>
                </a:lnTo>
                <a:lnTo>
                  <a:pt x="10" y="17"/>
                </a:lnTo>
                <a:lnTo>
                  <a:pt x="35" y="15"/>
                </a:lnTo>
                <a:lnTo>
                  <a:pt x="35" y="0"/>
                </a:lnTo>
                <a:lnTo>
                  <a:pt x="63" y="1"/>
                </a:lnTo>
                <a:lnTo>
                  <a:pt x="62" y="13"/>
                </a:lnTo>
                <a:lnTo>
                  <a:pt x="76" y="15"/>
                </a:lnTo>
                <a:lnTo>
                  <a:pt x="72" y="61"/>
                </a:lnTo>
                <a:lnTo>
                  <a:pt x="54" y="56"/>
                </a:lnTo>
                <a:lnTo>
                  <a:pt x="33" y="84"/>
                </a:lnTo>
                <a:lnTo>
                  <a:pt x="0" y="4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56" name="Freeform 655"/>
          <p:cNvSpPr>
            <a:spLocks/>
          </p:cNvSpPr>
          <p:nvPr/>
        </p:nvSpPr>
        <p:spPr bwMode="auto">
          <a:xfrm>
            <a:off x="3930374" y="3869572"/>
            <a:ext cx="71371" cy="13227"/>
          </a:xfrm>
          <a:custGeom>
            <a:avLst/>
            <a:gdLst>
              <a:gd name="T0" fmla="*/ 0 w 42"/>
              <a:gd name="T1" fmla="*/ 7 h 8"/>
              <a:gd name="T2" fmla="*/ 0 w 42"/>
              <a:gd name="T3" fmla="*/ 7 h 8"/>
              <a:gd name="T4" fmla="*/ 2 w 42"/>
              <a:gd name="T5" fmla="*/ 0 h 8"/>
              <a:gd name="T6" fmla="*/ 41 w 42"/>
              <a:gd name="T7" fmla="*/ 2 h 8"/>
              <a:gd name="T8" fmla="*/ 0 w 42"/>
              <a:gd name="T9" fmla="*/ 7 h 8"/>
              <a:gd name="T10" fmla="*/ 0 w 42"/>
              <a:gd name="T11" fmla="*/ 7 h 8"/>
              <a:gd name="T12" fmla="*/ 0 60000 65536"/>
              <a:gd name="T13" fmla="*/ 0 60000 65536"/>
              <a:gd name="T14" fmla="*/ 0 60000 65536"/>
              <a:gd name="T15" fmla="*/ 0 60000 65536"/>
              <a:gd name="T16" fmla="*/ 0 60000 65536"/>
              <a:gd name="T17" fmla="*/ 0 60000 65536"/>
              <a:gd name="T18" fmla="*/ 0 w 42"/>
              <a:gd name="T19" fmla="*/ 0 h 8"/>
              <a:gd name="T20" fmla="*/ 42 w 42"/>
              <a:gd name="T21" fmla="*/ 8 h 8"/>
            </a:gdLst>
            <a:ahLst/>
            <a:cxnLst>
              <a:cxn ang="T12">
                <a:pos x="T0" y="T1"/>
              </a:cxn>
              <a:cxn ang="T13">
                <a:pos x="T2" y="T3"/>
              </a:cxn>
              <a:cxn ang="T14">
                <a:pos x="T4" y="T5"/>
              </a:cxn>
              <a:cxn ang="T15">
                <a:pos x="T6" y="T7"/>
              </a:cxn>
              <a:cxn ang="T16">
                <a:pos x="T8" y="T9"/>
              </a:cxn>
              <a:cxn ang="T17">
                <a:pos x="T10" y="T11"/>
              </a:cxn>
            </a:cxnLst>
            <a:rect l="T18" t="T19" r="T20" b="T21"/>
            <a:pathLst>
              <a:path w="42" h="8">
                <a:moveTo>
                  <a:pt x="0" y="7"/>
                </a:moveTo>
                <a:lnTo>
                  <a:pt x="0" y="7"/>
                </a:lnTo>
                <a:lnTo>
                  <a:pt x="2" y="0"/>
                </a:lnTo>
                <a:lnTo>
                  <a:pt x="41" y="2"/>
                </a:lnTo>
                <a:lnTo>
                  <a:pt x="0" y="7"/>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57" name="Freeform 656"/>
          <p:cNvSpPr>
            <a:spLocks/>
          </p:cNvSpPr>
          <p:nvPr/>
        </p:nvSpPr>
        <p:spPr bwMode="auto">
          <a:xfrm>
            <a:off x="4248144" y="3924135"/>
            <a:ext cx="100259" cy="147155"/>
          </a:xfrm>
          <a:custGeom>
            <a:avLst/>
            <a:gdLst>
              <a:gd name="T0" fmla="*/ 0 w 59"/>
              <a:gd name="T1" fmla="*/ 83 h 89"/>
              <a:gd name="T2" fmla="*/ 0 w 59"/>
              <a:gd name="T3" fmla="*/ 83 h 89"/>
              <a:gd name="T4" fmla="*/ 5 w 59"/>
              <a:gd name="T5" fmla="*/ 23 h 89"/>
              <a:gd name="T6" fmla="*/ 3 w 59"/>
              <a:gd name="T7" fmla="*/ 4 h 89"/>
              <a:gd name="T8" fmla="*/ 39 w 59"/>
              <a:gd name="T9" fmla="*/ 0 h 89"/>
              <a:gd name="T10" fmla="*/ 58 w 59"/>
              <a:gd name="T11" fmla="*/ 70 h 89"/>
              <a:gd name="T12" fmla="*/ 15 w 59"/>
              <a:gd name="T13" fmla="*/ 88 h 89"/>
              <a:gd name="T14" fmla="*/ 0 w 59"/>
              <a:gd name="T15" fmla="*/ 83 h 89"/>
              <a:gd name="T16" fmla="*/ 0 w 59"/>
              <a:gd name="T17" fmla="*/ 83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89"/>
              <a:gd name="T29" fmla="*/ 59 w 59"/>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89">
                <a:moveTo>
                  <a:pt x="0" y="83"/>
                </a:moveTo>
                <a:lnTo>
                  <a:pt x="0" y="83"/>
                </a:lnTo>
                <a:lnTo>
                  <a:pt x="5" y="23"/>
                </a:lnTo>
                <a:lnTo>
                  <a:pt x="3" y="4"/>
                </a:lnTo>
                <a:lnTo>
                  <a:pt x="39" y="0"/>
                </a:lnTo>
                <a:lnTo>
                  <a:pt x="58" y="70"/>
                </a:lnTo>
                <a:lnTo>
                  <a:pt x="15" y="88"/>
                </a:lnTo>
                <a:lnTo>
                  <a:pt x="0" y="8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58" name="Freeform 657"/>
          <p:cNvSpPr>
            <a:spLocks/>
          </p:cNvSpPr>
          <p:nvPr/>
        </p:nvSpPr>
        <p:spPr bwMode="auto">
          <a:xfrm>
            <a:off x="3971158" y="3889413"/>
            <a:ext cx="171629" cy="122354"/>
          </a:xfrm>
          <a:custGeom>
            <a:avLst/>
            <a:gdLst>
              <a:gd name="T0" fmla="*/ 0 w 101"/>
              <a:gd name="T1" fmla="*/ 25 h 74"/>
              <a:gd name="T2" fmla="*/ 0 w 101"/>
              <a:gd name="T3" fmla="*/ 25 h 74"/>
              <a:gd name="T4" fmla="*/ 17 w 101"/>
              <a:gd name="T5" fmla="*/ 14 h 74"/>
              <a:gd name="T6" fmla="*/ 17 w 101"/>
              <a:gd name="T7" fmla="*/ 0 h 74"/>
              <a:gd name="T8" fmla="*/ 50 w 101"/>
              <a:gd name="T9" fmla="*/ 3 h 74"/>
              <a:gd name="T10" fmla="*/ 59 w 101"/>
              <a:gd name="T11" fmla="*/ 10 h 74"/>
              <a:gd name="T12" fmla="*/ 82 w 101"/>
              <a:gd name="T13" fmla="*/ 2 h 74"/>
              <a:gd name="T14" fmla="*/ 96 w 101"/>
              <a:gd name="T15" fmla="*/ 35 h 74"/>
              <a:gd name="T16" fmla="*/ 100 w 101"/>
              <a:gd name="T17" fmla="*/ 59 h 74"/>
              <a:gd name="T18" fmla="*/ 91 w 101"/>
              <a:gd name="T19" fmla="*/ 58 h 74"/>
              <a:gd name="T20" fmla="*/ 89 w 101"/>
              <a:gd name="T21" fmla="*/ 71 h 74"/>
              <a:gd name="T22" fmla="*/ 75 w 101"/>
              <a:gd name="T23" fmla="*/ 73 h 74"/>
              <a:gd name="T24" fmla="*/ 74 w 101"/>
              <a:gd name="T25" fmla="*/ 59 h 74"/>
              <a:gd name="T26" fmla="*/ 66 w 101"/>
              <a:gd name="T27" fmla="*/ 59 h 74"/>
              <a:gd name="T28" fmla="*/ 52 w 101"/>
              <a:gd name="T29" fmla="*/ 38 h 74"/>
              <a:gd name="T30" fmla="*/ 23 w 101"/>
              <a:gd name="T31" fmla="*/ 50 h 74"/>
              <a:gd name="T32" fmla="*/ 0 w 101"/>
              <a:gd name="T33" fmla="*/ 25 h 74"/>
              <a:gd name="T34" fmla="*/ 0 w 101"/>
              <a:gd name="T35" fmla="*/ 2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74"/>
              <a:gd name="T56" fmla="*/ 101 w 101"/>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74">
                <a:moveTo>
                  <a:pt x="0" y="25"/>
                </a:moveTo>
                <a:lnTo>
                  <a:pt x="0" y="25"/>
                </a:lnTo>
                <a:lnTo>
                  <a:pt x="17" y="14"/>
                </a:lnTo>
                <a:lnTo>
                  <a:pt x="17" y="0"/>
                </a:lnTo>
                <a:lnTo>
                  <a:pt x="50" y="3"/>
                </a:lnTo>
                <a:lnTo>
                  <a:pt x="59" y="10"/>
                </a:lnTo>
                <a:lnTo>
                  <a:pt x="82" y="2"/>
                </a:lnTo>
                <a:lnTo>
                  <a:pt x="96" y="35"/>
                </a:lnTo>
                <a:lnTo>
                  <a:pt x="100" y="59"/>
                </a:lnTo>
                <a:lnTo>
                  <a:pt x="91" y="58"/>
                </a:lnTo>
                <a:lnTo>
                  <a:pt x="89" y="71"/>
                </a:lnTo>
                <a:lnTo>
                  <a:pt x="75" y="73"/>
                </a:lnTo>
                <a:lnTo>
                  <a:pt x="74" y="59"/>
                </a:lnTo>
                <a:lnTo>
                  <a:pt x="66" y="59"/>
                </a:lnTo>
                <a:lnTo>
                  <a:pt x="52" y="38"/>
                </a:lnTo>
                <a:lnTo>
                  <a:pt x="23" y="50"/>
                </a:lnTo>
                <a:lnTo>
                  <a:pt x="0" y="2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59" name="Freeform 658"/>
          <p:cNvSpPr>
            <a:spLocks/>
          </p:cNvSpPr>
          <p:nvPr/>
        </p:nvSpPr>
        <p:spPr bwMode="auto">
          <a:xfrm>
            <a:off x="5356088" y="3502510"/>
            <a:ext cx="44182" cy="13227"/>
          </a:xfrm>
          <a:custGeom>
            <a:avLst/>
            <a:gdLst>
              <a:gd name="T0" fmla="*/ 0 w 26"/>
              <a:gd name="T1" fmla="*/ 0 h 8"/>
              <a:gd name="T2" fmla="*/ 0 w 26"/>
              <a:gd name="T3" fmla="*/ 0 h 8"/>
              <a:gd name="T4" fmla="*/ 13 w 26"/>
              <a:gd name="T5" fmla="*/ 7 h 8"/>
              <a:gd name="T6" fmla="*/ 25 w 26"/>
              <a:gd name="T7" fmla="*/ 2 h 8"/>
              <a:gd name="T8" fmla="*/ 0 w 26"/>
              <a:gd name="T9" fmla="*/ 0 h 8"/>
              <a:gd name="T10" fmla="*/ 0 w 26"/>
              <a:gd name="T11" fmla="*/ 0 h 8"/>
              <a:gd name="T12" fmla="*/ 0 60000 65536"/>
              <a:gd name="T13" fmla="*/ 0 60000 65536"/>
              <a:gd name="T14" fmla="*/ 0 60000 65536"/>
              <a:gd name="T15" fmla="*/ 0 60000 65536"/>
              <a:gd name="T16" fmla="*/ 0 60000 65536"/>
              <a:gd name="T17" fmla="*/ 0 60000 65536"/>
              <a:gd name="T18" fmla="*/ 0 w 26"/>
              <a:gd name="T19" fmla="*/ 0 h 8"/>
              <a:gd name="T20" fmla="*/ 26 w 26"/>
              <a:gd name="T21" fmla="*/ 8 h 8"/>
            </a:gdLst>
            <a:ahLst/>
            <a:cxnLst>
              <a:cxn ang="T12">
                <a:pos x="T0" y="T1"/>
              </a:cxn>
              <a:cxn ang="T13">
                <a:pos x="T2" y="T3"/>
              </a:cxn>
              <a:cxn ang="T14">
                <a:pos x="T4" y="T5"/>
              </a:cxn>
              <a:cxn ang="T15">
                <a:pos x="T6" y="T7"/>
              </a:cxn>
              <a:cxn ang="T16">
                <a:pos x="T8" y="T9"/>
              </a:cxn>
              <a:cxn ang="T17">
                <a:pos x="T10" y="T11"/>
              </a:cxn>
            </a:cxnLst>
            <a:rect l="T18" t="T19" r="T20" b="T21"/>
            <a:pathLst>
              <a:path w="26" h="8">
                <a:moveTo>
                  <a:pt x="0" y="0"/>
                </a:moveTo>
                <a:lnTo>
                  <a:pt x="0" y="0"/>
                </a:lnTo>
                <a:lnTo>
                  <a:pt x="13" y="7"/>
                </a:lnTo>
                <a:lnTo>
                  <a:pt x="25" y="2"/>
                </a:lnTo>
                <a:lnTo>
                  <a:pt x="0" y="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60" name="Freeform 659"/>
          <p:cNvSpPr>
            <a:spLocks/>
          </p:cNvSpPr>
          <p:nvPr/>
        </p:nvSpPr>
        <p:spPr bwMode="auto">
          <a:xfrm>
            <a:off x="5106291" y="3404957"/>
            <a:ext cx="37385" cy="95899"/>
          </a:xfrm>
          <a:custGeom>
            <a:avLst/>
            <a:gdLst>
              <a:gd name="T0" fmla="*/ 0 w 22"/>
              <a:gd name="T1" fmla="*/ 28 h 58"/>
              <a:gd name="T2" fmla="*/ 0 w 22"/>
              <a:gd name="T3" fmla="*/ 28 h 58"/>
              <a:gd name="T4" fmla="*/ 11 w 22"/>
              <a:gd name="T5" fmla="*/ 57 h 58"/>
              <a:gd name="T6" fmla="*/ 13 w 22"/>
              <a:gd name="T7" fmla="*/ 56 h 58"/>
              <a:gd name="T8" fmla="*/ 19 w 22"/>
              <a:gd name="T9" fmla="*/ 25 h 58"/>
              <a:gd name="T10" fmla="*/ 11 w 22"/>
              <a:gd name="T11" fmla="*/ 28 h 58"/>
              <a:gd name="T12" fmla="*/ 13 w 22"/>
              <a:gd name="T13" fmla="*/ 14 h 58"/>
              <a:gd name="T14" fmla="*/ 20 w 22"/>
              <a:gd name="T15" fmla="*/ 7 h 58"/>
              <a:gd name="T16" fmla="*/ 21 w 22"/>
              <a:gd name="T17" fmla="*/ 0 h 58"/>
              <a:gd name="T18" fmla="*/ 14 w 22"/>
              <a:gd name="T19" fmla="*/ 1 h 58"/>
              <a:gd name="T20" fmla="*/ 0 w 22"/>
              <a:gd name="T21" fmla="*/ 28 h 58"/>
              <a:gd name="T22" fmla="*/ 0 w 22"/>
              <a:gd name="T23" fmla="*/ 28 h 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8"/>
              <a:gd name="T38" fmla="*/ 22 w 22"/>
              <a:gd name="T39" fmla="*/ 58 h 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8">
                <a:moveTo>
                  <a:pt x="0" y="28"/>
                </a:moveTo>
                <a:lnTo>
                  <a:pt x="0" y="28"/>
                </a:lnTo>
                <a:lnTo>
                  <a:pt x="11" y="57"/>
                </a:lnTo>
                <a:lnTo>
                  <a:pt x="13" y="56"/>
                </a:lnTo>
                <a:lnTo>
                  <a:pt x="19" y="25"/>
                </a:lnTo>
                <a:lnTo>
                  <a:pt x="11" y="28"/>
                </a:lnTo>
                <a:lnTo>
                  <a:pt x="13" y="14"/>
                </a:lnTo>
                <a:lnTo>
                  <a:pt x="20" y="7"/>
                </a:lnTo>
                <a:lnTo>
                  <a:pt x="21" y="0"/>
                </a:lnTo>
                <a:lnTo>
                  <a:pt x="14" y="1"/>
                </a:lnTo>
                <a:lnTo>
                  <a:pt x="0" y="2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61" name="Freeform 660"/>
          <p:cNvSpPr>
            <a:spLocks/>
          </p:cNvSpPr>
          <p:nvPr/>
        </p:nvSpPr>
        <p:spPr bwMode="auto">
          <a:xfrm>
            <a:off x="4120696" y="3934055"/>
            <a:ext cx="137643" cy="143849"/>
          </a:xfrm>
          <a:custGeom>
            <a:avLst/>
            <a:gdLst>
              <a:gd name="T0" fmla="*/ 0 w 81"/>
              <a:gd name="T1" fmla="*/ 57 h 87"/>
              <a:gd name="T2" fmla="*/ 0 w 81"/>
              <a:gd name="T3" fmla="*/ 57 h 87"/>
              <a:gd name="T4" fmla="*/ 1 w 81"/>
              <a:gd name="T5" fmla="*/ 44 h 87"/>
              <a:gd name="T6" fmla="*/ 3 w 81"/>
              <a:gd name="T7" fmla="*/ 31 h 87"/>
              <a:gd name="T8" fmla="*/ 12 w 81"/>
              <a:gd name="T9" fmla="*/ 32 h 87"/>
              <a:gd name="T10" fmla="*/ 8 w 81"/>
              <a:gd name="T11" fmla="*/ 8 h 87"/>
              <a:gd name="T12" fmla="*/ 32 w 81"/>
              <a:gd name="T13" fmla="*/ 0 h 87"/>
              <a:gd name="T14" fmla="*/ 46 w 81"/>
              <a:gd name="T15" fmla="*/ 5 h 87"/>
              <a:gd name="T16" fmla="*/ 53 w 81"/>
              <a:gd name="T17" fmla="*/ 14 h 87"/>
              <a:gd name="T18" fmla="*/ 80 w 81"/>
              <a:gd name="T19" fmla="*/ 17 h 87"/>
              <a:gd name="T20" fmla="*/ 75 w 81"/>
              <a:gd name="T21" fmla="*/ 77 h 87"/>
              <a:gd name="T22" fmla="*/ 13 w 81"/>
              <a:gd name="T23" fmla="*/ 86 h 87"/>
              <a:gd name="T24" fmla="*/ 15 w 81"/>
              <a:gd name="T25" fmla="*/ 66 h 87"/>
              <a:gd name="T26" fmla="*/ 0 w 81"/>
              <a:gd name="T27" fmla="*/ 57 h 87"/>
              <a:gd name="T28" fmla="*/ 0 w 81"/>
              <a:gd name="T29" fmla="*/ 57 h 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87"/>
              <a:gd name="T47" fmla="*/ 81 w 81"/>
              <a:gd name="T48" fmla="*/ 87 h 8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87">
                <a:moveTo>
                  <a:pt x="0" y="57"/>
                </a:moveTo>
                <a:lnTo>
                  <a:pt x="0" y="57"/>
                </a:lnTo>
                <a:lnTo>
                  <a:pt x="1" y="44"/>
                </a:lnTo>
                <a:lnTo>
                  <a:pt x="3" y="31"/>
                </a:lnTo>
                <a:lnTo>
                  <a:pt x="12" y="32"/>
                </a:lnTo>
                <a:lnTo>
                  <a:pt x="8" y="8"/>
                </a:lnTo>
                <a:lnTo>
                  <a:pt x="32" y="0"/>
                </a:lnTo>
                <a:lnTo>
                  <a:pt x="46" y="5"/>
                </a:lnTo>
                <a:lnTo>
                  <a:pt x="53" y="14"/>
                </a:lnTo>
                <a:lnTo>
                  <a:pt x="80" y="17"/>
                </a:lnTo>
                <a:lnTo>
                  <a:pt x="75" y="77"/>
                </a:lnTo>
                <a:lnTo>
                  <a:pt x="13" y="86"/>
                </a:lnTo>
                <a:lnTo>
                  <a:pt x="15" y="66"/>
                </a:lnTo>
                <a:lnTo>
                  <a:pt x="0" y="57"/>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62" name="Freeform 661"/>
          <p:cNvSpPr>
            <a:spLocks/>
          </p:cNvSpPr>
          <p:nvPr/>
        </p:nvSpPr>
        <p:spPr bwMode="auto">
          <a:xfrm>
            <a:off x="5124983" y="3399997"/>
            <a:ext cx="101958" cy="107473"/>
          </a:xfrm>
          <a:custGeom>
            <a:avLst/>
            <a:gdLst>
              <a:gd name="T0" fmla="*/ 0 w 60"/>
              <a:gd name="T1" fmla="*/ 31 h 65"/>
              <a:gd name="T2" fmla="*/ 0 w 60"/>
              <a:gd name="T3" fmla="*/ 31 h 65"/>
              <a:gd name="T4" fmla="*/ 2 w 60"/>
              <a:gd name="T5" fmla="*/ 17 h 65"/>
              <a:gd name="T6" fmla="*/ 9 w 60"/>
              <a:gd name="T7" fmla="*/ 10 h 65"/>
              <a:gd name="T8" fmla="*/ 23 w 60"/>
              <a:gd name="T9" fmla="*/ 16 h 65"/>
              <a:gd name="T10" fmla="*/ 53 w 60"/>
              <a:gd name="T11" fmla="*/ 0 h 65"/>
              <a:gd name="T12" fmla="*/ 59 w 60"/>
              <a:gd name="T13" fmla="*/ 18 h 65"/>
              <a:gd name="T14" fmla="*/ 28 w 60"/>
              <a:gd name="T15" fmla="*/ 28 h 65"/>
              <a:gd name="T16" fmla="*/ 44 w 60"/>
              <a:gd name="T17" fmla="*/ 42 h 65"/>
              <a:gd name="T18" fmla="*/ 36 w 60"/>
              <a:gd name="T19" fmla="*/ 51 h 65"/>
              <a:gd name="T20" fmla="*/ 17 w 60"/>
              <a:gd name="T21" fmla="*/ 64 h 65"/>
              <a:gd name="T22" fmla="*/ 2 w 60"/>
              <a:gd name="T23" fmla="*/ 59 h 65"/>
              <a:gd name="T24" fmla="*/ 2 w 60"/>
              <a:gd name="T25" fmla="*/ 59 h 65"/>
              <a:gd name="T26" fmla="*/ 8 w 60"/>
              <a:gd name="T27" fmla="*/ 28 h 65"/>
              <a:gd name="T28" fmla="*/ 0 w 60"/>
              <a:gd name="T29" fmla="*/ 31 h 65"/>
              <a:gd name="T30" fmla="*/ 0 w 60"/>
              <a:gd name="T31" fmla="*/ 31 h 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0"/>
              <a:gd name="T49" fmla="*/ 0 h 65"/>
              <a:gd name="T50" fmla="*/ 60 w 60"/>
              <a:gd name="T51" fmla="*/ 65 h 6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0" h="65">
                <a:moveTo>
                  <a:pt x="0" y="31"/>
                </a:moveTo>
                <a:lnTo>
                  <a:pt x="0" y="31"/>
                </a:lnTo>
                <a:lnTo>
                  <a:pt x="2" y="17"/>
                </a:lnTo>
                <a:lnTo>
                  <a:pt x="9" y="10"/>
                </a:lnTo>
                <a:lnTo>
                  <a:pt x="23" y="16"/>
                </a:lnTo>
                <a:lnTo>
                  <a:pt x="53" y="0"/>
                </a:lnTo>
                <a:lnTo>
                  <a:pt x="59" y="18"/>
                </a:lnTo>
                <a:lnTo>
                  <a:pt x="28" y="28"/>
                </a:lnTo>
                <a:lnTo>
                  <a:pt x="44" y="42"/>
                </a:lnTo>
                <a:lnTo>
                  <a:pt x="36" y="51"/>
                </a:lnTo>
                <a:lnTo>
                  <a:pt x="17" y="64"/>
                </a:lnTo>
                <a:lnTo>
                  <a:pt x="2" y="59"/>
                </a:lnTo>
                <a:lnTo>
                  <a:pt x="8" y="28"/>
                </a:lnTo>
                <a:lnTo>
                  <a:pt x="0" y="31"/>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63" name="Freeform 662"/>
          <p:cNvSpPr>
            <a:spLocks/>
          </p:cNvSpPr>
          <p:nvPr/>
        </p:nvSpPr>
        <p:spPr bwMode="auto">
          <a:xfrm>
            <a:off x="5106291" y="4072944"/>
            <a:ext cx="185224" cy="208332"/>
          </a:xfrm>
          <a:custGeom>
            <a:avLst/>
            <a:gdLst>
              <a:gd name="T0" fmla="*/ 0 w 109"/>
              <a:gd name="T1" fmla="*/ 8 h 126"/>
              <a:gd name="T2" fmla="*/ 0 w 109"/>
              <a:gd name="T3" fmla="*/ 8 h 126"/>
              <a:gd name="T4" fmla="*/ 15 w 109"/>
              <a:gd name="T5" fmla="*/ 34 h 126"/>
              <a:gd name="T6" fmla="*/ 0 w 109"/>
              <a:gd name="T7" fmla="*/ 59 h 126"/>
              <a:gd name="T8" fmla="*/ 11 w 109"/>
              <a:gd name="T9" fmla="*/ 66 h 126"/>
              <a:gd name="T10" fmla="*/ 3 w 109"/>
              <a:gd name="T11" fmla="*/ 75 h 126"/>
              <a:gd name="T12" fmla="*/ 74 w 109"/>
              <a:gd name="T13" fmla="*/ 125 h 126"/>
              <a:gd name="T14" fmla="*/ 104 w 109"/>
              <a:gd name="T15" fmla="*/ 85 h 126"/>
              <a:gd name="T16" fmla="*/ 97 w 109"/>
              <a:gd name="T17" fmla="*/ 74 h 126"/>
              <a:gd name="T18" fmla="*/ 97 w 109"/>
              <a:gd name="T19" fmla="*/ 23 h 126"/>
              <a:gd name="T20" fmla="*/ 108 w 109"/>
              <a:gd name="T21" fmla="*/ 9 h 126"/>
              <a:gd name="T22" fmla="*/ 69 w 109"/>
              <a:gd name="T23" fmla="*/ 15 h 126"/>
              <a:gd name="T24" fmla="*/ 25 w 109"/>
              <a:gd name="T25" fmla="*/ 0 h 126"/>
              <a:gd name="T26" fmla="*/ 0 w 109"/>
              <a:gd name="T27" fmla="*/ 8 h 126"/>
              <a:gd name="T28" fmla="*/ 0 w 109"/>
              <a:gd name="T29" fmla="*/ 8 h 1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126"/>
              <a:gd name="T47" fmla="*/ 109 w 109"/>
              <a:gd name="T48" fmla="*/ 126 h 1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126">
                <a:moveTo>
                  <a:pt x="0" y="8"/>
                </a:moveTo>
                <a:lnTo>
                  <a:pt x="0" y="8"/>
                </a:lnTo>
                <a:lnTo>
                  <a:pt x="15" y="34"/>
                </a:lnTo>
                <a:lnTo>
                  <a:pt x="0" y="59"/>
                </a:lnTo>
                <a:lnTo>
                  <a:pt x="11" y="66"/>
                </a:lnTo>
                <a:lnTo>
                  <a:pt x="3" y="75"/>
                </a:lnTo>
                <a:lnTo>
                  <a:pt x="74" y="125"/>
                </a:lnTo>
                <a:lnTo>
                  <a:pt x="104" y="85"/>
                </a:lnTo>
                <a:lnTo>
                  <a:pt x="97" y="74"/>
                </a:lnTo>
                <a:lnTo>
                  <a:pt x="97" y="23"/>
                </a:lnTo>
                <a:lnTo>
                  <a:pt x="108" y="9"/>
                </a:lnTo>
                <a:lnTo>
                  <a:pt x="69" y="15"/>
                </a:lnTo>
                <a:lnTo>
                  <a:pt x="25" y="0"/>
                </a:lnTo>
                <a:lnTo>
                  <a:pt x="0" y="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64" name="Freeform 663"/>
          <p:cNvSpPr>
            <a:spLocks/>
          </p:cNvSpPr>
          <p:nvPr/>
        </p:nvSpPr>
        <p:spPr bwMode="auto">
          <a:xfrm>
            <a:off x="5398571" y="3484322"/>
            <a:ext cx="42483" cy="36376"/>
          </a:xfrm>
          <a:custGeom>
            <a:avLst/>
            <a:gdLst>
              <a:gd name="T0" fmla="*/ 0 w 25"/>
              <a:gd name="T1" fmla="*/ 13 h 22"/>
              <a:gd name="T2" fmla="*/ 0 w 25"/>
              <a:gd name="T3" fmla="*/ 13 h 22"/>
              <a:gd name="T4" fmla="*/ 20 w 25"/>
              <a:gd name="T5" fmla="*/ 0 h 22"/>
              <a:gd name="T6" fmla="*/ 24 w 25"/>
              <a:gd name="T7" fmla="*/ 21 h 22"/>
              <a:gd name="T8" fmla="*/ 0 w 25"/>
              <a:gd name="T9" fmla="*/ 13 h 22"/>
              <a:gd name="T10" fmla="*/ 0 w 25"/>
              <a:gd name="T11" fmla="*/ 13 h 22"/>
              <a:gd name="T12" fmla="*/ 0 60000 65536"/>
              <a:gd name="T13" fmla="*/ 0 60000 65536"/>
              <a:gd name="T14" fmla="*/ 0 60000 65536"/>
              <a:gd name="T15" fmla="*/ 0 60000 65536"/>
              <a:gd name="T16" fmla="*/ 0 60000 65536"/>
              <a:gd name="T17" fmla="*/ 0 60000 65536"/>
              <a:gd name="T18" fmla="*/ 0 w 25"/>
              <a:gd name="T19" fmla="*/ 0 h 22"/>
              <a:gd name="T20" fmla="*/ 25 w 2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5" h="22">
                <a:moveTo>
                  <a:pt x="0" y="13"/>
                </a:moveTo>
                <a:lnTo>
                  <a:pt x="0" y="13"/>
                </a:lnTo>
                <a:lnTo>
                  <a:pt x="20" y="0"/>
                </a:lnTo>
                <a:lnTo>
                  <a:pt x="24" y="21"/>
                </a:lnTo>
                <a:lnTo>
                  <a:pt x="0" y="1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65" name="Freeform 664"/>
          <p:cNvSpPr>
            <a:spLocks/>
          </p:cNvSpPr>
          <p:nvPr/>
        </p:nvSpPr>
        <p:spPr bwMode="auto">
          <a:xfrm>
            <a:off x="5130081" y="3366928"/>
            <a:ext cx="37385" cy="41336"/>
          </a:xfrm>
          <a:custGeom>
            <a:avLst/>
            <a:gdLst>
              <a:gd name="T0" fmla="*/ 0 w 22"/>
              <a:gd name="T1" fmla="*/ 24 h 25"/>
              <a:gd name="T2" fmla="*/ 0 w 22"/>
              <a:gd name="T3" fmla="*/ 24 h 25"/>
              <a:gd name="T4" fmla="*/ 7 w 22"/>
              <a:gd name="T5" fmla="*/ 23 h 25"/>
              <a:gd name="T6" fmla="*/ 21 w 22"/>
              <a:gd name="T7" fmla="*/ 7 h 25"/>
              <a:gd name="T8" fmla="*/ 14 w 22"/>
              <a:gd name="T9" fmla="*/ 0 h 25"/>
              <a:gd name="T10" fmla="*/ 0 w 22"/>
              <a:gd name="T11" fmla="*/ 24 h 25"/>
              <a:gd name="T12" fmla="*/ 0 w 22"/>
              <a:gd name="T13" fmla="*/ 24 h 25"/>
              <a:gd name="T14" fmla="*/ 0 60000 65536"/>
              <a:gd name="T15" fmla="*/ 0 60000 65536"/>
              <a:gd name="T16" fmla="*/ 0 60000 65536"/>
              <a:gd name="T17" fmla="*/ 0 60000 65536"/>
              <a:gd name="T18" fmla="*/ 0 60000 65536"/>
              <a:gd name="T19" fmla="*/ 0 60000 65536"/>
              <a:gd name="T20" fmla="*/ 0 60000 65536"/>
              <a:gd name="T21" fmla="*/ 0 w 22"/>
              <a:gd name="T22" fmla="*/ 0 h 25"/>
              <a:gd name="T23" fmla="*/ 22 w 2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5">
                <a:moveTo>
                  <a:pt x="0" y="24"/>
                </a:moveTo>
                <a:lnTo>
                  <a:pt x="0" y="24"/>
                </a:lnTo>
                <a:lnTo>
                  <a:pt x="7" y="23"/>
                </a:lnTo>
                <a:lnTo>
                  <a:pt x="21" y="7"/>
                </a:lnTo>
                <a:lnTo>
                  <a:pt x="14" y="0"/>
                </a:lnTo>
                <a:lnTo>
                  <a:pt x="0" y="2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66" name="Freeform 665"/>
          <p:cNvSpPr>
            <a:spLocks/>
          </p:cNvSpPr>
          <p:nvPr/>
        </p:nvSpPr>
        <p:spPr bwMode="auto">
          <a:xfrm>
            <a:off x="4054423" y="3986965"/>
            <a:ext cx="93462" cy="90939"/>
          </a:xfrm>
          <a:custGeom>
            <a:avLst/>
            <a:gdLst>
              <a:gd name="T0" fmla="*/ 0 w 55"/>
              <a:gd name="T1" fmla="*/ 20 h 55"/>
              <a:gd name="T2" fmla="*/ 0 w 55"/>
              <a:gd name="T3" fmla="*/ 20 h 55"/>
              <a:gd name="T4" fmla="*/ 17 w 55"/>
              <a:gd name="T5" fmla="*/ 0 h 55"/>
              <a:gd name="T6" fmla="*/ 25 w 55"/>
              <a:gd name="T7" fmla="*/ 0 h 55"/>
              <a:gd name="T8" fmla="*/ 26 w 55"/>
              <a:gd name="T9" fmla="*/ 14 h 55"/>
              <a:gd name="T10" fmla="*/ 40 w 55"/>
              <a:gd name="T11" fmla="*/ 12 h 55"/>
              <a:gd name="T12" fmla="*/ 39 w 55"/>
              <a:gd name="T13" fmla="*/ 25 h 55"/>
              <a:gd name="T14" fmla="*/ 54 w 55"/>
              <a:gd name="T15" fmla="*/ 34 h 55"/>
              <a:gd name="T16" fmla="*/ 52 w 55"/>
              <a:gd name="T17" fmla="*/ 54 h 55"/>
              <a:gd name="T18" fmla="*/ 0 w 55"/>
              <a:gd name="T19" fmla="*/ 20 h 55"/>
              <a:gd name="T20" fmla="*/ 0 w 55"/>
              <a:gd name="T21" fmla="*/ 2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55"/>
              <a:gd name="T35" fmla="*/ 55 w 55"/>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55">
                <a:moveTo>
                  <a:pt x="0" y="20"/>
                </a:moveTo>
                <a:lnTo>
                  <a:pt x="0" y="20"/>
                </a:lnTo>
                <a:lnTo>
                  <a:pt x="17" y="0"/>
                </a:lnTo>
                <a:lnTo>
                  <a:pt x="25" y="0"/>
                </a:lnTo>
                <a:lnTo>
                  <a:pt x="26" y="14"/>
                </a:lnTo>
                <a:lnTo>
                  <a:pt x="40" y="12"/>
                </a:lnTo>
                <a:lnTo>
                  <a:pt x="39" y="25"/>
                </a:lnTo>
                <a:lnTo>
                  <a:pt x="54" y="34"/>
                </a:lnTo>
                <a:lnTo>
                  <a:pt x="52" y="54"/>
                </a:lnTo>
                <a:lnTo>
                  <a:pt x="0" y="2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67" name="Freeform 666"/>
          <p:cNvSpPr>
            <a:spLocks/>
          </p:cNvSpPr>
          <p:nvPr/>
        </p:nvSpPr>
        <p:spPr bwMode="auto">
          <a:xfrm>
            <a:off x="4535326" y="3406611"/>
            <a:ext cx="363651" cy="329033"/>
          </a:xfrm>
          <a:custGeom>
            <a:avLst/>
            <a:gdLst>
              <a:gd name="T0" fmla="*/ 0 w 214"/>
              <a:gd name="T1" fmla="*/ 103 h 199"/>
              <a:gd name="T2" fmla="*/ 0 w 214"/>
              <a:gd name="T3" fmla="*/ 103 h 199"/>
              <a:gd name="T4" fmla="*/ 0 w 214"/>
              <a:gd name="T5" fmla="*/ 42 h 199"/>
              <a:gd name="T6" fmla="*/ 27 w 214"/>
              <a:gd name="T7" fmla="*/ 0 h 199"/>
              <a:gd name="T8" fmla="*/ 78 w 214"/>
              <a:gd name="T9" fmla="*/ 12 h 199"/>
              <a:gd name="T10" fmla="*/ 87 w 214"/>
              <a:gd name="T11" fmla="*/ 27 h 199"/>
              <a:gd name="T12" fmla="*/ 129 w 214"/>
              <a:gd name="T13" fmla="*/ 42 h 199"/>
              <a:gd name="T14" fmla="*/ 143 w 214"/>
              <a:gd name="T15" fmla="*/ 37 h 199"/>
              <a:gd name="T16" fmla="*/ 144 w 214"/>
              <a:gd name="T17" fmla="*/ 15 h 199"/>
              <a:gd name="T18" fmla="*/ 157 w 214"/>
              <a:gd name="T19" fmla="*/ 5 h 199"/>
              <a:gd name="T20" fmla="*/ 213 w 214"/>
              <a:gd name="T21" fmla="*/ 22 h 199"/>
              <a:gd name="T22" fmla="*/ 207 w 214"/>
              <a:gd name="T23" fmla="*/ 46 h 199"/>
              <a:gd name="T24" fmla="*/ 213 w 214"/>
              <a:gd name="T25" fmla="*/ 162 h 199"/>
              <a:gd name="T26" fmla="*/ 213 w 214"/>
              <a:gd name="T27" fmla="*/ 190 h 199"/>
              <a:gd name="T28" fmla="*/ 201 w 214"/>
              <a:gd name="T29" fmla="*/ 190 h 199"/>
              <a:gd name="T30" fmla="*/ 201 w 214"/>
              <a:gd name="T31" fmla="*/ 198 h 199"/>
              <a:gd name="T32" fmla="*/ 91 w 214"/>
              <a:gd name="T33" fmla="*/ 142 h 199"/>
              <a:gd name="T34" fmla="*/ 77 w 214"/>
              <a:gd name="T35" fmla="*/ 147 h 199"/>
              <a:gd name="T36" fmla="*/ 32 w 214"/>
              <a:gd name="T37" fmla="*/ 141 h 199"/>
              <a:gd name="T38" fmla="*/ 0 w 214"/>
              <a:gd name="T39" fmla="*/ 103 h 199"/>
              <a:gd name="T40" fmla="*/ 0 w 214"/>
              <a:gd name="T41" fmla="*/ 103 h 19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4"/>
              <a:gd name="T64" fmla="*/ 0 h 199"/>
              <a:gd name="T65" fmla="*/ 214 w 214"/>
              <a:gd name="T66" fmla="*/ 199 h 19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4" h="199">
                <a:moveTo>
                  <a:pt x="0" y="103"/>
                </a:moveTo>
                <a:lnTo>
                  <a:pt x="0" y="103"/>
                </a:lnTo>
                <a:lnTo>
                  <a:pt x="0" y="42"/>
                </a:lnTo>
                <a:lnTo>
                  <a:pt x="27" y="0"/>
                </a:lnTo>
                <a:lnTo>
                  <a:pt x="78" y="12"/>
                </a:lnTo>
                <a:lnTo>
                  <a:pt x="87" y="27"/>
                </a:lnTo>
                <a:lnTo>
                  <a:pt x="129" y="42"/>
                </a:lnTo>
                <a:lnTo>
                  <a:pt x="143" y="37"/>
                </a:lnTo>
                <a:lnTo>
                  <a:pt x="144" y="15"/>
                </a:lnTo>
                <a:lnTo>
                  <a:pt x="157" y="5"/>
                </a:lnTo>
                <a:lnTo>
                  <a:pt x="213" y="22"/>
                </a:lnTo>
                <a:lnTo>
                  <a:pt x="207" y="46"/>
                </a:lnTo>
                <a:lnTo>
                  <a:pt x="213" y="162"/>
                </a:lnTo>
                <a:lnTo>
                  <a:pt x="213" y="190"/>
                </a:lnTo>
                <a:lnTo>
                  <a:pt x="201" y="190"/>
                </a:lnTo>
                <a:lnTo>
                  <a:pt x="201" y="198"/>
                </a:lnTo>
                <a:lnTo>
                  <a:pt x="91" y="142"/>
                </a:lnTo>
                <a:lnTo>
                  <a:pt x="77" y="147"/>
                </a:lnTo>
                <a:lnTo>
                  <a:pt x="32" y="141"/>
                </a:lnTo>
                <a:lnTo>
                  <a:pt x="0" y="10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68" name="Freeform 667"/>
          <p:cNvSpPr>
            <a:spLocks/>
          </p:cNvSpPr>
          <p:nvPr/>
        </p:nvSpPr>
        <p:spPr bwMode="auto">
          <a:xfrm>
            <a:off x="5317004" y="4449926"/>
            <a:ext cx="164832" cy="314152"/>
          </a:xfrm>
          <a:custGeom>
            <a:avLst/>
            <a:gdLst>
              <a:gd name="T0" fmla="*/ 0 w 97"/>
              <a:gd name="T1" fmla="*/ 135 h 190"/>
              <a:gd name="T2" fmla="*/ 0 w 97"/>
              <a:gd name="T3" fmla="*/ 135 h 190"/>
              <a:gd name="T4" fmla="*/ 9 w 97"/>
              <a:gd name="T5" fmla="*/ 173 h 190"/>
              <a:gd name="T6" fmla="*/ 27 w 97"/>
              <a:gd name="T7" fmla="*/ 189 h 190"/>
              <a:gd name="T8" fmla="*/ 57 w 97"/>
              <a:gd name="T9" fmla="*/ 173 h 190"/>
              <a:gd name="T10" fmla="*/ 90 w 97"/>
              <a:gd name="T11" fmla="*/ 43 h 190"/>
              <a:gd name="T12" fmla="*/ 96 w 97"/>
              <a:gd name="T13" fmla="*/ 48 h 190"/>
              <a:gd name="T14" fmla="*/ 82 w 97"/>
              <a:gd name="T15" fmla="*/ 0 h 190"/>
              <a:gd name="T16" fmla="*/ 64 w 97"/>
              <a:gd name="T17" fmla="*/ 20 h 190"/>
              <a:gd name="T18" fmla="*/ 65 w 97"/>
              <a:gd name="T19" fmla="*/ 34 h 190"/>
              <a:gd name="T20" fmla="*/ 44 w 97"/>
              <a:gd name="T21" fmla="*/ 49 h 190"/>
              <a:gd name="T22" fmla="*/ 17 w 97"/>
              <a:gd name="T23" fmla="*/ 56 h 190"/>
              <a:gd name="T24" fmla="*/ 10 w 97"/>
              <a:gd name="T25" fmla="*/ 73 h 190"/>
              <a:gd name="T26" fmla="*/ 17 w 97"/>
              <a:gd name="T27" fmla="*/ 106 h 190"/>
              <a:gd name="T28" fmla="*/ 0 w 97"/>
              <a:gd name="T29" fmla="*/ 135 h 190"/>
              <a:gd name="T30" fmla="*/ 0 w 97"/>
              <a:gd name="T31" fmla="*/ 135 h 1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7"/>
              <a:gd name="T49" fmla="*/ 0 h 190"/>
              <a:gd name="T50" fmla="*/ 97 w 97"/>
              <a:gd name="T51" fmla="*/ 190 h 1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7" h="190">
                <a:moveTo>
                  <a:pt x="0" y="135"/>
                </a:moveTo>
                <a:lnTo>
                  <a:pt x="0" y="135"/>
                </a:lnTo>
                <a:lnTo>
                  <a:pt x="9" y="173"/>
                </a:lnTo>
                <a:lnTo>
                  <a:pt x="27" y="189"/>
                </a:lnTo>
                <a:lnTo>
                  <a:pt x="57" y="173"/>
                </a:lnTo>
                <a:lnTo>
                  <a:pt x="90" y="43"/>
                </a:lnTo>
                <a:lnTo>
                  <a:pt x="96" y="48"/>
                </a:lnTo>
                <a:lnTo>
                  <a:pt x="82" y="0"/>
                </a:lnTo>
                <a:lnTo>
                  <a:pt x="64" y="20"/>
                </a:lnTo>
                <a:lnTo>
                  <a:pt x="65" y="34"/>
                </a:lnTo>
                <a:lnTo>
                  <a:pt x="44" y="49"/>
                </a:lnTo>
                <a:lnTo>
                  <a:pt x="17" y="56"/>
                </a:lnTo>
                <a:lnTo>
                  <a:pt x="10" y="73"/>
                </a:lnTo>
                <a:lnTo>
                  <a:pt x="17" y="106"/>
                </a:lnTo>
                <a:lnTo>
                  <a:pt x="0" y="13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69" name="Freeform 668"/>
          <p:cNvSpPr>
            <a:spLocks/>
          </p:cNvSpPr>
          <p:nvPr/>
        </p:nvSpPr>
        <p:spPr bwMode="auto">
          <a:xfrm>
            <a:off x="5077403" y="4387096"/>
            <a:ext cx="76469" cy="176917"/>
          </a:xfrm>
          <a:custGeom>
            <a:avLst/>
            <a:gdLst>
              <a:gd name="T0" fmla="*/ 0 w 45"/>
              <a:gd name="T1" fmla="*/ 58 h 107"/>
              <a:gd name="T2" fmla="*/ 0 w 45"/>
              <a:gd name="T3" fmla="*/ 58 h 107"/>
              <a:gd name="T4" fmla="*/ 6 w 45"/>
              <a:gd name="T5" fmla="*/ 64 h 107"/>
              <a:gd name="T6" fmla="*/ 23 w 45"/>
              <a:gd name="T7" fmla="*/ 70 h 107"/>
              <a:gd name="T8" fmla="*/ 21 w 45"/>
              <a:gd name="T9" fmla="*/ 90 h 107"/>
              <a:gd name="T10" fmla="*/ 36 w 45"/>
              <a:gd name="T11" fmla="*/ 106 h 107"/>
              <a:gd name="T12" fmla="*/ 44 w 45"/>
              <a:gd name="T13" fmla="*/ 76 h 107"/>
              <a:gd name="T14" fmla="*/ 30 w 45"/>
              <a:gd name="T15" fmla="*/ 56 h 107"/>
              <a:gd name="T16" fmla="*/ 34 w 45"/>
              <a:gd name="T17" fmla="*/ 67 h 107"/>
              <a:gd name="T18" fmla="*/ 26 w 45"/>
              <a:gd name="T19" fmla="*/ 67 h 107"/>
              <a:gd name="T20" fmla="*/ 17 w 45"/>
              <a:gd name="T21" fmla="*/ 39 h 107"/>
              <a:gd name="T22" fmla="*/ 16 w 45"/>
              <a:gd name="T23" fmla="*/ 3 h 107"/>
              <a:gd name="T24" fmla="*/ 3 w 45"/>
              <a:gd name="T25" fmla="*/ 0 h 107"/>
              <a:gd name="T26" fmla="*/ 14 w 45"/>
              <a:gd name="T27" fmla="*/ 17 h 107"/>
              <a:gd name="T28" fmla="*/ 0 w 45"/>
              <a:gd name="T29" fmla="*/ 58 h 107"/>
              <a:gd name="T30" fmla="*/ 0 w 45"/>
              <a:gd name="T31" fmla="*/ 58 h 1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107"/>
              <a:gd name="T50" fmla="*/ 45 w 45"/>
              <a:gd name="T51" fmla="*/ 107 h 1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107">
                <a:moveTo>
                  <a:pt x="0" y="58"/>
                </a:moveTo>
                <a:lnTo>
                  <a:pt x="0" y="58"/>
                </a:lnTo>
                <a:lnTo>
                  <a:pt x="6" y="64"/>
                </a:lnTo>
                <a:lnTo>
                  <a:pt x="23" y="70"/>
                </a:lnTo>
                <a:lnTo>
                  <a:pt x="21" y="90"/>
                </a:lnTo>
                <a:lnTo>
                  <a:pt x="36" y="106"/>
                </a:lnTo>
                <a:lnTo>
                  <a:pt x="44" y="76"/>
                </a:lnTo>
                <a:lnTo>
                  <a:pt x="30" y="56"/>
                </a:lnTo>
                <a:lnTo>
                  <a:pt x="34" y="67"/>
                </a:lnTo>
                <a:lnTo>
                  <a:pt x="26" y="67"/>
                </a:lnTo>
                <a:lnTo>
                  <a:pt x="17" y="39"/>
                </a:lnTo>
                <a:lnTo>
                  <a:pt x="16" y="3"/>
                </a:lnTo>
                <a:lnTo>
                  <a:pt x="3" y="0"/>
                </a:lnTo>
                <a:lnTo>
                  <a:pt x="14" y="17"/>
                </a:lnTo>
                <a:lnTo>
                  <a:pt x="0" y="5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70" name="Freeform 669"/>
          <p:cNvSpPr>
            <a:spLocks/>
          </p:cNvSpPr>
          <p:nvPr/>
        </p:nvSpPr>
        <p:spPr bwMode="auto">
          <a:xfrm>
            <a:off x="4039130" y="3605022"/>
            <a:ext cx="375546" cy="343914"/>
          </a:xfrm>
          <a:custGeom>
            <a:avLst/>
            <a:gdLst>
              <a:gd name="T0" fmla="*/ 0 w 221"/>
              <a:gd name="T1" fmla="*/ 143 h 208"/>
              <a:gd name="T2" fmla="*/ 0 w 221"/>
              <a:gd name="T3" fmla="*/ 143 h 208"/>
              <a:gd name="T4" fmla="*/ 9 w 221"/>
              <a:gd name="T5" fmla="*/ 129 h 208"/>
              <a:gd name="T6" fmla="*/ 20 w 221"/>
              <a:gd name="T7" fmla="*/ 138 h 208"/>
              <a:gd name="T8" fmla="*/ 89 w 221"/>
              <a:gd name="T9" fmla="*/ 134 h 208"/>
              <a:gd name="T10" fmla="*/ 75 w 221"/>
              <a:gd name="T11" fmla="*/ 0 h 208"/>
              <a:gd name="T12" fmla="*/ 99 w 221"/>
              <a:gd name="T13" fmla="*/ 0 h 208"/>
              <a:gd name="T14" fmla="*/ 208 w 221"/>
              <a:gd name="T15" fmla="*/ 72 h 208"/>
              <a:gd name="T16" fmla="*/ 209 w 221"/>
              <a:gd name="T17" fmla="*/ 85 h 208"/>
              <a:gd name="T18" fmla="*/ 220 w 221"/>
              <a:gd name="T19" fmla="*/ 83 h 208"/>
              <a:gd name="T20" fmla="*/ 220 w 221"/>
              <a:gd name="T21" fmla="*/ 126 h 208"/>
              <a:gd name="T22" fmla="*/ 211 w 221"/>
              <a:gd name="T23" fmla="*/ 135 h 208"/>
              <a:gd name="T24" fmla="*/ 167 w 221"/>
              <a:gd name="T25" fmla="*/ 141 h 208"/>
              <a:gd name="T26" fmla="*/ 111 w 221"/>
              <a:gd name="T27" fmla="*/ 165 h 208"/>
              <a:gd name="T28" fmla="*/ 94 w 221"/>
              <a:gd name="T29" fmla="*/ 204 h 208"/>
              <a:gd name="T30" fmla="*/ 80 w 221"/>
              <a:gd name="T31" fmla="*/ 199 h 208"/>
              <a:gd name="T32" fmla="*/ 56 w 221"/>
              <a:gd name="T33" fmla="*/ 207 h 208"/>
              <a:gd name="T34" fmla="*/ 42 w 221"/>
              <a:gd name="T35" fmla="*/ 174 h 208"/>
              <a:gd name="T36" fmla="*/ 19 w 221"/>
              <a:gd name="T37" fmla="*/ 182 h 208"/>
              <a:gd name="T38" fmla="*/ 10 w 221"/>
              <a:gd name="T39" fmla="*/ 175 h 208"/>
              <a:gd name="T40" fmla="*/ 0 w 221"/>
              <a:gd name="T41" fmla="*/ 143 h 208"/>
              <a:gd name="T42" fmla="*/ 0 w 221"/>
              <a:gd name="T43" fmla="*/ 143 h 2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1"/>
              <a:gd name="T67" fmla="*/ 0 h 208"/>
              <a:gd name="T68" fmla="*/ 221 w 221"/>
              <a:gd name="T69" fmla="*/ 208 h 2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1" h="208">
                <a:moveTo>
                  <a:pt x="0" y="143"/>
                </a:moveTo>
                <a:lnTo>
                  <a:pt x="0" y="143"/>
                </a:lnTo>
                <a:lnTo>
                  <a:pt x="9" y="129"/>
                </a:lnTo>
                <a:lnTo>
                  <a:pt x="20" y="138"/>
                </a:lnTo>
                <a:lnTo>
                  <a:pt x="89" y="134"/>
                </a:lnTo>
                <a:lnTo>
                  <a:pt x="75" y="0"/>
                </a:lnTo>
                <a:lnTo>
                  <a:pt x="99" y="0"/>
                </a:lnTo>
                <a:lnTo>
                  <a:pt x="208" y="72"/>
                </a:lnTo>
                <a:lnTo>
                  <a:pt x="209" y="85"/>
                </a:lnTo>
                <a:lnTo>
                  <a:pt x="220" y="83"/>
                </a:lnTo>
                <a:lnTo>
                  <a:pt x="220" y="126"/>
                </a:lnTo>
                <a:lnTo>
                  <a:pt x="211" y="135"/>
                </a:lnTo>
                <a:lnTo>
                  <a:pt x="167" y="141"/>
                </a:lnTo>
                <a:lnTo>
                  <a:pt x="111" y="165"/>
                </a:lnTo>
                <a:lnTo>
                  <a:pt x="94" y="204"/>
                </a:lnTo>
                <a:lnTo>
                  <a:pt x="80" y="199"/>
                </a:lnTo>
                <a:lnTo>
                  <a:pt x="56" y="207"/>
                </a:lnTo>
                <a:lnTo>
                  <a:pt x="42" y="174"/>
                </a:lnTo>
                <a:lnTo>
                  <a:pt x="19" y="182"/>
                </a:lnTo>
                <a:lnTo>
                  <a:pt x="10" y="175"/>
                </a:lnTo>
                <a:lnTo>
                  <a:pt x="0" y="14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71" name="Freeform 670"/>
          <p:cNvSpPr>
            <a:spLocks/>
          </p:cNvSpPr>
          <p:nvPr/>
        </p:nvSpPr>
        <p:spPr bwMode="auto">
          <a:xfrm>
            <a:off x="3925276" y="3550459"/>
            <a:ext cx="283783" cy="292657"/>
          </a:xfrm>
          <a:custGeom>
            <a:avLst/>
            <a:gdLst>
              <a:gd name="T0" fmla="*/ 0 w 167"/>
              <a:gd name="T1" fmla="*/ 89 h 177"/>
              <a:gd name="T2" fmla="*/ 0 w 167"/>
              <a:gd name="T3" fmla="*/ 89 h 177"/>
              <a:gd name="T4" fmla="*/ 10 w 167"/>
              <a:gd name="T5" fmla="*/ 99 h 177"/>
              <a:gd name="T6" fmla="*/ 13 w 167"/>
              <a:gd name="T7" fmla="*/ 125 h 177"/>
              <a:gd name="T8" fmla="*/ 5 w 167"/>
              <a:gd name="T9" fmla="*/ 158 h 177"/>
              <a:gd name="T10" fmla="*/ 36 w 167"/>
              <a:gd name="T11" fmla="*/ 151 h 177"/>
              <a:gd name="T12" fmla="*/ 67 w 167"/>
              <a:gd name="T13" fmla="*/ 176 h 177"/>
              <a:gd name="T14" fmla="*/ 76 w 167"/>
              <a:gd name="T15" fmla="*/ 162 h 177"/>
              <a:gd name="T16" fmla="*/ 87 w 167"/>
              <a:gd name="T17" fmla="*/ 171 h 177"/>
              <a:gd name="T18" fmla="*/ 156 w 167"/>
              <a:gd name="T19" fmla="*/ 167 h 177"/>
              <a:gd name="T20" fmla="*/ 142 w 167"/>
              <a:gd name="T21" fmla="*/ 33 h 177"/>
              <a:gd name="T22" fmla="*/ 166 w 167"/>
              <a:gd name="T23" fmla="*/ 33 h 177"/>
              <a:gd name="T24" fmla="*/ 115 w 167"/>
              <a:gd name="T25" fmla="*/ 0 h 177"/>
              <a:gd name="T26" fmla="*/ 114 w 167"/>
              <a:gd name="T27" fmla="*/ 18 h 177"/>
              <a:gd name="T28" fmla="*/ 70 w 167"/>
              <a:gd name="T29" fmla="*/ 17 h 177"/>
              <a:gd name="T30" fmla="*/ 70 w 167"/>
              <a:gd name="T31" fmla="*/ 54 h 177"/>
              <a:gd name="T32" fmla="*/ 54 w 167"/>
              <a:gd name="T33" fmla="*/ 60 h 177"/>
              <a:gd name="T34" fmla="*/ 55 w 167"/>
              <a:gd name="T35" fmla="*/ 83 h 177"/>
              <a:gd name="T36" fmla="*/ 0 w 167"/>
              <a:gd name="T37" fmla="*/ 89 h 177"/>
              <a:gd name="T38" fmla="*/ 0 w 167"/>
              <a:gd name="T39" fmla="*/ 89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7"/>
              <a:gd name="T61" fmla="*/ 0 h 177"/>
              <a:gd name="T62" fmla="*/ 167 w 167"/>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7" h="177">
                <a:moveTo>
                  <a:pt x="0" y="89"/>
                </a:moveTo>
                <a:lnTo>
                  <a:pt x="0" y="89"/>
                </a:lnTo>
                <a:lnTo>
                  <a:pt x="10" y="99"/>
                </a:lnTo>
                <a:lnTo>
                  <a:pt x="13" y="125"/>
                </a:lnTo>
                <a:lnTo>
                  <a:pt x="5" y="158"/>
                </a:lnTo>
                <a:lnTo>
                  <a:pt x="36" y="151"/>
                </a:lnTo>
                <a:lnTo>
                  <a:pt x="67" y="176"/>
                </a:lnTo>
                <a:lnTo>
                  <a:pt x="76" y="162"/>
                </a:lnTo>
                <a:lnTo>
                  <a:pt x="87" y="171"/>
                </a:lnTo>
                <a:lnTo>
                  <a:pt x="156" y="167"/>
                </a:lnTo>
                <a:lnTo>
                  <a:pt x="142" y="33"/>
                </a:lnTo>
                <a:lnTo>
                  <a:pt x="166" y="33"/>
                </a:lnTo>
                <a:lnTo>
                  <a:pt x="115" y="0"/>
                </a:lnTo>
                <a:lnTo>
                  <a:pt x="114" y="18"/>
                </a:lnTo>
                <a:lnTo>
                  <a:pt x="70" y="17"/>
                </a:lnTo>
                <a:lnTo>
                  <a:pt x="70" y="54"/>
                </a:lnTo>
                <a:lnTo>
                  <a:pt x="54" y="60"/>
                </a:lnTo>
                <a:lnTo>
                  <a:pt x="55" y="83"/>
                </a:lnTo>
                <a:lnTo>
                  <a:pt x="0" y="89"/>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72" name="Freeform 671"/>
          <p:cNvSpPr>
            <a:spLocks/>
          </p:cNvSpPr>
          <p:nvPr/>
        </p:nvSpPr>
        <p:spPr bwMode="auto">
          <a:xfrm>
            <a:off x="4017039" y="3342127"/>
            <a:ext cx="273588" cy="201719"/>
          </a:xfrm>
          <a:custGeom>
            <a:avLst/>
            <a:gdLst>
              <a:gd name="T0" fmla="*/ 0 w 161"/>
              <a:gd name="T1" fmla="*/ 119 h 122"/>
              <a:gd name="T2" fmla="*/ 0 w 161"/>
              <a:gd name="T3" fmla="*/ 119 h 122"/>
              <a:gd name="T4" fmla="*/ 40 w 161"/>
              <a:gd name="T5" fmla="*/ 96 h 122"/>
              <a:gd name="T6" fmla="*/ 54 w 161"/>
              <a:gd name="T7" fmla="*/ 48 h 122"/>
              <a:gd name="T8" fmla="*/ 88 w 161"/>
              <a:gd name="T9" fmla="*/ 24 h 122"/>
              <a:gd name="T10" fmla="*/ 99 w 161"/>
              <a:gd name="T11" fmla="*/ 0 h 122"/>
              <a:gd name="T12" fmla="*/ 148 w 161"/>
              <a:gd name="T13" fmla="*/ 8 h 122"/>
              <a:gd name="T14" fmla="*/ 160 w 161"/>
              <a:gd name="T15" fmla="*/ 53 h 122"/>
              <a:gd name="T16" fmla="*/ 139 w 161"/>
              <a:gd name="T17" fmla="*/ 54 h 122"/>
              <a:gd name="T18" fmla="*/ 127 w 161"/>
              <a:gd name="T19" fmla="*/ 59 h 122"/>
              <a:gd name="T20" fmla="*/ 129 w 161"/>
              <a:gd name="T21" fmla="*/ 71 h 122"/>
              <a:gd name="T22" fmla="*/ 67 w 161"/>
              <a:gd name="T23" fmla="*/ 98 h 122"/>
              <a:gd name="T24" fmla="*/ 60 w 161"/>
              <a:gd name="T25" fmla="*/ 121 h 122"/>
              <a:gd name="T26" fmla="*/ 0 w 161"/>
              <a:gd name="T27" fmla="*/ 119 h 122"/>
              <a:gd name="T28" fmla="*/ 0 w 161"/>
              <a:gd name="T29" fmla="*/ 119 h 1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1"/>
              <a:gd name="T46" fmla="*/ 0 h 122"/>
              <a:gd name="T47" fmla="*/ 161 w 161"/>
              <a:gd name="T48" fmla="*/ 122 h 1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1" h="122">
                <a:moveTo>
                  <a:pt x="0" y="119"/>
                </a:moveTo>
                <a:lnTo>
                  <a:pt x="0" y="119"/>
                </a:lnTo>
                <a:lnTo>
                  <a:pt x="40" y="96"/>
                </a:lnTo>
                <a:lnTo>
                  <a:pt x="54" y="48"/>
                </a:lnTo>
                <a:lnTo>
                  <a:pt x="88" y="24"/>
                </a:lnTo>
                <a:lnTo>
                  <a:pt x="99" y="0"/>
                </a:lnTo>
                <a:lnTo>
                  <a:pt x="148" y="8"/>
                </a:lnTo>
                <a:lnTo>
                  <a:pt x="160" y="53"/>
                </a:lnTo>
                <a:lnTo>
                  <a:pt x="139" y="54"/>
                </a:lnTo>
                <a:lnTo>
                  <a:pt x="127" y="59"/>
                </a:lnTo>
                <a:lnTo>
                  <a:pt x="129" y="71"/>
                </a:lnTo>
                <a:lnTo>
                  <a:pt x="67" y="98"/>
                </a:lnTo>
                <a:lnTo>
                  <a:pt x="60" y="121"/>
                </a:lnTo>
                <a:lnTo>
                  <a:pt x="0" y="119"/>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73" name="Freeform 672"/>
          <p:cNvSpPr>
            <a:spLocks/>
          </p:cNvSpPr>
          <p:nvPr/>
        </p:nvSpPr>
        <p:spPr bwMode="auto">
          <a:xfrm>
            <a:off x="5012829" y="4411897"/>
            <a:ext cx="246399" cy="376982"/>
          </a:xfrm>
          <a:custGeom>
            <a:avLst/>
            <a:gdLst>
              <a:gd name="T0" fmla="*/ 0 w 145"/>
              <a:gd name="T1" fmla="*/ 63 h 228"/>
              <a:gd name="T2" fmla="*/ 0 w 145"/>
              <a:gd name="T3" fmla="*/ 63 h 228"/>
              <a:gd name="T4" fmla="*/ 4 w 145"/>
              <a:gd name="T5" fmla="*/ 70 h 228"/>
              <a:gd name="T6" fmla="*/ 38 w 145"/>
              <a:gd name="T7" fmla="*/ 81 h 228"/>
              <a:gd name="T8" fmla="*/ 41 w 145"/>
              <a:gd name="T9" fmla="*/ 95 h 228"/>
              <a:gd name="T10" fmla="*/ 39 w 145"/>
              <a:gd name="T11" fmla="*/ 131 h 228"/>
              <a:gd name="T12" fmla="*/ 21 w 145"/>
              <a:gd name="T13" fmla="*/ 168 h 228"/>
              <a:gd name="T14" fmla="*/ 26 w 145"/>
              <a:gd name="T15" fmla="*/ 213 h 228"/>
              <a:gd name="T16" fmla="*/ 28 w 145"/>
              <a:gd name="T17" fmla="*/ 227 h 228"/>
              <a:gd name="T18" fmla="*/ 39 w 145"/>
              <a:gd name="T19" fmla="*/ 227 h 228"/>
              <a:gd name="T20" fmla="*/ 39 w 145"/>
              <a:gd name="T21" fmla="*/ 212 h 228"/>
              <a:gd name="T22" fmla="*/ 74 w 145"/>
              <a:gd name="T23" fmla="*/ 191 h 228"/>
              <a:gd name="T24" fmla="*/ 64 w 145"/>
              <a:gd name="T25" fmla="*/ 131 h 228"/>
              <a:gd name="T26" fmla="*/ 143 w 145"/>
              <a:gd name="T27" fmla="*/ 70 h 228"/>
              <a:gd name="T28" fmla="*/ 144 w 145"/>
              <a:gd name="T29" fmla="*/ 0 h 228"/>
              <a:gd name="T30" fmla="*/ 124 w 145"/>
              <a:gd name="T31" fmla="*/ 12 h 228"/>
              <a:gd name="T32" fmla="*/ 69 w 145"/>
              <a:gd name="T33" fmla="*/ 15 h 228"/>
              <a:gd name="T34" fmla="*/ 68 w 145"/>
              <a:gd name="T35" fmla="*/ 41 h 228"/>
              <a:gd name="T36" fmla="*/ 82 w 145"/>
              <a:gd name="T37" fmla="*/ 61 h 228"/>
              <a:gd name="T38" fmla="*/ 74 w 145"/>
              <a:gd name="T39" fmla="*/ 91 h 228"/>
              <a:gd name="T40" fmla="*/ 59 w 145"/>
              <a:gd name="T41" fmla="*/ 75 h 228"/>
              <a:gd name="T42" fmla="*/ 61 w 145"/>
              <a:gd name="T43" fmla="*/ 55 h 228"/>
              <a:gd name="T44" fmla="*/ 44 w 145"/>
              <a:gd name="T45" fmla="*/ 49 h 228"/>
              <a:gd name="T46" fmla="*/ 0 w 145"/>
              <a:gd name="T47" fmla="*/ 63 h 228"/>
              <a:gd name="T48" fmla="*/ 0 w 145"/>
              <a:gd name="T49" fmla="*/ 63 h 2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228"/>
              <a:gd name="T77" fmla="*/ 145 w 145"/>
              <a:gd name="T78" fmla="*/ 228 h 2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228">
                <a:moveTo>
                  <a:pt x="0" y="63"/>
                </a:moveTo>
                <a:lnTo>
                  <a:pt x="0" y="63"/>
                </a:lnTo>
                <a:lnTo>
                  <a:pt x="4" y="70"/>
                </a:lnTo>
                <a:lnTo>
                  <a:pt x="38" y="81"/>
                </a:lnTo>
                <a:lnTo>
                  <a:pt x="41" y="95"/>
                </a:lnTo>
                <a:lnTo>
                  <a:pt x="39" y="131"/>
                </a:lnTo>
                <a:lnTo>
                  <a:pt x="21" y="168"/>
                </a:lnTo>
                <a:lnTo>
                  <a:pt x="26" y="213"/>
                </a:lnTo>
                <a:lnTo>
                  <a:pt x="28" y="227"/>
                </a:lnTo>
                <a:lnTo>
                  <a:pt x="39" y="227"/>
                </a:lnTo>
                <a:lnTo>
                  <a:pt x="39" y="212"/>
                </a:lnTo>
                <a:lnTo>
                  <a:pt x="74" y="191"/>
                </a:lnTo>
                <a:lnTo>
                  <a:pt x="64" y="131"/>
                </a:lnTo>
                <a:lnTo>
                  <a:pt x="143" y="70"/>
                </a:lnTo>
                <a:lnTo>
                  <a:pt x="144" y="0"/>
                </a:lnTo>
                <a:lnTo>
                  <a:pt x="124" y="12"/>
                </a:lnTo>
                <a:lnTo>
                  <a:pt x="69" y="15"/>
                </a:lnTo>
                <a:lnTo>
                  <a:pt x="68" y="41"/>
                </a:lnTo>
                <a:lnTo>
                  <a:pt x="82" y="61"/>
                </a:lnTo>
                <a:lnTo>
                  <a:pt x="74" y="91"/>
                </a:lnTo>
                <a:lnTo>
                  <a:pt x="59" y="75"/>
                </a:lnTo>
                <a:lnTo>
                  <a:pt x="61" y="55"/>
                </a:lnTo>
                <a:lnTo>
                  <a:pt x="44" y="49"/>
                </a:lnTo>
                <a:lnTo>
                  <a:pt x="0" y="6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74" name="Freeform 673"/>
          <p:cNvSpPr>
            <a:spLocks/>
          </p:cNvSpPr>
          <p:nvPr/>
        </p:nvSpPr>
        <p:spPr bwMode="auto">
          <a:xfrm>
            <a:off x="4322913" y="3639745"/>
            <a:ext cx="368748" cy="274470"/>
          </a:xfrm>
          <a:custGeom>
            <a:avLst/>
            <a:gdLst>
              <a:gd name="T0" fmla="*/ 0 w 217"/>
              <a:gd name="T1" fmla="*/ 120 h 166"/>
              <a:gd name="T2" fmla="*/ 0 w 217"/>
              <a:gd name="T3" fmla="*/ 120 h 166"/>
              <a:gd name="T4" fmla="*/ 3 w 217"/>
              <a:gd name="T5" fmla="*/ 133 h 166"/>
              <a:gd name="T6" fmla="*/ 29 w 217"/>
              <a:gd name="T7" fmla="*/ 162 h 166"/>
              <a:gd name="T8" fmla="*/ 36 w 217"/>
              <a:gd name="T9" fmla="*/ 155 h 166"/>
              <a:gd name="T10" fmla="*/ 47 w 217"/>
              <a:gd name="T11" fmla="*/ 165 h 166"/>
              <a:gd name="T12" fmla="*/ 63 w 217"/>
              <a:gd name="T13" fmla="*/ 136 h 166"/>
              <a:gd name="T14" fmla="*/ 125 w 217"/>
              <a:gd name="T15" fmla="*/ 151 h 166"/>
              <a:gd name="T16" fmla="*/ 178 w 217"/>
              <a:gd name="T17" fmla="*/ 136 h 166"/>
              <a:gd name="T18" fmla="*/ 180 w 217"/>
              <a:gd name="T19" fmla="*/ 129 h 166"/>
              <a:gd name="T20" fmla="*/ 208 w 217"/>
              <a:gd name="T21" fmla="*/ 93 h 166"/>
              <a:gd name="T22" fmla="*/ 216 w 217"/>
              <a:gd name="T23" fmla="*/ 44 h 166"/>
              <a:gd name="T24" fmla="*/ 202 w 217"/>
              <a:gd name="T25" fmla="*/ 28 h 166"/>
              <a:gd name="T26" fmla="*/ 202 w 217"/>
              <a:gd name="T27" fmla="*/ 6 h 166"/>
              <a:gd name="T28" fmla="*/ 157 w 217"/>
              <a:gd name="T29" fmla="*/ 0 h 166"/>
              <a:gd name="T30" fmla="*/ 74 w 217"/>
              <a:gd name="T31" fmla="*/ 57 h 166"/>
              <a:gd name="T32" fmla="*/ 53 w 217"/>
              <a:gd name="T33" fmla="*/ 62 h 166"/>
              <a:gd name="T34" fmla="*/ 53 w 217"/>
              <a:gd name="T35" fmla="*/ 105 h 166"/>
              <a:gd name="T36" fmla="*/ 44 w 217"/>
              <a:gd name="T37" fmla="*/ 114 h 166"/>
              <a:gd name="T38" fmla="*/ 0 w 217"/>
              <a:gd name="T39" fmla="*/ 120 h 166"/>
              <a:gd name="T40" fmla="*/ 0 w 217"/>
              <a:gd name="T41" fmla="*/ 120 h 1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7"/>
              <a:gd name="T64" fmla="*/ 0 h 166"/>
              <a:gd name="T65" fmla="*/ 217 w 217"/>
              <a:gd name="T66" fmla="*/ 166 h 1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7" h="166">
                <a:moveTo>
                  <a:pt x="0" y="120"/>
                </a:moveTo>
                <a:lnTo>
                  <a:pt x="0" y="120"/>
                </a:lnTo>
                <a:lnTo>
                  <a:pt x="3" y="133"/>
                </a:lnTo>
                <a:lnTo>
                  <a:pt x="29" y="162"/>
                </a:lnTo>
                <a:lnTo>
                  <a:pt x="36" y="155"/>
                </a:lnTo>
                <a:lnTo>
                  <a:pt x="47" y="165"/>
                </a:lnTo>
                <a:lnTo>
                  <a:pt x="63" y="136"/>
                </a:lnTo>
                <a:lnTo>
                  <a:pt x="125" y="151"/>
                </a:lnTo>
                <a:lnTo>
                  <a:pt x="178" y="136"/>
                </a:lnTo>
                <a:lnTo>
                  <a:pt x="180" y="129"/>
                </a:lnTo>
                <a:lnTo>
                  <a:pt x="208" y="93"/>
                </a:lnTo>
                <a:lnTo>
                  <a:pt x="216" y="44"/>
                </a:lnTo>
                <a:lnTo>
                  <a:pt x="202" y="28"/>
                </a:lnTo>
                <a:lnTo>
                  <a:pt x="202" y="6"/>
                </a:lnTo>
                <a:lnTo>
                  <a:pt x="157" y="0"/>
                </a:lnTo>
                <a:lnTo>
                  <a:pt x="74" y="57"/>
                </a:lnTo>
                <a:lnTo>
                  <a:pt x="53" y="62"/>
                </a:lnTo>
                <a:lnTo>
                  <a:pt x="53" y="105"/>
                </a:lnTo>
                <a:lnTo>
                  <a:pt x="44" y="114"/>
                </a:lnTo>
                <a:lnTo>
                  <a:pt x="0" y="12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75" name="Freeform 674"/>
          <p:cNvSpPr>
            <a:spLocks/>
          </p:cNvSpPr>
          <p:nvPr/>
        </p:nvSpPr>
        <p:spPr bwMode="auto">
          <a:xfrm>
            <a:off x="4384088" y="3864611"/>
            <a:ext cx="270189" cy="218253"/>
          </a:xfrm>
          <a:custGeom>
            <a:avLst/>
            <a:gdLst>
              <a:gd name="T0" fmla="*/ 0 w 159"/>
              <a:gd name="T1" fmla="*/ 102 h 132"/>
              <a:gd name="T2" fmla="*/ 0 w 159"/>
              <a:gd name="T3" fmla="*/ 102 h 132"/>
              <a:gd name="T4" fmla="*/ 11 w 159"/>
              <a:gd name="T5" fmla="*/ 29 h 132"/>
              <a:gd name="T6" fmla="*/ 27 w 159"/>
              <a:gd name="T7" fmla="*/ 0 h 132"/>
              <a:gd name="T8" fmla="*/ 89 w 159"/>
              <a:gd name="T9" fmla="*/ 15 h 132"/>
              <a:gd name="T10" fmla="*/ 142 w 159"/>
              <a:gd name="T11" fmla="*/ 0 h 132"/>
              <a:gd name="T12" fmla="*/ 153 w 159"/>
              <a:gd name="T13" fmla="*/ 17 h 132"/>
              <a:gd name="T14" fmla="*/ 158 w 159"/>
              <a:gd name="T15" fmla="*/ 29 h 132"/>
              <a:gd name="T16" fmla="*/ 144 w 159"/>
              <a:gd name="T17" fmla="*/ 40 h 132"/>
              <a:gd name="T18" fmla="*/ 116 w 159"/>
              <a:gd name="T19" fmla="*/ 99 h 132"/>
              <a:gd name="T20" fmla="*/ 90 w 159"/>
              <a:gd name="T21" fmla="*/ 95 h 132"/>
              <a:gd name="T22" fmla="*/ 76 w 159"/>
              <a:gd name="T23" fmla="*/ 124 h 132"/>
              <a:gd name="T24" fmla="*/ 45 w 159"/>
              <a:gd name="T25" fmla="*/ 131 h 132"/>
              <a:gd name="T26" fmla="*/ 27 w 159"/>
              <a:gd name="T27" fmla="*/ 106 h 132"/>
              <a:gd name="T28" fmla="*/ 0 w 159"/>
              <a:gd name="T29" fmla="*/ 102 h 132"/>
              <a:gd name="T30" fmla="*/ 0 w 159"/>
              <a:gd name="T31" fmla="*/ 102 h 1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9"/>
              <a:gd name="T49" fmla="*/ 0 h 132"/>
              <a:gd name="T50" fmla="*/ 159 w 159"/>
              <a:gd name="T51" fmla="*/ 132 h 13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9" h="132">
                <a:moveTo>
                  <a:pt x="0" y="102"/>
                </a:moveTo>
                <a:lnTo>
                  <a:pt x="0" y="102"/>
                </a:lnTo>
                <a:lnTo>
                  <a:pt x="11" y="29"/>
                </a:lnTo>
                <a:lnTo>
                  <a:pt x="27" y="0"/>
                </a:lnTo>
                <a:lnTo>
                  <a:pt x="89" y="15"/>
                </a:lnTo>
                <a:lnTo>
                  <a:pt x="142" y="0"/>
                </a:lnTo>
                <a:lnTo>
                  <a:pt x="153" y="17"/>
                </a:lnTo>
                <a:lnTo>
                  <a:pt x="158" y="29"/>
                </a:lnTo>
                <a:lnTo>
                  <a:pt x="144" y="40"/>
                </a:lnTo>
                <a:lnTo>
                  <a:pt x="116" y="99"/>
                </a:lnTo>
                <a:lnTo>
                  <a:pt x="90" y="95"/>
                </a:lnTo>
                <a:lnTo>
                  <a:pt x="76" y="124"/>
                </a:lnTo>
                <a:lnTo>
                  <a:pt x="45" y="131"/>
                </a:lnTo>
                <a:lnTo>
                  <a:pt x="27" y="106"/>
                </a:lnTo>
                <a:lnTo>
                  <a:pt x="0" y="10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76" name="Freeform 675"/>
          <p:cNvSpPr>
            <a:spLocks/>
          </p:cNvSpPr>
          <p:nvPr/>
        </p:nvSpPr>
        <p:spPr bwMode="auto">
          <a:xfrm>
            <a:off x="3930374" y="3889413"/>
            <a:ext cx="71371" cy="42989"/>
          </a:xfrm>
          <a:custGeom>
            <a:avLst/>
            <a:gdLst>
              <a:gd name="T0" fmla="*/ 0 w 42"/>
              <a:gd name="T1" fmla="*/ 3 h 26"/>
              <a:gd name="T2" fmla="*/ 0 w 42"/>
              <a:gd name="T3" fmla="*/ 3 h 26"/>
              <a:gd name="T4" fmla="*/ 12 w 42"/>
              <a:gd name="T5" fmla="*/ 14 h 26"/>
              <a:gd name="T6" fmla="*/ 25 w 42"/>
              <a:gd name="T7" fmla="*/ 11 h 26"/>
              <a:gd name="T8" fmla="*/ 18 w 42"/>
              <a:gd name="T9" fmla="*/ 14 h 26"/>
              <a:gd name="T10" fmla="*/ 24 w 42"/>
              <a:gd name="T11" fmla="*/ 25 h 26"/>
              <a:gd name="T12" fmla="*/ 41 w 42"/>
              <a:gd name="T13" fmla="*/ 14 h 26"/>
              <a:gd name="T14" fmla="*/ 41 w 42"/>
              <a:gd name="T15" fmla="*/ 0 h 26"/>
              <a:gd name="T16" fmla="*/ 0 w 42"/>
              <a:gd name="T17" fmla="*/ 3 h 26"/>
              <a:gd name="T18" fmla="*/ 0 w 42"/>
              <a:gd name="T19" fmla="*/ 3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26"/>
              <a:gd name="T32" fmla="*/ 42 w 42"/>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26">
                <a:moveTo>
                  <a:pt x="0" y="3"/>
                </a:moveTo>
                <a:lnTo>
                  <a:pt x="0" y="3"/>
                </a:lnTo>
                <a:lnTo>
                  <a:pt x="12" y="14"/>
                </a:lnTo>
                <a:lnTo>
                  <a:pt x="25" y="11"/>
                </a:lnTo>
                <a:lnTo>
                  <a:pt x="18" y="14"/>
                </a:lnTo>
                <a:lnTo>
                  <a:pt x="24" y="25"/>
                </a:lnTo>
                <a:lnTo>
                  <a:pt x="41" y="14"/>
                </a:lnTo>
                <a:lnTo>
                  <a:pt x="41" y="0"/>
                </a:lnTo>
                <a:lnTo>
                  <a:pt x="0" y="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77" name="Freeform 676"/>
          <p:cNvSpPr>
            <a:spLocks/>
          </p:cNvSpPr>
          <p:nvPr/>
        </p:nvSpPr>
        <p:spPr bwMode="auto">
          <a:xfrm>
            <a:off x="5495431" y="3578568"/>
            <a:ext cx="15294" cy="38029"/>
          </a:xfrm>
          <a:custGeom>
            <a:avLst/>
            <a:gdLst>
              <a:gd name="T0" fmla="*/ 0 w 9"/>
              <a:gd name="T1" fmla="*/ 18 h 23"/>
              <a:gd name="T2" fmla="*/ 0 w 9"/>
              <a:gd name="T3" fmla="*/ 18 h 23"/>
              <a:gd name="T4" fmla="*/ 4 w 9"/>
              <a:gd name="T5" fmla="*/ 22 h 23"/>
              <a:gd name="T6" fmla="*/ 8 w 9"/>
              <a:gd name="T7" fmla="*/ 21 h 23"/>
              <a:gd name="T8" fmla="*/ 5 w 9"/>
              <a:gd name="T9" fmla="*/ 0 h 23"/>
              <a:gd name="T10" fmla="*/ 0 w 9"/>
              <a:gd name="T11" fmla="*/ 18 h 23"/>
              <a:gd name="T12" fmla="*/ 0 w 9"/>
              <a:gd name="T13" fmla="*/ 18 h 23"/>
              <a:gd name="T14" fmla="*/ 0 60000 65536"/>
              <a:gd name="T15" fmla="*/ 0 60000 65536"/>
              <a:gd name="T16" fmla="*/ 0 60000 65536"/>
              <a:gd name="T17" fmla="*/ 0 60000 65536"/>
              <a:gd name="T18" fmla="*/ 0 60000 65536"/>
              <a:gd name="T19" fmla="*/ 0 60000 65536"/>
              <a:gd name="T20" fmla="*/ 0 60000 65536"/>
              <a:gd name="T21" fmla="*/ 0 w 9"/>
              <a:gd name="T22" fmla="*/ 0 h 23"/>
              <a:gd name="T23" fmla="*/ 9 w 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3">
                <a:moveTo>
                  <a:pt x="0" y="18"/>
                </a:moveTo>
                <a:lnTo>
                  <a:pt x="0" y="18"/>
                </a:lnTo>
                <a:lnTo>
                  <a:pt x="4" y="22"/>
                </a:lnTo>
                <a:lnTo>
                  <a:pt x="8" y="21"/>
                </a:lnTo>
                <a:lnTo>
                  <a:pt x="5" y="0"/>
                </a:lnTo>
                <a:lnTo>
                  <a:pt x="0" y="18"/>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78" name="Freeform 677"/>
          <p:cNvSpPr>
            <a:spLocks/>
          </p:cNvSpPr>
          <p:nvPr/>
        </p:nvSpPr>
        <p:spPr bwMode="auto">
          <a:xfrm>
            <a:off x="4992438" y="4198605"/>
            <a:ext cx="40783" cy="38029"/>
          </a:xfrm>
          <a:custGeom>
            <a:avLst/>
            <a:gdLst>
              <a:gd name="T0" fmla="*/ 0 w 24"/>
              <a:gd name="T1" fmla="*/ 22 h 23"/>
              <a:gd name="T2" fmla="*/ 0 w 24"/>
              <a:gd name="T3" fmla="*/ 22 h 23"/>
              <a:gd name="T4" fmla="*/ 9 w 24"/>
              <a:gd name="T5" fmla="*/ 4 h 23"/>
              <a:gd name="T6" fmla="*/ 20 w 24"/>
              <a:gd name="T7" fmla="*/ 0 h 23"/>
              <a:gd name="T8" fmla="*/ 23 w 24"/>
              <a:gd name="T9" fmla="*/ 18 h 23"/>
              <a:gd name="T10" fmla="*/ 0 w 24"/>
              <a:gd name="T11" fmla="*/ 22 h 23"/>
              <a:gd name="T12" fmla="*/ 0 w 24"/>
              <a:gd name="T13" fmla="*/ 22 h 23"/>
              <a:gd name="T14" fmla="*/ 0 60000 65536"/>
              <a:gd name="T15" fmla="*/ 0 60000 65536"/>
              <a:gd name="T16" fmla="*/ 0 60000 65536"/>
              <a:gd name="T17" fmla="*/ 0 60000 65536"/>
              <a:gd name="T18" fmla="*/ 0 60000 65536"/>
              <a:gd name="T19" fmla="*/ 0 60000 65536"/>
              <a:gd name="T20" fmla="*/ 0 60000 65536"/>
              <a:gd name="T21" fmla="*/ 0 w 24"/>
              <a:gd name="T22" fmla="*/ 0 h 23"/>
              <a:gd name="T23" fmla="*/ 24 w 24"/>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3">
                <a:moveTo>
                  <a:pt x="0" y="22"/>
                </a:moveTo>
                <a:lnTo>
                  <a:pt x="0" y="22"/>
                </a:lnTo>
                <a:lnTo>
                  <a:pt x="9" y="4"/>
                </a:lnTo>
                <a:lnTo>
                  <a:pt x="20" y="0"/>
                </a:lnTo>
                <a:lnTo>
                  <a:pt x="23" y="18"/>
                </a:lnTo>
                <a:lnTo>
                  <a:pt x="0" y="2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79" name="Freeform 678"/>
          <p:cNvSpPr>
            <a:spLocks/>
          </p:cNvSpPr>
          <p:nvPr/>
        </p:nvSpPr>
        <p:spPr bwMode="auto">
          <a:xfrm>
            <a:off x="3911682" y="3800127"/>
            <a:ext cx="146140" cy="95899"/>
          </a:xfrm>
          <a:custGeom>
            <a:avLst/>
            <a:gdLst>
              <a:gd name="T0" fmla="*/ 0 w 86"/>
              <a:gd name="T1" fmla="*/ 25 h 58"/>
              <a:gd name="T2" fmla="*/ 0 w 86"/>
              <a:gd name="T3" fmla="*/ 25 h 58"/>
              <a:gd name="T4" fmla="*/ 13 w 86"/>
              <a:gd name="T5" fmla="*/ 42 h 58"/>
              <a:gd name="T6" fmla="*/ 52 w 86"/>
              <a:gd name="T7" fmla="*/ 44 h 58"/>
              <a:gd name="T8" fmla="*/ 11 w 86"/>
              <a:gd name="T9" fmla="*/ 49 h 58"/>
              <a:gd name="T10" fmla="*/ 11 w 86"/>
              <a:gd name="T11" fmla="*/ 57 h 58"/>
              <a:gd name="T12" fmla="*/ 52 w 86"/>
              <a:gd name="T13" fmla="*/ 54 h 58"/>
              <a:gd name="T14" fmla="*/ 85 w 86"/>
              <a:gd name="T15" fmla="*/ 57 h 58"/>
              <a:gd name="T16" fmla="*/ 75 w 86"/>
              <a:gd name="T17" fmla="*/ 25 h 58"/>
              <a:gd name="T18" fmla="*/ 44 w 86"/>
              <a:gd name="T19" fmla="*/ 0 h 58"/>
              <a:gd name="T20" fmla="*/ 13 w 86"/>
              <a:gd name="T21" fmla="*/ 7 h 58"/>
              <a:gd name="T22" fmla="*/ 0 w 86"/>
              <a:gd name="T23" fmla="*/ 25 h 58"/>
              <a:gd name="T24" fmla="*/ 0 w 86"/>
              <a:gd name="T25" fmla="*/ 25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58"/>
              <a:gd name="T41" fmla="*/ 86 w 8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58">
                <a:moveTo>
                  <a:pt x="0" y="25"/>
                </a:moveTo>
                <a:lnTo>
                  <a:pt x="0" y="25"/>
                </a:lnTo>
                <a:lnTo>
                  <a:pt x="13" y="42"/>
                </a:lnTo>
                <a:lnTo>
                  <a:pt x="52" y="44"/>
                </a:lnTo>
                <a:lnTo>
                  <a:pt x="11" y="49"/>
                </a:lnTo>
                <a:lnTo>
                  <a:pt x="11" y="57"/>
                </a:lnTo>
                <a:lnTo>
                  <a:pt x="52" y="54"/>
                </a:lnTo>
                <a:lnTo>
                  <a:pt x="85" y="57"/>
                </a:lnTo>
                <a:lnTo>
                  <a:pt x="75" y="25"/>
                </a:lnTo>
                <a:lnTo>
                  <a:pt x="44" y="0"/>
                </a:lnTo>
                <a:lnTo>
                  <a:pt x="13" y="7"/>
                </a:lnTo>
                <a:lnTo>
                  <a:pt x="0" y="2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80" name="Freeform 679"/>
          <p:cNvSpPr>
            <a:spLocks/>
          </p:cNvSpPr>
          <p:nvPr/>
        </p:nvSpPr>
        <p:spPr bwMode="auto">
          <a:xfrm>
            <a:off x="4010241" y="3952243"/>
            <a:ext cx="74769" cy="69444"/>
          </a:xfrm>
          <a:custGeom>
            <a:avLst/>
            <a:gdLst>
              <a:gd name="T0" fmla="*/ 0 w 44"/>
              <a:gd name="T1" fmla="*/ 12 h 42"/>
              <a:gd name="T2" fmla="*/ 0 w 44"/>
              <a:gd name="T3" fmla="*/ 12 h 42"/>
              <a:gd name="T4" fmla="*/ 5 w 44"/>
              <a:gd name="T5" fmla="*/ 28 h 42"/>
              <a:gd name="T6" fmla="*/ 26 w 44"/>
              <a:gd name="T7" fmla="*/ 41 h 42"/>
              <a:gd name="T8" fmla="*/ 43 w 44"/>
              <a:gd name="T9" fmla="*/ 21 h 42"/>
              <a:gd name="T10" fmla="*/ 29 w 44"/>
              <a:gd name="T11" fmla="*/ 0 h 42"/>
              <a:gd name="T12" fmla="*/ 0 w 44"/>
              <a:gd name="T13" fmla="*/ 12 h 42"/>
              <a:gd name="T14" fmla="*/ 0 w 44"/>
              <a:gd name="T15" fmla="*/ 12 h 42"/>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2"/>
              <a:gd name="T26" fmla="*/ 44 w 44"/>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2">
                <a:moveTo>
                  <a:pt x="0" y="12"/>
                </a:moveTo>
                <a:lnTo>
                  <a:pt x="0" y="12"/>
                </a:lnTo>
                <a:lnTo>
                  <a:pt x="5" y="28"/>
                </a:lnTo>
                <a:lnTo>
                  <a:pt x="26" y="41"/>
                </a:lnTo>
                <a:lnTo>
                  <a:pt x="43" y="21"/>
                </a:lnTo>
                <a:lnTo>
                  <a:pt x="29" y="0"/>
                </a:lnTo>
                <a:lnTo>
                  <a:pt x="0" y="1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81" name="Freeform 680"/>
          <p:cNvSpPr>
            <a:spLocks/>
          </p:cNvSpPr>
          <p:nvPr/>
        </p:nvSpPr>
        <p:spPr bwMode="auto">
          <a:xfrm>
            <a:off x="5271123" y="3907601"/>
            <a:ext cx="237902" cy="307538"/>
          </a:xfrm>
          <a:custGeom>
            <a:avLst/>
            <a:gdLst>
              <a:gd name="T0" fmla="*/ 0 w 140"/>
              <a:gd name="T1" fmla="*/ 174 h 186"/>
              <a:gd name="T2" fmla="*/ 0 w 140"/>
              <a:gd name="T3" fmla="*/ 174 h 186"/>
              <a:gd name="T4" fmla="*/ 0 w 140"/>
              <a:gd name="T5" fmla="*/ 123 h 186"/>
              <a:gd name="T6" fmla="*/ 11 w 140"/>
              <a:gd name="T7" fmla="*/ 109 h 186"/>
              <a:gd name="T8" fmla="*/ 54 w 140"/>
              <a:gd name="T9" fmla="*/ 94 h 186"/>
              <a:gd name="T10" fmla="*/ 95 w 140"/>
              <a:gd name="T11" fmla="*/ 53 h 186"/>
              <a:gd name="T12" fmla="*/ 41 w 140"/>
              <a:gd name="T13" fmla="*/ 39 h 186"/>
              <a:gd name="T14" fmla="*/ 25 w 140"/>
              <a:gd name="T15" fmla="*/ 15 h 186"/>
              <a:gd name="T16" fmla="*/ 31 w 140"/>
              <a:gd name="T17" fmla="*/ 7 h 186"/>
              <a:gd name="T18" fmla="*/ 52 w 140"/>
              <a:gd name="T19" fmla="*/ 21 h 186"/>
              <a:gd name="T20" fmla="*/ 133 w 140"/>
              <a:gd name="T21" fmla="*/ 0 h 186"/>
              <a:gd name="T22" fmla="*/ 139 w 140"/>
              <a:gd name="T23" fmla="*/ 21 h 186"/>
              <a:gd name="T24" fmla="*/ 90 w 140"/>
              <a:gd name="T25" fmla="*/ 108 h 186"/>
              <a:gd name="T26" fmla="*/ 7 w 140"/>
              <a:gd name="T27" fmla="*/ 185 h 186"/>
              <a:gd name="T28" fmla="*/ 0 w 140"/>
              <a:gd name="T29" fmla="*/ 174 h 186"/>
              <a:gd name="T30" fmla="*/ 0 w 140"/>
              <a:gd name="T31" fmla="*/ 174 h 1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186"/>
              <a:gd name="T50" fmla="*/ 140 w 140"/>
              <a:gd name="T51" fmla="*/ 186 h 1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186">
                <a:moveTo>
                  <a:pt x="0" y="174"/>
                </a:moveTo>
                <a:lnTo>
                  <a:pt x="0" y="174"/>
                </a:lnTo>
                <a:lnTo>
                  <a:pt x="0" y="123"/>
                </a:lnTo>
                <a:lnTo>
                  <a:pt x="11" y="109"/>
                </a:lnTo>
                <a:lnTo>
                  <a:pt x="54" y="94"/>
                </a:lnTo>
                <a:lnTo>
                  <a:pt x="95" y="53"/>
                </a:lnTo>
                <a:lnTo>
                  <a:pt x="41" y="39"/>
                </a:lnTo>
                <a:lnTo>
                  <a:pt x="25" y="15"/>
                </a:lnTo>
                <a:lnTo>
                  <a:pt x="31" y="7"/>
                </a:lnTo>
                <a:lnTo>
                  <a:pt x="52" y="21"/>
                </a:lnTo>
                <a:lnTo>
                  <a:pt x="133" y="0"/>
                </a:lnTo>
                <a:lnTo>
                  <a:pt x="139" y="21"/>
                </a:lnTo>
                <a:lnTo>
                  <a:pt x="90" y="108"/>
                </a:lnTo>
                <a:lnTo>
                  <a:pt x="7" y="185"/>
                </a:lnTo>
                <a:lnTo>
                  <a:pt x="0" y="17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82" name="Freeform 681"/>
          <p:cNvSpPr>
            <a:spLocks/>
          </p:cNvSpPr>
          <p:nvPr/>
        </p:nvSpPr>
        <p:spPr bwMode="auto">
          <a:xfrm>
            <a:off x="4900676" y="4527638"/>
            <a:ext cx="183525" cy="163690"/>
          </a:xfrm>
          <a:custGeom>
            <a:avLst/>
            <a:gdLst>
              <a:gd name="T0" fmla="*/ 0 w 108"/>
              <a:gd name="T1" fmla="*/ 30 h 99"/>
              <a:gd name="T2" fmla="*/ 0 w 108"/>
              <a:gd name="T3" fmla="*/ 30 h 99"/>
              <a:gd name="T4" fmla="*/ 0 w 108"/>
              <a:gd name="T5" fmla="*/ 30 h 99"/>
              <a:gd name="T6" fmla="*/ 24 w 108"/>
              <a:gd name="T7" fmla="*/ 31 h 99"/>
              <a:gd name="T8" fmla="*/ 48 w 108"/>
              <a:gd name="T9" fmla="*/ 13 h 99"/>
              <a:gd name="T10" fmla="*/ 49 w 108"/>
              <a:gd name="T11" fmla="*/ 5 h 99"/>
              <a:gd name="T12" fmla="*/ 70 w 108"/>
              <a:gd name="T13" fmla="*/ 0 h 99"/>
              <a:gd name="T14" fmla="*/ 104 w 108"/>
              <a:gd name="T15" fmla="*/ 11 h 99"/>
              <a:gd name="T16" fmla="*/ 107 w 108"/>
              <a:gd name="T17" fmla="*/ 25 h 99"/>
              <a:gd name="T18" fmla="*/ 105 w 108"/>
              <a:gd name="T19" fmla="*/ 61 h 99"/>
              <a:gd name="T20" fmla="*/ 87 w 108"/>
              <a:gd name="T21" fmla="*/ 98 h 99"/>
              <a:gd name="T22" fmla="*/ 56 w 108"/>
              <a:gd name="T23" fmla="*/ 92 h 99"/>
              <a:gd name="T24" fmla="*/ 38 w 108"/>
              <a:gd name="T25" fmla="*/ 83 h 99"/>
              <a:gd name="T26" fmla="*/ 0 w 108"/>
              <a:gd name="T27" fmla="*/ 30 h 99"/>
              <a:gd name="T28" fmla="*/ 0 w 108"/>
              <a:gd name="T29" fmla="*/ 30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99"/>
              <a:gd name="T47" fmla="*/ 108 w 108"/>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99">
                <a:moveTo>
                  <a:pt x="0" y="30"/>
                </a:moveTo>
                <a:lnTo>
                  <a:pt x="0" y="30"/>
                </a:lnTo>
                <a:lnTo>
                  <a:pt x="24" y="31"/>
                </a:lnTo>
                <a:lnTo>
                  <a:pt x="48" y="13"/>
                </a:lnTo>
                <a:lnTo>
                  <a:pt x="49" y="5"/>
                </a:lnTo>
                <a:lnTo>
                  <a:pt x="70" y="0"/>
                </a:lnTo>
                <a:lnTo>
                  <a:pt x="104" y="11"/>
                </a:lnTo>
                <a:lnTo>
                  <a:pt x="107" y="25"/>
                </a:lnTo>
                <a:lnTo>
                  <a:pt x="105" y="61"/>
                </a:lnTo>
                <a:lnTo>
                  <a:pt x="87" y="98"/>
                </a:lnTo>
                <a:lnTo>
                  <a:pt x="56" y="92"/>
                </a:lnTo>
                <a:lnTo>
                  <a:pt x="38" y="83"/>
                </a:lnTo>
                <a:lnTo>
                  <a:pt x="0" y="3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83" name="Freeform 682"/>
          <p:cNvSpPr>
            <a:spLocks/>
          </p:cNvSpPr>
          <p:nvPr/>
        </p:nvSpPr>
        <p:spPr bwMode="auto">
          <a:xfrm>
            <a:off x="4586305" y="4557399"/>
            <a:ext cx="316070" cy="289351"/>
          </a:xfrm>
          <a:custGeom>
            <a:avLst/>
            <a:gdLst>
              <a:gd name="T0" fmla="*/ 0 w 186"/>
              <a:gd name="T1" fmla="*/ 6 h 175"/>
              <a:gd name="T2" fmla="*/ 0 w 186"/>
              <a:gd name="T3" fmla="*/ 6 h 175"/>
              <a:gd name="T4" fmla="*/ 23 w 186"/>
              <a:gd name="T5" fmla="*/ 0 h 175"/>
              <a:gd name="T6" fmla="*/ 134 w 186"/>
              <a:gd name="T7" fmla="*/ 16 h 175"/>
              <a:gd name="T8" fmla="*/ 159 w 186"/>
              <a:gd name="T9" fmla="*/ 9 h 175"/>
              <a:gd name="T10" fmla="*/ 185 w 186"/>
              <a:gd name="T11" fmla="*/ 12 h 175"/>
              <a:gd name="T12" fmla="*/ 185 w 186"/>
              <a:gd name="T13" fmla="*/ 12 h 175"/>
              <a:gd name="T14" fmla="*/ 162 w 186"/>
              <a:gd name="T15" fmla="*/ 25 h 175"/>
              <a:gd name="T16" fmla="*/ 154 w 186"/>
              <a:gd name="T17" fmla="*/ 16 h 175"/>
              <a:gd name="T18" fmla="*/ 128 w 186"/>
              <a:gd name="T19" fmla="*/ 22 h 175"/>
              <a:gd name="T20" fmla="*/ 128 w 186"/>
              <a:gd name="T21" fmla="*/ 71 h 175"/>
              <a:gd name="T22" fmla="*/ 114 w 186"/>
              <a:gd name="T23" fmla="*/ 71 h 175"/>
              <a:gd name="T24" fmla="*/ 114 w 186"/>
              <a:gd name="T25" fmla="*/ 110 h 175"/>
              <a:gd name="T26" fmla="*/ 114 w 186"/>
              <a:gd name="T27" fmla="*/ 165 h 175"/>
              <a:gd name="T28" fmla="*/ 102 w 186"/>
              <a:gd name="T29" fmla="*/ 174 h 175"/>
              <a:gd name="T30" fmla="*/ 84 w 186"/>
              <a:gd name="T31" fmla="*/ 174 h 175"/>
              <a:gd name="T32" fmla="*/ 75 w 186"/>
              <a:gd name="T33" fmla="*/ 162 h 175"/>
              <a:gd name="T34" fmla="*/ 67 w 186"/>
              <a:gd name="T35" fmla="*/ 168 h 175"/>
              <a:gd name="T36" fmla="*/ 49 w 186"/>
              <a:gd name="T37" fmla="*/ 149 h 175"/>
              <a:gd name="T38" fmla="*/ 39 w 186"/>
              <a:gd name="T39" fmla="*/ 88 h 175"/>
              <a:gd name="T40" fmla="*/ 39 w 186"/>
              <a:gd name="T41" fmla="*/ 81 h 175"/>
              <a:gd name="T42" fmla="*/ 0 w 186"/>
              <a:gd name="T43" fmla="*/ 6 h 175"/>
              <a:gd name="T44" fmla="*/ 0 w 186"/>
              <a:gd name="T45" fmla="*/ 6 h 17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6"/>
              <a:gd name="T70" fmla="*/ 0 h 175"/>
              <a:gd name="T71" fmla="*/ 186 w 186"/>
              <a:gd name="T72" fmla="*/ 175 h 17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6" h="175">
                <a:moveTo>
                  <a:pt x="0" y="6"/>
                </a:moveTo>
                <a:lnTo>
                  <a:pt x="0" y="6"/>
                </a:lnTo>
                <a:lnTo>
                  <a:pt x="23" y="0"/>
                </a:lnTo>
                <a:lnTo>
                  <a:pt x="134" y="16"/>
                </a:lnTo>
                <a:lnTo>
                  <a:pt x="159" y="9"/>
                </a:lnTo>
                <a:lnTo>
                  <a:pt x="185" y="12"/>
                </a:lnTo>
                <a:lnTo>
                  <a:pt x="162" y="25"/>
                </a:lnTo>
                <a:lnTo>
                  <a:pt x="154" y="16"/>
                </a:lnTo>
                <a:lnTo>
                  <a:pt x="128" y="22"/>
                </a:lnTo>
                <a:lnTo>
                  <a:pt x="128" y="71"/>
                </a:lnTo>
                <a:lnTo>
                  <a:pt x="114" y="71"/>
                </a:lnTo>
                <a:lnTo>
                  <a:pt x="114" y="110"/>
                </a:lnTo>
                <a:lnTo>
                  <a:pt x="114" y="165"/>
                </a:lnTo>
                <a:lnTo>
                  <a:pt x="102" y="174"/>
                </a:lnTo>
                <a:lnTo>
                  <a:pt x="84" y="174"/>
                </a:lnTo>
                <a:lnTo>
                  <a:pt x="75" y="162"/>
                </a:lnTo>
                <a:lnTo>
                  <a:pt x="67" y="168"/>
                </a:lnTo>
                <a:lnTo>
                  <a:pt x="49" y="149"/>
                </a:lnTo>
                <a:lnTo>
                  <a:pt x="39" y="88"/>
                </a:lnTo>
                <a:lnTo>
                  <a:pt x="39" y="81"/>
                </a:lnTo>
                <a:lnTo>
                  <a:pt x="0" y="6"/>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84" name="Freeform 683"/>
          <p:cNvSpPr>
            <a:spLocks/>
          </p:cNvSpPr>
          <p:nvPr/>
        </p:nvSpPr>
        <p:spPr bwMode="auto">
          <a:xfrm>
            <a:off x="3925276" y="3538885"/>
            <a:ext cx="197119" cy="160383"/>
          </a:xfrm>
          <a:custGeom>
            <a:avLst/>
            <a:gdLst>
              <a:gd name="T0" fmla="*/ 0 w 116"/>
              <a:gd name="T1" fmla="*/ 96 h 97"/>
              <a:gd name="T2" fmla="*/ 0 w 116"/>
              <a:gd name="T3" fmla="*/ 96 h 97"/>
              <a:gd name="T4" fmla="*/ 54 w 116"/>
              <a:gd name="T5" fmla="*/ 0 h 97"/>
              <a:gd name="T6" fmla="*/ 114 w 116"/>
              <a:gd name="T7" fmla="*/ 2 h 97"/>
              <a:gd name="T8" fmla="*/ 115 w 116"/>
              <a:gd name="T9" fmla="*/ 7 h 97"/>
              <a:gd name="T10" fmla="*/ 114 w 116"/>
              <a:gd name="T11" fmla="*/ 25 h 97"/>
              <a:gd name="T12" fmla="*/ 70 w 116"/>
              <a:gd name="T13" fmla="*/ 24 h 97"/>
              <a:gd name="T14" fmla="*/ 70 w 116"/>
              <a:gd name="T15" fmla="*/ 61 h 97"/>
              <a:gd name="T16" fmla="*/ 54 w 116"/>
              <a:gd name="T17" fmla="*/ 67 h 97"/>
              <a:gd name="T18" fmla="*/ 55 w 116"/>
              <a:gd name="T19" fmla="*/ 90 h 97"/>
              <a:gd name="T20" fmla="*/ 0 w 116"/>
              <a:gd name="T21" fmla="*/ 96 h 97"/>
              <a:gd name="T22" fmla="*/ 0 w 116"/>
              <a:gd name="T23" fmla="*/ 96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97"/>
              <a:gd name="T38" fmla="*/ 116 w 116"/>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97">
                <a:moveTo>
                  <a:pt x="0" y="96"/>
                </a:moveTo>
                <a:lnTo>
                  <a:pt x="0" y="96"/>
                </a:lnTo>
                <a:lnTo>
                  <a:pt x="54" y="0"/>
                </a:lnTo>
                <a:lnTo>
                  <a:pt x="114" y="2"/>
                </a:lnTo>
                <a:lnTo>
                  <a:pt x="115" y="7"/>
                </a:lnTo>
                <a:lnTo>
                  <a:pt x="114" y="25"/>
                </a:lnTo>
                <a:lnTo>
                  <a:pt x="70" y="24"/>
                </a:lnTo>
                <a:lnTo>
                  <a:pt x="70" y="61"/>
                </a:lnTo>
                <a:lnTo>
                  <a:pt x="54" y="67"/>
                </a:lnTo>
                <a:lnTo>
                  <a:pt x="55" y="90"/>
                </a:lnTo>
                <a:lnTo>
                  <a:pt x="0" y="96"/>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85" name="Freeform 684"/>
          <p:cNvSpPr>
            <a:spLocks/>
          </p:cNvSpPr>
          <p:nvPr/>
        </p:nvSpPr>
        <p:spPr bwMode="auto">
          <a:xfrm>
            <a:off x="4827606" y="3649665"/>
            <a:ext cx="385741" cy="446427"/>
          </a:xfrm>
          <a:custGeom>
            <a:avLst/>
            <a:gdLst>
              <a:gd name="T0" fmla="*/ 0 w 227"/>
              <a:gd name="T1" fmla="*/ 142 h 270"/>
              <a:gd name="T2" fmla="*/ 0 w 227"/>
              <a:gd name="T3" fmla="*/ 142 h 270"/>
              <a:gd name="T4" fmla="*/ 10 w 227"/>
              <a:gd name="T5" fmla="*/ 169 h 270"/>
              <a:gd name="T6" fmla="*/ 20 w 227"/>
              <a:gd name="T7" fmla="*/ 198 h 270"/>
              <a:gd name="T8" fmla="*/ 43 w 227"/>
              <a:gd name="T9" fmla="*/ 209 h 270"/>
              <a:gd name="T10" fmla="*/ 76 w 227"/>
              <a:gd name="T11" fmla="*/ 249 h 270"/>
              <a:gd name="T12" fmla="*/ 122 w 227"/>
              <a:gd name="T13" fmla="*/ 269 h 270"/>
              <a:gd name="T14" fmla="*/ 164 w 227"/>
              <a:gd name="T15" fmla="*/ 264 h 270"/>
              <a:gd name="T16" fmla="*/ 189 w 227"/>
              <a:gd name="T17" fmla="*/ 256 h 270"/>
              <a:gd name="T18" fmla="*/ 174 w 227"/>
              <a:gd name="T19" fmla="*/ 227 h 270"/>
              <a:gd name="T20" fmla="*/ 150 w 227"/>
              <a:gd name="T21" fmla="*/ 211 h 270"/>
              <a:gd name="T22" fmla="*/ 166 w 227"/>
              <a:gd name="T23" fmla="*/ 200 h 270"/>
              <a:gd name="T24" fmla="*/ 167 w 227"/>
              <a:gd name="T25" fmla="*/ 176 h 270"/>
              <a:gd name="T26" fmla="*/ 194 w 227"/>
              <a:gd name="T27" fmla="*/ 143 h 270"/>
              <a:gd name="T28" fmla="*/ 205 w 227"/>
              <a:gd name="T29" fmla="*/ 84 h 270"/>
              <a:gd name="T30" fmla="*/ 226 w 227"/>
              <a:gd name="T31" fmla="*/ 71 h 270"/>
              <a:gd name="T32" fmla="*/ 210 w 227"/>
              <a:gd name="T33" fmla="*/ 59 h 270"/>
              <a:gd name="T34" fmla="*/ 203 w 227"/>
              <a:gd name="T35" fmla="*/ 16 h 270"/>
              <a:gd name="T36" fmla="*/ 185 w 227"/>
              <a:gd name="T37" fmla="*/ 0 h 270"/>
              <a:gd name="T38" fmla="*/ 164 w 227"/>
              <a:gd name="T39" fmla="*/ 18 h 270"/>
              <a:gd name="T40" fmla="*/ 41 w 227"/>
              <a:gd name="T41" fmla="*/ 15 h 270"/>
              <a:gd name="T42" fmla="*/ 41 w 227"/>
              <a:gd name="T43" fmla="*/ 43 h 270"/>
              <a:gd name="T44" fmla="*/ 29 w 227"/>
              <a:gd name="T45" fmla="*/ 43 h 270"/>
              <a:gd name="T46" fmla="*/ 29 w 227"/>
              <a:gd name="T47" fmla="*/ 51 h 270"/>
              <a:gd name="T48" fmla="*/ 28 w 227"/>
              <a:gd name="T49" fmla="*/ 103 h 270"/>
              <a:gd name="T50" fmla="*/ 14 w 227"/>
              <a:gd name="T51" fmla="*/ 106 h 270"/>
              <a:gd name="T52" fmla="*/ 0 w 227"/>
              <a:gd name="T53" fmla="*/ 142 h 270"/>
              <a:gd name="T54" fmla="*/ 0 w 227"/>
              <a:gd name="T55" fmla="*/ 142 h 2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7"/>
              <a:gd name="T85" fmla="*/ 0 h 270"/>
              <a:gd name="T86" fmla="*/ 227 w 227"/>
              <a:gd name="T87" fmla="*/ 270 h 2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7" h="270">
                <a:moveTo>
                  <a:pt x="0" y="142"/>
                </a:moveTo>
                <a:lnTo>
                  <a:pt x="0" y="142"/>
                </a:lnTo>
                <a:lnTo>
                  <a:pt x="10" y="169"/>
                </a:lnTo>
                <a:lnTo>
                  <a:pt x="20" y="198"/>
                </a:lnTo>
                <a:lnTo>
                  <a:pt x="43" y="209"/>
                </a:lnTo>
                <a:lnTo>
                  <a:pt x="76" y="249"/>
                </a:lnTo>
                <a:lnTo>
                  <a:pt x="122" y="269"/>
                </a:lnTo>
                <a:lnTo>
                  <a:pt x="164" y="264"/>
                </a:lnTo>
                <a:lnTo>
                  <a:pt x="189" y="256"/>
                </a:lnTo>
                <a:lnTo>
                  <a:pt x="174" y="227"/>
                </a:lnTo>
                <a:lnTo>
                  <a:pt x="150" y="211"/>
                </a:lnTo>
                <a:lnTo>
                  <a:pt x="166" y="200"/>
                </a:lnTo>
                <a:lnTo>
                  <a:pt x="167" y="176"/>
                </a:lnTo>
                <a:lnTo>
                  <a:pt x="194" y="143"/>
                </a:lnTo>
                <a:lnTo>
                  <a:pt x="205" y="84"/>
                </a:lnTo>
                <a:lnTo>
                  <a:pt x="226" y="71"/>
                </a:lnTo>
                <a:lnTo>
                  <a:pt x="210" y="59"/>
                </a:lnTo>
                <a:lnTo>
                  <a:pt x="203" y="16"/>
                </a:lnTo>
                <a:lnTo>
                  <a:pt x="185" y="0"/>
                </a:lnTo>
                <a:lnTo>
                  <a:pt x="164" y="18"/>
                </a:lnTo>
                <a:lnTo>
                  <a:pt x="41" y="15"/>
                </a:lnTo>
                <a:lnTo>
                  <a:pt x="41" y="43"/>
                </a:lnTo>
                <a:lnTo>
                  <a:pt x="29" y="43"/>
                </a:lnTo>
                <a:lnTo>
                  <a:pt x="29" y="51"/>
                </a:lnTo>
                <a:lnTo>
                  <a:pt x="28" y="103"/>
                </a:lnTo>
                <a:lnTo>
                  <a:pt x="14" y="106"/>
                </a:lnTo>
                <a:lnTo>
                  <a:pt x="0" y="14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86" name="Freeform 685"/>
          <p:cNvSpPr>
            <a:spLocks/>
          </p:cNvSpPr>
          <p:nvPr/>
        </p:nvSpPr>
        <p:spPr bwMode="auto">
          <a:xfrm>
            <a:off x="5033221" y="4764078"/>
            <a:ext cx="28888" cy="38029"/>
          </a:xfrm>
          <a:custGeom>
            <a:avLst/>
            <a:gdLst>
              <a:gd name="T0" fmla="*/ 0 w 17"/>
              <a:gd name="T1" fmla="*/ 12 h 23"/>
              <a:gd name="T2" fmla="*/ 0 w 17"/>
              <a:gd name="T3" fmla="*/ 12 h 23"/>
              <a:gd name="T4" fmla="*/ 9 w 17"/>
              <a:gd name="T5" fmla="*/ 22 h 23"/>
              <a:gd name="T6" fmla="*/ 16 w 17"/>
              <a:gd name="T7" fmla="*/ 14 h 23"/>
              <a:gd name="T8" fmla="*/ 14 w 17"/>
              <a:gd name="T9" fmla="*/ 0 h 23"/>
              <a:gd name="T10" fmla="*/ 0 w 17"/>
              <a:gd name="T11" fmla="*/ 12 h 23"/>
              <a:gd name="T12" fmla="*/ 0 w 17"/>
              <a:gd name="T13" fmla="*/ 12 h 23"/>
              <a:gd name="T14" fmla="*/ 0 60000 65536"/>
              <a:gd name="T15" fmla="*/ 0 60000 65536"/>
              <a:gd name="T16" fmla="*/ 0 60000 65536"/>
              <a:gd name="T17" fmla="*/ 0 60000 65536"/>
              <a:gd name="T18" fmla="*/ 0 60000 65536"/>
              <a:gd name="T19" fmla="*/ 0 60000 65536"/>
              <a:gd name="T20" fmla="*/ 0 60000 65536"/>
              <a:gd name="T21" fmla="*/ 0 w 17"/>
              <a:gd name="T22" fmla="*/ 0 h 23"/>
              <a:gd name="T23" fmla="*/ 17 w 17"/>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3">
                <a:moveTo>
                  <a:pt x="0" y="12"/>
                </a:moveTo>
                <a:lnTo>
                  <a:pt x="0" y="12"/>
                </a:lnTo>
                <a:lnTo>
                  <a:pt x="9" y="22"/>
                </a:lnTo>
                <a:lnTo>
                  <a:pt x="16" y="14"/>
                </a:lnTo>
                <a:lnTo>
                  <a:pt x="14" y="0"/>
                </a:lnTo>
                <a:lnTo>
                  <a:pt x="0" y="1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87" name="Freeform 686"/>
          <p:cNvSpPr>
            <a:spLocks/>
          </p:cNvSpPr>
          <p:nvPr/>
        </p:nvSpPr>
        <p:spPr bwMode="auto">
          <a:xfrm>
            <a:off x="5007732" y="4196951"/>
            <a:ext cx="251497" cy="241401"/>
          </a:xfrm>
          <a:custGeom>
            <a:avLst/>
            <a:gdLst>
              <a:gd name="T0" fmla="*/ 0 w 148"/>
              <a:gd name="T1" fmla="*/ 46 h 146"/>
              <a:gd name="T2" fmla="*/ 0 w 148"/>
              <a:gd name="T3" fmla="*/ 46 h 146"/>
              <a:gd name="T4" fmla="*/ 1 w 148"/>
              <a:gd name="T5" fmla="*/ 74 h 146"/>
              <a:gd name="T6" fmla="*/ 19 w 148"/>
              <a:gd name="T7" fmla="*/ 103 h 146"/>
              <a:gd name="T8" fmla="*/ 44 w 148"/>
              <a:gd name="T9" fmla="*/ 115 h 146"/>
              <a:gd name="T10" fmla="*/ 57 w 148"/>
              <a:gd name="T11" fmla="*/ 118 h 146"/>
              <a:gd name="T12" fmla="*/ 72 w 148"/>
              <a:gd name="T13" fmla="*/ 145 h 146"/>
              <a:gd name="T14" fmla="*/ 127 w 148"/>
              <a:gd name="T15" fmla="*/ 142 h 146"/>
              <a:gd name="T16" fmla="*/ 147 w 148"/>
              <a:gd name="T17" fmla="*/ 130 h 146"/>
              <a:gd name="T18" fmla="*/ 126 w 148"/>
              <a:gd name="T19" fmla="*/ 72 h 146"/>
              <a:gd name="T20" fmla="*/ 132 w 148"/>
              <a:gd name="T21" fmla="*/ 50 h 146"/>
              <a:gd name="T22" fmla="*/ 61 w 148"/>
              <a:gd name="T23" fmla="*/ 0 h 146"/>
              <a:gd name="T24" fmla="*/ 43 w 148"/>
              <a:gd name="T25" fmla="*/ 25 h 146"/>
              <a:gd name="T26" fmla="*/ 35 w 148"/>
              <a:gd name="T27" fmla="*/ 18 h 146"/>
              <a:gd name="T28" fmla="*/ 29 w 148"/>
              <a:gd name="T29" fmla="*/ 24 h 146"/>
              <a:gd name="T30" fmla="*/ 29 w 148"/>
              <a:gd name="T31" fmla="*/ 0 h 146"/>
              <a:gd name="T32" fmla="*/ 11 w 148"/>
              <a:gd name="T33" fmla="*/ 1 h 146"/>
              <a:gd name="T34" fmla="*/ 14 w 148"/>
              <a:gd name="T35" fmla="*/ 19 h 146"/>
              <a:gd name="T36" fmla="*/ 15 w 148"/>
              <a:gd name="T37" fmla="*/ 30 h 146"/>
              <a:gd name="T38" fmla="*/ 0 w 148"/>
              <a:gd name="T39" fmla="*/ 46 h 146"/>
              <a:gd name="T40" fmla="*/ 0 w 148"/>
              <a:gd name="T41" fmla="*/ 46 h 1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46"/>
              <a:gd name="T65" fmla="*/ 148 w 148"/>
              <a:gd name="T66" fmla="*/ 146 h 1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46">
                <a:moveTo>
                  <a:pt x="0" y="46"/>
                </a:moveTo>
                <a:lnTo>
                  <a:pt x="0" y="46"/>
                </a:lnTo>
                <a:lnTo>
                  <a:pt x="1" y="74"/>
                </a:lnTo>
                <a:lnTo>
                  <a:pt x="19" y="103"/>
                </a:lnTo>
                <a:lnTo>
                  <a:pt x="44" y="115"/>
                </a:lnTo>
                <a:lnTo>
                  <a:pt x="57" y="118"/>
                </a:lnTo>
                <a:lnTo>
                  <a:pt x="72" y="145"/>
                </a:lnTo>
                <a:lnTo>
                  <a:pt x="127" y="142"/>
                </a:lnTo>
                <a:lnTo>
                  <a:pt x="147" y="130"/>
                </a:lnTo>
                <a:lnTo>
                  <a:pt x="126" y="72"/>
                </a:lnTo>
                <a:lnTo>
                  <a:pt x="132" y="50"/>
                </a:lnTo>
                <a:lnTo>
                  <a:pt x="61" y="0"/>
                </a:lnTo>
                <a:lnTo>
                  <a:pt x="43" y="25"/>
                </a:lnTo>
                <a:lnTo>
                  <a:pt x="35" y="18"/>
                </a:lnTo>
                <a:lnTo>
                  <a:pt x="29" y="24"/>
                </a:lnTo>
                <a:lnTo>
                  <a:pt x="29" y="0"/>
                </a:lnTo>
                <a:lnTo>
                  <a:pt x="11" y="1"/>
                </a:lnTo>
                <a:lnTo>
                  <a:pt x="14" y="19"/>
                </a:lnTo>
                <a:lnTo>
                  <a:pt x="15" y="30"/>
                </a:lnTo>
                <a:lnTo>
                  <a:pt x="0" y="46"/>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88" name="Freeform 687"/>
          <p:cNvSpPr>
            <a:spLocks/>
          </p:cNvSpPr>
          <p:nvPr/>
        </p:nvSpPr>
        <p:spPr bwMode="auto">
          <a:xfrm>
            <a:off x="4314416" y="3924135"/>
            <a:ext cx="50979" cy="117394"/>
          </a:xfrm>
          <a:custGeom>
            <a:avLst/>
            <a:gdLst>
              <a:gd name="T0" fmla="*/ 0 w 30"/>
              <a:gd name="T1" fmla="*/ 0 h 71"/>
              <a:gd name="T2" fmla="*/ 0 w 30"/>
              <a:gd name="T3" fmla="*/ 0 h 71"/>
              <a:gd name="T4" fmla="*/ 15 w 30"/>
              <a:gd name="T5" fmla="*/ 4 h 71"/>
              <a:gd name="T6" fmla="*/ 29 w 30"/>
              <a:gd name="T7" fmla="*/ 67 h 71"/>
              <a:gd name="T8" fmla="*/ 19 w 30"/>
              <a:gd name="T9" fmla="*/ 70 h 71"/>
              <a:gd name="T10" fmla="*/ 0 w 30"/>
              <a:gd name="T11" fmla="*/ 0 h 71"/>
              <a:gd name="T12" fmla="*/ 0 w 30"/>
              <a:gd name="T13" fmla="*/ 0 h 71"/>
              <a:gd name="T14" fmla="*/ 0 60000 65536"/>
              <a:gd name="T15" fmla="*/ 0 60000 65536"/>
              <a:gd name="T16" fmla="*/ 0 60000 65536"/>
              <a:gd name="T17" fmla="*/ 0 60000 65536"/>
              <a:gd name="T18" fmla="*/ 0 60000 65536"/>
              <a:gd name="T19" fmla="*/ 0 60000 65536"/>
              <a:gd name="T20" fmla="*/ 0 60000 65536"/>
              <a:gd name="T21" fmla="*/ 0 w 30"/>
              <a:gd name="T22" fmla="*/ 0 h 71"/>
              <a:gd name="T23" fmla="*/ 30 w 30"/>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71">
                <a:moveTo>
                  <a:pt x="0" y="0"/>
                </a:moveTo>
                <a:lnTo>
                  <a:pt x="0" y="0"/>
                </a:lnTo>
                <a:lnTo>
                  <a:pt x="15" y="4"/>
                </a:lnTo>
                <a:lnTo>
                  <a:pt x="29" y="67"/>
                </a:lnTo>
                <a:lnTo>
                  <a:pt x="19" y="70"/>
                </a:lnTo>
                <a:lnTo>
                  <a:pt x="0" y="0"/>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89" name="Freeform 688"/>
          <p:cNvSpPr>
            <a:spLocks/>
          </p:cNvSpPr>
          <p:nvPr/>
        </p:nvSpPr>
        <p:spPr bwMode="auto">
          <a:xfrm>
            <a:off x="5007732" y="4086171"/>
            <a:ext cx="125748" cy="120701"/>
          </a:xfrm>
          <a:custGeom>
            <a:avLst/>
            <a:gdLst>
              <a:gd name="T0" fmla="*/ 0 w 74"/>
              <a:gd name="T1" fmla="*/ 72 h 73"/>
              <a:gd name="T2" fmla="*/ 0 w 74"/>
              <a:gd name="T3" fmla="*/ 72 h 73"/>
              <a:gd name="T4" fmla="*/ 11 w 74"/>
              <a:gd name="T5" fmla="*/ 68 h 73"/>
              <a:gd name="T6" fmla="*/ 29 w 74"/>
              <a:gd name="T7" fmla="*/ 67 h 73"/>
              <a:gd name="T8" fmla="*/ 29 w 74"/>
              <a:gd name="T9" fmla="*/ 57 h 73"/>
              <a:gd name="T10" fmla="*/ 58 w 74"/>
              <a:gd name="T11" fmla="*/ 51 h 73"/>
              <a:gd name="T12" fmla="*/ 73 w 74"/>
              <a:gd name="T13" fmla="*/ 26 h 73"/>
              <a:gd name="T14" fmla="*/ 58 w 74"/>
              <a:gd name="T15" fmla="*/ 0 h 73"/>
              <a:gd name="T16" fmla="*/ 16 w 74"/>
              <a:gd name="T17" fmla="*/ 5 h 73"/>
              <a:gd name="T18" fmla="*/ 21 w 74"/>
              <a:gd name="T19" fmla="*/ 24 h 73"/>
              <a:gd name="T20" fmla="*/ 12 w 74"/>
              <a:gd name="T21" fmla="*/ 37 h 73"/>
              <a:gd name="T22" fmla="*/ 0 w 74"/>
              <a:gd name="T23" fmla="*/ 72 h 73"/>
              <a:gd name="T24" fmla="*/ 0 w 74"/>
              <a:gd name="T25" fmla="*/ 72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73"/>
              <a:gd name="T41" fmla="*/ 74 w 74"/>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73">
                <a:moveTo>
                  <a:pt x="0" y="72"/>
                </a:moveTo>
                <a:lnTo>
                  <a:pt x="0" y="72"/>
                </a:lnTo>
                <a:lnTo>
                  <a:pt x="11" y="68"/>
                </a:lnTo>
                <a:lnTo>
                  <a:pt x="29" y="67"/>
                </a:lnTo>
                <a:lnTo>
                  <a:pt x="29" y="57"/>
                </a:lnTo>
                <a:lnTo>
                  <a:pt x="58" y="51"/>
                </a:lnTo>
                <a:lnTo>
                  <a:pt x="73" y="26"/>
                </a:lnTo>
                <a:lnTo>
                  <a:pt x="58" y="0"/>
                </a:lnTo>
                <a:lnTo>
                  <a:pt x="16" y="5"/>
                </a:lnTo>
                <a:lnTo>
                  <a:pt x="21" y="24"/>
                </a:lnTo>
                <a:lnTo>
                  <a:pt x="12" y="37"/>
                </a:lnTo>
                <a:lnTo>
                  <a:pt x="0" y="72"/>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90" name="Freeform 689"/>
          <p:cNvSpPr>
            <a:spLocks/>
          </p:cNvSpPr>
          <p:nvPr/>
        </p:nvSpPr>
        <p:spPr bwMode="auto">
          <a:xfrm>
            <a:off x="4887081" y="3442986"/>
            <a:ext cx="261692" cy="238094"/>
          </a:xfrm>
          <a:custGeom>
            <a:avLst/>
            <a:gdLst>
              <a:gd name="T0" fmla="*/ 0 w 154"/>
              <a:gd name="T1" fmla="*/ 24 h 144"/>
              <a:gd name="T2" fmla="*/ 0 w 154"/>
              <a:gd name="T3" fmla="*/ 24 h 144"/>
              <a:gd name="T4" fmla="*/ 6 w 154"/>
              <a:gd name="T5" fmla="*/ 140 h 144"/>
              <a:gd name="T6" fmla="*/ 129 w 154"/>
              <a:gd name="T7" fmla="*/ 143 h 144"/>
              <a:gd name="T8" fmla="*/ 150 w 154"/>
              <a:gd name="T9" fmla="*/ 125 h 144"/>
              <a:gd name="T10" fmla="*/ 153 w 154"/>
              <a:gd name="T11" fmla="*/ 113 h 144"/>
              <a:gd name="T12" fmla="*/ 107 w 154"/>
              <a:gd name="T13" fmla="*/ 30 h 144"/>
              <a:gd name="T14" fmla="*/ 129 w 154"/>
              <a:gd name="T15" fmla="*/ 57 h 144"/>
              <a:gd name="T16" fmla="*/ 140 w 154"/>
              <a:gd name="T17" fmla="*/ 34 h 144"/>
              <a:gd name="T18" fmla="*/ 129 w 154"/>
              <a:gd name="T19" fmla="*/ 5 h 144"/>
              <a:gd name="T20" fmla="*/ 100 w 154"/>
              <a:gd name="T21" fmla="*/ 10 h 144"/>
              <a:gd name="T22" fmla="*/ 100 w 154"/>
              <a:gd name="T23" fmla="*/ 2 h 144"/>
              <a:gd name="T24" fmla="*/ 85 w 154"/>
              <a:gd name="T25" fmla="*/ 2 h 144"/>
              <a:gd name="T26" fmla="*/ 59 w 154"/>
              <a:gd name="T27" fmla="*/ 12 h 144"/>
              <a:gd name="T28" fmla="*/ 6 w 154"/>
              <a:gd name="T29" fmla="*/ 0 h 144"/>
              <a:gd name="T30" fmla="*/ 0 w 154"/>
              <a:gd name="T31" fmla="*/ 24 h 144"/>
              <a:gd name="T32" fmla="*/ 0 w 154"/>
              <a:gd name="T33" fmla="*/ 24 h 1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144"/>
              <a:gd name="T53" fmla="*/ 154 w 154"/>
              <a:gd name="T54" fmla="*/ 144 h 1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144">
                <a:moveTo>
                  <a:pt x="0" y="24"/>
                </a:moveTo>
                <a:lnTo>
                  <a:pt x="0" y="24"/>
                </a:lnTo>
                <a:lnTo>
                  <a:pt x="6" y="140"/>
                </a:lnTo>
                <a:lnTo>
                  <a:pt x="129" y="143"/>
                </a:lnTo>
                <a:lnTo>
                  <a:pt x="150" y="125"/>
                </a:lnTo>
                <a:lnTo>
                  <a:pt x="153" y="113"/>
                </a:lnTo>
                <a:lnTo>
                  <a:pt x="107" y="30"/>
                </a:lnTo>
                <a:lnTo>
                  <a:pt x="129" y="57"/>
                </a:lnTo>
                <a:lnTo>
                  <a:pt x="140" y="34"/>
                </a:lnTo>
                <a:lnTo>
                  <a:pt x="129" y="5"/>
                </a:lnTo>
                <a:lnTo>
                  <a:pt x="100" y="10"/>
                </a:lnTo>
                <a:lnTo>
                  <a:pt x="100" y="2"/>
                </a:lnTo>
                <a:lnTo>
                  <a:pt x="85" y="2"/>
                </a:lnTo>
                <a:lnTo>
                  <a:pt x="59" y="12"/>
                </a:lnTo>
                <a:lnTo>
                  <a:pt x="6" y="0"/>
                </a:lnTo>
                <a:lnTo>
                  <a:pt x="0" y="2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91" name="Freeform 690"/>
          <p:cNvSpPr>
            <a:spLocks/>
          </p:cNvSpPr>
          <p:nvPr/>
        </p:nvSpPr>
        <p:spPr bwMode="auto">
          <a:xfrm>
            <a:off x="4198864" y="3838156"/>
            <a:ext cx="175028" cy="125661"/>
          </a:xfrm>
          <a:custGeom>
            <a:avLst/>
            <a:gdLst>
              <a:gd name="T0" fmla="*/ 0 w 103"/>
              <a:gd name="T1" fmla="*/ 63 h 76"/>
              <a:gd name="T2" fmla="*/ 0 w 103"/>
              <a:gd name="T3" fmla="*/ 63 h 76"/>
              <a:gd name="T4" fmla="*/ 7 w 103"/>
              <a:gd name="T5" fmla="*/ 72 h 76"/>
              <a:gd name="T6" fmla="*/ 34 w 103"/>
              <a:gd name="T7" fmla="*/ 75 h 76"/>
              <a:gd name="T8" fmla="*/ 32 w 103"/>
              <a:gd name="T9" fmla="*/ 56 h 76"/>
              <a:gd name="T10" fmla="*/ 68 w 103"/>
              <a:gd name="T11" fmla="*/ 52 h 76"/>
              <a:gd name="T12" fmla="*/ 83 w 103"/>
              <a:gd name="T13" fmla="*/ 56 h 76"/>
              <a:gd name="T14" fmla="*/ 102 w 103"/>
              <a:gd name="T15" fmla="*/ 42 h 76"/>
              <a:gd name="T16" fmla="*/ 76 w 103"/>
              <a:gd name="T17" fmla="*/ 13 h 76"/>
              <a:gd name="T18" fmla="*/ 73 w 103"/>
              <a:gd name="T19" fmla="*/ 0 h 76"/>
              <a:gd name="T20" fmla="*/ 17 w 103"/>
              <a:gd name="T21" fmla="*/ 24 h 76"/>
              <a:gd name="T22" fmla="*/ 0 w 103"/>
              <a:gd name="T23" fmla="*/ 63 h 76"/>
              <a:gd name="T24" fmla="*/ 0 w 103"/>
              <a:gd name="T25" fmla="*/ 63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6"/>
              <a:gd name="T41" fmla="*/ 103 w 103"/>
              <a:gd name="T42" fmla="*/ 76 h 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6">
                <a:moveTo>
                  <a:pt x="0" y="63"/>
                </a:moveTo>
                <a:lnTo>
                  <a:pt x="0" y="63"/>
                </a:lnTo>
                <a:lnTo>
                  <a:pt x="7" y="72"/>
                </a:lnTo>
                <a:lnTo>
                  <a:pt x="34" y="75"/>
                </a:lnTo>
                <a:lnTo>
                  <a:pt x="32" y="56"/>
                </a:lnTo>
                <a:lnTo>
                  <a:pt x="68" y="52"/>
                </a:lnTo>
                <a:lnTo>
                  <a:pt x="83" y="56"/>
                </a:lnTo>
                <a:lnTo>
                  <a:pt x="102" y="42"/>
                </a:lnTo>
                <a:lnTo>
                  <a:pt x="76" y="13"/>
                </a:lnTo>
                <a:lnTo>
                  <a:pt x="73" y="0"/>
                </a:lnTo>
                <a:lnTo>
                  <a:pt x="17" y="24"/>
                </a:lnTo>
                <a:lnTo>
                  <a:pt x="0" y="63"/>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92" name="Freeform 691"/>
          <p:cNvSpPr>
            <a:spLocks/>
          </p:cNvSpPr>
          <p:nvPr/>
        </p:nvSpPr>
        <p:spPr bwMode="auto">
          <a:xfrm>
            <a:off x="4827606" y="4358987"/>
            <a:ext cx="275287" cy="221560"/>
          </a:xfrm>
          <a:custGeom>
            <a:avLst/>
            <a:gdLst>
              <a:gd name="T0" fmla="*/ 0 w 162"/>
              <a:gd name="T1" fmla="*/ 65 h 134"/>
              <a:gd name="T2" fmla="*/ 0 w 162"/>
              <a:gd name="T3" fmla="*/ 65 h 134"/>
              <a:gd name="T4" fmla="*/ 0 w 162"/>
              <a:gd name="T5" fmla="*/ 116 h 134"/>
              <a:gd name="T6" fmla="*/ 17 w 162"/>
              <a:gd name="T7" fmla="*/ 129 h 134"/>
              <a:gd name="T8" fmla="*/ 43 w 162"/>
              <a:gd name="T9" fmla="*/ 132 h 134"/>
              <a:gd name="T10" fmla="*/ 67 w 162"/>
              <a:gd name="T11" fmla="*/ 133 h 134"/>
              <a:gd name="T12" fmla="*/ 91 w 162"/>
              <a:gd name="T13" fmla="*/ 115 h 134"/>
              <a:gd name="T14" fmla="*/ 92 w 162"/>
              <a:gd name="T15" fmla="*/ 107 h 134"/>
              <a:gd name="T16" fmla="*/ 113 w 162"/>
              <a:gd name="T17" fmla="*/ 102 h 134"/>
              <a:gd name="T18" fmla="*/ 109 w 162"/>
              <a:gd name="T19" fmla="*/ 95 h 134"/>
              <a:gd name="T20" fmla="*/ 153 w 162"/>
              <a:gd name="T21" fmla="*/ 81 h 134"/>
              <a:gd name="T22" fmla="*/ 147 w 162"/>
              <a:gd name="T23" fmla="*/ 75 h 134"/>
              <a:gd name="T24" fmla="*/ 161 w 162"/>
              <a:gd name="T25" fmla="*/ 34 h 134"/>
              <a:gd name="T26" fmla="*/ 150 w 162"/>
              <a:gd name="T27" fmla="*/ 17 h 134"/>
              <a:gd name="T28" fmla="*/ 125 w 162"/>
              <a:gd name="T29" fmla="*/ 5 h 134"/>
              <a:gd name="T30" fmla="*/ 118 w 162"/>
              <a:gd name="T31" fmla="*/ 0 h 134"/>
              <a:gd name="T32" fmla="*/ 93 w 162"/>
              <a:gd name="T33" fmla="*/ 12 h 134"/>
              <a:gd name="T34" fmla="*/ 90 w 162"/>
              <a:gd name="T35" fmla="*/ 48 h 134"/>
              <a:gd name="T36" fmla="*/ 106 w 162"/>
              <a:gd name="T37" fmla="*/ 55 h 134"/>
              <a:gd name="T38" fmla="*/ 106 w 162"/>
              <a:gd name="T39" fmla="*/ 69 h 134"/>
              <a:gd name="T40" fmla="*/ 28 w 162"/>
              <a:gd name="T41" fmla="*/ 37 h 134"/>
              <a:gd name="T42" fmla="*/ 31 w 162"/>
              <a:gd name="T43" fmla="*/ 65 h 134"/>
              <a:gd name="T44" fmla="*/ 0 w 162"/>
              <a:gd name="T45" fmla="*/ 65 h 134"/>
              <a:gd name="T46" fmla="*/ 0 w 162"/>
              <a:gd name="T47" fmla="*/ 65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2"/>
              <a:gd name="T73" fmla="*/ 0 h 134"/>
              <a:gd name="T74" fmla="*/ 162 w 162"/>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2" h="134">
                <a:moveTo>
                  <a:pt x="0" y="65"/>
                </a:moveTo>
                <a:lnTo>
                  <a:pt x="0" y="65"/>
                </a:lnTo>
                <a:lnTo>
                  <a:pt x="0" y="116"/>
                </a:lnTo>
                <a:lnTo>
                  <a:pt x="17" y="129"/>
                </a:lnTo>
                <a:lnTo>
                  <a:pt x="43" y="132"/>
                </a:lnTo>
                <a:lnTo>
                  <a:pt x="67" y="133"/>
                </a:lnTo>
                <a:lnTo>
                  <a:pt x="91" y="115"/>
                </a:lnTo>
                <a:lnTo>
                  <a:pt x="92" y="107"/>
                </a:lnTo>
                <a:lnTo>
                  <a:pt x="113" y="102"/>
                </a:lnTo>
                <a:lnTo>
                  <a:pt x="109" y="95"/>
                </a:lnTo>
                <a:lnTo>
                  <a:pt x="153" y="81"/>
                </a:lnTo>
                <a:lnTo>
                  <a:pt x="147" y="75"/>
                </a:lnTo>
                <a:lnTo>
                  <a:pt x="161" y="34"/>
                </a:lnTo>
                <a:lnTo>
                  <a:pt x="150" y="17"/>
                </a:lnTo>
                <a:lnTo>
                  <a:pt x="125" y="5"/>
                </a:lnTo>
                <a:lnTo>
                  <a:pt x="118" y="0"/>
                </a:lnTo>
                <a:lnTo>
                  <a:pt x="93" y="12"/>
                </a:lnTo>
                <a:lnTo>
                  <a:pt x="90" y="48"/>
                </a:lnTo>
                <a:lnTo>
                  <a:pt x="106" y="55"/>
                </a:lnTo>
                <a:lnTo>
                  <a:pt x="106" y="69"/>
                </a:lnTo>
                <a:lnTo>
                  <a:pt x="28" y="37"/>
                </a:lnTo>
                <a:lnTo>
                  <a:pt x="31" y="65"/>
                </a:lnTo>
                <a:lnTo>
                  <a:pt x="0" y="6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93" name="Freeform 692"/>
          <p:cNvSpPr>
            <a:spLocks/>
          </p:cNvSpPr>
          <p:nvPr/>
        </p:nvSpPr>
        <p:spPr bwMode="auto">
          <a:xfrm>
            <a:off x="4700158" y="4679753"/>
            <a:ext cx="380644" cy="297618"/>
          </a:xfrm>
          <a:custGeom>
            <a:avLst/>
            <a:gdLst>
              <a:gd name="T0" fmla="*/ 0 w 224"/>
              <a:gd name="T1" fmla="*/ 94 h 180"/>
              <a:gd name="T2" fmla="*/ 0 w 224"/>
              <a:gd name="T3" fmla="*/ 94 h 180"/>
              <a:gd name="T4" fmla="*/ 8 w 224"/>
              <a:gd name="T5" fmla="*/ 88 h 180"/>
              <a:gd name="T6" fmla="*/ 17 w 224"/>
              <a:gd name="T7" fmla="*/ 100 h 180"/>
              <a:gd name="T8" fmla="*/ 35 w 224"/>
              <a:gd name="T9" fmla="*/ 100 h 180"/>
              <a:gd name="T10" fmla="*/ 47 w 224"/>
              <a:gd name="T11" fmla="*/ 91 h 180"/>
              <a:gd name="T12" fmla="*/ 47 w 224"/>
              <a:gd name="T13" fmla="*/ 36 h 180"/>
              <a:gd name="T14" fmla="*/ 58 w 224"/>
              <a:gd name="T15" fmla="*/ 50 h 180"/>
              <a:gd name="T16" fmla="*/ 58 w 224"/>
              <a:gd name="T17" fmla="*/ 65 h 180"/>
              <a:gd name="T18" fmla="*/ 77 w 224"/>
              <a:gd name="T19" fmla="*/ 64 h 180"/>
              <a:gd name="T20" fmla="*/ 93 w 224"/>
              <a:gd name="T21" fmla="*/ 47 h 180"/>
              <a:gd name="T22" fmla="*/ 123 w 224"/>
              <a:gd name="T23" fmla="*/ 47 h 180"/>
              <a:gd name="T24" fmla="*/ 174 w 224"/>
              <a:gd name="T25" fmla="*/ 0 h 180"/>
              <a:gd name="T26" fmla="*/ 205 w 224"/>
              <a:gd name="T27" fmla="*/ 6 h 180"/>
              <a:gd name="T28" fmla="*/ 210 w 224"/>
              <a:gd name="T29" fmla="*/ 51 h 180"/>
              <a:gd name="T30" fmla="*/ 196 w 224"/>
              <a:gd name="T31" fmla="*/ 63 h 180"/>
              <a:gd name="T32" fmla="*/ 205 w 224"/>
              <a:gd name="T33" fmla="*/ 73 h 180"/>
              <a:gd name="T34" fmla="*/ 212 w 224"/>
              <a:gd name="T35" fmla="*/ 65 h 180"/>
              <a:gd name="T36" fmla="*/ 223 w 224"/>
              <a:gd name="T37" fmla="*/ 65 h 180"/>
              <a:gd name="T38" fmla="*/ 217 w 224"/>
              <a:gd name="T39" fmla="*/ 91 h 180"/>
              <a:gd name="T40" fmla="*/ 184 w 224"/>
              <a:gd name="T41" fmla="*/ 132 h 180"/>
              <a:gd name="T42" fmla="*/ 144 w 224"/>
              <a:gd name="T43" fmla="*/ 167 h 180"/>
              <a:gd name="T44" fmla="*/ 114 w 224"/>
              <a:gd name="T45" fmla="*/ 178 h 180"/>
              <a:gd name="T46" fmla="*/ 26 w 224"/>
              <a:gd name="T47" fmla="*/ 179 h 180"/>
              <a:gd name="T48" fmla="*/ 19 w 224"/>
              <a:gd name="T49" fmla="*/ 159 h 180"/>
              <a:gd name="T50" fmla="*/ 22 w 224"/>
              <a:gd name="T51" fmla="*/ 143 h 180"/>
              <a:gd name="T52" fmla="*/ 0 w 224"/>
              <a:gd name="T53" fmla="*/ 94 h 180"/>
              <a:gd name="T54" fmla="*/ 0 w 224"/>
              <a:gd name="T55" fmla="*/ 94 h 18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4"/>
              <a:gd name="T85" fmla="*/ 0 h 180"/>
              <a:gd name="T86" fmla="*/ 224 w 224"/>
              <a:gd name="T87" fmla="*/ 180 h 18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4" h="180">
                <a:moveTo>
                  <a:pt x="0" y="94"/>
                </a:moveTo>
                <a:lnTo>
                  <a:pt x="0" y="94"/>
                </a:lnTo>
                <a:lnTo>
                  <a:pt x="8" y="88"/>
                </a:lnTo>
                <a:lnTo>
                  <a:pt x="17" y="100"/>
                </a:lnTo>
                <a:lnTo>
                  <a:pt x="35" y="100"/>
                </a:lnTo>
                <a:lnTo>
                  <a:pt x="47" y="91"/>
                </a:lnTo>
                <a:lnTo>
                  <a:pt x="47" y="36"/>
                </a:lnTo>
                <a:lnTo>
                  <a:pt x="58" y="50"/>
                </a:lnTo>
                <a:lnTo>
                  <a:pt x="58" y="65"/>
                </a:lnTo>
                <a:lnTo>
                  <a:pt x="77" y="64"/>
                </a:lnTo>
                <a:lnTo>
                  <a:pt x="93" y="47"/>
                </a:lnTo>
                <a:lnTo>
                  <a:pt x="123" y="47"/>
                </a:lnTo>
                <a:lnTo>
                  <a:pt x="174" y="0"/>
                </a:lnTo>
                <a:lnTo>
                  <a:pt x="205" y="6"/>
                </a:lnTo>
                <a:lnTo>
                  <a:pt x="210" y="51"/>
                </a:lnTo>
                <a:lnTo>
                  <a:pt x="196" y="63"/>
                </a:lnTo>
                <a:lnTo>
                  <a:pt x="205" y="73"/>
                </a:lnTo>
                <a:lnTo>
                  <a:pt x="212" y="65"/>
                </a:lnTo>
                <a:lnTo>
                  <a:pt x="223" y="65"/>
                </a:lnTo>
                <a:lnTo>
                  <a:pt x="217" y="91"/>
                </a:lnTo>
                <a:lnTo>
                  <a:pt x="184" y="132"/>
                </a:lnTo>
                <a:lnTo>
                  <a:pt x="144" y="167"/>
                </a:lnTo>
                <a:lnTo>
                  <a:pt x="114" y="178"/>
                </a:lnTo>
                <a:lnTo>
                  <a:pt x="26" y="179"/>
                </a:lnTo>
                <a:lnTo>
                  <a:pt x="19" y="159"/>
                </a:lnTo>
                <a:lnTo>
                  <a:pt x="22" y="143"/>
                </a:lnTo>
                <a:lnTo>
                  <a:pt x="0" y="94"/>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94" name="Freeform 693"/>
          <p:cNvSpPr>
            <a:spLocks/>
          </p:cNvSpPr>
          <p:nvPr/>
        </p:nvSpPr>
        <p:spPr bwMode="auto">
          <a:xfrm>
            <a:off x="4944857" y="4838483"/>
            <a:ext cx="54378" cy="54563"/>
          </a:xfrm>
          <a:custGeom>
            <a:avLst/>
            <a:gdLst>
              <a:gd name="T0" fmla="*/ 0 w 32"/>
              <a:gd name="T1" fmla="*/ 16 h 33"/>
              <a:gd name="T2" fmla="*/ 0 w 32"/>
              <a:gd name="T3" fmla="*/ 16 h 33"/>
              <a:gd name="T4" fmla="*/ 11 w 32"/>
              <a:gd name="T5" fmla="*/ 32 h 33"/>
              <a:gd name="T6" fmla="*/ 31 w 32"/>
              <a:gd name="T7" fmla="*/ 16 h 33"/>
              <a:gd name="T8" fmla="*/ 22 w 32"/>
              <a:gd name="T9" fmla="*/ 0 h 33"/>
              <a:gd name="T10" fmla="*/ 0 w 32"/>
              <a:gd name="T11" fmla="*/ 16 h 33"/>
              <a:gd name="T12" fmla="*/ 0 w 32"/>
              <a:gd name="T13" fmla="*/ 16 h 33"/>
              <a:gd name="T14" fmla="*/ 0 60000 65536"/>
              <a:gd name="T15" fmla="*/ 0 60000 65536"/>
              <a:gd name="T16" fmla="*/ 0 60000 65536"/>
              <a:gd name="T17" fmla="*/ 0 60000 65536"/>
              <a:gd name="T18" fmla="*/ 0 60000 65536"/>
              <a:gd name="T19" fmla="*/ 0 60000 65536"/>
              <a:gd name="T20" fmla="*/ 0 60000 65536"/>
              <a:gd name="T21" fmla="*/ 0 w 32"/>
              <a:gd name="T22" fmla="*/ 0 h 33"/>
              <a:gd name="T23" fmla="*/ 32 w 3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3">
                <a:moveTo>
                  <a:pt x="0" y="16"/>
                </a:moveTo>
                <a:lnTo>
                  <a:pt x="0" y="16"/>
                </a:lnTo>
                <a:lnTo>
                  <a:pt x="11" y="32"/>
                </a:lnTo>
                <a:lnTo>
                  <a:pt x="31" y="16"/>
                </a:lnTo>
                <a:lnTo>
                  <a:pt x="22" y="0"/>
                </a:lnTo>
                <a:lnTo>
                  <a:pt x="0" y="16"/>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95" name="Freeform 694"/>
          <p:cNvSpPr>
            <a:spLocks/>
          </p:cNvSpPr>
          <p:nvPr/>
        </p:nvSpPr>
        <p:spPr bwMode="auto">
          <a:xfrm>
            <a:off x="4523431" y="3368582"/>
            <a:ext cx="73070" cy="44643"/>
          </a:xfrm>
          <a:custGeom>
            <a:avLst/>
            <a:gdLst>
              <a:gd name="T0" fmla="*/ 2 w 43"/>
              <a:gd name="T1" fmla="*/ 25 h 27"/>
              <a:gd name="T2" fmla="*/ 11 w 43"/>
              <a:gd name="T3" fmla="*/ 26 h 27"/>
              <a:gd name="T4" fmla="*/ 15 w 43"/>
              <a:gd name="T5" fmla="*/ 25 h 27"/>
              <a:gd name="T6" fmla="*/ 20 w 43"/>
              <a:gd name="T7" fmla="*/ 22 h 27"/>
              <a:gd name="T8" fmla="*/ 29 w 43"/>
              <a:gd name="T9" fmla="*/ 20 h 27"/>
              <a:gd name="T10" fmla="*/ 37 w 43"/>
              <a:gd name="T11" fmla="*/ 18 h 27"/>
              <a:gd name="T12" fmla="*/ 40 w 43"/>
              <a:gd name="T13" fmla="*/ 11 h 27"/>
              <a:gd name="T14" fmla="*/ 42 w 43"/>
              <a:gd name="T15" fmla="*/ 7 h 27"/>
              <a:gd name="T16" fmla="*/ 33 w 43"/>
              <a:gd name="T17" fmla="*/ 0 h 27"/>
              <a:gd name="T18" fmla="*/ 0 w 43"/>
              <a:gd name="T19" fmla="*/ 7 h 27"/>
              <a:gd name="T20" fmla="*/ 0 w 43"/>
              <a:gd name="T21" fmla="*/ 25 h 27"/>
              <a:gd name="T22" fmla="*/ 2 w 43"/>
              <a:gd name="T23" fmla="*/ 25 h 27"/>
              <a:gd name="T24" fmla="*/ 2 w 43"/>
              <a:gd name="T25" fmla="*/ 25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27"/>
              <a:gd name="T41" fmla="*/ 43 w 43"/>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27">
                <a:moveTo>
                  <a:pt x="2" y="25"/>
                </a:moveTo>
                <a:lnTo>
                  <a:pt x="11" y="26"/>
                </a:lnTo>
                <a:lnTo>
                  <a:pt x="15" y="25"/>
                </a:lnTo>
                <a:lnTo>
                  <a:pt x="20" y="22"/>
                </a:lnTo>
                <a:lnTo>
                  <a:pt x="29" y="20"/>
                </a:lnTo>
                <a:lnTo>
                  <a:pt x="37" y="18"/>
                </a:lnTo>
                <a:lnTo>
                  <a:pt x="40" y="11"/>
                </a:lnTo>
                <a:lnTo>
                  <a:pt x="42" y="7"/>
                </a:lnTo>
                <a:lnTo>
                  <a:pt x="33" y="0"/>
                </a:lnTo>
                <a:lnTo>
                  <a:pt x="0" y="7"/>
                </a:lnTo>
                <a:lnTo>
                  <a:pt x="0" y="25"/>
                </a:lnTo>
                <a:lnTo>
                  <a:pt x="2" y="2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96" name="Freeform 695"/>
          <p:cNvSpPr>
            <a:spLocks/>
          </p:cNvSpPr>
          <p:nvPr/>
        </p:nvSpPr>
        <p:spPr bwMode="auto">
          <a:xfrm>
            <a:off x="4489445" y="3307405"/>
            <a:ext cx="93462" cy="170303"/>
          </a:xfrm>
          <a:custGeom>
            <a:avLst/>
            <a:gdLst>
              <a:gd name="T0" fmla="*/ 0 w 55"/>
              <a:gd name="T1" fmla="*/ 47 h 103"/>
              <a:gd name="T2" fmla="*/ 0 w 55"/>
              <a:gd name="T3" fmla="*/ 47 h 103"/>
              <a:gd name="T4" fmla="*/ 12 w 55"/>
              <a:gd name="T5" fmla="*/ 38 h 103"/>
              <a:gd name="T6" fmla="*/ 18 w 55"/>
              <a:gd name="T7" fmla="*/ 1 h 103"/>
              <a:gd name="T8" fmla="*/ 51 w 55"/>
              <a:gd name="T9" fmla="*/ 0 h 103"/>
              <a:gd name="T10" fmla="*/ 42 w 55"/>
              <a:gd name="T11" fmla="*/ 12 h 103"/>
              <a:gd name="T12" fmla="*/ 52 w 55"/>
              <a:gd name="T13" fmla="*/ 28 h 103"/>
              <a:gd name="T14" fmla="*/ 33 w 55"/>
              <a:gd name="T15" fmla="*/ 47 h 103"/>
              <a:gd name="T16" fmla="*/ 54 w 55"/>
              <a:gd name="T17" fmla="*/ 60 h 103"/>
              <a:gd name="T18" fmla="*/ 27 w 55"/>
              <a:gd name="T19" fmla="*/ 102 h 103"/>
              <a:gd name="T20" fmla="*/ 23 w 55"/>
              <a:gd name="T21" fmla="*/ 75 h 103"/>
              <a:gd name="T22" fmla="*/ 0 w 55"/>
              <a:gd name="T23" fmla="*/ 47 h 103"/>
              <a:gd name="T24" fmla="*/ 0 w 55"/>
              <a:gd name="T25" fmla="*/ 47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103"/>
              <a:gd name="T41" fmla="*/ 55 w 55"/>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103">
                <a:moveTo>
                  <a:pt x="0" y="47"/>
                </a:moveTo>
                <a:lnTo>
                  <a:pt x="0" y="47"/>
                </a:lnTo>
                <a:lnTo>
                  <a:pt x="12" y="38"/>
                </a:lnTo>
                <a:lnTo>
                  <a:pt x="18" y="1"/>
                </a:lnTo>
                <a:lnTo>
                  <a:pt x="51" y="0"/>
                </a:lnTo>
                <a:lnTo>
                  <a:pt x="42" y="12"/>
                </a:lnTo>
                <a:lnTo>
                  <a:pt x="52" y="28"/>
                </a:lnTo>
                <a:lnTo>
                  <a:pt x="33" y="47"/>
                </a:lnTo>
                <a:lnTo>
                  <a:pt x="54" y="60"/>
                </a:lnTo>
                <a:lnTo>
                  <a:pt x="27" y="102"/>
                </a:lnTo>
                <a:lnTo>
                  <a:pt x="23" y="75"/>
                </a:lnTo>
                <a:lnTo>
                  <a:pt x="0" y="47"/>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31" name="Freeform 630"/>
          <p:cNvSpPr>
            <a:spLocks/>
          </p:cNvSpPr>
          <p:nvPr/>
        </p:nvSpPr>
        <p:spPr bwMode="auto">
          <a:xfrm>
            <a:off x="4592506" y="2921347"/>
            <a:ext cx="156112" cy="68268"/>
          </a:xfrm>
          <a:custGeom>
            <a:avLst/>
            <a:gdLst>
              <a:gd name="T0" fmla="*/ 0 w 90"/>
              <a:gd name="T1" fmla="*/ 23633520 h 43"/>
              <a:gd name="T2" fmla="*/ 0 w 90"/>
              <a:gd name="T3" fmla="*/ 23633520 h 43"/>
              <a:gd name="T4" fmla="*/ 38709597 w 90"/>
              <a:gd name="T5" fmla="*/ 66175857 h 43"/>
              <a:gd name="T6" fmla="*/ 104838504 w 90"/>
              <a:gd name="T7" fmla="*/ 64600540 h 43"/>
              <a:gd name="T8" fmla="*/ 143548091 w 90"/>
              <a:gd name="T9" fmla="*/ 40965765 h 43"/>
              <a:gd name="T10" fmla="*/ 59677300 w 90"/>
              <a:gd name="T11" fmla="*/ 9453155 h 43"/>
              <a:gd name="T12" fmla="*/ 48387003 w 90"/>
              <a:gd name="T13" fmla="*/ 0 h 43"/>
              <a:gd name="T14" fmla="*/ 0 w 90"/>
              <a:gd name="T15" fmla="*/ 23633520 h 43"/>
              <a:gd name="T16" fmla="*/ 0 w 90"/>
              <a:gd name="T17" fmla="*/ 2363352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43"/>
              <a:gd name="T29" fmla="*/ 90 w 90"/>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43">
                <a:moveTo>
                  <a:pt x="0" y="15"/>
                </a:moveTo>
                <a:lnTo>
                  <a:pt x="0" y="15"/>
                </a:lnTo>
                <a:lnTo>
                  <a:pt x="24" y="42"/>
                </a:lnTo>
                <a:lnTo>
                  <a:pt x="65" y="41"/>
                </a:lnTo>
                <a:lnTo>
                  <a:pt x="89" y="26"/>
                </a:lnTo>
                <a:lnTo>
                  <a:pt x="37" y="6"/>
                </a:lnTo>
                <a:lnTo>
                  <a:pt x="30" y="0"/>
                </a:lnTo>
                <a:lnTo>
                  <a:pt x="0" y="15"/>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32" name="Freeform 631"/>
          <p:cNvSpPr>
            <a:spLocks/>
          </p:cNvSpPr>
          <p:nvPr/>
        </p:nvSpPr>
        <p:spPr bwMode="auto">
          <a:xfrm>
            <a:off x="4809335" y="2750656"/>
            <a:ext cx="132262" cy="98387"/>
          </a:xfrm>
          <a:custGeom>
            <a:avLst/>
            <a:gdLst>
              <a:gd name="T0" fmla="*/ 0 w 78"/>
              <a:gd name="T1" fmla="*/ 12590929 h 58"/>
              <a:gd name="T2" fmla="*/ 33909086 w 78"/>
              <a:gd name="T3" fmla="*/ 8993902 h 58"/>
              <a:gd name="T4" fmla="*/ 60110943 w 78"/>
              <a:gd name="T5" fmla="*/ 0 h 58"/>
              <a:gd name="T6" fmla="*/ 95561981 w 78"/>
              <a:gd name="T7" fmla="*/ 7195391 h 58"/>
              <a:gd name="T8" fmla="*/ 118682426 w 78"/>
              <a:gd name="T9" fmla="*/ 21584828 h 58"/>
              <a:gd name="T10" fmla="*/ 104809911 w 78"/>
              <a:gd name="T11" fmla="*/ 34175757 h 58"/>
              <a:gd name="T12" fmla="*/ 87854752 w 78"/>
              <a:gd name="T13" fmla="*/ 35974269 h 58"/>
              <a:gd name="T14" fmla="*/ 67818172 w 78"/>
              <a:gd name="T15" fmla="*/ 55760591 h 58"/>
              <a:gd name="T16" fmla="*/ 53946898 w 78"/>
              <a:gd name="T17" fmla="*/ 102528622 h 58"/>
              <a:gd name="T18" fmla="*/ 44697726 w 78"/>
              <a:gd name="T19" fmla="*/ 82742290 h 58"/>
              <a:gd name="T20" fmla="*/ 18495865 w 78"/>
              <a:gd name="T21" fmla="*/ 80943778 h 58"/>
              <a:gd name="T22" fmla="*/ 35449787 w 78"/>
              <a:gd name="T23" fmla="*/ 43169657 h 58"/>
              <a:gd name="T24" fmla="*/ 0 w 78"/>
              <a:gd name="T25" fmla="*/ 30578733 h 58"/>
              <a:gd name="T26" fmla="*/ 0 w 78"/>
              <a:gd name="T27" fmla="*/ 12590929 h 58"/>
              <a:gd name="T28" fmla="*/ 0 w 78"/>
              <a:gd name="T29" fmla="*/ 12590929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8"/>
              <a:gd name="T46" fmla="*/ 0 h 58"/>
              <a:gd name="T47" fmla="*/ 78 w 78"/>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8" h="58">
                <a:moveTo>
                  <a:pt x="0" y="7"/>
                </a:moveTo>
                <a:lnTo>
                  <a:pt x="22" y="5"/>
                </a:lnTo>
                <a:lnTo>
                  <a:pt x="39" y="0"/>
                </a:lnTo>
                <a:lnTo>
                  <a:pt x="62" y="4"/>
                </a:lnTo>
                <a:lnTo>
                  <a:pt x="77" y="12"/>
                </a:lnTo>
                <a:lnTo>
                  <a:pt x="68" y="19"/>
                </a:lnTo>
                <a:lnTo>
                  <a:pt x="57" y="20"/>
                </a:lnTo>
                <a:lnTo>
                  <a:pt x="44" y="31"/>
                </a:lnTo>
                <a:lnTo>
                  <a:pt x="35" y="57"/>
                </a:lnTo>
                <a:lnTo>
                  <a:pt x="29" y="46"/>
                </a:lnTo>
                <a:lnTo>
                  <a:pt x="12" y="45"/>
                </a:lnTo>
                <a:lnTo>
                  <a:pt x="23" y="24"/>
                </a:lnTo>
                <a:lnTo>
                  <a:pt x="0" y="17"/>
                </a:lnTo>
                <a:lnTo>
                  <a:pt x="0" y="7"/>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633" name="Freeform 632"/>
          <p:cNvSpPr>
            <a:spLocks/>
          </p:cNvSpPr>
          <p:nvPr/>
        </p:nvSpPr>
        <p:spPr bwMode="auto">
          <a:xfrm>
            <a:off x="4772492" y="2782782"/>
            <a:ext cx="75889" cy="48189"/>
          </a:xfrm>
          <a:custGeom>
            <a:avLst/>
            <a:gdLst>
              <a:gd name="T0" fmla="*/ 67080589 w 45"/>
              <a:gd name="T1" fmla="*/ 15534291 h 29"/>
              <a:gd name="T2" fmla="*/ 51835342 w 45"/>
              <a:gd name="T3" fmla="*/ 48329201 h 29"/>
              <a:gd name="T4" fmla="*/ 0 w 45"/>
              <a:gd name="T5" fmla="*/ 39698886 h 29"/>
              <a:gd name="T6" fmla="*/ 21343603 w 45"/>
              <a:gd name="T7" fmla="*/ 18986938 h 29"/>
              <a:gd name="T8" fmla="*/ 35065190 w 45"/>
              <a:gd name="T9" fmla="*/ 0 h 29"/>
              <a:gd name="T10" fmla="*/ 67080589 w 45"/>
              <a:gd name="T11" fmla="*/ 15534291 h 29"/>
              <a:gd name="T12" fmla="*/ 67080589 w 45"/>
              <a:gd name="T13" fmla="*/ 15534291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44" y="9"/>
                </a:moveTo>
                <a:lnTo>
                  <a:pt x="34" y="28"/>
                </a:lnTo>
                <a:lnTo>
                  <a:pt x="0" y="23"/>
                </a:lnTo>
                <a:lnTo>
                  <a:pt x="14" y="11"/>
                </a:lnTo>
                <a:lnTo>
                  <a:pt x="23" y="0"/>
                </a:lnTo>
                <a:lnTo>
                  <a:pt x="44" y="9"/>
                </a:lnTo>
              </a:path>
            </a:pathLst>
          </a:custGeom>
          <a:solidFill>
            <a:schemeClr val="accent3"/>
          </a:solidFill>
          <a:ln w="12700">
            <a:solidFill>
              <a:schemeClr val="bg1"/>
            </a:solidFill>
            <a:round/>
            <a:headEnd/>
            <a:tailEnd/>
          </a:ln>
        </p:spPr>
        <p:txBody>
          <a:bodyPr lIns="0" tIns="0" rIns="0" bIns="0" anchor="ctr">
            <a:spAutoFit/>
          </a:bodyPr>
          <a:lstStyle/>
          <a:p>
            <a:pPr>
              <a:defRPr/>
            </a:pPr>
            <a:endParaRPr lang="en-GB"/>
          </a:p>
        </p:txBody>
      </p:sp>
      <p:sp>
        <p:nvSpPr>
          <p:cNvPr id="279"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8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585" name="Title 1"/>
          <p:cNvSpPr>
            <a:spLocks noGrp="1"/>
          </p:cNvSpPr>
          <p:nvPr>
            <p:ph type="title"/>
          </p:nvPr>
        </p:nvSpPr>
        <p:spPr>
          <a:xfrm>
            <a:off x="414338" y="446038"/>
            <a:ext cx="8330184" cy="333425"/>
          </a:xfrm>
        </p:spPr>
        <p:txBody>
          <a:bodyPr/>
          <a:lstStyle/>
          <a:p>
            <a:r>
              <a:rPr lang="en-GB" altLang="ja-JP"/>
              <a:t>Maps </a:t>
            </a:r>
            <a:r>
              <a:rPr lang="en-US"/>
              <a:t>—</a:t>
            </a:r>
            <a:r>
              <a:rPr lang="en-GB" altLang="ja-JP" smtClean="0"/>
              <a:t> </a:t>
            </a:r>
            <a:r>
              <a:rPr lang="en-GB" altLang="ja-JP"/>
              <a:t>United States</a:t>
            </a:r>
            <a:endParaRPr lang="nl-NL"/>
          </a:p>
        </p:txBody>
      </p:sp>
      <p:sp>
        <p:nvSpPr>
          <p:cNvPr id="5" name="Freeform 4"/>
          <p:cNvSpPr>
            <a:spLocks/>
          </p:cNvSpPr>
          <p:nvPr/>
        </p:nvSpPr>
        <p:spPr bwMode="auto">
          <a:xfrm>
            <a:off x="7105650" y="1860550"/>
            <a:ext cx="438150" cy="717550"/>
          </a:xfrm>
          <a:custGeom>
            <a:avLst/>
            <a:gdLst>
              <a:gd name="T0" fmla="*/ 74 w 230"/>
              <a:gd name="T1" fmla="*/ 12 h 377"/>
              <a:gd name="T2" fmla="*/ 28 w 230"/>
              <a:gd name="T3" fmla="*/ 81 h 377"/>
              <a:gd name="T4" fmla="*/ 49 w 230"/>
              <a:gd name="T5" fmla="*/ 107 h 377"/>
              <a:gd name="T6" fmla="*/ 28 w 230"/>
              <a:gd name="T7" fmla="*/ 139 h 377"/>
              <a:gd name="T8" fmla="*/ 41 w 230"/>
              <a:gd name="T9" fmla="*/ 149 h 377"/>
              <a:gd name="T10" fmla="*/ 31 w 230"/>
              <a:gd name="T11" fmla="*/ 171 h 377"/>
              <a:gd name="T12" fmla="*/ 31 w 230"/>
              <a:gd name="T13" fmla="*/ 206 h 377"/>
              <a:gd name="T14" fmla="*/ 0 w 230"/>
              <a:gd name="T15" fmla="*/ 219 h 377"/>
              <a:gd name="T16" fmla="*/ 13 w 230"/>
              <a:gd name="T17" fmla="*/ 229 h 377"/>
              <a:gd name="T18" fmla="*/ 79 w 230"/>
              <a:gd name="T19" fmla="*/ 361 h 377"/>
              <a:gd name="T20" fmla="*/ 131 w 230"/>
              <a:gd name="T21" fmla="*/ 377 h 377"/>
              <a:gd name="T22" fmla="*/ 128 w 230"/>
              <a:gd name="T23" fmla="*/ 350 h 377"/>
              <a:gd name="T24" fmla="*/ 154 w 230"/>
              <a:gd name="T25" fmla="*/ 329 h 377"/>
              <a:gd name="T26" fmla="*/ 144 w 230"/>
              <a:gd name="T27" fmla="*/ 307 h 377"/>
              <a:gd name="T28" fmla="*/ 210 w 230"/>
              <a:gd name="T29" fmla="*/ 280 h 377"/>
              <a:gd name="T30" fmla="*/ 212 w 230"/>
              <a:gd name="T31" fmla="*/ 243 h 377"/>
              <a:gd name="T32" fmla="*/ 250 w 230"/>
              <a:gd name="T33" fmla="*/ 241 h 377"/>
              <a:gd name="T34" fmla="*/ 280 w 230"/>
              <a:gd name="T35" fmla="*/ 213 h 377"/>
              <a:gd name="T36" fmla="*/ 316 w 230"/>
              <a:gd name="T37" fmla="*/ 194 h 377"/>
              <a:gd name="T38" fmla="*/ 316 w 230"/>
              <a:gd name="T39" fmla="*/ 171 h 377"/>
              <a:gd name="T40" fmla="*/ 266 w 230"/>
              <a:gd name="T41" fmla="*/ 163 h 377"/>
              <a:gd name="T42" fmla="*/ 257 w 230"/>
              <a:gd name="T43" fmla="*/ 138 h 377"/>
              <a:gd name="T44" fmla="*/ 207 w 230"/>
              <a:gd name="T45" fmla="*/ 134 h 377"/>
              <a:gd name="T46" fmla="*/ 168 w 230"/>
              <a:gd name="T47" fmla="*/ 22 h 377"/>
              <a:gd name="T48" fmla="*/ 148 w 230"/>
              <a:gd name="T49" fmla="*/ 0 h 377"/>
              <a:gd name="T50" fmla="*/ 99 w 230"/>
              <a:gd name="T51" fmla="*/ 9 h 377"/>
              <a:gd name="T52" fmla="*/ 90 w 230"/>
              <a:gd name="T53" fmla="*/ 20 h 377"/>
              <a:gd name="T54" fmla="*/ 74 w 230"/>
              <a:gd name="T55" fmla="*/ 12 h 37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0"/>
              <a:gd name="T85" fmla="*/ 0 h 377"/>
              <a:gd name="T86" fmla="*/ 230 w 230"/>
              <a:gd name="T87" fmla="*/ 377 h 37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0" h="377">
                <a:moveTo>
                  <a:pt x="54" y="12"/>
                </a:moveTo>
                <a:lnTo>
                  <a:pt x="20" y="81"/>
                </a:lnTo>
                <a:lnTo>
                  <a:pt x="36" y="107"/>
                </a:lnTo>
                <a:lnTo>
                  <a:pt x="20" y="139"/>
                </a:lnTo>
                <a:lnTo>
                  <a:pt x="30" y="149"/>
                </a:lnTo>
                <a:lnTo>
                  <a:pt x="23" y="171"/>
                </a:lnTo>
                <a:lnTo>
                  <a:pt x="23" y="206"/>
                </a:lnTo>
                <a:lnTo>
                  <a:pt x="0" y="219"/>
                </a:lnTo>
                <a:lnTo>
                  <a:pt x="9" y="229"/>
                </a:lnTo>
                <a:lnTo>
                  <a:pt x="57" y="361"/>
                </a:lnTo>
                <a:lnTo>
                  <a:pt x="95" y="377"/>
                </a:lnTo>
                <a:lnTo>
                  <a:pt x="93" y="350"/>
                </a:lnTo>
                <a:lnTo>
                  <a:pt x="112" y="329"/>
                </a:lnTo>
                <a:lnTo>
                  <a:pt x="105" y="307"/>
                </a:lnTo>
                <a:lnTo>
                  <a:pt x="152" y="280"/>
                </a:lnTo>
                <a:lnTo>
                  <a:pt x="154" y="243"/>
                </a:lnTo>
                <a:lnTo>
                  <a:pt x="182" y="241"/>
                </a:lnTo>
                <a:lnTo>
                  <a:pt x="204" y="213"/>
                </a:lnTo>
                <a:lnTo>
                  <a:pt x="230" y="194"/>
                </a:lnTo>
                <a:lnTo>
                  <a:pt x="230" y="171"/>
                </a:lnTo>
                <a:lnTo>
                  <a:pt x="194" y="163"/>
                </a:lnTo>
                <a:lnTo>
                  <a:pt x="187" y="138"/>
                </a:lnTo>
                <a:lnTo>
                  <a:pt x="151" y="134"/>
                </a:lnTo>
                <a:lnTo>
                  <a:pt x="122" y="22"/>
                </a:lnTo>
                <a:lnTo>
                  <a:pt x="108" y="0"/>
                </a:lnTo>
                <a:lnTo>
                  <a:pt x="72" y="9"/>
                </a:lnTo>
                <a:lnTo>
                  <a:pt x="66" y="20"/>
                </a:lnTo>
                <a:lnTo>
                  <a:pt x="54" y="12"/>
                </a:lnTo>
                <a:close/>
              </a:path>
            </a:pathLst>
          </a:custGeom>
          <a:solidFill>
            <a:schemeClr val="accent3"/>
          </a:solidFill>
          <a:ln w="12700">
            <a:solidFill>
              <a:schemeClr val="bg1"/>
            </a:solidFill>
            <a:round/>
            <a:headEnd/>
            <a:tailEnd/>
          </a:ln>
        </p:spPr>
        <p:txBody>
          <a:bodyPr/>
          <a:lstStyle/>
          <a:p>
            <a:pPr>
              <a:defRPr/>
            </a:pPr>
            <a:endParaRPr lang="en-GB"/>
          </a:p>
        </p:txBody>
      </p:sp>
      <p:sp>
        <p:nvSpPr>
          <p:cNvPr id="6" name="Freeform 5"/>
          <p:cNvSpPr>
            <a:spLocks/>
          </p:cNvSpPr>
          <p:nvPr/>
        </p:nvSpPr>
        <p:spPr bwMode="auto">
          <a:xfrm>
            <a:off x="3427413" y="4129088"/>
            <a:ext cx="1611312" cy="1604962"/>
          </a:xfrm>
          <a:custGeom>
            <a:avLst/>
            <a:gdLst>
              <a:gd name="T0" fmla="*/ 337 w 846"/>
              <a:gd name="T1" fmla="*/ 0 h 842"/>
              <a:gd name="T2" fmla="*/ 594 w 846"/>
              <a:gd name="T3" fmla="*/ 7 h 842"/>
              <a:gd name="T4" fmla="*/ 594 w 846"/>
              <a:gd name="T5" fmla="*/ 160 h 842"/>
              <a:gd name="T6" fmla="*/ 724 w 846"/>
              <a:gd name="T7" fmla="*/ 202 h 842"/>
              <a:gd name="T8" fmla="*/ 761 w 846"/>
              <a:gd name="T9" fmla="*/ 188 h 842"/>
              <a:gd name="T10" fmla="*/ 847 w 846"/>
              <a:gd name="T11" fmla="*/ 221 h 842"/>
              <a:gd name="T12" fmla="*/ 897 w 846"/>
              <a:gd name="T13" fmla="*/ 219 h 842"/>
              <a:gd name="T14" fmla="*/ 996 w 846"/>
              <a:gd name="T15" fmla="*/ 186 h 842"/>
              <a:gd name="T16" fmla="*/ 1054 w 846"/>
              <a:gd name="T17" fmla="*/ 218 h 842"/>
              <a:gd name="T18" fmla="*/ 1103 w 846"/>
              <a:gd name="T19" fmla="*/ 226 h 842"/>
              <a:gd name="T20" fmla="*/ 1103 w 846"/>
              <a:gd name="T21" fmla="*/ 350 h 842"/>
              <a:gd name="T22" fmla="*/ 1163 w 846"/>
              <a:gd name="T23" fmla="*/ 428 h 842"/>
              <a:gd name="T24" fmla="*/ 1149 w 846"/>
              <a:gd name="T25" fmla="*/ 534 h 842"/>
              <a:gd name="T26" fmla="*/ 1086 w 846"/>
              <a:gd name="T27" fmla="*/ 576 h 842"/>
              <a:gd name="T28" fmla="*/ 1073 w 846"/>
              <a:gd name="T29" fmla="*/ 537 h 842"/>
              <a:gd name="T30" fmla="*/ 1054 w 846"/>
              <a:gd name="T31" fmla="*/ 555 h 842"/>
              <a:gd name="T32" fmla="*/ 1068 w 846"/>
              <a:gd name="T33" fmla="*/ 580 h 842"/>
              <a:gd name="T34" fmla="*/ 955 w 846"/>
              <a:gd name="T35" fmla="*/ 643 h 842"/>
              <a:gd name="T36" fmla="*/ 927 w 846"/>
              <a:gd name="T37" fmla="*/ 647 h 842"/>
              <a:gd name="T38" fmla="*/ 868 w 846"/>
              <a:gd name="T39" fmla="*/ 678 h 842"/>
              <a:gd name="T40" fmla="*/ 868 w 846"/>
              <a:gd name="T41" fmla="*/ 696 h 842"/>
              <a:gd name="T42" fmla="*/ 850 w 846"/>
              <a:gd name="T43" fmla="*/ 700 h 842"/>
              <a:gd name="T44" fmla="*/ 864 w 846"/>
              <a:gd name="T45" fmla="*/ 721 h 842"/>
              <a:gd name="T46" fmla="*/ 833 w 846"/>
              <a:gd name="T47" fmla="*/ 752 h 842"/>
              <a:gd name="T48" fmla="*/ 850 w 846"/>
              <a:gd name="T49" fmla="*/ 798 h 842"/>
              <a:gd name="T50" fmla="*/ 868 w 846"/>
              <a:gd name="T51" fmla="*/ 814 h 842"/>
              <a:gd name="T52" fmla="*/ 864 w 846"/>
              <a:gd name="T53" fmla="*/ 842 h 842"/>
              <a:gd name="T54" fmla="*/ 819 w 846"/>
              <a:gd name="T55" fmla="*/ 842 h 842"/>
              <a:gd name="T56" fmla="*/ 780 w 846"/>
              <a:gd name="T57" fmla="*/ 828 h 842"/>
              <a:gd name="T58" fmla="*/ 751 w 846"/>
              <a:gd name="T59" fmla="*/ 831 h 842"/>
              <a:gd name="T60" fmla="*/ 662 w 846"/>
              <a:gd name="T61" fmla="*/ 807 h 842"/>
              <a:gd name="T62" fmla="*/ 620 w 846"/>
              <a:gd name="T63" fmla="*/ 710 h 842"/>
              <a:gd name="T64" fmla="*/ 558 w 846"/>
              <a:gd name="T65" fmla="*/ 664 h 842"/>
              <a:gd name="T66" fmla="*/ 501 w 846"/>
              <a:gd name="T67" fmla="*/ 580 h 842"/>
              <a:gd name="T68" fmla="*/ 477 w 846"/>
              <a:gd name="T69" fmla="*/ 571 h 842"/>
              <a:gd name="T70" fmla="*/ 447 w 846"/>
              <a:gd name="T71" fmla="*/ 550 h 842"/>
              <a:gd name="T72" fmla="*/ 417 w 846"/>
              <a:gd name="T73" fmla="*/ 550 h 842"/>
              <a:gd name="T74" fmla="*/ 374 w 846"/>
              <a:gd name="T75" fmla="*/ 543 h 842"/>
              <a:gd name="T76" fmla="*/ 341 w 846"/>
              <a:gd name="T77" fmla="*/ 550 h 842"/>
              <a:gd name="T78" fmla="*/ 319 w 846"/>
              <a:gd name="T79" fmla="*/ 593 h 842"/>
              <a:gd name="T80" fmla="*/ 285 w 846"/>
              <a:gd name="T81" fmla="*/ 600 h 842"/>
              <a:gd name="T82" fmla="*/ 211 w 846"/>
              <a:gd name="T83" fmla="*/ 567 h 842"/>
              <a:gd name="T84" fmla="*/ 167 w 846"/>
              <a:gd name="T85" fmla="*/ 527 h 842"/>
              <a:gd name="T86" fmla="*/ 159 w 846"/>
              <a:gd name="T87" fmla="*/ 479 h 842"/>
              <a:gd name="T88" fmla="*/ 128 w 846"/>
              <a:gd name="T89" fmla="*/ 446 h 842"/>
              <a:gd name="T90" fmla="*/ 53 w 846"/>
              <a:gd name="T91" fmla="*/ 400 h 842"/>
              <a:gd name="T92" fmla="*/ 0 w 846"/>
              <a:gd name="T93" fmla="*/ 352 h 842"/>
              <a:gd name="T94" fmla="*/ 0 w 846"/>
              <a:gd name="T95" fmla="*/ 332 h 842"/>
              <a:gd name="T96" fmla="*/ 176 w 846"/>
              <a:gd name="T97" fmla="*/ 333 h 842"/>
              <a:gd name="T98" fmla="*/ 319 w 846"/>
              <a:gd name="T99" fmla="*/ 342 h 842"/>
              <a:gd name="T100" fmla="*/ 337 w 846"/>
              <a:gd name="T101" fmla="*/ 0 h 8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46"/>
              <a:gd name="T154" fmla="*/ 0 h 842"/>
              <a:gd name="T155" fmla="*/ 846 w 846"/>
              <a:gd name="T156" fmla="*/ 842 h 8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46" h="842">
                <a:moveTo>
                  <a:pt x="245" y="0"/>
                </a:moveTo>
                <a:lnTo>
                  <a:pt x="432" y="7"/>
                </a:lnTo>
                <a:lnTo>
                  <a:pt x="432" y="160"/>
                </a:lnTo>
                <a:lnTo>
                  <a:pt x="527" y="202"/>
                </a:lnTo>
                <a:lnTo>
                  <a:pt x="553" y="188"/>
                </a:lnTo>
                <a:lnTo>
                  <a:pt x="616" y="221"/>
                </a:lnTo>
                <a:lnTo>
                  <a:pt x="653" y="219"/>
                </a:lnTo>
                <a:lnTo>
                  <a:pt x="725" y="186"/>
                </a:lnTo>
                <a:lnTo>
                  <a:pt x="767" y="218"/>
                </a:lnTo>
                <a:lnTo>
                  <a:pt x="803" y="226"/>
                </a:lnTo>
                <a:lnTo>
                  <a:pt x="803" y="350"/>
                </a:lnTo>
                <a:lnTo>
                  <a:pt x="846" y="428"/>
                </a:lnTo>
                <a:lnTo>
                  <a:pt x="836" y="534"/>
                </a:lnTo>
                <a:lnTo>
                  <a:pt x="790" y="576"/>
                </a:lnTo>
                <a:lnTo>
                  <a:pt x="780" y="537"/>
                </a:lnTo>
                <a:lnTo>
                  <a:pt x="767" y="555"/>
                </a:lnTo>
                <a:lnTo>
                  <a:pt x="777" y="580"/>
                </a:lnTo>
                <a:lnTo>
                  <a:pt x="695" y="643"/>
                </a:lnTo>
                <a:lnTo>
                  <a:pt x="675" y="647"/>
                </a:lnTo>
                <a:lnTo>
                  <a:pt x="632" y="678"/>
                </a:lnTo>
                <a:lnTo>
                  <a:pt x="632" y="696"/>
                </a:lnTo>
                <a:lnTo>
                  <a:pt x="619" y="700"/>
                </a:lnTo>
                <a:lnTo>
                  <a:pt x="629" y="721"/>
                </a:lnTo>
                <a:lnTo>
                  <a:pt x="606" y="752"/>
                </a:lnTo>
                <a:lnTo>
                  <a:pt x="619" y="798"/>
                </a:lnTo>
                <a:lnTo>
                  <a:pt x="632" y="814"/>
                </a:lnTo>
                <a:lnTo>
                  <a:pt x="629" y="842"/>
                </a:lnTo>
                <a:lnTo>
                  <a:pt x="596" y="842"/>
                </a:lnTo>
                <a:lnTo>
                  <a:pt x="567" y="828"/>
                </a:lnTo>
                <a:lnTo>
                  <a:pt x="547" y="831"/>
                </a:lnTo>
                <a:lnTo>
                  <a:pt x="481" y="807"/>
                </a:lnTo>
                <a:lnTo>
                  <a:pt x="452" y="710"/>
                </a:lnTo>
                <a:lnTo>
                  <a:pt x="406" y="664"/>
                </a:lnTo>
                <a:lnTo>
                  <a:pt x="365" y="580"/>
                </a:lnTo>
                <a:lnTo>
                  <a:pt x="347" y="571"/>
                </a:lnTo>
                <a:lnTo>
                  <a:pt x="325" y="550"/>
                </a:lnTo>
                <a:lnTo>
                  <a:pt x="304" y="550"/>
                </a:lnTo>
                <a:lnTo>
                  <a:pt x="272" y="543"/>
                </a:lnTo>
                <a:lnTo>
                  <a:pt x="248" y="550"/>
                </a:lnTo>
                <a:lnTo>
                  <a:pt x="232" y="593"/>
                </a:lnTo>
                <a:lnTo>
                  <a:pt x="207" y="600"/>
                </a:lnTo>
                <a:lnTo>
                  <a:pt x="153" y="567"/>
                </a:lnTo>
                <a:lnTo>
                  <a:pt x="121" y="527"/>
                </a:lnTo>
                <a:lnTo>
                  <a:pt x="116" y="479"/>
                </a:lnTo>
                <a:lnTo>
                  <a:pt x="93" y="446"/>
                </a:lnTo>
                <a:lnTo>
                  <a:pt x="39" y="400"/>
                </a:lnTo>
                <a:lnTo>
                  <a:pt x="0" y="352"/>
                </a:lnTo>
                <a:lnTo>
                  <a:pt x="0" y="332"/>
                </a:lnTo>
                <a:lnTo>
                  <a:pt x="128" y="333"/>
                </a:lnTo>
                <a:lnTo>
                  <a:pt x="232" y="342"/>
                </a:lnTo>
                <a:lnTo>
                  <a:pt x="245" y="0"/>
                </a:lnTo>
                <a:close/>
              </a:path>
            </a:pathLst>
          </a:custGeom>
          <a:solidFill>
            <a:schemeClr val="accent3"/>
          </a:solidFill>
          <a:ln w="12700">
            <a:solidFill>
              <a:schemeClr val="bg1"/>
            </a:solidFill>
            <a:round/>
            <a:headEnd/>
            <a:tailEnd/>
          </a:ln>
        </p:spPr>
        <p:txBody>
          <a:bodyPr/>
          <a:lstStyle/>
          <a:p>
            <a:pPr>
              <a:defRPr/>
            </a:pPr>
            <a:endParaRPr lang="en-GB"/>
          </a:p>
        </p:txBody>
      </p:sp>
      <p:sp>
        <p:nvSpPr>
          <p:cNvPr id="7" name="Freeform 6"/>
          <p:cNvSpPr>
            <a:spLocks/>
          </p:cNvSpPr>
          <p:nvPr/>
        </p:nvSpPr>
        <p:spPr bwMode="auto">
          <a:xfrm>
            <a:off x="4870450" y="4062413"/>
            <a:ext cx="560388" cy="561975"/>
          </a:xfrm>
          <a:custGeom>
            <a:avLst/>
            <a:gdLst>
              <a:gd name="T0" fmla="*/ 0 w 294"/>
              <a:gd name="T1" fmla="*/ 27 h 295"/>
              <a:gd name="T2" fmla="*/ 162 w 294"/>
              <a:gd name="T3" fmla="*/ 12 h 295"/>
              <a:gd name="T4" fmla="*/ 359 w 294"/>
              <a:gd name="T5" fmla="*/ 0 h 295"/>
              <a:gd name="T6" fmla="*/ 348 w 294"/>
              <a:gd name="T7" fmla="*/ 39 h 295"/>
              <a:gd name="T8" fmla="*/ 392 w 294"/>
              <a:gd name="T9" fmla="*/ 30 h 295"/>
              <a:gd name="T10" fmla="*/ 407 w 294"/>
              <a:gd name="T11" fmla="*/ 56 h 295"/>
              <a:gd name="T12" fmla="*/ 362 w 294"/>
              <a:gd name="T13" fmla="*/ 80 h 295"/>
              <a:gd name="T14" fmla="*/ 373 w 294"/>
              <a:gd name="T15" fmla="*/ 121 h 295"/>
              <a:gd name="T16" fmla="*/ 327 w 294"/>
              <a:gd name="T17" fmla="*/ 189 h 295"/>
              <a:gd name="T18" fmla="*/ 291 w 294"/>
              <a:gd name="T19" fmla="*/ 231 h 295"/>
              <a:gd name="T20" fmla="*/ 310 w 294"/>
              <a:gd name="T21" fmla="*/ 285 h 295"/>
              <a:gd name="T22" fmla="*/ 60 w 294"/>
              <a:gd name="T23" fmla="*/ 295 h 295"/>
              <a:gd name="T24" fmla="*/ 59 w 294"/>
              <a:gd name="T25" fmla="*/ 262 h 295"/>
              <a:gd name="T26" fmla="*/ 10 w 294"/>
              <a:gd name="T27" fmla="*/ 255 h 295"/>
              <a:gd name="T28" fmla="*/ 10 w 294"/>
              <a:gd name="T29" fmla="*/ 80 h 295"/>
              <a:gd name="T30" fmla="*/ 0 w 294"/>
              <a:gd name="T31" fmla="*/ 27 h 29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4"/>
              <a:gd name="T49" fmla="*/ 0 h 295"/>
              <a:gd name="T50" fmla="*/ 294 w 294"/>
              <a:gd name="T51" fmla="*/ 295 h 29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4" h="295">
                <a:moveTo>
                  <a:pt x="0" y="27"/>
                </a:moveTo>
                <a:lnTo>
                  <a:pt x="116" y="12"/>
                </a:lnTo>
                <a:lnTo>
                  <a:pt x="259" y="0"/>
                </a:lnTo>
                <a:lnTo>
                  <a:pt x="252" y="39"/>
                </a:lnTo>
                <a:lnTo>
                  <a:pt x="283" y="30"/>
                </a:lnTo>
                <a:lnTo>
                  <a:pt x="294" y="56"/>
                </a:lnTo>
                <a:lnTo>
                  <a:pt x="262" y="80"/>
                </a:lnTo>
                <a:lnTo>
                  <a:pt x="269" y="121"/>
                </a:lnTo>
                <a:lnTo>
                  <a:pt x="235" y="189"/>
                </a:lnTo>
                <a:lnTo>
                  <a:pt x="210" y="231"/>
                </a:lnTo>
                <a:lnTo>
                  <a:pt x="224" y="285"/>
                </a:lnTo>
                <a:lnTo>
                  <a:pt x="43" y="295"/>
                </a:lnTo>
                <a:lnTo>
                  <a:pt x="42" y="262"/>
                </a:lnTo>
                <a:lnTo>
                  <a:pt x="6" y="255"/>
                </a:lnTo>
                <a:lnTo>
                  <a:pt x="6" y="80"/>
                </a:lnTo>
                <a:lnTo>
                  <a:pt x="0" y="27"/>
                </a:lnTo>
                <a:close/>
              </a:path>
            </a:pathLst>
          </a:custGeom>
          <a:solidFill>
            <a:schemeClr val="accent3"/>
          </a:solidFill>
          <a:ln w="12700">
            <a:solidFill>
              <a:schemeClr val="bg1"/>
            </a:solidFill>
            <a:round/>
            <a:headEnd/>
            <a:tailEnd/>
          </a:ln>
        </p:spPr>
        <p:txBody>
          <a:bodyPr/>
          <a:lstStyle/>
          <a:p>
            <a:pPr>
              <a:defRPr/>
            </a:pPr>
            <a:endParaRPr lang="en-GB"/>
          </a:p>
        </p:txBody>
      </p:sp>
      <p:sp>
        <p:nvSpPr>
          <p:cNvPr id="8" name="Freeform 7"/>
          <p:cNvSpPr>
            <a:spLocks/>
          </p:cNvSpPr>
          <p:nvPr/>
        </p:nvSpPr>
        <p:spPr bwMode="auto">
          <a:xfrm>
            <a:off x="4943475" y="4603750"/>
            <a:ext cx="684213" cy="588963"/>
          </a:xfrm>
          <a:custGeom>
            <a:avLst/>
            <a:gdLst>
              <a:gd name="T0" fmla="*/ 0 w 359"/>
              <a:gd name="T1" fmla="*/ 7 h 309"/>
              <a:gd name="T2" fmla="*/ 247 w 359"/>
              <a:gd name="T3" fmla="*/ 0 h 309"/>
              <a:gd name="T4" fmla="*/ 291 w 359"/>
              <a:gd name="T5" fmla="*/ 64 h 309"/>
              <a:gd name="T6" fmla="*/ 254 w 359"/>
              <a:gd name="T7" fmla="*/ 139 h 309"/>
              <a:gd name="T8" fmla="*/ 242 w 359"/>
              <a:gd name="T9" fmla="*/ 173 h 309"/>
              <a:gd name="T10" fmla="*/ 407 w 359"/>
              <a:gd name="T11" fmla="*/ 159 h 309"/>
              <a:gd name="T12" fmla="*/ 417 w 359"/>
              <a:gd name="T13" fmla="*/ 208 h 309"/>
              <a:gd name="T14" fmla="*/ 367 w 359"/>
              <a:gd name="T15" fmla="*/ 204 h 309"/>
              <a:gd name="T16" fmla="*/ 346 w 359"/>
              <a:gd name="T17" fmla="*/ 225 h 309"/>
              <a:gd name="T18" fmla="*/ 369 w 359"/>
              <a:gd name="T19" fmla="*/ 239 h 309"/>
              <a:gd name="T20" fmla="*/ 416 w 359"/>
              <a:gd name="T21" fmla="*/ 222 h 309"/>
              <a:gd name="T22" fmla="*/ 417 w 359"/>
              <a:gd name="T23" fmla="*/ 246 h 309"/>
              <a:gd name="T24" fmla="*/ 444 w 359"/>
              <a:gd name="T25" fmla="*/ 226 h 309"/>
              <a:gd name="T26" fmla="*/ 463 w 359"/>
              <a:gd name="T27" fmla="*/ 226 h 309"/>
              <a:gd name="T28" fmla="*/ 441 w 359"/>
              <a:gd name="T29" fmla="*/ 267 h 309"/>
              <a:gd name="T30" fmla="*/ 482 w 359"/>
              <a:gd name="T31" fmla="*/ 274 h 309"/>
              <a:gd name="T32" fmla="*/ 495 w 359"/>
              <a:gd name="T33" fmla="*/ 297 h 309"/>
              <a:gd name="T34" fmla="*/ 476 w 359"/>
              <a:gd name="T35" fmla="*/ 304 h 309"/>
              <a:gd name="T36" fmla="*/ 451 w 359"/>
              <a:gd name="T37" fmla="*/ 289 h 309"/>
              <a:gd name="T38" fmla="*/ 402 w 359"/>
              <a:gd name="T39" fmla="*/ 279 h 309"/>
              <a:gd name="T40" fmla="*/ 412 w 359"/>
              <a:gd name="T41" fmla="*/ 306 h 309"/>
              <a:gd name="T42" fmla="*/ 390 w 359"/>
              <a:gd name="T43" fmla="*/ 309 h 309"/>
              <a:gd name="T44" fmla="*/ 368 w 359"/>
              <a:gd name="T45" fmla="*/ 285 h 309"/>
              <a:gd name="T46" fmla="*/ 356 w 359"/>
              <a:gd name="T47" fmla="*/ 300 h 309"/>
              <a:gd name="T48" fmla="*/ 284 w 359"/>
              <a:gd name="T49" fmla="*/ 300 h 309"/>
              <a:gd name="T50" fmla="*/ 284 w 359"/>
              <a:gd name="T51" fmla="*/ 285 h 309"/>
              <a:gd name="T52" fmla="*/ 258 w 359"/>
              <a:gd name="T53" fmla="*/ 267 h 309"/>
              <a:gd name="T54" fmla="*/ 202 w 359"/>
              <a:gd name="T55" fmla="*/ 265 h 309"/>
              <a:gd name="T56" fmla="*/ 248 w 359"/>
              <a:gd name="T57" fmla="*/ 285 h 309"/>
              <a:gd name="T58" fmla="*/ 184 w 359"/>
              <a:gd name="T59" fmla="*/ 295 h 309"/>
              <a:gd name="T60" fmla="*/ 86 w 359"/>
              <a:gd name="T61" fmla="*/ 281 h 309"/>
              <a:gd name="T62" fmla="*/ 48 w 359"/>
              <a:gd name="T63" fmla="*/ 285 h 309"/>
              <a:gd name="T64" fmla="*/ 62 w 359"/>
              <a:gd name="T65" fmla="*/ 181 h 309"/>
              <a:gd name="T66" fmla="*/ 1 w 359"/>
              <a:gd name="T67" fmla="*/ 99 h 309"/>
              <a:gd name="T68" fmla="*/ 0 w 359"/>
              <a:gd name="T69" fmla="*/ 7 h 30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9"/>
              <a:gd name="T106" fmla="*/ 0 h 309"/>
              <a:gd name="T107" fmla="*/ 359 w 359"/>
              <a:gd name="T108" fmla="*/ 309 h 30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9" h="309">
                <a:moveTo>
                  <a:pt x="0" y="7"/>
                </a:moveTo>
                <a:lnTo>
                  <a:pt x="179" y="0"/>
                </a:lnTo>
                <a:lnTo>
                  <a:pt x="211" y="64"/>
                </a:lnTo>
                <a:lnTo>
                  <a:pt x="184" y="139"/>
                </a:lnTo>
                <a:lnTo>
                  <a:pt x="175" y="173"/>
                </a:lnTo>
                <a:lnTo>
                  <a:pt x="295" y="159"/>
                </a:lnTo>
                <a:lnTo>
                  <a:pt x="303" y="208"/>
                </a:lnTo>
                <a:lnTo>
                  <a:pt x="267" y="204"/>
                </a:lnTo>
                <a:lnTo>
                  <a:pt x="250" y="225"/>
                </a:lnTo>
                <a:lnTo>
                  <a:pt x="269" y="239"/>
                </a:lnTo>
                <a:lnTo>
                  <a:pt x="302" y="222"/>
                </a:lnTo>
                <a:lnTo>
                  <a:pt x="303" y="246"/>
                </a:lnTo>
                <a:lnTo>
                  <a:pt x="322" y="226"/>
                </a:lnTo>
                <a:lnTo>
                  <a:pt x="336" y="226"/>
                </a:lnTo>
                <a:lnTo>
                  <a:pt x="320" y="267"/>
                </a:lnTo>
                <a:lnTo>
                  <a:pt x="350" y="274"/>
                </a:lnTo>
                <a:lnTo>
                  <a:pt x="359" y="297"/>
                </a:lnTo>
                <a:lnTo>
                  <a:pt x="345" y="304"/>
                </a:lnTo>
                <a:lnTo>
                  <a:pt x="327" y="289"/>
                </a:lnTo>
                <a:lnTo>
                  <a:pt x="292" y="279"/>
                </a:lnTo>
                <a:lnTo>
                  <a:pt x="299" y="306"/>
                </a:lnTo>
                <a:lnTo>
                  <a:pt x="282" y="309"/>
                </a:lnTo>
                <a:lnTo>
                  <a:pt x="268" y="285"/>
                </a:lnTo>
                <a:lnTo>
                  <a:pt x="259" y="300"/>
                </a:lnTo>
                <a:lnTo>
                  <a:pt x="206" y="300"/>
                </a:lnTo>
                <a:lnTo>
                  <a:pt x="206" y="285"/>
                </a:lnTo>
                <a:lnTo>
                  <a:pt x="187" y="267"/>
                </a:lnTo>
                <a:lnTo>
                  <a:pt x="147" y="265"/>
                </a:lnTo>
                <a:lnTo>
                  <a:pt x="180" y="285"/>
                </a:lnTo>
                <a:lnTo>
                  <a:pt x="134" y="295"/>
                </a:lnTo>
                <a:lnTo>
                  <a:pt x="62" y="281"/>
                </a:lnTo>
                <a:lnTo>
                  <a:pt x="35" y="285"/>
                </a:lnTo>
                <a:lnTo>
                  <a:pt x="45" y="181"/>
                </a:lnTo>
                <a:lnTo>
                  <a:pt x="1" y="99"/>
                </a:lnTo>
                <a:lnTo>
                  <a:pt x="0" y="7"/>
                </a:lnTo>
                <a:close/>
              </a:path>
            </a:pathLst>
          </a:custGeom>
          <a:solidFill>
            <a:schemeClr val="accent3"/>
          </a:solidFill>
          <a:ln w="12700">
            <a:solidFill>
              <a:schemeClr val="bg1"/>
            </a:solidFill>
            <a:round/>
            <a:headEnd/>
            <a:tailEnd/>
          </a:ln>
        </p:spPr>
        <p:txBody>
          <a:bodyPr/>
          <a:lstStyle/>
          <a:p>
            <a:pPr>
              <a:defRPr/>
            </a:pPr>
            <a:endParaRPr lang="en-GB"/>
          </a:p>
        </p:txBody>
      </p:sp>
      <p:sp>
        <p:nvSpPr>
          <p:cNvPr id="9" name="Freeform 8"/>
          <p:cNvSpPr>
            <a:spLocks/>
          </p:cNvSpPr>
          <p:nvPr/>
        </p:nvSpPr>
        <p:spPr bwMode="auto">
          <a:xfrm>
            <a:off x="4476452" y="2130226"/>
            <a:ext cx="779760" cy="912705"/>
          </a:xfrm>
          <a:custGeom>
            <a:avLst/>
            <a:gdLst>
              <a:gd name="T0" fmla="*/ 0 w 400"/>
              <a:gd name="T1" fmla="*/ 38 h 485"/>
              <a:gd name="T2" fmla="*/ 144 w 400"/>
              <a:gd name="T3" fmla="*/ 38 h 485"/>
              <a:gd name="T4" fmla="*/ 143 w 400"/>
              <a:gd name="T5" fmla="*/ 0 h 485"/>
              <a:gd name="T6" fmla="*/ 172 w 400"/>
              <a:gd name="T7" fmla="*/ 11 h 485"/>
              <a:gd name="T8" fmla="*/ 181 w 400"/>
              <a:gd name="T9" fmla="*/ 40 h 485"/>
              <a:gd name="T10" fmla="*/ 248 w 400"/>
              <a:gd name="T11" fmla="*/ 72 h 485"/>
              <a:gd name="T12" fmla="*/ 268 w 400"/>
              <a:gd name="T13" fmla="*/ 58 h 485"/>
              <a:gd name="T14" fmla="*/ 311 w 400"/>
              <a:gd name="T15" fmla="*/ 58 h 485"/>
              <a:gd name="T16" fmla="*/ 342 w 400"/>
              <a:gd name="T17" fmla="*/ 86 h 485"/>
              <a:gd name="T18" fmla="*/ 364 w 400"/>
              <a:gd name="T19" fmla="*/ 76 h 485"/>
              <a:gd name="T20" fmla="*/ 422 w 400"/>
              <a:gd name="T21" fmla="*/ 87 h 485"/>
              <a:gd name="T22" fmla="*/ 444 w 400"/>
              <a:gd name="T23" fmla="*/ 66 h 485"/>
              <a:gd name="T24" fmla="*/ 482 w 400"/>
              <a:gd name="T25" fmla="*/ 83 h 485"/>
              <a:gd name="T26" fmla="*/ 550 w 400"/>
              <a:gd name="T27" fmla="*/ 80 h 485"/>
              <a:gd name="T28" fmla="*/ 439 w 400"/>
              <a:gd name="T29" fmla="*/ 140 h 485"/>
              <a:gd name="T30" fmla="*/ 385 w 400"/>
              <a:gd name="T31" fmla="*/ 193 h 485"/>
              <a:gd name="T32" fmla="*/ 396 w 400"/>
              <a:gd name="T33" fmla="*/ 269 h 485"/>
              <a:gd name="T34" fmla="*/ 358 w 400"/>
              <a:gd name="T35" fmla="*/ 301 h 485"/>
              <a:gd name="T36" fmla="*/ 372 w 400"/>
              <a:gd name="T37" fmla="*/ 324 h 485"/>
              <a:gd name="T38" fmla="*/ 372 w 400"/>
              <a:gd name="T39" fmla="*/ 380 h 485"/>
              <a:gd name="T40" fmla="*/ 411 w 400"/>
              <a:gd name="T41" fmla="*/ 380 h 485"/>
              <a:gd name="T42" fmla="*/ 467 w 400"/>
              <a:gd name="T43" fmla="*/ 421 h 485"/>
              <a:gd name="T44" fmla="*/ 488 w 400"/>
              <a:gd name="T45" fmla="*/ 471 h 485"/>
              <a:gd name="T46" fmla="*/ 101 w 400"/>
              <a:gd name="T47" fmla="*/ 485 h 485"/>
              <a:gd name="T48" fmla="*/ 102 w 400"/>
              <a:gd name="T49" fmla="*/ 351 h 485"/>
              <a:gd name="T50" fmla="*/ 67 w 400"/>
              <a:gd name="T51" fmla="*/ 321 h 485"/>
              <a:gd name="T52" fmla="*/ 80 w 400"/>
              <a:gd name="T53" fmla="*/ 286 h 485"/>
              <a:gd name="T54" fmla="*/ 90 w 400"/>
              <a:gd name="T55" fmla="*/ 266 h 485"/>
              <a:gd name="T56" fmla="*/ 67 w 400"/>
              <a:gd name="T57" fmla="*/ 173 h 485"/>
              <a:gd name="T58" fmla="*/ 34 w 400"/>
              <a:gd name="T59" fmla="*/ 112 h 485"/>
              <a:gd name="T60" fmla="*/ 0 w 400"/>
              <a:gd name="T61" fmla="*/ 38 h 4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00"/>
              <a:gd name="T94" fmla="*/ 0 h 485"/>
              <a:gd name="T95" fmla="*/ 400 w 400"/>
              <a:gd name="T96" fmla="*/ 485 h 48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00" h="485">
                <a:moveTo>
                  <a:pt x="0" y="38"/>
                </a:moveTo>
                <a:lnTo>
                  <a:pt x="105" y="38"/>
                </a:lnTo>
                <a:lnTo>
                  <a:pt x="104" y="0"/>
                </a:lnTo>
                <a:lnTo>
                  <a:pt x="126" y="11"/>
                </a:lnTo>
                <a:lnTo>
                  <a:pt x="131" y="40"/>
                </a:lnTo>
                <a:lnTo>
                  <a:pt x="181" y="72"/>
                </a:lnTo>
                <a:lnTo>
                  <a:pt x="196" y="58"/>
                </a:lnTo>
                <a:lnTo>
                  <a:pt x="226" y="58"/>
                </a:lnTo>
                <a:lnTo>
                  <a:pt x="249" y="86"/>
                </a:lnTo>
                <a:lnTo>
                  <a:pt x="264" y="76"/>
                </a:lnTo>
                <a:lnTo>
                  <a:pt x="308" y="87"/>
                </a:lnTo>
                <a:lnTo>
                  <a:pt x="323" y="66"/>
                </a:lnTo>
                <a:lnTo>
                  <a:pt x="351" y="83"/>
                </a:lnTo>
                <a:lnTo>
                  <a:pt x="400" y="80"/>
                </a:lnTo>
                <a:lnTo>
                  <a:pt x="320" y="140"/>
                </a:lnTo>
                <a:lnTo>
                  <a:pt x="281" y="193"/>
                </a:lnTo>
                <a:lnTo>
                  <a:pt x="288" y="269"/>
                </a:lnTo>
                <a:lnTo>
                  <a:pt x="261" y="301"/>
                </a:lnTo>
                <a:lnTo>
                  <a:pt x="272" y="324"/>
                </a:lnTo>
                <a:lnTo>
                  <a:pt x="272" y="380"/>
                </a:lnTo>
                <a:lnTo>
                  <a:pt x="299" y="380"/>
                </a:lnTo>
                <a:lnTo>
                  <a:pt x="340" y="421"/>
                </a:lnTo>
                <a:lnTo>
                  <a:pt x="356" y="471"/>
                </a:lnTo>
                <a:lnTo>
                  <a:pt x="73" y="485"/>
                </a:lnTo>
                <a:lnTo>
                  <a:pt x="74" y="351"/>
                </a:lnTo>
                <a:lnTo>
                  <a:pt x="49" y="321"/>
                </a:lnTo>
                <a:lnTo>
                  <a:pt x="58" y="286"/>
                </a:lnTo>
                <a:lnTo>
                  <a:pt x="66" y="266"/>
                </a:lnTo>
                <a:lnTo>
                  <a:pt x="49" y="173"/>
                </a:lnTo>
                <a:lnTo>
                  <a:pt x="25" y="112"/>
                </a:lnTo>
                <a:lnTo>
                  <a:pt x="0" y="38"/>
                </a:lnTo>
                <a:close/>
              </a:path>
            </a:pathLst>
          </a:custGeom>
          <a:solidFill>
            <a:schemeClr val="accent3"/>
          </a:solidFill>
          <a:ln w="12700">
            <a:solidFill>
              <a:schemeClr val="bg1"/>
            </a:solidFill>
            <a:round/>
            <a:headEnd/>
            <a:tailEnd/>
          </a:ln>
        </p:spPr>
        <p:txBody>
          <a:bodyPr/>
          <a:lstStyle/>
          <a:p>
            <a:pPr>
              <a:defRPr/>
            </a:pPr>
            <a:endParaRPr lang="en-GB"/>
          </a:p>
        </p:txBody>
      </p:sp>
      <p:sp>
        <p:nvSpPr>
          <p:cNvPr id="10" name="Freeform 9"/>
          <p:cNvSpPr>
            <a:spLocks/>
          </p:cNvSpPr>
          <p:nvPr/>
        </p:nvSpPr>
        <p:spPr bwMode="auto">
          <a:xfrm>
            <a:off x="4986338" y="2435225"/>
            <a:ext cx="579437" cy="728663"/>
          </a:xfrm>
          <a:custGeom>
            <a:avLst/>
            <a:gdLst>
              <a:gd name="T0" fmla="*/ 30 w 304"/>
              <a:gd name="T1" fmla="*/ 26 h 382"/>
              <a:gd name="T2" fmla="*/ 62 w 304"/>
              <a:gd name="T3" fmla="*/ 23 h 382"/>
              <a:gd name="T4" fmla="*/ 89 w 304"/>
              <a:gd name="T5" fmla="*/ 23 h 382"/>
              <a:gd name="T6" fmla="*/ 108 w 304"/>
              <a:gd name="T7" fmla="*/ 0 h 382"/>
              <a:gd name="T8" fmla="*/ 120 w 304"/>
              <a:gd name="T9" fmla="*/ 28 h 382"/>
              <a:gd name="T10" fmla="*/ 167 w 304"/>
              <a:gd name="T11" fmla="*/ 28 h 382"/>
              <a:gd name="T12" fmla="*/ 189 w 304"/>
              <a:gd name="T13" fmla="*/ 54 h 382"/>
              <a:gd name="T14" fmla="*/ 237 w 304"/>
              <a:gd name="T15" fmla="*/ 47 h 382"/>
              <a:gd name="T16" fmla="*/ 268 w 304"/>
              <a:gd name="T17" fmla="*/ 64 h 382"/>
              <a:gd name="T18" fmla="*/ 327 w 304"/>
              <a:gd name="T19" fmla="*/ 75 h 382"/>
              <a:gd name="T20" fmla="*/ 338 w 304"/>
              <a:gd name="T21" fmla="*/ 95 h 382"/>
              <a:gd name="T22" fmla="*/ 368 w 304"/>
              <a:gd name="T23" fmla="*/ 97 h 382"/>
              <a:gd name="T24" fmla="*/ 357 w 304"/>
              <a:gd name="T25" fmla="*/ 117 h 382"/>
              <a:gd name="T26" fmla="*/ 369 w 304"/>
              <a:gd name="T27" fmla="*/ 139 h 382"/>
              <a:gd name="T28" fmla="*/ 351 w 304"/>
              <a:gd name="T29" fmla="*/ 167 h 382"/>
              <a:gd name="T30" fmla="*/ 365 w 304"/>
              <a:gd name="T31" fmla="*/ 173 h 382"/>
              <a:gd name="T32" fmla="*/ 397 w 304"/>
              <a:gd name="T33" fmla="*/ 142 h 382"/>
              <a:gd name="T34" fmla="*/ 396 w 304"/>
              <a:gd name="T35" fmla="*/ 132 h 382"/>
              <a:gd name="T36" fmla="*/ 407 w 304"/>
              <a:gd name="T37" fmla="*/ 127 h 382"/>
              <a:gd name="T38" fmla="*/ 417 w 304"/>
              <a:gd name="T39" fmla="*/ 142 h 382"/>
              <a:gd name="T40" fmla="*/ 390 w 304"/>
              <a:gd name="T41" fmla="*/ 164 h 382"/>
              <a:gd name="T42" fmla="*/ 382 w 304"/>
              <a:gd name="T43" fmla="*/ 212 h 382"/>
              <a:gd name="T44" fmla="*/ 382 w 304"/>
              <a:gd name="T45" fmla="*/ 293 h 382"/>
              <a:gd name="T46" fmla="*/ 397 w 304"/>
              <a:gd name="T47" fmla="*/ 307 h 382"/>
              <a:gd name="T48" fmla="*/ 389 w 304"/>
              <a:gd name="T49" fmla="*/ 358 h 382"/>
              <a:gd name="T50" fmla="*/ 194 w 304"/>
              <a:gd name="T51" fmla="*/ 382 h 382"/>
              <a:gd name="T52" fmla="*/ 143 w 304"/>
              <a:gd name="T53" fmla="*/ 359 h 382"/>
              <a:gd name="T54" fmla="*/ 153 w 304"/>
              <a:gd name="T55" fmla="*/ 328 h 382"/>
              <a:gd name="T56" fmla="*/ 129 w 304"/>
              <a:gd name="T57" fmla="*/ 295 h 382"/>
              <a:gd name="T58" fmla="*/ 108 w 304"/>
              <a:gd name="T59" fmla="*/ 254 h 382"/>
              <a:gd name="T60" fmla="*/ 52 w 304"/>
              <a:gd name="T61" fmla="*/ 213 h 382"/>
              <a:gd name="T62" fmla="*/ 17 w 304"/>
              <a:gd name="T63" fmla="*/ 213 h 382"/>
              <a:gd name="T64" fmla="*/ 17 w 304"/>
              <a:gd name="T65" fmla="*/ 157 h 382"/>
              <a:gd name="T66" fmla="*/ 0 w 304"/>
              <a:gd name="T67" fmla="*/ 135 h 382"/>
              <a:gd name="T68" fmla="*/ 38 w 304"/>
              <a:gd name="T69" fmla="*/ 102 h 382"/>
              <a:gd name="T70" fmla="*/ 30 w 304"/>
              <a:gd name="T71" fmla="*/ 26 h 3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4"/>
              <a:gd name="T109" fmla="*/ 0 h 382"/>
              <a:gd name="T110" fmla="*/ 304 w 304"/>
              <a:gd name="T111" fmla="*/ 382 h 3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4" h="382">
                <a:moveTo>
                  <a:pt x="22" y="26"/>
                </a:moveTo>
                <a:lnTo>
                  <a:pt x="45" y="23"/>
                </a:lnTo>
                <a:lnTo>
                  <a:pt x="65" y="23"/>
                </a:lnTo>
                <a:lnTo>
                  <a:pt x="79" y="0"/>
                </a:lnTo>
                <a:lnTo>
                  <a:pt x="88" y="28"/>
                </a:lnTo>
                <a:lnTo>
                  <a:pt x="121" y="28"/>
                </a:lnTo>
                <a:lnTo>
                  <a:pt x="139" y="54"/>
                </a:lnTo>
                <a:lnTo>
                  <a:pt x="173" y="47"/>
                </a:lnTo>
                <a:lnTo>
                  <a:pt x="196" y="64"/>
                </a:lnTo>
                <a:lnTo>
                  <a:pt x="238" y="75"/>
                </a:lnTo>
                <a:lnTo>
                  <a:pt x="246" y="95"/>
                </a:lnTo>
                <a:lnTo>
                  <a:pt x="268" y="97"/>
                </a:lnTo>
                <a:lnTo>
                  <a:pt x="261" y="117"/>
                </a:lnTo>
                <a:lnTo>
                  <a:pt x="269" y="139"/>
                </a:lnTo>
                <a:lnTo>
                  <a:pt x="255" y="167"/>
                </a:lnTo>
                <a:lnTo>
                  <a:pt x="265" y="173"/>
                </a:lnTo>
                <a:lnTo>
                  <a:pt x="289" y="142"/>
                </a:lnTo>
                <a:lnTo>
                  <a:pt x="288" y="132"/>
                </a:lnTo>
                <a:lnTo>
                  <a:pt x="297" y="127"/>
                </a:lnTo>
                <a:lnTo>
                  <a:pt x="304" y="142"/>
                </a:lnTo>
                <a:lnTo>
                  <a:pt x="285" y="164"/>
                </a:lnTo>
                <a:lnTo>
                  <a:pt x="278" y="212"/>
                </a:lnTo>
                <a:lnTo>
                  <a:pt x="278" y="293"/>
                </a:lnTo>
                <a:lnTo>
                  <a:pt x="289" y="307"/>
                </a:lnTo>
                <a:lnTo>
                  <a:pt x="284" y="358"/>
                </a:lnTo>
                <a:lnTo>
                  <a:pt x="140" y="382"/>
                </a:lnTo>
                <a:lnTo>
                  <a:pt x="104" y="359"/>
                </a:lnTo>
                <a:lnTo>
                  <a:pt x="111" y="328"/>
                </a:lnTo>
                <a:lnTo>
                  <a:pt x="94" y="295"/>
                </a:lnTo>
                <a:lnTo>
                  <a:pt x="79" y="254"/>
                </a:lnTo>
                <a:lnTo>
                  <a:pt x="38" y="213"/>
                </a:lnTo>
                <a:lnTo>
                  <a:pt x="13" y="213"/>
                </a:lnTo>
                <a:lnTo>
                  <a:pt x="13" y="157"/>
                </a:lnTo>
                <a:lnTo>
                  <a:pt x="0" y="135"/>
                </a:lnTo>
                <a:lnTo>
                  <a:pt x="28" y="102"/>
                </a:lnTo>
                <a:lnTo>
                  <a:pt x="22" y="26"/>
                </a:lnTo>
                <a:close/>
              </a:path>
            </a:pathLst>
          </a:custGeom>
          <a:solidFill>
            <a:schemeClr val="accent3"/>
          </a:solidFill>
          <a:ln w="12700">
            <a:solidFill>
              <a:schemeClr val="bg1"/>
            </a:solidFill>
            <a:round/>
            <a:headEnd/>
            <a:tailEnd/>
          </a:ln>
        </p:spPr>
        <p:txBody>
          <a:bodyPr/>
          <a:lstStyle/>
          <a:p>
            <a:pPr>
              <a:defRPr/>
            </a:pPr>
            <a:endParaRPr lang="en-GB"/>
          </a:p>
        </p:txBody>
      </p:sp>
      <p:sp>
        <p:nvSpPr>
          <p:cNvPr id="11" name="Freeform 10"/>
          <p:cNvSpPr>
            <a:spLocks/>
          </p:cNvSpPr>
          <p:nvPr/>
        </p:nvSpPr>
        <p:spPr bwMode="auto">
          <a:xfrm>
            <a:off x="5213350" y="2333625"/>
            <a:ext cx="625475" cy="288925"/>
          </a:xfrm>
          <a:custGeom>
            <a:avLst/>
            <a:gdLst>
              <a:gd name="T0" fmla="*/ 0 w 327"/>
              <a:gd name="T1" fmla="*/ 84 h 152"/>
              <a:gd name="T2" fmla="*/ 101 w 327"/>
              <a:gd name="T3" fmla="*/ 0 h 152"/>
              <a:gd name="T4" fmla="*/ 84 w 327"/>
              <a:gd name="T5" fmla="*/ 34 h 152"/>
              <a:gd name="T6" fmla="*/ 98 w 327"/>
              <a:gd name="T7" fmla="*/ 45 h 152"/>
              <a:gd name="T8" fmla="*/ 129 w 327"/>
              <a:gd name="T9" fmla="*/ 31 h 152"/>
              <a:gd name="T10" fmla="*/ 198 w 327"/>
              <a:gd name="T11" fmla="*/ 52 h 152"/>
              <a:gd name="T12" fmla="*/ 229 w 327"/>
              <a:gd name="T13" fmla="*/ 34 h 152"/>
              <a:gd name="T14" fmla="*/ 325 w 327"/>
              <a:gd name="T15" fmla="*/ 25 h 152"/>
              <a:gd name="T16" fmla="*/ 342 w 327"/>
              <a:gd name="T17" fmla="*/ 46 h 152"/>
              <a:gd name="T18" fmla="*/ 377 w 327"/>
              <a:gd name="T19" fmla="*/ 41 h 152"/>
              <a:gd name="T20" fmla="*/ 451 w 327"/>
              <a:gd name="T21" fmla="*/ 64 h 152"/>
              <a:gd name="T22" fmla="*/ 454 w 327"/>
              <a:gd name="T23" fmla="*/ 80 h 152"/>
              <a:gd name="T24" fmla="*/ 376 w 327"/>
              <a:gd name="T25" fmla="*/ 94 h 152"/>
              <a:gd name="T26" fmla="*/ 355 w 327"/>
              <a:gd name="T27" fmla="*/ 84 h 152"/>
              <a:gd name="T28" fmla="*/ 315 w 327"/>
              <a:gd name="T29" fmla="*/ 87 h 152"/>
              <a:gd name="T30" fmla="*/ 270 w 327"/>
              <a:gd name="T31" fmla="*/ 108 h 152"/>
              <a:gd name="T32" fmla="*/ 248 w 327"/>
              <a:gd name="T33" fmla="*/ 109 h 152"/>
              <a:gd name="T34" fmla="*/ 230 w 327"/>
              <a:gd name="T35" fmla="*/ 94 h 152"/>
              <a:gd name="T36" fmla="*/ 206 w 327"/>
              <a:gd name="T37" fmla="*/ 151 h 152"/>
              <a:gd name="T38" fmla="*/ 177 w 327"/>
              <a:gd name="T39" fmla="*/ 152 h 152"/>
              <a:gd name="T40" fmla="*/ 164 w 327"/>
              <a:gd name="T41" fmla="*/ 129 h 152"/>
              <a:gd name="T42" fmla="*/ 102 w 327"/>
              <a:gd name="T43" fmla="*/ 119 h 152"/>
              <a:gd name="T44" fmla="*/ 75 w 327"/>
              <a:gd name="T45" fmla="*/ 102 h 152"/>
              <a:gd name="T46" fmla="*/ 26 w 327"/>
              <a:gd name="T47" fmla="*/ 108 h 152"/>
              <a:gd name="T48" fmla="*/ 0 w 327"/>
              <a:gd name="T49" fmla="*/ 84 h 1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27"/>
              <a:gd name="T76" fmla="*/ 0 h 152"/>
              <a:gd name="T77" fmla="*/ 327 w 327"/>
              <a:gd name="T78" fmla="*/ 152 h 1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27" h="152">
                <a:moveTo>
                  <a:pt x="0" y="84"/>
                </a:moveTo>
                <a:lnTo>
                  <a:pt x="73" y="0"/>
                </a:lnTo>
                <a:lnTo>
                  <a:pt x="60" y="34"/>
                </a:lnTo>
                <a:lnTo>
                  <a:pt x="70" y="45"/>
                </a:lnTo>
                <a:lnTo>
                  <a:pt x="93" y="31"/>
                </a:lnTo>
                <a:lnTo>
                  <a:pt x="143" y="52"/>
                </a:lnTo>
                <a:lnTo>
                  <a:pt x="165" y="34"/>
                </a:lnTo>
                <a:lnTo>
                  <a:pt x="233" y="25"/>
                </a:lnTo>
                <a:lnTo>
                  <a:pt x="246" y="46"/>
                </a:lnTo>
                <a:lnTo>
                  <a:pt x="272" y="41"/>
                </a:lnTo>
                <a:lnTo>
                  <a:pt x="324" y="64"/>
                </a:lnTo>
                <a:lnTo>
                  <a:pt x="327" y="80"/>
                </a:lnTo>
                <a:lnTo>
                  <a:pt x="271" y="94"/>
                </a:lnTo>
                <a:lnTo>
                  <a:pt x="255" y="84"/>
                </a:lnTo>
                <a:lnTo>
                  <a:pt x="227" y="87"/>
                </a:lnTo>
                <a:lnTo>
                  <a:pt x="194" y="108"/>
                </a:lnTo>
                <a:lnTo>
                  <a:pt x="178" y="109"/>
                </a:lnTo>
                <a:lnTo>
                  <a:pt x="166" y="94"/>
                </a:lnTo>
                <a:lnTo>
                  <a:pt x="148" y="151"/>
                </a:lnTo>
                <a:lnTo>
                  <a:pt x="127" y="152"/>
                </a:lnTo>
                <a:lnTo>
                  <a:pt x="118" y="129"/>
                </a:lnTo>
                <a:lnTo>
                  <a:pt x="74" y="119"/>
                </a:lnTo>
                <a:lnTo>
                  <a:pt x="54" y="102"/>
                </a:lnTo>
                <a:lnTo>
                  <a:pt x="18" y="108"/>
                </a:lnTo>
                <a:lnTo>
                  <a:pt x="0" y="84"/>
                </a:lnTo>
                <a:close/>
              </a:path>
            </a:pathLst>
          </a:custGeom>
          <a:solidFill>
            <a:schemeClr val="accent3"/>
          </a:solidFill>
          <a:ln w="12700">
            <a:solidFill>
              <a:schemeClr val="bg1"/>
            </a:solidFill>
            <a:round/>
            <a:headEnd/>
            <a:tailEnd/>
          </a:ln>
        </p:spPr>
        <p:txBody>
          <a:bodyPr/>
          <a:lstStyle/>
          <a:p>
            <a:pPr>
              <a:defRPr/>
            </a:pPr>
            <a:endParaRPr lang="en-GB"/>
          </a:p>
        </p:txBody>
      </p:sp>
      <p:sp>
        <p:nvSpPr>
          <p:cNvPr id="12" name="Freeform 11"/>
          <p:cNvSpPr>
            <a:spLocks/>
          </p:cNvSpPr>
          <p:nvPr/>
        </p:nvSpPr>
        <p:spPr bwMode="auto">
          <a:xfrm>
            <a:off x="5627688" y="2536825"/>
            <a:ext cx="444500" cy="649288"/>
          </a:xfrm>
          <a:custGeom>
            <a:avLst/>
            <a:gdLst>
              <a:gd name="T0" fmla="*/ 81 w 234"/>
              <a:gd name="T1" fmla="*/ 14 h 341"/>
              <a:gd name="T2" fmla="*/ 91 w 234"/>
              <a:gd name="T3" fmla="*/ 35 h 341"/>
              <a:gd name="T4" fmla="*/ 69 w 234"/>
              <a:gd name="T5" fmla="*/ 48 h 341"/>
              <a:gd name="T6" fmla="*/ 68 w 234"/>
              <a:gd name="T7" fmla="*/ 102 h 341"/>
              <a:gd name="T8" fmla="*/ 56 w 234"/>
              <a:gd name="T9" fmla="*/ 67 h 341"/>
              <a:gd name="T10" fmla="*/ 11 w 234"/>
              <a:gd name="T11" fmla="*/ 101 h 341"/>
              <a:gd name="T12" fmla="*/ 0 w 234"/>
              <a:gd name="T13" fmla="*/ 199 h 341"/>
              <a:gd name="T14" fmla="*/ 29 w 234"/>
              <a:gd name="T15" fmla="*/ 247 h 341"/>
              <a:gd name="T16" fmla="*/ 32 w 234"/>
              <a:gd name="T17" fmla="*/ 272 h 341"/>
              <a:gd name="T18" fmla="*/ 34 w 234"/>
              <a:gd name="T19" fmla="*/ 292 h 341"/>
              <a:gd name="T20" fmla="*/ 32 w 234"/>
              <a:gd name="T21" fmla="*/ 309 h 341"/>
              <a:gd name="T22" fmla="*/ 27 w 234"/>
              <a:gd name="T23" fmla="*/ 341 h 341"/>
              <a:gd name="T24" fmla="*/ 152 w 234"/>
              <a:gd name="T25" fmla="*/ 335 h 341"/>
              <a:gd name="T26" fmla="*/ 318 w 234"/>
              <a:gd name="T27" fmla="*/ 323 h 341"/>
              <a:gd name="T28" fmla="*/ 289 w 234"/>
              <a:gd name="T29" fmla="*/ 316 h 341"/>
              <a:gd name="T30" fmla="*/ 271 w 234"/>
              <a:gd name="T31" fmla="*/ 299 h 341"/>
              <a:gd name="T32" fmla="*/ 297 w 234"/>
              <a:gd name="T33" fmla="*/ 283 h 341"/>
              <a:gd name="T34" fmla="*/ 297 w 234"/>
              <a:gd name="T35" fmla="*/ 265 h 341"/>
              <a:gd name="T36" fmla="*/ 284 w 234"/>
              <a:gd name="T37" fmla="*/ 248 h 341"/>
              <a:gd name="T38" fmla="*/ 297 w 234"/>
              <a:gd name="T39" fmla="*/ 236 h 341"/>
              <a:gd name="T40" fmla="*/ 320 w 234"/>
              <a:gd name="T41" fmla="*/ 238 h 341"/>
              <a:gd name="T42" fmla="*/ 315 w 234"/>
              <a:gd name="T43" fmla="*/ 191 h 341"/>
              <a:gd name="T44" fmla="*/ 308 w 234"/>
              <a:gd name="T45" fmla="*/ 162 h 341"/>
              <a:gd name="T46" fmla="*/ 296 w 234"/>
              <a:gd name="T47" fmla="*/ 145 h 341"/>
              <a:gd name="T48" fmla="*/ 282 w 234"/>
              <a:gd name="T49" fmla="*/ 134 h 341"/>
              <a:gd name="T50" fmla="*/ 262 w 234"/>
              <a:gd name="T51" fmla="*/ 131 h 341"/>
              <a:gd name="T52" fmla="*/ 242 w 234"/>
              <a:gd name="T53" fmla="*/ 131 h 341"/>
              <a:gd name="T54" fmla="*/ 219 w 234"/>
              <a:gd name="T55" fmla="*/ 153 h 341"/>
              <a:gd name="T56" fmla="*/ 207 w 234"/>
              <a:gd name="T57" fmla="*/ 160 h 341"/>
              <a:gd name="T58" fmla="*/ 199 w 234"/>
              <a:gd name="T59" fmla="*/ 162 h 341"/>
              <a:gd name="T60" fmla="*/ 187 w 234"/>
              <a:gd name="T61" fmla="*/ 159 h 341"/>
              <a:gd name="T62" fmla="*/ 185 w 234"/>
              <a:gd name="T63" fmla="*/ 148 h 341"/>
              <a:gd name="T64" fmla="*/ 187 w 234"/>
              <a:gd name="T65" fmla="*/ 141 h 341"/>
              <a:gd name="T66" fmla="*/ 198 w 234"/>
              <a:gd name="T67" fmla="*/ 134 h 341"/>
              <a:gd name="T68" fmla="*/ 205 w 234"/>
              <a:gd name="T69" fmla="*/ 131 h 341"/>
              <a:gd name="T70" fmla="*/ 215 w 234"/>
              <a:gd name="T71" fmla="*/ 129 h 341"/>
              <a:gd name="T72" fmla="*/ 215 w 234"/>
              <a:gd name="T73" fmla="*/ 117 h 341"/>
              <a:gd name="T74" fmla="*/ 239 w 234"/>
              <a:gd name="T75" fmla="*/ 102 h 341"/>
              <a:gd name="T76" fmla="*/ 215 w 234"/>
              <a:gd name="T77" fmla="*/ 58 h 341"/>
              <a:gd name="T78" fmla="*/ 215 w 234"/>
              <a:gd name="T79" fmla="*/ 37 h 341"/>
              <a:gd name="T80" fmla="*/ 174 w 234"/>
              <a:gd name="T81" fmla="*/ 28 h 341"/>
              <a:gd name="T82" fmla="*/ 116 w 234"/>
              <a:gd name="T83" fmla="*/ 0 h 341"/>
              <a:gd name="T84" fmla="*/ 81 w 234"/>
              <a:gd name="T85" fmla="*/ 14 h 34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4"/>
              <a:gd name="T130" fmla="*/ 0 h 341"/>
              <a:gd name="T131" fmla="*/ 234 w 234"/>
              <a:gd name="T132" fmla="*/ 341 h 34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4" h="341">
                <a:moveTo>
                  <a:pt x="59" y="14"/>
                </a:moveTo>
                <a:lnTo>
                  <a:pt x="67" y="35"/>
                </a:lnTo>
                <a:lnTo>
                  <a:pt x="51" y="48"/>
                </a:lnTo>
                <a:lnTo>
                  <a:pt x="50" y="102"/>
                </a:lnTo>
                <a:lnTo>
                  <a:pt x="41" y="67"/>
                </a:lnTo>
                <a:lnTo>
                  <a:pt x="7" y="101"/>
                </a:lnTo>
                <a:lnTo>
                  <a:pt x="0" y="199"/>
                </a:lnTo>
                <a:lnTo>
                  <a:pt x="21" y="247"/>
                </a:lnTo>
                <a:lnTo>
                  <a:pt x="24" y="272"/>
                </a:lnTo>
                <a:lnTo>
                  <a:pt x="25" y="292"/>
                </a:lnTo>
                <a:lnTo>
                  <a:pt x="24" y="309"/>
                </a:lnTo>
                <a:lnTo>
                  <a:pt x="19" y="341"/>
                </a:lnTo>
                <a:lnTo>
                  <a:pt x="111" y="335"/>
                </a:lnTo>
                <a:lnTo>
                  <a:pt x="233" y="323"/>
                </a:lnTo>
                <a:lnTo>
                  <a:pt x="211" y="316"/>
                </a:lnTo>
                <a:lnTo>
                  <a:pt x="199" y="299"/>
                </a:lnTo>
                <a:lnTo>
                  <a:pt x="217" y="283"/>
                </a:lnTo>
                <a:lnTo>
                  <a:pt x="217" y="265"/>
                </a:lnTo>
                <a:lnTo>
                  <a:pt x="208" y="248"/>
                </a:lnTo>
                <a:lnTo>
                  <a:pt x="217" y="236"/>
                </a:lnTo>
                <a:lnTo>
                  <a:pt x="234" y="238"/>
                </a:lnTo>
                <a:lnTo>
                  <a:pt x="230" y="191"/>
                </a:lnTo>
                <a:lnTo>
                  <a:pt x="226" y="162"/>
                </a:lnTo>
                <a:lnTo>
                  <a:pt x="216" y="145"/>
                </a:lnTo>
                <a:lnTo>
                  <a:pt x="206" y="134"/>
                </a:lnTo>
                <a:lnTo>
                  <a:pt x="191" y="131"/>
                </a:lnTo>
                <a:lnTo>
                  <a:pt x="177" y="131"/>
                </a:lnTo>
                <a:lnTo>
                  <a:pt x="161" y="153"/>
                </a:lnTo>
                <a:lnTo>
                  <a:pt x="152" y="160"/>
                </a:lnTo>
                <a:lnTo>
                  <a:pt x="145" y="162"/>
                </a:lnTo>
                <a:lnTo>
                  <a:pt x="137" y="159"/>
                </a:lnTo>
                <a:lnTo>
                  <a:pt x="135" y="148"/>
                </a:lnTo>
                <a:lnTo>
                  <a:pt x="137" y="141"/>
                </a:lnTo>
                <a:lnTo>
                  <a:pt x="144" y="134"/>
                </a:lnTo>
                <a:lnTo>
                  <a:pt x="151" y="131"/>
                </a:lnTo>
                <a:lnTo>
                  <a:pt x="157" y="129"/>
                </a:lnTo>
                <a:lnTo>
                  <a:pt x="157" y="117"/>
                </a:lnTo>
                <a:lnTo>
                  <a:pt x="175" y="102"/>
                </a:lnTo>
                <a:lnTo>
                  <a:pt x="157" y="58"/>
                </a:lnTo>
                <a:lnTo>
                  <a:pt x="157" y="37"/>
                </a:lnTo>
                <a:lnTo>
                  <a:pt x="128" y="28"/>
                </a:lnTo>
                <a:lnTo>
                  <a:pt x="85" y="0"/>
                </a:lnTo>
                <a:lnTo>
                  <a:pt x="59" y="14"/>
                </a:lnTo>
                <a:close/>
              </a:path>
            </a:pathLst>
          </a:custGeom>
          <a:solidFill>
            <a:schemeClr val="accent3"/>
          </a:solidFill>
          <a:ln w="12700">
            <a:solidFill>
              <a:schemeClr val="bg1"/>
            </a:solidFill>
            <a:round/>
            <a:headEnd/>
            <a:tailEnd/>
          </a:ln>
        </p:spPr>
        <p:txBody>
          <a:bodyPr/>
          <a:lstStyle/>
          <a:p>
            <a:pPr>
              <a:defRPr/>
            </a:pPr>
            <a:endParaRPr lang="en-GB"/>
          </a:p>
        </p:txBody>
      </p:sp>
      <p:sp>
        <p:nvSpPr>
          <p:cNvPr id="13" name="Freeform 12"/>
          <p:cNvSpPr>
            <a:spLocks/>
          </p:cNvSpPr>
          <p:nvPr/>
        </p:nvSpPr>
        <p:spPr bwMode="auto">
          <a:xfrm>
            <a:off x="6194425" y="4090988"/>
            <a:ext cx="571500" cy="485775"/>
          </a:xfrm>
          <a:custGeom>
            <a:avLst/>
            <a:gdLst>
              <a:gd name="T0" fmla="*/ 15 w 300"/>
              <a:gd name="T1" fmla="*/ 46 h 255"/>
              <a:gd name="T2" fmla="*/ 48 w 300"/>
              <a:gd name="T3" fmla="*/ 21 h 255"/>
              <a:gd name="T4" fmla="*/ 171 w 300"/>
              <a:gd name="T5" fmla="*/ 0 h 255"/>
              <a:gd name="T6" fmla="*/ 210 w 300"/>
              <a:gd name="T7" fmla="*/ 14 h 255"/>
              <a:gd name="T8" fmla="*/ 288 w 300"/>
              <a:gd name="T9" fmla="*/ 4 h 255"/>
              <a:gd name="T10" fmla="*/ 353 w 300"/>
              <a:gd name="T11" fmla="*/ 40 h 255"/>
              <a:gd name="T12" fmla="*/ 413 w 300"/>
              <a:gd name="T13" fmla="*/ 68 h 255"/>
              <a:gd name="T14" fmla="*/ 380 w 300"/>
              <a:gd name="T15" fmla="*/ 145 h 255"/>
              <a:gd name="T16" fmla="*/ 331 w 300"/>
              <a:gd name="T17" fmla="*/ 183 h 255"/>
              <a:gd name="T18" fmla="*/ 276 w 300"/>
              <a:gd name="T19" fmla="*/ 195 h 255"/>
              <a:gd name="T20" fmla="*/ 286 w 300"/>
              <a:gd name="T21" fmla="*/ 226 h 255"/>
              <a:gd name="T22" fmla="*/ 253 w 300"/>
              <a:gd name="T23" fmla="*/ 255 h 255"/>
              <a:gd name="T24" fmla="*/ 192 w 300"/>
              <a:gd name="T25" fmla="*/ 183 h 255"/>
              <a:gd name="T26" fmla="*/ 28 w 300"/>
              <a:gd name="T27" fmla="*/ 68 h 255"/>
              <a:gd name="T28" fmla="*/ 0 w 300"/>
              <a:gd name="T29" fmla="*/ 68 h 255"/>
              <a:gd name="T30" fmla="*/ 15 w 300"/>
              <a:gd name="T31" fmla="*/ 46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0"/>
              <a:gd name="T49" fmla="*/ 0 h 255"/>
              <a:gd name="T50" fmla="*/ 300 w 300"/>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0" h="255">
                <a:moveTo>
                  <a:pt x="11" y="46"/>
                </a:moveTo>
                <a:lnTo>
                  <a:pt x="35" y="21"/>
                </a:lnTo>
                <a:lnTo>
                  <a:pt x="125" y="0"/>
                </a:lnTo>
                <a:lnTo>
                  <a:pt x="152" y="14"/>
                </a:lnTo>
                <a:lnTo>
                  <a:pt x="210" y="4"/>
                </a:lnTo>
                <a:lnTo>
                  <a:pt x="257" y="40"/>
                </a:lnTo>
                <a:lnTo>
                  <a:pt x="300" y="68"/>
                </a:lnTo>
                <a:lnTo>
                  <a:pt x="276" y="145"/>
                </a:lnTo>
                <a:lnTo>
                  <a:pt x="240" y="183"/>
                </a:lnTo>
                <a:lnTo>
                  <a:pt x="200" y="195"/>
                </a:lnTo>
                <a:lnTo>
                  <a:pt x="208" y="226"/>
                </a:lnTo>
                <a:lnTo>
                  <a:pt x="184" y="255"/>
                </a:lnTo>
                <a:lnTo>
                  <a:pt x="138" y="183"/>
                </a:lnTo>
                <a:lnTo>
                  <a:pt x="20" y="68"/>
                </a:lnTo>
                <a:lnTo>
                  <a:pt x="0" y="68"/>
                </a:lnTo>
                <a:lnTo>
                  <a:pt x="11" y="46"/>
                </a:lnTo>
                <a:close/>
              </a:path>
            </a:pathLst>
          </a:custGeom>
          <a:solidFill>
            <a:schemeClr val="accent3"/>
          </a:solidFill>
          <a:ln w="12700">
            <a:solidFill>
              <a:schemeClr val="bg1"/>
            </a:solidFill>
            <a:round/>
            <a:headEnd/>
            <a:tailEnd/>
          </a:ln>
        </p:spPr>
        <p:txBody>
          <a:bodyPr/>
          <a:lstStyle/>
          <a:p>
            <a:pPr>
              <a:defRPr/>
            </a:pPr>
            <a:endParaRPr lang="en-GB"/>
          </a:p>
        </p:txBody>
      </p:sp>
      <p:sp>
        <p:nvSpPr>
          <p:cNvPr id="14" name="Freeform 13"/>
          <p:cNvSpPr>
            <a:spLocks/>
          </p:cNvSpPr>
          <p:nvPr/>
        </p:nvSpPr>
        <p:spPr bwMode="auto">
          <a:xfrm>
            <a:off x="6121400" y="3375025"/>
            <a:ext cx="860425" cy="576263"/>
          </a:xfrm>
          <a:custGeom>
            <a:avLst/>
            <a:gdLst>
              <a:gd name="T0" fmla="*/ 102 w 452"/>
              <a:gd name="T1" fmla="*/ 211 h 302"/>
              <a:gd name="T2" fmla="*/ 83 w 452"/>
              <a:gd name="T3" fmla="*/ 242 h 302"/>
              <a:gd name="T4" fmla="*/ 57 w 452"/>
              <a:gd name="T5" fmla="*/ 250 h 302"/>
              <a:gd name="T6" fmla="*/ 56 w 452"/>
              <a:gd name="T7" fmla="*/ 270 h 302"/>
              <a:gd name="T8" fmla="*/ 2 w 452"/>
              <a:gd name="T9" fmla="*/ 286 h 302"/>
              <a:gd name="T10" fmla="*/ 0 w 452"/>
              <a:gd name="T11" fmla="*/ 302 h 302"/>
              <a:gd name="T12" fmla="*/ 146 w 452"/>
              <a:gd name="T13" fmla="*/ 282 h 302"/>
              <a:gd name="T14" fmla="*/ 414 w 452"/>
              <a:gd name="T15" fmla="*/ 238 h 302"/>
              <a:gd name="T16" fmla="*/ 619 w 452"/>
              <a:gd name="T17" fmla="*/ 200 h 302"/>
              <a:gd name="T18" fmla="*/ 619 w 452"/>
              <a:gd name="T19" fmla="*/ 169 h 302"/>
              <a:gd name="T20" fmla="*/ 597 w 452"/>
              <a:gd name="T21" fmla="*/ 160 h 302"/>
              <a:gd name="T22" fmla="*/ 578 w 452"/>
              <a:gd name="T23" fmla="*/ 175 h 302"/>
              <a:gd name="T24" fmla="*/ 568 w 452"/>
              <a:gd name="T25" fmla="*/ 134 h 302"/>
              <a:gd name="T26" fmla="*/ 578 w 452"/>
              <a:gd name="T27" fmla="*/ 97 h 302"/>
              <a:gd name="T28" fmla="*/ 501 w 452"/>
              <a:gd name="T29" fmla="*/ 70 h 302"/>
              <a:gd name="T30" fmla="*/ 449 w 452"/>
              <a:gd name="T31" fmla="*/ 77 h 302"/>
              <a:gd name="T32" fmla="*/ 448 w 452"/>
              <a:gd name="T33" fmla="*/ 21 h 302"/>
              <a:gd name="T34" fmla="*/ 396 w 452"/>
              <a:gd name="T35" fmla="*/ 0 h 302"/>
              <a:gd name="T36" fmla="*/ 354 w 452"/>
              <a:gd name="T37" fmla="*/ 13 h 302"/>
              <a:gd name="T38" fmla="*/ 326 w 452"/>
              <a:gd name="T39" fmla="*/ 66 h 302"/>
              <a:gd name="T40" fmla="*/ 278 w 452"/>
              <a:gd name="T41" fmla="*/ 87 h 302"/>
              <a:gd name="T42" fmla="*/ 259 w 452"/>
              <a:gd name="T43" fmla="*/ 170 h 302"/>
              <a:gd name="T44" fmla="*/ 182 w 452"/>
              <a:gd name="T45" fmla="*/ 211 h 302"/>
              <a:gd name="T46" fmla="*/ 118 w 452"/>
              <a:gd name="T47" fmla="*/ 228 h 302"/>
              <a:gd name="T48" fmla="*/ 102 w 452"/>
              <a:gd name="T49" fmla="*/ 211 h 30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52"/>
              <a:gd name="T76" fmla="*/ 0 h 302"/>
              <a:gd name="T77" fmla="*/ 452 w 452"/>
              <a:gd name="T78" fmla="*/ 302 h 30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52" h="302">
                <a:moveTo>
                  <a:pt x="74" y="211"/>
                </a:moveTo>
                <a:lnTo>
                  <a:pt x="61" y="242"/>
                </a:lnTo>
                <a:lnTo>
                  <a:pt x="42" y="250"/>
                </a:lnTo>
                <a:lnTo>
                  <a:pt x="41" y="270"/>
                </a:lnTo>
                <a:lnTo>
                  <a:pt x="2" y="286"/>
                </a:lnTo>
                <a:lnTo>
                  <a:pt x="0" y="302"/>
                </a:lnTo>
                <a:lnTo>
                  <a:pt x="107" y="282"/>
                </a:lnTo>
                <a:lnTo>
                  <a:pt x="302" y="238"/>
                </a:lnTo>
                <a:lnTo>
                  <a:pt x="452" y="200"/>
                </a:lnTo>
                <a:lnTo>
                  <a:pt x="452" y="169"/>
                </a:lnTo>
                <a:lnTo>
                  <a:pt x="435" y="160"/>
                </a:lnTo>
                <a:lnTo>
                  <a:pt x="422" y="175"/>
                </a:lnTo>
                <a:lnTo>
                  <a:pt x="414" y="134"/>
                </a:lnTo>
                <a:lnTo>
                  <a:pt x="422" y="97"/>
                </a:lnTo>
                <a:lnTo>
                  <a:pt x="366" y="70"/>
                </a:lnTo>
                <a:lnTo>
                  <a:pt x="328" y="77"/>
                </a:lnTo>
                <a:lnTo>
                  <a:pt x="327" y="21"/>
                </a:lnTo>
                <a:lnTo>
                  <a:pt x="288" y="0"/>
                </a:lnTo>
                <a:lnTo>
                  <a:pt x="258" y="13"/>
                </a:lnTo>
                <a:lnTo>
                  <a:pt x="238" y="66"/>
                </a:lnTo>
                <a:lnTo>
                  <a:pt x="203" y="87"/>
                </a:lnTo>
                <a:lnTo>
                  <a:pt x="189" y="170"/>
                </a:lnTo>
                <a:lnTo>
                  <a:pt x="132" y="211"/>
                </a:lnTo>
                <a:lnTo>
                  <a:pt x="86" y="228"/>
                </a:lnTo>
                <a:lnTo>
                  <a:pt x="74" y="211"/>
                </a:lnTo>
                <a:close/>
              </a:path>
            </a:pathLst>
          </a:custGeom>
          <a:solidFill>
            <a:schemeClr val="accent3"/>
          </a:solidFill>
          <a:ln w="12700">
            <a:solidFill>
              <a:schemeClr val="bg1"/>
            </a:solidFill>
            <a:round/>
            <a:headEnd/>
            <a:tailEnd/>
          </a:ln>
        </p:spPr>
        <p:txBody>
          <a:bodyPr/>
          <a:lstStyle/>
          <a:p>
            <a:pPr>
              <a:defRPr/>
            </a:pPr>
            <a:endParaRPr lang="en-GB"/>
          </a:p>
        </p:txBody>
      </p:sp>
      <p:sp>
        <p:nvSpPr>
          <p:cNvPr id="15" name="Freeform 14"/>
          <p:cNvSpPr>
            <a:spLocks/>
          </p:cNvSpPr>
          <p:nvPr/>
        </p:nvSpPr>
        <p:spPr bwMode="auto">
          <a:xfrm>
            <a:off x="6289675" y="2908300"/>
            <a:ext cx="660400" cy="466725"/>
          </a:xfrm>
          <a:custGeom>
            <a:avLst/>
            <a:gdLst>
              <a:gd name="T0" fmla="*/ 44 w 347"/>
              <a:gd name="T1" fmla="*/ 36 h 245"/>
              <a:gd name="T2" fmla="*/ 0 w 347"/>
              <a:gd name="T3" fmla="*/ 68 h 245"/>
              <a:gd name="T4" fmla="*/ 26 w 347"/>
              <a:gd name="T5" fmla="*/ 187 h 245"/>
              <a:gd name="T6" fmla="*/ 44 w 347"/>
              <a:gd name="T7" fmla="*/ 245 h 245"/>
              <a:gd name="T8" fmla="*/ 126 w 347"/>
              <a:gd name="T9" fmla="*/ 240 h 245"/>
              <a:gd name="T10" fmla="*/ 427 w 347"/>
              <a:gd name="T11" fmla="*/ 195 h 245"/>
              <a:gd name="T12" fmla="*/ 448 w 347"/>
              <a:gd name="T13" fmla="*/ 188 h 245"/>
              <a:gd name="T14" fmla="*/ 478 w 347"/>
              <a:gd name="T15" fmla="*/ 133 h 245"/>
              <a:gd name="T16" fmla="*/ 432 w 347"/>
              <a:gd name="T17" fmla="*/ 103 h 245"/>
              <a:gd name="T18" fmla="*/ 458 w 347"/>
              <a:gd name="T19" fmla="*/ 32 h 245"/>
              <a:gd name="T20" fmla="*/ 424 w 347"/>
              <a:gd name="T21" fmla="*/ 25 h 245"/>
              <a:gd name="T22" fmla="*/ 424 w 347"/>
              <a:gd name="T23" fmla="*/ 7 h 245"/>
              <a:gd name="T24" fmla="*/ 409 w 347"/>
              <a:gd name="T25" fmla="*/ 0 h 245"/>
              <a:gd name="T26" fmla="*/ 59 w 347"/>
              <a:gd name="T27" fmla="*/ 51 h 245"/>
              <a:gd name="T28" fmla="*/ 44 w 347"/>
              <a:gd name="T29" fmla="*/ 36 h 2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7"/>
              <a:gd name="T46" fmla="*/ 0 h 245"/>
              <a:gd name="T47" fmla="*/ 347 w 347"/>
              <a:gd name="T48" fmla="*/ 245 h 2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7" h="245">
                <a:moveTo>
                  <a:pt x="32" y="36"/>
                </a:moveTo>
                <a:lnTo>
                  <a:pt x="0" y="68"/>
                </a:lnTo>
                <a:lnTo>
                  <a:pt x="18" y="187"/>
                </a:lnTo>
                <a:lnTo>
                  <a:pt x="32" y="245"/>
                </a:lnTo>
                <a:lnTo>
                  <a:pt x="91" y="240"/>
                </a:lnTo>
                <a:lnTo>
                  <a:pt x="310" y="195"/>
                </a:lnTo>
                <a:lnTo>
                  <a:pt x="325" y="188"/>
                </a:lnTo>
                <a:lnTo>
                  <a:pt x="347" y="133"/>
                </a:lnTo>
                <a:lnTo>
                  <a:pt x="314" y="103"/>
                </a:lnTo>
                <a:lnTo>
                  <a:pt x="332" y="32"/>
                </a:lnTo>
                <a:lnTo>
                  <a:pt x="307" y="25"/>
                </a:lnTo>
                <a:lnTo>
                  <a:pt x="307" y="7"/>
                </a:lnTo>
                <a:lnTo>
                  <a:pt x="296" y="0"/>
                </a:lnTo>
                <a:lnTo>
                  <a:pt x="42" y="51"/>
                </a:lnTo>
                <a:lnTo>
                  <a:pt x="32" y="36"/>
                </a:lnTo>
                <a:close/>
              </a:path>
            </a:pathLst>
          </a:custGeom>
          <a:solidFill>
            <a:schemeClr val="accent3"/>
          </a:solidFill>
          <a:ln w="12700">
            <a:solidFill>
              <a:schemeClr val="bg1"/>
            </a:solidFill>
            <a:round/>
            <a:headEnd/>
            <a:tailEnd/>
          </a:ln>
        </p:spPr>
        <p:txBody>
          <a:bodyPr/>
          <a:lstStyle/>
          <a:p>
            <a:pPr>
              <a:defRPr/>
            </a:pPr>
            <a:endParaRPr lang="en-GB"/>
          </a:p>
        </p:txBody>
      </p:sp>
      <p:sp>
        <p:nvSpPr>
          <p:cNvPr id="16" name="Freeform 15"/>
          <p:cNvSpPr>
            <a:spLocks/>
          </p:cNvSpPr>
          <p:nvPr/>
        </p:nvSpPr>
        <p:spPr bwMode="auto">
          <a:xfrm>
            <a:off x="6453188" y="3279775"/>
            <a:ext cx="561975" cy="249238"/>
          </a:xfrm>
          <a:custGeom>
            <a:avLst/>
            <a:gdLst>
              <a:gd name="T0" fmla="*/ 0 w 295"/>
              <a:gd name="T1" fmla="*/ 45 h 131"/>
              <a:gd name="T2" fmla="*/ 305 w 295"/>
              <a:gd name="T3" fmla="*/ 0 h 131"/>
              <a:gd name="T4" fmla="*/ 356 w 295"/>
              <a:gd name="T5" fmla="*/ 90 h 131"/>
              <a:gd name="T6" fmla="*/ 407 w 295"/>
              <a:gd name="T7" fmla="*/ 80 h 131"/>
              <a:gd name="T8" fmla="*/ 408 w 295"/>
              <a:gd name="T9" fmla="*/ 125 h 131"/>
              <a:gd name="T10" fmla="*/ 364 w 295"/>
              <a:gd name="T11" fmla="*/ 131 h 131"/>
              <a:gd name="T12" fmla="*/ 329 w 295"/>
              <a:gd name="T13" fmla="*/ 102 h 131"/>
              <a:gd name="T14" fmla="*/ 305 w 295"/>
              <a:gd name="T15" fmla="*/ 66 h 131"/>
              <a:gd name="T16" fmla="*/ 299 w 295"/>
              <a:gd name="T17" fmla="*/ 17 h 131"/>
              <a:gd name="T18" fmla="*/ 281 w 295"/>
              <a:gd name="T19" fmla="*/ 42 h 131"/>
              <a:gd name="T20" fmla="*/ 304 w 295"/>
              <a:gd name="T21" fmla="*/ 116 h 131"/>
              <a:gd name="T22" fmla="*/ 213 w 295"/>
              <a:gd name="T23" fmla="*/ 126 h 131"/>
              <a:gd name="T24" fmla="*/ 210 w 295"/>
              <a:gd name="T25" fmla="*/ 72 h 131"/>
              <a:gd name="T26" fmla="*/ 154 w 295"/>
              <a:gd name="T27" fmla="*/ 49 h 131"/>
              <a:gd name="T28" fmla="*/ 110 w 295"/>
              <a:gd name="T29" fmla="*/ 43 h 131"/>
              <a:gd name="T30" fmla="*/ 12 w 295"/>
              <a:gd name="T31" fmla="*/ 80 h 131"/>
              <a:gd name="T32" fmla="*/ 0 w 295"/>
              <a:gd name="T33" fmla="*/ 45 h 1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5"/>
              <a:gd name="T52" fmla="*/ 0 h 131"/>
              <a:gd name="T53" fmla="*/ 295 w 295"/>
              <a:gd name="T54" fmla="*/ 131 h 13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5" h="131">
                <a:moveTo>
                  <a:pt x="0" y="45"/>
                </a:moveTo>
                <a:lnTo>
                  <a:pt x="220" y="0"/>
                </a:lnTo>
                <a:lnTo>
                  <a:pt x="256" y="90"/>
                </a:lnTo>
                <a:lnTo>
                  <a:pt x="294" y="80"/>
                </a:lnTo>
                <a:lnTo>
                  <a:pt x="295" y="125"/>
                </a:lnTo>
                <a:lnTo>
                  <a:pt x="264" y="131"/>
                </a:lnTo>
                <a:lnTo>
                  <a:pt x="237" y="102"/>
                </a:lnTo>
                <a:lnTo>
                  <a:pt x="220" y="66"/>
                </a:lnTo>
                <a:lnTo>
                  <a:pt x="216" y="17"/>
                </a:lnTo>
                <a:lnTo>
                  <a:pt x="203" y="42"/>
                </a:lnTo>
                <a:lnTo>
                  <a:pt x="219" y="116"/>
                </a:lnTo>
                <a:lnTo>
                  <a:pt x="154" y="126"/>
                </a:lnTo>
                <a:lnTo>
                  <a:pt x="152" y="72"/>
                </a:lnTo>
                <a:lnTo>
                  <a:pt x="112" y="49"/>
                </a:lnTo>
                <a:lnTo>
                  <a:pt x="79" y="43"/>
                </a:lnTo>
                <a:lnTo>
                  <a:pt x="8" y="80"/>
                </a:lnTo>
                <a:lnTo>
                  <a:pt x="0" y="45"/>
                </a:lnTo>
                <a:close/>
              </a:path>
            </a:pathLst>
          </a:custGeom>
          <a:solidFill>
            <a:schemeClr val="accent3"/>
          </a:solidFill>
          <a:ln w="12700">
            <a:solidFill>
              <a:schemeClr val="bg1"/>
            </a:solidFill>
            <a:round/>
            <a:headEnd/>
            <a:tailEnd/>
          </a:ln>
        </p:spPr>
        <p:txBody>
          <a:bodyPr/>
          <a:lstStyle/>
          <a:p>
            <a:pPr>
              <a:defRPr/>
            </a:pPr>
            <a:endParaRPr lang="en-GB"/>
          </a:p>
        </p:txBody>
      </p:sp>
      <p:sp>
        <p:nvSpPr>
          <p:cNvPr id="17" name="Freeform 16"/>
          <p:cNvSpPr>
            <a:spLocks/>
          </p:cNvSpPr>
          <p:nvPr/>
        </p:nvSpPr>
        <p:spPr bwMode="auto">
          <a:xfrm>
            <a:off x="2689225" y="2052638"/>
            <a:ext cx="1155700" cy="776287"/>
          </a:xfrm>
          <a:custGeom>
            <a:avLst/>
            <a:gdLst>
              <a:gd name="T0" fmla="*/ 14 w 607"/>
              <a:gd name="T1" fmla="*/ 0 h 407"/>
              <a:gd name="T2" fmla="*/ 179 w 607"/>
              <a:gd name="T3" fmla="*/ 17 h 407"/>
              <a:gd name="T4" fmla="*/ 278 w 607"/>
              <a:gd name="T5" fmla="*/ 27 h 407"/>
              <a:gd name="T6" fmla="*/ 407 w 607"/>
              <a:gd name="T7" fmla="*/ 38 h 407"/>
              <a:gd name="T8" fmla="*/ 527 w 607"/>
              <a:gd name="T9" fmla="*/ 47 h 407"/>
              <a:gd name="T10" fmla="*/ 736 w 607"/>
              <a:gd name="T11" fmla="*/ 59 h 407"/>
              <a:gd name="T12" fmla="*/ 833 w 607"/>
              <a:gd name="T13" fmla="*/ 65 h 407"/>
              <a:gd name="T14" fmla="*/ 830 w 607"/>
              <a:gd name="T15" fmla="*/ 396 h 407"/>
              <a:gd name="T16" fmla="*/ 319 w 607"/>
              <a:gd name="T17" fmla="*/ 362 h 407"/>
              <a:gd name="T18" fmla="*/ 311 w 607"/>
              <a:gd name="T19" fmla="*/ 407 h 407"/>
              <a:gd name="T20" fmla="*/ 289 w 607"/>
              <a:gd name="T21" fmla="*/ 386 h 407"/>
              <a:gd name="T22" fmla="*/ 245 w 607"/>
              <a:gd name="T23" fmla="*/ 389 h 407"/>
              <a:gd name="T24" fmla="*/ 175 w 607"/>
              <a:gd name="T25" fmla="*/ 398 h 407"/>
              <a:gd name="T26" fmla="*/ 166 w 607"/>
              <a:gd name="T27" fmla="*/ 340 h 407"/>
              <a:gd name="T28" fmla="*/ 86 w 607"/>
              <a:gd name="T29" fmla="*/ 294 h 407"/>
              <a:gd name="T30" fmla="*/ 96 w 607"/>
              <a:gd name="T31" fmla="*/ 251 h 407"/>
              <a:gd name="T32" fmla="*/ 104 w 607"/>
              <a:gd name="T33" fmla="*/ 215 h 407"/>
              <a:gd name="T34" fmla="*/ 0 w 607"/>
              <a:gd name="T35" fmla="*/ 101 h 407"/>
              <a:gd name="T36" fmla="*/ 14 w 607"/>
              <a:gd name="T37" fmla="*/ 0 h 4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407"/>
              <a:gd name="T59" fmla="*/ 607 w 607"/>
              <a:gd name="T60" fmla="*/ 407 h 4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407">
                <a:moveTo>
                  <a:pt x="10" y="0"/>
                </a:moveTo>
                <a:lnTo>
                  <a:pt x="129" y="17"/>
                </a:lnTo>
                <a:lnTo>
                  <a:pt x="202" y="27"/>
                </a:lnTo>
                <a:lnTo>
                  <a:pt x="297" y="38"/>
                </a:lnTo>
                <a:lnTo>
                  <a:pt x="384" y="47"/>
                </a:lnTo>
                <a:lnTo>
                  <a:pt x="536" y="59"/>
                </a:lnTo>
                <a:lnTo>
                  <a:pt x="607" y="65"/>
                </a:lnTo>
                <a:lnTo>
                  <a:pt x="605" y="396"/>
                </a:lnTo>
                <a:lnTo>
                  <a:pt x="233" y="362"/>
                </a:lnTo>
                <a:lnTo>
                  <a:pt x="226" y="407"/>
                </a:lnTo>
                <a:lnTo>
                  <a:pt x="211" y="386"/>
                </a:lnTo>
                <a:lnTo>
                  <a:pt x="178" y="389"/>
                </a:lnTo>
                <a:lnTo>
                  <a:pt x="128" y="398"/>
                </a:lnTo>
                <a:lnTo>
                  <a:pt x="120" y="340"/>
                </a:lnTo>
                <a:lnTo>
                  <a:pt x="62" y="294"/>
                </a:lnTo>
                <a:lnTo>
                  <a:pt x="70" y="251"/>
                </a:lnTo>
                <a:lnTo>
                  <a:pt x="76" y="215"/>
                </a:lnTo>
                <a:lnTo>
                  <a:pt x="0" y="101"/>
                </a:lnTo>
                <a:lnTo>
                  <a:pt x="10" y="0"/>
                </a:lnTo>
                <a:close/>
              </a:path>
            </a:pathLst>
          </a:custGeom>
          <a:solidFill>
            <a:schemeClr val="accent3"/>
          </a:solidFill>
          <a:ln w="12700">
            <a:solidFill>
              <a:schemeClr val="bg1"/>
            </a:solidFill>
            <a:round/>
            <a:headEnd/>
            <a:tailEnd/>
          </a:ln>
        </p:spPr>
        <p:txBody>
          <a:bodyPr/>
          <a:lstStyle/>
          <a:p>
            <a:pPr>
              <a:defRPr/>
            </a:pPr>
            <a:endParaRPr lang="en-GB"/>
          </a:p>
        </p:txBody>
      </p:sp>
      <p:sp>
        <p:nvSpPr>
          <p:cNvPr id="18" name="Freeform 17"/>
          <p:cNvSpPr>
            <a:spLocks/>
          </p:cNvSpPr>
          <p:nvPr/>
        </p:nvSpPr>
        <p:spPr bwMode="auto">
          <a:xfrm>
            <a:off x="4710113" y="3459163"/>
            <a:ext cx="768350" cy="679450"/>
          </a:xfrm>
          <a:custGeom>
            <a:avLst/>
            <a:gdLst>
              <a:gd name="T0" fmla="*/ 0 w 403"/>
              <a:gd name="T1" fmla="*/ 12 h 357"/>
              <a:gd name="T2" fmla="*/ 241 w 403"/>
              <a:gd name="T3" fmla="*/ 0 h 357"/>
              <a:gd name="T4" fmla="*/ 294 w 403"/>
              <a:gd name="T5" fmla="*/ 0 h 357"/>
              <a:gd name="T6" fmla="*/ 331 w 403"/>
              <a:gd name="T7" fmla="*/ 11 h 357"/>
              <a:gd name="T8" fmla="*/ 312 w 403"/>
              <a:gd name="T9" fmla="*/ 42 h 357"/>
              <a:gd name="T10" fmla="*/ 382 w 403"/>
              <a:gd name="T11" fmla="*/ 92 h 357"/>
              <a:gd name="T12" fmla="*/ 404 w 403"/>
              <a:gd name="T13" fmla="*/ 135 h 357"/>
              <a:gd name="T14" fmla="*/ 446 w 403"/>
              <a:gd name="T15" fmla="*/ 124 h 357"/>
              <a:gd name="T16" fmla="*/ 445 w 403"/>
              <a:gd name="T17" fmla="*/ 184 h 357"/>
              <a:gd name="T18" fmla="*/ 486 w 403"/>
              <a:gd name="T19" fmla="*/ 202 h 357"/>
              <a:gd name="T20" fmla="*/ 505 w 403"/>
              <a:gd name="T21" fmla="*/ 254 h 357"/>
              <a:gd name="T22" fmla="*/ 537 w 403"/>
              <a:gd name="T23" fmla="*/ 259 h 357"/>
              <a:gd name="T24" fmla="*/ 553 w 403"/>
              <a:gd name="T25" fmla="*/ 281 h 357"/>
              <a:gd name="T26" fmla="*/ 515 w 403"/>
              <a:gd name="T27" fmla="*/ 312 h 357"/>
              <a:gd name="T28" fmla="*/ 503 w 403"/>
              <a:gd name="T29" fmla="*/ 347 h 357"/>
              <a:gd name="T30" fmla="*/ 449 w 403"/>
              <a:gd name="T31" fmla="*/ 357 h 357"/>
              <a:gd name="T32" fmla="*/ 463 w 403"/>
              <a:gd name="T33" fmla="*/ 318 h 357"/>
              <a:gd name="T34" fmla="*/ 256 w 403"/>
              <a:gd name="T35" fmla="*/ 332 h 357"/>
              <a:gd name="T36" fmla="*/ 108 w 403"/>
              <a:gd name="T37" fmla="*/ 346 h 357"/>
              <a:gd name="T38" fmla="*/ 98 w 403"/>
              <a:gd name="T39" fmla="*/ 309 h 357"/>
              <a:gd name="T40" fmla="*/ 89 w 403"/>
              <a:gd name="T41" fmla="*/ 194 h 357"/>
              <a:gd name="T42" fmla="*/ 88 w 403"/>
              <a:gd name="T43" fmla="*/ 132 h 357"/>
              <a:gd name="T44" fmla="*/ 38 w 403"/>
              <a:gd name="T45" fmla="*/ 104 h 357"/>
              <a:gd name="T46" fmla="*/ 56 w 403"/>
              <a:gd name="T47" fmla="*/ 78 h 357"/>
              <a:gd name="T48" fmla="*/ 31 w 403"/>
              <a:gd name="T49" fmla="*/ 64 h 357"/>
              <a:gd name="T50" fmla="*/ 0 w 403"/>
              <a:gd name="T51" fmla="*/ 12 h 35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3"/>
              <a:gd name="T79" fmla="*/ 0 h 357"/>
              <a:gd name="T80" fmla="*/ 403 w 403"/>
              <a:gd name="T81" fmla="*/ 357 h 35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3" h="357">
                <a:moveTo>
                  <a:pt x="0" y="12"/>
                </a:moveTo>
                <a:lnTo>
                  <a:pt x="176" y="0"/>
                </a:lnTo>
                <a:lnTo>
                  <a:pt x="214" y="0"/>
                </a:lnTo>
                <a:lnTo>
                  <a:pt x="242" y="11"/>
                </a:lnTo>
                <a:lnTo>
                  <a:pt x="227" y="42"/>
                </a:lnTo>
                <a:lnTo>
                  <a:pt x="278" y="92"/>
                </a:lnTo>
                <a:lnTo>
                  <a:pt x="295" y="135"/>
                </a:lnTo>
                <a:lnTo>
                  <a:pt x="325" y="124"/>
                </a:lnTo>
                <a:lnTo>
                  <a:pt x="324" y="184"/>
                </a:lnTo>
                <a:lnTo>
                  <a:pt x="355" y="202"/>
                </a:lnTo>
                <a:lnTo>
                  <a:pt x="369" y="254"/>
                </a:lnTo>
                <a:lnTo>
                  <a:pt x="391" y="259"/>
                </a:lnTo>
                <a:lnTo>
                  <a:pt x="403" y="281"/>
                </a:lnTo>
                <a:lnTo>
                  <a:pt x="376" y="312"/>
                </a:lnTo>
                <a:lnTo>
                  <a:pt x="367" y="347"/>
                </a:lnTo>
                <a:lnTo>
                  <a:pt x="328" y="357"/>
                </a:lnTo>
                <a:lnTo>
                  <a:pt x="338" y="318"/>
                </a:lnTo>
                <a:lnTo>
                  <a:pt x="187" y="332"/>
                </a:lnTo>
                <a:lnTo>
                  <a:pt x="79" y="346"/>
                </a:lnTo>
                <a:lnTo>
                  <a:pt x="72" y="309"/>
                </a:lnTo>
                <a:lnTo>
                  <a:pt x="65" y="194"/>
                </a:lnTo>
                <a:lnTo>
                  <a:pt x="64" y="132"/>
                </a:lnTo>
                <a:lnTo>
                  <a:pt x="28" y="104"/>
                </a:lnTo>
                <a:lnTo>
                  <a:pt x="41" y="78"/>
                </a:lnTo>
                <a:lnTo>
                  <a:pt x="23" y="64"/>
                </a:lnTo>
                <a:lnTo>
                  <a:pt x="0" y="12"/>
                </a:lnTo>
                <a:close/>
              </a:path>
            </a:pathLst>
          </a:custGeom>
          <a:solidFill>
            <a:schemeClr val="accent3"/>
          </a:solidFill>
          <a:ln w="12700">
            <a:solidFill>
              <a:schemeClr val="bg1"/>
            </a:solidFill>
            <a:round/>
            <a:headEnd/>
            <a:tailEnd/>
          </a:ln>
        </p:spPr>
        <p:txBody>
          <a:bodyPr/>
          <a:lstStyle/>
          <a:p>
            <a:pPr>
              <a:defRPr/>
            </a:pPr>
            <a:endParaRPr lang="en-GB"/>
          </a:p>
        </p:txBody>
      </p:sp>
      <p:sp>
        <p:nvSpPr>
          <p:cNvPr id="19" name="Freeform 18"/>
          <p:cNvSpPr>
            <a:spLocks/>
          </p:cNvSpPr>
          <p:nvPr/>
        </p:nvSpPr>
        <p:spPr bwMode="auto">
          <a:xfrm>
            <a:off x="5551488" y="3173413"/>
            <a:ext cx="374650" cy="663575"/>
          </a:xfrm>
          <a:custGeom>
            <a:avLst/>
            <a:gdLst>
              <a:gd name="T0" fmla="*/ 0 w 197"/>
              <a:gd name="T1" fmla="*/ 25 h 348"/>
              <a:gd name="T2" fmla="*/ 31 w 197"/>
              <a:gd name="T3" fmla="*/ 38 h 348"/>
              <a:gd name="T4" fmla="*/ 62 w 197"/>
              <a:gd name="T5" fmla="*/ 35 h 348"/>
              <a:gd name="T6" fmla="*/ 72 w 197"/>
              <a:gd name="T7" fmla="*/ 28 h 348"/>
              <a:gd name="T8" fmla="*/ 80 w 197"/>
              <a:gd name="T9" fmla="*/ 7 h 348"/>
              <a:gd name="T10" fmla="*/ 208 w 197"/>
              <a:gd name="T11" fmla="*/ 0 h 348"/>
              <a:gd name="T12" fmla="*/ 269 w 197"/>
              <a:gd name="T13" fmla="*/ 246 h 348"/>
              <a:gd name="T14" fmla="*/ 265 w 197"/>
              <a:gd name="T15" fmla="*/ 243 h 348"/>
              <a:gd name="T16" fmla="*/ 219 w 197"/>
              <a:gd name="T17" fmla="*/ 257 h 348"/>
              <a:gd name="T18" fmla="*/ 188 w 197"/>
              <a:gd name="T19" fmla="*/ 323 h 348"/>
              <a:gd name="T20" fmla="*/ 142 w 197"/>
              <a:gd name="T21" fmla="*/ 314 h 348"/>
              <a:gd name="T22" fmla="*/ 89 w 197"/>
              <a:gd name="T23" fmla="*/ 339 h 348"/>
              <a:gd name="T24" fmla="*/ 17 w 197"/>
              <a:gd name="T25" fmla="*/ 348 h 348"/>
              <a:gd name="T26" fmla="*/ 49 w 197"/>
              <a:gd name="T27" fmla="*/ 283 h 348"/>
              <a:gd name="T28" fmla="*/ 35 w 197"/>
              <a:gd name="T29" fmla="*/ 247 h 348"/>
              <a:gd name="T30" fmla="*/ 0 w 197"/>
              <a:gd name="T31" fmla="*/ 25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348"/>
              <a:gd name="T50" fmla="*/ 197 w 197"/>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348">
                <a:moveTo>
                  <a:pt x="0" y="25"/>
                </a:moveTo>
                <a:lnTo>
                  <a:pt x="23" y="38"/>
                </a:lnTo>
                <a:lnTo>
                  <a:pt x="45" y="35"/>
                </a:lnTo>
                <a:lnTo>
                  <a:pt x="53" y="28"/>
                </a:lnTo>
                <a:lnTo>
                  <a:pt x="58" y="7"/>
                </a:lnTo>
                <a:lnTo>
                  <a:pt x="153" y="0"/>
                </a:lnTo>
                <a:lnTo>
                  <a:pt x="197" y="246"/>
                </a:lnTo>
                <a:lnTo>
                  <a:pt x="194" y="243"/>
                </a:lnTo>
                <a:lnTo>
                  <a:pt x="161" y="257"/>
                </a:lnTo>
                <a:lnTo>
                  <a:pt x="138" y="323"/>
                </a:lnTo>
                <a:lnTo>
                  <a:pt x="104" y="314"/>
                </a:lnTo>
                <a:lnTo>
                  <a:pt x="65" y="339"/>
                </a:lnTo>
                <a:lnTo>
                  <a:pt x="13" y="348"/>
                </a:lnTo>
                <a:lnTo>
                  <a:pt x="36" y="283"/>
                </a:lnTo>
                <a:lnTo>
                  <a:pt x="26" y="247"/>
                </a:lnTo>
                <a:lnTo>
                  <a:pt x="0" y="25"/>
                </a:lnTo>
                <a:close/>
              </a:path>
            </a:pathLst>
          </a:custGeom>
          <a:solidFill>
            <a:schemeClr val="accent3"/>
          </a:solidFill>
          <a:ln w="12700">
            <a:solidFill>
              <a:schemeClr val="bg1"/>
            </a:solidFill>
            <a:round/>
            <a:headEnd/>
            <a:tailEnd/>
          </a:ln>
        </p:spPr>
        <p:txBody>
          <a:bodyPr/>
          <a:lstStyle/>
          <a:p>
            <a:pPr>
              <a:defRPr/>
            </a:pPr>
            <a:endParaRPr lang="en-GB"/>
          </a:p>
        </p:txBody>
      </p:sp>
      <p:sp>
        <p:nvSpPr>
          <p:cNvPr id="20" name="Freeform 19"/>
          <p:cNvSpPr>
            <a:spLocks/>
          </p:cNvSpPr>
          <p:nvPr/>
        </p:nvSpPr>
        <p:spPr bwMode="auto">
          <a:xfrm>
            <a:off x="5842000" y="3038475"/>
            <a:ext cx="482600" cy="598488"/>
          </a:xfrm>
          <a:custGeom>
            <a:avLst/>
            <a:gdLst>
              <a:gd name="T0" fmla="*/ 0 w 253"/>
              <a:gd name="T1" fmla="*/ 71 h 314"/>
              <a:gd name="T2" fmla="*/ 156 w 253"/>
              <a:gd name="T3" fmla="*/ 59 h 314"/>
              <a:gd name="T4" fmla="*/ 188 w 253"/>
              <a:gd name="T5" fmla="*/ 64 h 314"/>
              <a:gd name="T6" fmla="*/ 264 w 253"/>
              <a:gd name="T7" fmla="*/ 37 h 314"/>
              <a:gd name="T8" fmla="*/ 280 w 253"/>
              <a:gd name="T9" fmla="*/ 12 h 314"/>
              <a:gd name="T10" fmla="*/ 325 w 253"/>
              <a:gd name="T11" fmla="*/ 0 h 314"/>
              <a:gd name="T12" fmla="*/ 349 w 253"/>
              <a:gd name="T13" fmla="*/ 119 h 314"/>
              <a:gd name="T14" fmla="*/ 330 w 253"/>
              <a:gd name="T15" fmla="*/ 132 h 314"/>
              <a:gd name="T16" fmla="*/ 335 w 253"/>
              <a:gd name="T17" fmla="*/ 214 h 314"/>
              <a:gd name="T18" fmla="*/ 300 w 253"/>
              <a:gd name="T19" fmla="*/ 221 h 314"/>
              <a:gd name="T20" fmla="*/ 280 w 253"/>
              <a:gd name="T21" fmla="*/ 267 h 314"/>
              <a:gd name="T22" fmla="*/ 253 w 253"/>
              <a:gd name="T23" fmla="*/ 261 h 314"/>
              <a:gd name="T24" fmla="*/ 245 w 253"/>
              <a:gd name="T25" fmla="*/ 314 h 314"/>
              <a:gd name="T26" fmla="*/ 204 w 253"/>
              <a:gd name="T27" fmla="*/ 292 h 314"/>
              <a:gd name="T28" fmla="*/ 128 w 253"/>
              <a:gd name="T29" fmla="*/ 306 h 314"/>
              <a:gd name="T30" fmla="*/ 95 w 253"/>
              <a:gd name="T31" fmla="*/ 286 h 314"/>
              <a:gd name="T32" fmla="*/ 52 w 253"/>
              <a:gd name="T33" fmla="*/ 285 h 314"/>
              <a:gd name="T34" fmla="*/ 29 w 253"/>
              <a:gd name="T35" fmla="*/ 197 h 314"/>
              <a:gd name="T36" fmla="*/ 0 w 253"/>
              <a:gd name="T37" fmla="*/ 71 h 3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3"/>
              <a:gd name="T58" fmla="*/ 0 h 314"/>
              <a:gd name="T59" fmla="*/ 253 w 253"/>
              <a:gd name="T60" fmla="*/ 314 h 3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3" h="314">
                <a:moveTo>
                  <a:pt x="0" y="71"/>
                </a:moveTo>
                <a:lnTo>
                  <a:pt x="114" y="59"/>
                </a:lnTo>
                <a:lnTo>
                  <a:pt x="138" y="64"/>
                </a:lnTo>
                <a:lnTo>
                  <a:pt x="192" y="37"/>
                </a:lnTo>
                <a:lnTo>
                  <a:pt x="204" y="12"/>
                </a:lnTo>
                <a:lnTo>
                  <a:pt x="236" y="0"/>
                </a:lnTo>
                <a:lnTo>
                  <a:pt x="253" y="119"/>
                </a:lnTo>
                <a:lnTo>
                  <a:pt x="240" y="132"/>
                </a:lnTo>
                <a:lnTo>
                  <a:pt x="243" y="214"/>
                </a:lnTo>
                <a:lnTo>
                  <a:pt x="218" y="221"/>
                </a:lnTo>
                <a:lnTo>
                  <a:pt x="204" y="267"/>
                </a:lnTo>
                <a:lnTo>
                  <a:pt x="184" y="261"/>
                </a:lnTo>
                <a:lnTo>
                  <a:pt x="178" y="314"/>
                </a:lnTo>
                <a:lnTo>
                  <a:pt x="149" y="292"/>
                </a:lnTo>
                <a:lnTo>
                  <a:pt x="93" y="306"/>
                </a:lnTo>
                <a:lnTo>
                  <a:pt x="69" y="286"/>
                </a:lnTo>
                <a:lnTo>
                  <a:pt x="38" y="285"/>
                </a:lnTo>
                <a:lnTo>
                  <a:pt x="21" y="197"/>
                </a:lnTo>
                <a:lnTo>
                  <a:pt x="0" y="71"/>
                </a:lnTo>
                <a:close/>
              </a:path>
            </a:pathLst>
          </a:custGeom>
          <a:solidFill>
            <a:schemeClr val="accent3"/>
          </a:solidFill>
          <a:ln w="12700">
            <a:solidFill>
              <a:schemeClr val="bg1"/>
            </a:solidFill>
            <a:round/>
            <a:headEnd/>
            <a:tailEnd/>
          </a:ln>
        </p:spPr>
        <p:txBody>
          <a:bodyPr/>
          <a:lstStyle/>
          <a:p>
            <a:pPr>
              <a:defRPr/>
            </a:pPr>
            <a:endParaRPr lang="en-GB"/>
          </a:p>
        </p:txBody>
      </p:sp>
      <p:sp>
        <p:nvSpPr>
          <p:cNvPr id="21" name="Freeform 20"/>
          <p:cNvSpPr>
            <a:spLocks/>
          </p:cNvSpPr>
          <p:nvPr/>
        </p:nvSpPr>
        <p:spPr bwMode="auto">
          <a:xfrm>
            <a:off x="5414963" y="3579813"/>
            <a:ext cx="847725" cy="506412"/>
          </a:xfrm>
          <a:custGeom>
            <a:avLst/>
            <a:gdLst>
              <a:gd name="T0" fmla="*/ 0 w 445"/>
              <a:gd name="T1" fmla="*/ 266 h 266"/>
              <a:gd name="T2" fmla="*/ 149 w 445"/>
              <a:gd name="T3" fmla="*/ 249 h 266"/>
              <a:gd name="T4" fmla="*/ 149 w 445"/>
              <a:gd name="T5" fmla="*/ 237 h 266"/>
              <a:gd name="T6" fmla="*/ 509 w 445"/>
              <a:gd name="T7" fmla="*/ 199 h 266"/>
              <a:gd name="T8" fmla="*/ 516 w 445"/>
              <a:gd name="T9" fmla="*/ 179 h 266"/>
              <a:gd name="T10" fmla="*/ 566 w 445"/>
              <a:gd name="T11" fmla="*/ 163 h 266"/>
              <a:gd name="T12" fmla="*/ 575 w 445"/>
              <a:gd name="T13" fmla="*/ 142 h 266"/>
              <a:gd name="T14" fmla="*/ 596 w 445"/>
              <a:gd name="T15" fmla="*/ 135 h 266"/>
              <a:gd name="T16" fmla="*/ 612 w 445"/>
              <a:gd name="T17" fmla="*/ 103 h 266"/>
              <a:gd name="T18" fmla="*/ 563 w 445"/>
              <a:gd name="T19" fmla="*/ 72 h 266"/>
              <a:gd name="T20" fmla="*/ 555 w 445"/>
              <a:gd name="T21" fmla="*/ 29 h 266"/>
              <a:gd name="T22" fmla="*/ 516 w 445"/>
              <a:gd name="T23" fmla="*/ 8 h 266"/>
              <a:gd name="T24" fmla="*/ 434 w 445"/>
              <a:gd name="T25" fmla="*/ 20 h 266"/>
              <a:gd name="T26" fmla="*/ 398 w 445"/>
              <a:gd name="T27" fmla="*/ 1 h 266"/>
              <a:gd name="T28" fmla="*/ 363 w 445"/>
              <a:gd name="T29" fmla="*/ 0 h 266"/>
              <a:gd name="T30" fmla="*/ 368 w 445"/>
              <a:gd name="T31" fmla="*/ 29 h 266"/>
              <a:gd name="T32" fmla="*/ 320 w 445"/>
              <a:gd name="T33" fmla="*/ 44 h 266"/>
              <a:gd name="T34" fmla="*/ 286 w 445"/>
              <a:gd name="T35" fmla="*/ 110 h 266"/>
              <a:gd name="T36" fmla="*/ 242 w 445"/>
              <a:gd name="T37" fmla="*/ 100 h 266"/>
              <a:gd name="T38" fmla="*/ 186 w 445"/>
              <a:gd name="T39" fmla="*/ 124 h 266"/>
              <a:gd name="T40" fmla="*/ 117 w 445"/>
              <a:gd name="T41" fmla="*/ 134 h 266"/>
              <a:gd name="T42" fmla="*/ 117 w 445"/>
              <a:gd name="T43" fmla="*/ 171 h 266"/>
              <a:gd name="T44" fmla="*/ 82 w 445"/>
              <a:gd name="T45" fmla="*/ 170 h 266"/>
              <a:gd name="T46" fmla="*/ 83 w 445"/>
              <a:gd name="T47" fmla="*/ 203 h 266"/>
              <a:gd name="T48" fmla="*/ 48 w 445"/>
              <a:gd name="T49" fmla="*/ 190 h 266"/>
              <a:gd name="T50" fmla="*/ 28 w 445"/>
              <a:gd name="T51" fmla="*/ 196 h 266"/>
              <a:gd name="T52" fmla="*/ 45 w 445"/>
              <a:gd name="T53" fmla="*/ 218 h 266"/>
              <a:gd name="T54" fmla="*/ 5 w 445"/>
              <a:gd name="T55" fmla="*/ 248 h 266"/>
              <a:gd name="T56" fmla="*/ 0 w 445"/>
              <a:gd name="T57" fmla="*/ 266 h 2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5"/>
              <a:gd name="T88" fmla="*/ 0 h 266"/>
              <a:gd name="T89" fmla="*/ 445 w 445"/>
              <a:gd name="T90" fmla="*/ 266 h 2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5" h="266">
                <a:moveTo>
                  <a:pt x="0" y="266"/>
                </a:moveTo>
                <a:lnTo>
                  <a:pt x="108" y="249"/>
                </a:lnTo>
                <a:lnTo>
                  <a:pt x="108" y="237"/>
                </a:lnTo>
                <a:lnTo>
                  <a:pt x="370" y="199"/>
                </a:lnTo>
                <a:lnTo>
                  <a:pt x="374" y="179"/>
                </a:lnTo>
                <a:lnTo>
                  <a:pt x="412" y="163"/>
                </a:lnTo>
                <a:lnTo>
                  <a:pt x="417" y="142"/>
                </a:lnTo>
                <a:lnTo>
                  <a:pt x="433" y="135"/>
                </a:lnTo>
                <a:lnTo>
                  <a:pt x="445" y="103"/>
                </a:lnTo>
                <a:lnTo>
                  <a:pt x="409" y="72"/>
                </a:lnTo>
                <a:lnTo>
                  <a:pt x="403" y="29"/>
                </a:lnTo>
                <a:lnTo>
                  <a:pt x="374" y="8"/>
                </a:lnTo>
                <a:lnTo>
                  <a:pt x="316" y="20"/>
                </a:lnTo>
                <a:lnTo>
                  <a:pt x="289" y="1"/>
                </a:lnTo>
                <a:lnTo>
                  <a:pt x="263" y="0"/>
                </a:lnTo>
                <a:lnTo>
                  <a:pt x="268" y="29"/>
                </a:lnTo>
                <a:lnTo>
                  <a:pt x="232" y="44"/>
                </a:lnTo>
                <a:lnTo>
                  <a:pt x="208" y="110"/>
                </a:lnTo>
                <a:lnTo>
                  <a:pt x="175" y="100"/>
                </a:lnTo>
                <a:lnTo>
                  <a:pt x="136" y="124"/>
                </a:lnTo>
                <a:lnTo>
                  <a:pt x="85" y="134"/>
                </a:lnTo>
                <a:lnTo>
                  <a:pt x="85" y="171"/>
                </a:lnTo>
                <a:lnTo>
                  <a:pt x="60" y="170"/>
                </a:lnTo>
                <a:lnTo>
                  <a:pt x="61" y="203"/>
                </a:lnTo>
                <a:lnTo>
                  <a:pt x="35" y="190"/>
                </a:lnTo>
                <a:lnTo>
                  <a:pt x="20" y="196"/>
                </a:lnTo>
                <a:lnTo>
                  <a:pt x="33" y="218"/>
                </a:lnTo>
                <a:lnTo>
                  <a:pt x="5" y="248"/>
                </a:lnTo>
                <a:lnTo>
                  <a:pt x="0" y="266"/>
                </a:lnTo>
                <a:close/>
              </a:path>
            </a:pathLst>
          </a:custGeom>
          <a:solidFill>
            <a:schemeClr val="accent3"/>
          </a:solidFill>
          <a:ln w="12700">
            <a:solidFill>
              <a:schemeClr val="bg1"/>
            </a:solidFill>
            <a:round/>
            <a:headEnd/>
            <a:tailEnd/>
          </a:ln>
        </p:spPr>
        <p:txBody>
          <a:bodyPr/>
          <a:lstStyle/>
          <a:p>
            <a:pPr>
              <a:defRPr/>
            </a:pPr>
            <a:endParaRPr lang="en-GB"/>
          </a:p>
        </p:txBody>
      </p:sp>
      <p:sp>
        <p:nvSpPr>
          <p:cNvPr id="22" name="Freeform 21"/>
          <p:cNvSpPr>
            <a:spLocks/>
          </p:cNvSpPr>
          <p:nvPr/>
        </p:nvSpPr>
        <p:spPr bwMode="auto">
          <a:xfrm>
            <a:off x="5356225" y="3905250"/>
            <a:ext cx="977900" cy="384175"/>
          </a:xfrm>
          <a:custGeom>
            <a:avLst/>
            <a:gdLst>
              <a:gd name="T0" fmla="*/ 43 w 513"/>
              <a:gd name="T1" fmla="*/ 92 h 202"/>
              <a:gd name="T2" fmla="*/ 43 w 513"/>
              <a:gd name="T3" fmla="*/ 96 h 202"/>
              <a:gd name="T4" fmla="*/ 30 w 513"/>
              <a:gd name="T5" fmla="*/ 115 h 202"/>
              <a:gd name="T6" fmla="*/ 44 w 513"/>
              <a:gd name="T7" fmla="*/ 140 h 202"/>
              <a:gd name="T8" fmla="*/ 0 w 513"/>
              <a:gd name="T9" fmla="*/ 163 h 202"/>
              <a:gd name="T10" fmla="*/ 11 w 513"/>
              <a:gd name="T11" fmla="*/ 202 h 202"/>
              <a:gd name="T12" fmla="*/ 196 w 513"/>
              <a:gd name="T13" fmla="*/ 190 h 202"/>
              <a:gd name="T14" fmla="*/ 415 w 513"/>
              <a:gd name="T15" fmla="*/ 170 h 202"/>
              <a:gd name="T16" fmla="*/ 527 w 513"/>
              <a:gd name="T17" fmla="*/ 154 h 202"/>
              <a:gd name="T18" fmla="*/ 548 w 513"/>
              <a:gd name="T19" fmla="*/ 103 h 202"/>
              <a:gd name="T20" fmla="*/ 589 w 513"/>
              <a:gd name="T21" fmla="*/ 100 h 202"/>
              <a:gd name="T22" fmla="*/ 709 w 513"/>
              <a:gd name="T23" fmla="*/ 0 h 202"/>
              <a:gd name="T24" fmla="*/ 552 w 513"/>
              <a:gd name="T25" fmla="*/ 25 h 202"/>
              <a:gd name="T26" fmla="*/ 185 w 513"/>
              <a:gd name="T27" fmla="*/ 66 h 202"/>
              <a:gd name="T28" fmla="*/ 188 w 513"/>
              <a:gd name="T29" fmla="*/ 78 h 202"/>
              <a:gd name="T30" fmla="*/ 43 w 513"/>
              <a:gd name="T31" fmla="*/ 92 h 20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3"/>
              <a:gd name="T49" fmla="*/ 0 h 202"/>
              <a:gd name="T50" fmla="*/ 513 w 513"/>
              <a:gd name="T51" fmla="*/ 202 h 20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3" h="202">
                <a:moveTo>
                  <a:pt x="31" y="92"/>
                </a:moveTo>
                <a:lnTo>
                  <a:pt x="31" y="96"/>
                </a:lnTo>
                <a:lnTo>
                  <a:pt x="22" y="115"/>
                </a:lnTo>
                <a:lnTo>
                  <a:pt x="32" y="140"/>
                </a:lnTo>
                <a:lnTo>
                  <a:pt x="0" y="163"/>
                </a:lnTo>
                <a:lnTo>
                  <a:pt x="7" y="202"/>
                </a:lnTo>
                <a:lnTo>
                  <a:pt x="142" y="190"/>
                </a:lnTo>
                <a:lnTo>
                  <a:pt x="301" y="170"/>
                </a:lnTo>
                <a:lnTo>
                  <a:pt x="381" y="154"/>
                </a:lnTo>
                <a:lnTo>
                  <a:pt x="398" y="103"/>
                </a:lnTo>
                <a:lnTo>
                  <a:pt x="426" y="100"/>
                </a:lnTo>
                <a:lnTo>
                  <a:pt x="513" y="0"/>
                </a:lnTo>
                <a:lnTo>
                  <a:pt x="400" y="25"/>
                </a:lnTo>
                <a:lnTo>
                  <a:pt x="135" y="66"/>
                </a:lnTo>
                <a:lnTo>
                  <a:pt x="137" y="78"/>
                </a:lnTo>
                <a:lnTo>
                  <a:pt x="31" y="92"/>
                </a:lnTo>
                <a:close/>
              </a:path>
            </a:pathLst>
          </a:custGeom>
          <a:solidFill>
            <a:schemeClr val="accent3"/>
          </a:solidFill>
          <a:ln w="12700">
            <a:solidFill>
              <a:schemeClr val="bg1"/>
            </a:solidFill>
            <a:round/>
            <a:headEnd/>
            <a:tailEnd/>
          </a:ln>
        </p:spPr>
        <p:txBody>
          <a:bodyPr/>
          <a:lstStyle/>
          <a:p>
            <a:pPr>
              <a:defRPr/>
            </a:pPr>
            <a:endParaRPr lang="en-GB"/>
          </a:p>
        </p:txBody>
      </p:sp>
      <p:sp>
        <p:nvSpPr>
          <p:cNvPr id="23" name="Freeform 22"/>
          <p:cNvSpPr>
            <a:spLocks/>
          </p:cNvSpPr>
          <p:nvPr/>
        </p:nvSpPr>
        <p:spPr bwMode="auto">
          <a:xfrm>
            <a:off x="5788025" y="4787900"/>
            <a:ext cx="1069975" cy="777875"/>
          </a:xfrm>
          <a:custGeom>
            <a:avLst/>
            <a:gdLst>
              <a:gd name="T0" fmla="*/ 0 w 561"/>
              <a:gd name="T1" fmla="*/ 39 h 409"/>
              <a:gd name="T2" fmla="*/ 212 w 561"/>
              <a:gd name="T3" fmla="*/ 23 h 409"/>
              <a:gd name="T4" fmla="*/ 234 w 561"/>
              <a:gd name="T5" fmla="*/ 50 h 409"/>
              <a:gd name="T6" fmla="*/ 463 w 561"/>
              <a:gd name="T7" fmla="*/ 23 h 409"/>
              <a:gd name="T8" fmla="*/ 502 w 561"/>
              <a:gd name="T9" fmla="*/ 45 h 409"/>
              <a:gd name="T10" fmla="*/ 502 w 561"/>
              <a:gd name="T11" fmla="*/ 3 h 409"/>
              <a:gd name="T12" fmla="*/ 500 w 561"/>
              <a:gd name="T13" fmla="*/ 0 h 409"/>
              <a:gd name="T14" fmla="*/ 545 w 561"/>
              <a:gd name="T15" fmla="*/ 2 h 409"/>
              <a:gd name="T16" fmla="*/ 593 w 561"/>
              <a:gd name="T17" fmla="*/ 65 h 409"/>
              <a:gd name="T18" fmla="*/ 670 w 561"/>
              <a:gd name="T19" fmla="*/ 151 h 409"/>
              <a:gd name="T20" fmla="*/ 709 w 561"/>
              <a:gd name="T21" fmla="*/ 225 h 409"/>
              <a:gd name="T22" fmla="*/ 763 w 561"/>
              <a:gd name="T23" fmla="*/ 277 h 409"/>
              <a:gd name="T24" fmla="*/ 774 w 561"/>
              <a:gd name="T25" fmla="*/ 352 h 409"/>
              <a:gd name="T26" fmla="*/ 756 w 561"/>
              <a:gd name="T27" fmla="*/ 397 h 409"/>
              <a:gd name="T28" fmla="*/ 674 w 561"/>
              <a:gd name="T29" fmla="*/ 409 h 409"/>
              <a:gd name="T30" fmla="*/ 660 w 561"/>
              <a:gd name="T31" fmla="*/ 390 h 409"/>
              <a:gd name="T32" fmla="*/ 604 w 561"/>
              <a:gd name="T33" fmla="*/ 363 h 409"/>
              <a:gd name="T34" fmla="*/ 586 w 561"/>
              <a:gd name="T35" fmla="*/ 335 h 409"/>
              <a:gd name="T36" fmla="*/ 571 w 561"/>
              <a:gd name="T37" fmla="*/ 324 h 409"/>
              <a:gd name="T38" fmla="*/ 561 w 561"/>
              <a:gd name="T39" fmla="*/ 298 h 409"/>
              <a:gd name="T40" fmla="*/ 547 w 561"/>
              <a:gd name="T41" fmla="*/ 305 h 409"/>
              <a:gd name="T42" fmla="*/ 502 w 561"/>
              <a:gd name="T43" fmla="*/ 271 h 409"/>
              <a:gd name="T44" fmla="*/ 514 w 561"/>
              <a:gd name="T45" fmla="*/ 239 h 409"/>
              <a:gd name="T46" fmla="*/ 502 w 561"/>
              <a:gd name="T47" fmla="*/ 222 h 409"/>
              <a:gd name="T48" fmla="*/ 489 w 561"/>
              <a:gd name="T49" fmla="*/ 228 h 409"/>
              <a:gd name="T50" fmla="*/ 490 w 561"/>
              <a:gd name="T51" fmla="*/ 246 h 409"/>
              <a:gd name="T52" fmla="*/ 475 w 561"/>
              <a:gd name="T53" fmla="*/ 222 h 409"/>
              <a:gd name="T54" fmla="*/ 476 w 561"/>
              <a:gd name="T55" fmla="*/ 164 h 409"/>
              <a:gd name="T56" fmla="*/ 448 w 561"/>
              <a:gd name="T57" fmla="*/ 130 h 409"/>
              <a:gd name="T58" fmla="*/ 376 w 561"/>
              <a:gd name="T59" fmla="*/ 102 h 409"/>
              <a:gd name="T60" fmla="*/ 339 w 561"/>
              <a:gd name="T61" fmla="*/ 70 h 409"/>
              <a:gd name="T62" fmla="*/ 298 w 561"/>
              <a:gd name="T63" fmla="*/ 67 h 409"/>
              <a:gd name="T64" fmla="*/ 282 w 561"/>
              <a:gd name="T65" fmla="*/ 87 h 409"/>
              <a:gd name="T66" fmla="*/ 222 w 561"/>
              <a:gd name="T67" fmla="*/ 101 h 409"/>
              <a:gd name="T68" fmla="*/ 185 w 561"/>
              <a:gd name="T69" fmla="*/ 87 h 409"/>
              <a:gd name="T70" fmla="*/ 168 w 561"/>
              <a:gd name="T71" fmla="*/ 65 h 409"/>
              <a:gd name="T72" fmla="*/ 55 w 561"/>
              <a:gd name="T73" fmla="*/ 84 h 409"/>
              <a:gd name="T74" fmla="*/ 31 w 561"/>
              <a:gd name="T75" fmla="*/ 69 h 409"/>
              <a:gd name="T76" fmla="*/ 4 w 561"/>
              <a:gd name="T77" fmla="*/ 85 h 409"/>
              <a:gd name="T78" fmla="*/ 0 w 561"/>
              <a:gd name="T79" fmla="*/ 39 h 40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1"/>
              <a:gd name="T121" fmla="*/ 0 h 409"/>
              <a:gd name="T122" fmla="*/ 561 w 561"/>
              <a:gd name="T123" fmla="*/ 409 h 40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1" h="409">
                <a:moveTo>
                  <a:pt x="0" y="39"/>
                </a:moveTo>
                <a:lnTo>
                  <a:pt x="154" y="23"/>
                </a:lnTo>
                <a:lnTo>
                  <a:pt x="170" y="50"/>
                </a:lnTo>
                <a:lnTo>
                  <a:pt x="336" y="23"/>
                </a:lnTo>
                <a:lnTo>
                  <a:pt x="364" y="45"/>
                </a:lnTo>
                <a:lnTo>
                  <a:pt x="364" y="3"/>
                </a:lnTo>
                <a:lnTo>
                  <a:pt x="362" y="0"/>
                </a:lnTo>
                <a:lnTo>
                  <a:pt x="395" y="2"/>
                </a:lnTo>
                <a:lnTo>
                  <a:pt x="430" y="65"/>
                </a:lnTo>
                <a:lnTo>
                  <a:pt x="485" y="151"/>
                </a:lnTo>
                <a:lnTo>
                  <a:pt x="513" y="225"/>
                </a:lnTo>
                <a:lnTo>
                  <a:pt x="554" y="277"/>
                </a:lnTo>
                <a:lnTo>
                  <a:pt x="561" y="352"/>
                </a:lnTo>
                <a:lnTo>
                  <a:pt x="548" y="397"/>
                </a:lnTo>
                <a:lnTo>
                  <a:pt x="489" y="409"/>
                </a:lnTo>
                <a:lnTo>
                  <a:pt x="479" y="390"/>
                </a:lnTo>
                <a:lnTo>
                  <a:pt x="437" y="363"/>
                </a:lnTo>
                <a:lnTo>
                  <a:pt x="424" y="335"/>
                </a:lnTo>
                <a:lnTo>
                  <a:pt x="413" y="324"/>
                </a:lnTo>
                <a:lnTo>
                  <a:pt x="407" y="298"/>
                </a:lnTo>
                <a:lnTo>
                  <a:pt x="397" y="305"/>
                </a:lnTo>
                <a:lnTo>
                  <a:pt x="364" y="271"/>
                </a:lnTo>
                <a:lnTo>
                  <a:pt x="372" y="239"/>
                </a:lnTo>
                <a:lnTo>
                  <a:pt x="364" y="222"/>
                </a:lnTo>
                <a:lnTo>
                  <a:pt x="354" y="228"/>
                </a:lnTo>
                <a:lnTo>
                  <a:pt x="355" y="246"/>
                </a:lnTo>
                <a:lnTo>
                  <a:pt x="344" y="222"/>
                </a:lnTo>
                <a:lnTo>
                  <a:pt x="345" y="164"/>
                </a:lnTo>
                <a:lnTo>
                  <a:pt x="325" y="130"/>
                </a:lnTo>
                <a:lnTo>
                  <a:pt x="272" y="102"/>
                </a:lnTo>
                <a:lnTo>
                  <a:pt x="246" y="70"/>
                </a:lnTo>
                <a:lnTo>
                  <a:pt x="216" y="67"/>
                </a:lnTo>
                <a:lnTo>
                  <a:pt x="204" y="87"/>
                </a:lnTo>
                <a:lnTo>
                  <a:pt x="161" y="101"/>
                </a:lnTo>
                <a:lnTo>
                  <a:pt x="135" y="87"/>
                </a:lnTo>
                <a:lnTo>
                  <a:pt x="122" y="65"/>
                </a:lnTo>
                <a:lnTo>
                  <a:pt x="40" y="84"/>
                </a:lnTo>
                <a:lnTo>
                  <a:pt x="23" y="69"/>
                </a:lnTo>
                <a:lnTo>
                  <a:pt x="4" y="85"/>
                </a:lnTo>
                <a:lnTo>
                  <a:pt x="0" y="39"/>
                </a:lnTo>
                <a:close/>
              </a:path>
            </a:pathLst>
          </a:custGeom>
          <a:solidFill>
            <a:schemeClr val="accent3"/>
          </a:solidFill>
          <a:ln w="12700">
            <a:solidFill>
              <a:schemeClr val="bg1"/>
            </a:solidFill>
            <a:round/>
            <a:headEnd/>
            <a:tailEnd/>
          </a:ln>
        </p:spPr>
        <p:txBody>
          <a:bodyPr/>
          <a:lstStyle/>
          <a:p>
            <a:pPr>
              <a:defRPr/>
            </a:pPr>
            <a:endParaRPr lang="en-GB"/>
          </a:p>
        </p:txBody>
      </p:sp>
      <p:sp>
        <p:nvSpPr>
          <p:cNvPr id="24" name="Freeform 23"/>
          <p:cNvSpPr>
            <a:spLocks/>
          </p:cNvSpPr>
          <p:nvPr/>
        </p:nvSpPr>
        <p:spPr bwMode="auto">
          <a:xfrm>
            <a:off x="6181725" y="3260725"/>
            <a:ext cx="488950" cy="549275"/>
          </a:xfrm>
          <a:custGeom>
            <a:avLst/>
            <a:gdLst>
              <a:gd name="T0" fmla="*/ 36 w 256"/>
              <a:gd name="T1" fmla="*/ 150 h 288"/>
              <a:gd name="T2" fmla="*/ 10 w 256"/>
              <a:gd name="T3" fmla="*/ 144 h 288"/>
              <a:gd name="T4" fmla="*/ 0 w 256"/>
              <a:gd name="T5" fmla="*/ 190 h 288"/>
              <a:gd name="T6" fmla="*/ 10 w 256"/>
              <a:gd name="T7" fmla="*/ 239 h 288"/>
              <a:gd name="T8" fmla="*/ 60 w 256"/>
              <a:gd name="T9" fmla="*/ 271 h 288"/>
              <a:gd name="T10" fmla="*/ 72 w 256"/>
              <a:gd name="T11" fmla="*/ 288 h 288"/>
              <a:gd name="T12" fmla="*/ 138 w 256"/>
              <a:gd name="T13" fmla="*/ 271 h 288"/>
              <a:gd name="T14" fmla="*/ 215 w 256"/>
              <a:gd name="T15" fmla="*/ 233 h 288"/>
              <a:gd name="T16" fmla="*/ 238 w 256"/>
              <a:gd name="T17" fmla="*/ 148 h 288"/>
              <a:gd name="T18" fmla="*/ 288 w 256"/>
              <a:gd name="T19" fmla="*/ 126 h 288"/>
              <a:gd name="T20" fmla="*/ 316 w 256"/>
              <a:gd name="T21" fmla="*/ 74 h 288"/>
              <a:gd name="T22" fmla="*/ 356 w 256"/>
              <a:gd name="T23" fmla="*/ 60 h 288"/>
              <a:gd name="T24" fmla="*/ 303 w 256"/>
              <a:gd name="T25" fmla="*/ 53 h 288"/>
              <a:gd name="T26" fmla="*/ 214 w 256"/>
              <a:gd name="T27" fmla="*/ 90 h 288"/>
              <a:gd name="T28" fmla="*/ 200 w 256"/>
              <a:gd name="T29" fmla="*/ 54 h 288"/>
              <a:gd name="T30" fmla="*/ 123 w 256"/>
              <a:gd name="T31" fmla="*/ 57 h 288"/>
              <a:gd name="T32" fmla="*/ 104 w 256"/>
              <a:gd name="T33" fmla="*/ 0 h 288"/>
              <a:gd name="T34" fmla="*/ 85 w 256"/>
              <a:gd name="T35" fmla="*/ 15 h 288"/>
              <a:gd name="T36" fmla="*/ 91 w 256"/>
              <a:gd name="T37" fmla="*/ 97 h 288"/>
              <a:gd name="T38" fmla="*/ 55 w 256"/>
              <a:gd name="T39" fmla="*/ 104 h 288"/>
              <a:gd name="T40" fmla="*/ 36 w 256"/>
              <a:gd name="T41" fmla="*/ 150 h 2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6"/>
              <a:gd name="T64" fmla="*/ 0 h 288"/>
              <a:gd name="T65" fmla="*/ 256 w 256"/>
              <a:gd name="T66" fmla="*/ 288 h 2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6" h="288">
                <a:moveTo>
                  <a:pt x="26" y="150"/>
                </a:moveTo>
                <a:lnTo>
                  <a:pt x="6" y="144"/>
                </a:lnTo>
                <a:lnTo>
                  <a:pt x="0" y="190"/>
                </a:lnTo>
                <a:lnTo>
                  <a:pt x="6" y="239"/>
                </a:lnTo>
                <a:lnTo>
                  <a:pt x="43" y="271"/>
                </a:lnTo>
                <a:lnTo>
                  <a:pt x="52" y="288"/>
                </a:lnTo>
                <a:lnTo>
                  <a:pt x="99" y="271"/>
                </a:lnTo>
                <a:lnTo>
                  <a:pt x="155" y="233"/>
                </a:lnTo>
                <a:lnTo>
                  <a:pt x="171" y="148"/>
                </a:lnTo>
                <a:lnTo>
                  <a:pt x="207" y="126"/>
                </a:lnTo>
                <a:lnTo>
                  <a:pt x="227" y="74"/>
                </a:lnTo>
                <a:lnTo>
                  <a:pt x="256" y="60"/>
                </a:lnTo>
                <a:lnTo>
                  <a:pt x="218" y="53"/>
                </a:lnTo>
                <a:lnTo>
                  <a:pt x="154" y="90"/>
                </a:lnTo>
                <a:lnTo>
                  <a:pt x="144" y="54"/>
                </a:lnTo>
                <a:lnTo>
                  <a:pt x="88" y="57"/>
                </a:lnTo>
                <a:lnTo>
                  <a:pt x="75" y="0"/>
                </a:lnTo>
                <a:lnTo>
                  <a:pt x="61" y="15"/>
                </a:lnTo>
                <a:lnTo>
                  <a:pt x="65" y="97"/>
                </a:lnTo>
                <a:lnTo>
                  <a:pt x="40" y="104"/>
                </a:lnTo>
                <a:lnTo>
                  <a:pt x="26" y="150"/>
                </a:lnTo>
                <a:close/>
              </a:path>
            </a:pathLst>
          </a:custGeom>
          <a:solidFill>
            <a:schemeClr val="accent3"/>
          </a:solidFill>
          <a:ln w="12700">
            <a:solidFill>
              <a:schemeClr val="bg1"/>
            </a:solidFill>
            <a:round/>
            <a:headEnd/>
            <a:tailEnd/>
          </a:ln>
        </p:spPr>
        <p:txBody>
          <a:bodyPr/>
          <a:lstStyle/>
          <a:p>
            <a:pPr>
              <a:defRPr/>
            </a:pPr>
            <a:endParaRPr lang="en-GB"/>
          </a:p>
        </p:txBody>
      </p:sp>
      <p:sp>
        <p:nvSpPr>
          <p:cNvPr id="25" name="Freeform 24"/>
          <p:cNvSpPr>
            <a:spLocks/>
          </p:cNvSpPr>
          <p:nvPr/>
        </p:nvSpPr>
        <p:spPr bwMode="auto">
          <a:xfrm>
            <a:off x="6916738" y="2346325"/>
            <a:ext cx="192087" cy="384175"/>
          </a:xfrm>
          <a:custGeom>
            <a:avLst/>
            <a:gdLst>
              <a:gd name="T0" fmla="*/ 0 w 101"/>
              <a:gd name="T1" fmla="*/ 21 h 202"/>
              <a:gd name="T2" fmla="*/ 100 w 101"/>
              <a:gd name="T3" fmla="*/ 0 h 202"/>
              <a:gd name="T4" fmla="*/ 137 w 101"/>
              <a:gd name="T5" fmla="*/ 55 h 202"/>
              <a:gd name="T6" fmla="*/ 118 w 101"/>
              <a:gd name="T7" fmla="*/ 70 h 202"/>
              <a:gd name="T8" fmla="*/ 126 w 101"/>
              <a:gd name="T9" fmla="*/ 192 h 202"/>
              <a:gd name="T10" fmla="*/ 68 w 101"/>
              <a:gd name="T11" fmla="*/ 202 h 202"/>
              <a:gd name="T12" fmla="*/ 39 w 101"/>
              <a:gd name="T13" fmla="*/ 152 h 202"/>
              <a:gd name="T14" fmla="*/ 38 w 101"/>
              <a:gd name="T15" fmla="*/ 92 h 202"/>
              <a:gd name="T16" fmla="*/ 13 w 101"/>
              <a:gd name="T17" fmla="*/ 74 h 202"/>
              <a:gd name="T18" fmla="*/ 0 w 101"/>
              <a:gd name="T19" fmla="*/ 21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1"/>
              <a:gd name="T31" fmla="*/ 0 h 202"/>
              <a:gd name="T32" fmla="*/ 101 w 101"/>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1" h="202">
                <a:moveTo>
                  <a:pt x="0" y="21"/>
                </a:moveTo>
                <a:lnTo>
                  <a:pt x="74" y="0"/>
                </a:lnTo>
                <a:lnTo>
                  <a:pt x="101" y="55"/>
                </a:lnTo>
                <a:lnTo>
                  <a:pt x="87" y="70"/>
                </a:lnTo>
                <a:lnTo>
                  <a:pt x="93" y="192"/>
                </a:lnTo>
                <a:lnTo>
                  <a:pt x="50" y="202"/>
                </a:lnTo>
                <a:lnTo>
                  <a:pt x="29" y="152"/>
                </a:lnTo>
                <a:lnTo>
                  <a:pt x="28" y="92"/>
                </a:lnTo>
                <a:lnTo>
                  <a:pt x="9" y="74"/>
                </a:lnTo>
                <a:lnTo>
                  <a:pt x="0" y="21"/>
                </a:lnTo>
                <a:close/>
              </a:path>
            </a:pathLst>
          </a:custGeom>
          <a:solidFill>
            <a:schemeClr val="accent3"/>
          </a:solidFill>
          <a:ln w="12700">
            <a:solidFill>
              <a:schemeClr val="bg1"/>
            </a:solidFill>
            <a:round/>
            <a:headEnd/>
            <a:tailEnd/>
          </a:ln>
        </p:spPr>
        <p:txBody>
          <a:bodyPr/>
          <a:lstStyle/>
          <a:p>
            <a:pPr>
              <a:defRPr/>
            </a:pPr>
            <a:endParaRPr lang="en-GB"/>
          </a:p>
        </p:txBody>
      </p:sp>
      <p:sp>
        <p:nvSpPr>
          <p:cNvPr id="26" name="Freeform 25"/>
          <p:cNvSpPr>
            <a:spLocks/>
          </p:cNvSpPr>
          <p:nvPr/>
        </p:nvSpPr>
        <p:spPr bwMode="auto">
          <a:xfrm>
            <a:off x="7008813" y="2647950"/>
            <a:ext cx="411162" cy="201613"/>
          </a:xfrm>
          <a:custGeom>
            <a:avLst/>
            <a:gdLst>
              <a:gd name="T0" fmla="*/ 0 w 216"/>
              <a:gd name="T1" fmla="*/ 42 h 106"/>
              <a:gd name="T2" fmla="*/ 152 w 216"/>
              <a:gd name="T3" fmla="*/ 13 h 106"/>
              <a:gd name="T4" fmla="*/ 169 w 216"/>
              <a:gd name="T5" fmla="*/ 14 h 106"/>
              <a:gd name="T6" fmla="*/ 187 w 216"/>
              <a:gd name="T7" fmla="*/ 0 h 106"/>
              <a:gd name="T8" fmla="*/ 203 w 216"/>
              <a:gd name="T9" fmla="*/ 7 h 106"/>
              <a:gd name="T10" fmla="*/ 184 w 216"/>
              <a:gd name="T11" fmla="*/ 37 h 106"/>
              <a:gd name="T12" fmla="*/ 216 w 216"/>
              <a:gd name="T13" fmla="*/ 35 h 106"/>
              <a:gd name="T14" fmla="*/ 234 w 216"/>
              <a:gd name="T15" fmla="*/ 59 h 106"/>
              <a:gd name="T16" fmla="*/ 257 w 216"/>
              <a:gd name="T17" fmla="*/ 61 h 106"/>
              <a:gd name="T18" fmla="*/ 271 w 216"/>
              <a:gd name="T19" fmla="*/ 57 h 106"/>
              <a:gd name="T20" fmla="*/ 271 w 216"/>
              <a:gd name="T21" fmla="*/ 44 h 106"/>
              <a:gd name="T22" fmla="*/ 245 w 216"/>
              <a:gd name="T23" fmla="*/ 28 h 106"/>
              <a:gd name="T24" fmla="*/ 264 w 216"/>
              <a:gd name="T25" fmla="*/ 27 h 106"/>
              <a:gd name="T26" fmla="*/ 297 w 216"/>
              <a:gd name="T27" fmla="*/ 62 h 106"/>
              <a:gd name="T28" fmla="*/ 265 w 216"/>
              <a:gd name="T29" fmla="*/ 83 h 106"/>
              <a:gd name="T30" fmla="*/ 230 w 216"/>
              <a:gd name="T31" fmla="*/ 73 h 106"/>
              <a:gd name="T32" fmla="*/ 209 w 216"/>
              <a:gd name="T33" fmla="*/ 98 h 106"/>
              <a:gd name="T34" fmla="*/ 164 w 216"/>
              <a:gd name="T35" fmla="*/ 73 h 106"/>
              <a:gd name="T36" fmla="*/ 13 w 216"/>
              <a:gd name="T37" fmla="*/ 106 h 106"/>
              <a:gd name="T38" fmla="*/ 0 w 216"/>
              <a:gd name="T39" fmla="*/ 42 h 1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
              <a:gd name="T61" fmla="*/ 0 h 106"/>
              <a:gd name="T62" fmla="*/ 216 w 216"/>
              <a:gd name="T63" fmla="*/ 106 h 10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 h="106">
                <a:moveTo>
                  <a:pt x="0" y="42"/>
                </a:moveTo>
                <a:lnTo>
                  <a:pt x="110" y="13"/>
                </a:lnTo>
                <a:lnTo>
                  <a:pt x="123" y="14"/>
                </a:lnTo>
                <a:lnTo>
                  <a:pt x="137" y="0"/>
                </a:lnTo>
                <a:lnTo>
                  <a:pt x="148" y="7"/>
                </a:lnTo>
                <a:lnTo>
                  <a:pt x="134" y="37"/>
                </a:lnTo>
                <a:lnTo>
                  <a:pt x="157" y="35"/>
                </a:lnTo>
                <a:lnTo>
                  <a:pt x="170" y="59"/>
                </a:lnTo>
                <a:lnTo>
                  <a:pt x="186" y="61"/>
                </a:lnTo>
                <a:lnTo>
                  <a:pt x="197" y="57"/>
                </a:lnTo>
                <a:lnTo>
                  <a:pt x="197" y="44"/>
                </a:lnTo>
                <a:lnTo>
                  <a:pt x="178" y="28"/>
                </a:lnTo>
                <a:lnTo>
                  <a:pt x="192" y="27"/>
                </a:lnTo>
                <a:lnTo>
                  <a:pt x="216" y="62"/>
                </a:lnTo>
                <a:lnTo>
                  <a:pt x="193" y="83"/>
                </a:lnTo>
                <a:lnTo>
                  <a:pt x="167" y="73"/>
                </a:lnTo>
                <a:lnTo>
                  <a:pt x="151" y="98"/>
                </a:lnTo>
                <a:lnTo>
                  <a:pt x="118" y="73"/>
                </a:lnTo>
                <a:lnTo>
                  <a:pt x="9" y="106"/>
                </a:lnTo>
                <a:lnTo>
                  <a:pt x="0" y="42"/>
                </a:lnTo>
                <a:close/>
              </a:path>
            </a:pathLst>
          </a:custGeom>
          <a:solidFill>
            <a:schemeClr val="accent3"/>
          </a:solidFill>
          <a:ln w="12700">
            <a:solidFill>
              <a:schemeClr val="bg1"/>
            </a:solidFill>
            <a:round/>
            <a:headEnd/>
            <a:tailEnd/>
          </a:ln>
        </p:spPr>
        <p:txBody>
          <a:bodyPr/>
          <a:lstStyle/>
          <a:p>
            <a:pPr>
              <a:defRPr/>
            </a:pPr>
            <a:endParaRPr lang="en-GB"/>
          </a:p>
        </p:txBody>
      </p:sp>
      <p:sp>
        <p:nvSpPr>
          <p:cNvPr id="27" name="Freeform 26"/>
          <p:cNvSpPr>
            <a:spLocks/>
          </p:cNvSpPr>
          <p:nvPr/>
        </p:nvSpPr>
        <p:spPr bwMode="auto">
          <a:xfrm>
            <a:off x="7056438" y="2271713"/>
            <a:ext cx="227012" cy="434975"/>
          </a:xfrm>
          <a:custGeom>
            <a:avLst/>
            <a:gdLst>
              <a:gd name="T0" fmla="*/ 34 w 119"/>
              <a:gd name="T1" fmla="*/ 0 h 228"/>
              <a:gd name="T2" fmla="*/ 0 w 119"/>
              <a:gd name="T3" fmla="*/ 40 h 228"/>
              <a:gd name="T4" fmla="*/ 37 w 119"/>
              <a:gd name="T5" fmla="*/ 93 h 228"/>
              <a:gd name="T6" fmla="*/ 15 w 119"/>
              <a:gd name="T7" fmla="*/ 107 h 228"/>
              <a:gd name="T8" fmla="*/ 24 w 119"/>
              <a:gd name="T9" fmla="*/ 228 h 228"/>
              <a:gd name="T10" fmla="*/ 116 w 119"/>
              <a:gd name="T11" fmla="*/ 211 h 228"/>
              <a:gd name="T12" fmla="*/ 141 w 119"/>
              <a:gd name="T13" fmla="*/ 211 h 228"/>
              <a:gd name="T14" fmla="*/ 154 w 119"/>
              <a:gd name="T15" fmla="*/ 198 h 228"/>
              <a:gd name="T16" fmla="*/ 154 w 119"/>
              <a:gd name="T17" fmla="*/ 176 h 228"/>
              <a:gd name="T18" fmla="*/ 165 w 119"/>
              <a:gd name="T19" fmla="*/ 161 h 228"/>
              <a:gd name="T20" fmla="*/ 113 w 119"/>
              <a:gd name="T21" fmla="*/ 144 h 228"/>
              <a:gd name="T22" fmla="*/ 47 w 119"/>
              <a:gd name="T23" fmla="*/ 11 h 228"/>
              <a:gd name="T24" fmla="*/ 34 w 119"/>
              <a:gd name="T25" fmla="*/ 0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9"/>
              <a:gd name="T40" fmla="*/ 0 h 228"/>
              <a:gd name="T41" fmla="*/ 119 w 119"/>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9" h="228">
                <a:moveTo>
                  <a:pt x="25" y="0"/>
                </a:moveTo>
                <a:lnTo>
                  <a:pt x="0" y="40"/>
                </a:lnTo>
                <a:lnTo>
                  <a:pt x="27" y="93"/>
                </a:lnTo>
                <a:lnTo>
                  <a:pt x="11" y="107"/>
                </a:lnTo>
                <a:lnTo>
                  <a:pt x="17" y="228"/>
                </a:lnTo>
                <a:lnTo>
                  <a:pt x="84" y="211"/>
                </a:lnTo>
                <a:lnTo>
                  <a:pt x="102" y="211"/>
                </a:lnTo>
                <a:lnTo>
                  <a:pt x="112" y="198"/>
                </a:lnTo>
                <a:lnTo>
                  <a:pt x="112" y="176"/>
                </a:lnTo>
                <a:lnTo>
                  <a:pt x="119" y="161"/>
                </a:lnTo>
                <a:lnTo>
                  <a:pt x="82" y="144"/>
                </a:lnTo>
                <a:lnTo>
                  <a:pt x="34" y="11"/>
                </a:lnTo>
                <a:lnTo>
                  <a:pt x="25" y="0"/>
                </a:lnTo>
                <a:close/>
              </a:path>
            </a:pathLst>
          </a:custGeom>
          <a:solidFill>
            <a:schemeClr val="accent3"/>
          </a:solidFill>
          <a:ln w="12700">
            <a:solidFill>
              <a:schemeClr val="bg1"/>
            </a:solidFill>
            <a:round/>
            <a:headEnd/>
            <a:tailEnd/>
          </a:ln>
        </p:spPr>
        <p:txBody>
          <a:bodyPr/>
          <a:lstStyle/>
          <a:p>
            <a:pPr>
              <a:defRPr/>
            </a:pPr>
            <a:endParaRPr lang="en-GB"/>
          </a:p>
        </p:txBody>
      </p:sp>
      <p:grpSp>
        <p:nvGrpSpPr>
          <p:cNvPr id="3" name="Group 27"/>
          <p:cNvGrpSpPr>
            <a:grpSpLocks/>
          </p:cNvGrpSpPr>
          <p:nvPr/>
        </p:nvGrpSpPr>
        <p:grpSpPr bwMode="auto">
          <a:xfrm>
            <a:off x="2030693" y="2176832"/>
            <a:ext cx="5263492" cy="2675059"/>
            <a:chOff x="1657" y="1277"/>
            <a:chExt cx="2764" cy="1404"/>
          </a:xfrm>
          <a:solidFill>
            <a:schemeClr val="accent3"/>
          </a:solidFill>
        </p:grpSpPr>
        <p:sp>
          <p:nvSpPr>
            <p:cNvPr id="41" name="Freeform 28"/>
            <p:cNvSpPr>
              <a:spLocks/>
            </p:cNvSpPr>
            <p:nvPr/>
          </p:nvSpPr>
          <p:spPr bwMode="auto">
            <a:xfrm>
              <a:off x="1657" y="1722"/>
              <a:ext cx="388" cy="629"/>
            </a:xfrm>
            <a:custGeom>
              <a:avLst/>
              <a:gdLst>
                <a:gd name="T0" fmla="*/ 50 w 388"/>
                <a:gd name="T1" fmla="*/ 0 h 629"/>
                <a:gd name="T2" fmla="*/ 0 w 388"/>
                <a:gd name="T3" fmla="*/ 250 h 629"/>
                <a:gd name="T4" fmla="*/ 264 w 388"/>
                <a:gd name="T5" fmla="*/ 629 h 629"/>
                <a:gd name="T6" fmla="*/ 281 w 388"/>
                <a:gd name="T7" fmla="*/ 613 h 629"/>
                <a:gd name="T8" fmla="*/ 279 w 388"/>
                <a:gd name="T9" fmla="*/ 538 h 629"/>
                <a:gd name="T10" fmla="*/ 312 w 388"/>
                <a:gd name="T11" fmla="*/ 544 h 629"/>
                <a:gd name="T12" fmla="*/ 346 w 388"/>
                <a:gd name="T13" fmla="*/ 313 h 629"/>
                <a:gd name="T14" fmla="*/ 369 w 388"/>
                <a:gd name="T15" fmla="*/ 157 h 629"/>
                <a:gd name="T16" fmla="*/ 376 w 388"/>
                <a:gd name="T17" fmla="*/ 110 h 629"/>
                <a:gd name="T18" fmla="*/ 388 w 388"/>
                <a:gd name="T19" fmla="*/ 67 h 629"/>
                <a:gd name="T20" fmla="*/ 214 w 388"/>
                <a:gd name="T21" fmla="*/ 38 h 629"/>
                <a:gd name="T22" fmla="*/ 50 w 388"/>
                <a:gd name="T23" fmla="*/ 0 h 6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8"/>
                <a:gd name="T37" fmla="*/ 0 h 629"/>
                <a:gd name="T38" fmla="*/ 388 w 388"/>
                <a:gd name="T39" fmla="*/ 629 h 6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8" h="629">
                  <a:moveTo>
                    <a:pt x="50" y="0"/>
                  </a:moveTo>
                  <a:lnTo>
                    <a:pt x="0" y="250"/>
                  </a:lnTo>
                  <a:lnTo>
                    <a:pt x="264" y="629"/>
                  </a:lnTo>
                  <a:lnTo>
                    <a:pt x="281" y="613"/>
                  </a:lnTo>
                  <a:lnTo>
                    <a:pt x="279" y="538"/>
                  </a:lnTo>
                  <a:lnTo>
                    <a:pt x="312" y="544"/>
                  </a:lnTo>
                  <a:lnTo>
                    <a:pt x="346" y="313"/>
                  </a:lnTo>
                  <a:lnTo>
                    <a:pt x="369" y="157"/>
                  </a:lnTo>
                  <a:lnTo>
                    <a:pt x="376" y="110"/>
                  </a:lnTo>
                  <a:lnTo>
                    <a:pt x="388" y="67"/>
                  </a:lnTo>
                  <a:lnTo>
                    <a:pt x="214" y="38"/>
                  </a:lnTo>
                  <a:lnTo>
                    <a:pt x="50" y="0"/>
                  </a:lnTo>
                  <a:close/>
                </a:path>
              </a:pathLst>
            </a:custGeom>
            <a:grpFill/>
            <a:ln w="12700">
              <a:solidFill>
                <a:schemeClr val="bg1"/>
              </a:solidFill>
              <a:round/>
              <a:headEnd/>
              <a:tailEnd/>
            </a:ln>
          </p:spPr>
          <p:txBody>
            <a:bodyPr/>
            <a:lstStyle/>
            <a:p>
              <a:pPr>
                <a:defRPr/>
              </a:pPr>
              <a:endParaRPr lang="en-GB"/>
            </a:p>
          </p:txBody>
        </p:sp>
        <p:sp>
          <p:nvSpPr>
            <p:cNvPr id="42" name="Freeform 29"/>
            <p:cNvSpPr>
              <a:spLocks/>
            </p:cNvSpPr>
            <p:nvPr/>
          </p:nvSpPr>
          <p:spPr bwMode="auto">
            <a:xfrm>
              <a:off x="1978" y="1791"/>
              <a:ext cx="324" cy="449"/>
            </a:xfrm>
            <a:custGeom>
              <a:avLst/>
              <a:gdLst>
                <a:gd name="T0" fmla="*/ 60 w 324"/>
                <a:gd name="T1" fmla="*/ 0 h 449"/>
                <a:gd name="T2" fmla="*/ 219 w 324"/>
                <a:gd name="T3" fmla="*/ 23 h 449"/>
                <a:gd name="T4" fmla="*/ 208 w 324"/>
                <a:gd name="T5" fmla="*/ 109 h 449"/>
                <a:gd name="T6" fmla="*/ 324 w 324"/>
                <a:gd name="T7" fmla="*/ 121 h 449"/>
                <a:gd name="T8" fmla="*/ 292 w 324"/>
                <a:gd name="T9" fmla="*/ 449 h 449"/>
                <a:gd name="T10" fmla="*/ 0 w 324"/>
                <a:gd name="T11" fmla="*/ 415 h 449"/>
                <a:gd name="T12" fmla="*/ 30 w 324"/>
                <a:gd name="T13" fmla="*/ 205 h 449"/>
                <a:gd name="T14" fmla="*/ 60 w 324"/>
                <a:gd name="T15" fmla="*/ 0 h 449"/>
                <a:gd name="T16" fmla="*/ 0 60000 65536"/>
                <a:gd name="T17" fmla="*/ 0 60000 65536"/>
                <a:gd name="T18" fmla="*/ 0 60000 65536"/>
                <a:gd name="T19" fmla="*/ 0 60000 65536"/>
                <a:gd name="T20" fmla="*/ 0 60000 65536"/>
                <a:gd name="T21" fmla="*/ 0 60000 65536"/>
                <a:gd name="T22" fmla="*/ 0 60000 65536"/>
                <a:gd name="T23" fmla="*/ 0 60000 65536"/>
                <a:gd name="T24" fmla="*/ 0 w 324"/>
                <a:gd name="T25" fmla="*/ 0 h 449"/>
                <a:gd name="T26" fmla="*/ 324 w 324"/>
                <a:gd name="T27" fmla="*/ 449 h 4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4" h="449">
                  <a:moveTo>
                    <a:pt x="60" y="0"/>
                  </a:moveTo>
                  <a:lnTo>
                    <a:pt x="219" y="23"/>
                  </a:lnTo>
                  <a:lnTo>
                    <a:pt x="208" y="109"/>
                  </a:lnTo>
                  <a:lnTo>
                    <a:pt x="324" y="121"/>
                  </a:lnTo>
                  <a:lnTo>
                    <a:pt x="292" y="449"/>
                  </a:lnTo>
                  <a:lnTo>
                    <a:pt x="0" y="415"/>
                  </a:lnTo>
                  <a:lnTo>
                    <a:pt x="30" y="205"/>
                  </a:lnTo>
                  <a:lnTo>
                    <a:pt x="60" y="0"/>
                  </a:lnTo>
                  <a:close/>
                </a:path>
              </a:pathLst>
            </a:custGeom>
            <a:grpFill/>
            <a:ln w="12700">
              <a:solidFill>
                <a:schemeClr val="bg1"/>
              </a:solidFill>
              <a:round/>
              <a:headEnd/>
              <a:tailEnd/>
            </a:ln>
          </p:spPr>
          <p:txBody>
            <a:bodyPr/>
            <a:lstStyle/>
            <a:p>
              <a:pPr>
                <a:defRPr/>
              </a:pPr>
              <a:endParaRPr lang="en-GB"/>
            </a:p>
          </p:txBody>
        </p:sp>
        <p:sp>
          <p:nvSpPr>
            <p:cNvPr id="43" name="Freeform 30"/>
            <p:cNvSpPr>
              <a:spLocks/>
            </p:cNvSpPr>
            <p:nvPr/>
          </p:nvSpPr>
          <p:spPr bwMode="auto">
            <a:xfrm>
              <a:off x="2183" y="1571"/>
              <a:ext cx="415" cy="365"/>
            </a:xfrm>
            <a:custGeom>
              <a:avLst/>
              <a:gdLst>
                <a:gd name="T0" fmla="*/ 40 w 415"/>
                <a:gd name="T1" fmla="*/ 0 h 365"/>
                <a:gd name="T2" fmla="*/ 25 w 415"/>
                <a:gd name="T3" fmla="*/ 136 h 365"/>
                <a:gd name="T4" fmla="*/ 0 w 415"/>
                <a:gd name="T5" fmla="*/ 331 h 365"/>
                <a:gd name="T6" fmla="*/ 120 w 415"/>
                <a:gd name="T7" fmla="*/ 342 h 365"/>
                <a:gd name="T8" fmla="*/ 401 w 415"/>
                <a:gd name="T9" fmla="*/ 365 h 365"/>
                <a:gd name="T10" fmla="*/ 415 w 415"/>
                <a:gd name="T11" fmla="*/ 37 h 365"/>
                <a:gd name="T12" fmla="*/ 40 w 415"/>
                <a:gd name="T13" fmla="*/ 0 h 365"/>
                <a:gd name="T14" fmla="*/ 0 60000 65536"/>
                <a:gd name="T15" fmla="*/ 0 60000 65536"/>
                <a:gd name="T16" fmla="*/ 0 60000 65536"/>
                <a:gd name="T17" fmla="*/ 0 60000 65536"/>
                <a:gd name="T18" fmla="*/ 0 60000 65536"/>
                <a:gd name="T19" fmla="*/ 0 60000 65536"/>
                <a:gd name="T20" fmla="*/ 0 60000 65536"/>
                <a:gd name="T21" fmla="*/ 0 w 415"/>
                <a:gd name="T22" fmla="*/ 0 h 365"/>
                <a:gd name="T23" fmla="*/ 415 w 415"/>
                <a:gd name="T24" fmla="*/ 365 h 3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365">
                  <a:moveTo>
                    <a:pt x="40" y="0"/>
                  </a:moveTo>
                  <a:lnTo>
                    <a:pt x="25" y="136"/>
                  </a:lnTo>
                  <a:lnTo>
                    <a:pt x="0" y="331"/>
                  </a:lnTo>
                  <a:lnTo>
                    <a:pt x="120" y="342"/>
                  </a:lnTo>
                  <a:lnTo>
                    <a:pt x="401" y="365"/>
                  </a:lnTo>
                  <a:lnTo>
                    <a:pt x="415" y="37"/>
                  </a:lnTo>
                  <a:lnTo>
                    <a:pt x="40" y="0"/>
                  </a:lnTo>
                  <a:close/>
                </a:path>
              </a:pathLst>
            </a:custGeom>
            <a:grpFill/>
            <a:ln w="12700">
              <a:solidFill>
                <a:schemeClr val="bg1"/>
              </a:solidFill>
              <a:round/>
              <a:headEnd/>
              <a:tailEnd/>
            </a:ln>
          </p:spPr>
          <p:txBody>
            <a:bodyPr/>
            <a:lstStyle/>
            <a:p>
              <a:pPr>
                <a:defRPr/>
              </a:pPr>
              <a:endParaRPr lang="en-GB"/>
            </a:p>
          </p:txBody>
        </p:sp>
        <p:sp>
          <p:nvSpPr>
            <p:cNvPr id="44" name="Freeform 31"/>
            <p:cNvSpPr>
              <a:spLocks/>
            </p:cNvSpPr>
            <p:nvPr/>
          </p:nvSpPr>
          <p:spPr bwMode="auto">
            <a:xfrm>
              <a:off x="2267" y="1912"/>
              <a:ext cx="433" cy="347"/>
            </a:xfrm>
            <a:custGeom>
              <a:avLst/>
              <a:gdLst>
                <a:gd name="T0" fmla="*/ 36 w 433"/>
                <a:gd name="T1" fmla="*/ 0 h 347"/>
                <a:gd name="T2" fmla="*/ 14 w 433"/>
                <a:gd name="T3" fmla="*/ 208 h 347"/>
                <a:gd name="T4" fmla="*/ 0 w 433"/>
                <a:gd name="T5" fmla="*/ 328 h 347"/>
                <a:gd name="T6" fmla="*/ 216 w 433"/>
                <a:gd name="T7" fmla="*/ 339 h 347"/>
                <a:gd name="T8" fmla="*/ 423 w 433"/>
                <a:gd name="T9" fmla="*/ 347 h 347"/>
                <a:gd name="T10" fmla="*/ 430 w 433"/>
                <a:gd name="T11" fmla="*/ 184 h 347"/>
                <a:gd name="T12" fmla="*/ 433 w 433"/>
                <a:gd name="T13" fmla="*/ 26 h 347"/>
                <a:gd name="T14" fmla="*/ 315 w 433"/>
                <a:gd name="T15" fmla="*/ 23 h 347"/>
                <a:gd name="T16" fmla="*/ 36 w 433"/>
                <a:gd name="T17" fmla="*/ 0 h 3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3"/>
                <a:gd name="T28" fmla="*/ 0 h 347"/>
                <a:gd name="T29" fmla="*/ 433 w 433"/>
                <a:gd name="T30" fmla="*/ 347 h 3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3" h="347">
                  <a:moveTo>
                    <a:pt x="36" y="0"/>
                  </a:moveTo>
                  <a:lnTo>
                    <a:pt x="14" y="208"/>
                  </a:lnTo>
                  <a:lnTo>
                    <a:pt x="0" y="328"/>
                  </a:lnTo>
                  <a:lnTo>
                    <a:pt x="216" y="339"/>
                  </a:lnTo>
                  <a:lnTo>
                    <a:pt x="423" y="347"/>
                  </a:lnTo>
                  <a:lnTo>
                    <a:pt x="430" y="184"/>
                  </a:lnTo>
                  <a:lnTo>
                    <a:pt x="433" y="26"/>
                  </a:lnTo>
                  <a:lnTo>
                    <a:pt x="315" y="23"/>
                  </a:lnTo>
                  <a:lnTo>
                    <a:pt x="36" y="0"/>
                  </a:lnTo>
                  <a:close/>
                </a:path>
              </a:pathLst>
            </a:custGeom>
            <a:grpFill/>
            <a:ln w="12700">
              <a:solidFill>
                <a:schemeClr val="bg1"/>
              </a:solidFill>
              <a:round/>
              <a:headEnd/>
              <a:tailEnd/>
            </a:ln>
          </p:spPr>
          <p:txBody>
            <a:bodyPr/>
            <a:lstStyle/>
            <a:p>
              <a:pPr>
                <a:defRPr/>
              </a:pPr>
              <a:endParaRPr lang="en-GB"/>
            </a:p>
          </p:txBody>
        </p:sp>
        <p:sp>
          <p:nvSpPr>
            <p:cNvPr id="45" name="Freeform 32"/>
            <p:cNvSpPr>
              <a:spLocks/>
            </p:cNvSpPr>
            <p:nvPr/>
          </p:nvSpPr>
          <p:spPr bwMode="auto">
            <a:xfrm>
              <a:off x="1877" y="2203"/>
              <a:ext cx="393" cy="469"/>
            </a:xfrm>
            <a:custGeom>
              <a:avLst/>
              <a:gdLst>
                <a:gd name="T0" fmla="*/ 100 w 393"/>
                <a:gd name="T1" fmla="*/ 0 h 469"/>
                <a:gd name="T2" fmla="*/ 92 w 393"/>
                <a:gd name="T3" fmla="*/ 61 h 469"/>
                <a:gd name="T4" fmla="*/ 58 w 393"/>
                <a:gd name="T5" fmla="*/ 54 h 469"/>
                <a:gd name="T6" fmla="*/ 61 w 393"/>
                <a:gd name="T7" fmla="*/ 133 h 469"/>
                <a:gd name="T8" fmla="*/ 44 w 393"/>
                <a:gd name="T9" fmla="*/ 148 h 469"/>
                <a:gd name="T10" fmla="*/ 68 w 393"/>
                <a:gd name="T11" fmla="*/ 197 h 469"/>
                <a:gd name="T12" fmla="*/ 44 w 393"/>
                <a:gd name="T13" fmla="*/ 218 h 469"/>
                <a:gd name="T14" fmla="*/ 31 w 393"/>
                <a:gd name="T15" fmla="*/ 253 h 469"/>
                <a:gd name="T16" fmla="*/ 12 w 393"/>
                <a:gd name="T17" fmla="*/ 287 h 469"/>
                <a:gd name="T18" fmla="*/ 26 w 393"/>
                <a:gd name="T19" fmla="*/ 307 h 469"/>
                <a:gd name="T20" fmla="*/ 3 w 393"/>
                <a:gd name="T21" fmla="*/ 315 h 469"/>
                <a:gd name="T22" fmla="*/ 0 w 393"/>
                <a:gd name="T23" fmla="*/ 347 h 469"/>
                <a:gd name="T24" fmla="*/ 221 w 393"/>
                <a:gd name="T25" fmla="*/ 467 h 469"/>
                <a:gd name="T26" fmla="*/ 346 w 393"/>
                <a:gd name="T27" fmla="*/ 469 h 469"/>
                <a:gd name="T28" fmla="*/ 393 w 393"/>
                <a:gd name="T29" fmla="*/ 37 h 469"/>
                <a:gd name="T30" fmla="*/ 100 w 393"/>
                <a:gd name="T31" fmla="*/ 0 h 4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3"/>
                <a:gd name="T49" fmla="*/ 0 h 469"/>
                <a:gd name="T50" fmla="*/ 393 w 393"/>
                <a:gd name="T51" fmla="*/ 469 h 4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3" h="469">
                  <a:moveTo>
                    <a:pt x="100" y="0"/>
                  </a:moveTo>
                  <a:lnTo>
                    <a:pt x="92" y="61"/>
                  </a:lnTo>
                  <a:lnTo>
                    <a:pt x="58" y="54"/>
                  </a:lnTo>
                  <a:lnTo>
                    <a:pt x="61" y="133"/>
                  </a:lnTo>
                  <a:lnTo>
                    <a:pt x="44" y="148"/>
                  </a:lnTo>
                  <a:lnTo>
                    <a:pt x="68" y="197"/>
                  </a:lnTo>
                  <a:lnTo>
                    <a:pt x="44" y="218"/>
                  </a:lnTo>
                  <a:lnTo>
                    <a:pt x="31" y="253"/>
                  </a:lnTo>
                  <a:lnTo>
                    <a:pt x="12" y="287"/>
                  </a:lnTo>
                  <a:lnTo>
                    <a:pt x="26" y="307"/>
                  </a:lnTo>
                  <a:lnTo>
                    <a:pt x="3" y="315"/>
                  </a:lnTo>
                  <a:lnTo>
                    <a:pt x="0" y="347"/>
                  </a:lnTo>
                  <a:lnTo>
                    <a:pt x="221" y="467"/>
                  </a:lnTo>
                  <a:lnTo>
                    <a:pt x="346" y="469"/>
                  </a:lnTo>
                  <a:lnTo>
                    <a:pt x="393" y="37"/>
                  </a:lnTo>
                  <a:lnTo>
                    <a:pt x="100" y="0"/>
                  </a:lnTo>
                  <a:close/>
                </a:path>
              </a:pathLst>
            </a:custGeom>
            <a:grpFill/>
            <a:ln w="12700">
              <a:solidFill>
                <a:schemeClr val="bg1"/>
              </a:solidFill>
              <a:round/>
              <a:headEnd/>
              <a:tailEnd/>
            </a:ln>
          </p:spPr>
          <p:txBody>
            <a:bodyPr/>
            <a:lstStyle/>
            <a:p>
              <a:pPr>
                <a:defRPr/>
              </a:pPr>
              <a:endParaRPr lang="en-GB"/>
            </a:p>
          </p:txBody>
        </p:sp>
        <p:sp>
          <p:nvSpPr>
            <p:cNvPr id="46" name="Freeform 33"/>
            <p:cNvSpPr>
              <a:spLocks/>
            </p:cNvSpPr>
            <p:nvPr/>
          </p:nvSpPr>
          <p:spPr bwMode="auto">
            <a:xfrm>
              <a:off x="2220" y="2236"/>
              <a:ext cx="417" cy="445"/>
            </a:xfrm>
            <a:custGeom>
              <a:avLst/>
              <a:gdLst>
                <a:gd name="T0" fmla="*/ 50 w 417"/>
                <a:gd name="T1" fmla="*/ 0 h 445"/>
                <a:gd name="T2" fmla="*/ 417 w 417"/>
                <a:gd name="T3" fmla="*/ 18 h 445"/>
                <a:gd name="T4" fmla="*/ 399 w 417"/>
                <a:gd name="T5" fmla="*/ 411 h 445"/>
                <a:gd name="T6" fmla="*/ 280 w 417"/>
                <a:gd name="T7" fmla="*/ 403 h 445"/>
                <a:gd name="T8" fmla="*/ 168 w 417"/>
                <a:gd name="T9" fmla="*/ 400 h 445"/>
                <a:gd name="T10" fmla="*/ 168 w 417"/>
                <a:gd name="T11" fmla="*/ 415 h 445"/>
                <a:gd name="T12" fmla="*/ 75 w 417"/>
                <a:gd name="T13" fmla="*/ 415 h 445"/>
                <a:gd name="T14" fmla="*/ 70 w 417"/>
                <a:gd name="T15" fmla="*/ 445 h 445"/>
                <a:gd name="T16" fmla="*/ 0 w 417"/>
                <a:gd name="T17" fmla="*/ 435 h 445"/>
                <a:gd name="T18" fmla="*/ 39 w 417"/>
                <a:gd name="T19" fmla="*/ 102 h 445"/>
                <a:gd name="T20" fmla="*/ 50 w 417"/>
                <a:gd name="T21" fmla="*/ 0 h 4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7"/>
                <a:gd name="T34" fmla="*/ 0 h 445"/>
                <a:gd name="T35" fmla="*/ 417 w 417"/>
                <a:gd name="T36" fmla="*/ 445 h 4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7" h="445">
                  <a:moveTo>
                    <a:pt x="50" y="0"/>
                  </a:moveTo>
                  <a:lnTo>
                    <a:pt x="417" y="18"/>
                  </a:lnTo>
                  <a:lnTo>
                    <a:pt x="399" y="411"/>
                  </a:lnTo>
                  <a:lnTo>
                    <a:pt x="280" y="403"/>
                  </a:lnTo>
                  <a:lnTo>
                    <a:pt x="168" y="400"/>
                  </a:lnTo>
                  <a:lnTo>
                    <a:pt x="168" y="415"/>
                  </a:lnTo>
                  <a:lnTo>
                    <a:pt x="75" y="415"/>
                  </a:lnTo>
                  <a:lnTo>
                    <a:pt x="70" y="445"/>
                  </a:lnTo>
                  <a:lnTo>
                    <a:pt x="0" y="435"/>
                  </a:lnTo>
                  <a:lnTo>
                    <a:pt x="39" y="102"/>
                  </a:lnTo>
                  <a:lnTo>
                    <a:pt x="50" y="0"/>
                  </a:lnTo>
                  <a:close/>
                </a:path>
              </a:pathLst>
            </a:custGeom>
            <a:grpFill/>
            <a:ln w="12700">
              <a:solidFill>
                <a:schemeClr val="bg1"/>
              </a:solidFill>
              <a:round/>
              <a:headEnd/>
              <a:tailEnd/>
            </a:ln>
          </p:spPr>
          <p:txBody>
            <a:bodyPr/>
            <a:lstStyle/>
            <a:p>
              <a:pPr>
                <a:defRPr/>
              </a:pPr>
              <a:endParaRPr lang="en-GB"/>
            </a:p>
          </p:txBody>
        </p:sp>
        <p:sp>
          <p:nvSpPr>
            <p:cNvPr id="47" name="Freeform 34"/>
            <p:cNvSpPr>
              <a:spLocks/>
            </p:cNvSpPr>
            <p:nvPr/>
          </p:nvSpPr>
          <p:spPr bwMode="auto">
            <a:xfrm>
              <a:off x="2599" y="1277"/>
              <a:ext cx="407" cy="256"/>
            </a:xfrm>
            <a:custGeom>
              <a:avLst/>
              <a:gdLst>
                <a:gd name="T0" fmla="*/ 1 w 407"/>
                <a:gd name="T1" fmla="*/ 0 h 256"/>
                <a:gd name="T2" fmla="*/ 342 w 407"/>
                <a:gd name="T3" fmla="*/ 8 h 256"/>
                <a:gd name="T4" fmla="*/ 367 w 407"/>
                <a:gd name="T5" fmla="*/ 83 h 256"/>
                <a:gd name="T6" fmla="*/ 391 w 407"/>
                <a:gd name="T7" fmla="*/ 141 h 256"/>
                <a:gd name="T8" fmla="*/ 407 w 407"/>
                <a:gd name="T9" fmla="*/ 235 h 256"/>
                <a:gd name="T10" fmla="*/ 397 w 407"/>
                <a:gd name="T11" fmla="*/ 256 h 256"/>
                <a:gd name="T12" fmla="*/ 272 w 407"/>
                <a:gd name="T13" fmla="*/ 253 h 256"/>
                <a:gd name="T14" fmla="*/ 0 w 407"/>
                <a:gd name="T15" fmla="*/ 248 h 256"/>
                <a:gd name="T16" fmla="*/ 1 w 407"/>
                <a:gd name="T17" fmla="*/ 0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7"/>
                <a:gd name="T28" fmla="*/ 0 h 256"/>
                <a:gd name="T29" fmla="*/ 407 w 40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7" h="256">
                  <a:moveTo>
                    <a:pt x="1" y="0"/>
                  </a:moveTo>
                  <a:lnTo>
                    <a:pt x="342" y="8"/>
                  </a:lnTo>
                  <a:lnTo>
                    <a:pt x="367" y="83"/>
                  </a:lnTo>
                  <a:lnTo>
                    <a:pt x="391" y="141"/>
                  </a:lnTo>
                  <a:lnTo>
                    <a:pt x="407" y="235"/>
                  </a:lnTo>
                  <a:lnTo>
                    <a:pt x="397" y="256"/>
                  </a:lnTo>
                  <a:lnTo>
                    <a:pt x="272" y="253"/>
                  </a:lnTo>
                  <a:lnTo>
                    <a:pt x="0" y="248"/>
                  </a:lnTo>
                  <a:lnTo>
                    <a:pt x="1" y="0"/>
                  </a:lnTo>
                  <a:close/>
                </a:path>
              </a:pathLst>
            </a:custGeom>
            <a:grpFill/>
            <a:ln w="12700">
              <a:solidFill>
                <a:schemeClr val="bg1"/>
              </a:solidFill>
              <a:round/>
              <a:headEnd/>
              <a:tailEnd/>
            </a:ln>
          </p:spPr>
          <p:txBody>
            <a:bodyPr/>
            <a:lstStyle/>
            <a:p>
              <a:pPr>
                <a:defRPr/>
              </a:pPr>
              <a:endParaRPr lang="en-GB"/>
            </a:p>
          </p:txBody>
        </p:sp>
        <p:sp>
          <p:nvSpPr>
            <p:cNvPr id="48" name="Freeform 35"/>
            <p:cNvSpPr>
              <a:spLocks/>
            </p:cNvSpPr>
            <p:nvPr/>
          </p:nvSpPr>
          <p:spPr bwMode="auto">
            <a:xfrm>
              <a:off x="2588" y="1524"/>
              <a:ext cx="428" cy="300"/>
            </a:xfrm>
            <a:custGeom>
              <a:avLst/>
              <a:gdLst>
                <a:gd name="T0" fmla="*/ 8 w 428"/>
                <a:gd name="T1" fmla="*/ 0 h 300"/>
                <a:gd name="T2" fmla="*/ 7 w 428"/>
                <a:gd name="T3" fmla="*/ 116 h 300"/>
                <a:gd name="T4" fmla="*/ 0 w 428"/>
                <a:gd name="T5" fmla="*/ 252 h 300"/>
                <a:gd name="T6" fmla="*/ 311 w 428"/>
                <a:gd name="T7" fmla="*/ 257 h 300"/>
                <a:gd name="T8" fmla="*/ 344 w 428"/>
                <a:gd name="T9" fmla="*/ 276 h 300"/>
                <a:gd name="T10" fmla="*/ 367 w 428"/>
                <a:gd name="T11" fmla="*/ 250 h 300"/>
                <a:gd name="T12" fmla="*/ 428 w 428"/>
                <a:gd name="T13" fmla="*/ 300 h 300"/>
                <a:gd name="T14" fmla="*/ 419 w 428"/>
                <a:gd name="T15" fmla="*/ 248 h 300"/>
                <a:gd name="T16" fmla="*/ 425 w 428"/>
                <a:gd name="T17" fmla="*/ 208 h 300"/>
                <a:gd name="T18" fmla="*/ 428 w 428"/>
                <a:gd name="T19" fmla="*/ 71 h 300"/>
                <a:gd name="T20" fmla="*/ 401 w 428"/>
                <a:gd name="T21" fmla="*/ 42 h 300"/>
                <a:gd name="T22" fmla="*/ 412 w 428"/>
                <a:gd name="T23" fmla="*/ 4 h 300"/>
                <a:gd name="T24" fmla="*/ 208 w 428"/>
                <a:gd name="T25" fmla="*/ 3 h 300"/>
                <a:gd name="T26" fmla="*/ 8 w 428"/>
                <a:gd name="T27" fmla="*/ 0 h 3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8"/>
                <a:gd name="T43" fmla="*/ 0 h 300"/>
                <a:gd name="T44" fmla="*/ 428 w 428"/>
                <a:gd name="T45" fmla="*/ 300 h 3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8" h="300">
                  <a:moveTo>
                    <a:pt x="8" y="0"/>
                  </a:moveTo>
                  <a:lnTo>
                    <a:pt x="7" y="116"/>
                  </a:lnTo>
                  <a:lnTo>
                    <a:pt x="0" y="252"/>
                  </a:lnTo>
                  <a:lnTo>
                    <a:pt x="311" y="257"/>
                  </a:lnTo>
                  <a:lnTo>
                    <a:pt x="344" y="276"/>
                  </a:lnTo>
                  <a:lnTo>
                    <a:pt x="367" y="250"/>
                  </a:lnTo>
                  <a:lnTo>
                    <a:pt x="428" y="300"/>
                  </a:lnTo>
                  <a:lnTo>
                    <a:pt x="419" y="248"/>
                  </a:lnTo>
                  <a:lnTo>
                    <a:pt x="425" y="208"/>
                  </a:lnTo>
                  <a:lnTo>
                    <a:pt x="428" y="71"/>
                  </a:lnTo>
                  <a:lnTo>
                    <a:pt x="401" y="42"/>
                  </a:lnTo>
                  <a:lnTo>
                    <a:pt x="412" y="4"/>
                  </a:lnTo>
                  <a:lnTo>
                    <a:pt x="208" y="3"/>
                  </a:lnTo>
                  <a:lnTo>
                    <a:pt x="8" y="0"/>
                  </a:lnTo>
                  <a:close/>
                </a:path>
              </a:pathLst>
            </a:custGeom>
            <a:grpFill/>
            <a:ln w="12700">
              <a:solidFill>
                <a:schemeClr val="bg1"/>
              </a:solidFill>
              <a:round/>
              <a:headEnd/>
              <a:tailEnd/>
            </a:ln>
          </p:spPr>
          <p:txBody>
            <a:bodyPr/>
            <a:lstStyle/>
            <a:p>
              <a:pPr>
                <a:defRPr/>
              </a:pPr>
              <a:endParaRPr lang="en-GB"/>
            </a:p>
          </p:txBody>
        </p:sp>
        <p:sp>
          <p:nvSpPr>
            <p:cNvPr id="49" name="Freeform 36"/>
            <p:cNvSpPr>
              <a:spLocks/>
            </p:cNvSpPr>
            <p:nvPr/>
          </p:nvSpPr>
          <p:spPr bwMode="auto">
            <a:xfrm>
              <a:off x="2582" y="1773"/>
              <a:ext cx="510" cy="247"/>
            </a:xfrm>
            <a:custGeom>
              <a:avLst/>
              <a:gdLst>
                <a:gd name="T0" fmla="*/ 5 w 510"/>
                <a:gd name="T1" fmla="*/ 0 h 247"/>
                <a:gd name="T2" fmla="*/ 0 w 510"/>
                <a:gd name="T3" fmla="*/ 163 h 247"/>
                <a:gd name="T4" fmla="*/ 115 w 510"/>
                <a:gd name="T5" fmla="*/ 167 h 247"/>
                <a:gd name="T6" fmla="*/ 114 w 510"/>
                <a:gd name="T7" fmla="*/ 247 h 247"/>
                <a:gd name="T8" fmla="*/ 269 w 510"/>
                <a:gd name="T9" fmla="*/ 245 h 247"/>
                <a:gd name="T10" fmla="*/ 408 w 510"/>
                <a:gd name="T11" fmla="*/ 242 h 247"/>
                <a:gd name="T12" fmla="*/ 510 w 510"/>
                <a:gd name="T13" fmla="*/ 245 h 247"/>
                <a:gd name="T14" fmla="*/ 478 w 510"/>
                <a:gd name="T15" fmla="*/ 175 h 247"/>
                <a:gd name="T16" fmla="*/ 456 w 510"/>
                <a:gd name="T17" fmla="*/ 110 h 247"/>
                <a:gd name="T18" fmla="*/ 432 w 510"/>
                <a:gd name="T19" fmla="*/ 43 h 247"/>
                <a:gd name="T20" fmla="*/ 374 w 510"/>
                <a:gd name="T21" fmla="*/ 1 h 247"/>
                <a:gd name="T22" fmla="*/ 348 w 510"/>
                <a:gd name="T23" fmla="*/ 26 h 247"/>
                <a:gd name="T24" fmla="*/ 316 w 510"/>
                <a:gd name="T25" fmla="*/ 8 h 247"/>
                <a:gd name="T26" fmla="*/ 177 w 510"/>
                <a:gd name="T27" fmla="*/ 3 h 247"/>
                <a:gd name="T28" fmla="*/ 5 w 510"/>
                <a:gd name="T29" fmla="*/ 0 h 2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0"/>
                <a:gd name="T46" fmla="*/ 0 h 247"/>
                <a:gd name="T47" fmla="*/ 510 w 510"/>
                <a:gd name="T48" fmla="*/ 247 h 2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0" h="247">
                  <a:moveTo>
                    <a:pt x="5" y="0"/>
                  </a:moveTo>
                  <a:lnTo>
                    <a:pt x="0" y="163"/>
                  </a:lnTo>
                  <a:lnTo>
                    <a:pt x="115" y="167"/>
                  </a:lnTo>
                  <a:lnTo>
                    <a:pt x="114" y="247"/>
                  </a:lnTo>
                  <a:lnTo>
                    <a:pt x="269" y="245"/>
                  </a:lnTo>
                  <a:lnTo>
                    <a:pt x="408" y="242"/>
                  </a:lnTo>
                  <a:lnTo>
                    <a:pt x="510" y="245"/>
                  </a:lnTo>
                  <a:lnTo>
                    <a:pt x="478" y="175"/>
                  </a:lnTo>
                  <a:lnTo>
                    <a:pt x="456" y="110"/>
                  </a:lnTo>
                  <a:lnTo>
                    <a:pt x="432" y="43"/>
                  </a:lnTo>
                  <a:lnTo>
                    <a:pt x="374" y="1"/>
                  </a:lnTo>
                  <a:lnTo>
                    <a:pt x="348" y="26"/>
                  </a:lnTo>
                  <a:lnTo>
                    <a:pt x="316" y="8"/>
                  </a:lnTo>
                  <a:lnTo>
                    <a:pt x="177" y="3"/>
                  </a:lnTo>
                  <a:lnTo>
                    <a:pt x="5" y="0"/>
                  </a:lnTo>
                  <a:close/>
                </a:path>
              </a:pathLst>
            </a:custGeom>
            <a:grpFill/>
            <a:ln w="12700">
              <a:solidFill>
                <a:schemeClr val="bg1"/>
              </a:solidFill>
              <a:round/>
              <a:headEnd/>
              <a:tailEnd/>
            </a:ln>
          </p:spPr>
          <p:txBody>
            <a:bodyPr/>
            <a:lstStyle/>
            <a:p>
              <a:pPr>
                <a:defRPr/>
              </a:pPr>
              <a:endParaRPr lang="en-GB"/>
            </a:p>
          </p:txBody>
        </p:sp>
        <p:sp>
          <p:nvSpPr>
            <p:cNvPr id="50" name="Freeform 37"/>
            <p:cNvSpPr>
              <a:spLocks/>
            </p:cNvSpPr>
            <p:nvPr/>
          </p:nvSpPr>
          <p:spPr bwMode="auto">
            <a:xfrm>
              <a:off x="2690" y="2014"/>
              <a:ext cx="449" cy="246"/>
            </a:xfrm>
            <a:custGeom>
              <a:avLst/>
              <a:gdLst>
                <a:gd name="T0" fmla="*/ 5 w 449"/>
                <a:gd name="T1" fmla="*/ 2 h 246"/>
                <a:gd name="T2" fmla="*/ 3 w 449"/>
                <a:gd name="T3" fmla="*/ 143 h 246"/>
                <a:gd name="T4" fmla="*/ 0 w 449"/>
                <a:gd name="T5" fmla="*/ 243 h 246"/>
                <a:gd name="T6" fmla="*/ 449 w 449"/>
                <a:gd name="T7" fmla="*/ 246 h 246"/>
                <a:gd name="T8" fmla="*/ 440 w 449"/>
                <a:gd name="T9" fmla="*/ 118 h 246"/>
                <a:gd name="T10" fmla="*/ 440 w 449"/>
                <a:gd name="T11" fmla="*/ 69 h 246"/>
                <a:gd name="T12" fmla="*/ 404 w 449"/>
                <a:gd name="T13" fmla="*/ 40 h 246"/>
                <a:gd name="T14" fmla="*/ 415 w 449"/>
                <a:gd name="T15" fmla="*/ 14 h 246"/>
                <a:gd name="T16" fmla="*/ 399 w 449"/>
                <a:gd name="T17" fmla="*/ 0 h 246"/>
                <a:gd name="T18" fmla="*/ 196 w 449"/>
                <a:gd name="T19" fmla="*/ 2 h 246"/>
                <a:gd name="T20" fmla="*/ 5 w 449"/>
                <a:gd name="T21" fmla="*/ 2 h 2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9"/>
                <a:gd name="T34" fmla="*/ 0 h 246"/>
                <a:gd name="T35" fmla="*/ 449 w 449"/>
                <a:gd name="T36" fmla="*/ 246 h 2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9" h="246">
                  <a:moveTo>
                    <a:pt x="5" y="2"/>
                  </a:moveTo>
                  <a:lnTo>
                    <a:pt x="3" y="143"/>
                  </a:lnTo>
                  <a:lnTo>
                    <a:pt x="0" y="243"/>
                  </a:lnTo>
                  <a:lnTo>
                    <a:pt x="449" y="246"/>
                  </a:lnTo>
                  <a:lnTo>
                    <a:pt x="440" y="118"/>
                  </a:lnTo>
                  <a:lnTo>
                    <a:pt x="440" y="69"/>
                  </a:lnTo>
                  <a:lnTo>
                    <a:pt x="404" y="40"/>
                  </a:lnTo>
                  <a:lnTo>
                    <a:pt x="415" y="14"/>
                  </a:lnTo>
                  <a:lnTo>
                    <a:pt x="399" y="0"/>
                  </a:lnTo>
                  <a:lnTo>
                    <a:pt x="196" y="2"/>
                  </a:lnTo>
                  <a:lnTo>
                    <a:pt x="5" y="2"/>
                  </a:lnTo>
                  <a:close/>
                </a:path>
              </a:pathLst>
            </a:custGeom>
            <a:grpFill/>
            <a:ln w="12700">
              <a:solidFill>
                <a:schemeClr val="bg1"/>
              </a:solidFill>
              <a:round/>
              <a:headEnd/>
              <a:tailEnd/>
            </a:ln>
          </p:spPr>
          <p:txBody>
            <a:bodyPr/>
            <a:lstStyle/>
            <a:p>
              <a:pPr>
                <a:defRPr/>
              </a:pPr>
              <a:endParaRPr lang="en-GB"/>
            </a:p>
          </p:txBody>
        </p:sp>
        <p:sp>
          <p:nvSpPr>
            <p:cNvPr id="51" name="Freeform 38"/>
            <p:cNvSpPr>
              <a:spLocks/>
            </p:cNvSpPr>
            <p:nvPr/>
          </p:nvSpPr>
          <p:spPr bwMode="auto">
            <a:xfrm>
              <a:off x="2630" y="2254"/>
              <a:ext cx="523" cy="270"/>
            </a:xfrm>
            <a:custGeom>
              <a:avLst/>
              <a:gdLst>
                <a:gd name="T0" fmla="*/ 3 w 523"/>
                <a:gd name="T1" fmla="*/ 0 h 270"/>
                <a:gd name="T2" fmla="*/ 0 w 523"/>
                <a:gd name="T3" fmla="*/ 48 h 270"/>
                <a:gd name="T4" fmla="*/ 186 w 523"/>
                <a:gd name="T5" fmla="*/ 55 h 270"/>
                <a:gd name="T6" fmla="*/ 187 w 523"/>
                <a:gd name="T7" fmla="*/ 209 h 270"/>
                <a:gd name="T8" fmla="*/ 282 w 523"/>
                <a:gd name="T9" fmla="*/ 251 h 270"/>
                <a:gd name="T10" fmla="*/ 308 w 523"/>
                <a:gd name="T11" fmla="*/ 236 h 270"/>
                <a:gd name="T12" fmla="*/ 369 w 523"/>
                <a:gd name="T13" fmla="*/ 270 h 270"/>
                <a:gd name="T14" fmla="*/ 408 w 523"/>
                <a:gd name="T15" fmla="*/ 269 h 270"/>
                <a:gd name="T16" fmla="*/ 480 w 523"/>
                <a:gd name="T17" fmla="*/ 236 h 270"/>
                <a:gd name="T18" fmla="*/ 523 w 523"/>
                <a:gd name="T19" fmla="*/ 268 h 270"/>
                <a:gd name="T20" fmla="*/ 523 w 523"/>
                <a:gd name="T21" fmla="*/ 101 h 270"/>
                <a:gd name="T22" fmla="*/ 510 w 523"/>
                <a:gd name="T23" fmla="*/ 3 h 270"/>
                <a:gd name="T24" fmla="*/ 3 w 523"/>
                <a:gd name="T25" fmla="*/ 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23"/>
                <a:gd name="T40" fmla="*/ 0 h 270"/>
                <a:gd name="T41" fmla="*/ 523 w 52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23" h="270">
                  <a:moveTo>
                    <a:pt x="3" y="0"/>
                  </a:moveTo>
                  <a:lnTo>
                    <a:pt x="0" y="48"/>
                  </a:lnTo>
                  <a:lnTo>
                    <a:pt x="186" y="55"/>
                  </a:lnTo>
                  <a:lnTo>
                    <a:pt x="187" y="209"/>
                  </a:lnTo>
                  <a:lnTo>
                    <a:pt x="282" y="251"/>
                  </a:lnTo>
                  <a:lnTo>
                    <a:pt x="308" y="236"/>
                  </a:lnTo>
                  <a:lnTo>
                    <a:pt x="369" y="270"/>
                  </a:lnTo>
                  <a:lnTo>
                    <a:pt x="408" y="269"/>
                  </a:lnTo>
                  <a:lnTo>
                    <a:pt x="480" y="236"/>
                  </a:lnTo>
                  <a:lnTo>
                    <a:pt x="523" y="268"/>
                  </a:lnTo>
                  <a:lnTo>
                    <a:pt x="523" y="101"/>
                  </a:lnTo>
                  <a:lnTo>
                    <a:pt x="510" y="3"/>
                  </a:lnTo>
                  <a:lnTo>
                    <a:pt x="3" y="0"/>
                  </a:lnTo>
                  <a:close/>
                </a:path>
              </a:pathLst>
            </a:custGeom>
            <a:grpFill/>
            <a:ln w="12700">
              <a:solidFill>
                <a:schemeClr val="bg1"/>
              </a:solidFill>
              <a:round/>
              <a:headEnd/>
              <a:tailEnd/>
            </a:ln>
          </p:spPr>
          <p:txBody>
            <a:bodyPr/>
            <a:lstStyle/>
            <a:p>
              <a:pPr>
                <a:defRPr/>
              </a:pPr>
              <a:endParaRPr lang="en-GB"/>
            </a:p>
          </p:txBody>
        </p:sp>
        <p:sp>
          <p:nvSpPr>
            <p:cNvPr id="52" name="Freeform 39"/>
            <p:cNvSpPr>
              <a:spLocks/>
            </p:cNvSpPr>
            <p:nvPr/>
          </p:nvSpPr>
          <p:spPr bwMode="auto">
            <a:xfrm>
              <a:off x="3006" y="1715"/>
              <a:ext cx="354" cy="247"/>
            </a:xfrm>
            <a:custGeom>
              <a:avLst/>
              <a:gdLst>
                <a:gd name="T0" fmla="*/ 6 w 354"/>
                <a:gd name="T1" fmla="*/ 13 h 247"/>
                <a:gd name="T2" fmla="*/ 0 w 354"/>
                <a:gd name="T3" fmla="*/ 57 h 247"/>
                <a:gd name="T4" fmla="*/ 8 w 354"/>
                <a:gd name="T5" fmla="*/ 103 h 247"/>
                <a:gd name="T6" fmla="*/ 41 w 354"/>
                <a:gd name="T7" fmla="*/ 197 h 247"/>
                <a:gd name="T8" fmla="*/ 59 w 354"/>
                <a:gd name="T9" fmla="*/ 247 h 247"/>
                <a:gd name="T10" fmla="*/ 267 w 354"/>
                <a:gd name="T11" fmla="*/ 235 h 247"/>
                <a:gd name="T12" fmla="*/ 301 w 354"/>
                <a:gd name="T13" fmla="*/ 247 h 247"/>
                <a:gd name="T14" fmla="*/ 322 w 354"/>
                <a:gd name="T15" fmla="*/ 199 h 247"/>
                <a:gd name="T16" fmla="*/ 314 w 354"/>
                <a:gd name="T17" fmla="*/ 165 h 247"/>
                <a:gd name="T18" fmla="*/ 349 w 354"/>
                <a:gd name="T19" fmla="*/ 158 h 247"/>
                <a:gd name="T20" fmla="*/ 354 w 354"/>
                <a:gd name="T21" fmla="*/ 104 h 247"/>
                <a:gd name="T22" fmla="*/ 333 w 354"/>
                <a:gd name="T23" fmla="*/ 80 h 247"/>
                <a:gd name="T24" fmla="*/ 297 w 354"/>
                <a:gd name="T25" fmla="*/ 57 h 247"/>
                <a:gd name="T26" fmla="*/ 304 w 354"/>
                <a:gd name="T27" fmla="*/ 24 h 247"/>
                <a:gd name="T28" fmla="*/ 289 w 354"/>
                <a:gd name="T29" fmla="*/ 0 h 247"/>
                <a:gd name="T30" fmla="*/ 211 w 354"/>
                <a:gd name="T31" fmla="*/ 4 h 247"/>
                <a:gd name="T32" fmla="*/ 133 w 354"/>
                <a:gd name="T33" fmla="*/ 7 h 247"/>
                <a:gd name="T34" fmla="*/ 6 w 354"/>
                <a:gd name="T35" fmla="*/ 13 h 2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47"/>
                <a:gd name="T56" fmla="*/ 354 w 354"/>
                <a:gd name="T57" fmla="*/ 247 h 24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47">
                  <a:moveTo>
                    <a:pt x="6" y="13"/>
                  </a:moveTo>
                  <a:lnTo>
                    <a:pt x="0" y="57"/>
                  </a:lnTo>
                  <a:lnTo>
                    <a:pt x="8" y="103"/>
                  </a:lnTo>
                  <a:lnTo>
                    <a:pt x="41" y="197"/>
                  </a:lnTo>
                  <a:lnTo>
                    <a:pt x="59" y="247"/>
                  </a:lnTo>
                  <a:lnTo>
                    <a:pt x="267" y="235"/>
                  </a:lnTo>
                  <a:lnTo>
                    <a:pt x="301" y="247"/>
                  </a:lnTo>
                  <a:lnTo>
                    <a:pt x="322" y="199"/>
                  </a:lnTo>
                  <a:lnTo>
                    <a:pt x="314" y="165"/>
                  </a:lnTo>
                  <a:lnTo>
                    <a:pt x="349" y="158"/>
                  </a:lnTo>
                  <a:lnTo>
                    <a:pt x="354" y="104"/>
                  </a:lnTo>
                  <a:lnTo>
                    <a:pt x="333" y="80"/>
                  </a:lnTo>
                  <a:lnTo>
                    <a:pt x="297" y="57"/>
                  </a:lnTo>
                  <a:lnTo>
                    <a:pt x="304" y="24"/>
                  </a:lnTo>
                  <a:lnTo>
                    <a:pt x="289" y="0"/>
                  </a:lnTo>
                  <a:lnTo>
                    <a:pt x="211" y="4"/>
                  </a:lnTo>
                  <a:lnTo>
                    <a:pt x="133" y="7"/>
                  </a:lnTo>
                  <a:lnTo>
                    <a:pt x="6" y="13"/>
                  </a:lnTo>
                  <a:close/>
                </a:path>
              </a:pathLst>
            </a:custGeom>
            <a:grpFill/>
            <a:ln w="12700">
              <a:solidFill>
                <a:schemeClr val="bg1"/>
              </a:solidFill>
              <a:round/>
              <a:headEnd/>
              <a:tailEnd/>
            </a:ln>
          </p:spPr>
          <p:txBody>
            <a:bodyPr/>
            <a:lstStyle/>
            <a:p>
              <a:pPr>
                <a:defRPr/>
              </a:pPr>
              <a:endParaRPr lang="en-GB"/>
            </a:p>
          </p:txBody>
        </p:sp>
        <p:sp>
          <p:nvSpPr>
            <p:cNvPr id="53" name="Freeform 40"/>
            <p:cNvSpPr>
              <a:spLocks/>
            </p:cNvSpPr>
            <p:nvPr/>
          </p:nvSpPr>
          <p:spPr bwMode="auto">
            <a:xfrm>
              <a:off x="3290" y="1768"/>
              <a:ext cx="253" cy="451"/>
            </a:xfrm>
            <a:custGeom>
              <a:avLst/>
              <a:gdLst>
                <a:gd name="T0" fmla="*/ 47 w 253"/>
                <a:gd name="T1" fmla="*/ 26 h 451"/>
                <a:gd name="T2" fmla="*/ 192 w 253"/>
                <a:gd name="T3" fmla="*/ 0 h 451"/>
                <a:gd name="T4" fmla="*/ 215 w 253"/>
                <a:gd name="T5" fmla="*/ 56 h 451"/>
                <a:gd name="T6" fmla="*/ 245 w 253"/>
                <a:gd name="T7" fmla="*/ 286 h 451"/>
                <a:gd name="T8" fmla="*/ 253 w 253"/>
                <a:gd name="T9" fmla="*/ 317 h 451"/>
                <a:gd name="T10" fmla="*/ 230 w 253"/>
                <a:gd name="T11" fmla="*/ 378 h 451"/>
                <a:gd name="T12" fmla="*/ 230 w 253"/>
                <a:gd name="T13" fmla="*/ 420 h 451"/>
                <a:gd name="T14" fmla="*/ 204 w 253"/>
                <a:gd name="T15" fmla="*/ 415 h 451"/>
                <a:gd name="T16" fmla="*/ 205 w 253"/>
                <a:gd name="T17" fmla="*/ 451 h 451"/>
                <a:gd name="T18" fmla="*/ 178 w 253"/>
                <a:gd name="T19" fmla="*/ 436 h 451"/>
                <a:gd name="T20" fmla="*/ 164 w 253"/>
                <a:gd name="T21" fmla="*/ 441 h 451"/>
                <a:gd name="T22" fmla="*/ 143 w 253"/>
                <a:gd name="T23" fmla="*/ 438 h 451"/>
                <a:gd name="T24" fmla="*/ 128 w 253"/>
                <a:gd name="T25" fmla="*/ 384 h 451"/>
                <a:gd name="T26" fmla="*/ 98 w 253"/>
                <a:gd name="T27" fmla="*/ 367 h 451"/>
                <a:gd name="T28" fmla="*/ 98 w 253"/>
                <a:gd name="T29" fmla="*/ 309 h 451"/>
                <a:gd name="T30" fmla="*/ 69 w 253"/>
                <a:gd name="T31" fmla="*/ 317 h 451"/>
                <a:gd name="T32" fmla="*/ 52 w 253"/>
                <a:gd name="T33" fmla="*/ 274 h 451"/>
                <a:gd name="T34" fmla="*/ 0 w 253"/>
                <a:gd name="T35" fmla="*/ 225 h 451"/>
                <a:gd name="T36" fmla="*/ 38 w 253"/>
                <a:gd name="T37" fmla="*/ 147 h 451"/>
                <a:gd name="T38" fmla="*/ 27 w 253"/>
                <a:gd name="T39" fmla="*/ 111 h 451"/>
                <a:gd name="T40" fmla="*/ 65 w 253"/>
                <a:gd name="T41" fmla="*/ 104 h 451"/>
                <a:gd name="T42" fmla="*/ 69 w 253"/>
                <a:gd name="T43" fmla="*/ 53 h 451"/>
                <a:gd name="T44" fmla="*/ 47 w 253"/>
                <a:gd name="T45" fmla="*/ 26 h 4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3"/>
                <a:gd name="T70" fmla="*/ 0 h 451"/>
                <a:gd name="T71" fmla="*/ 253 w 253"/>
                <a:gd name="T72" fmla="*/ 451 h 4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3" h="451">
                  <a:moveTo>
                    <a:pt x="47" y="26"/>
                  </a:moveTo>
                  <a:lnTo>
                    <a:pt x="192" y="0"/>
                  </a:lnTo>
                  <a:lnTo>
                    <a:pt x="215" y="56"/>
                  </a:lnTo>
                  <a:lnTo>
                    <a:pt x="245" y="286"/>
                  </a:lnTo>
                  <a:lnTo>
                    <a:pt x="253" y="317"/>
                  </a:lnTo>
                  <a:lnTo>
                    <a:pt x="230" y="378"/>
                  </a:lnTo>
                  <a:lnTo>
                    <a:pt x="230" y="420"/>
                  </a:lnTo>
                  <a:lnTo>
                    <a:pt x="204" y="415"/>
                  </a:lnTo>
                  <a:lnTo>
                    <a:pt x="205" y="451"/>
                  </a:lnTo>
                  <a:lnTo>
                    <a:pt x="178" y="436"/>
                  </a:lnTo>
                  <a:lnTo>
                    <a:pt x="164" y="441"/>
                  </a:lnTo>
                  <a:lnTo>
                    <a:pt x="143" y="438"/>
                  </a:lnTo>
                  <a:lnTo>
                    <a:pt x="128" y="384"/>
                  </a:lnTo>
                  <a:lnTo>
                    <a:pt x="98" y="367"/>
                  </a:lnTo>
                  <a:lnTo>
                    <a:pt x="98" y="309"/>
                  </a:lnTo>
                  <a:lnTo>
                    <a:pt x="69" y="317"/>
                  </a:lnTo>
                  <a:lnTo>
                    <a:pt x="52" y="274"/>
                  </a:lnTo>
                  <a:lnTo>
                    <a:pt x="0" y="225"/>
                  </a:lnTo>
                  <a:lnTo>
                    <a:pt x="38" y="147"/>
                  </a:lnTo>
                  <a:lnTo>
                    <a:pt x="27" y="111"/>
                  </a:lnTo>
                  <a:lnTo>
                    <a:pt x="65" y="104"/>
                  </a:lnTo>
                  <a:lnTo>
                    <a:pt x="69" y="53"/>
                  </a:lnTo>
                  <a:lnTo>
                    <a:pt x="47" y="26"/>
                  </a:lnTo>
                  <a:close/>
                </a:path>
              </a:pathLst>
            </a:custGeom>
            <a:grpFill/>
            <a:ln w="12700">
              <a:solidFill>
                <a:schemeClr val="bg1"/>
              </a:solidFill>
              <a:round/>
              <a:headEnd/>
              <a:tailEnd/>
            </a:ln>
          </p:spPr>
          <p:txBody>
            <a:bodyPr/>
            <a:lstStyle/>
            <a:p>
              <a:pPr>
                <a:defRPr/>
              </a:pPr>
              <a:endParaRPr lang="en-GB"/>
            </a:p>
          </p:txBody>
        </p:sp>
        <p:sp>
          <p:nvSpPr>
            <p:cNvPr id="54" name="Freeform 41"/>
            <p:cNvSpPr>
              <a:spLocks/>
            </p:cNvSpPr>
            <p:nvPr/>
          </p:nvSpPr>
          <p:spPr bwMode="auto">
            <a:xfrm>
              <a:off x="4206" y="1689"/>
              <a:ext cx="92" cy="196"/>
            </a:xfrm>
            <a:custGeom>
              <a:avLst/>
              <a:gdLst>
                <a:gd name="T0" fmla="*/ 17 w 92"/>
                <a:gd name="T1" fmla="*/ 2 h 196"/>
                <a:gd name="T2" fmla="*/ 39 w 92"/>
                <a:gd name="T3" fmla="*/ 0 h 196"/>
                <a:gd name="T4" fmla="*/ 82 w 92"/>
                <a:gd name="T5" fmla="*/ 30 h 196"/>
                <a:gd name="T6" fmla="*/ 76 w 92"/>
                <a:gd name="T7" fmla="*/ 53 h 196"/>
                <a:gd name="T8" fmla="*/ 91 w 92"/>
                <a:gd name="T9" fmla="*/ 69 h 196"/>
                <a:gd name="T10" fmla="*/ 92 w 92"/>
                <a:gd name="T11" fmla="*/ 160 h 196"/>
                <a:gd name="T12" fmla="*/ 77 w 92"/>
                <a:gd name="T13" fmla="*/ 196 h 196"/>
                <a:gd name="T14" fmla="*/ 59 w 92"/>
                <a:gd name="T15" fmla="*/ 183 h 196"/>
                <a:gd name="T16" fmla="*/ 41 w 92"/>
                <a:gd name="T17" fmla="*/ 182 h 196"/>
                <a:gd name="T18" fmla="*/ 9 w 92"/>
                <a:gd name="T19" fmla="*/ 163 h 196"/>
                <a:gd name="T20" fmla="*/ 33 w 92"/>
                <a:gd name="T21" fmla="*/ 105 h 196"/>
                <a:gd name="T22" fmla="*/ 0 w 92"/>
                <a:gd name="T23" fmla="*/ 75 h 196"/>
                <a:gd name="T24" fmla="*/ 17 w 92"/>
                <a:gd name="T25" fmla="*/ 2 h 1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96"/>
                <a:gd name="T41" fmla="*/ 92 w 92"/>
                <a:gd name="T42" fmla="*/ 196 h 1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96">
                  <a:moveTo>
                    <a:pt x="17" y="2"/>
                  </a:moveTo>
                  <a:lnTo>
                    <a:pt x="39" y="0"/>
                  </a:lnTo>
                  <a:lnTo>
                    <a:pt x="82" y="30"/>
                  </a:lnTo>
                  <a:lnTo>
                    <a:pt x="76" y="53"/>
                  </a:lnTo>
                  <a:lnTo>
                    <a:pt x="91" y="69"/>
                  </a:lnTo>
                  <a:lnTo>
                    <a:pt x="92" y="160"/>
                  </a:lnTo>
                  <a:lnTo>
                    <a:pt x="77" y="196"/>
                  </a:lnTo>
                  <a:lnTo>
                    <a:pt x="59" y="183"/>
                  </a:lnTo>
                  <a:lnTo>
                    <a:pt x="41" y="182"/>
                  </a:lnTo>
                  <a:lnTo>
                    <a:pt x="9" y="163"/>
                  </a:lnTo>
                  <a:lnTo>
                    <a:pt x="33" y="105"/>
                  </a:lnTo>
                  <a:lnTo>
                    <a:pt x="0" y="75"/>
                  </a:lnTo>
                  <a:lnTo>
                    <a:pt x="17" y="2"/>
                  </a:lnTo>
                  <a:close/>
                </a:path>
              </a:pathLst>
            </a:custGeom>
            <a:grpFill/>
            <a:ln w="12700">
              <a:solidFill>
                <a:schemeClr val="bg1"/>
              </a:solidFill>
              <a:round/>
              <a:headEnd/>
              <a:tailEnd/>
            </a:ln>
          </p:spPr>
          <p:txBody>
            <a:bodyPr/>
            <a:lstStyle/>
            <a:p>
              <a:pPr>
                <a:defRPr/>
              </a:pPr>
              <a:endParaRPr lang="en-GB"/>
            </a:p>
          </p:txBody>
        </p:sp>
        <p:sp>
          <p:nvSpPr>
            <p:cNvPr id="55" name="Freeform 42"/>
            <p:cNvSpPr>
              <a:spLocks/>
            </p:cNvSpPr>
            <p:nvPr/>
          </p:nvSpPr>
          <p:spPr bwMode="auto">
            <a:xfrm>
              <a:off x="4277" y="1604"/>
              <a:ext cx="113" cy="93"/>
            </a:xfrm>
            <a:custGeom>
              <a:avLst/>
              <a:gdLst>
                <a:gd name="T0" fmla="*/ 0 w 113"/>
                <a:gd name="T1" fmla="*/ 23 h 93"/>
                <a:gd name="T2" fmla="*/ 87 w 113"/>
                <a:gd name="T3" fmla="*/ 0 h 93"/>
                <a:gd name="T4" fmla="*/ 113 w 113"/>
                <a:gd name="T5" fmla="*/ 42 h 93"/>
                <a:gd name="T6" fmla="*/ 98 w 113"/>
                <a:gd name="T7" fmla="*/ 61 h 93"/>
                <a:gd name="T8" fmla="*/ 70 w 113"/>
                <a:gd name="T9" fmla="*/ 54 h 93"/>
                <a:gd name="T10" fmla="*/ 28 w 113"/>
                <a:gd name="T11" fmla="*/ 93 h 93"/>
                <a:gd name="T12" fmla="*/ 5 w 113"/>
                <a:gd name="T13" fmla="*/ 73 h 93"/>
                <a:gd name="T14" fmla="*/ 0 w 113"/>
                <a:gd name="T15" fmla="*/ 23 h 93"/>
                <a:gd name="T16" fmla="*/ 0 60000 65536"/>
                <a:gd name="T17" fmla="*/ 0 60000 65536"/>
                <a:gd name="T18" fmla="*/ 0 60000 65536"/>
                <a:gd name="T19" fmla="*/ 0 60000 65536"/>
                <a:gd name="T20" fmla="*/ 0 60000 65536"/>
                <a:gd name="T21" fmla="*/ 0 60000 65536"/>
                <a:gd name="T22" fmla="*/ 0 60000 65536"/>
                <a:gd name="T23" fmla="*/ 0 60000 65536"/>
                <a:gd name="T24" fmla="*/ 0 w 113"/>
                <a:gd name="T25" fmla="*/ 0 h 93"/>
                <a:gd name="T26" fmla="*/ 113 w 11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 h="93">
                  <a:moveTo>
                    <a:pt x="0" y="23"/>
                  </a:moveTo>
                  <a:lnTo>
                    <a:pt x="87" y="0"/>
                  </a:lnTo>
                  <a:lnTo>
                    <a:pt x="113" y="42"/>
                  </a:lnTo>
                  <a:lnTo>
                    <a:pt x="98" y="61"/>
                  </a:lnTo>
                  <a:lnTo>
                    <a:pt x="70" y="54"/>
                  </a:lnTo>
                  <a:lnTo>
                    <a:pt x="28" y="93"/>
                  </a:lnTo>
                  <a:lnTo>
                    <a:pt x="5" y="73"/>
                  </a:lnTo>
                  <a:lnTo>
                    <a:pt x="0" y="23"/>
                  </a:lnTo>
                  <a:close/>
                </a:path>
              </a:pathLst>
            </a:custGeom>
            <a:grpFill/>
            <a:ln w="12700">
              <a:solidFill>
                <a:schemeClr val="bg1"/>
              </a:solidFill>
              <a:round/>
              <a:headEnd/>
              <a:tailEnd/>
            </a:ln>
          </p:spPr>
          <p:txBody>
            <a:bodyPr/>
            <a:lstStyle/>
            <a:p>
              <a:pPr>
                <a:defRPr/>
              </a:pPr>
              <a:endParaRPr lang="en-GB"/>
            </a:p>
          </p:txBody>
        </p:sp>
        <p:sp>
          <p:nvSpPr>
            <p:cNvPr id="56" name="Freeform 43"/>
            <p:cNvSpPr>
              <a:spLocks/>
            </p:cNvSpPr>
            <p:nvPr/>
          </p:nvSpPr>
          <p:spPr bwMode="auto">
            <a:xfrm>
              <a:off x="4364" y="1595"/>
              <a:ext cx="57" cy="51"/>
            </a:xfrm>
            <a:custGeom>
              <a:avLst/>
              <a:gdLst>
                <a:gd name="T0" fmla="*/ 0 w 57"/>
                <a:gd name="T1" fmla="*/ 9 h 51"/>
                <a:gd name="T2" fmla="*/ 24 w 57"/>
                <a:gd name="T3" fmla="*/ 0 h 51"/>
                <a:gd name="T4" fmla="*/ 57 w 57"/>
                <a:gd name="T5" fmla="*/ 26 h 51"/>
                <a:gd name="T6" fmla="*/ 50 w 57"/>
                <a:gd name="T7" fmla="*/ 33 h 51"/>
                <a:gd name="T8" fmla="*/ 34 w 57"/>
                <a:gd name="T9" fmla="*/ 33 h 51"/>
                <a:gd name="T10" fmla="*/ 26 w 57"/>
                <a:gd name="T11" fmla="*/ 51 h 51"/>
                <a:gd name="T12" fmla="*/ 0 w 57"/>
                <a:gd name="T13" fmla="*/ 9 h 51"/>
                <a:gd name="T14" fmla="*/ 0 60000 65536"/>
                <a:gd name="T15" fmla="*/ 0 60000 65536"/>
                <a:gd name="T16" fmla="*/ 0 60000 65536"/>
                <a:gd name="T17" fmla="*/ 0 60000 65536"/>
                <a:gd name="T18" fmla="*/ 0 60000 65536"/>
                <a:gd name="T19" fmla="*/ 0 60000 65536"/>
                <a:gd name="T20" fmla="*/ 0 60000 65536"/>
                <a:gd name="T21" fmla="*/ 0 w 57"/>
                <a:gd name="T22" fmla="*/ 0 h 51"/>
                <a:gd name="T23" fmla="*/ 57 w 57"/>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51">
                  <a:moveTo>
                    <a:pt x="0" y="9"/>
                  </a:moveTo>
                  <a:lnTo>
                    <a:pt x="24" y="0"/>
                  </a:lnTo>
                  <a:lnTo>
                    <a:pt x="57" y="26"/>
                  </a:lnTo>
                  <a:lnTo>
                    <a:pt x="50" y="33"/>
                  </a:lnTo>
                  <a:lnTo>
                    <a:pt x="34" y="33"/>
                  </a:lnTo>
                  <a:lnTo>
                    <a:pt x="26" y="51"/>
                  </a:lnTo>
                  <a:lnTo>
                    <a:pt x="0" y="9"/>
                  </a:lnTo>
                  <a:close/>
                </a:path>
              </a:pathLst>
            </a:custGeom>
            <a:grpFill/>
            <a:ln w="12700">
              <a:solidFill>
                <a:schemeClr val="bg1"/>
              </a:solidFill>
              <a:round/>
              <a:headEnd/>
              <a:tailEnd/>
            </a:ln>
          </p:spPr>
          <p:txBody>
            <a:bodyPr/>
            <a:lstStyle/>
            <a:p>
              <a:pPr>
                <a:defRPr/>
              </a:pPr>
              <a:endParaRPr lang="en-GB"/>
            </a:p>
          </p:txBody>
        </p:sp>
      </p:grpSp>
      <p:sp>
        <p:nvSpPr>
          <p:cNvPr id="29" name="Freeform 44"/>
          <p:cNvSpPr>
            <a:spLocks/>
          </p:cNvSpPr>
          <p:nvPr/>
        </p:nvSpPr>
        <p:spPr bwMode="auto">
          <a:xfrm>
            <a:off x="1874838" y="1914525"/>
            <a:ext cx="739775" cy="584200"/>
          </a:xfrm>
          <a:custGeom>
            <a:avLst/>
            <a:gdLst>
              <a:gd name="T0" fmla="*/ 134 w 389"/>
              <a:gd name="T1" fmla="*/ 0 h 307"/>
              <a:gd name="T2" fmla="*/ 245 w 389"/>
              <a:gd name="T3" fmla="*/ 24 h 307"/>
              <a:gd name="T4" fmla="*/ 328 w 389"/>
              <a:gd name="T5" fmla="*/ 39 h 307"/>
              <a:gd name="T6" fmla="*/ 369 w 389"/>
              <a:gd name="T7" fmla="*/ 46 h 307"/>
              <a:gd name="T8" fmla="*/ 411 w 389"/>
              <a:gd name="T9" fmla="*/ 51 h 307"/>
              <a:gd name="T10" fmla="*/ 466 w 389"/>
              <a:gd name="T11" fmla="*/ 59 h 307"/>
              <a:gd name="T12" fmla="*/ 535 w 389"/>
              <a:gd name="T13" fmla="*/ 68 h 307"/>
              <a:gd name="T14" fmla="*/ 489 w 389"/>
              <a:gd name="T15" fmla="*/ 307 h 307"/>
              <a:gd name="T16" fmla="*/ 282 w 389"/>
              <a:gd name="T17" fmla="*/ 273 h 307"/>
              <a:gd name="T18" fmla="*/ 255 w 389"/>
              <a:gd name="T19" fmla="*/ 288 h 307"/>
              <a:gd name="T20" fmla="*/ 216 w 389"/>
              <a:gd name="T21" fmla="*/ 265 h 307"/>
              <a:gd name="T22" fmla="*/ 184 w 389"/>
              <a:gd name="T23" fmla="*/ 288 h 307"/>
              <a:gd name="T24" fmla="*/ 154 w 389"/>
              <a:gd name="T25" fmla="*/ 268 h 307"/>
              <a:gd name="T26" fmla="*/ 68 w 389"/>
              <a:gd name="T27" fmla="*/ 265 h 307"/>
              <a:gd name="T28" fmla="*/ 81 w 389"/>
              <a:gd name="T29" fmla="*/ 226 h 307"/>
              <a:gd name="T30" fmla="*/ 18 w 389"/>
              <a:gd name="T31" fmla="*/ 222 h 307"/>
              <a:gd name="T32" fmla="*/ 13 w 389"/>
              <a:gd name="T33" fmla="*/ 200 h 307"/>
              <a:gd name="T34" fmla="*/ 25 w 389"/>
              <a:gd name="T35" fmla="*/ 177 h 307"/>
              <a:gd name="T36" fmla="*/ 11 w 389"/>
              <a:gd name="T37" fmla="*/ 155 h 307"/>
              <a:gd name="T38" fmla="*/ 12 w 389"/>
              <a:gd name="T39" fmla="*/ 96 h 307"/>
              <a:gd name="T40" fmla="*/ 0 w 389"/>
              <a:gd name="T41" fmla="*/ 50 h 307"/>
              <a:gd name="T42" fmla="*/ 5 w 389"/>
              <a:gd name="T43" fmla="*/ 32 h 307"/>
              <a:gd name="T44" fmla="*/ 34 w 389"/>
              <a:gd name="T45" fmla="*/ 39 h 307"/>
              <a:gd name="T46" fmla="*/ 63 w 389"/>
              <a:gd name="T47" fmla="*/ 66 h 307"/>
              <a:gd name="T48" fmla="*/ 115 w 389"/>
              <a:gd name="T49" fmla="*/ 72 h 307"/>
              <a:gd name="T50" fmla="*/ 129 w 389"/>
              <a:gd name="T51" fmla="*/ 94 h 307"/>
              <a:gd name="T52" fmla="*/ 103 w 389"/>
              <a:gd name="T53" fmla="*/ 94 h 307"/>
              <a:gd name="T54" fmla="*/ 100 w 389"/>
              <a:gd name="T55" fmla="*/ 113 h 307"/>
              <a:gd name="T56" fmla="*/ 115 w 389"/>
              <a:gd name="T57" fmla="*/ 115 h 307"/>
              <a:gd name="T58" fmla="*/ 120 w 389"/>
              <a:gd name="T59" fmla="*/ 134 h 307"/>
              <a:gd name="T60" fmla="*/ 89 w 389"/>
              <a:gd name="T61" fmla="*/ 148 h 307"/>
              <a:gd name="T62" fmla="*/ 89 w 389"/>
              <a:gd name="T63" fmla="*/ 161 h 307"/>
              <a:gd name="T64" fmla="*/ 124 w 389"/>
              <a:gd name="T65" fmla="*/ 161 h 307"/>
              <a:gd name="T66" fmla="*/ 134 w 389"/>
              <a:gd name="T67" fmla="*/ 128 h 307"/>
              <a:gd name="T68" fmla="*/ 162 w 389"/>
              <a:gd name="T69" fmla="*/ 108 h 307"/>
              <a:gd name="T70" fmla="*/ 129 w 389"/>
              <a:gd name="T71" fmla="*/ 57 h 307"/>
              <a:gd name="T72" fmla="*/ 150 w 389"/>
              <a:gd name="T73" fmla="*/ 40 h 307"/>
              <a:gd name="T74" fmla="*/ 134 w 389"/>
              <a:gd name="T75" fmla="*/ 0 h 3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9"/>
              <a:gd name="T115" fmla="*/ 0 h 307"/>
              <a:gd name="T116" fmla="*/ 389 w 389"/>
              <a:gd name="T117" fmla="*/ 307 h 3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9" h="307">
                <a:moveTo>
                  <a:pt x="98" y="0"/>
                </a:moveTo>
                <a:lnTo>
                  <a:pt x="178" y="24"/>
                </a:lnTo>
                <a:lnTo>
                  <a:pt x="239" y="39"/>
                </a:lnTo>
                <a:lnTo>
                  <a:pt x="269" y="46"/>
                </a:lnTo>
                <a:lnTo>
                  <a:pt x="299" y="51"/>
                </a:lnTo>
                <a:lnTo>
                  <a:pt x="340" y="59"/>
                </a:lnTo>
                <a:lnTo>
                  <a:pt x="389" y="68"/>
                </a:lnTo>
                <a:lnTo>
                  <a:pt x="357" y="307"/>
                </a:lnTo>
                <a:lnTo>
                  <a:pt x="206" y="273"/>
                </a:lnTo>
                <a:lnTo>
                  <a:pt x="186" y="288"/>
                </a:lnTo>
                <a:lnTo>
                  <a:pt x="158" y="265"/>
                </a:lnTo>
                <a:lnTo>
                  <a:pt x="134" y="288"/>
                </a:lnTo>
                <a:lnTo>
                  <a:pt x="112" y="268"/>
                </a:lnTo>
                <a:lnTo>
                  <a:pt x="50" y="265"/>
                </a:lnTo>
                <a:lnTo>
                  <a:pt x="59" y="226"/>
                </a:lnTo>
                <a:lnTo>
                  <a:pt x="14" y="222"/>
                </a:lnTo>
                <a:lnTo>
                  <a:pt x="9" y="200"/>
                </a:lnTo>
                <a:lnTo>
                  <a:pt x="18" y="177"/>
                </a:lnTo>
                <a:lnTo>
                  <a:pt x="7" y="155"/>
                </a:lnTo>
                <a:lnTo>
                  <a:pt x="8" y="96"/>
                </a:lnTo>
                <a:lnTo>
                  <a:pt x="0" y="50"/>
                </a:lnTo>
                <a:lnTo>
                  <a:pt x="5" y="32"/>
                </a:lnTo>
                <a:lnTo>
                  <a:pt x="25" y="39"/>
                </a:lnTo>
                <a:lnTo>
                  <a:pt x="46" y="66"/>
                </a:lnTo>
                <a:lnTo>
                  <a:pt x="84" y="72"/>
                </a:lnTo>
                <a:lnTo>
                  <a:pt x="94" y="94"/>
                </a:lnTo>
                <a:lnTo>
                  <a:pt x="75" y="94"/>
                </a:lnTo>
                <a:lnTo>
                  <a:pt x="73" y="113"/>
                </a:lnTo>
                <a:lnTo>
                  <a:pt x="84" y="115"/>
                </a:lnTo>
                <a:lnTo>
                  <a:pt x="88" y="134"/>
                </a:lnTo>
                <a:lnTo>
                  <a:pt x="65" y="148"/>
                </a:lnTo>
                <a:lnTo>
                  <a:pt x="65" y="161"/>
                </a:lnTo>
                <a:lnTo>
                  <a:pt x="91" y="161"/>
                </a:lnTo>
                <a:lnTo>
                  <a:pt x="98" y="128"/>
                </a:lnTo>
                <a:lnTo>
                  <a:pt x="118" y="108"/>
                </a:lnTo>
                <a:lnTo>
                  <a:pt x="94" y="57"/>
                </a:lnTo>
                <a:lnTo>
                  <a:pt x="109" y="40"/>
                </a:lnTo>
                <a:lnTo>
                  <a:pt x="98" y="0"/>
                </a:lnTo>
                <a:close/>
              </a:path>
            </a:pathLst>
          </a:custGeom>
          <a:solidFill>
            <a:schemeClr val="accent3"/>
          </a:solidFill>
          <a:ln w="12700">
            <a:solidFill>
              <a:schemeClr val="bg1"/>
            </a:solidFill>
            <a:round/>
            <a:headEnd/>
            <a:tailEnd/>
          </a:ln>
        </p:spPr>
        <p:txBody>
          <a:bodyPr/>
          <a:lstStyle/>
          <a:p>
            <a:pPr>
              <a:defRPr/>
            </a:pPr>
            <a:endParaRPr lang="en-GB"/>
          </a:p>
        </p:txBody>
      </p:sp>
      <p:sp>
        <p:nvSpPr>
          <p:cNvPr id="30" name="Freeform 45"/>
          <p:cNvSpPr>
            <a:spLocks/>
          </p:cNvSpPr>
          <p:nvPr/>
        </p:nvSpPr>
        <p:spPr bwMode="auto">
          <a:xfrm>
            <a:off x="1698625" y="2336800"/>
            <a:ext cx="925513" cy="760413"/>
          </a:xfrm>
          <a:custGeom>
            <a:avLst/>
            <a:gdLst>
              <a:gd name="T0" fmla="*/ 147 w 485"/>
              <a:gd name="T1" fmla="*/ 0 h 399"/>
              <a:gd name="T2" fmla="*/ 127 w 485"/>
              <a:gd name="T3" fmla="*/ 9 h 399"/>
              <a:gd name="T4" fmla="*/ 115 w 485"/>
              <a:gd name="T5" fmla="*/ 44 h 399"/>
              <a:gd name="T6" fmla="*/ 102 w 485"/>
              <a:gd name="T7" fmla="*/ 73 h 399"/>
              <a:gd name="T8" fmla="*/ 94 w 485"/>
              <a:gd name="T9" fmla="*/ 97 h 399"/>
              <a:gd name="T10" fmla="*/ 81 w 485"/>
              <a:gd name="T11" fmla="*/ 123 h 399"/>
              <a:gd name="T12" fmla="*/ 67 w 485"/>
              <a:gd name="T13" fmla="*/ 149 h 399"/>
              <a:gd name="T14" fmla="*/ 50 w 485"/>
              <a:gd name="T15" fmla="*/ 177 h 399"/>
              <a:gd name="T16" fmla="*/ 26 w 485"/>
              <a:gd name="T17" fmla="*/ 210 h 399"/>
              <a:gd name="T18" fmla="*/ 0 w 485"/>
              <a:gd name="T19" fmla="*/ 241 h 399"/>
              <a:gd name="T20" fmla="*/ 0 w 485"/>
              <a:gd name="T21" fmla="*/ 311 h 399"/>
              <a:gd name="T22" fmla="*/ 376 w 485"/>
              <a:gd name="T23" fmla="*/ 371 h 399"/>
              <a:gd name="T24" fmla="*/ 552 w 485"/>
              <a:gd name="T25" fmla="*/ 399 h 399"/>
              <a:gd name="T26" fmla="*/ 587 w 485"/>
              <a:gd name="T27" fmla="*/ 260 h 399"/>
              <a:gd name="T28" fmla="*/ 610 w 485"/>
              <a:gd name="T29" fmla="*/ 249 h 399"/>
              <a:gd name="T30" fmla="*/ 588 w 485"/>
              <a:gd name="T31" fmla="*/ 218 h 399"/>
              <a:gd name="T32" fmla="*/ 600 w 485"/>
              <a:gd name="T33" fmla="*/ 186 h 399"/>
              <a:gd name="T34" fmla="*/ 670 w 485"/>
              <a:gd name="T35" fmla="*/ 133 h 399"/>
              <a:gd name="T36" fmla="*/ 621 w 485"/>
              <a:gd name="T37" fmla="*/ 85 h 399"/>
              <a:gd name="T38" fmla="*/ 412 w 485"/>
              <a:gd name="T39" fmla="*/ 51 h 399"/>
              <a:gd name="T40" fmla="*/ 386 w 485"/>
              <a:gd name="T41" fmla="*/ 65 h 399"/>
              <a:gd name="T42" fmla="*/ 346 w 485"/>
              <a:gd name="T43" fmla="*/ 42 h 399"/>
              <a:gd name="T44" fmla="*/ 312 w 485"/>
              <a:gd name="T45" fmla="*/ 66 h 399"/>
              <a:gd name="T46" fmla="*/ 281 w 485"/>
              <a:gd name="T47" fmla="*/ 42 h 399"/>
              <a:gd name="T48" fmla="*/ 197 w 485"/>
              <a:gd name="T49" fmla="*/ 43 h 399"/>
              <a:gd name="T50" fmla="*/ 209 w 485"/>
              <a:gd name="T51" fmla="*/ 4 h 399"/>
              <a:gd name="T52" fmla="*/ 147 w 485"/>
              <a:gd name="T53" fmla="*/ 0 h 39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5"/>
              <a:gd name="T82" fmla="*/ 0 h 399"/>
              <a:gd name="T83" fmla="*/ 485 w 485"/>
              <a:gd name="T84" fmla="*/ 399 h 39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5" h="399">
                <a:moveTo>
                  <a:pt x="106" y="0"/>
                </a:moveTo>
                <a:lnTo>
                  <a:pt x="92" y="9"/>
                </a:lnTo>
                <a:lnTo>
                  <a:pt x="83" y="44"/>
                </a:lnTo>
                <a:lnTo>
                  <a:pt x="74" y="73"/>
                </a:lnTo>
                <a:lnTo>
                  <a:pt x="68" y="97"/>
                </a:lnTo>
                <a:lnTo>
                  <a:pt x="59" y="123"/>
                </a:lnTo>
                <a:lnTo>
                  <a:pt x="49" y="149"/>
                </a:lnTo>
                <a:lnTo>
                  <a:pt x="36" y="177"/>
                </a:lnTo>
                <a:lnTo>
                  <a:pt x="18" y="210"/>
                </a:lnTo>
                <a:lnTo>
                  <a:pt x="0" y="241"/>
                </a:lnTo>
                <a:lnTo>
                  <a:pt x="0" y="311"/>
                </a:lnTo>
                <a:lnTo>
                  <a:pt x="272" y="371"/>
                </a:lnTo>
                <a:lnTo>
                  <a:pt x="398" y="399"/>
                </a:lnTo>
                <a:lnTo>
                  <a:pt x="424" y="260"/>
                </a:lnTo>
                <a:lnTo>
                  <a:pt x="441" y="249"/>
                </a:lnTo>
                <a:lnTo>
                  <a:pt x="425" y="218"/>
                </a:lnTo>
                <a:lnTo>
                  <a:pt x="433" y="186"/>
                </a:lnTo>
                <a:lnTo>
                  <a:pt x="485" y="133"/>
                </a:lnTo>
                <a:lnTo>
                  <a:pt x="449" y="85"/>
                </a:lnTo>
                <a:lnTo>
                  <a:pt x="298" y="51"/>
                </a:lnTo>
                <a:lnTo>
                  <a:pt x="278" y="65"/>
                </a:lnTo>
                <a:lnTo>
                  <a:pt x="250" y="42"/>
                </a:lnTo>
                <a:lnTo>
                  <a:pt x="226" y="66"/>
                </a:lnTo>
                <a:lnTo>
                  <a:pt x="203" y="42"/>
                </a:lnTo>
                <a:lnTo>
                  <a:pt x="143" y="43"/>
                </a:lnTo>
                <a:lnTo>
                  <a:pt x="151" y="4"/>
                </a:lnTo>
                <a:lnTo>
                  <a:pt x="106" y="0"/>
                </a:lnTo>
                <a:close/>
              </a:path>
            </a:pathLst>
          </a:custGeom>
          <a:solidFill>
            <a:schemeClr val="accent3"/>
          </a:solidFill>
          <a:ln w="12700">
            <a:solidFill>
              <a:schemeClr val="bg1"/>
            </a:solidFill>
            <a:round/>
            <a:headEnd/>
            <a:tailEnd/>
          </a:ln>
        </p:spPr>
        <p:txBody>
          <a:bodyPr/>
          <a:lstStyle/>
          <a:p>
            <a:pPr>
              <a:defRPr/>
            </a:pPr>
            <a:endParaRPr lang="en-GB"/>
          </a:p>
        </p:txBody>
      </p:sp>
      <p:sp>
        <p:nvSpPr>
          <p:cNvPr id="31" name="Freeform 46"/>
          <p:cNvSpPr>
            <a:spLocks/>
          </p:cNvSpPr>
          <p:nvPr/>
        </p:nvSpPr>
        <p:spPr bwMode="auto">
          <a:xfrm>
            <a:off x="1622425" y="2925763"/>
            <a:ext cx="976313" cy="1619250"/>
          </a:xfrm>
          <a:custGeom>
            <a:avLst/>
            <a:gdLst>
              <a:gd name="T0" fmla="*/ 55 w 512"/>
              <a:gd name="T1" fmla="*/ 0 h 850"/>
              <a:gd name="T2" fmla="*/ 379 w 512"/>
              <a:gd name="T3" fmla="*/ 50 h 850"/>
              <a:gd name="T4" fmla="*/ 308 w 512"/>
              <a:gd name="T5" fmla="*/ 300 h 850"/>
              <a:gd name="T6" fmla="*/ 673 w 512"/>
              <a:gd name="T7" fmla="*/ 681 h 850"/>
              <a:gd name="T8" fmla="*/ 708 w 512"/>
              <a:gd name="T9" fmla="*/ 730 h 850"/>
              <a:gd name="T10" fmla="*/ 672 w 512"/>
              <a:gd name="T11" fmla="*/ 753 h 850"/>
              <a:gd name="T12" fmla="*/ 651 w 512"/>
              <a:gd name="T13" fmla="*/ 795 h 850"/>
              <a:gd name="T14" fmla="*/ 628 w 512"/>
              <a:gd name="T15" fmla="*/ 820 h 850"/>
              <a:gd name="T16" fmla="*/ 653 w 512"/>
              <a:gd name="T17" fmla="*/ 842 h 850"/>
              <a:gd name="T18" fmla="*/ 612 w 512"/>
              <a:gd name="T19" fmla="*/ 850 h 850"/>
              <a:gd name="T20" fmla="*/ 398 w 512"/>
              <a:gd name="T21" fmla="*/ 844 h 850"/>
              <a:gd name="T22" fmla="*/ 384 w 512"/>
              <a:gd name="T23" fmla="*/ 794 h 850"/>
              <a:gd name="T24" fmla="*/ 348 w 512"/>
              <a:gd name="T25" fmla="*/ 758 h 850"/>
              <a:gd name="T26" fmla="*/ 320 w 512"/>
              <a:gd name="T27" fmla="*/ 745 h 850"/>
              <a:gd name="T28" fmla="*/ 313 w 512"/>
              <a:gd name="T29" fmla="*/ 719 h 850"/>
              <a:gd name="T30" fmla="*/ 291 w 512"/>
              <a:gd name="T31" fmla="*/ 705 h 850"/>
              <a:gd name="T32" fmla="*/ 268 w 512"/>
              <a:gd name="T33" fmla="*/ 687 h 850"/>
              <a:gd name="T34" fmla="*/ 260 w 512"/>
              <a:gd name="T35" fmla="*/ 667 h 850"/>
              <a:gd name="T36" fmla="*/ 240 w 512"/>
              <a:gd name="T37" fmla="*/ 654 h 850"/>
              <a:gd name="T38" fmla="*/ 207 w 512"/>
              <a:gd name="T39" fmla="*/ 661 h 850"/>
              <a:gd name="T40" fmla="*/ 168 w 512"/>
              <a:gd name="T41" fmla="*/ 651 h 850"/>
              <a:gd name="T42" fmla="*/ 168 w 512"/>
              <a:gd name="T43" fmla="*/ 640 h 850"/>
              <a:gd name="T44" fmla="*/ 167 w 512"/>
              <a:gd name="T45" fmla="*/ 617 h 850"/>
              <a:gd name="T46" fmla="*/ 152 w 512"/>
              <a:gd name="T47" fmla="*/ 591 h 850"/>
              <a:gd name="T48" fmla="*/ 151 w 512"/>
              <a:gd name="T49" fmla="*/ 570 h 850"/>
              <a:gd name="T50" fmla="*/ 134 w 512"/>
              <a:gd name="T51" fmla="*/ 551 h 850"/>
              <a:gd name="T52" fmla="*/ 138 w 512"/>
              <a:gd name="T53" fmla="*/ 533 h 850"/>
              <a:gd name="T54" fmla="*/ 92 w 512"/>
              <a:gd name="T55" fmla="*/ 490 h 850"/>
              <a:gd name="T56" fmla="*/ 92 w 512"/>
              <a:gd name="T57" fmla="*/ 465 h 850"/>
              <a:gd name="T58" fmla="*/ 115 w 512"/>
              <a:gd name="T59" fmla="*/ 456 h 850"/>
              <a:gd name="T60" fmla="*/ 115 w 512"/>
              <a:gd name="T61" fmla="*/ 440 h 850"/>
              <a:gd name="T62" fmla="*/ 92 w 512"/>
              <a:gd name="T63" fmla="*/ 436 h 850"/>
              <a:gd name="T64" fmla="*/ 80 w 512"/>
              <a:gd name="T65" fmla="*/ 412 h 850"/>
              <a:gd name="T66" fmla="*/ 69 w 512"/>
              <a:gd name="T67" fmla="*/ 371 h 850"/>
              <a:gd name="T68" fmla="*/ 103 w 512"/>
              <a:gd name="T69" fmla="*/ 393 h 850"/>
              <a:gd name="T70" fmla="*/ 89 w 512"/>
              <a:gd name="T71" fmla="*/ 364 h 850"/>
              <a:gd name="T72" fmla="*/ 115 w 512"/>
              <a:gd name="T73" fmla="*/ 364 h 850"/>
              <a:gd name="T74" fmla="*/ 115 w 512"/>
              <a:gd name="T75" fmla="*/ 343 h 850"/>
              <a:gd name="T76" fmla="*/ 89 w 512"/>
              <a:gd name="T77" fmla="*/ 329 h 850"/>
              <a:gd name="T78" fmla="*/ 78 w 512"/>
              <a:gd name="T79" fmla="*/ 349 h 850"/>
              <a:gd name="T80" fmla="*/ 55 w 512"/>
              <a:gd name="T81" fmla="*/ 342 h 850"/>
              <a:gd name="T82" fmla="*/ 11 w 512"/>
              <a:gd name="T83" fmla="*/ 246 h 850"/>
              <a:gd name="T84" fmla="*/ 22 w 512"/>
              <a:gd name="T85" fmla="*/ 178 h 850"/>
              <a:gd name="T86" fmla="*/ 0 w 512"/>
              <a:gd name="T87" fmla="*/ 139 h 850"/>
              <a:gd name="T88" fmla="*/ 12 w 512"/>
              <a:gd name="T89" fmla="*/ 110 h 850"/>
              <a:gd name="T90" fmla="*/ 33 w 512"/>
              <a:gd name="T91" fmla="*/ 104 h 850"/>
              <a:gd name="T92" fmla="*/ 55 w 512"/>
              <a:gd name="T93" fmla="*/ 57 h 850"/>
              <a:gd name="T94" fmla="*/ 55 w 512"/>
              <a:gd name="T95" fmla="*/ 0 h 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2"/>
              <a:gd name="T145" fmla="*/ 0 h 850"/>
              <a:gd name="T146" fmla="*/ 512 w 512"/>
              <a:gd name="T147" fmla="*/ 850 h 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2" h="850">
                <a:moveTo>
                  <a:pt x="40" y="0"/>
                </a:moveTo>
                <a:lnTo>
                  <a:pt x="275" y="50"/>
                </a:lnTo>
                <a:lnTo>
                  <a:pt x="223" y="300"/>
                </a:lnTo>
                <a:lnTo>
                  <a:pt x="488" y="681"/>
                </a:lnTo>
                <a:lnTo>
                  <a:pt x="512" y="730"/>
                </a:lnTo>
                <a:lnTo>
                  <a:pt x="487" y="753"/>
                </a:lnTo>
                <a:lnTo>
                  <a:pt x="471" y="795"/>
                </a:lnTo>
                <a:lnTo>
                  <a:pt x="455" y="820"/>
                </a:lnTo>
                <a:lnTo>
                  <a:pt x="472" y="842"/>
                </a:lnTo>
                <a:lnTo>
                  <a:pt x="444" y="850"/>
                </a:lnTo>
                <a:lnTo>
                  <a:pt x="289" y="844"/>
                </a:lnTo>
                <a:lnTo>
                  <a:pt x="279" y="794"/>
                </a:lnTo>
                <a:lnTo>
                  <a:pt x="252" y="758"/>
                </a:lnTo>
                <a:lnTo>
                  <a:pt x="232" y="745"/>
                </a:lnTo>
                <a:lnTo>
                  <a:pt x="227" y="719"/>
                </a:lnTo>
                <a:lnTo>
                  <a:pt x="210" y="705"/>
                </a:lnTo>
                <a:lnTo>
                  <a:pt x="194" y="687"/>
                </a:lnTo>
                <a:lnTo>
                  <a:pt x="188" y="667"/>
                </a:lnTo>
                <a:lnTo>
                  <a:pt x="173" y="654"/>
                </a:lnTo>
                <a:lnTo>
                  <a:pt x="149" y="661"/>
                </a:lnTo>
                <a:lnTo>
                  <a:pt x="122" y="651"/>
                </a:lnTo>
                <a:lnTo>
                  <a:pt x="122" y="640"/>
                </a:lnTo>
                <a:lnTo>
                  <a:pt x="121" y="617"/>
                </a:lnTo>
                <a:lnTo>
                  <a:pt x="110" y="591"/>
                </a:lnTo>
                <a:lnTo>
                  <a:pt x="109" y="570"/>
                </a:lnTo>
                <a:lnTo>
                  <a:pt x="97" y="551"/>
                </a:lnTo>
                <a:lnTo>
                  <a:pt x="100" y="533"/>
                </a:lnTo>
                <a:lnTo>
                  <a:pt x="66" y="490"/>
                </a:lnTo>
                <a:lnTo>
                  <a:pt x="66" y="465"/>
                </a:lnTo>
                <a:lnTo>
                  <a:pt x="83" y="456"/>
                </a:lnTo>
                <a:lnTo>
                  <a:pt x="83" y="440"/>
                </a:lnTo>
                <a:lnTo>
                  <a:pt x="66" y="436"/>
                </a:lnTo>
                <a:lnTo>
                  <a:pt x="58" y="412"/>
                </a:lnTo>
                <a:lnTo>
                  <a:pt x="50" y="371"/>
                </a:lnTo>
                <a:lnTo>
                  <a:pt x="75" y="393"/>
                </a:lnTo>
                <a:lnTo>
                  <a:pt x="65" y="364"/>
                </a:lnTo>
                <a:lnTo>
                  <a:pt x="83" y="364"/>
                </a:lnTo>
                <a:lnTo>
                  <a:pt x="83" y="343"/>
                </a:lnTo>
                <a:lnTo>
                  <a:pt x="65" y="329"/>
                </a:lnTo>
                <a:lnTo>
                  <a:pt x="56" y="349"/>
                </a:lnTo>
                <a:lnTo>
                  <a:pt x="40" y="342"/>
                </a:lnTo>
                <a:lnTo>
                  <a:pt x="7" y="246"/>
                </a:lnTo>
                <a:lnTo>
                  <a:pt x="16" y="178"/>
                </a:lnTo>
                <a:lnTo>
                  <a:pt x="0" y="139"/>
                </a:lnTo>
                <a:lnTo>
                  <a:pt x="8" y="110"/>
                </a:lnTo>
                <a:lnTo>
                  <a:pt x="24" y="104"/>
                </a:lnTo>
                <a:lnTo>
                  <a:pt x="40" y="57"/>
                </a:lnTo>
                <a:lnTo>
                  <a:pt x="40" y="0"/>
                </a:lnTo>
                <a:close/>
              </a:path>
            </a:pathLst>
          </a:custGeom>
          <a:solidFill>
            <a:schemeClr val="accent3"/>
          </a:solidFill>
          <a:ln w="12700">
            <a:solidFill>
              <a:schemeClr val="bg1"/>
            </a:solidFill>
            <a:round/>
            <a:headEnd/>
            <a:tailEnd/>
          </a:ln>
        </p:spPr>
        <p:txBody>
          <a:bodyPr/>
          <a:lstStyle/>
          <a:p>
            <a:pPr>
              <a:defRPr/>
            </a:pPr>
            <a:endParaRPr lang="en-GB"/>
          </a:p>
        </p:txBody>
      </p:sp>
      <p:sp>
        <p:nvSpPr>
          <p:cNvPr id="32" name="Freeform 47"/>
          <p:cNvSpPr>
            <a:spLocks/>
          </p:cNvSpPr>
          <p:nvPr/>
        </p:nvSpPr>
        <p:spPr bwMode="auto">
          <a:xfrm>
            <a:off x="2454275" y="2041525"/>
            <a:ext cx="666750" cy="1158875"/>
          </a:xfrm>
          <a:custGeom>
            <a:avLst/>
            <a:gdLst>
              <a:gd name="T0" fmla="*/ 117 w 349"/>
              <a:gd name="T1" fmla="*/ 0 h 608"/>
              <a:gd name="T2" fmla="*/ 72 w 349"/>
              <a:gd name="T3" fmla="*/ 238 h 608"/>
              <a:gd name="T4" fmla="*/ 118 w 349"/>
              <a:gd name="T5" fmla="*/ 288 h 608"/>
              <a:gd name="T6" fmla="*/ 47 w 349"/>
              <a:gd name="T7" fmla="*/ 341 h 608"/>
              <a:gd name="T8" fmla="*/ 37 w 349"/>
              <a:gd name="T9" fmla="*/ 378 h 608"/>
              <a:gd name="T10" fmla="*/ 58 w 349"/>
              <a:gd name="T11" fmla="*/ 404 h 608"/>
              <a:gd name="T12" fmla="*/ 37 w 349"/>
              <a:gd name="T13" fmla="*/ 416 h 608"/>
              <a:gd name="T14" fmla="*/ 0 w 349"/>
              <a:gd name="T15" fmla="*/ 554 h 608"/>
              <a:gd name="T16" fmla="*/ 230 w 349"/>
              <a:gd name="T17" fmla="*/ 586 h 608"/>
              <a:gd name="T18" fmla="*/ 451 w 349"/>
              <a:gd name="T19" fmla="*/ 608 h 608"/>
              <a:gd name="T20" fmla="*/ 472 w 349"/>
              <a:gd name="T21" fmla="*/ 482 h 608"/>
              <a:gd name="T22" fmla="*/ 485 w 349"/>
              <a:gd name="T23" fmla="*/ 413 h 608"/>
              <a:gd name="T24" fmla="*/ 464 w 349"/>
              <a:gd name="T25" fmla="*/ 388 h 608"/>
              <a:gd name="T26" fmla="*/ 414 w 349"/>
              <a:gd name="T27" fmla="*/ 395 h 608"/>
              <a:gd name="T28" fmla="*/ 346 w 349"/>
              <a:gd name="T29" fmla="*/ 401 h 608"/>
              <a:gd name="T30" fmla="*/ 338 w 349"/>
              <a:gd name="T31" fmla="*/ 345 h 608"/>
              <a:gd name="T32" fmla="*/ 257 w 349"/>
              <a:gd name="T33" fmla="*/ 299 h 608"/>
              <a:gd name="T34" fmla="*/ 268 w 349"/>
              <a:gd name="T35" fmla="*/ 270 h 608"/>
              <a:gd name="T36" fmla="*/ 275 w 349"/>
              <a:gd name="T37" fmla="*/ 218 h 608"/>
              <a:gd name="T38" fmla="*/ 175 w 349"/>
              <a:gd name="T39" fmla="*/ 106 h 608"/>
              <a:gd name="T40" fmla="*/ 188 w 349"/>
              <a:gd name="T41" fmla="*/ 7 h 608"/>
              <a:gd name="T42" fmla="*/ 117 w 349"/>
              <a:gd name="T43" fmla="*/ 0 h 6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9"/>
              <a:gd name="T67" fmla="*/ 0 h 608"/>
              <a:gd name="T68" fmla="*/ 349 w 349"/>
              <a:gd name="T69" fmla="*/ 608 h 6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9" h="608">
                <a:moveTo>
                  <a:pt x="84" y="0"/>
                </a:moveTo>
                <a:lnTo>
                  <a:pt x="52" y="238"/>
                </a:lnTo>
                <a:lnTo>
                  <a:pt x="85" y="288"/>
                </a:lnTo>
                <a:lnTo>
                  <a:pt x="34" y="341"/>
                </a:lnTo>
                <a:lnTo>
                  <a:pt x="27" y="378"/>
                </a:lnTo>
                <a:lnTo>
                  <a:pt x="41" y="404"/>
                </a:lnTo>
                <a:lnTo>
                  <a:pt x="27" y="416"/>
                </a:lnTo>
                <a:lnTo>
                  <a:pt x="0" y="554"/>
                </a:lnTo>
                <a:lnTo>
                  <a:pt x="166" y="586"/>
                </a:lnTo>
                <a:lnTo>
                  <a:pt x="324" y="608"/>
                </a:lnTo>
                <a:lnTo>
                  <a:pt x="340" y="482"/>
                </a:lnTo>
                <a:lnTo>
                  <a:pt x="349" y="413"/>
                </a:lnTo>
                <a:lnTo>
                  <a:pt x="333" y="388"/>
                </a:lnTo>
                <a:lnTo>
                  <a:pt x="297" y="395"/>
                </a:lnTo>
                <a:lnTo>
                  <a:pt x="250" y="401"/>
                </a:lnTo>
                <a:lnTo>
                  <a:pt x="242" y="345"/>
                </a:lnTo>
                <a:lnTo>
                  <a:pt x="185" y="299"/>
                </a:lnTo>
                <a:lnTo>
                  <a:pt x="192" y="270"/>
                </a:lnTo>
                <a:lnTo>
                  <a:pt x="198" y="218"/>
                </a:lnTo>
                <a:lnTo>
                  <a:pt x="125" y="106"/>
                </a:lnTo>
                <a:lnTo>
                  <a:pt x="134" y="7"/>
                </a:lnTo>
                <a:lnTo>
                  <a:pt x="84" y="0"/>
                </a:lnTo>
                <a:close/>
              </a:path>
            </a:pathLst>
          </a:custGeom>
          <a:solidFill>
            <a:schemeClr val="accent3"/>
          </a:solidFill>
          <a:ln w="12700">
            <a:solidFill>
              <a:schemeClr val="bg1"/>
            </a:solidFill>
            <a:round/>
            <a:headEnd/>
            <a:tailEnd/>
          </a:ln>
        </p:spPr>
        <p:txBody>
          <a:bodyPr/>
          <a:lstStyle/>
          <a:p>
            <a:pPr>
              <a:defRPr/>
            </a:pPr>
            <a:endParaRPr lang="en-GB"/>
          </a:p>
        </p:txBody>
      </p:sp>
      <p:sp>
        <p:nvSpPr>
          <p:cNvPr id="33" name="Freeform 48"/>
          <p:cNvSpPr>
            <a:spLocks/>
          </p:cNvSpPr>
          <p:nvPr/>
        </p:nvSpPr>
        <p:spPr bwMode="auto">
          <a:xfrm>
            <a:off x="5260975" y="4259263"/>
            <a:ext cx="400050" cy="750887"/>
          </a:xfrm>
          <a:custGeom>
            <a:avLst/>
            <a:gdLst>
              <a:gd name="T0" fmla="*/ 81 w 210"/>
              <a:gd name="T1" fmla="*/ 13 h 394"/>
              <a:gd name="T2" fmla="*/ 37 w 210"/>
              <a:gd name="T3" fmla="*/ 80 h 394"/>
              <a:gd name="T4" fmla="*/ 0 w 210"/>
              <a:gd name="T5" fmla="*/ 124 h 394"/>
              <a:gd name="T6" fmla="*/ 13 w 210"/>
              <a:gd name="T7" fmla="*/ 175 h 394"/>
              <a:gd name="T8" fmla="*/ 57 w 210"/>
              <a:gd name="T9" fmla="*/ 246 h 394"/>
              <a:gd name="T10" fmla="*/ 23 w 210"/>
              <a:gd name="T11" fmla="*/ 318 h 394"/>
              <a:gd name="T12" fmla="*/ 6 w 210"/>
              <a:gd name="T13" fmla="*/ 355 h 394"/>
              <a:gd name="T14" fmla="*/ 174 w 210"/>
              <a:gd name="T15" fmla="*/ 340 h 394"/>
              <a:gd name="T16" fmla="*/ 184 w 210"/>
              <a:gd name="T17" fmla="*/ 388 h 394"/>
              <a:gd name="T18" fmla="*/ 217 w 210"/>
              <a:gd name="T19" fmla="*/ 394 h 394"/>
              <a:gd name="T20" fmla="*/ 225 w 210"/>
              <a:gd name="T21" fmla="*/ 369 h 394"/>
              <a:gd name="T22" fmla="*/ 286 w 210"/>
              <a:gd name="T23" fmla="*/ 362 h 394"/>
              <a:gd name="T24" fmla="*/ 272 w 210"/>
              <a:gd name="T25" fmla="*/ 282 h 394"/>
              <a:gd name="T26" fmla="*/ 270 w 210"/>
              <a:gd name="T27" fmla="*/ 0 h 394"/>
              <a:gd name="T28" fmla="*/ 81 w 210"/>
              <a:gd name="T29" fmla="*/ 13 h 3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0"/>
              <a:gd name="T46" fmla="*/ 0 h 394"/>
              <a:gd name="T47" fmla="*/ 210 w 210"/>
              <a:gd name="T48" fmla="*/ 394 h 3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0" h="394">
                <a:moveTo>
                  <a:pt x="59" y="13"/>
                </a:moveTo>
                <a:lnTo>
                  <a:pt x="27" y="80"/>
                </a:lnTo>
                <a:lnTo>
                  <a:pt x="0" y="124"/>
                </a:lnTo>
                <a:lnTo>
                  <a:pt x="9" y="175"/>
                </a:lnTo>
                <a:lnTo>
                  <a:pt x="42" y="246"/>
                </a:lnTo>
                <a:lnTo>
                  <a:pt x="17" y="318"/>
                </a:lnTo>
                <a:lnTo>
                  <a:pt x="6" y="355"/>
                </a:lnTo>
                <a:lnTo>
                  <a:pt x="128" y="340"/>
                </a:lnTo>
                <a:lnTo>
                  <a:pt x="134" y="388"/>
                </a:lnTo>
                <a:lnTo>
                  <a:pt x="159" y="394"/>
                </a:lnTo>
                <a:lnTo>
                  <a:pt x="165" y="369"/>
                </a:lnTo>
                <a:lnTo>
                  <a:pt x="210" y="362"/>
                </a:lnTo>
                <a:lnTo>
                  <a:pt x="200" y="282"/>
                </a:lnTo>
                <a:lnTo>
                  <a:pt x="198" y="0"/>
                </a:lnTo>
                <a:lnTo>
                  <a:pt x="59" y="13"/>
                </a:lnTo>
                <a:close/>
              </a:path>
            </a:pathLst>
          </a:custGeom>
          <a:solidFill>
            <a:schemeClr val="accent3"/>
          </a:solidFill>
          <a:ln w="12700">
            <a:solidFill>
              <a:schemeClr val="bg1"/>
            </a:solidFill>
            <a:round/>
            <a:headEnd/>
            <a:tailEnd/>
          </a:ln>
        </p:spPr>
        <p:txBody>
          <a:bodyPr/>
          <a:lstStyle/>
          <a:p>
            <a:pPr>
              <a:defRPr/>
            </a:pPr>
            <a:endParaRPr lang="en-GB"/>
          </a:p>
        </p:txBody>
      </p:sp>
      <p:sp>
        <p:nvSpPr>
          <p:cNvPr id="34" name="Freeform 49"/>
          <p:cNvSpPr>
            <a:spLocks/>
          </p:cNvSpPr>
          <p:nvPr/>
        </p:nvSpPr>
        <p:spPr bwMode="auto">
          <a:xfrm>
            <a:off x="5635625" y="4222750"/>
            <a:ext cx="452438" cy="758825"/>
          </a:xfrm>
          <a:custGeom>
            <a:avLst/>
            <a:gdLst>
              <a:gd name="T0" fmla="*/ 0 w 237"/>
              <a:gd name="T1" fmla="*/ 20 h 398"/>
              <a:gd name="T2" fmla="*/ 213 w 237"/>
              <a:gd name="T3" fmla="*/ 0 h 398"/>
              <a:gd name="T4" fmla="*/ 281 w 237"/>
              <a:gd name="T5" fmla="*/ 184 h 398"/>
              <a:gd name="T6" fmla="*/ 329 w 237"/>
              <a:gd name="T7" fmla="*/ 213 h 398"/>
              <a:gd name="T8" fmla="*/ 291 w 237"/>
              <a:gd name="T9" fmla="*/ 267 h 398"/>
              <a:gd name="T10" fmla="*/ 326 w 237"/>
              <a:gd name="T11" fmla="*/ 319 h 398"/>
              <a:gd name="T12" fmla="*/ 110 w 237"/>
              <a:gd name="T13" fmla="*/ 338 h 398"/>
              <a:gd name="T14" fmla="*/ 117 w 237"/>
              <a:gd name="T15" fmla="*/ 383 h 398"/>
              <a:gd name="T16" fmla="*/ 86 w 237"/>
              <a:gd name="T17" fmla="*/ 398 h 398"/>
              <a:gd name="T18" fmla="*/ 61 w 237"/>
              <a:gd name="T19" fmla="*/ 341 h 398"/>
              <a:gd name="T20" fmla="*/ 46 w 237"/>
              <a:gd name="T21" fmla="*/ 387 h 398"/>
              <a:gd name="T22" fmla="*/ 17 w 237"/>
              <a:gd name="T23" fmla="*/ 383 h 398"/>
              <a:gd name="T24" fmla="*/ 11 w 237"/>
              <a:gd name="T25" fmla="*/ 337 h 398"/>
              <a:gd name="T26" fmla="*/ 1 w 237"/>
              <a:gd name="T27" fmla="*/ 297 h 398"/>
              <a:gd name="T28" fmla="*/ 0 w 237"/>
              <a:gd name="T29" fmla="*/ 20 h 3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7"/>
              <a:gd name="T46" fmla="*/ 0 h 398"/>
              <a:gd name="T47" fmla="*/ 237 w 237"/>
              <a:gd name="T48" fmla="*/ 398 h 3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7" h="398">
                <a:moveTo>
                  <a:pt x="0" y="20"/>
                </a:moveTo>
                <a:lnTo>
                  <a:pt x="154" y="0"/>
                </a:lnTo>
                <a:lnTo>
                  <a:pt x="203" y="184"/>
                </a:lnTo>
                <a:lnTo>
                  <a:pt x="237" y="213"/>
                </a:lnTo>
                <a:lnTo>
                  <a:pt x="210" y="267"/>
                </a:lnTo>
                <a:lnTo>
                  <a:pt x="236" y="319"/>
                </a:lnTo>
                <a:lnTo>
                  <a:pt x="79" y="338"/>
                </a:lnTo>
                <a:lnTo>
                  <a:pt x="85" y="383"/>
                </a:lnTo>
                <a:lnTo>
                  <a:pt x="62" y="398"/>
                </a:lnTo>
                <a:lnTo>
                  <a:pt x="44" y="341"/>
                </a:lnTo>
                <a:lnTo>
                  <a:pt x="33" y="387"/>
                </a:lnTo>
                <a:lnTo>
                  <a:pt x="13" y="383"/>
                </a:lnTo>
                <a:lnTo>
                  <a:pt x="7" y="337"/>
                </a:lnTo>
                <a:lnTo>
                  <a:pt x="1" y="297"/>
                </a:lnTo>
                <a:lnTo>
                  <a:pt x="0" y="20"/>
                </a:lnTo>
                <a:close/>
              </a:path>
            </a:pathLst>
          </a:custGeom>
          <a:solidFill>
            <a:schemeClr val="accent3"/>
          </a:solidFill>
          <a:ln w="12700">
            <a:solidFill>
              <a:schemeClr val="bg1"/>
            </a:solidFill>
            <a:round/>
            <a:headEnd/>
            <a:tailEnd/>
          </a:ln>
        </p:spPr>
        <p:txBody>
          <a:bodyPr/>
          <a:lstStyle/>
          <a:p>
            <a:pPr>
              <a:defRPr/>
            </a:pPr>
            <a:endParaRPr lang="en-GB"/>
          </a:p>
        </p:txBody>
      </p:sp>
      <p:sp>
        <p:nvSpPr>
          <p:cNvPr id="35" name="Freeform 50"/>
          <p:cNvSpPr>
            <a:spLocks/>
          </p:cNvSpPr>
          <p:nvPr/>
        </p:nvSpPr>
        <p:spPr bwMode="auto">
          <a:xfrm>
            <a:off x="5929313" y="4184650"/>
            <a:ext cx="627062" cy="698500"/>
          </a:xfrm>
          <a:custGeom>
            <a:avLst/>
            <a:gdLst>
              <a:gd name="T0" fmla="*/ 0 w 328"/>
              <a:gd name="T1" fmla="*/ 23 h 366"/>
              <a:gd name="T2" fmla="*/ 4 w 328"/>
              <a:gd name="T3" fmla="*/ 23 h 366"/>
              <a:gd name="T4" fmla="*/ 111 w 328"/>
              <a:gd name="T5" fmla="*/ 7 h 366"/>
              <a:gd name="T6" fmla="*/ 206 w 328"/>
              <a:gd name="T7" fmla="*/ 0 h 366"/>
              <a:gd name="T8" fmla="*/ 192 w 328"/>
              <a:gd name="T9" fmla="*/ 19 h 366"/>
              <a:gd name="T10" fmla="*/ 221 w 328"/>
              <a:gd name="T11" fmla="*/ 19 h 366"/>
              <a:gd name="T12" fmla="*/ 384 w 328"/>
              <a:gd name="T13" fmla="*/ 132 h 366"/>
              <a:gd name="T14" fmla="*/ 446 w 328"/>
              <a:gd name="T15" fmla="*/ 205 h 366"/>
              <a:gd name="T16" fmla="*/ 455 w 328"/>
              <a:gd name="T17" fmla="*/ 254 h 366"/>
              <a:gd name="T18" fmla="*/ 434 w 328"/>
              <a:gd name="T19" fmla="*/ 266 h 366"/>
              <a:gd name="T20" fmla="*/ 446 w 328"/>
              <a:gd name="T21" fmla="*/ 316 h 366"/>
              <a:gd name="T22" fmla="*/ 402 w 328"/>
              <a:gd name="T23" fmla="*/ 318 h 366"/>
              <a:gd name="T24" fmla="*/ 402 w 328"/>
              <a:gd name="T25" fmla="*/ 360 h 366"/>
              <a:gd name="T26" fmla="*/ 364 w 328"/>
              <a:gd name="T27" fmla="*/ 339 h 366"/>
              <a:gd name="T28" fmla="*/ 130 w 328"/>
              <a:gd name="T29" fmla="*/ 366 h 366"/>
              <a:gd name="T30" fmla="*/ 78 w 328"/>
              <a:gd name="T31" fmla="*/ 287 h 366"/>
              <a:gd name="T32" fmla="*/ 115 w 328"/>
              <a:gd name="T33" fmla="*/ 233 h 366"/>
              <a:gd name="T34" fmla="*/ 65 w 328"/>
              <a:gd name="T35" fmla="*/ 206 h 366"/>
              <a:gd name="T36" fmla="*/ 0 w 328"/>
              <a:gd name="T37" fmla="*/ 23 h 36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28"/>
              <a:gd name="T58" fmla="*/ 0 h 366"/>
              <a:gd name="T59" fmla="*/ 328 w 328"/>
              <a:gd name="T60" fmla="*/ 366 h 36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28" h="366">
                <a:moveTo>
                  <a:pt x="0" y="23"/>
                </a:moveTo>
                <a:lnTo>
                  <a:pt x="4" y="23"/>
                </a:lnTo>
                <a:lnTo>
                  <a:pt x="80" y="7"/>
                </a:lnTo>
                <a:lnTo>
                  <a:pt x="148" y="0"/>
                </a:lnTo>
                <a:lnTo>
                  <a:pt x="138" y="19"/>
                </a:lnTo>
                <a:lnTo>
                  <a:pt x="159" y="19"/>
                </a:lnTo>
                <a:lnTo>
                  <a:pt x="276" y="132"/>
                </a:lnTo>
                <a:lnTo>
                  <a:pt x="322" y="205"/>
                </a:lnTo>
                <a:lnTo>
                  <a:pt x="328" y="254"/>
                </a:lnTo>
                <a:lnTo>
                  <a:pt x="313" y="266"/>
                </a:lnTo>
                <a:lnTo>
                  <a:pt x="322" y="316"/>
                </a:lnTo>
                <a:lnTo>
                  <a:pt x="289" y="318"/>
                </a:lnTo>
                <a:lnTo>
                  <a:pt x="289" y="360"/>
                </a:lnTo>
                <a:lnTo>
                  <a:pt x="263" y="339"/>
                </a:lnTo>
                <a:lnTo>
                  <a:pt x="94" y="366"/>
                </a:lnTo>
                <a:lnTo>
                  <a:pt x="56" y="287"/>
                </a:lnTo>
                <a:lnTo>
                  <a:pt x="83" y="233"/>
                </a:lnTo>
                <a:lnTo>
                  <a:pt x="47" y="206"/>
                </a:lnTo>
                <a:lnTo>
                  <a:pt x="0" y="23"/>
                </a:lnTo>
                <a:close/>
              </a:path>
            </a:pathLst>
          </a:custGeom>
          <a:solidFill>
            <a:schemeClr val="accent3"/>
          </a:solidFill>
          <a:ln w="12700">
            <a:solidFill>
              <a:schemeClr val="bg1"/>
            </a:solidFill>
            <a:round/>
            <a:headEnd/>
            <a:tailEnd/>
          </a:ln>
        </p:spPr>
        <p:txBody>
          <a:bodyPr/>
          <a:lstStyle/>
          <a:p>
            <a:pPr>
              <a:defRPr/>
            </a:pPr>
            <a:endParaRPr lang="en-GB"/>
          </a:p>
        </p:txBody>
      </p:sp>
      <p:sp>
        <p:nvSpPr>
          <p:cNvPr id="36" name="Freeform 51"/>
          <p:cNvSpPr>
            <a:spLocks/>
          </p:cNvSpPr>
          <p:nvPr/>
        </p:nvSpPr>
        <p:spPr bwMode="auto">
          <a:xfrm>
            <a:off x="6081713" y="3757613"/>
            <a:ext cx="982662" cy="463550"/>
          </a:xfrm>
          <a:custGeom>
            <a:avLst/>
            <a:gdLst>
              <a:gd name="T0" fmla="*/ 25 w 516"/>
              <a:gd name="T1" fmla="*/ 180 h 243"/>
              <a:gd name="T2" fmla="*/ 0 w 516"/>
              <a:gd name="T3" fmla="*/ 231 h 243"/>
              <a:gd name="T4" fmla="*/ 93 w 516"/>
              <a:gd name="T5" fmla="*/ 224 h 243"/>
              <a:gd name="T6" fmla="*/ 128 w 516"/>
              <a:gd name="T7" fmla="*/ 201 h 243"/>
              <a:gd name="T8" fmla="*/ 253 w 516"/>
              <a:gd name="T9" fmla="*/ 175 h 243"/>
              <a:gd name="T10" fmla="*/ 287 w 516"/>
              <a:gd name="T11" fmla="*/ 189 h 243"/>
              <a:gd name="T12" fmla="*/ 369 w 516"/>
              <a:gd name="T13" fmla="*/ 180 h 243"/>
              <a:gd name="T14" fmla="*/ 369 w 516"/>
              <a:gd name="T15" fmla="*/ 183 h 243"/>
              <a:gd name="T16" fmla="*/ 494 w 516"/>
              <a:gd name="T17" fmla="*/ 243 h 243"/>
              <a:gd name="T18" fmla="*/ 565 w 516"/>
              <a:gd name="T19" fmla="*/ 226 h 243"/>
              <a:gd name="T20" fmla="*/ 608 w 516"/>
              <a:gd name="T21" fmla="*/ 159 h 243"/>
              <a:gd name="T22" fmla="*/ 677 w 516"/>
              <a:gd name="T23" fmla="*/ 140 h 243"/>
              <a:gd name="T24" fmla="*/ 711 w 516"/>
              <a:gd name="T25" fmla="*/ 90 h 243"/>
              <a:gd name="T26" fmla="*/ 708 w 516"/>
              <a:gd name="T27" fmla="*/ 30 h 243"/>
              <a:gd name="T28" fmla="*/ 701 w 516"/>
              <a:gd name="T29" fmla="*/ 80 h 243"/>
              <a:gd name="T30" fmla="*/ 661 w 516"/>
              <a:gd name="T31" fmla="*/ 122 h 243"/>
              <a:gd name="T32" fmla="*/ 646 w 516"/>
              <a:gd name="T33" fmla="*/ 119 h 243"/>
              <a:gd name="T34" fmla="*/ 594 w 516"/>
              <a:gd name="T35" fmla="*/ 130 h 243"/>
              <a:gd name="T36" fmla="*/ 594 w 516"/>
              <a:gd name="T37" fmla="*/ 116 h 243"/>
              <a:gd name="T38" fmla="*/ 646 w 516"/>
              <a:gd name="T39" fmla="*/ 102 h 243"/>
              <a:gd name="T40" fmla="*/ 597 w 516"/>
              <a:gd name="T41" fmla="*/ 97 h 243"/>
              <a:gd name="T42" fmla="*/ 652 w 516"/>
              <a:gd name="T43" fmla="*/ 85 h 243"/>
              <a:gd name="T44" fmla="*/ 674 w 516"/>
              <a:gd name="T45" fmla="*/ 92 h 243"/>
              <a:gd name="T46" fmla="*/ 685 w 516"/>
              <a:gd name="T47" fmla="*/ 45 h 243"/>
              <a:gd name="T48" fmla="*/ 672 w 516"/>
              <a:gd name="T49" fmla="*/ 34 h 243"/>
              <a:gd name="T50" fmla="*/ 607 w 516"/>
              <a:gd name="T51" fmla="*/ 53 h 243"/>
              <a:gd name="T52" fmla="*/ 608 w 516"/>
              <a:gd name="T53" fmla="*/ 25 h 243"/>
              <a:gd name="T54" fmla="*/ 635 w 516"/>
              <a:gd name="T55" fmla="*/ 32 h 243"/>
              <a:gd name="T56" fmla="*/ 672 w 516"/>
              <a:gd name="T57" fmla="*/ 10 h 243"/>
              <a:gd name="T58" fmla="*/ 651 w 516"/>
              <a:gd name="T59" fmla="*/ 0 h 243"/>
              <a:gd name="T60" fmla="*/ 438 w 516"/>
              <a:gd name="T61" fmla="*/ 37 h 243"/>
              <a:gd name="T62" fmla="*/ 179 w 516"/>
              <a:gd name="T63" fmla="*/ 79 h 243"/>
              <a:gd name="T64" fmla="*/ 60 w 516"/>
              <a:gd name="T65" fmla="*/ 179 h 243"/>
              <a:gd name="T66" fmla="*/ 25 w 516"/>
              <a:gd name="T67" fmla="*/ 180 h 2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43"/>
              <a:gd name="T104" fmla="*/ 516 w 516"/>
              <a:gd name="T105" fmla="*/ 243 h 2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43">
                <a:moveTo>
                  <a:pt x="18" y="180"/>
                </a:moveTo>
                <a:lnTo>
                  <a:pt x="0" y="231"/>
                </a:lnTo>
                <a:lnTo>
                  <a:pt x="67" y="224"/>
                </a:lnTo>
                <a:lnTo>
                  <a:pt x="93" y="201"/>
                </a:lnTo>
                <a:lnTo>
                  <a:pt x="184" y="175"/>
                </a:lnTo>
                <a:lnTo>
                  <a:pt x="209" y="189"/>
                </a:lnTo>
                <a:lnTo>
                  <a:pt x="269" y="180"/>
                </a:lnTo>
                <a:lnTo>
                  <a:pt x="269" y="183"/>
                </a:lnTo>
                <a:lnTo>
                  <a:pt x="359" y="243"/>
                </a:lnTo>
                <a:lnTo>
                  <a:pt x="411" y="226"/>
                </a:lnTo>
                <a:lnTo>
                  <a:pt x="441" y="159"/>
                </a:lnTo>
                <a:lnTo>
                  <a:pt x="492" y="140"/>
                </a:lnTo>
                <a:lnTo>
                  <a:pt x="516" y="90"/>
                </a:lnTo>
                <a:lnTo>
                  <a:pt x="515" y="30"/>
                </a:lnTo>
                <a:lnTo>
                  <a:pt x="509" y="80"/>
                </a:lnTo>
                <a:lnTo>
                  <a:pt x="480" y="122"/>
                </a:lnTo>
                <a:lnTo>
                  <a:pt x="469" y="119"/>
                </a:lnTo>
                <a:lnTo>
                  <a:pt x="431" y="130"/>
                </a:lnTo>
                <a:lnTo>
                  <a:pt x="431" y="116"/>
                </a:lnTo>
                <a:lnTo>
                  <a:pt x="469" y="102"/>
                </a:lnTo>
                <a:lnTo>
                  <a:pt x="434" y="97"/>
                </a:lnTo>
                <a:lnTo>
                  <a:pt x="474" y="85"/>
                </a:lnTo>
                <a:lnTo>
                  <a:pt x="489" y="92"/>
                </a:lnTo>
                <a:lnTo>
                  <a:pt x="497" y="45"/>
                </a:lnTo>
                <a:lnTo>
                  <a:pt x="487" y="34"/>
                </a:lnTo>
                <a:lnTo>
                  <a:pt x="440" y="53"/>
                </a:lnTo>
                <a:lnTo>
                  <a:pt x="441" y="25"/>
                </a:lnTo>
                <a:lnTo>
                  <a:pt x="461" y="32"/>
                </a:lnTo>
                <a:lnTo>
                  <a:pt x="487" y="10"/>
                </a:lnTo>
                <a:lnTo>
                  <a:pt x="473" y="0"/>
                </a:lnTo>
                <a:lnTo>
                  <a:pt x="318" y="37"/>
                </a:lnTo>
                <a:lnTo>
                  <a:pt x="129" y="79"/>
                </a:lnTo>
                <a:lnTo>
                  <a:pt x="43" y="179"/>
                </a:lnTo>
                <a:lnTo>
                  <a:pt x="18" y="180"/>
                </a:lnTo>
                <a:close/>
              </a:path>
            </a:pathLst>
          </a:custGeom>
          <a:solidFill>
            <a:schemeClr val="accent3"/>
          </a:solidFill>
          <a:ln w="12700">
            <a:solidFill>
              <a:schemeClr val="bg1"/>
            </a:solidFill>
            <a:round/>
            <a:headEnd/>
            <a:tailEnd/>
          </a:ln>
        </p:spPr>
        <p:txBody>
          <a:bodyPr/>
          <a:lstStyle/>
          <a:p>
            <a:pPr>
              <a:defRPr/>
            </a:pPr>
            <a:endParaRPr lang="en-GB"/>
          </a:p>
        </p:txBody>
      </p:sp>
      <p:sp>
        <p:nvSpPr>
          <p:cNvPr id="37" name="Freeform 52"/>
          <p:cNvSpPr>
            <a:spLocks/>
          </p:cNvSpPr>
          <p:nvPr/>
        </p:nvSpPr>
        <p:spPr bwMode="auto">
          <a:xfrm>
            <a:off x="6877050" y="3270250"/>
            <a:ext cx="136525" cy="182563"/>
          </a:xfrm>
          <a:custGeom>
            <a:avLst/>
            <a:gdLst>
              <a:gd name="T0" fmla="*/ 0 w 72"/>
              <a:gd name="T1" fmla="*/ 5 h 96"/>
              <a:gd name="T2" fmla="*/ 20 w 72"/>
              <a:gd name="T3" fmla="*/ 0 h 96"/>
              <a:gd name="T4" fmla="*/ 66 w 72"/>
              <a:gd name="T5" fmla="*/ 21 h 96"/>
              <a:gd name="T6" fmla="*/ 66 w 72"/>
              <a:gd name="T7" fmla="*/ 42 h 96"/>
              <a:gd name="T8" fmla="*/ 97 w 72"/>
              <a:gd name="T9" fmla="*/ 57 h 96"/>
              <a:gd name="T10" fmla="*/ 99 w 72"/>
              <a:gd name="T11" fmla="*/ 85 h 96"/>
              <a:gd name="T12" fmla="*/ 48 w 72"/>
              <a:gd name="T13" fmla="*/ 96 h 96"/>
              <a:gd name="T14" fmla="*/ 0 w 72"/>
              <a:gd name="T15" fmla="*/ 5 h 96"/>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96"/>
              <a:gd name="T26" fmla="*/ 72 w 72"/>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96">
                <a:moveTo>
                  <a:pt x="0" y="5"/>
                </a:moveTo>
                <a:lnTo>
                  <a:pt x="15" y="0"/>
                </a:lnTo>
                <a:lnTo>
                  <a:pt x="48" y="21"/>
                </a:lnTo>
                <a:lnTo>
                  <a:pt x="48" y="42"/>
                </a:lnTo>
                <a:lnTo>
                  <a:pt x="71" y="57"/>
                </a:lnTo>
                <a:lnTo>
                  <a:pt x="72" y="85"/>
                </a:lnTo>
                <a:lnTo>
                  <a:pt x="35" y="96"/>
                </a:lnTo>
                <a:lnTo>
                  <a:pt x="0" y="5"/>
                </a:lnTo>
                <a:close/>
              </a:path>
            </a:pathLst>
          </a:custGeom>
          <a:solidFill>
            <a:schemeClr val="accent3"/>
          </a:solidFill>
          <a:ln w="12700">
            <a:solidFill>
              <a:schemeClr val="bg1"/>
            </a:solidFill>
            <a:round/>
            <a:headEnd/>
            <a:tailEnd/>
          </a:ln>
        </p:spPr>
        <p:txBody>
          <a:bodyPr/>
          <a:lstStyle/>
          <a:p>
            <a:pPr>
              <a:defRPr/>
            </a:pPr>
            <a:endParaRPr lang="en-GB"/>
          </a:p>
        </p:txBody>
      </p:sp>
      <p:sp>
        <p:nvSpPr>
          <p:cNvPr id="38" name="Freeform 53"/>
          <p:cNvSpPr>
            <a:spLocks/>
          </p:cNvSpPr>
          <p:nvPr/>
        </p:nvSpPr>
        <p:spPr bwMode="auto">
          <a:xfrm>
            <a:off x="6345238" y="2382838"/>
            <a:ext cx="731837" cy="639762"/>
          </a:xfrm>
          <a:custGeom>
            <a:avLst/>
            <a:gdLst>
              <a:gd name="T0" fmla="*/ 40 w 384"/>
              <a:gd name="T1" fmla="*/ 226 h 336"/>
              <a:gd name="T2" fmla="*/ 92 w 384"/>
              <a:gd name="T3" fmla="*/ 206 h 336"/>
              <a:gd name="T4" fmla="*/ 158 w 384"/>
              <a:gd name="T5" fmla="*/ 201 h 336"/>
              <a:gd name="T6" fmla="*/ 177 w 384"/>
              <a:gd name="T7" fmla="*/ 183 h 336"/>
              <a:gd name="T8" fmla="*/ 198 w 384"/>
              <a:gd name="T9" fmla="*/ 181 h 336"/>
              <a:gd name="T10" fmla="*/ 212 w 384"/>
              <a:gd name="T11" fmla="*/ 162 h 336"/>
              <a:gd name="T12" fmla="*/ 235 w 384"/>
              <a:gd name="T13" fmla="*/ 155 h 336"/>
              <a:gd name="T14" fmla="*/ 225 w 384"/>
              <a:gd name="T15" fmla="*/ 120 h 336"/>
              <a:gd name="T16" fmla="*/ 211 w 384"/>
              <a:gd name="T17" fmla="*/ 111 h 336"/>
              <a:gd name="T18" fmla="*/ 240 w 384"/>
              <a:gd name="T19" fmla="*/ 82 h 336"/>
              <a:gd name="T20" fmla="*/ 258 w 384"/>
              <a:gd name="T21" fmla="*/ 82 h 336"/>
              <a:gd name="T22" fmla="*/ 320 w 384"/>
              <a:gd name="T23" fmla="*/ 22 h 336"/>
              <a:gd name="T24" fmla="*/ 414 w 384"/>
              <a:gd name="T25" fmla="*/ 0 h 336"/>
              <a:gd name="T26" fmla="*/ 425 w 384"/>
              <a:gd name="T27" fmla="*/ 56 h 336"/>
              <a:gd name="T28" fmla="*/ 430 w 384"/>
              <a:gd name="T29" fmla="*/ 54 h 336"/>
              <a:gd name="T30" fmla="*/ 452 w 384"/>
              <a:gd name="T31" fmla="*/ 74 h 336"/>
              <a:gd name="T32" fmla="*/ 453 w 384"/>
              <a:gd name="T33" fmla="*/ 132 h 336"/>
              <a:gd name="T34" fmla="*/ 482 w 384"/>
              <a:gd name="T35" fmla="*/ 179 h 336"/>
              <a:gd name="T36" fmla="*/ 493 w 384"/>
              <a:gd name="T37" fmla="*/ 240 h 336"/>
              <a:gd name="T38" fmla="*/ 495 w 384"/>
              <a:gd name="T39" fmla="*/ 293 h 336"/>
              <a:gd name="T40" fmla="*/ 530 w 384"/>
              <a:gd name="T41" fmla="*/ 310 h 336"/>
              <a:gd name="T42" fmla="*/ 505 w 384"/>
              <a:gd name="T43" fmla="*/ 336 h 336"/>
              <a:gd name="T44" fmla="*/ 444 w 384"/>
              <a:gd name="T45" fmla="*/ 306 h 336"/>
              <a:gd name="T46" fmla="*/ 412 w 384"/>
              <a:gd name="T47" fmla="*/ 308 h 336"/>
              <a:gd name="T48" fmla="*/ 380 w 384"/>
              <a:gd name="T49" fmla="*/ 301 h 336"/>
              <a:gd name="T50" fmla="*/ 381 w 384"/>
              <a:gd name="T51" fmla="*/ 283 h 336"/>
              <a:gd name="T52" fmla="*/ 362 w 384"/>
              <a:gd name="T53" fmla="*/ 277 h 336"/>
              <a:gd name="T54" fmla="*/ 15 w 384"/>
              <a:gd name="T55" fmla="*/ 329 h 336"/>
              <a:gd name="T56" fmla="*/ 0 w 384"/>
              <a:gd name="T57" fmla="*/ 314 h 336"/>
              <a:gd name="T58" fmla="*/ 52 w 384"/>
              <a:gd name="T59" fmla="*/ 254 h 336"/>
              <a:gd name="T60" fmla="*/ 40 w 384"/>
              <a:gd name="T61" fmla="*/ 226 h 3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4"/>
              <a:gd name="T94" fmla="*/ 0 h 336"/>
              <a:gd name="T95" fmla="*/ 384 w 384"/>
              <a:gd name="T96" fmla="*/ 336 h 3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4" h="336">
                <a:moveTo>
                  <a:pt x="29" y="226"/>
                </a:moveTo>
                <a:lnTo>
                  <a:pt x="66" y="206"/>
                </a:lnTo>
                <a:lnTo>
                  <a:pt x="115" y="201"/>
                </a:lnTo>
                <a:lnTo>
                  <a:pt x="127" y="183"/>
                </a:lnTo>
                <a:lnTo>
                  <a:pt x="144" y="181"/>
                </a:lnTo>
                <a:lnTo>
                  <a:pt x="154" y="162"/>
                </a:lnTo>
                <a:lnTo>
                  <a:pt x="171" y="155"/>
                </a:lnTo>
                <a:lnTo>
                  <a:pt x="163" y="120"/>
                </a:lnTo>
                <a:lnTo>
                  <a:pt x="153" y="111"/>
                </a:lnTo>
                <a:lnTo>
                  <a:pt x="174" y="82"/>
                </a:lnTo>
                <a:lnTo>
                  <a:pt x="187" y="82"/>
                </a:lnTo>
                <a:lnTo>
                  <a:pt x="232" y="22"/>
                </a:lnTo>
                <a:lnTo>
                  <a:pt x="301" y="0"/>
                </a:lnTo>
                <a:lnTo>
                  <a:pt x="308" y="56"/>
                </a:lnTo>
                <a:lnTo>
                  <a:pt x="312" y="54"/>
                </a:lnTo>
                <a:lnTo>
                  <a:pt x="328" y="74"/>
                </a:lnTo>
                <a:lnTo>
                  <a:pt x="329" y="132"/>
                </a:lnTo>
                <a:lnTo>
                  <a:pt x="350" y="179"/>
                </a:lnTo>
                <a:lnTo>
                  <a:pt x="358" y="240"/>
                </a:lnTo>
                <a:lnTo>
                  <a:pt x="360" y="293"/>
                </a:lnTo>
                <a:lnTo>
                  <a:pt x="384" y="310"/>
                </a:lnTo>
                <a:lnTo>
                  <a:pt x="366" y="336"/>
                </a:lnTo>
                <a:lnTo>
                  <a:pt x="322" y="306"/>
                </a:lnTo>
                <a:lnTo>
                  <a:pt x="299" y="308"/>
                </a:lnTo>
                <a:lnTo>
                  <a:pt x="276" y="301"/>
                </a:lnTo>
                <a:lnTo>
                  <a:pt x="277" y="283"/>
                </a:lnTo>
                <a:lnTo>
                  <a:pt x="262" y="277"/>
                </a:lnTo>
                <a:lnTo>
                  <a:pt x="11" y="329"/>
                </a:lnTo>
                <a:lnTo>
                  <a:pt x="0" y="314"/>
                </a:lnTo>
                <a:lnTo>
                  <a:pt x="38" y="254"/>
                </a:lnTo>
                <a:lnTo>
                  <a:pt x="29" y="226"/>
                </a:lnTo>
                <a:close/>
              </a:path>
            </a:pathLst>
          </a:custGeom>
          <a:solidFill>
            <a:schemeClr val="accent3"/>
          </a:solidFill>
          <a:ln w="12700">
            <a:solidFill>
              <a:schemeClr val="bg1"/>
            </a:solidFill>
            <a:round/>
            <a:headEnd/>
            <a:tailEnd/>
          </a:ln>
        </p:spPr>
        <p:txBody>
          <a:bodyPr/>
          <a:lstStyle/>
          <a:p>
            <a:pPr>
              <a:defRPr/>
            </a:pPr>
            <a:endParaRPr lang="en-GB"/>
          </a:p>
        </p:txBody>
      </p:sp>
      <p:sp>
        <p:nvSpPr>
          <p:cNvPr id="39" name="Freeform 54"/>
          <p:cNvSpPr>
            <a:spLocks/>
          </p:cNvSpPr>
          <p:nvPr/>
        </p:nvSpPr>
        <p:spPr bwMode="auto">
          <a:xfrm>
            <a:off x="7059613" y="2919413"/>
            <a:ext cx="212725" cy="138112"/>
          </a:xfrm>
          <a:custGeom>
            <a:avLst/>
            <a:gdLst>
              <a:gd name="T0" fmla="*/ 0 w 112"/>
              <a:gd name="T1" fmla="*/ 53 h 72"/>
              <a:gd name="T2" fmla="*/ 63 w 112"/>
              <a:gd name="T3" fmla="*/ 30 h 72"/>
              <a:gd name="T4" fmla="*/ 124 w 112"/>
              <a:gd name="T5" fmla="*/ 0 h 72"/>
              <a:gd name="T6" fmla="*/ 135 w 112"/>
              <a:gd name="T7" fmla="*/ 1 h 72"/>
              <a:gd name="T8" fmla="*/ 153 w 112"/>
              <a:gd name="T9" fmla="*/ 3 h 72"/>
              <a:gd name="T10" fmla="*/ 92 w 112"/>
              <a:gd name="T11" fmla="*/ 40 h 72"/>
              <a:gd name="T12" fmla="*/ 17 w 112"/>
              <a:gd name="T13" fmla="*/ 72 h 72"/>
              <a:gd name="T14" fmla="*/ 0 w 112"/>
              <a:gd name="T15" fmla="*/ 53 h 7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72"/>
              <a:gd name="T26" fmla="*/ 112 w 112"/>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72">
                <a:moveTo>
                  <a:pt x="0" y="53"/>
                </a:moveTo>
                <a:lnTo>
                  <a:pt x="46" y="30"/>
                </a:lnTo>
                <a:lnTo>
                  <a:pt x="91" y="0"/>
                </a:lnTo>
                <a:lnTo>
                  <a:pt x="99" y="1"/>
                </a:lnTo>
                <a:lnTo>
                  <a:pt x="112" y="3"/>
                </a:lnTo>
                <a:lnTo>
                  <a:pt x="68" y="40"/>
                </a:lnTo>
                <a:lnTo>
                  <a:pt x="13" y="72"/>
                </a:lnTo>
                <a:lnTo>
                  <a:pt x="0" y="53"/>
                </a:lnTo>
                <a:close/>
              </a:path>
            </a:pathLst>
          </a:custGeom>
          <a:solidFill>
            <a:schemeClr val="accent3"/>
          </a:solidFill>
          <a:ln w="12700">
            <a:solidFill>
              <a:schemeClr val="bg1"/>
            </a:solidFill>
            <a:round/>
            <a:headEnd/>
            <a:tailEnd/>
          </a:ln>
        </p:spPr>
        <p:txBody>
          <a:bodyPr/>
          <a:lstStyle/>
          <a:p>
            <a:pPr>
              <a:defRPr/>
            </a:pPr>
            <a:endParaRPr lang="en-GB"/>
          </a:p>
        </p:txBody>
      </p:sp>
      <p:sp>
        <p:nvSpPr>
          <p:cNvPr id="40" name="Freeform 55"/>
          <p:cNvSpPr>
            <a:spLocks/>
          </p:cNvSpPr>
          <p:nvPr/>
        </p:nvSpPr>
        <p:spPr bwMode="auto">
          <a:xfrm>
            <a:off x="6956425" y="3517900"/>
            <a:ext cx="58738" cy="109538"/>
          </a:xfrm>
          <a:custGeom>
            <a:avLst/>
            <a:gdLst>
              <a:gd name="T0" fmla="*/ 0 w 31"/>
              <a:gd name="T1" fmla="*/ 5 h 57"/>
              <a:gd name="T2" fmla="*/ 45 w 31"/>
              <a:gd name="T3" fmla="*/ 0 h 57"/>
              <a:gd name="T4" fmla="*/ 20 w 31"/>
              <a:gd name="T5" fmla="*/ 57 h 57"/>
              <a:gd name="T6" fmla="*/ 2 w 31"/>
              <a:gd name="T7" fmla="*/ 55 h 57"/>
              <a:gd name="T8" fmla="*/ 0 w 31"/>
              <a:gd name="T9" fmla="*/ 5 h 57"/>
              <a:gd name="T10" fmla="*/ 0 60000 65536"/>
              <a:gd name="T11" fmla="*/ 0 60000 65536"/>
              <a:gd name="T12" fmla="*/ 0 60000 65536"/>
              <a:gd name="T13" fmla="*/ 0 60000 65536"/>
              <a:gd name="T14" fmla="*/ 0 60000 65536"/>
              <a:gd name="T15" fmla="*/ 0 w 31"/>
              <a:gd name="T16" fmla="*/ 0 h 57"/>
              <a:gd name="T17" fmla="*/ 31 w 31"/>
              <a:gd name="T18" fmla="*/ 57 h 57"/>
            </a:gdLst>
            <a:ahLst/>
            <a:cxnLst>
              <a:cxn ang="T10">
                <a:pos x="T0" y="T1"/>
              </a:cxn>
              <a:cxn ang="T11">
                <a:pos x="T2" y="T3"/>
              </a:cxn>
              <a:cxn ang="T12">
                <a:pos x="T4" y="T5"/>
              </a:cxn>
              <a:cxn ang="T13">
                <a:pos x="T6" y="T7"/>
              </a:cxn>
              <a:cxn ang="T14">
                <a:pos x="T8" y="T9"/>
              </a:cxn>
            </a:cxnLst>
            <a:rect l="T15" t="T16" r="T17" b="T18"/>
            <a:pathLst>
              <a:path w="31" h="57">
                <a:moveTo>
                  <a:pt x="0" y="5"/>
                </a:moveTo>
                <a:lnTo>
                  <a:pt x="31" y="0"/>
                </a:lnTo>
                <a:lnTo>
                  <a:pt x="14" y="57"/>
                </a:lnTo>
                <a:lnTo>
                  <a:pt x="2" y="55"/>
                </a:lnTo>
                <a:lnTo>
                  <a:pt x="0" y="5"/>
                </a:lnTo>
                <a:close/>
              </a:path>
            </a:pathLst>
          </a:custGeom>
          <a:solidFill>
            <a:schemeClr val="accent3"/>
          </a:solidFill>
          <a:ln w="12700">
            <a:solidFill>
              <a:schemeClr val="bg1"/>
            </a:solidFill>
            <a:round/>
            <a:headEnd/>
            <a:tailEnd/>
          </a:ln>
        </p:spPr>
        <p:txBody>
          <a:bodyPr/>
          <a:lstStyle/>
          <a:p>
            <a:pPr>
              <a:defRPr/>
            </a:pPr>
            <a:endParaRPr lang="en-GB"/>
          </a:p>
        </p:txBody>
      </p:sp>
      <p:sp>
        <p:nvSpPr>
          <p:cNvPr id="58"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6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8609" name="Title 1"/>
          <p:cNvSpPr>
            <a:spLocks noGrp="1"/>
          </p:cNvSpPr>
          <p:nvPr>
            <p:ph type="title"/>
          </p:nvPr>
        </p:nvSpPr>
        <p:spPr>
          <a:xfrm>
            <a:off x="414338" y="446038"/>
            <a:ext cx="8330184" cy="333425"/>
          </a:xfrm>
        </p:spPr>
        <p:txBody>
          <a:bodyPr/>
          <a:lstStyle/>
          <a:p>
            <a:r>
              <a:rPr lang="nl-NL"/>
              <a:t>Maps </a:t>
            </a:r>
            <a:r>
              <a:rPr lang="en-US"/>
              <a:t>—</a:t>
            </a:r>
            <a:r>
              <a:rPr lang="nl-NL" smtClean="0"/>
              <a:t> </a:t>
            </a:r>
            <a:r>
              <a:rPr lang="en-GB" altLang="ja-JP"/>
              <a:t>Europe, Asia, and North Africa</a:t>
            </a:r>
            <a:endParaRPr lang="nl-NL"/>
          </a:p>
        </p:txBody>
      </p:sp>
      <p:sp>
        <p:nvSpPr>
          <p:cNvPr id="12" name="Freeform 4"/>
          <p:cNvSpPr>
            <a:spLocks noChangeAspect="1"/>
          </p:cNvSpPr>
          <p:nvPr/>
        </p:nvSpPr>
        <p:spPr bwMode="gray">
          <a:xfrm>
            <a:off x="2237223" y="1376363"/>
            <a:ext cx="5886510" cy="2272787"/>
          </a:xfrm>
          <a:custGeom>
            <a:avLst/>
            <a:gdLst>
              <a:gd name="T0" fmla="*/ 2147483647 w 5927"/>
              <a:gd name="T1" fmla="*/ 2147483647 h 1901"/>
              <a:gd name="T2" fmla="*/ 2147483647 w 5927"/>
              <a:gd name="T3" fmla="*/ 2147483647 h 1901"/>
              <a:gd name="T4" fmla="*/ 2147483647 w 5927"/>
              <a:gd name="T5" fmla="*/ 2147483647 h 1901"/>
              <a:gd name="T6" fmla="*/ 2147483647 w 5927"/>
              <a:gd name="T7" fmla="*/ 2147483647 h 1901"/>
              <a:gd name="T8" fmla="*/ 2147483647 w 5927"/>
              <a:gd name="T9" fmla="*/ 2147483647 h 1901"/>
              <a:gd name="T10" fmla="*/ 2147483647 w 5927"/>
              <a:gd name="T11" fmla="*/ 2147483647 h 1901"/>
              <a:gd name="T12" fmla="*/ 2147483647 w 5927"/>
              <a:gd name="T13" fmla="*/ 2147483647 h 1901"/>
              <a:gd name="T14" fmla="*/ 2147483647 w 5927"/>
              <a:gd name="T15" fmla="*/ 2147483647 h 1901"/>
              <a:gd name="T16" fmla="*/ 2147483647 w 5927"/>
              <a:gd name="T17" fmla="*/ 2147483647 h 1901"/>
              <a:gd name="T18" fmla="*/ 2147483647 w 5927"/>
              <a:gd name="T19" fmla="*/ 2147483647 h 1901"/>
              <a:gd name="T20" fmla="*/ 2147483647 w 5927"/>
              <a:gd name="T21" fmla="*/ 2147483647 h 1901"/>
              <a:gd name="T22" fmla="*/ 2147483647 w 5927"/>
              <a:gd name="T23" fmla="*/ 2147483647 h 1901"/>
              <a:gd name="T24" fmla="*/ 2147483647 w 5927"/>
              <a:gd name="T25" fmla="*/ 2147483647 h 1901"/>
              <a:gd name="T26" fmla="*/ 2147483647 w 5927"/>
              <a:gd name="T27" fmla="*/ 2147483647 h 1901"/>
              <a:gd name="T28" fmla="*/ 2147483647 w 5927"/>
              <a:gd name="T29" fmla="*/ 2147483647 h 1901"/>
              <a:gd name="T30" fmla="*/ 2147483647 w 5927"/>
              <a:gd name="T31" fmla="*/ 2147483647 h 1901"/>
              <a:gd name="T32" fmla="*/ 2147483647 w 5927"/>
              <a:gd name="T33" fmla="*/ 2147483647 h 1901"/>
              <a:gd name="T34" fmla="*/ 2147483647 w 5927"/>
              <a:gd name="T35" fmla="*/ 2147483647 h 1901"/>
              <a:gd name="T36" fmla="*/ 2147483647 w 5927"/>
              <a:gd name="T37" fmla="*/ 2147483647 h 1901"/>
              <a:gd name="T38" fmla="*/ 2147483647 w 5927"/>
              <a:gd name="T39" fmla="*/ 2147483647 h 1901"/>
              <a:gd name="T40" fmla="*/ 2147483647 w 5927"/>
              <a:gd name="T41" fmla="*/ 2147483647 h 1901"/>
              <a:gd name="T42" fmla="*/ 2147483647 w 5927"/>
              <a:gd name="T43" fmla="*/ 2147483647 h 1901"/>
              <a:gd name="T44" fmla="*/ 2147483647 w 5927"/>
              <a:gd name="T45" fmla="*/ 2147483647 h 1901"/>
              <a:gd name="T46" fmla="*/ 2147483647 w 5927"/>
              <a:gd name="T47" fmla="*/ 2147483647 h 1901"/>
              <a:gd name="T48" fmla="*/ 2147483647 w 5927"/>
              <a:gd name="T49" fmla="*/ 2147483647 h 1901"/>
              <a:gd name="T50" fmla="*/ 2147483647 w 5927"/>
              <a:gd name="T51" fmla="*/ 2147483647 h 1901"/>
              <a:gd name="T52" fmla="*/ 2147483647 w 5927"/>
              <a:gd name="T53" fmla="*/ 2147483647 h 1901"/>
              <a:gd name="T54" fmla="*/ 2147483647 w 5927"/>
              <a:gd name="T55" fmla="*/ 2147483647 h 1901"/>
              <a:gd name="T56" fmla="*/ 2147483647 w 5927"/>
              <a:gd name="T57" fmla="*/ 2147483647 h 1901"/>
              <a:gd name="T58" fmla="*/ 2147483647 w 5927"/>
              <a:gd name="T59" fmla="*/ 2147483647 h 1901"/>
              <a:gd name="T60" fmla="*/ 2147483647 w 5927"/>
              <a:gd name="T61" fmla="*/ 2147483647 h 1901"/>
              <a:gd name="T62" fmla="*/ 2147483647 w 5927"/>
              <a:gd name="T63" fmla="*/ 2147483647 h 1901"/>
              <a:gd name="T64" fmla="*/ 2147483647 w 5927"/>
              <a:gd name="T65" fmla="*/ 2147483647 h 1901"/>
              <a:gd name="T66" fmla="*/ 2147483647 w 5927"/>
              <a:gd name="T67" fmla="*/ 2147483647 h 1901"/>
              <a:gd name="T68" fmla="*/ 2147483647 w 5927"/>
              <a:gd name="T69" fmla="*/ 2147483647 h 1901"/>
              <a:gd name="T70" fmla="*/ 2147483647 w 5927"/>
              <a:gd name="T71" fmla="*/ 2147483647 h 1901"/>
              <a:gd name="T72" fmla="*/ 2147483647 w 5927"/>
              <a:gd name="T73" fmla="*/ 2147483647 h 1901"/>
              <a:gd name="T74" fmla="*/ 2147483647 w 5927"/>
              <a:gd name="T75" fmla="*/ 2147483647 h 1901"/>
              <a:gd name="T76" fmla="*/ 2147483647 w 5927"/>
              <a:gd name="T77" fmla="*/ 2147483647 h 1901"/>
              <a:gd name="T78" fmla="*/ 2147483647 w 5927"/>
              <a:gd name="T79" fmla="*/ 2147483647 h 1901"/>
              <a:gd name="T80" fmla="*/ 2147483647 w 5927"/>
              <a:gd name="T81" fmla="*/ 2147483647 h 1901"/>
              <a:gd name="T82" fmla="*/ 2147483647 w 5927"/>
              <a:gd name="T83" fmla="*/ 2147483647 h 1901"/>
              <a:gd name="T84" fmla="*/ 2147483647 w 5927"/>
              <a:gd name="T85" fmla="*/ 2147483647 h 1901"/>
              <a:gd name="T86" fmla="*/ 2147483647 w 5927"/>
              <a:gd name="T87" fmla="*/ 2147483647 h 1901"/>
              <a:gd name="T88" fmla="*/ 2147483647 w 5927"/>
              <a:gd name="T89" fmla="*/ 2147483647 h 1901"/>
              <a:gd name="T90" fmla="*/ 2147483647 w 5927"/>
              <a:gd name="T91" fmla="*/ 2147483647 h 1901"/>
              <a:gd name="T92" fmla="*/ 2147483647 w 5927"/>
              <a:gd name="T93" fmla="*/ 2147483647 h 1901"/>
              <a:gd name="T94" fmla="*/ 2147483647 w 5927"/>
              <a:gd name="T95" fmla="*/ 2147483647 h 1901"/>
              <a:gd name="T96" fmla="*/ 2147483647 w 5927"/>
              <a:gd name="T97" fmla="*/ 2147483647 h 1901"/>
              <a:gd name="T98" fmla="*/ 2147483647 w 5927"/>
              <a:gd name="T99" fmla="*/ 2147483647 h 1901"/>
              <a:gd name="T100" fmla="*/ 2147483647 w 5927"/>
              <a:gd name="T101" fmla="*/ 2147483647 h 1901"/>
              <a:gd name="T102" fmla="*/ 2147483647 w 5927"/>
              <a:gd name="T103" fmla="*/ 2147483647 h 1901"/>
              <a:gd name="T104" fmla="*/ 2147483647 w 5927"/>
              <a:gd name="T105" fmla="*/ 2147483647 h 1901"/>
              <a:gd name="T106" fmla="*/ 2147483647 w 5927"/>
              <a:gd name="T107" fmla="*/ 2147483647 h 1901"/>
              <a:gd name="T108" fmla="*/ 2147483647 w 5927"/>
              <a:gd name="T109" fmla="*/ 2147483647 h 1901"/>
              <a:gd name="T110" fmla="*/ 2147483647 w 5927"/>
              <a:gd name="T111" fmla="*/ 2147483647 h 1901"/>
              <a:gd name="T112" fmla="*/ 2147483647 w 5927"/>
              <a:gd name="T113" fmla="*/ 2147483647 h 1901"/>
              <a:gd name="T114" fmla="*/ 2147483647 w 5927"/>
              <a:gd name="T115" fmla="*/ 2147483647 h 190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927"/>
              <a:gd name="T175" fmla="*/ 0 h 1901"/>
              <a:gd name="T176" fmla="*/ 5927 w 5927"/>
              <a:gd name="T177" fmla="*/ 1901 h 190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927" h="1901">
                <a:moveTo>
                  <a:pt x="0" y="1351"/>
                </a:moveTo>
                <a:lnTo>
                  <a:pt x="49" y="1307"/>
                </a:lnTo>
                <a:lnTo>
                  <a:pt x="33" y="1325"/>
                </a:lnTo>
                <a:lnTo>
                  <a:pt x="55" y="1330"/>
                </a:lnTo>
                <a:lnTo>
                  <a:pt x="49" y="1241"/>
                </a:lnTo>
                <a:lnTo>
                  <a:pt x="69" y="1199"/>
                </a:lnTo>
                <a:lnTo>
                  <a:pt x="98" y="1193"/>
                </a:lnTo>
                <a:lnTo>
                  <a:pt x="155" y="1232"/>
                </a:lnTo>
                <a:lnTo>
                  <a:pt x="168" y="1158"/>
                </a:lnTo>
                <a:lnTo>
                  <a:pt x="143" y="1159"/>
                </a:lnTo>
                <a:lnTo>
                  <a:pt x="133" y="1116"/>
                </a:lnTo>
                <a:lnTo>
                  <a:pt x="368" y="1078"/>
                </a:lnTo>
                <a:lnTo>
                  <a:pt x="311" y="1062"/>
                </a:lnTo>
                <a:lnTo>
                  <a:pt x="313" y="1040"/>
                </a:lnTo>
                <a:lnTo>
                  <a:pt x="278" y="1048"/>
                </a:lnTo>
                <a:lnTo>
                  <a:pt x="411" y="936"/>
                </a:lnTo>
                <a:lnTo>
                  <a:pt x="352" y="818"/>
                </a:lnTo>
                <a:lnTo>
                  <a:pt x="366" y="761"/>
                </a:lnTo>
                <a:lnTo>
                  <a:pt x="330" y="699"/>
                </a:lnTo>
                <a:lnTo>
                  <a:pt x="360" y="664"/>
                </a:lnTo>
                <a:lnTo>
                  <a:pt x="311" y="615"/>
                </a:lnTo>
                <a:lnTo>
                  <a:pt x="325" y="574"/>
                </a:lnTo>
                <a:lnTo>
                  <a:pt x="389" y="529"/>
                </a:lnTo>
                <a:lnTo>
                  <a:pt x="425" y="523"/>
                </a:lnTo>
                <a:lnTo>
                  <a:pt x="470" y="533"/>
                </a:lnTo>
                <a:lnTo>
                  <a:pt x="431" y="544"/>
                </a:lnTo>
                <a:lnTo>
                  <a:pt x="461" y="561"/>
                </a:lnTo>
                <a:lnTo>
                  <a:pt x="564" y="566"/>
                </a:lnTo>
                <a:lnTo>
                  <a:pt x="745" y="661"/>
                </a:lnTo>
                <a:lnTo>
                  <a:pt x="750" y="708"/>
                </a:lnTo>
                <a:lnTo>
                  <a:pt x="670" y="749"/>
                </a:lnTo>
                <a:lnTo>
                  <a:pt x="427" y="692"/>
                </a:lnTo>
                <a:lnTo>
                  <a:pt x="526" y="760"/>
                </a:lnTo>
                <a:lnTo>
                  <a:pt x="524" y="838"/>
                </a:lnTo>
                <a:lnTo>
                  <a:pt x="623" y="878"/>
                </a:lnTo>
                <a:lnTo>
                  <a:pt x="648" y="870"/>
                </a:lnTo>
                <a:lnTo>
                  <a:pt x="635" y="838"/>
                </a:lnTo>
                <a:lnTo>
                  <a:pt x="590" y="826"/>
                </a:lnTo>
                <a:lnTo>
                  <a:pt x="601" y="799"/>
                </a:lnTo>
                <a:lnTo>
                  <a:pt x="645" y="829"/>
                </a:lnTo>
                <a:lnTo>
                  <a:pt x="741" y="838"/>
                </a:lnTo>
                <a:lnTo>
                  <a:pt x="700" y="776"/>
                </a:lnTo>
                <a:lnTo>
                  <a:pt x="788" y="724"/>
                </a:lnTo>
                <a:lnTo>
                  <a:pt x="853" y="760"/>
                </a:lnTo>
                <a:lnTo>
                  <a:pt x="851" y="618"/>
                </a:lnTo>
                <a:lnTo>
                  <a:pt x="823" y="598"/>
                </a:lnTo>
                <a:lnTo>
                  <a:pt x="931" y="629"/>
                </a:lnTo>
                <a:lnTo>
                  <a:pt x="938" y="646"/>
                </a:lnTo>
                <a:lnTo>
                  <a:pt x="881" y="671"/>
                </a:lnTo>
                <a:lnTo>
                  <a:pt x="938" y="716"/>
                </a:lnTo>
                <a:lnTo>
                  <a:pt x="987" y="664"/>
                </a:lnTo>
                <a:lnTo>
                  <a:pt x="1187" y="580"/>
                </a:lnTo>
                <a:lnTo>
                  <a:pt x="1217" y="576"/>
                </a:lnTo>
                <a:lnTo>
                  <a:pt x="1187" y="590"/>
                </a:lnTo>
                <a:lnTo>
                  <a:pt x="1220" y="631"/>
                </a:lnTo>
                <a:lnTo>
                  <a:pt x="1364" y="576"/>
                </a:lnTo>
                <a:lnTo>
                  <a:pt x="1397" y="616"/>
                </a:lnTo>
                <a:lnTo>
                  <a:pt x="1431" y="587"/>
                </a:lnTo>
                <a:lnTo>
                  <a:pt x="1414" y="540"/>
                </a:lnTo>
                <a:lnTo>
                  <a:pt x="1434" y="525"/>
                </a:lnTo>
                <a:lnTo>
                  <a:pt x="1544" y="547"/>
                </a:lnTo>
                <a:lnTo>
                  <a:pt x="1689" y="627"/>
                </a:lnTo>
                <a:lnTo>
                  <a:pt x="1719" y="589"/>
                </a:lnTo>
                <a:lnTo>
                  <a:pt x="1687" y="549"/>
                </a:lnTo>
                <a:lnTo>
                  <a:pt x="1643" y="538"/>
                </a:lnTo>
                <a:lnTo>
                  <a:pt x="1660" y="474"/>
                </a:lnTo>
                <a:lnTo>
                  <a:pt x="1629" y="465"/>
                </a:lnTo>
                <a:lnTo>
                  <a:pt x="1640" y="437"/>
                </a:lnTo>
                <a:lnTo>
                  <a:pt x="1693" y="406"/>
                </a:lnTo>
                <a:lnTo>
                  <a:pt x="1727" y="330"/>
                </a:lnTo>
                <a:lnTo>
                  <a:pt x="1803" y="332"/>
                </a:lnTo>
                <a:lnTo>
                  <a:pt x="1838" y="343"/>
                </a:lnTo>
                <a:lnTo>
                  <a:pt x="1812" y="423"/>
                </a:lnTo>
                <a:lnTo>
                  <a:pt x="1842" y="463"/>
                </a:lnTo>
                <a:lnTo>
                  <a:pt x="1832" y="574"/>
                </a:lnTo>
                <a:lnTo>
                  <a:pt x="1870" y="613"/>
                </a:lnTo>
                <a:lnTo>
                  <a:pt x="1856" y="653"/>
                </a:lnTo>
                <a:lnTo>
                  <a:pt x="1798" y="684"/>
                </a:lnTo>
                <a:lnTo>
                  <a:pt x="1816" y="699"/>
                </a:lnTo>
                <a:lnTo>
                  <a:pt x="1742" y="715"/>
                </a:lnTo>
                <a:lnTo>
                  <a:pt x="1821" y="742"/>
                </a:lnTo>
                <a:lnTo>
                  <a:pt x="1912" y="653"/>
                </a:lnTo>
                <a:lnTo>
                  <a:pt x="1901" y="598"/>
                </a:lnTo>
                <a:lnTo>
                  <a:pt x="1933" y="589"/>
                </a:lnTo>
                <a:lnTo>
                  <a:pt x="1980" y="579"/>
                </a:lnTo>
                <a:lnTo>
                  <a:pt x="2002" y="610"/>
                </a:lnTo>
                <a:lnTo>
                  <a:pt x="2000" y="651"/>
                </a:lnTo>
                <a:lnTo>
                  <a:pt x="2059" y="665"/>
                </a:lnTo>
                <a:lnTo>
                  <a:pt x="2013" y="650"/>
                </a:lnTo>
                <a:lnTo>
                  <a:pt x="2033" y="626"/>
                </a:lnTo>
                <a:lnTo>
                  <a:pt x="2016" y="589"/>
                </a:lnTo>
                <a:lnTo>
                  <a:pt x="1880" y="565"/>
                </a:lnTo>
                <a:lnTo>
                  <a:pt x="1901" y="478"/>
                </a:lnTo>
                <a:lnTo>
                  <a:pt x="1854" y="423"/>
                </a:lnTo>
                <a:lnTo>
                  <a:pt x="1922" y="373"/>
                </a:lnTo>
                <a:lnTo>
                  <a:pt x="1913" y="337"/>
                </a:lnTo>
                <a:lnTo>
                  <a:pt x="1944" y="358"/>
                </a:lnTo>
                <a:lnTo>
                  <a:pt x="1929" y="428"/>
                </a:lnTo>
                <a:lnTo>
                  <a:pt x="1950" y="437"/>
                </a:lnTo>
                <a:lnTo>
                  <a:pt x="2041" y="459"/>
                </a:lnTo>
                <a:lnTo>
                  <a:pt x="1958" y="401"/>
                </a:lnTo>
                <a:lnTo>
                  <a:pt x="2022" y="403"/>
                </a:lnTo>
                <a:lnTo>
                  <a:pt x="2007" y="380"/>
                </a:lnTo>
                <a:lnTo>
                  <a:pt x="2041" y="369"/>
                </a:lnTo>
                <a:lnTo>
                  <a:pt x="2209" y="414"/>
                </a:lnTo>
                <a:lnTo>
                  <a:pt x="2177" y="445"/>
                </a:lnTo>
                <a:lnTo>
                  <a:pt x="2172" y="490"/>
                </a:lnTo>
                <a:lnTo>
                  <a:pt x="2207" y="516"/>
                </a:lnTo>
                <a:lnTo>
                  <a:pt x="2224" y="414"/>
                </a:lnTo>
                <a:lnTo>
                  <a:pt x="2133" y="363"/>
                </a:lnTo>
                <a:lnTo>
                  <a:pt x="2114" y="293"/>
                </a:lnTo>
                <a:lnTo>
                  <a:pt x="2328" y="267"/>
                </a:lnTo>
                <a:lnTo>
                  <a:pt x="2300" y="203"/>
                </a:lnTo>
                <a:lnTo>
                  <a:pt x="2328" y="217"/>
                </a:lnTo>
                <a:lnTo>
                  <a:pt x="2363" y="192"/>
                </a:lnTo>
                <a:lnTo>
                  <a:pt x="2337" y="184"/>
                </a:lnTo>
                <a:lnTo>
                  <a:pt x="2560" y="132"/>
                </a:lnTo>
                <a:lnTo>
                  <a:pt x="2542" y="117"/>
                </a:lnTo>
                <a:lnTo>
                  <a:pt x="2644" y="112"/>
                </a:lnTo>
                <a:lnTo>
                  <a:pt x="2643" y="129"/>
                </a:lnTo>
                <a:lnTo>
                  <a:pt x="2669" y="129"/>
                </a:lnTo>
                <a:lnTo>
                  <a:pt x="2744" y="106"/>
                </a:lnTo>
                <a:lnTo>
                  <a:pt x="2779" y="118"/>
                </a:lnTo>
                <a:lnTo>
                  <a:pt x="2746" y="90"/>
                </a:lnTo>
                <a:lnTo>
                  <a:pt x="2830" y="84"/>
                </a:lnTo>
                <a:lnTo>
                  <a:pt x="2833" y="48"/>
                </a:lnTo>
                <a:lnTo>
                  <a:pt x="2933" y="0"/>
                </a:lnTo>
                <a:lnTo>
                  <a:pt x="3002" y="29"/>
                </a:lnTo>
                <a:lnTo>
                  <a:pt x="2943" y="55"/>
                </a:lnTo>
                <a:lnTo>
                  <a:pt x="3043" y="53"/>
                </a:lnTo>
                <a:lnTo>
                  <a:pt x="3003" y="90"/>
                </a:lnTo>
                <a:lnTo>
                  <a:pt x="3174" y="72"/>
                </a:lnTo>
                <a:lnTo>
                  <a:pt x="3269" y="129"/>
                </a:lnTo>
                <a:lnTo>
                  <a:pt x="3255" y="150"/>
                </a:lnTo>
                <a:lnTo>
                  <a:pt x="3223" y="138"/>
                </a:lnTo>
                <a:lnTo>
                  <a:pt x="3266" y="156"/>
                </a:lnTo>
                <a:lnTo>
                  <a:pt x="3245" y="190"/>
                </a:lnTo>
                <a:lnTo>
                  <a:pt x="2933" y="355"/>
                </a:lnTo>
                <a:lnTo>
                  <a:pt x="3032" y="335"/>
                </a:lnTo>
                <a:lnTo>
                  <a:pt x="3011" y="313"/>
                </a:lnTo>
                <a:lnTo>
                  <a:pt x="3169" y="282"/>
                </a:lnTo>
                <a:lnTo>
                  <a:pt x="3126" y="287"/>
                </a:lnTo>
                <a:lnTo>
                  <a:pt x="3136" y="259"/>
                </a:lnTo>
                <a:lnTo>
                  <a:pt x="3223" y="282"/>
                </a:lnTo>
                <a:lnTo>
                  <a:pt x="3236" y="259"/>
                </a:lnTo>
                <a:lnTo>
                  <a:pt x="3256" y="313"/>
                </a:lnTo>
                <a:lnTo>
                  <a:pt x="3299" y="316"/>
                </a:lnTo>
                <a:lnTo>
                  <a:pt x="3258" y="294"/>
                </a:lnTo>
                <a:lnTo>
                  <a:pt x="3342" y="280"/>
                </a:lnTo>
                <a:lnTo>
                  <a:pt x="3442" y="293"/>
                </a:lnTo>
                <a:lnTo>
                  <a:pt x="3433" y="313"/>
                </a:lnTo>
                <a:lnTo>
                  <a:pt x="3520" y="330"/>
                </a:lnTo>
                <a:lnTo>
                  <a:pt x="3596" y="326"/>
                </a:lnTo>
                <a:lnTo>
                  <a:pt x="3600" y="275"/>
                </a:lnTo>
                <a:lnTo>
                  <a:pt x="3622" y="269"/>
                </a:lnTo>
                <a:lnTo>
                  <a:pt x="3815" y="326"/>
                </a:lnTo>
                <a:lnTo>
                  <a:pt x="3788" y="414"/>
                </a:lnTo>
                <a:lnTo>
                  <a:pt x="3877" y="474"/>
                </a:lnTo>
                <a:lnTo>
                  <a:pt x="3926" y="392"/>
                </a:lnTo>
                <a:lnTo>
                  <a:pt x="3959" y="428"/>
                </a:lnTo>
                <a:lnTo>
                  <a:pt x="4024" y="414"/>
                </a:lnTo>
                <a:lnTo>
                  <a:pt x="4110" y="445"/>
                </a:lnTo>
                <a:lnTo>
                  <a:pt x="4179" y="426"/>
                </a:lnTo>
                <a:lnTo>
                  <a:pt x="4172" y="392"/>
                </a:lnTo>
                <a:lnTo>
                  <a:pt x="4220" y="336"/>
                </a:lnTo>
                <a:lnTo>
                  <a:pt x="4508" y="376"/>
                </a:lnTo>
                <a:lnTo>
                  <a:pt x="4527" y="402"/>
                </a:lnTo>
                <a:lnTo>
                  <a:pt x="4491" y="413"/>
                </a:lnTo>
                <a:lnTo>
                  <a:pt x="4584" y="426"/>
                </a:lnTo>
                <a:lnTo>
                  <a:pt x="4619" y="465"/>
                </a:lnTo>
                <a:lnTo>
                  <a:pt x="4835" y="459"/>
                </a:lnTo>
                <a:lnTo>
                  <a:pt x="4875" y="490"/>
                </a:lnTo>
                <a:lnTo>
                  <a:pt x="4861" y="529"/>
                </a:lnTo>
                <a:lnTo>
                  <a:pt x="4924" y="556"/>
                </a:lnTo>
                <a:lnTo>
                  <a:pt x="4957" y="534"/>
                </a:lnTo>
                <a:lnTo>
                  <a:pt x="5111" y="550"/>
                </a:lnTo>
                <a:lnTo>
                  <a:pt x="5142" y="529"/>
                </a:lnTo>
                <a:lnTo>
                  <a:pt x="5162" y="563"/>
                </a:lnTo>
                <a:lnTo>
                  <a:pt x="5225" y="591"/>
                </a:lnTo>
                <a:lnTo>
                  <a:pt x="5256" y="572"/>
                </a:lnTo>
                <a:lnTo>
                  <a:pt x="5224" y="540"/>
                </a:lnTo>
                <a:lnTo>
                  <a:pt x="5242" y="516"/>
                </a:lnTo>
                <a:lnTo>
                  <a:pt x="5513" y="555"/>
                </a:lnTo>
                <a:lnTo>
                  <a:pt x="5691" y="655"/>
                </a:lnTo>
                <a:lnTo>
                  <a:pt x="5729" y="655"/>
                </a:lnTo>
                <a:lnTo>
                  <a:pt x="5774" y="736"/>
                </a:lnTo>
                <a:lnTo>
                  <a:pt x="5756" y="692"/>
                </a:lnTo>
                <a:lnTo>
                  <a:pt x="5784" y="688"/>
                </a:lnTo>
                <a:lnTo>
                  <a:pt x="5802" y="705"/>
                </a:lnTo>
                <a:lnTo>
                  <a:pt x="5854" y="699"/>
                </a:lnTo>
                <a:lnTo>
                  <a:pt x="5927" y="746"/>
                </a:lnTo>
                <a:lnTo>
                  <a:pt x="5823" y="798"/>
                </a:lnTo>
                <a:lnTo>
                  <a:pt x="5844" y="812"/>
                </a:lnTo>
                <a:lnTo>
                  <a:pt x="5807" y="821"/>
                </a:lnTo>
                <a:lnTo>
                  <a:pt x="5837" y="841"/>
                </a:lnTo>
                <a:lnTo>
                  <a:pt x="5774" y="842"/>
                </a:lnTo>
                <a:lnTo>
                  <a:pt x="5755" y="812"/>
                </a:lnTo>
                <a:lnTo>
                  <a:pt x="5730" y="824"/>
                </a:lnTo>
                <a:lnTo>
                  <a:pt x="5690" y="776"/>
                </a:lnTo>
                <a:lnTo>
                  <a:pt x="5620" y="777"/>
                </a:lnTo>
                <a:lnTo>
                  <a:pt x="5602" y="749"/>
                </a:lnTo>
                <a:lnTo>
                  <a:pt x="5619" y="736"/>
                </a:lnTo>
                <a:lnTo>
                  <a:pt x="5591" y="736"/>
                </a:lnTo>
                <a:lnTo>
                  <a:pt x="5569" y="746"/>
                </a:lnTo>
                <a:lnTo>
                  <a:pt x="5595" y="779"/>
                </a:lnTo>
                <a:lnTo>
                  <a:pt x="5579" y="799"/>
                </a:lnTo>
                <a:lnTo>
                  <a:pt x="5519" y="832"/>
                </a:lnTo>
                <a:lnTo>
                  <a:pt x="5478" y="825"/>
                </a:lnTo>
                <a:lnTo>
                  <a:pt x="5546" y="918"/>
                </a:lnTo>
                <a:lnTo>
                  <a:pt x="5535" y="953"/>
                </a:lnTo>
                <a:lnTo>
                  <a:pt x="5466" y="928"/>
                </a:lnTo>
                <a:lnTo>
                  <a:pt x="5469" y="942"/>
                </a:lnTo>
                <a:lnTo>
                  <a:pt x="5343" y="988"/>
                </a:lnTo>
                <a:lnTo>
                  <a:pt x="5231" y="1082"/>
                </a:lnTo>
                <a:lnTo>
                  <a:pt x="5155" y="1046"/>
                </a:lnTo>
                <a:lnTo>
                  <a:pt x="5086" y="1084"/>
                </a:lnTo>
                <a:lnTo>
                  <a:pt x="5086" y="1050"/>
                </a:lnTo>
                <a:lnTo>
                  <a:pt x="5045" y="1087"/>
                </a:lnTo>
                <a:lnTo>
                  <a:pt x="4996" y="1083"/>
                </a:lnTo>
                <a:lnTo>
                  <a:pt x="4944" y="1175"/>
                </a:lnTo>
                <a:lnTo>
                  <a:pt x="4985" y="1193"/>
                </a:lnTo>
                <a:lnTo>
                  <a:pt x="4968" y="1224"/>
                </a:lnTo>
                <a:lnTo>
                  <a:pt x="4988" y="1270"/>
                </a:lnTo>
                <a:lnTo>
                  <a:pt x="4952" y="1262"/>
                </a:lnTo>
                <a:lnTo>
                  <a:pt x="4932" y="1303"/>
                </a:lnTo>
                <a:lnTo>
                  <a:pt x="4945" y="1341"/>
                </a:lnTo>
                <a:lnTo>
                  <a:pt x="4869" y="1372"/>
                </a:lnTo>
                <a:lnTo>
                  <a:pt x="4875" y="1413"/>
                </a:lnTo>
                <a:lnTo>
                  <a:pt x="4825" y="1424"/>
                </a:lnTo>
                <a:lnTo>
                  <a:pt x="4811" y="1471"/>
                </a:lnTo>
                <a:lnTo>
                  <a:pt x="4765" y="1520"/>
                </a:lnTo>
                <a:lnTo>
                  <a:pt x="4726" y="1341"/>
                </a:lnTo>
                <a:lnTo>
                  <a:pt x="4731" y="1244"/>
                </a:lnTo>
                <a:lnTo>
                  <a:pt x="4765" y="1188"/>
                </a:lnTo>
                <a:lnTo>
                  <a:pt x="4818" y="1176"/>
                </a:lnTo>
                <a:lnTo>
                  <a:pt x="4941" y="1056"/>
                </a:lnTo>
                <a:lnTo>
                  <a:pt x="5000" y="1032"/>
                </a:lnTo>
                <a:lnTo>
                  <a:pt x="5020" y="962"/>
                </a:lnTo>
                <a:lnTo>
                  <a:pt x="5045" y="944"/>
                </a:lnTo>
                <a:lnTo>
                  <a:pt x="4998" y="942"/>
                </a:lnTo>
                <a:lnTo>
                  <a:pt x="4984" y="999"/>
                </a:lnTo>
                <a:lnTo>
                  <a:pt x="4879" y="1048"/>
                </a:lnTo>
                <a:lnTo>
                  <a:pt x="4890" y="974"/>
                </a:lnTo>
                <a:lnTo>
                  <a:pt x="4778" y="990"/>
                </a:lnTo>
                <a:lnTo>
                  <a:pt x="4672" y="1084"/>
                </a:lnTo>
                <a:lnTo>
                  <a:pt x="4692" y="1123"/>
                </a:lnTo>
                <a:lnTo>
                  <a:pt x="4579" y="1136"/>
                </a:lnTo>
                <a:lnTo>
                  <a:pt x="4565" y="1125"/>
                </a:lnTo>
                <a:lnTo>
                  <a:pt x="4604" y="1119"/>
                </a:lnTo>
                <a:lnTo>
                  <a:pt x="4510" y="1095"/>
                </a:lnTo>
                <a:lnTo>
                  <a:pt x="4484" y="1119"/>
                </a:lnTo>
                <a:lnTo>
                  <a:pt x="4271" y="1121"/>
                </a:lnTo>
                <a:lnTo>
                  <a:pt x="4017" y="1337"/>
                </a:lnTo>
                <a:lnTo>
                  <a:pt x="4068" y="1346"/>
                </a:lnTo>
                <a:lnTo>
                  <a:pt x="4068" y="1385"/>
                </a:lnTo>
                <a:lnTo>
                  <a:pt x="4097" y="1361"/>
                </a:lnTo>
                <a:lnTo>
                  <a:pt x="4089" y="1394"/>
                </a:lnTo>
                <a:lnTo>
                  <a:pt x="4128" y="1375"/>
                </a:lnTo>
                <a:lnTo>
                  <a:pt x="4123" y="1396"/>
                </a:lnTo>
                <a:lnTo>
                  <a:pt x="4135" y="1361"/>
                </a:lnTo>
                <a:lnTo>
                  <a:pt x="4172" y="1362"/>
                </a:lnTo>
                <a:lnTo>
                  <a:pt x="4226" y="1407"/>
                </a:lnTo>
                <a:lnTo>
                  <a:pt x="4178" y="1412"/>
                </a:lnTo>
                <a:lnTo>
                  <a:pt x="4221" y="1427"/>
                </a:lnTo>
                <a:lnTo>
                  <a:pt x="4231" y="1457"/>
                </a:lnTo>
                <a:lnTo>
                  <a:pt x="4197" y="1526"/>
                </a:lnTo>
                <a:lnTo>
                  <a:pt x="4189" y="1630"/>
                </a:lnTo>
                <a:lnTo>
                  <a:pt x="4011" y="1845"/>
                </a:lnTo>
                <a:lnTo>
                  <a:pt x="3948" y="1873"/>
                </a:lnTo>
                <a:lnTo>
                  <a:pt x="3899" y="1845"/>
                </a:lnTo>
                <a:lnTo>
                  <a:pt x="3857" y="1887"/>
                </a:lnTo>
                <a:lnTo>
                  <a:pt x="3852" y="1878"/>
                </a:lnTo>
                <a:lnTo>
                  <a:pt x="3876" y="1845"/>
                </a:lnTo>
                <a:lnTo>
                  <a:pt x="3866" y="1791"/>
                </a:lnTo>
                <a:lnTo>
                  <a:pt x="3942" y="1769"/>
                </a:lnTo>
                <a:lnTo>
                  <a:pt x="4002" y="1625"/>
                </a:lnTo>
                <a:lnTo>
                  <a:pt x="3872" y="1659"/>
                </a:lnTo>
                <a:lnTo>
                  <a:pt x="3852" y="1605"/>
                </a:lnTo>
                <a:lnTo>
                  <a:pt x="3746" y="1572"/>
                </a:lnTo>
                <a:lnTo>
                  <a:pt x="3682" y="1423"/>
                </a:lnTo>
                <a:lnTo>
                  <a:pt x="3612" y="1396"/>
                </a:lnTo>
                <a:lnTo>
                  <a:pt x="3486" y="1437"/>
                </a:lnTo>
                <a:lnTo>
                  <a:pt x="3510" y="1468"/>
                </a:lnTo>
                <a:lnTo>
                  <a:pt x="3459" y="1556"/>
                </a:lnTo>
                <a:lnTo>
                  <a:pt x="3409" y="1580"/>
                </a:lnTo>
                <a:lnTo>
                  <a:pt x="3356" y="1559"/>
                </a:lnTo>
                <a:lnTo>
                  <a:pt x="3293" y="1549"/>
                </a:lnTo>
                <a:lnTo>
                  <a:pt x="3129" y="1589"/>
                </a:lnTo>
                <a:lnTo>
                  <a:pt x="2984" y="1531"/>
                </a:lnTo>
                <a:lnTo>
                  <a:pt x="2892" y="1539"/>
                </a:lnTo>
                <a:lnTo>
                  <a:pt x="2857" y="1490"/>
                </a:lnTo>
                <a:lnTo>
                  <a:pt x="2766" y="1457"/>
                </a:lnTo>
                <a:lnTo>
                  <a:pt x="2718" y="1492"/>
                </a:lnTo>
                <a:lnTo>
                  <a:pt x="2714" y="1558"/>
                </a:lnTo>
                <a:lnTo>
                  <a:pt x="2506" y="1529"/>
                </a:lnTo>
                <a:lnTo>
                  <a:pt x="2396" y="1589"/>
                </a:lnTo>
                <a:lnTo>
                  <a:pt x="2337" y="1614"/>
                </a:lnTo>
                <a:lnTo>
                  <a:pt x="2263" y="1566"/>
                </a:lnTo>
                <a:lnTo>
                  <a:pt x="2215" y="1592"/>
                </a:lnTo>
                <a:lnTo>
                  <a:pt x="2127" y="1559"/>
                </a:lnTo>
                <a:lnTo>
                  <a:pt x="2094" y="1556"/>
                </a:lnTo>
                <a:lnTo>
                  <a:pt x="2068" y="1505"/>
                </a:lnTo>
                <a:lnTo>
                  <a:pt x="2022" y="1505"/>
                </a:lnTo>
                <a:lnTo>
                  <a:pt x="2001" y="1514"/>
                </a:lnTo>
                <a:lnTo>
                  <a:pt x="1964" y="1474"/>
                </a:lnTo>
                <a:lnTo>
                  <a:pt x="1939" y="1485"/>
                </a:lnTo>
                <a:lnTo>
                  <a:pt x="1914" y="1498"/>
                </a:lnTo>
                <a:lnTo>
                  <a:pt x="1816" y="1416"/>
                </a:lnTo>
                <a:lnTo>
                  <a:pt x="1788" y="1410"/>
                </a:lnTo>
                <a:lnTo>
                  <a:pt x="1722" y="1347"/>
                </a:lnTo>
                <a:lnTo>
                  <a:pt x="1661" y="1385"/>
                </a:lnTo>
                <a:lnTo>
                  <a:pt x="1650" y="1359"/>
                </a:lnTo>
                <a:lnTo>
                  <a:pt x="1558" y="1356"/>
                </a:lnTo>
                <a:lnTo>
                  <a:pt x="1524" y="1311"/>
                </a:lnTo>
                <a:lnTo>
                  <a:pt x="1475" y="1315"/>
                </a:lnTo>
                <a:lnTo>
                  <a:pt x="1458" y="1334"/>
                </a:lnTo>
                <a:lnTo>
                  <a:pt x="1397" y="1345"/>
                </a:lnTo>
                <a:lnTo>
                  <a:pt x="1380" y="1334"/>
                </a:lnTo>
                <a:lnTo>
                  <a:pt x="1357" y="1368"/>
                </a:lnTo>
                <a:lnTo>
                  <a:pt x="1338" y="1359"/>
                </a:lnTo>
                <a:lnTo>
                  <a:pt x="1265" y="1369"/>
                </a:lnTo>
                <a:lnTo>
                  <a:pt x="1242" y="1359"/>
                </a:lnTo>
                <a:lnTo>
                  <a:pt x="1233" y="1369"/>
                </a:lnTo>
                <a:lnTo>
                  <a:pt x="1270" y="1410"/>
                </a:lnTo>
                <a:lnTo>
                  <a:pt x="1244" y="1432"/>
                </a:lnTo>
                <a:lnTo>
                  <a:pt x="1246" y="1465"/>
                </a:lnTo>
                <a:lnTo>
                  <a:pt x="1288" y="1466"/>
                </a:lnTo>
                <a:lnTo>
                  <a:pt x="1305" y="1498"/>
                </a:lnTo>
                <a:lnTo>
                  <a:pt x="1295" y="1521"/>
                </a:lnTo>
                <a:lnTo>
                  <a:pt x="1265" y="1505"/>
                </a:lnTo>
                <a:lnTo>
                  <a:pt x="1242" y="1520"/>
                </a:lnTo>
                <a:lnTo>
                  <a:pt x="1218" y="1506"/>
                </a:lnTo>
                <a:lnTo>
                  <a:pt x="1207" y="1485"/>
                </a:lnTo>
                <a:lnTo>
                  <a:pt x="1178" y="1498"/>
                </a:lnTo>
                <a:lnTo>
                  <a:pt x="1157" y="1487"/>
                </a:lnTo>
                <a:lnTo>
                  <a:pt x="1134" y="1505"/>
                </a:lnTo>
                <a:lnTo>
                  <a:pt x="1101" y="1509"/>
                </a:lnTo>
                <a:lnTo>
                  <a:pt x="1083" y="1485"/>
                </a:lnTo>
                <a:lnTo>
                  <a:pt x="970" y="1478"/>
                </a:lnTo>
                <a:lnTo>
                  <a:pt x="957" y="1490"/>
                </a:lnTo>
                <a:lnTo>
                  <a:pt x="946" y="1489"/>
                </a:lnTo>
                <a:lnTo>
                  <a:pt x="930" y="1515"/>
                </a:lnTo>
                <a:lnTo>
                  <a:pt x="931" y="1540"/>
                </a:lnTo>
                <a:lnTo>
                  <a:pt x="917" y="1542"/>
                </a:lnTo>
                <a:lnTo>
                  <a:pt x="908" y="1521"/>
                </a:lnTo>
                <a:lnTo>
                  <a:pt x="892" y="1523"/>
                </a:lnTo>
                <a:lnTo>
                  <a:pt x="888" y="1597"/>
                </a:lnTo>
                <a:lnTo>
                  <a:pt x="905" y="1619"/>
                </a:lnTo>
                <a:lnTo>
                  <a:pt x="905" y="1640"/>
                </a:lnTo>
                <a:lnTo>
                  <a:pt x="924" y="1636"/>
                </a:lnTo>
                <a:lnTo>
                  <a:pt x="946" y="1626"/>
                </a:lnTo>
                <a:lnTo>
                  <a:pt x="966" y="1659"/>
                </a:lnTo>
                <a:lnTo>
                  <a:pt x="982" y="1681"/>
                </a:lnTo>
                <a:lnTo>
                  <a:pt x="998" y="1708"/>
                </a:lnTo>
                <a:lnTo>
                  <a:pt x="1023" y="1715"/>
                </a:lnTo>
                <a:lnTo>
                  <a:pt x="991" y="1736"/>
                </a:lnTo>
                <a:lnTo>
                  <a:pt x="968" y="1717"/>
                </a:lnTo>
                <a:lnTo>
                  <a:pt x="944" y="1800"/>
                </a:lnTo>
                <a:lnTo>
                  <a:pt x="972" y="1821"/>
                </a:lnTo>
                <a:lnTo>
                  <a:pt x="997" y="1901"/>
                </a:lnTo>
                <a:lnTo>
                  <a:pt x="974" y="1887"/>
                </a:lnTo>
                <a:lnTo>
                  <a:pt x="950" y="1878"/>
                </a:lnTo>
                <a:lnTo>
                  <a:pt x="924" y="1873"/>
                </a:lnTo>
                <a:lnTo>
                  <a:pt x="905" y="1865"/>
                </a:lnTo>
                <a:lnTo>
                  <a:pt x="887" y="1862"/>
                </a:lnTo>
                <a:lnTo>
                  <a:pt x="871" y="1834"/>
                </a:lnTo>
                <a:lnTo>
                  <a:pt x="836" y="1851"/>
                </a:lnTo>
                <a:lnTo>
                  <a:pt x="802" y="1850"/>
                </a:lnTo>
                <a:lnTo>
                  <a:pt x="780" y="1825"/>
                </a:lnTo>
                <a:lnTo>
                  <a:pt x="725" y="1802"/>
                </a:lnTo>
                <a:lnTo>
                  <a:pt x="669" y="1807"/>
                </a:lnTo>
                <a:lnTo>
                  <a:pt x="610" y="1767"/>
                </a:lnTo>
                <a:lnTo>
                  <a:pt x="657" y="1729"/>
                </a:lnTo>
                <a:lnTo>
                  <a:pt x="662" y="1698"/>
                </a:lnTo>
                <a:lnTo>
                  <a:pt x="661" y="1666"/>
                </a:lnTo>
                <a:lnTo>
                  <a:pt x="665" y="1642"/>
                </a:lnTo>
                <a:lnTo>
                  <a:pt x="695" y="1633"/>
                </a:lnTo>
                <a:lnTo>
                  <a:pt x="679" y="1584"/>
                </a:lnTo>
                <a:lnTo>
                  <a:pt x="643" y="1572"/>
                </a:lnTo>
                <a:lnTo>
                  <a:pt x="626" y="1564"/>
                </a:lnTo>
                <a:lnTo>
                  <a:pt x="602" y="1571"/>
                </a:lnTo>
                <a:lnTo>
                  <a:pt x="551" y="1558"/>
                </a:lnTo>
                <a:lnTo>
                  <a:pt x="509" y="1511"/>
                </a:lnTo>
                <a:lnTo>
                  <a:pt x="476" y="1496"/>
                </a:lnTo>
                <a:lnTo>
                  <a:pt x="461" y="1452"/>
                </a:lnTo>
                <a:lnTo>
                  <a:pt x="431" y="1448"/>
                </a:lnTo>
                <a:lnTo>
                  <a:pt x="404" y="1462"/>
                </a:lnTo>
                <a:lnTo>
                  <a:pt x="385" y="1471"/>
                </a:lnTo>
                <a:lnTo>
                  <a:pt x="377" y="1451"/>
                </a:lnTo>
                <a:lnTo>
                  <a:pt x="362" y="1430"/>
                </a:lnTo>
                <a:lnTo>
                  <a:pt x="403" y="1428"/>
                </a:lnTo>
                <a:lnTo>
                  <a:pt x="399" y="1414"/>
                </a:lnTo>
                <a:lnTo>
                  <a:pt x="389" y="1405"/>
                </a:lnTo>
                <a:lnTo>
                  <a:pt x="377" y="1395"/>
                </a:lnTo>
                <a:lnTo>
                  <a:pt x="355" y="1345"/>
                </a:lnTo>
                <a:lnTo>
                  <a:pt x="325" y="1318"/>
                </a:lnTo>
                <a:lnTo>
                  <a:pt x="294" y="1317"/>
                </a:lnTo>
                <a:lnTo>
                  <a:pt x="263" y="1317"/>
                </a:lnTo>
                <a:lnTo>
                  <a:pt x="241" y="1301"/>
                </a:lnTo>
                <a:lnTo>
                  <a:pt x="220" y="1297"/>
                </a:lnTo>
                <a:lnTo>
                  <a:pt x="202" y="1297"/>
                </a:lnTo>
                <a:lnTo>
                  <a:pt x="191" y="1311"/>
                </a:lnTo>
                <a:lnTo>
                  <a:pt x="169" y="1333"/>
                </a:lnTo>
                <a:lnTo>
                  <a:pt x="166" y="1353"/>
                </a:lnTo>
                <a:lnTo>
                  <a:pt x="157" y="1359"/>
                </a:lnTo>
                <a:lnTo>
                  <a:pt x="144" y="1394"/>
                </a:lnTo>
                <a:lnTo>
                  <a:pt x="136" y="1384"/>
                </a:lnTo>
                <a:lnTo>
                  <a:pt x="132" y="1370"/>
                </a:lnTo>
                <a:lnTo>
                  <a:pt x="0" y="1351"/>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3" name="Freeform 5"/>
          <p:cNvSpPr>
            <a:spLocks noChangeAspect="1"/>
          </p:cNvSpPr>
          <p:nvPr/>
        </p:nvSpPr>
        <p:spPr bwMode="gray">
          <a:xfrm>
            <a:off x="8041330" y="2433792"/>
            <a:ext cx="109870" cy="36621"/>
          </a:xfrm>
          <a:custGeom>
            <a:avLst/>
            <a:gdLst>
              <a:gd name="T0" fmla="*/ 0 w 107"/>
              <a:gd name="T1" fmla="*/ 2147483647 h 33"/>
              <a:gd name="T2" fmla="*/ 2147483647 w 107"/>
              <a:gd name="T3" fmla="*/ 0 h 33"/>
              <a:gd name="T4" fmla="*/ 2147483647 w 107"/>
              <a:gd name="T5" fmla="*/ 2147483647 h 33"/>
              <a:gd name="T6" fmla="*/ 2147483647 w 107"/>
              <a:gd name="T7" fmla="*/ 2147483647 h 33"/>
              <a:gd name="T8" fmla="*/ 0 w 107"/>
              <a:gd name="T9" fmla="*/ 2147483647 h 33"/>
              <a:gd name="T10" fmla="*/ 0 60000 65536"/>
              <a:gd name="T11" fmla="*/ 0 60000 65536"/>
              <a:gd name="T12" fmla="*/ 0 60000 65536"/>
              <a:gd name="T13" fmla="*/ 0 60000 65536"/>
              <a:gd name="T14" fmla="*/ 0 60000 65536"/>
              <a:gd name="T15" fmla="*/ 0 w 107"/>
              <a:gd name="T16" fmla="*/ 0 h 33"/>
              <a:gd name="T17" fmla="*/ 107 w 107"/>
              <a:gd name="T18" fmla="*/ 33 h 33"/>
            </a:gdLst>
            <a:ahLst/>
            <a:cxnLst>
              <a:cxn ang="T10">
                <a:pos x="T0" y="T1"/>
              </a:cxn>
              <a:cxn ang="T11">
                <a:pos x="T2" y="T3"/>
              </a:cxn>
              <a:cxn ang="T12">
                <a:pos x="T4" y="T5"/>
              </a:cxn>
              <a:cxn ang="T13">
                <a:pos x="T6" y="T7"/>
              </a:cxn>
              <a:cxn ang="T14">
                <a:pos x="T8" y="T9"/>
              </a:cxn>
            </a:cxnLst>
            <a:rect l="T15" t="T16" r="T17" b="T18"/>
            <a:pathLst>
              <a:path w="107" h="33">
                <a:moveTo>
                  <a:pt x="0" y="10"/>
                </a:moveTo>
                <a:lnTo>
                  <a:pt x="65" y="0"/>
                </a:lnTo>
                <a:lnTo>
                  <a:pt x="107" y="16"/>
                </a:lnTo>
                <a:lnTo>
                  <a:pt x="85" y="33"/>
                </a:lnTo>
                <a:lnTo>
                  <a:pt x="0" y="10"/>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4" name="Freeform 8"/>
          <p:cNvSpPr>
            <a:spLocks noChangeAspect="1"/>
          </p:cNvSpPr>
          <p:nvPr/>
        </p:nvSpPr>
        <p:spPr bwMode="gray">
          <a:xfrm>
            <a:off x="3650745" y="3818521"/>
            <a:ext cx="485965" cy="421141"/>
          </a:xfrm>
          <a:custGeom>
            <a:avLst/>
            <a:gdLst>
              <a:gd name="T0" fmla="*/ 0 w 490"/>
              <a:gd name="T1" fmla="*/ 2147483647 h 351"/>
              <a:gd name="T2" fmla="*/ 2147483647 w 490"/>
              <a:gd name="T3" fmla="*/ 2147483647 h 351"/>
              <a:gd name="T4" fmla="*/ 2147483647 w 490"/>
              <a:gd name="T5" fmla="*/ 2147483647 h 351"/>
              <a:gd name="T6" fmla="*/ 2147483647 w 490"/>
              <a:gd name="T7" fmla="*/ 2147483647 h 351"/>
              <a:gd name="T8" fmla="*/ 2147483647 w 490"/>
              <a:gd name="T9" fmla="*/ 2147483647 h 351"/>
              <a:gd name="T10" fmla="*/ 2147483647 w 490"/>
              <a:gd name="T11" fmla="*/ 2147483647 h 351"/>
              <a:gd name="T12" fmla="*/ 2147483647 w 490"/>
              <a:gd name="T13" fmla="*/ 2147483647 h 351"/>
              <a:gd name="T14" fmla="*/ 2147483647 w 490"/>
              <a:gd name="T15" fmla="*/ 2147483647 h 351"/>
              <a:gd name="T16" fmla="*/ 2147483647 w 490"/>
              <a:gd name="T17" fmla="*/ 2147483647 h 351"/>
              <a:gd name="T18" fmla="*/ 2147483647 w 490"/>
              <a:gd name="T19" fmla="*/ 2147483647 h 351"/>
              <a:gd name="T20" fmla="*/ 2147483647 w 490"/>
              <a:gd name="T21" fmla="*/ 2147483647 h 351"/>
              <a:gd name="T22" fmla="*/ 2147483647 w 490"/>
              <a:gd name="T23" fmla="*/ 2147483647 h 351"/>
              <a:gd name="T24" fmla="*/ 2147483647 w 490"/>
              <a:gd name="T25" fmla="*/ 2147483647 h 351"/>
              <a:gd name="T26" fmla="*/ 2147483647 w 490"/>
              <a:gd name="T27" fmla="*/ 2147483647 h 351"/>
              <a:gd name="T28" fmla="*/ 2147483647 w 490"/>
              <a:gd name="T29" fmla="*/ 2147483647 h 351"/>
              <a:gd name="T30" fmla="*/ 2147483647 w 490"/>
              <a:gd name="T31" fmla="*/ 2147483647 h 351"/>
              <a:gd name="T32" fmla="*/ 2147483647 w 490"/>
              <a:gd name="T33" fmla="*/ 2147483647 h 351"/>
              <a:gd name="T34" fmla="*/ 2147483647 w 490"/>
              <a:gd name="T35" fmla="*/ 2147483647 h 351"/>
              <a:gd name="T36" fmla="*/ 2147483647 w 490"/>
              <a:gd name="T37" fmla="*/ 0 h 351"/>
              <a:gd name="T38" fmla="*/ 2147483647 w 490"/>
              <a:gd name="T39" fmla="*/ 2147483647 h 351"/>
              <a:gd name="T40" fmla="*/ 2147483647 w 490"/>
              <a:gd name="T41" fmla="*/ 2147483647 h 351"/>
              <a:gd name="T42" fmla="*/ 2147483647 w 490"/>
              <a:gd name="T43" fmla="*/ 2147483647 h 351"/>
              <a:gd name="T44" fmla="*/ 2147483647 w 490"/>
              <a:gd name="T45" fmla="*/ 2147483647 h 351"/>
              <a:gd name="T46" fmla="*/ 0 w 490"/>
              <a:gd name="T47" fmla="*/ 2147483647 h 3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90"/>
              <a:gd name="T73" fmla="*/ 0 h 351"/>
              <a:gd name="T74" fmla="*/ 490 w 490"/>
              <a:gd name="T75" fmla="*/ 351 h 3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90" h="351">
                <a:moveTo>
                  <a:pt x="0" y="168"/>
                </a:moveTo>
                <a:lnTo>
                  <a:pt x="3" y="259"/>
                </a:lnTo>
                <a:lnTo>
                  <a:pt x="40" y="287"/>
                </a:lnTo>
                <a:lnTo>
                  <a:pt x="11" y="333"/>
                </a:lnTo>
                <a:lnTo>
                  <a:pt x="66" y="351"/>
                </a:lnTo>
                <a:lnTo>
                  <a:pt x="193" y="333"/>
                </a:lnTo>
                <a:lnTo>
                  <a:pt x="217" y="282"/>
                </a:lnTo>
                <a:lnTo>
                  <a:pt x="303" y="254"/>
                </a:lnTo>
                <a:lnTo>
                  <a:pt x="311" y="211"/>
                </a:lnTo>
                <a:lnTo>
                  <a:pt x="340" y="199"/>
                </a:lnTo>
                <a:lnTo>
                  <a:pt x="327" y="177"/>
                </a:lnTo>
                <a:lnTo>
                  <a:pt x="358" y="174"/>
                </a:lnTo>
                <a:lnTo>
                  <a:pt x="381" y="130"/>
                </a:lnTo>
                <a:lnTo>
                  <a:pt x="371" y="88"/>
                </a:lnTo>
                <a:lnTo>
                  <a:pt x="486" y="56"/>
                </a:lnTo>
                <a:lnTo>
                  <a:pt x="490" y="47"/>
                </a:lnTo>
                <a:lnTo>
                  <a:pt x="447" y="39"/>
                </a:lnTo>
                <a:lnTo>
                  <a:pt x="385" y="69"/>
                </a:lnTo>
                <a:lnTo>
                  <a:pt x="357" y="0"/>
                </a:lnTo>
                <a:lnTo>
                  <a:pt x="304" y="52"/>
                </a:lnTo>
                <a:lnTo>
                  <a:pt x="152" y="47"/>
                </a:lnTo>
                <a:lnTo>
                  <a:pt x="75" y="128"/>
                </a:lnTo>
                <a:lnTo>
                  <a:pt x="24" y="102"/>
                </a:lnTo>
                <a:lnTo>
                  <a:pt x="0" y="168"/>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5" name="Freeform 9"/>
          <p:cNvSpPr>
            <a:spLocks noChangeAspect="1"/>
          </p:cNvSpPr>
          <p:nvPr/>
        </p:nvSpPr>
        <p:spPr bwMode="gray">
          <a:xfrm>
            <a:off x="2224545" y="3619394"/>
            <a:ext cx="59161" cy="141906"/>
          </a:xfrm>
          <a:custGeom>
            <a:avLst/>
            <a:gdLst>
              <a:gd name="T0" fmla="*/ 0 w 62"/>
              <a:gd name="T1" fmla="*/ 2147483647 h 119"/>
              <a:gd name="T2" fmla="*/ 2147483647 w 62"/>
              <a:gd name="T3" fmla="*/ 2147483647 h 119"/>
              <a:gd name="T4" fmla="*/ 2147483647 w 62"/>
              <a:gd name="T5" fmla="*/ 0 h 119"/>
              <a:gd name="T6" fmla="*/ 2147483647 w 62"/>
              <a:gd name="T7" fmla="*/ 2147483647 h 119"/>
              <a:gd name="T8" fmla="*/ 2147483647 w 62"/>
              <a:gd name="T9" fmla="*/ 2147483647 h 119"/>
              <a:gd name="T10" fmla="*/ 0 w 62"/>
              <a:gd name="T11" fmla="*/ 2147483647 h 119"/>
              <a:gd name="T12" fmla="*/ 0 60000 65536"/>
              <a:gd name="T13" fmla="*/ 0 60000 65536"/>
              <a:gd name="T14" fmla="*/ 0 60000 65536"/>
              <a:gd name="T15" fmla="*/ 0 60000 65536"/>
              <a:gd name="T16" fmla="*/ 0 60000 65536"/>
              <a:gd name="T17" fmla="*/ 0 60000 65536"/>
              <a:gd name="T18" fmla="*/ 0 w 62"/>
              <a:gd name="T19" fmla="*/ 0 h 119"/>
              <a:gd name="T20" fmla="*/ 62 w 62"/>
              <a:gd name="T21" fmla="*/ 119 h 119"/>
            </a:gdLst>
            <a:ahLst/>
            <a:cxnLst>
              <a:cxn ang="T12">
                <a:pos x="T0" y="T1"/>
              </a:cxn>
              <a:cxn ang="T13">
                <a:pos x="T2" y="T3"/>
              </a:cxn>
              <a:cxn ang="T14">
                <a:pos x="T4" y="T5"/>
              </a:cxn>
              <a:cxn ang="T15">
                <a:pos x="T6" y="T7"/>
              </a:cxn>
              <a:cxn ang="T16">
                <a:pos x="T8" y="T9"/>
              </a:cxn>
              <a:cxn ang="T17">
                <a:pos x="T10" y="T11"/>
              </a:cxn>
            </a:cxnLst>
            <a:rect l="T18" t="T19" r="T20" b="T21"/>
            <a:pathLst>
              <a:path w="62" h="119">
                <a:moveTo>
                  <a:pt x="0" y="90"/>
                </a:moveTo>
                <a:lnTo>
                  <a:pt x="2" y="28"/>
                </a:lnTo>
                <a:lnTo>
                  <a:pt x="30" y="0"/>
                </a:lnTo>
                <a:lnTo>
                  <a:pt x="62" y="70"/>
                </a:lnTo>
                <a:lnTo>
                  <a:pt x="33" y="119"/>
                </a:lnTo>
                <a:lnTo>
                  <a:pt x="0" y="90"/>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6" name="Freeform 10"/>
          <p:cNvSpPr>
            <a:spLocks noChangeAspect="1"/>
          </p:cNvSpPr>
          <p:nvPr/>
        </p:nvSpPr>
        <p:spPr bwMode="gray">
          <a:xfrm>
            <a:off x="1261068" y="3891763"/>
            <a:ext cx="697254" cy="801083"/>
          </a:xfrm>
          <a:custGeom>
            <a:avLst/>
            <a:gdLst>
              <a:gd name="T0" fmla="*/ 0 w 705"/>
              <a:gd name="T1" fmla="*/ 2147483647 h 672"/>
              <a:gd name="T2" fmla="*/ 2147483647 w 705"/>
              <a:gd name="T3" fmla="*/ 2147483647 h 672"/>
              <a:gd name="T4" fmla="*/ 2147483647 w 705"/>
              <a:gd name="T5" fmla="*/ 2147483647 h 672"/>
              <a:gd name="T6" fmla="*/ 2147483647 w 705"/>
              <a:gd name="T7" fmla="*/ 2147483647 h 672"/>
              <a:gd name="T8" fmla="*/ 2147483647 w 705"/>
              <a:gd name="T9" fmla="*/ 2147483647 h 672"/>
              <a:gd name="T10" fmla="*/ 2147483647 w 705"/>
              <a:gd name="T11" fmla="*/ 2147483647 h 672"/>
              <a:gd name="T12" fmla="*/ 2147483647 w 705"/>
              <a:gd name="T13" fmla="*/ 2147483647 h 672"/>
              <a:gd name="T14" fmla="*/ 2147483647 w 705"/>
              <a:gd name="T15" fmla="*/ 2147483647 h 672"/>
              <a:gd name="T16" fmla="*/ 2147483647 w 705"/>
              <a:gd name="T17" fmla="*/ 2147483647 h 672"/>
              <a:gd name="T18" fmla="*/ 2147483647 w 705"/>
              <a:gd name="T19" fmla="*/ 2147483647 h 672"/>
              <a:gd name="T20" fmla="*/ 2147483647 w 705"/>
              <a:gd name="T21" fmla="*/ 2147483647 h 672"/>
              <a:gd name="T22" fmla="*/ 2147483647 w 705"/>
              <a:gd name="T23" fmla="*/ 2147483647 h 672"/>
              <a:gd name="T24" fmla="*/ 2147483647 w 705"/>
              <a:gd name="T25" fmla="*/ 2147483647 h 672"/>
              <a:gd name="T26" fmla="*/ 2147483647 w 705"/>
              <a:gd name="T27" fmla="*/ 0 h 672"/>
              <a:gd name="T28" fmla="*/ 2147483647 w 705"/>
              <a:gd name="T29" fmla="*/ 2147483647 h 672"/>
              <a:gd name="T30" fmla="*/ 2147483647 w 705"/>
              <a:gd name="T31" fmla="*/ 2147483647 h 672"/>
              <a:gd name="T32" fmla="*/ 2147483647 w 705"/>
              <a:gd name="T33" fmla="*/ 2147483647 h 672"/>
              <a:gd name="T34" fmla="*/ 2147483647 w 705"/>
              <a:gd name="T35" fmla="*/ 2147483647 h 672"/>
              <a:gd name="T36" fmla="*/ 2147483647 w 705"/>
              <a:gd name="T37" fmla="*/ 2147483647 h 672"/>
              <a:gd name="T38" fmla="*/ 2147483647 w 705"/>
              <a:gd name="T39" fmla="*/ 2147483647 h 672"/>
              <a:gd name="T40" fmla="*/ 2147483647 w 705"/>
              <a:gd name="T41" fmla="*/ 2147483647 h 672"/>
              <a:gd name="T42" fmla="*/ 0 w 705"/>
              <a:gd name="T43" fmla="*/ 2147483647 h 6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05"/>
              <a:gd name="T67" fmla="*/ 0 h 672"/>
              <a:gd name="T68" fmla="*/ 705 w 705"/>
              <a:gd name="T69" fmla="*/ 672 h 6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05" h="672">
                <a:moveTo>
                  <a:pt x="0" y="359"/>
                </a:moveTo>
                <a:lnTo>
                  <a:pt x="3" y="372"/>
                </a:lnTo>
                <a:lnTo>
                  <a:pt x="131" y="455"/>
                </a:lnTo>
                <a:lnTo>
                  <a:pt x="410" y="640"/>
                </a:lnTo>
                <a:lnTo>
                  <a:pt x="413" y="672"/>
                </a:lnTo>
                <a:lnTo>
                  <a:pt x="441" y="667"/>
                </a:lnTo>
                <a:lnTo>
                  <a:pt x="495" y="654"/>
                </a:lnTo>
                <a:lnTo>
                  <a:pt x="705" y="509"/>
                </a:lnTo>
                <a:lnTo>
                  <a:pt x="623" y="413"/>
                </a:lnTo>
                <a:lnTo>
                  <a:pt x="624" y="258"/>
                </a:lnTo>
                <a:lnTo>
                  <a:pt x="614" y="189"/>
                </a:lnTo>
                <a:lnTo>
                  <a:pt x="556" y="119"/>
                </a:lnTo>
                <a:lnTo>
                  <a:pt x="586" y="95"/>
                </a:lnTo>
                <a:lnTo>
                  <a:pt x="601" y="0"/>
                </a:lnTo>
                <a:lnTo>
                  <a:pt x="351" y="16"/>
                </a:lnTo>
                <a:lnTo>
                  <a:pt x="223" y="71"/>
                </a:lnTo>
                <a:lnTo>
                  <a:pt x="256" y="186"/>
                </a:lnTo>
                <a:lnTo>
                  <a:pt x="200" y="189"/>
                </a:lnTo>
                <a:lnTo>
                  <a:pt x="170" y="201"/>
                </a:lnTo>
                <a:lnTo>
                  <a:pt x="175" y="232"/>
                </a:lnTo>
                <a:lnTo>
                  <a:pt x="19" y="300"/>
                </a:lnTo>
                <a:lnTo>
                  <a:pt x="0" y="359"/>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7" name="Freeform 15"/>
          <p:cNvSpPr>
            <a:spLocks noChangeAspect="1"/>
          </p:cNvSpPr>
          <p:nvPr/>
        </p:nvSpPr>
        <p:spPr bwMode="gray">
          <a:xfrm>
            <a:off x="1882257" y="3298961"/>
            <a:ext cx="266224" cy="121308"/>
          </a:xfrm>
          <a:custGeom>
            <a:avLst/>
            <a:gdLst>
              <a:gd name="T0" fmla="*/ 0 w 265"/>
              <a:gd name="T1" fmla="*/ 2147483647 h 102"/>
              <a:gd name="T2" fmla="*/ 2147483647 w 265"/>
              <a:gd name="T3" fmla="*/ 2147483647 h 102"/>
              <a:gd name="T4" fmla="*/ 2147483647 w 265"/>
              <a:gd name="T5" fmla="*/ 2147483647 h 102"/>
              <a:gd name="T6" fmla="*/ 2147483647 w 265"/>
              <a:gd name="T7" fmla="*/ 2147483647 h 102"/>
              <a:gd name="T8" fmla="*/ 2147483647 w 265"/>
              <a:gd name="T9" fmla="*/ 2147483647 h 102"/>
              <a:gd name="T10" fmla="*/ 2147483647 w 265"/>
              <a:gd name="T11" fmla="*/ 2147483647 h 102"/>
              <a:gd name="T12" fmla="*/ 2147483647 w 265"/>
              <a:gd name="T13" fmla="*/ 2147483647 h 102"/>
              <a:gd name="T14" fmla="*/ 2147483647 w 265"/>
              <a:gd name="T15" fmla="*/ 2147483647 h 102"/>
              <a:gd name="T16" fmla="*/ 2147483647 w 265"/>
              <a:gd name="T17" fmla="*/ 0 h 102"/>
              <a:gd name="T18" fmla="*/ 2147483647 w 265"/>
              <a:gd name="T19" fmla="*/ 2147483647 h 102"/>
              <a:gd name="T20" fmla="*/ 2147483647 w 265"/>
              <a:gd name="T21" fmla="*/ 2147483647 h 102"/>
              <a:gd name="T22" fmla="*/ 0 w 265"/>
              <a:gd name="T23" fmla="*/ 2147483647 h 1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5"/>
              <a:gd name="T37" fmla="*/ 0 h 102"/>
              <a:gd name="T38" fmla="*/ 265 w 265"/>
              <a:gd name="T39" fmla="*/ 102 h 10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5" h="102">
                <a:moveTo>
                  <a:pt x="0" y="58"/>
                </a:moveTo>
                <a:lnTo>
                  <a:pt x="3" y="63"/>
                </a:lnTo>
                <a:lnTo>
                  <a:pt x="5" y="81"/>
                </a:lnTo>
                <a:lnTo>
                  <a:pt x="34" y="85"/>
                </a:lnTo>
                <a:lnTo>
                  <a:pt x="88" y="75"/>
                </a:lnTo>
                <a:lnTo>
                  <a:pt x="146" y="102"/>
                </a:lnTo>
                <a:lnTo>
                  <a:pt x="230" y="83"/>
                </a:lnTo>
                <a:lnTo>
                  <a:pt x="265" y="32"/>
                </a:lnTo>
                <a:lnTo>
                  <a:pt x="250" y="0"/>
                </a:lnTo>
                <a:lnTo>
                  <a:pt x="148" y="3"/>
                </a:lnTo>
                <a:lnTo>
                  <a:pt x="116" y="56"/>
                </a:lnTo>
                <a:lnTo>
                  <a:pt x="0" y="58"/>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8" name="Freeform 16"/>
          <p:cNvSpPr>
            <a:spLocks noChangeAspect="1"/>
          </p:cNvSpPr>
          <p:nvPr/>
        </p:nvSpPr>
        <p:spPr bwMode="gray">
          <a:xfrm>
            <a:off x="4588868" y="4365546"/>
            <a:ext cx="164805" cy="244903"/>
          </a:xfrm>
          <a:custGeom>
            <a:avLst/>
            <a:gdLst>
              <a:gd name="T0" fmla="*/ 0 w 166"/>
              <a:gd name="T1" fmla="*/ 2147483647 h 206"/>
              <a:gd name="T2" fmla="*/ 2147483647 w 166"/>
              <a:gd name="T3" fmla="*/ 2147483647 h 206"/>
              <a:gd name="T4" fmla="*/ 2147483647 w 166"/>
              <a:gd name="T5" fmla="*/ 2147483647 h 206"/>
              <a:gd name="T6" fmla="*/ 2147483647 w 166"/>
              <a:gd name="T7" fmla="*/ 2147483647 h 206"/>
              <a:gd name="T8" fmla="*/ 2147483647 w 166"/>
              <a:gd name="T9" fmla="*/ 2147483647 h 206"/>
              <a:gd name="T10" fmla="*/ 2147483647 w 166"/>
              <a:gd name="T11" fmla="*/ 2147483647 h 206"/>
              <a:gd name="T12" fmla="*/ 2147483647 w 166"/>
              <a:gd name="T13" fmla="*/ 2147483647 h 206"/>
              <a:gd name="T14" fmla="*/ 2147483647 w 166"/>
              <a:gd name="T15" fmla="*/ 2147483647 h 206"/>
              <a:gd name="T16" fmla="*/ 2147483647 w 166"/>
              <a:gd name="T17" fmla="*/ 2147483647 h 206"/>
              <a:gd name="T18" fmla="*/ 2147483647 w 166"/>
              <a:gd name="T19" fmla="*/ 2147483647 h 206"/>
              <a:gd name="T20" fmla="*/ 2147483647 w 166"/>
              <a:gd name="T21" fmla="*/ 2147483647 h 206"/>
              <a:gd name="T22" fmla="*/ 2147483647 w 166"/>
              <a:gd name="T23" fmla="*/ 2147483647 h 206"/>
              <a:gd name="T24" fmla="*/ 2147483647 w 166"/>
              <a:gd name="T25" fmla="*/ 2147483647 h 206"/>
              <a:gd name="T26" fmla="*/ 2147483647 w 166"/>
              <a:gd name="T27" fmla="*/ 0 h 206"/>
              <a:gd name="T28" fmla="*/ 2147483647 w 166"/>
              <a:gd name="T29" fmla="*/ 2147483647 h 206"/>
              <a:gd name="T30" fmla="*/ 2147483647 w 166"/>
              <a:gd name="T31" fmla="*/ 2147483647 h 206"/>
              <a:gd name="T32" fmla="*/ 0 w 166"/>
              <a:gd name="T33" fmla="*/ 2147483647 h 20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6"/>
              <a:gd name="T52" fmla="*/ 0 h 206"/>
              <a:gd name="T53" fmla="*/ 166 w 166"/>
              <a:gd name="T54" fmla="*/ 206 h 20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6" h="206">
                <a:moveTo>
                  <a:pt x="0" y="61"/>
                </a:moveTo>
                <a:lnTo>
                  <a:pt x="23" y="83"/>
                </a:lnTo>
                <a:lnTo>
                  <a:pt x="37" y="179"/>
                </a:lnTo>
                <a:lnTo>
                  <a:pt x="78" y="173"/>
                </a:lnTo>
                <a:lnTo>
                  <a:pt x="102" y="131"/>
                </a:lnTo>
                <a:lnTo>
                  <a:pt x="132" y="140"/>
                </a:lnTo>
                <a:lnTo>
                  <a:pt x="152" y="206"/>
                </a:lnTo>
                <a:lnTo>
                  <a:pt x="166" y="169"/>
                </a:lnTo>
                <a:lnTo>
                  <a:pt x="148" y="102"/>
                </a:lnTo>
                <a:lnTo>
                  <a:pt x="132" y="127"/>
                </a:lnTo>
                <a:lnTo>
                  <a:pt x="110" y="94"/>
                </a:lnTo>
                <a:lnTo>
                  <a:pt x="150" y="53"/>
                </a:lnTo>
                <a:lnTo>
                  <a:pt x="72" y="47"/>
                </a:lnTo>
                <a:lnTo>
                  <a:pt x="22" y="0"/>
                </a:lnTo>
                <a:lnTo>
                  <a:pt x="6" y="26"/>
                </a:lnTo>
                <a:lnTo>
                  <a:pt x="24" y="47"/>
                </a:lnTo>
                <a:lnTo>
                  <a:pt x="0" y="61"/>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9" name="Freeform 17"/>
          <p:cNvSpPr>
            <a:spLocks noChangeAspect="1"/>
          </p:cNvSpPr>
          <p:nvPr/>
        </p:nvSpPr>
        <p:spPr bwMode="gray">
          <a:xfrm>
            <a:off x="1660403" y="3157055"/>
            <a:ext cx="109870" cy="96130"/>
          </a:xfrm>
          <a:custGeom>
            <a:avLst/>
            <a:gdLst>
              <a:gd name="T0" fmla="*/ 0 w 112"/>
              <a:gd name="T1" fmla="*/ 2147483647 h 81"/>
              <a:gd name="T2" fmla="*/ 2147483647 w 112"/>
              <a:gd name="T3" fmla="*/ 2147483647 h 81"/>
              <a:gd name="T4" fmla="*/ 2147483647 w 112"/>
              <a:gd name="T5" fmla="*/ 0 h 81"/>
              <a:gd name="T6" fmla="*/ 2147483647 w 112"/>
              <a:gd name="T7" fmla="*/ 2147483647 h 81"/>
              <a:gd name="T8" fmla="*/ 2147483647 w 112"/>
              <a:gd name="T9" fmla="*/ 2147483647 h 81"/>
              <a:gd name="T10" fmla="*/ 2147483647 w 112"/>
              <a:gd name="T11" fmla="*/ 2147483647 h 81"/>
              <a:gd name="T12" fmla="*/ 0 w 112"/>
              <a:gd name="T13" fmla="*/ 2147483647 h 81"/>
              <a:gd name="T14" fmla="*/ 0 60000 65536"/>
              <a:gd name="T15" fmla="*/ 0 60000 65536"/>
              <a:gd name="T16" fmla="*/ 0 60000 65536"/>
              <a:gd name="T17" fmla="*/ 0 60000 65536"/>
              <a:gd name="T18" fmla="*/ 0 60000 65536"/>
              <a:gd name="T19" fmla="*/ 0 60000 65536"/>
              <a:gd name="T20" fmla="*/ 0 60000 65536"/>
              <a:gd name="T21" fmla="*/ 0 w 112"/>
              <a:gd name="T22" fmla="*/ 0 h 81"/>
              <a:gd name="T23" fmla="*/ 112 w 112"/>
              <a:gd name="T24" fmla="*/ 81 h 8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81">
                <a:moveTo>
                  <a:pt x="0" y="15"/>
                </a:moveTo>
                <a:lnTo>
                  <a:pt x="26" y="4"/>
                </a:lnTo>
                <a:lnTo>
                  <a:pt x="76" y="0"/>
                </a:lnTo>
                <a:lnTo>
                  <a:pt x="110" y="33"/>
                </a:lnTo>
                <a:lnTo>
                  <a:pt x="112" y="58"/>
                </a:lnTo>
                <a:lnTo>
                  <a:pt x="99" y="81"/>
                </a:lnTo>
                <a:lnTo>
                  <a:pt x="0" y="15"/>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20" name="Freeform 18"/>
          <p:cNvSpPr>
            <a:spLocks noChangeAspect="1"/>
          </p:cNvSpPr>
          <p:nvPr/>
        </p:nvSpPr>
        <p:spPr bwMode="gray">
          <a:xfrm>
            <a:off x="4624788" y="4287726"/>
            <a:ext cx="103531" cy="70954"/>
          </a:xfrm>
          <a:custGeom>
            <a:avLst/>
            <a:gdLst>
              <a:gd name="T0" fmla="*/ 0 w 105"/>
              <a:gd name="T1" fmla="*/ 2147483647 h 59"/>
              <a:gd name="T2" fmla="*/ 2147483647 w 105"/>
              <a:gd name="T3" fmla="*/ 2147483647 h 59"/>
              <a:gd name="T4" fmla="*/ 2147483647 w 105"/>
              <a:gd name="T5" fmla="*/ 2147483647 h 59"/>
              <a:gd name="T6" fmla="*/ 2147483647 w 105"/>
              <a:gd name="T7" fmla="*/ 2147483647 h 59"/>
              <a:gd name="T8" fmla="*/ 2147483647 w 105"/>
              <a:gd name="T9" fmla="*/ 0 h 59"/>
              <a:gd name="T10" fmla="*/ 0 w 105"/>
              <a:gd name="T11" fmla="*/ 2147483647 h 59"/>
              <a:gd name="T12" fmla="*/ 0 60000 65536"/>
              <a:gd name="T13" fmla="*/ 0 60000 65536"/>
              <a:gd name="T14" fmla="*/ 0 60000 65536"/>
              <a:gd name="T15" fmla="*/ 0 60000 65536"/>
              <a:gd name="T16" fmla="*/ 0 60000 65536"/>
              <a:gd name="T17" fmla="*/ 0 60000 65536"/>
              <a:gd name="T18" fmla="*/ 0 w 105"/>
              <a:gd name="T19" fmla="*/ 0 h 59"/>
              <a:gd name="T20" fmla="*/ 105 w 105"/>
              <a:gd name="T21" fmla="*/ 59 h 59"/>
            </a:gdLst>
            <a:ahLst/>
            <a:cxnLst>
              <a:cxn ang="T12">
                <a:pos x="T0" y="T1"/>
              </a:cxn>
              <a:cxn ang="T13">
                <a:pos x="T2" y="T3"/>
              </a:cxn>
              <a:cxn ang="T14">
                <a:pos x="T4" y="T5"/>
              </a:cxn>
              <a:cxn ang="T15">
                <a:pos x="T6" y="T7"/>
              </a:cxn>
              <a:cxn ang="T16">
                <a:pos x="T8" y="T9"/>
              </a:cxn>
              <a:cxn ang="T17">
                <a:pos x="T10" y="T11"/>
              </a:cxn>
            </a:cxnLst>
            <a:rect l="T18" t="T19" r="T20" b="T21"/>
            <a:pathLst>
              <a:path w="105" h="59">
                <a:moveTo>
                  <a:pt x="0" y="36"/>
                </a:moveTo>
                <a:lnTo>
                  <a:pt x="13" y="59"/>
                </a:lnTo>
                <a:lnTo>
                  <a:pt x="105" y="49"/>
                </a:lnTo>
                <a:lnTo>
                  <a:pt x="99" y="17"/>
                </a:lnTo>
                <a:lnTo>
                  <a:pt x="34" y="0"/>
                </a:lnTo>
                <a:lnTo>
                  <a:pt x="0" y="3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21" name="Freeform 22"/>
          <p:cNvSpPr>
            <a:spLocks noChangeAspect="1"/>
          </p:cNvSpPr>
          <p:nvPr/>
        </p:nvSpPr>
        <p:spPr bwMode="gray">
          <a:xfrm>
            <a:off x="2332302" y="3536997"/>
            <a:ext cx="215515" cy="146484"/>
          </a:xfrm>
          <a:custGeom>
            <a:avLst/>
            <a:gdLst>
              <a:gd name="T0" fmla="*/ 0 w 216"/>
              <a:gd name="T1" fmla="*/ 2147483647 h 122"/>
              <a:gd name="T2" fmla="*/ 2147483647 w 216"/>
              <a:gd name="T3" fmla="*/ 0 h 122"/>
              <a:gd name="T4" fmla="*/ 2147483647 w 216"/>
              <a:gd name="T5" fmla="*/ 2147483647 h 122"/>
              <a:gd name="T6" fmla="*/ 2147483647 w 216"/>
              <a:gd name="T7" fmla="*/ 2147483647 h 122"/>
              <a:gd name="T8" fmla="*/ 2147483647 w 216"/>
              <a:gd name="T9" fmla="*/ 2147483647 h 122"/>
              <a:gd name="T10" fmla="*/ 2147483647 w 216"/>
              <a:gd name="T11" fmla="*/ 2147483647 h 122"/>
              <a:gd name="T12" fmla="*/ 2147483647 w 216"/>
              <a:gd name="T13" fmla="*/ 2147483647 h 122"/>
              <a:gd name="T14" fmla="*/ 2147483647 w 216"/>
              <a:gd name="T15" fmla="*/ 2147483647 h 122"/>
              <a:gd name="T16" fmla="*/ 0 w 216"/>
              <a:gd name="T17" fmla="*/ 2147483647 h 1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6"/>
              <a:gd name="T28" fmla="*/ 0 h 122"/>
              <a:gd name="T29" fmla="*/ 216 w 216"/>
              <a:gd name="T30" fmla="*/ 122 h 1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6" h="122">
                <a:moveTo>
                  <a:pt x="0" y="84"/>
                </a:moveTo>
                <a:lnTo>
                  <a:pt x="12" y="0"/>
                </a:lnTo>
                <a:lnTo>
                  <a:pt x="216" y="19"/>
                </a:lnTo>
                <a:lnTo>
                  <a:pt x="178" y="70"/>
                </a:lnTo>
                <a:lnTo>
                  <a:pt x="194" y="97"/>
                </a:lnTo>
                <a:lnTo>
                  <a:pt x="139" y="101"/>
                </a:lnTo>
                <a:lnTo>
                  <a:pt x="106" y="122"/>
                </a:lnTo>
                <a:lnTo>
                  <a:pt x="21" y="120"/>
                </a:lnTo>
                <a:lnTo>
                  <a:pt x="0" y="84"/>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22" name="Freeform 23"/>
          <p:cNvSpPr>
            <a:spLocks noChangeAspect="1"/>
          </p:cNvSpPr>
          <p:nvPr/>
        </p:nvSpPr>
        <p:spPr bwMode="gray">
          <a:xfrm>
            <a:off x="4743110" y="4294593"/>
            <a:ext cx="308482" cy="771327"/>
          </a:xfrm>
          <a:custGeom>
            <a:avLst/>
            <a:gdLst>
              <a:gd name="T0" fmla="*/ 0 w 313"/>
              <a:gd name="T1" fmla="*/ 2147483647 h 644"/>
              <a:gd name="T2" fmla="*/ 2147483647 w 313"/>
              <a:gd name="T3" fmla="*/ 2147483647 h 644"/>
              <a:gd name="T4" fmla="*/ 2147483647 w 313"/>
              <a:gd name="T5" fmla="*/ 2147483647 h 644"/>
              <a:gd name="T6" fmla="*/ 2147483647 w 313"/>
              <a:gd name="T7" fmla="*/ 2147483647 h 644"/>
              <a:gd name="T8" fmla="*/ 2147483647 w 313"/>
              <a:gd name="T9" fmla="*/ 0 h 644"/>
              <a:gd name="T10" fmla="*/ 2147483647 w 313"/>
              <a:gd name="T11" fmla="*/ 2147483647 h 644"/>
              <a:gd name="T12" fmla="*/ 2147483647 w 313"/>
              <a:gd name="T13" fmla="*/ 2147483647 h 644"/>
              <a:gd name="T14" fmla="*/ 2147483647 w 313"/>
              <a:gd name="T15" fmla="*/ 2147483647 h 644"/>
              <a:gd name="T16" fmla="*/ 2147483647 w 313"/>
              <a:gd name="T17" fmla="*/ 2147483647 h 644"/>
              <a:gd name="T18" fmla="*/ 2147483647 w 313"/>
              <a:gd name="T19" fmla="*/ 2147483647 h 644"/>
              <a:gd name="T20" fmla="*/ 2147483647 w 313"/>
              <a:gd name="T21" fmla="*/ 2147483647 h 644"/>
              <a:gd name="T22" fmla="*/ 2147483647 w 313"/>
              <a:gd name="T23" fmla="*/ 2147483647 h 644"/>
              <a:gd name="T24" fmla="*/ 2147483647 w 313"/>
              <a:gd name="T25" fmla="*/ 2147483647 h 644"/>
              <a:gd name="T26" fmla="*/ 2147483647 w 313"/>
              <a:gd name="T27" fmla="*/ 2147483647 h 644"/>
              <a:gd name="T28" fmla="*/ 2147483647 w 313"/>
              <a:gd name="T29" fmla="*/ 2147483647 h 644"/>
              <a:gd name="T30" fmla="*/ 2147483647 w 313"/>
              <a:gd name="T31" fmla="*/ 2147483647 h 644"/>
              <a:gd name="T32" fmla="*/ 2147483647 w 313"/>
              <a:gd name="T33" fmla="*/ 2147483647 h 644"/>
              <a:gd name="T34" fmla="*/ 2147483647 w 313"/>
              <a:gd name="T35" fmla="*/ 2147483647 h 644"/>
              <a:gd name="T36" fmla="*/ 2147483647 w 313"/>
              <a:gd name="T37" fmla="*/ 2147483647 h 644"/>
              <a:gd name="T38" fmla="*/ 2147483647 w 313"/>
              <a:gd name="T39" fmla="*/ 2147483647 h 644"/>
              <a:gd name="T40" fmla="*/ 2147483647 w 313"/>
              <a:gd name="T41" fmla="*/ 2147483647 h 644"/>
              <a:gd name="T42" fmla="*/ 2147483647 w 313"/>
              <a:gd name="T43" fmla="*/ 2147483647 h 644"/>
              <a:gd name="T44" fmla="*/ 2147483647 w 313"/>
              <a:gd name="T45" fmla="*/ 2147483647 h 644"/>
              <a:gd name="T46" fmla="*/ 0 w 313"/>
              <a:gd name="T47" fmla="*/ 2147483647 h 6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3"/>
              <a:gd name="T73" fmla="*/ 0 h 644"/>
              <a:gd name="T74" fmla="*/ 313 w 313"/>
              <a:gd name="T75" fmla="*/ 644 h 6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3" h="644">
                <a:moveTo>
                  <a:pt x="0" y="265"/>
                </a:moveTo>
                <a:lnTo>
                  <a:pt x="14" y="228"/>
                </a:lnTo>
                <a:lnTo>
                  <a:pt x="105" y="60"/>
                </a:lnTo>
                <a:lnTo>
                  <a:pt x="166" y="37"/>
                </a:lnTo>
                <a:lnTo>
                  <a:pt x="181" y="0"/>
                </a:lnTo>
                <a:lnTo>
                  <a:pt x="224" y="21"/>
                </a:lnTo>
                <a:lnTo>
                  <a:pt x="225" y="54"/>
                </a:lnTo>
                <a:lnTo>
                  <a:pt x="187" y="157"/>
                </a:lnTo>
                <a:lnTo>
                  <a:pt x="227" y="148"/>
                </a:lnTo>
                <a:lnTo>
                  <a:pt x="247" y="219"/>
                </a:lnTo>
                <a:lnTo>
                  <a:pt x="313" y="238"/>
                </a:lnTo>
                <a:lnTo>
                  <a:pt x="280" y="271"/>
                </a:lnTo>
                <a:lnTo>
                  <a:pt x="206" y="314"/>
                </a:lnTo>
                <a:lnTo>
                  <a:pt x="187" y="355"/>
                </a:lnTo>
                <a:lnTo>
                  <a:pt x="227" y="433"/>
                </a:lnTo>
                <a:lnTo>
                  <a:pt x="211" y="479"/>
                </a:lnTo>
                <a:lnTo>
                  <a:pt x="260" y="581"/>
                </a:lnTo>
                <a:lnTo>
                  <a:pt x="225" y="644"/>
                </a:lnTo>
                <a:lnTo>
                  <a:pt x="189" y="424"/>
                </a:lnTo>
                <a:lnTo>
                  <a:pt x="159" y="389"/>
                </a:lnTo>
                <a:lnTo>
                  <a:pt x="109" y="448"/>
                </a:lnTo>
                <a:lnTo>
                  <a:pt x="71" y="436"/>
                </a:lnTo>
                <a:lnTo>
                  <a:pt x="77" y="356"/>
                </a:lnTo>
                <a:lnTo>
                  <a:pt x="0" y="265"/>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23" name="Freeform 24"/>
          <p:cNvSpPr>
            <a:spLocks noChangeAspect="1"/>
          </p:cNvSpPr>
          <p:nvPr/>
        </p:nvSpPr>
        <p:spPr bwMode="gray">
          <a:xfrm>
            <a:off x="5095962" y="4875950"/>
            <a:ext cx="173257" cy="176237"/>
          </a:xfrm>
          <a:custGeom>
            <a:avLst/>
            <a:gdLst>
              <a:gd name="T0" fmla="*/ 0 w 174"/>
              <a:gd name="T1" fmla="*/ 2147483647 h 149"/>
              <a:gd name="T2" fmla="*/ 2147483647 w 174"/>
              <a:gd name="T3" fmla="*/ 2147483647 h 149"/>
              <a:gd name="T4" fmla="*/ 2147483647 w 174"/>
              <a:gd name="T5" fmla="*/ 2147483647 h 149"/>
              <a:gd name="T6" fmla="*/ 2147483647 w 174"/>
              <a:gd name="T7" fmla="*/ 2147483647 h 149"/>
              <a:gd name="T8" fmla="*/ 2147483647 w 174"/>
              <a:gd name="T9" fmla="*/ 2147483647 h 149"/>
              <a:gd name="T10" fmla="*/ 2147483647 w 174"/>
              <a:gd name="T11" fmla="*/ 0 h 149"/>
              <a:gd name="T12" fmla="*/ 2147483647 w 174"/>
              <a:gd name="T13" fmla="*/ 2147483647 h 149"/>
              <a:gd name="T14" fmla="*/ 2147483647 w 174"/>
              <a:gd name="T15" fmla="*/ 2147483647 h 149"/>
              <a:gd name="T16" fmla="*/ 0 w 174"/>
              <a:gd name="T17" fmla="*/ 2147483647 h 1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4"/>
              <a:gd name="T28" fmla="*/ 0 h 149"/>
              <a:gd name="T29" fmla="*/ 174 w 174"/>
              <a:gd name="T30" fmla="*/ 149 h 1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4" h="149">
                <a:moveTo>
                  <a:pt x="0" y="30"/>
                </a:moveTo>
                <a:lnTo>
                  <a:pt x="13" y="104"/>
                </a:lnTo>
                <a:lnTo>
                  <a:pt x="36" y="143"/>
                </a:lnTo>
                <a:lnTo>
                  <a:pt x="70" y="149"/>
                </a:lnTo>
                <a:lnTo>
                  <a:pt x="174" y="79"/>
                </a:lnTo>
                <a:lnTo>
                  <a:pt x="170" y="0"/>
                </a:lnTo>
                <a:lnTo>
                  <a:pt x="91" y="12"/>
                </a:lnTo>
                <a:lnTo>
                  <a:pt x="24" y="9"/>
                </a:lnTo>
                <a:lnTo>
                  <a:pt x="0" y="30"/>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24" name="Freeform 54"/>
          <p:cNvSpPr>
            <a:spLocks noChangeAspect="1"/>
          </p:cNvSpPr>
          <p:nvPr/>
        </p:nvSpPr>
        <p:spPr bwMode="gray">
          <a:xfrm>
            <a:off x="4100791" y="3040327"/>
            <a:ext cx="2112890" cy="1602165"/>
          </a:xfrm>
          <a:custGeom>
            <a:avLst/>
            <a:gdLst>
              <a:gd name="T0" fmla="*/ 2147483647 w 2124"/>
              <a:gd name="T1" fmla="*/ 2147483647 h 1337"/>
              <a:gd name="T2" fmla="*/ 2147483647 w 2124"/>
              <a:gd name="T3" fmla="*/ 2147483647 h 1337"/>
              <a:gd name="T4" fmla="*/ 2147483647 w 2124"/>
              <a:gd name="T5" fmla="*/ 2147483647 h 1337"/>
              <a:gd name="T6" fmla="*/ 2147483647 w 2124"/>
              <a:gd name="T7" fmla="*/ 2147483647 h 1337"/>
              <a:gd name="T8" fmla="*/ 2147483647 w 2124"/>
              <a:gd name="T9" fmla="*/ 2147483647 h 1337"/>
              <a:gd name="T10" fmla="*/ 2147483647 w 2124"/>
              <a:gd name="T11" fmla="*/ 2147483647 h 1337"/>
              <a:gd name="T12" fmla="*/ 2147483647 w 2124"/>
              <a:gd name="T13" fmla="*/ 2147483647 h 1337"/>
              <a:gd name="T14" fmla="*/ 2147483647 w 2124"/>
              <a:gd name="T15" fmla="*/ 2147483647 h 1337"/>
              <a:gd name="T16" fmla="*/ 2147483647 w 2124"/>
              <a:gd name="T17" fmla="*/ 2147483647 h 1337"/>
              <a:gd name="T18" fmla="*/ 2147483647 w 2124"/>
              <a:gd name="T19" fmla="*/ 2147483647 h 1337"/>
              <a:gd name="T20" fmla="*/ 2147483647 w 2124"/>
              <a:gd name="T21" fmla="*/ 2147483647 h 1337"/>
              <a:gd name="T22" fmla="*/ 2147483647 w 2124"/>
              <a:gd name="T23" fmla="*/ 2147483647 h 1337"/>
              <a:gd name="T24" fmla="*/ 2147483647 w 2124"/>
              <a:gd name="T25" fmla="*/ 2147483647 h 1337"/>
              <a:gd name="T26" fmla="*/ 2147483647 w 2124"/>
              <a:gd name="T27" fmla="*/ 2147483647 h 1337"/>
              <a:gd name="T28" fmla="*/ 2147483647 w 2124"/>
              <a:gd name="T29" fmla="*/ 2147483647 h 1337"/>
              <a:gd name="T30" fmla="*/ 2147483647 w 2124"/>
              <a:gd name="T31" fmla="*/ 2147483647 h 1337"/>
              <a:gd name="T32" fmla="*/ 2147483647 w 2124"/>
              <a:gd name="T33" fmla="*/ 2147483647 h 1337"/>
              <a:gd name="T34" fmla="*/ 2147483647 w 2124"/>
              <a:gd name="T35" fmla="*/ 2147483647 h 1337"/>
              <a:gd name="T36" fmla="*/ 2147483647 w 2124"/>
              <a:gd name="T37" fmla="*/ 2147483647 h 1337"/>
              <a:gd name="T38" fmla="*/ 2147483647 w 2124"/>
              <a:gd name="T39" fmla="*/ 2147483647 h 1337"/>
              <a:gd name="T40" fmla="*/ 2147483647 w 2124"/>
              <a:gd name="T41" fmla="*/ 2147483647 h 1337"/>
              <a:gd name="T42" fmla="*/ 2147483647 w 2124"/>
              <a:gd name="T43" fmla="*/ 2147483647 h 1337"/>
              <a:gd name="T44" fmla="*/ 2147483647 w 2124"/>
              <a:gd name="T45" fmla="*/ 2147483647 h 1337"/>
              <a:gd name="T46" fmla="*/ 2147483647 w 2124"/>
              <a:gd name="T47" fmla="*/ 2147483647 h 1337"/>
              <a:gd name="T48" fmla="*/ 2147483647 w 2124"/>
              <a:gd name="T49" fmla="*/ 2147483647 h 1337"/>
              <a:gd name="T50" fmla="*/ 2147483647 w 2124"/>
              <a:gd name="T51" fmla="*/ 2147483647 h 1337"/>
              <a:gd name="T52" fmla="*/ 2147483647 w 2124"/>
              <a:gd name="T53" fmla="*/ 2147483647 h 1337"/>
              <a:gd name="T54" fmla="*/ 2147483647 w 2124"/>
              <a:gd name="T55" fmla="*/ 2147483647 h 1337"/>
              <a:gd name="T56" fmla="*/ 2147483647 w 2124"/>
              <a:gd name="T57" fmla="*/ 2147483647 h 1337"/>
              <a:gd name="T58" fmla="*/ 2147483647 w 2124"/>
              <a:gd name="T59" fmla="*/ 2147483647 h 1337"/>
              <a:gd name="T60" fmla="*/ 2147483647 w 2124"/>
              <a:gd name="T61" fmla="*/ 2147483647 h 1337"/>
              <a:gd name="T62" fmla="*/ 2147483647 w 2124"/>
              <a:gd name="T63" fmla="*/ 2147483647 h 1337"/>
              <a:gd name="T64" fmla="*/ 2147483647 w 2124"/>
              <a:gd name="T65" fmla="*/ 2147483647 h 1337"/>
              <a:gd name="T66" fmla="*/ 2147483647 w 2124"/>
              <a:gd name="T67" fmla="*/ 2147483647 h 1337"/>
              <a:gd name="T68" fmla="*/ 2147483647 w 2124"/>
              <a:gd name="T69" fmla="*/ 2147483647 h 1337"/>
              <a:gd name="T70" fmla="*/ 2147483647 w 2124"/>
              <a:gd name="T71" fmla="*/ 2147483647 h 1337"/>
              <a:gd name="T72" fmla="*/ 2147483647 w 2124"/>
              <a:gd name="T73" fmla="*/ 2147483647 h 1337"/>
              <a:gd name="T74" fmla="*/ 2147483647 w 2124"/>
              <a:gd name="T75" fmla="*/ 2147483647 h 1337"/>
              <a:gd name="T76" fmla="*/ 2147483647 w 2124"/>
              <a:gd name="T77" fmla="*/ 2147483647 h 1337"/>
              <a:gd name="T78" fmla="*/ 2147483647 w 2124"/>
              <a:gd name="T79" fmla="*/ 2147483647 h 1337"/>
              <a:gd name="T80" fmla="*/ 2147483647 w 2124"/>
              <a:gd name="T81" fmla="*/ 2147483647 h 1337"/>
              <a:gd name="T82" fmla="*/ 2147483647 w 2124"/>
              <a:gd name="T83" fmla="*/ 2147483647 h 1337"/>
              <a:gd name="T84" fmla="*/ 2147483647 w 2124"/>
              <a:gd name="T85" fmla="*/ 2147483647 h 1337"/>
              <a:gd name="T86" fmla="*/ 2147483647 w 2124"/>
              <a:gd name="T87" fmla="*/ 2147483647 h 1337"/>
              <a:gd name="T88" fmla="*/ 2147483647 w 2124"/>
              <a:gd name="T89" fmla="*/ 2147483647 h 1337"/>
              <a:gd name="T90" fmla="*/ 2147483647 w 2124"/>
              <a:gd name="T91" fmla="*/ 2147483647 h 1337"/>
              <a:gd name="T92" fmla="*/ 2147483647 w 2124"/>
              <a:gd name="T93" fmla="*/ 2147483647 h 1337"/>
              <a:gd name="T94" fmla="*/ 2147483647 w 2124"/>
              <a:gd name="T95" fmla="*/ 2147483647 h 1337"/>
              <a:gd name="T96" fmla="*/ 2147483647 w 2124"/>
              <a:gd name="T97" fmla="*/ 2147483647 h 1337"/>
              <a:gd name="T98" fmla="*/ 2147483647 w 2124"/>
              <a:gd name="T99" fmla="*/ 2147483647 h 1337"/>
              <a:gd name="T100" fmla="*/ 2147483647 w 2124"/>
              <a:gd name="T101" fmla="*/ 2147483647 h 1337"/>
              <a:gd name="T102" fmla="*/ 0 w 2124"/>
              <a:gd name="T103" fmla="*/ 2147483647 h 13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24"/>
              <a:gd name="T157" fmla="*/ 0 h 1337"/>
              <a:gd name="T158" fmla="*/ 2124 w 2124"/>
              <a:gd name="T159" fmla="*/ 1337 h 133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24" h="1337">
                <a:moveTo>
                  <a:pt x="0" y="636"/>
                </a:moveTo>
                <a:lnTo>
                  <a:pt x="12" y="585"/>
                </a:lnTo>
                <a:lnTo>
                  <a:pt x="89" y="574"/>
                </a:lnTo>
                <a:lnTo>
                  <a:pt x="223" y="503"/>
                </a:lnTo>
                <a:lnTo>
                  <a:pt x="243" y="449"/>
                </a:lnTo>
                <a:lnTo>
                  <a:pt x="216" y="387"/>
                </a:lnTo>
                <a:lnTo>
                  <a:pt x="300" y="369"/>
                </a:lnTo>
                <a:lnTo>
                  <a:pt x="324" y="285"/>
                </a:lnTo>
                <a:lnTo>
                  <a:pt x="412" y="289"/>
                </a:lnTo>
                <a:lnTo>
                  <a:pt x="422" y="235"/>
                </a:lnTo>
                <a:lnTo>
                  <a:pt x="489" y="206"/>
                </a:lnTo>
                <a:lnTo>
                  <a:pt x="525" y="253"/>
                </a:lnTo>
                <a:lnTo>
                  <a:pt x="573" y="270"/>
                </a:lnTo>
                <a:lnTo>
                  <a:pt x="594" y="369"/>
                </a:lnTo>
                <a:lnTo>
                  <a:pt x="747" y="407"/>
                </a:lnTo>
                <a:lnTo>
                  <a:pt x="810" y="475"/>
                </a:lnTo>
                <a:lnTo>
                  <a:pt x="936" y="471"/>
                </a:lnTo>
                <a:lnTo>
                  <a:pt x="1080" y="524"/>
                </a:lnTo>
                <a:lnTo>
                  <a:pt x="1269" y="475"/>
                </a:lnTo>
                <a:lnTo>
                  <a:pt x="1328" y="437"/>
                </a:lnTo>
                <a:lnTo>
                  <a:pt x="1328" y="383"/>
                </a:lnTo>
                <a:lnTo>
                  <a:pt x="1380" y="389"/>
                </a:lnTo>
                <a:lnTo>
                  <a:pt x="1497" y="312"/>
                </a:lnTo>
                <a:lnTo>
                  <a:pt x="1590" y="307"/>
                </a:lnTo>
                <a:lnTo>
                  <a:pt x="1546" y="248"/>
                </a:lnTo>
                <a:lnTo>
                  <a:pt x="1456" y="264"/>
                </a:lnTo>
                <a:lnTo>
                  <a:pt x="1455" y="199"/>
                </a:lnTo>
                <a:lnTo>
                  <a:pt x="1478" y="163"/>
                </a:lnTo>
                <a:lnTo>
                  <a:pt x="1531" y="184"/>
                </a:lnTo>
                <a:lnTo>
                  <a:pt x="1581" y="160"/>
                </a:lnTo>
                <a:lnTo>
                  <a:pt x="1632" y="72"/>
                </a:lnTo>
                <a:lnTo>
                  <a:pt x="1608" y="41"/>
                </a:lnTo>
                <a:lnTo>
                  <a:pt x="1734" y="0"/>
                </a:lnTo>
                <a:lnTo>
                  <a:pt x="1804" y="27"/>
                </a:lnTo>
                <a:lnTo>
                  <a:pt x="1868" y="176"/>
                </a:lnTo>
                <a:lnTo>
                  <a:pt x="1974" y="209"/>
                </a:lnTo>
                <a:lnTo>
                  <a:pt x="1994" y="263"/>
                </a:lnTo>
                <a:lnTo>
                  <a:pt x="2124" y="229"/>
                </a:lnTo>
                <a:lnTo>
                  <a:pt x="2064" y="373"/>
                </a:lnTo>
                <a:lnTo>
                  <a:pt x="1988" y="395"/>
                </a:lnTo>
                <a:lnTo>
                  <a:pt x="1998" y="449"/>
                </a:lnTo>
                <a:lnTo>
                  <a:pt x="1974" y="482"/>
                </a:lnTo>
                <a:lnTo>
                  <a:pt x="1960" y="471"/>
                </a:lnTo>
                <a:lnTo>
                  <a:pt x="1894" y="510"/>
                </a:lnTo>
                <a:lnTo>
                  <a:pt x="1894" y="533"/>
                </a:lnTo>
                <a:lnTo>
                  <a:pt x="1846" y="526"/>
                </a:lnTo>
                <a:lnTo>
                  <a:pt x="1758" y="591"/>
                </a:lnTo>
                <a:lnTo>
                  <a:pt x="1656" y="642"/>
                </a:lnTo>
                <a:lnTo>
                  <a:pt x="1686" y="574"/>
                </a:lnTo>
                <a:lnTo>
                  <a:pt x="1672" y="549"/>
                </a:lnTo>
                <a:lnTo>
                  <a:pt x="1531" y="628"/>
                </a:lnTo>
                <a:lnTo>
                  <a:pt x="1527" y="650"/>
                </a:lnTo>
                <a:lnTo>
                  <a:pt x="1574" y="701"/>
                </a:lnTo>
                <a:lnTo>
                  <a:pt x="1635" y="679"/>
                </a:lnTo>
                <a:lnTo>
                  <a:pt x="1700" y="697"/>
                </a:lnTo>
                <a:lnTo>
                  <a:pt x="1614" y="738"/>
                </a:lnTo>
                <a:lnTo>
                  <a:pt x="1582" y="794"/>
                </a:lnTo>
                <a:lnTo>
                  <a:pt x="1674" y="915"/>
                </a:lnTo>
                <a:lnTo>
                  <a:pt x="1612" y="904"/>
                </a:lnTo>
                <a:lnTo>
                  <a:pt x="1674" y="945"/>
                </a:lnTo>
                <a:lnTo>
                  <a:pt x="1613" y="972"/>
                </a:lnTo>
                <a:lnTo>
                  <a:pt x="1676" y="983"/>
                </a:lnTo>
                <a:lnTo>
                  <a:pt x="1559" y="1178"/>
                </a:lnTo>
                <a:lnTo>
                  <a:pt x="1481" y="1235"/>
                </a:lnTo>
                <a:lnTo>
                  <a:pt x="1405" y="1254"/>
                </a:lnTo>
                <a:lnTo>
                  <a:pt x="1400" y="1255"/>
                </a:lnTo>
                <a:lnTo>
                  <a:pt x="1380" y="1244"/>
                </a:lnTo>
                <a:lnTo>
                  <a:pt x="1361" y="1277"/>
                </a:lnTo>
                <a:lnTo>
                  <a:pt x="1270" y="1296"/>
                </a:lnTo>
                <a:lnTo>
                  <a:pt x="1264" y="1337"/>
                </a:lnTo>
                <a:lnTo>
                  <a:pt x="1248" y="1288"/>
                </a:lnTo>
                <a:lnTo>
                  <a:pt x="1187" y="1290"/>
                </a:lnTo>
                <a:lnTo>
                  <a:pt x="1092" y="1230"/>
                </a:lnTo>
                <a:lnTo>
                  <a:pt x="989" y="1256"/>
                </a:lnTo>
                <a:lnTo>
                  <a:pt x="968" y="1257"/>
                </a:lnTo>
                <a:lnTo>
                  <a:pt x="971" y="1296"/>
                </a:lnTo>
                <a:lnTo>
                  <a:pt x="955" y="1287"/>
                </a:lnTo>
                <a:lnTo>
                  <a:pt x="889" y="1268"/>
                </a:lnTo>
                <a:lnTo>
                  <a:pt x="869" y="1197"/>
                </a:lnTo>
                <a:lnTo>
                  <a:pt x="829" y="1206"/>
                </a:lnTo>
                <a:lnTo>
                  <a:pt x="867" y="1103"/>
                </a:lnTo>
                <a:lnTo>
                  <a:pt x="866" y="1070"/>
                </a:lnTo>
                <a:lnTo>
                  <a:pt x="823" y="1049"/>
                </a:lnTo>
                <a:lnTo>
                  <a:pt x="786" y="1035"/>
                </a:lnTo>
                <a:lnTo>
                  <a:pt x="775" y="998"/>
                </a:lnTo>
                <a:lnTo>
                  <a:pt x="626" y="1060"/>
                </a:lnTo>
                <a:lnTo>
                  <a:pt x="561" y="1043"/>
                </a:lnTo>
                <a:lnTo>
                  <a:pt x="527" y="1079"/>
                </a:lnTo>
                <a:lnTo>
                  <a:pt x="522" y="1053"/>
                </a:lnTo>
                <a:lnTo>
                  <a:pt x="499" y="1059"/>
                </a:lnTo>
                <a:lnTo>
                  <a:pt x="424" y="1059"/>
                </a:lnTo>
                <a:lnTo>
                  <a:pt x="365" y="1005"/>
                </a:lnTo>
                <a:lnTo>
                  <a:pt x="255" y="969"/>
                </a:lnTo>
                <a:lnTo>
                  <a:pt x="183" y="943"/>
                </a:lnTo>
                <a:lnTo>
                  <a:pt x="166" y="883"/>
                </a:lnTo>
                <a:lnTo>
                  <a:pt x="204" y="876"/>
                </a:lnTo>
                <a:lnTo>
                  <a:pt x="181" y="828"/>
                </a:lnTo>
                <a:lnTo>
                  <a:pt x="230" y="769"/>
                </a:lnTo>
                <a:lnTo>
                  <a:pt x="192" y="749"/>
                </a:lnTo>
                <a:lnTo>
                  <a:pt x="138" y="771"/>
                </a:lnTo>
                <a:lnTo>
                  <a:pt x="31" y="706"/>
                </a:lnTo>
                <a:lnTo>
                  <a:pt x="35" y="697"/>
                </a:lnTo>
                <a:lnTo>
                  <a:pt x="36" y="651"/>
                </a:lnTo>
                <a:lnTo>
                  <a:pt x="0" y="63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25" name="Freeform 55"/>
          <p:cNvSpPr>
            <a:spLocks noChangeAspect="1"/>
          </p:cNvSpPr>
          <p:nvPr/>
        </p:nvSpPr>
        <p:spPr bwMode="gray">
          <a:xfrm>
            <a:off x="5309364" y="4653935"/>
            <a:ext cx="73950" cy="70954"/>
          </a:xfrm>
          <a:custGeom>
            <a:avLst/>
            <a:gdLst>
              <a:gd name="T0" fmla="*/ 0 w 75"/>
              <a:gd name="T1" fmla="*/ 2147483647 h 64"/>
              <a:gd name="T2" fmla="*/ 2147483647 w 75"/>
              <a:gd name="T3" fmla="*/ 0 h 64"/>
              <a:gd name="T4" fmla="*/ 2147483647 w 75"/>
              <a:gd name="T5" fmla="*/ 2147483647 h 64"/>
              <a:gd name="T6" fmla="*/ 2147483647 w 75"/>
              <a:gd name="T7" fmla="*/ 2147483647 h 64"/>
              <a:gd name="T8" fmla="*/ 0 w 75"/>
              <a:gd name="T9" fmla="*/ 2147483647 h 64"/>
              <a:gd name="T10" fmla="*/ 0 60000 65536"/>
              <a:gd name="T11" fmla="*/ 0 60000 65536"/>
              <a:gd name="T12" fmla="*/ 0 60000 65536"/>
              <a:gd name="T13" fmla="*/ 0 60000 65536"/>
              <a:gd name="T14" fmla="*/ 0 60000 65536"/>
              <a:gd name="T15" fmla="*/ 0 w 75"/>
              <a:gd name="T16" fmla="*/ 0 h 64"/>
              <a:gd name="T17" fmla="*/ 75 w 75"/>
              <a:gd name="T18" fmla="*/ 64 h 64"/>
            </a:gdLst>
            <a:ahLst/>
            <a:cxnLst>
              <a:cxn ang="T10">
                <a:pos x="T0" y="T1"/>
              </a:cxn>
              <a:cxn ang="T11">
                <a:pos x="T2" y="T3"/>
              </a:cxn>
              <a:cxn ang="T12">
                <a:pos x="T4" y="T5"/>
              </a:cxn>
              <a:cxn ang="T13">
                <a:pos x="T6" y="T7"/>
              </a:cxn>
              <a:cxn ang="T14">
                <a:pos x="T8" y="T9"/>
              </a:cxn>
            </a:cxnLst>
            <a:rect l="T15" t="T16" r="T17" b="T18"/>
            <a:pathLst>
              <a:path w="75" h="64">
                <a:moveTo>
                  <a:pt x="0" y="51"/>
                </a:moveTo>
                <a:lnTo>
                  <a:pt x="24" y="0"/>
                </a:lnTo>
                <a:lnTo>
                  <a:pt x="75" y="11"/>
                </a:lnTo>
                <a:lnTo>
                  <a:pt x="34" y="64"/>
                </a:lnTo>
                <a:lnTo>
                  <a:pt x="0" y="51"/>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26" name="Freeform 56"/>
          <p:cNvSpPr>
            <a:spLocks noChangeAspect="1"/>
          </p:cNvSpPr>
          <p:nvPr/>
        </p:nvSpPr>
        <p:spPr bwMode="gray">
          <a:xfrm>
            <a:off x="5702362" y="4434210"/>
            <a:ext cx="63387" cy="135040"/>
          </a:xfrm>
          <a:custGeom>
            <a:avLst/>
            <a:gdLst>
              <a:gd name="T0" fmla="*/ 0 w 63"/>
              <a:gd name="T1" fmla="*/ 2147483647 h 114"/>
              <a:gd name="T2" fmla="*/ 2147483647 w 63"/>
              <a:gd name="T3" fmla="*/ 2147483647 h 114"/>
              <a:gd name="T4" fmla="*/ 2147483647 w 63"/>
              <a:gd name="T5" fmla="*/ 0 h 114"/>
              <a:gd name="T6" fmla="*/ 2147483647 w 63"/>
              <a:gd name="T7" fmla="*/ 2147483647 h 114"/>
              <a:gd name="T8" fmla="*/ 0 w 63"/>
              <a:gd name="T9" fmla="*/ 2147483647 h 114"/>
              <a:gd name="T10" fmla="*/ 0 60000 65536"/>
              <a:gd name="T11" fmla="*/ 0 60000 65536"/>
              <a:gd name="T12" fmla="*/ 0 60000 65536"/>
              <a:gd name="T13" fmla="*/ 0 60000 65536"/>
              <a:gd name="T14" fmla="*/ 0 60000 65536"/>
              <a:gd name="T15" fmla="*/ 0 w 63"/>
              <a:gd name="T16" fmla="*/ 0 h 114"/>
              <a:gd name="T17" fmla="*/ 63 w 63"/>
              <a:gd name="T18" fmla="*/ 114 h 114"/>
            </a:gdLst>
            <a:ahLst/>
            <a:cxnLst>
              <a:cxn ang="T10">
                <a:pos x="T0" y="T1"/>
              </a:cxn>
              <a:cxn ang="T11">
                <a:pos x="T2" y="T3"/>
              </a:cxn>
              <a:cxn ang="T12">
                <a:pos x="T4" y="T5"/>
              </a:cxn>
              <a:cxn ang="T13">
                <a:pos x="T6" y="T7"/>
              </a:cxn>
              <a:cxn ang="T14">
                <a:pos x="T8" y="T9"/>
              </a:cxn>
            </a:cxnLst>
            <a:rect l="T15" t="T16" r="T17" b="T18"/>
            <a:pathLst>
              <a:path w="63" h="114">
                <a:moveTo>
                  <a:pt x="0" y="47"/>
                </a:moveTo>
                <a:lnTo>
                  <a:pt x="25" y="114"/>
                </a:lnTo>
                <a:lnTo>
                  <a:pt x="63" y="0"/>
                </a:lnTo>
                <a:lnTo>
                  <a:pt x="30" y="1"/>
                </a:lnTo>
                <a:lnTo>
                  <a:pt x="0" y="47"/>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27" name="Freeform 60"/>
          <p:cNvSpPr>
            <a:spLocks noChangeAspect="1"/>
          </p:cNvSpPr>
          <p:nvPr/>
        </p:nvSpPr>
        <p:spPr bwMode="gray">
          <a:xfrm>
            <a:off x="1970999" y="3173078"/>
            <a:ext cx="361303" cy="183105"/>
          </a:xfrm>
          <a:custGeom>
            <a:avLst/>
            <a:gdLst>
              <a:gd name="T0" fmla="*/ 0 w 365"/>
              <a:gd name="T1" fmla="*/ 2147483647 h 151"/>
              <a:gd name="T2" fmla="*/ 2147483647 w 365"/>
              <a:gd name="T3" fmla="*/ 2147483647 h 151"/>
              <a:gd name="T4" fmla="*/ 2147483647 w 365"/>
              <a:gd name="T5" fmla="*/ 2147483647 h 151"/>
              <a:gd name="T6" fmla="*/ 2147483647 w 365"/>
              <a:gd name="T7" fmla="*/ 2147483647 h 151"/>
              <a:gd name="T8" fmla="*/ 2147483647 w 365"/>
              <a:gd name="T9" fmla="*/ 2147483647 h 151"/>
              <a:gd name="T10" fmla="*/ 2147483647 w 365"/>
              <a:gd name="T11" fmla="*/ 2147483647 h 151"/>
              <a:gd name="T12" fmla="*/ 2147483647 w 365"/>
              <a:gd name="T13" fmla="*/ 2147483647 h 151"/>
              <a:gd name="T14" fmla="*/ 2147483647 w 365"/>
              <a:gd name="T15" fmla="*/ 2147483647 h 151"/>
              <a:gd name="T16" fmla="*/ 2147483647 w 365"/>
              <a:gd name="T17" fmla="*/ 2147483647 h 151"/>
              <a:gd name="T18" fmla="*/ 2147483647 w 365"/>
              <a:gd name="T19" fmla="*/ 2147483647 h 151"/>
              <a:gd name="T20" fmla="*/ 2147483647 w 365"/>
              <a:gd name="T21" fmla="*/ 0 h 151"/>
              <a:gd name="T22" fmla="*/ 0 w 365"/>
              <a:gd name="T23" fmla="*/ 2147483647 h 1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5"/>
              <a:gd name="T37" fmla="*/ 0 h 151"/>
              <a:gd name="T38" fmla="*/ 365 w 365"/>
              <a:gd name="T39" fmla="*/ 151 h 15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5" h="151">
                <a:moveTo>
                  <a:pt x="0" y="37"/>
                </a:moveTo>
                <a:lnTo>
                  <a:pt x="63" y="107"/>
                </a:lnTo>
                <a:lnTo>
                  <a:pt x="165" y="104"/>
                </a:lnTo>
                <a:lnTo>
                  <a:pt x="180" y="136"/>
                </a:lnTo>
                <a:lnTo>
                  <a:pt x="227" y="151"/>
                </a:lnTo>
                <a:lnTo>
                  <a:pt x="307" y="116"/>
                </a:lnTo>
                <a:lnTo>
                  <a:pt x="354" y="124"/>
                </a:lnTo>
                <a:lnTo>
                  <a:pt x="365" y="92"/>
                </a:lnTo>
                <a:lnTo>
                  <a:pt x="277" y="83"/>
                </a:lnTo>
                <a:lnTo>
                  <a:pt x="96" y="15"/>
                </a:lnTo>
                <a:lnTo>
                  <a:pt x="77" y="0"/>
                </a:lnTo>
                <a:lnTo>
                  <a:pt x="0" y="37"/>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28" name="Freeform 61"/>
          <p:cNvSpPr>
            <a:spLocks noChangeAspect="1"/>
          </p:cNvSpPr>
          <p:nvPr/>
        </p:nvSpPr>
        <p:spPr bwMode="gray">
          <a:xfrm>
            <a:off x="1839999" y="2802291"/>
            <a:ext cx="90854" cy="162505"/>
          </a:xfrm>
          <a:custGeom>
            <a:avLst/>
            <a:gdLst>
              <a:gd name="T0" fmla="*/ 0 w 92"/>
              <a:gd name="T1" fmla="*/ 2147483647 h 139"/>
              <a:gd name="T2" fmla="*/ 2147483647 w 92"/>
              <a:gd name="T3" fmla="*/ 2147483647 h 139"/>
              <a:gd name="T4" fmla="*/ 2147483647 w 92"/>
              <a:gd name="T5" fmla="*/ 0 h 139"/>
              <a:gd name="T6" fmla="*/ 2147483647 w 92"/>
              <a:gd name="T7" fmla="*/ 2147483647 h 139"/>
              <a:gd name="T8" fmla="*/ 2147483647 w 92"/>
              <a:gd name="T9" fmla="*/ 2147483647 h 139"/>
              <a:gd name="T10" fmla="*/ 2147483647 w 92"/>
              <a:gd name="T11" fmla="*/ 2147483647 h 139"/>
              <a:gd name="T12" fmla="*/ 2147483647 w 92"/>
              <a:gd name="T13" fmla="*/ 2147483647 h 139"/>
              <a:gd name="T14" fmla="*/ 2147483647 w 92"/>
              <a:gd name="T15" fmla="*/ 2147483647 h 139"/>
              <a:gd name="T16" fmla="*/ 0 w 92"/>
              <a:gd name="T17" fmla="*/ 2147483647 h 1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139"/>
              <a:gd name="T29" fmla="*/ 92 w 92"/>
              <a:gd name="T30" fmla="*/ 139 h 1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139">
                <a:moveTo>
                  <a:pt x="0" y="106"/>
                </a:moveTo>
                <a:lnTo>
                  <a:pt x="7" y="38"/>
                </a:lnTo>
                <a:lnTo>
                  <a:pt x="80" y="0"/>
                </a:lnTo>
                <a:lnTo>
                  <a:pt x="66" y="54"/>
                </a:lnTo>
                <a:lnTo>
                  <a:pt x="92" y="69"/>
                </a:lnTo>
                <a:lnTo>
                  <a:pt x="47" y="99"/>
                </a:lnTo>
                <a:lnTo>
                  <a:pt x="46" y="139"/>
                </a:lnTo>
                <a:lnTo>
                  <a:pt x="18" y="139"/>
                </a:lnTo>
                <a:lnTo>
                  <a:pt x="0" y="10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29" name="Freeform 62"/>
          <p:cNvSpPr>
            <a:spLocks noChangeAspect="1"/>
          </p:cNvSpPr>
          <p:nvPr/>
        </p:nvSpPr>
        <p:spPr bwMode="gray">
          <a:xfrm>
            <a:off x="1943530" y="2891554"/>
            <a:ext cx="52823" cy="66376"/>
          </a:xfrm>
          <a:custGeom>
            <a:avLst/>
            <a:gdLst>
              <a:gd name="T0" fmla="*/ 0 w 55"/>
              <a:gd name="T1" fmla="*/ 2147483647 h 58"/>
              <a:gd name="T2" fmla="*/ 2147483647 w 55"/>
              <a:gd name="T3" fmla="*/ 2147483647 h 58"/>
              <a:gd name="T4" fmla="*/ 2147483647 w 55"/>
              <a:gd name="T5" fmla="*/ 2147483647 h 58"/>
              <a:gd name="T6" fmla="*/ 2147483647 w 55"/>
              <a:gd name="T7" fmla="*/ 0 h 58"/>
              <a:gd name="T8" fmla="*/ 0 w 55"/>
              <a:gd name="T9" fmla="*/ 2147483647 h 58"/>
              <a:gd name="T10" fmla="*/ 0 60000 65536"/>
              <a:gd name="T11" fmla="*/ 0 60000 65536"/>
              <a:gd name="T12" fmla="*/ 0 60000 65536"/>
              <a:gd name="T13" fmla="*/ 0 60000 65536"/>
              <a:gd name="T14" fmla="*/ 0 60000 65536"/>
              <a:gd name="T15" fmla="*/ 0 w 55"/>
              <a:gd name="T16" fmla="*/ 0 h 58"/>
              <a:gd name="T17" fmla="*/ 55 w 55"/>
              <a:gd name="T18" fmla="*/ 58 h 58"/>
            </a:gdLst>
            <a:ahLst/>
            <a:cxnLst>
              <a:cxn ang="T10">
                <a:pos x="T0" y="T1"/>
              </a:cxn>
              <a:cxn ang="T11">
                <a:pos x="T2" y="T3"/>
              </a:cxn>
              <a:cxn ang="T12">
                <a:pos x="T4" y="T5"/>
              </a:cxn>
              <a:cxn ang="T13">
                <a:pos x="T6" y="T7"/>
              </a:cxn>
              <a:cxn ang="T14">
                <a:pos x="T8" y="T9"/>
              </a:cxn>
            </a:cxnLst>
            <a:rect l="T15" t="T16" r="T17" b="T18"/>
            <a:pathLst>
              <a:path w="55" h="58">
                <a:moveTo>
                  <a:pt x="0" y="29"/>
                </a:moveTo>
                <a:lnTo>
                  <a:pt x="41" y="58"/>
                </a:lnTo>
                <a:lnTo>
                  <a:pt x="55" y="28"/>
                </a:lnTo>
                <a:lnTo>
                  <a:pt x="45" y="0"/>
                </a:lnTo>
                <a:lnTo>
                  <a:pt x="0" y="29"/>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30" name="Freeform 68"/>
          <p:cNvSpPr>
            <a:spLocks noChangeAspect="1"/>
          </p:cNvSpPr>
          <p:nvPr/>
        </p:nvSpPr>
        <p:spPr bwMode="gray">
          <a:xfrm>
            <a:off x="2271029" y="1992053"/>
            <a:ext cx="371869" cy="677487"/>
          </a:xfrm>
          <a:custGeom>
            <a:avLst/>
            <a:gdLst>
              <a:gd name="T0" fmla="*/ 0 w 378"/>
              <a:gd name="T1" fmla="*/ 2147483647 h 567"/>
              <a:gd name="T2" fmla="*/ 2147483647 w 378"/>
              <a:gd name="T3" fmla="*/ 2147483647 h 567"/>
              <a:gd name="T4" fmla="*/ 2147483647 w 378"/>
              <a:gd name="T5" fmla="*/ 2147483647 h 567"/>
              <a:gd name="T6" fmla="*/ 2147483647 w 378"/>
              <a:gd name="T7" fmla="*/ 2147483647 h 567"/>
              <a:gd name="T8" fmla="*/ 2147483647 w 378"/>
              <a:gd name="T9" fmla="*/ 2147483647 h 567"/>
              <a:gd name="T10" fmla="*/ 2147483647 w 378"/>
              <a:gd name="T11" fmla="*/ 2147483647 h 567"/>
              <a:gd name="T12" fmla="*/ 2147483647 w 378"/>
              <a:gd name="T13" fmla="*/ 0 h 567"/>
              <a:gd name="T14" fmla="*/ 2147483647 w 378"/>
              <a:gd name="T15" fmla="*/ 2147483647 h 567"/>
              <a:gd name="T16" fmla="*/ 2147483647 w 378"/>
              <a:gd name="T17" fmla="*/ 2147483647 h 567"/>
              <a:gd name="T18" fmla="*/ 2147483647 w 378"/>
              <a:gd name="T19" fmla="*/ 2147483647 h 567"/>
              <a:gd name="T20" fmla="*/ 2147483647 w 378"/>
              <a:gd name="T21" fmla="*/ 2147483647 h 567"/>
              <a:gd name="T22" fmla="*/ 2147483647 w 378"/>
              <a:gd name="T23" fmla="*/ 2147483647 h 567"/>
              <a:gd name="T24" fmla="*/ 2147483647 w 378"/>
              <a:gd name="T25" fmla="*/ 2147483647 h 567"/>
              <a:gd name="T26" fmla="*/ 2147483647 w 378"/>
              <a:gd name="T27" fmla="*/ 2147483647 h 567"/>
              <a:gd name="T28" fmla="*/ 2147483647 w 378"/>
              <a:gd name="T29" fmla="*/ 2147483647 h 567"/>
              <a:gd name="T30" fmla="*/ 2147483647 w 378"/>
              <a:gd name="T31" fmla="*/ 2147483647 h 567"/>
              <a:gd name="T32" fmla="*/ 2147483647 w 378"/>
              <a:gd name="T33" fmla="*/ 2147483647 h 567"/>
              <a:gd name="T34" fmla="*/ 2147483647 w 378"/>
              <a:gd name="T35" fmla="*/ 2147483647 h 567"/>
              <a:gd name="T36" fmla="*/ 2147483647 w 378"/>
              <a:gd name="T37" fmla="*/ 2147483647 h 567"/>
              <a:gd name="T38" fmla="*/ 2147483647 w 378"/>
              <a:gd name="T39" fmla="*/ 2147483647 h 567"/>
              <a:gd name="T40" fmla="*/ 2147483647 w 378"/>
              <a:gd name="T41" fmla="*/ 2147483647 h 567"/>
              <a:gd name="T42" fmla="*/ 2147483647 w 378"/>
              <a:gd name="T43" fmla="*/ 2147483647 h 567"/>
              <a:gd name="T44" fmla="*/ 2147483647 w 378"/>
              <a:gd name="T45" fmla="*/ 2147483647 h 567"/>
              <a:gd name="T46" fmla="*/ 0 w 378"/>
              <a:gd name="T47" fmla="*/ 2147483647 h 56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78"/>
              <a:gd name="T73" fmla="*/ 0 h 567"/>
              <a:gd name="T74" fmla="*/ 378 w 378"/>
              <a:gd name="T75" fmla="*/ 567 h 56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78" h="567">
                <a:moveTo>
                  <a:pt x="0" y="58"/>
                </a:moveTo>
                <a:lnTo>
                  <a:pt x="25" y="41"/>
                </a:lnTo>
                <a:lnTo>
                  <a:pt x="65" y="75"/>
                </a:lnTo>
                <a:lnTo>
                  <a:pt x="137" y="82"/>
                </a:lnTo>
                <a:lnTo>
                  <a:pt x="179" y="60"/>
                </a:lnTo>
                <a:lnTo>
                  <a:pt x="191" y="13"/>
                </a:lnTo>
                <a:lnTo>
                  <a:pt x="259" y="0"/>
                </a:lnTo>
                <a:lnTo>
                  <a:pt x="296" y="18"/>
                </a:lnTo>
                <a:lnTo>
                  <a:pt x="292" y="58"/>
                </a:lnTo>
                <a:lnTo>
                  <a:pt x="278" y="99"/>
                </a:lnTo>
                <a:lnTo>
                  <a:pt x="327" y="148"/>
                </a:lnTo>
                <a:lnTo>
                  <a:pt x="297" y="183"/>
                </a:lnTo>
                <a:lnTo>
                  <a:pt x="333" y="245"/>
                </a:lnTo>
                <a:lnTo>
                  <a:pt x="319" y="302"/>
                </a:lnTo>
                <a:lnTo>
                  <a:pt x="378" y="420"/>
                </a:lnTo>
                <a:lnTo>
                  <a:pt x="245" y="532"/>
                </a:lnTo>
                <a:lnTo>
                  <a:pt x="85" y="567"/>
                </a:lnTo>
                <a:lnTo>
                  <a:pt x="76" y="545"/>
                </a:lnTo>
                <a:lnTo>
                  <a:pt x="25" y="527"/>
                </a:lnTo>
                <a:lnTo>
                  <a:pt x="17" y="418"/>
                </a:lnTo>
                <a:lnTo>
                  <a:pt x="170" y="297"/>
                </a:lnTo>
                <a:lnTo>
                  <a:pt x="120" y="238"/>
                </a:lnTo>
                <a:lnTo>
                  <a:pt x="102" y="119"/>
                </a:lnTo>
                <a:lnTo>
                  <a:pt x="0" y="58"/>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31" name="Freeform 69"/>
          <p:cNvSpPr>
            <a:spLocks noChangeAspect="1"/>
          </p:cNvSpPr>
          <p:nvPr/>
        </p:nvSpPr>
        <p:spPr bwMode="gray">
          <a:xfrm>
            <a:off x="1402631" y="3173078"/>
            <a:ext cx="435255" cy="455472"/>
          </a:xfrm>
          <a:custGeom>
            <a:avLst/>
            <a:gdLst>
              <a:gd name="T0" fmla="*/ 0 w 438"/>
              <a:gd name="T1" fmla="*/ 2147483647 h 380"/>
              <a:gd name="T2" fmla="*/ 2147483647 w 438"/>
              <a:gd name="T3" fmla="*/ 2147483647 h 380"/>
              <a:gd name="T4" fmla="*/ 2147483647 w 438"/>
              <a:gd name="T5" fmla="*/ 2147483647 h 380"/>
              <a:gd name="T6" fmla="*/ 2147483647 w 438"/>
              <a:gd name="T7" fmla="*/ 2147483647 h 380"/>
              <a:gd name="T8" fmla="*/ 2147483647 w 438"/>
              <a:gd name="T9" fmla="*/ 2147483647 h 380"/>
              <a:gd name="T10" fmla="*/ 2147483647 w 438"/>
              <a:gd name="T11" fmla="*/ 2147483647 h 380"/>
              <a:gd name="T12" fmla="*/ 2147483647 w 438"/>
              <a:gd name="T13" fmla="*/ 2147483647 h 380"/>
              <a:gd name="T14" fmla="*/ 2147483647 w 438"/>
              <a:gd name="T15" fmla="*/ 2147483647 h 380"/>
              <a:gd name="T16" fmla="*/ 2147483647 w 438"/>
              <a:gd name="T17" fmla="*/ 2147483647 h 380"/>
              <a:gd name="T18" fmla="*/ 2147483647 w 438"/>
              <a:gd name="T19" fmla="*/ 2147483647 h 380"/>
              <a:gd name="T20" fmla="*/ 2147483647 w 438"/>
              <a:gd name="T21" fmla="*/ 2147483647 h 380"/>
              <a:gd name="T22" fmla="*/ 2147483647 w 438"/>
              <a:gd name="T23" fmla="*/ 2147483647 h 380"/>
              <a:gd name="T24" fmla="*/ 2147483647 w 438"/>
              <a:gd name="T25" fmla="*/ 2147483647 h 380"/>
              <a:gd name="T26" fmla="*/ 2147483647 w 438"/>
              <a:gd name="T27" fmla="*/ 2147483647 h 380"/>
              <a:gd name="T28" fmla="*/ 2147483647 w 438"/>
              <a:gd name="T29" fmla="*/ 2147483647 h 380"/>
              <a:gd name="T30" fmla="*/ 2147483647 w 438"/>
              <a:gd name="T31" fmla="*/ 2147483647 h 380"/>
              <a:gd name="T32" fmla="*/ 2147483647 w 438"/>
              <a:gd name="T33" fmla="*/ 2147483647 h 380"/>
              <a:gd name="T34" fmla="*/ 2147483647 w 438"/>
              <a:gd name="T35" fmla="*/ 2147483647 h 380"/>
              <a:gd name="T36" fmla="*/ 2147483647 w 438"/>
              <a:gd name="T37" fmla="*/ 2147483647 h 380"/>
              <a:gd name="T38" fmla="*/ 2147483647 w 438"/>
              <a:gd name="T39" fmla="*/ 2147483647 h 380"/>
              <a:gd name="T40" fmla="*/ 2147483647 w 438"/>
              <a:gd name="T41" fmla="*/ 2147483647 h 380"/>
              <a:gd name="T42" fmla="*/ 2147483647 w 438"/>
              <a:gd name="T43" fmla="*/ 0 h 380"/>
              <a:gd name="T44" fmla="*/ 2147483647 w 438"/>
              <a:gd name="T45" fmla="*/ 2147483647 h 380"/>
              <a:gd name="T46" fmla="*/ 2147483647 w 438"/>
              <a:gd name="T47" fmla="*/ 2147483647 h 380"/>
              <a:gd name="T48" fmla="*/ 2147483647 w 438"/>
              <a:gd name="T49" fmla="*/ 2147483647 h 380"/>
              <a:gd name="T50" fmla="*/ 2147483647 w 438"/>
              <a:gd name="T51" fmla="*/ 2147483647 h 380"/>
              <a:gd name="T52" fmla="*/ 0 w 438"/>
              <a:gd name="T53" fmla="*/ 2147483647 h 38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38"/>
              <a:gd name="T82" fmla="*/ 0 h 380"/>
              <a:gd name="T83" fmla="*/ 438 w 438"/>
              <a:gd name="T84" fmla="*/ 380 h 38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38" h="380">
                <a:moveTo>
                  <a:pt x="0" y="117"/>
                </a:moveTo>
                <a:lnTo>
                  <a:pt x="15" y="150"/>
                </a:lnTo>
                <a:lnTo>
                  <a:pt x="105" y="173"/>
                </a:lnTo>
                <a:lnTo>
                  <a:pt x="91" y="191"/>
                </a:lnTo>
                <a:lnTo>
                  <a:pt x="124" y="216"/>
                </a:lnTo>
                <a:lnTo>
                  <a:pt x="138" y="258"/>
                </a:lnTo>
                <a:lnTo>
                  <a:pt x="99" y="338"/>
                </a:lnTo>
                <a:lnTo>
                  <a:pt x="208" y="370"/>
                </a:lnTo>
                <a:lnTo>
                  <a:pt x="219" y="373"/>
                </a:lnTo>
                <a:lnTo>
                  <a:pt x="270" y="380"/>
                </a:lnTo>
                <a:lnTo>
                  <a:pt x="270" y="348"/>
                </a:lnTo>
                <a:lnTo>
                  <a:pt x="300" y="331"/>
                </a:lnTo>
                <a:lnTo>
                  <a:pt x="372" y="351"/>
                </a:lnTo>
                <a:lnTo>
                  <a:pt x="418" y="320"/>
                </a:lnTo>
                <a:lnTo>
                  <a:pt x="390" y="273"/>
                </a:lnTo>
                <a:lnTo>
                  <a:pt x="401" y="229"/>
                </a:lnTo>
                <a:lnTo>
                  <a:pt x="367" y="205"/>
                </a:lnTo>
                <a:lnTo>
                  <a:pt x="418" y="153"/>
                </a:lnTo>
                <a:lnTo>
                  <a:pt x="438" y="97"/>
                </a:lnTo>
                <a:lnTo>
                  <a:pt x="373" y="73"/>
                </a:lnTo>
                <a:lnTo>
                  <a:pt x="356" y="66"/>
                </a:lnTo>
                <a:lnTo>
                  <a:pt x="257" y="0"/>
                </a:lnTo>
                <a:lnTo>
                  <a:pt x="223" y="13"/>
                </a:lnTo>
                <a:lnTo>
                  <a:pt x="182" y="75"/>
                </a:lnTo>
                <a:lnTo>
                  <a:pt x="98" y="64"/>
                </a:lnTo>
                <a:lnTo>
                  <a:pt x="110" y="114"/>
                </a:lnTo>
                <a:lnTo>
                  <a:pt x="0" y="117"/>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32" name="Freeform 70"/>
          <p:cNvSpPr>
            <a:spLocks noChangeAspect="1"/>
          </p:cNvSpPr>
          <p:nvPr/>
        </p:nvSpPr>
        <p:spPr bwMode="gray">
          <a:xfrm>
            <a:off x="1854789" y="3594218"/>
            <a:ext cx="25355" cy="86975"/>
          </a:xfrm>
          <a:custGeom>
            <a:avLst/>
            <a:gdLst>
              <a:gd name="T0" fmla="*/ 0 w 27"/>
              <a:gd name="T1" fmla="*/ 2147483647 h 71"/>
              <a:gd name="T2" fmla="*/ 2147483647 w 27"/>
              <a:gd name="T3" fmla="*/ 2147483647 h 71"/>
              <a:gd name="T4" fmla="*/ 2147483647 w 27"/>
              <a:gd name="T5" fmla="*/ 0 h 71"/>
              <a:gd name="T6" fmla="*/ 0 w 27"/>
              <a:gd name="T7" fmla="*/ 2147483647 h 71"/>
              <a:gd name="T8" fmla="*/ 0 60000 65536"/>
              <a:gd name="T9" fmla="*/ 0 60000 65536"/>
              <a:gd name="T10" fmla="*/ 0 60000 65536"/>
              <a:gd name="T11" fmla="*/ 0 60000 65536"/>
              <a:gd name="T12" fmla="*/ 0 w 27"/>
              <a:gd name="T13" fmla="*/ 0 h 71"/>
              <a:gd name="T14" fmla="*/ 27 w 27"/>
              <a:gd name="T15" fmla="*/ 71 h 71"/>
            </a:gdLst>
            <a:ahLst/>
            <a:cxnLst>
              <a:cxn ang="T8">
                <a:pos x="T0" y="T1"/>
              </a:cxn>
              <a:cxn ang="T9">
                <a:pos x="T2" y="T3"/>
              </a:cxn>
              <a:cxn ang="T10">
                <a:pos x="T4" y="T5"/>
              </a:cxn>
              <a:cxn ang="T11">
                <a:pos x="T6" y="T7"/>
              </a:cxn>
            </a:cxnLst>
            <a:rect l="T12" t="T13" r="T14" b="T15"/>
            <a:pathLst>
              <a:path w="27" h="71">
                <a:moveTo>
                  <a:pt x="0" y="36"/>
                </a:moveTo>
                <a:lnTo>
                  <a:pt x="25" y="71"/>
                </a:lnTo>
                <a:lnTo>
                  <a:pt x="27" y="0"/>
                </a:lnTo>
                <a:lnTo>
                  <a:pt x="0" y="3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33" name="Freeform 72"/>
          <p:cNvSpPr>
            <a:spLocks noChangeAspect="1"/>
          </p:cNvSpPr>
          <p:nvPr/>
        </p:nvSpPr>
        <p:spPr bwMode="gray">
          <a:xfrm>
            <a:off x="1761822" y="2964795"/>
            <a:ext cx="300030" cy="402830"/>
          </a:xfrm>
          <a:custGeom>
            <a:avLst/>
            <a:gdLst>
              <a:gd name="T0" fmla="*/ 0 w 302"/>
              <a:gd name="T1" fmla="*/ 2147483647 h 335"/>
              <a:gd name="T2" fmla="*/ 2147483647 w 302"/>
              <a:gd name="T3" fmla="*/ 2147483647 h 335"/>
              <a:gd name="T4" fmla="*/ 2147483647 w 302"/>
              <a:gd name="T5" fmla="*/ 2147483647 h 335"/>
              <a:gd name="T6" fmla="*/ 2147483647 w 302"/>
              <a:gd name="T7" fmla="*/ 2147483647 h 335"/>
              <a:gd name="T8" fmla="*/ 2147483647 w 302"/>
              <a:gd name="T9" fmla="*/ 2147483647 h 335"/>
              <a:gd name="T10" fmla="*/ 2147483647 w 302"/>
              <a:gd name="T11" fmla="*/ 2147483647 h 335"/>
              <a:gd name="T12" fmla="*/ 2147483647 w 302"/>
              <a:gd name="T13" fmla="*/ 2147483647 h 335"/>
              <a:gd name="T14" fmla="*/ 2147483647 w 302"/>
              <a:gd name="T15" fmla="*/ 2147483647 h 335"/>
              <a:gd name="T16" fmla="*/ 2147483647 w 302"/>
              <a:gd name="T17" fmla="*/ 2147483647 h 335"/>
              <a:gd name="T18" fmla="*/ 2147483647 w 302"/>
              <a:gd name="T19" fmla="*/ 2147483647 h 335"/>
              <a:gd name="T20" fmla="*/ 2147483647 w 302"/>
              <a:gd name="T21" fmla="*/ 2147483647 h 335"/>
              <a:gd name="T22" fmla="*/ 2147483647 w 302"/>
              <a:gd name="T23" fmla="*/ 2147483647 h 335"/>
              <a:gd name="T24" fmla="*/ 2147483647 w 302"/>
              <a:gd name="T25" fmla="*/ 2147483647 h 335"/>
              <a:gd name="T26" fmla="*/ 2147483647 w 302"/>
              <a:gd name="T27" fmla="*/ 2147483647 h 335"/>
              <a:gd name="T28" fmla="*/ 2147483647 w 302"/>
              <a:gd name="T29" fmla="*/ 2147483647 h 335"/>
              <a:gd name="T30" fmla="*/ 2147483647 w 302"/>
              <a:gd name="T31" fmla="*/ 2147483647 h 335"/>
              <a:gd name="T32" fmla="*/ 2147483647 w 302"/>
              <a:gd name="T33" fmla="*/ 0 h 335"/>
              <a:gd name="T34" fmla="*/ 2147483647 w 302"/>
              <a:gd name="T35" fmla="*/ 0 h 335"/>
              <a:gd name="T36" fmla="*/ 2147483647 w 302"/>
              <a:gd name="T37" fmla="*/ 2147483647 h 335"/>
              <a:gd name="T38" fmla="*/ 2147483647 w 302"/>
              <a:gd name="T39" fmla="*/ 2147483647 h 335"/>
              <a:gd name="T40" fmla="*/ 2147483647 w 302"/>
              <a:gd name="T41" fmla="*/ 2147483647 h 335"/>
              <a:gd name="T42" fmla="*/ 2147483647 w 302"/>
              <a:gd name="T43" fmla="*/ 2147483647 h 335"/>
              <a:gd name="T44" fmla="*/ 0 w 302"/>
              <a:gd name="T45" fmla="*/ 2147483647 h 33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2"/>
              <a:gd name="T70" fmla="*/ 0 h 335"/>
              <a:gd name="T71" fmla="*/ 302 w 302"/>
              <a:gd name="T72" fmla="*/ 335 h 33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2" h="335">
                <a:moveTo>
                  <a:pt x="0" y="138"/>
                </a:moveTo>
                <a:lnTo>
                  <a:pt x="2" y="192"/>
                </a:lnTo>
                <a:lnTo>
                  <a:pt x="4" y="217"/>
                </a:lnTo>
                <a:lnTo>
                  <a:pt x="8" y="247"/>
                </a:lnTo>
                <a:lnTo>
                  <a:pt x="73" y="271"/>
                </a:lnTo>
                <a:lnTo>
                  <a:pt x="53" y="327"/>
                </a:lnTo>
                <a:lnTo>
                  <a:pt x="121" y="335"/>
                </a:lnTo>
                <a:lnTo>
                  <a:pt x="237" y="333"/>
                </a:lnTo>
                <a:lnTo>
                  <a:pt x="269" y="280"/>
                </a:lnTo>
                <a:lnTo>
                  <a:pt x="206" y="210"/>
                </a:lnTo>
                <a:lnTo>
                  <a:pt x="282" y="173"/>
                </a:lnTo>
                <a:lnTo>
                  <a:pt x="302" y="184"/>
                </a:lnTo>
                <a:lnTo>
                  <a:pt x="282" y="51"/>
                </a:lnTo>
                <a:lnTo>
                  <a:pt x="226" y="18"/>
                </a:lnTo>
                <a:lnTo>
                  <a:pt x="165" y="40"/>
                </a:lnTo>
                <a:lnTo>
                  <a:pt x="173" y="25"/>
                </a:lnTo>
                <a:lnTo>
                  <a:pt x="121" y="0"/>
                </a:lnTo>
                <a:lnTo>
                  <a:pt x="93" y="0"/>
                </a:lnTo>
                <a:lnTo>
                  <a:pt x="91" y="73"/>
                </a:lnTo>
                <a:lnTo>
                  <a:pt x="60" y="53"/>
                </a:lnTo>
                <a:lnTo>
                  <a:pt x="41" y="77"/>
                </a:lnTo>
                <a:lnTo>
                  <a:pt x="36" y="121"/>
                </a:lnTo>
                <a:lnTo>
                  <a:pt x="0" y="138"/>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34" name="Freeform 73"/>
          <p:cNvSpPr>
            <a:spLocks noChangeAspect="1"/>
          </p:cNvSpPr>
          <p:nvPr/>
        </p:nvSpPr>
        <p:spPr bwMode="gray">
          <a:xfrm>
            <a:off x="2252012" y="3658305"/>
            <a:ext cx="219741" cy="258635"/>
          </a:xfrm>
          <a:custGeom>
            <a:avLst/>
            <a:gdLst>
              <a:gd name="T0" fmla="*/ 0 w 216"/>
              <a:gd name="T1" fmla="*/ 2147483647 h 216"/>
              <a:gd name="T2" fmla="*/ 2147483647 w 216"/>
              <a:gd name="T3" fmla="*/ 2147483647 h 216"/>
              <a:gd name="T4" fmla="*/ 2147483647 w 216"/>
              <a:gd name="T5" fmla="*/ 2147483647 h 216"/>
              <a:gd name="T6" fmla="*/ 2147483647 w 216"/>
              <a:gd name="T7" fmla="*/ 2147483647 h 216"/>
              <a:gd name="T8" fmla="*/ 2147483647 w 216"/>
              <a:gd name="T9" fmla="*/ 0 h 216"/>
              <a:gd name="T10" fmla="*/ 2147483647 w 216"/>
              <a:gd name="T11" fmla="*/ 2147483647 h 216"/>
              <a:gd name="T12" fmla="*/ 2147483647 w 216"/>
              <a:gd name="T13" fmla="*/ 2147483647 h 216"/>
              <a:gd name="T14" fmla="*/ 2147483647 w 216"/>
              <a:gd name="T15" fmla="*/ 2147483647 h 216"/>
              <a:gd name="T16" fmla="*/ 2147483647 w 216"/>
              <a:gd name="T17" fmla="*/ 2147483647 h 216"/>
              <a:gd name="T18" fmla="*/ 2147483647 w 216"/>
              <a:gd name="T19" fmla="*/ 2147483647 h 216"/>
              <a:gd name="T20" fmla="*/ 2147483647 w 216"/>
              <a:gd name="T21" fmla="*/ 2147483647 h 216"/>
              <a:gd name="T22" fmla="*/ 2147483647 w 216"/>
              <a:gd name="T23" fmla="*/ 2147483647 h 216"/>
              <a:gd name="T24" fmla="*/ 2147483647 w 216"/>
              <a:gd name="T25" fmla="*/ 2147483647 h 216"/>
              <a:gd name="T26" fmla="*/ 2147483647 w 216"/>
              <a:gd name="T27" fmla="*/ 2147483647 h 216"/>
              <a:gd name="T28" fmla="*/ 2147483647 w 216"/>
              <a:gd name="T29" fmla="*/ 2147483647 h 216"/>
              <a:gd name="T30" fmla="*/ 2147483647 w 216"/>
              <a:gd name="T31" fmla="*/ 2147483647 h 216"/>
              <a:gd name="T32" fmla="*/ 2147483647 w 216"/>
              <a:gd name="T33" fmla="*/ 2147483647 h 216"/>
              <a:gd name="T34" fmla="*/ 2147483647 w 216"/>
              <a:gd name="T35" fmla="*/ 2147483647 h 216"/>
              <a:gd name="T36" fmla="*/ 2147483647 w 216"/>
              <a:gd name="T37" fmla="*/ 2147483647 h 216"/>
              <a:gd name="T38" fmla="*/ 0 w 216"/>
              <a:gd name="T39" fmla="*/ 2147483647 h 2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
              <a:gd name="T61" fmla="*/ 0 h 216"/>
              <a:gd name="T62" fmla="*/ 216 w 216"/>
              <a:gd name="T63" fmla="*/ 216 h 2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 h="216">
                <a:moveTo>
                  <a:pt x="0" y="87"/>
                </a:moveTo>
                <a:lnTo>
                  <a:pt x="29" y="38"/>
                </a:lnTo>
                <a:lnTo>
                  <a:pt x="98" y="19"/>
                </a:lnTo>
                <a:lnTo>
                  <a:pt x="183" y="21"/>
                </a:lnTo>
                <a:lnTo>
                  <a:pt x="216" y="0"/>
                </a:lnTo>
                <a:lnTo>
                  <a:pt x="205" y="45"/>
                </a:lnTo>
                <a:lnTo>
                  <a:pt x="146" y="35"/>
                </a:lnTo>
                <a:lnTo>
                  <a:pt x="116" y="73"/>
                </a:lnTo>
                <a:lnTo>
                  <a:pt x="85" y="52"/>
                </a:lnTo>
                <a:lnTo>
                  <a:pt x="107" y="110"/>
                </a:lnTo>
                <a:lnTo>
                  <a:pt x="79" y="121"/>
                </a:lnTo>
                <a:lnTo>
                  <a:pt x="133" y="145"/>
                </a:lnTo>
                <a:lnTo>
                  <a:pt x="133" y="169"/>
                </a:lnTo>
                <a:lnTo>
                  <a:pt x="89" y="175"/>
                </a:lnTo>
                <a:lnTo>
                  <a:pt x="104" y="216"/>
                </a:lnTo>
                <a:lnTo>
                  <a:pt x="51" y="203"/>
                </a:lnTo>
                <a:lnTo>
                  <a:pt x="35" y="164"/>
                </a:lnTo>
                <a:lnTo>
                  <a:pt x="105" y="148"/>
                </a:lnTo>
                <a:lnTo>
                  <a:pt x="35" y="142"/>
                </a:lnTo>
                <a:lnTo>
                  <a:pt x="0" y="87"/>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35" name="Freeform 74"/>
          <p:cNvSpPr>
            <a:spLocks noChangeAspect="1"/>
          </p:cNvSpPr>
          <p:nvPr/>
        </p:nvSpPr>
        <p:spPr bwMode="gray">
          <a:xfrm>
            <a:off x="2372448" y="3960427"/>
            <a:ext cx="99305" cy="13733"/>
          </a:xfrm>
          <a:custGeom>
            <a:avLst/>
            <a:gdLst>
              <a:gd name="T0" fmla="*/ 0 w 101"/>
              <a:gd name="T1" fmla="*/ 2147483647 h 14"/>
              <a:gd name="T2" fmla="*/ 2147483647 w 101"/>
              <a:gd name="T3" fmla="*/ 0 h 14"/>
              <a:gd name="T4" fmla="*/ 2147483647 w 101"/>
              <a:gd name="T5" fmla="*/ 2147483647 h 14"/>
              <a:gd name="T6" fmla="*/ 2147483647 w 101"/>
              <a:gd name="T7" fmla="*/ 2147483647 h 14"/>
              <a:gd name="T8" fmla="*/ 0 w 101"/>
              <a:gd name="T9" fmla="*/ 2147483647 h 14"/>
              <a:gd name="T10" fmla="*/ 0 60000 65536"/>
              <a:gd name="T11" fmla="*/ 0 60000 65536"/>
              <a:gd name="T12" fmla="*/ 0 60000 65536"/>
              <a:gd name="T13" fmla="*/ 0 60000 65536"/>
              <a:gd name="T14" fmla="*/ 0 60000 65536"/>
              <a:gd name="T15" fmla="*/ 0 w 101"/>
              <a:gd name="T16" fmla="*/ 0 h 14"/>
              <a:gd name="T17" fmla="*/ 101 w 101"/>
              <a:gd name="T18" fmla="*/ 14 h 14"/>
            </a:gdLst>
            <a:ahLst/>
            <a:cxnLst>
              <a:cxn ang="T10">
                <a:pos x="T0" y="T1"/>
              </a:cxn>
              <a:cxn ang="T11">
                <a:pos x="T2" y="T3"/>
              </a:cxn>
              <a:cxn ang="T12">
                <a:pos x="T4" y="T5"/>
              </a:cxn>
              <a:cxn ang="T13">
                <a:pos x="T6" y="T7"/>
              </a:cxn>
              <a:cxn ang="T14">
                <a:pos x="T8" y="T9"/>
              </a:cxn>
            </a:cxnLst>
            <a:rect l="T15" t="T16" r="T17" b="T18"/>
            <a:pathLst>
              <a:path w="101" h="14">
                <a:moveTo>
                  <a:pt x="0" y="14"/>
                </a:moveTo>
                <a:lnTo>
                  <a:pt x="8" y="0"/>
                </a:lnTo>
                <a:lnTo>
                  <a:pt x="101" y="14"/>
                </a:lnTo>
                <a:lnTo>
                  <a:pt x="33" y="14"/>
                </a:lnTo>
                <a:lnTo>
                  <a:pt x="0" y="14"/>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36" name="Freeform 80"/>
          <p:cNvSpPr>
            <a:spLocks noChangeAspect="1"/>
          </p:cNvSpPr>
          <p:nvPr/>
        </p:nvSpPr>
        <p:spPr bwMode="gray">
          <a:xfrm>
            <a:off x="2114675" y="3310406"/>
            <a:ext cx="226079" cy="146484"/>
          </a:xfrm>
          <a:custGeom>
            <a:avLst/>
            <a:gdLst>
              <a:gd name="T0" fmla="*/ 0 w 232"/>
              <a:gd name="T1" fmla="*/ 2147483647 h 121"/>
              <a:gd name="T2" fmla="*/ 2147483647 w 232"/>
              <a:gd name="T3" fmla="*/ 2147483647 h 121"/>
              <a:gd name="T4" fmla="*/ 2147483647 w 232"/>
              <a:gd name="T5" fmla="*/ 2147483647 h 121"/>
              <a:gd name="T6" fmla="*/ 2147483647 w 232"/>
              <a:gd name="T7" fmla="*/ 0 h 121"/>
              <a:gd name="T8" fmla="*/ 2147483647 w 232"/>
              <a:gd name="T9" fmla="*/ 2147483647 h 121"/>
              <a:gd name="T10" fmla="*/ 2147483647 w 232"/>
              <a:gd name="T11" fmla="*/ 2147483647 h 121"/>
              <a:gd name="T12" fmla="*/ 2147483647 w 232"/>
              <a:gd name="T13" fmla="*/ 2147483647 h 121"/>
              <a:gd name="T14" fmla="*/ 2147483647 w 232"/>
              <a:gd name="T15" fmla="*/ 2147483647 h 121"/>
              <a:gd name="T16" fmla="*/ 0 w 232"/>
              <a:gd name="T17" fmla="*/ 2147483647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2"/>
              <a:gd name="T28" fmla="*/ 0 h 121"/>
              <a:gd name="T29" fmla="*/ 232 w 232"/>
              <a:gd name="T30" fmla="*/ 121 h 1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2" h="121">
                <a:moveTo>
                  <a:pt x="0" y="71"/>
                </a:moveTo>
                <a:lnTo>
                  <a:pt x="35" y="20"/>
                </a:lnTo>
                <a:lnTo>
                  <a:pt x="82" y="35"/>
                </a:lnTo>
                <a:lnTo>
                  <a:pt x="162" y="0"/>
                </a:lnTo>
                <a:lnTo>
                  <a:pt x="209" y="8"/>
                </a:lnTo>
                <a:lnTo>
                  <a:pt x="232" y="26"/>
                </a:lnTo>
                <a:lnTo>
                  <a:pt x="143" y="107"/>
                </a:lnTo>
                <a:lnTo>
                  <a:pt x="67" y="121"/>
                </a:lnTo>
                <a:lnTo>
                  <a:pt x="0" y="71"/>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37" name="Freeform 82"/>
          <p:cNvSpPr>
            <a:spLocks noChangeAspect="1"/>
          </p:cNvSpPr>
          <p:nvPr/>
        </p:nvSpPr>
        <p:spPr bwMode="gray">
          <a:xfrm>
            <a:off x="3906405" y="3935250"/>
            <a:ext cx="1009961" cy="1213068"/>
          </a:xfrm>
          <a:custGeom>
            <a:avLst/>
            <a:gdLst>
              <a:gd name="T0" fmla="*/ 0 w 1020"/>
              <a:gd name="T1" fmla="*/ 2147483647 h 1015"/>
              <a:gd name="T2" fmla="*/ 2147483647 w 1020"/>
              <a:gd name="T3" fmla="*/ 2147483647 h 1015"/>
              <a:gd name="T4" fmla="*/ 2147483647 w 1020"/>
              <a:gd name="T5" fmla="*/ 2147483647 h 1015"/>
              <a:gd name="T6" fmla="*/ 2147483647 w 1020"/>
              <a:gd name="T7" fmla="*/ 2147483647 h 1015"/>
              <a:gd name="T8" fmla="*/ 2147483647 w 1020"/>
              <a:gd name="T9" fmla="*/ 2147483647 h 1015"/>
              <a:gd name="T10" fmla="*/ 2147483647 w 1020"/>
              <a:gd name="T11" fmla="*/ 2147483647 h 1015"/>
              <a:gd name="T12" fmla="*/ 2147483647 w 1020"/>
              <a:gd name="T13" fmla="*/ 2147483647 h 1015"/>
              <a:gd name="T14" fmla="*/ 2147483647 w 1020"/>
              <a:gd name="T15" fmla="*/ 2147483647 h 1015"/>
              <a:gd name="T16" fmla="*/ 2147483647 w 1020"/>
              <a:gd name="T17" fmla="*/ 2147483647 h 1015"/>
              <a:gd name="T18" fmla="*/ 2147483647 w 1020"/>
              <a:gd name="T19" fmla="*/ 2147483647 h 1015"/>
              <a:gd name="T20" fmla="*/ 2147483647 w 1020"/>
              <a:gd name="T21" fmla="*/ 2147483647 h 1015"/>
              <a:gd name="T22" fmla="*/ 2147483647 w 1020"/>
              <a:gd name="T23" fmla="*/ 2147483647 h 1015"/>
              <a:gd name="T24" fmla="*/ 2147483647 w 1020"/>
              <a:gd name="T25" fmla="*/ 2147483647 h 1015"/>
              <a:gd name="T26" fmla="*/ 2147483647 w 1020"/>
              <a:gd name="T27" fmla="*/ 0 h 1015"/>
              <a:gd name="T28" fmla="*/ 2147483647 w 1020"/>
              <a:gd name="T29" fmla="*/ 2147483647 h 1015"/>
              <a:gd name="T30" fmla="*/ 2147483647 w 1020"/>
              <a:gd name="T31" fmla="*/ 2147483647 h 1015"/>
              <a:gd name="T32" fmla="*/ 2147483647 w 1020"/>
              <a:gd name="T33" fmla="*/ 2147483647 h 1015"/>
              <a:gd name="T34" fmla="*/ 2147483647 w 1020"/>
              <a:gd name="T35" fmla="*/ 2147483647 h 1015"/>
              <a:gd name="T36" fmla="*/ 2147483647 w 1020"/>
              <a:gd name="T37" fmla="*/ 2147483647 h 1015"/>
              <a:gd name="T38" fmla="*/ 2147483647 w 1020"/>
              <a:gd name="T39" fmla="*/ 2147483647 h 1015"/>
              <a:gd name="T40" fmla="*/ 2147483647 w 1020"/>
              <a:gd name="T41" fmla="*/ 2147483647 h 1015"/>
              <a:gd name="T42" fmla="*/ 2147483647 w 1020"/>
              <a:gd name="T43" fmla="*/ 2147483647 h 1015"/>
              <a:gd name="T44" fmla="*/ 2147483647 w 1020"/>
              <a:gd name="T45" fmla="*/ 2147483647 h 1015"/>
              <a:gd name="T46" fmla="*/ 2147483647 w 1020"/>
              <a:gd name="T47" fmla="*/ 2147483647 h 1015"/>
              <a:gd name="T48" fmla="*/ 2147483647 w 1020"/>
              <a:gd name="T49" fmla="*/ 2147483647 h 1015"/>
              <a:gd name="T50" fmla="*/ 2147483647 w 1020"/>
              <a:gd name="T51" fmla="*/ 2147483647 h 1015"/>
              <a:gd name="T52" fmla="*/ 2147483647 w 1020"/>
              <a:gd name="T53" fmla="*/ 2147483647 h 1015"/>
              <a:gd name="T54" fmla="*/ 2147483647 w 1020"/>
              <a:gd name="T55" fmla="*/ 2147483647 h 1015"/>
              <a:gd name="T56" fmla="*/ 2147483647 w 1020"/>
              <a:gd name="T57" fmla="*/ 2147483647 h 1015"/>
              <a:gd name="T58" fmla="*/ 2147483647 w 1020"/>
              <a:gd name="T59" fmla="*/ 2147483647 h 1015"/>
              <a:gd name="T60" fmla="*/ 2147483647 w 1020"/>
              <a:gd name="T61" fmla="*/ 2147483647 h 1015"/>
              <a:gd name="T62" fmla="*/ 2147483647 w 1020"/>
              <a:gd name="T63" fmla="*/ 2147483647 h 1015"/>
              <a:gd name="T64" fmla="*/ 2147483647 w 1020"/>
              <a:gd name="T65" fmla="*/ 2147483647 h 1015"/>
              <a:gd name="T66" fmla="*/ 2147483647 w 1020"/>
              <a:gd name="T67" fmla="*/ 2147483647 h 1015"/>
              <a:gd name="T68" fmla="*/ 2147483647 w 1020"/>
              <a:gd name="T69" fmla="*/ 2147483647 h 1015"/>
              <a:gd name="T70" fmla="*/ 2147483647 w 1020"/>
              <a:gd name="T71" fmla="*/ 2147483647 h 1015"/>
              <a:gd name="T72" fmla="*/ 2147483647 w 1020"/>
              <a:gd name="T73" fmla="*/ 2147483647 h 1015"/>
              <a:gd name="T74" fmla="*/ 2147483647 w 1020"/>
              <a:gd name="T75" fmla="*/ 2147483647 h 1015"/>
              <a:gd name="T76" fmla="*/ 2147483647 w 1020"/>
              <a:gd name="T77" fmla="*/ 2147483647 h 1015"/>
              <a:gd name="T78" fmla="*/ 2147483647 w 1020"/>
              <a:gd name="T79" fmla="*/ 2147483647 h 1015"/>
              <a:gd name="T80" fmla="*/ 2147483647 w 1020"/>
              <a:gd name="T81" fmla="*/ 2147483647 h 1015"/>
              <a:gd name="T82" fmla="*/ 2147483647 w 1020"/>
              <a:gd name="T83" fmla="*/ 2147483647 h 1015"/>
              <a:gd name="T84" fmla="*/ 2147483647 w 1020"/>
              <a:gd name="T85" fmla="*/ 2147483647 h 1015"/>
              <a:gd name="T86" fmla="*/ 2147483647 w 1020"/>
              <a:gd name="T87" fmla="*/ 2147483647 h 1015"/>
              <a:gd name="T88" fmla="*/ 2147483647 w 1020"/>
              <a:gd name="T89" fmla="*/ 2147483647 h 1015"/>
              <a:gd name="T90" fmla="*/ 2147483647 w 1020"/>
              <a:gd name="T91" fmla="*/ 2147483647 h 1015"/>
              <a:gd name="T92" fmla="*/ 2147483647 w 1020"/>
              <a:gd name="T93" fmla="*/ 2147483647 h 1015"/>
              <a:gd name="T94" fmla="*/ 2147483647 w 1020"/>
              <a:gd name="T95" fmla="*/ 2147483647 h 1015"/>
              <a:gd name="T96" fmla="*/ 2147483647 w 1020"/>
              <a:gd name="T97" fmla="*/ 2147483647 h 1015"/>
              <a:gd name="T98" fmla="*/ 2147483647 w 1020"/>
              <a:gd name="T99" fmla="*/ 2147483647 h 1015"/>
              <a:gd name="T100" fmla="*/ 2147483647 w 1020"/>
              <a:gd name="T101" fmla="*/ 2147483647 h 1015"/>
              <a:gd name="T102" fmla="*/ 2147483647 w 1020"/>
              <a:gd name="T103" fmla="*/ 2147483647 h 1015"/>
              <a:gd name="T104" fmla="*/ 2147483647 w 1020"/>
              <a:gd name="T105" fmla="*/ 2147483647 h 1015"/>
              <a:gd name="T106" fmla="*/ 2147483647 w 1020"/>
              <a:gd name="T107" fmla="*/ 2147483647 h 1015"/>
              <a:gd name="T108" fmla="*/ 2147483647 w 1020"/>
              <a:gd name="T109" fmla="*/ 2147483647 h 1015"/>
              <a:gd name="T110" fmla="*/ 2147483647 w 1020"/>
              <a:gd name="T111" fmla="*/ 2147483647 h 1015"/>
              <a:gd name="T112" fmla="*/ 2147483647 w 1020"/>
              <a:gd name="T113" fmla="*/ 2147483647 h 1015"/>
              <a:gd name="T114" fmla="*/ 2147483647 w 1020"/>
              <a:gd name="T115" fmla="*/ 2147483647 h 1015"/>
              <a:gd name="T116" fmla="*/ 2147483647 w 1020"/>
              <a:gd name="T117" fmla="*/ 2147483647 h 1015"/>
              <a:gd name="T118" fmla="*/ 2147483647 w 1020"/>
              <a:gd name="T119" fmla="*/ 2147483647 h 1015"/>
              <a:gd name="T120" fmla="*/ 2147483647 w 1020"/>
              <a:gd name="T121" fmla="*/ 2147483647 h 1015"/>
              <a:gd name="T122" fmla="*/ 0 w 1020"/>
              <a:gd name="T123" fmla="*/ 2147483647 h 101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20"/>
              <a:gd name="T187" fmla="*/ 0 h 1015"/>
              <a:gd name="T188" fmla="*/ 1020 w 1020"/>
              <a:gd name="T189" fmla="*/ 1015 h 101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20" h="1015">
                <a:moveTo>
                  <a:pt x="0" y="462"/>
                </a:moveTo>
                <a:lnTo>
                  <a:pt x="29" y="439"/>
                </a:lnTo>
                <a:lnTo>
                  <a:pt x="107" y="439"/>
                </a:lnTo>
                <a:lnTo>
                  <a:pt x="53" y="333"/>
                </a:lnTo>
                <a:lnTo>
                  <a:pt x="84" y="304"/>
                </a:lnTo>
                <a:lnTo>
                  <a:pt x="131" y="308"/>
                </a:lnTo>
                <a:lnTo>
                  <a:pt x="233" y="192"/>
                </a:lnTo>
                <a:lnTo>
                  <a:pt x="226" y="160"/>
                </a:lnTo>
                <a:lnTo>
                  <a:pt x="253" y="141"/>
                </a:lnTo>
                <a:lnTo>
                  <a:pt x="208" y="106"/>
                </a:lnTo>
                <a:lnTo>
                  <a:pt x="206" y="49"/>
                </a:lnTo>
                <a:lnTo>
                  <a:pt x="305" y="49"/>
                </a:lnTo>
                <a:lnTo>
                  <a:pt x="335" y="22"/>
                </a:lnTo>
                <a:lnTo>
                  <a:pt x="389" y="0"/>
                </a:lnTo>
                <a:lnTo>
                  <a:pt x="427" y="20"/>
                </a:lnTo>
                <a:lnTo>
                  <a:pt x="378" y="79"/>
                </a:lnTo>
                <a:lnTo>
                  <a:pt x="401" y="127"/>
                </a:lnTo>
                <a:lnTo>
                  <a:pt x="363" y="134"/>
                </a:lnTo>
                <a:lnTo>
                  <a:pt x="380" y="194"/>
                </a:lnTo>
                <a:lnTo>
                  <a:pt x="452" y="220"/>
                </a:lnTo>
                <a:lnTo>
                  <a:pt x="418" y="276"/>
                </a:lnTo>
                <a:lnTo>
                  <a:pt x="511" y="329"/>
                </a:lnTo>
                <a:lnTo>
                  <a:pt x="692" y="363"/>
                </a:lnTo>
                <a:lnTo>
                  <a:pt x="696" y="310"/>
                </a:lnTo>
                <a:lnTo>
                  <a:pt x="719" y="304"/>
                </a:lnTo>
                <a:lnTo>
                  <a:pt x="724" y="330"/>
                </a:lnTo>
                <a:lnTo>
                  <a:pt x="737" y="353"/>
                </a:lnTo>
                <a:lnTo>
                  <a:pt x="829" y="343"/>
                </a:lnTo>
                <a:lnTo>
                  <a:pt x="823" y="311"/>
                </a:lnTo>
                <a:lnTo>
                  <a:pt x="972" y="249"/>
                </a:lnTo>
                <a:lnTo>
                  <a:pt x="983" y="286"/>
                </a:lnTo>
                <a:lnTo>
                  <a:pt x="1020" y="300"/>
                </a:lnTo>
                <a:lnTo>
                  <a:pt x="1005" y="337"/>
                </a:lnTo>
                <a:lnTo>
                  <a:pt x="944" y="360"/>
                </a:lnTo>
                <a:lnTo>
                  <a:pt x="853" y="528"/>
                </a:lnTo>
                <a:lnTo>
                  <a:pt x="835" y="461"/>
                </a:lnTo>
                <a:lnTo>
                  <a:pt x="819" y="486"/>
                </a:lnTo>
                <a:lnTo>
                  <a:pt x="797" y="453"/>
                </a:lnTo>
                <a:lnTo>
                  <a:pt x="837" y="412"/>
                </a:lnTo>
                <a:lnTo>
                  <a:pt x="759" y="406"/>
                </a:lnTo>
                <a:lnTo>
                  <a:pt x="709" y="359"/>
                </a:lnTo>
                <a:lnTo>
                  <a:pt x="693" y="385"/>
                </a:lnTo>
                <a:lnTo>
                  <a:pt x="711" y="406"/>
                </a:lnTo>
                <a:lnTo>
                  <a:pt x="687" y="420"/>
                </a:lnTo>
                <a:lnTo>
                  <a:pt x="710" y="442"/>
                </a:lnTo>
                <a:lnTo>
                  <a:pt x="724" y="538"/>
                </a:lnTo>
                <a:lnTo>
                  <a:pt x="693" y="522"/>
                </a:lnTo>
                <a:lnTo>
                  <a:pt x="634" y="598"/>
                </a:lnTo>
                <a:lnTo>
                  <a:pt x="424" y="750"/>
                </a:lnTo>
                <a:lnTo>
                  <a:pt x="409" y="939"/>
                </a:lnTo>
                <a:lnTo>
                  <a:pt x="321" y="1015"/>
                </a:lnTo>
                <a:lnTo>
                  <a:pt x="243" y="869"/>
                </a:lnTo>
                <a:lnTo>
                  <a:pt x="211" y="753"/>
                </a:lnTo>
                <a:lnTo>
                  <a:pt x="183" y="726"/>
                </a:lnTo>
                <a:lnTo>
                  <a:pt x="161" y="516"/>
                </a:lnTo>
                <a:lnTo>
                  <a:pt x="144" y="508"/>
                </a:lnTo>
                <a:lnTo>
                  <a:pt x="132" y="555"/>
                </a:lnTo>
                <a:lnTo>
                  <a:pt x="82" y="567"/>
                </a:lnTo>
                <a:lnTo>
                  <a:pt x="31" y="512"/>
                </a:lnTo>
                <a:lnTo>
                  <a:pt x="80" y="483"/>
                </a:lnTo>
                <a:lnTo>
                  <a:pt x="31" y="494"/>
                </a:lnTo>
                <a:lnTo>
                  <a:pt x="0" y="462"/>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38" name="Freeform 93"/>
          <p:cNvSpPr>
            <a:spLocks noChangeAspect="1"/>
          </p:cNvSpPr>
          <p:nvPr/>
        </p:nvSpPr>
        <p:spPr bwMode="gray">
          <a:xfrm>
            <a:off x="3080265" y="3752145"/>
            <a:ext cx="659222" cy="675199"/>
          </a:xfrm>
          <a:custGeom>
            <a:avLst/>
            <a:gdLst>
              <a:gd name="T0" fmla="*/ 0 w 665"/>
              <a:gd name="T1" fmla="*/ 2147483647 h 567"/>
              <a:gd name="T2" fmla="*/ 2147483647 w 665"/>
              <a:gd name="T3" fmla="*/ 0 h 567"/>
              <a:gd name="T4" fmla="*/ 2147483647 w 665"/>
              <a:gd name="T5" fmla="*/ 2147483647 h 567"/>
              <a:gd name="T6" fmla="*/ 2147483647 w 665"/>
              <a:gd name="T7" fmla="*/ 2147483647 h 567"/>
              <a:gd name="T8" fmla="*/ 2147483647 w 665"/>
              <a:gd name="T9" fmla="*/ 2147483647 h 567"/>
              <a:gd name="T10" fmla="*/ 2147483647 w 665"/>
              <a:gd name="T11" fmla="*/ 2147483647 h 567"/>
              <a:gd name="T12" fmla="*/ 2147483647 w 665"/>
              <a:gd name="T13" fmla="*/ 2147483647 h 567"/>
              <a:gd name="T14" fmla="*/ 2147483647 w 665"/>
              <a:gd name="T15" fmla="*/ 2147483647 h 567"/>
              <a:gd name="T16" fmla="*/ 2147483647 w 665"/>
              <a:gd name="T17" fmla="*/ 2147483647 h 567"/>
              <a:gd name="T18" fmla="*/ 2147483647 w 665"/>
              <a:gd name="T19" fmla="*/ 2147483647 h 567"/>
              <a:gd name="T20" fmla="*/ 2147483647 w 665"/>
              <a:gd name="T21" fmla="*/ 2147483647 h 567"/>
              <a:gd name="T22" fmla="*/ 2147483647 w 665"/>
              <a:gd name="T23" fmla="*/ 2147483647 h 567"/>
              <a:gd name="T24" fmla="*/ 2147483647 w 665"/>
              <a:gd name="T25" fmla="*/ 2147483647 h 567"/>
              <a:gd name="T26" fmla="*/ 2147483647 w 665"/>
              <a:gd name="T27" fmla="*/ 2147483647 h 567"/>
              <a:gd name="T28" fmla="*/ 2147483647 w 665"/>
              <a:gd name="T29" fmla="*/ 2147483647 h 567"/>
              <a:gd name="T30" fmla="*/ 2147483647 w 665"/>
              <a:gd name="T31" fmla="*/ 2147483647 h 567"/>
              <a:gd name="T32" fmla="*/ 2147483647 w 665"/>
              <a:gd name="T33" fmla="*/ 2147483647 h 567"/>
              <a:gd name="T34" fmla="*/ 2147483647 w 665"/>
              <a:gd name="T35" fmla="*/ 2147483647 h 567"/>
              <a:gd name="T36" fmla="*/ 2147483647 w 665"/>
              <a:gd name="T37" fmla="*/ 2147483647 h 567"/>
              <a:gd name="T38" fmla="*/ 2147483647 w 665"/>
              <a:gd name="T39" fmla="*/ 2147483647 h 567"/>
              <a:gd name="T40" fmla="*/ 2147483647 w 665"/>
              <a:gd name="T41" fmla="*/ 2147483647 h 567"/>
              <a:gd name="T42" fmla="*/ 2147483647 w 665"/>
              <a:gd name="T43" fmla="*/ 2147483647 h 567"/>
              <a:gd name="T44" fmla="*/ 2147483647 w 665"/>
              <a:gd name="T45" fmla="*/ 2147483647 h 567"/>
              <a:gd name="T46" fmla="*/ 2147483647 w 665"/>
              <a:gd name="T47" fmla="*/ 2147483647 h 567"/>
              <a:gd name="T48" fmla="*/ 2147483647 w 665"/>
              <a:gd name="T49" fmla="*/ 2147483647 h 567"/>
              <a:gd name="T50" fmla="*/ 2147483647 w 665"/>
              <a:gd name="T51" fmla="*/ 2147483647 h 567"/>
              <a:gd name="T52" fmla="*/ 2147483647 w 665"/>
              <a:gd name="T53" fmla="*/ 2147483647 h 567"/>
              <a:gd name="T54" fmla="*/ 2147483647 w 665"/>
              <a:gd name="T55" fmla="*/ 2147483647 h 567"/>
              <a:gd name="T56" fmla="*/ 2147483647 w 665"/>
              <a:gd name="T57" fmla="*/ 2147483647 h 567"/>
              <a:gd name="T58" fmla="*/ 2147483647 w 665"/>
              <a:gd name="T59" fmla="*/ 2147483647 h 567"/>
              <a:gd name="T60" fmla="*/ 2147483647 w 665"/>
              <a:gd name="T61" fmla="*/ 2147483647 h 567"/>
              <a:gd name="T62" fmla="*/ 0 w 665"/>
              <a:gd name="T63" fmla="*/ 2147483647 h 5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65"/>
              <a:gd name="T97" fmla="*/ 0 h 567"/>
              <a:gd name="T98" fmla="*/ 665 w 665"/>
              <a:gd name="T99" fmla="*/ 567 h 5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65" h="567">
                <a:moveTo>
                  <a:pt x="0" y="18"/>
                </a:moveTo>
                <a:lnTo>
                  <a:pt x="18" y="0"/>
                </a:lnTo>
                <a:lnTo>
                  <a:pt x="69" y="43"/>
                </a:lnTo>
                <a:lnTo>
                  <a:pt x="131" y="9"/>
                </a:lnTo>
                <a:lnTo>
                  <a:pt x="137" y="42"/>
                </a:lnTo>
                <a:lnTo>
                  <a:pt x="166" y="53"/>
                </a:lnTo>
                <a:lnTo>
                  <a:pt x="173" y="91"/>
                </a:lnTo>
                <a:lnTo>
                  <a:pt x="265" y="130"/>
                </a:lnTo>
                <a:lnTo>
                  <a:pt x="349" y="119"/>
                </a:lnTo>
                <a:lnTo>
                  <a:pt x="342" y="97"/>
                </a:lnTo>
                <a:lnTo>
                  <a:pt x="450" y="60"/>
                </a:lnTo>
                <a:lnTo>
                  <a:pt x="591" y="125"/>
                </a:lnTo>
                <a:lnTo>
                  <a:pt x="596" y="160"/>
                </a:lnTo>
                <a:lnTo>
                  <a:pt x="572" y="226"/>
                </a:lnTo>
                <a:lnTo>
                  <a:pt x="575" y="317"/>
                </a:lnTo>
                <a:lnTo>
                  <a:pt x="612" y="345"/>
                </a:lnTo>
                <a:lnTo>
                  <a:pt x="583" y="391"/>
                </a:lnTo>
                <a:lnTo>
                  <a:pt x="665" y="494"/>
                </a:lnTo>
                <a:lnTo>
                  <a:pt x="611" y="567"/>
                </a:lnTo>
                <a:lnTo>
                  <a:pt x="462" y="543"/>
                </a:lnTo>
                <a:lnTo>
                  <a:pt x="428" y="495"/>
                </a:lnTo>
                <a:lnTo>
                  <a:pt x="327" y="511"/>
                </a:lnTo>
                <a:lnTo>
                  <a:pt x="252" y="467"/>
                </a:lnTo>
                <a:lnTo>
                  <a:pt x="202" y="380"/>
                </a:lnTo>
                <a:lnTo>
                  <a:pt x="164" y="366"/>
                </a:lnTo>
                <a:lnTo>
                  <a:pt x="155" y="384"/>
                </a:lnTo>
                <a:lnTo>
                  <a:pt x="108" y="296"/>
                </a:lnTo>
                <a:lnTo>
                  <a:pt x="44" y="243"/>
                </a:lnTo>
                <a:lnTo>
                  <a:pt x="74" y="160"/>
                </a:lnTo>
                <a:lnTo>
                  <a:pt x="47" y="150"/>
                </a:lnTo>
                <a:lnTo>
                  <a:pt x="22" y="105"/>
                </a:lnTo>
                <a:lnTo>
                  <a:pt x="0" y="18"/>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39" name="Freeform 94"/>
          <p:cNvSpPr>
            <a:spLocks noChangeAspect="1"/>
          </p:cNvSpPr>
          <p:nvPr/>
        </p:nvSpPr>
        <p:spPr bwMode="gray">
          <a:xfrm>
            <a:off x="2892218" y="3875741"/>
            <a:ext cx="344400" cy="377654"/>
          </a:xfrm>
          <a:custGeom>
            <a:avLst/>
            <a:gdLst>
              <a:gd name="T0" fmla="*/ 0 w 345"/>
              <a:gd name="T1" fmla="*/ 2147483647 h 315"/>
              <a:gd name="T2" fmla="*/ 2147483647 w 345"/>
              <a:gd name="T3" fmla="*/ 2147483647 h 315"/>
              <a:gd name="T4" fmla="*/ 2147483647 w 345"/>
              <a:gd name="T5" fmla="*/ 2147483647 h 315"/>
              <a:gd name="T6" fmla="*/ 2147483647 w 345"/>
              <a:gd name="T7" fmla="*/ 2147483647 h 315"/>
              <a:gd name="T8" fmla="*/ 2147483647 w 345"/>
              <a:gd name="T9" fmla="*/ 2147483647 h 315"/>
              <a:gd name="T10" fmla="*/ 2147483647 w 345"/>
              <a:gd name="T11" fmla="*/ 2147483647 h 315"/>
              <a:gd name="T12" fmla="*/ 2147483647 w 345"/>
              <a:gd name="T13" fmla="*/ 2147483647 h 315"/>
              <a:gd name="T14" fmla="*/ 2147483647 w 345"/>
              <a:gd name="T15" fmla="*/ 2147483647 h 315"/>
              <a:gd name="T16" fmla="*/ 2147483647 w 345"/>
              <a:gd name="T17" fmla="*/ 2147483647 h 315"/>
              <a:gd name="T18" fmla="*/ 2147483647 w 345"/>
              <a:gd name="T19" fmla="*/ 2147483647 h 315"/>
              <a:gd name="T20" fmla="*/ 2147483647 w 345"/>
              <a:gd name="T21" fmla="*/ 2147483647 h 315"/>
              <a:gd name="T22" fmla="*/ 2147483647 w 345"/>
              <a:gd name="T23" fmla="*/ 2147483647 h 315"/>
              <a:gd name="T24" fmla="*/ 2147483647 w 345"/>
              <a:gd name="T25" fmla="*/ 0 h 315"/>
              <a:gd name="T26" fmla="*/ 2147483647 w 345"/>
              <a:gd name="T27" fmla="*/ 2147483647 h 315"/>
              <a:gd name="T28" fmla="*/ 2147483647 w 345"/>
              <a:gd name="T29" fmla="*/ 2147483647 h 315"/>
              <a:gd name="T30" fmla="*/ 2147483647 w 345"/>
              <a:gd name="T31" fmla="*/ 2147483647 h 315"/>
              <a:gd name="T32" fmla="*/ 0 w 345"/>
              <a:gd name="T33" fmla="*/ 2147483647 h 3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5"/>
              <a:gd name="T52" fmla="*/ 0 h 315"/>
              <a:gd name="T53" fmla="*/ 345 w 345"/>
              <a:gd name="T54" fmla="*/ 315 h 3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5" h="315">
                <a:moveTo>
                  <a:pt x="0" y="153"/>
                </a:moveTo>
                <a:lnTo>
                  <a:pt x="17" y="198"/>
                </a:lnTo>
                <a:lnTo>
                  <a:pt x="173" y="268"/>
                </a:lnTo>
                <a:lnTo>
                  <a:pt x="175" y="294"/>
                </a:lnTo>
                <a:lnTo>
                  <a:pt x="211" y="311"/>
                </a:lnTo>
                <a:lnTo>
                  <a:pt x="275" y="315"/>
                </a:lnTo>
                <a:lnTo>
                  <a:pt x="326" y="283"/>
                </a:lnTo>
                <a:lnTo>
                  <a:pt x="345" y="279"/>
                </a:lnTo>
                <a:lnTo>
                  <a:pt x="298" y="191"/>
                </a:lnTo>
                <a:lnTo>
                  <a:pt x="234" y="138"/>
                </a:lnTo>
                <a:lnTo>
                  <a:pt x="264" y="55"/>
                </a:lnTo>
                <a:lnTo>
                  <a:pt x="237" y="45"/>
                </a:lnTo>
                <a:lnTo>
                  <a:pt x="212" y="0"/>
                </a:lnTo>
                <a:lnTo>
                  <a:pt x="135" y="4"/>
                </a:lnTo>
                <a:lnTo>
                  <a:pt x="97" y="32"/>
                </a:lnTo>
                <a:lnTo>
                  <a:pt x="84" y="108"/>
                </a:lnTo>
                <a:lnTo>
                  <a:pt x="0" y="153"/>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40" name="Freeform 95"/>
          <p:cNvSpPr>
            <a:spLocks noChangeAspect="1"/>
          </p:cNvSpPr>
          <p:nvPr/>
        </p:nvSpPr>
        <p:spPr bwMode="gray">
          <a:xfrm>
            <a:off x="1789290" y="3388226"/>
            <a:ext cx="407787" cy="457762"/>
          </a:xfrm>
          <a:custGeom>
            <a:avLst/>
            <a:gdLst>
              <a:gd name="T0" fmla="*/ 0 w 408"/>
              <a:gd name="T1" fmla="*/ 2147483647 h 381"/>
              <a:gd name="T2" fmla="*/ 2147483647 w 408"/>
              <a:gd name="T3" fmla="*/ 2147483647 h 381"/>
              <a:gd name="T4" fmla="*/ 2147483647 w 408"/>
              <a:gd name="T5" fmla="*/ 2147483647 h 381"/>
              <a:gd name="T6" fmla="*/ 2147483647 w 408"/>
              <a:gd name="T7" fmla="*/ 2147483647 h 381"/>
              <a:gd name="T8" fmla="*/ 2147483647 w 408"/>
              <a:gd name="T9" fmla="*/ 2147483647 h 381"/>
              <a:gd name="T10" fmla="*/ 2147483647 w 408"/>
              <a:gd name="T11" fmla="*/ 0 h 381"/>
              <a:gd name="T12" fmla="*/ 2147483647 w 408"/>
              <a:gd name="T13" fmla="*/ 2147483647 h 381"/>
              <a:gd name="T14" fmla="*/ 2147483647 w 408"/>
              <a:gd name="T15" fmla="*/ 2147483647 h 381"/>
              <a:gd name="T16" fmla="*/ 2147483647 w 408"/>
              <a:gd name="T17" fmla="*/ 2147483647 h 381"/>
              <a:gd name="T18" fmla="*/ 2147483647 w 408"/>
              <a:gd name="T19" fmla="*/ 2147483647 h 381"/>
              <a:gd name="T20" fmla="*/ 2147483647 w 408"/>
              <a:gd name="T21" fmla="*/ 2147483647 h 381"/>
              <a:gd name="T22" fmla="*/ 2147483647 w 408"/>
              <a:gd name="T23" fmla="*/ 2147483647 h 381"/>
              <a:gd name="T24" fmla="*/ 2147483647 w 408"/>
              <a:gd name="T25" fmla="*/ 2147483647 h 381"/>
              <a:gd name="T26" fmla="*/ 2147483647 w 408"/>
              <a:gd name="T27" fmla="*/ 2147483647 h 381"/>
              <a:gd name="T28" fmla="*/ 2147483647 w 408"/>
              <a:gd name="T29" fmla="*/ 2147483647 h 381"/>
              <a:gd name="T30" fmla="*/ 2147483647 w 408"/>
              <a:gd name="T31" fmla="*/ 2147483647 h 381"/>
              <a:gd name="T32" fmla="*/ 2147483647 w 408"/>
              <a:gd name="T33" fmla="*/ 2147483647 h 381"/>
              <a:gd name="T34" fmla="*/ 2147483647 w 408"/>
              <a:gd name="T35" fmla="*/ 2147483647 h 381"/>
              <a:gd name="T36" fmla="*/ 2147483647 w 408"/>
              <a:gd name="T37" fmla="*/ 2147483647 h 381"/>
              <a:gd name="T38" fmla="*/ 2147483647 w 408"/>
              <a:gd name="T39" fmla="*/ 2147483647 h 381"/>
              <a:gd name="T40" fmla="*/ 2147483647 w 408"/>
              <a:gd name="T41" fmla="*/ 2147483647 h 381"/>
              <a:gd name="T42" fmla="*/ 2147483647 w 408"/>
              <a:gd name="T43" fmla="*/ 2147483647 h 381"/>
              <a:gd name="T44" fmla="*/ 0 w 408"/>
              <a:gd name="T45" fmla="*/ 2147483647 h 38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08"/>
              <a:gd name="T70" fmla="*/ 0 h 381"/>
              <a:gd name="T71" fmla="*/ 408 w 408"/>
              <a:gd name="T72" fmla="*/ 381 h 38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08" h="381">
                <a:moveTo>
                  <a:pt x="0" y="95"/>
                </a:moveTo>
                <a:lnTo>
                  <a:pt x="11" y="51"/>
                </a:lnTo>
                <a:lnTo>
                  <a:pt x="59" y="30"/>
                </a:lnTo>
                <a:lnTo>
                  <a:pt x="81" y="50"/>
                </a:lnTo>
                <a:lnTo>
                  <a:pt x="130" y="10"/>
                </a:lnTo>
                <a:lnTo>
                  <a:pt x="184" y="0"/>
                </a:lnTo>
                <a:lnTo>
                  <a:pt x="242" y="27"/>
                </a:lnTo>
                <a:lnTo>
                  <a:pt x="242" y="68"/>
                </a:lnTo>
                <a:lnTo>
                  <a:pt x="195" y="76"/>
                </a:lnTo>
                <a:lnTo>
                  <a:pt x="200" y="127"/>
                </a:lnTo>
                <a:lnTo>
                  <a:pt x="277" y="213"/>
                </a:lnTo>
                <a:lnTo>
                  <a:pt x="326" y="219"/>
                </a:lnTo>
                <a:lnTo>
                  <a:pt x="321" y="237"/>
                </a:lnTo>
                <a:lnTo>
                  <a:pt x="408" y="293"/>
                </a:lnTo>
                <a:lnTo>
                  <a:pt x="348" y="285"/>
                </a:lnTo>
                <a:lnTo>
                  <a:pt x="361" y="339"/>
                </a:lnTo>
                <a:lnTo>
                  <a:pt x="326" y="381"/>
                </a:lnTo>
                <a:lnTo>
                  <a:pt x="310" y="294"/>
                </a:lnTo>
                <a:lnTo>
                  <a:pt x="157" y="199"/>
                </a:lnTo>
                <a:lnTo>
                  <a:pt x="121" y="136"/>
                </a:lnTo>
                <a:lnTo>
                  <a:pt x="72" y="115"/>
                </a:lnTo>
                <a:lnTo>
                  <a:pt x="28" y="142"/>
                </a:lnTo>
                <a:lnTo>
                  <a:pt x="0" y="95"/>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41" name="Freeform 96"/>
          <p:cNvSpPr>
            <a:spLocks noChangeAspect="1"/>
          </p:cNvSpPr>
          <p:nvPr/>
        </p:nvSpPr>
        <p:spPr bwMode="gray">
          <a:xfrm>
            <a:off x="1842112" y="3683481"/>
            <a:ext cx="52823" cy="109863"/>
          </a:xfrm>
          <a:custGeom>
            <a:avLst/>
            <a:gdLst>
              <a:gd name="T0" fmla="*/ 0 w 50"/>
              <a:gd name="T1" fmla="*/ 2147483647 h 93"/>
              <a:gd name="T2" fmla="*/ 2147483647 w 50"/>
              <a:gd name="T3" fmla="*/ 2147483647 h 93"/>
              <a:gd name="T4" fmla="*/ 2147483647 w 50"/>
              <a:gd name="T5" fmla="*/ 2147483647 h 93"/>
              <a:gd name="T6" fmla="*/ 2147483647 w 50"/>
              <a:gd name="T7" fmla="*/ 2147483647 h 93"/>
              <a:gd name="T8" fmla="*/ 2147483647 w 50"/>
              <a:gd name="T9" fmla="*/ 0 h 93"/>
              <a:gd name="T10" fmla="*/ 0 w 50"/>
              <a:gd name="T11" fmla="*/ 2147483647 h 93"/>
              <a:gd name="T12" fmla="*/ 0 60000 65536"/>
              <a:gd name="T13" fmla="*/ 0 60000 65536"/>
              <a:gd name="T14" fmla="*/ 0 60000 65536"/>
              <a:gd name="T15" fmla="*/ 0 60000 65536"/>
              <a:gd name="T16" fmla="*/ 0 60000 65536"/>
              <a:gd name="T17" fmla="*/ 0 60000 65536"/>
              <a:gd name="T18" fmla="*/ 0 w 50"/>
              <a:gd name="T19" fmla="*/ 0 h 93"/>
              <a:gd name="T20" fmla="*/ 50 w 50"/>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50" h="93">
                <a:moveTo>
                  <a:pt x="0" y="14"/>
                </a:moveTo>
                <a:lnTo>
                  <a:pt x="9" y="85"/>
                </a:lnTo>
                <a:lnTo>
                  <a:pt x="29" y="93"/>
                </a:lnTo>
                <a:lnTo>
                  <a:pt x="50" y="37"/>
                </a:lnTo>
                <a:lnTo>
                  <a:pt x="31" y="0"/>
                </a:lnTo>
                <a:lnTo>
                  <a:pt x="0" y="14"/>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42" name="Freeform 97"/>
          <p:cNvSpPr>
            <a:spLocks noChangeAspect="1"/>
          </p:cNvSpPr>
          <p:nvPr/>
        </p:nvSpPr>
        <p:spPr bwMode="gray">
          <a:xfrm>
            <a:off x="1990014" y="3827677"/>
            <a:ext cx="109870" cy="70952"/>
          </a:xfrm>
          <a:custGeom>
            <a:avLst/>
            <a:gdLst>
              <a:gd name="T0" fmla="*/ 0 w 108"/>
              <a:gd name="T1" fmla="*/ 2147483647 h 61"/>
              <a:gd name="T2" fmla="*/ 2147483647 w 108"/>
              <a:gd name="T3" fmla="*/ 2147483647 h 61"/>
              <a:gd name="T4" fmla="*/ 2147483647 w 108"/>
              <a:gd name="T5" fmla="*/ 0 h 61"/>
              <a:gd name="T6" fmla="*/ 0 w 108"/>
              <a:gd name="T7" fmla="*/ 2147483647 h 61"/>
              <a:gd name="T8" fmla="*/ 0 60000 65536"/>
              <a:gd name="T9" fmla="*/ 0 60000 65536"/>
              <a:gd name="T10" fmla="*/ 0 60000 65536"/>
              <a:gd name="T11" fmla="*/ 0 60000 65536"/>
              <a:gd name="T12" fmla="*/ 0 w 108"/>
              <a:gd name="T13" fmla="*/ 0 h 61"/>
              <a:gd name="T14" fmla="*/ 108 w 108"/>
              <a:gd name="T15" fmla="*/ 61 h 61"/>
            </a:gdLst>
            <a:ahLst/>
            <a:cxnLst>
              <a:cxn ang="T8">
                <a:pos x="T0" y="T1"/>
              </a:cxn>
              <a:cxn ang="T9">
                <a:pos x="T2" y="T3"/>
              </a:cxn>
              <a:cxn ang="T10">
                <a:pos x="T4" y="T5"/>
              </a:cxn>
              <a:cxn ang="T11">
                <a:pos x="T6" y="T7"/>
              </a:cxn>
            </a:cxnLst>
            <a:rect l="T12" t="T13" r="T14" b="T15"/>
            <a:pathLst>
              <a:path w="108" h="61">
                <a:moveTo>
                  <a:pt x="0" y="14"/>
                </a:moveTo>
                <a:lnTo>
                  <a:pt x="91" y="61"/>
                </a:lnTo>
                <a:lnTo>
                  <a:pt x="108" y="0"/>
                </a:lnTo>
                <a:lnTo>
                  <a:pt x="0" y="14"/>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43" name="Freeform 98"/>
          <p:cNvSpPr>
            <a:spLocks noChangeAspect="1"/>
          </p:cNvSpPr>
          <p:nvPr/>
        </p:nvSpPr>
        <p:spPr bwMode="gray">
          <a:xfrm>
            <a:off x="6036198" y="4040535"/>
            <a:ext cx="78176" cy="114440"/>
          </a:xfrm>
          <a:custGeom>
            <a:avLst/>
            <a:gdLst>
              <a:gd name="T0" fmla="*/ 0 w 81"/>
              <a:gd name="T1" fmla="*/ 2147483647 h 97"/>
              <a:gd name="T2" fmla="*/ 2147483647 w 81"/>
              <a:gd name="T3" fmla="*/ 2147483647 h 97"/>
              <a:gd name="T4" fmla="*/ 2147483647 w 81"/>
              <a:gd name="T5" fmla="*/ 2147483647 h 97"/>
              <a:gd name="T6" fmla="*/ 2147483647 w 81"/>
              <a:gd name="T7" fmla="*/ 2147483647 h 97"/>
              <a:gd name="T8" fmla="*/ 2147483647 w 81"/>
              <a:gd name="T9" fmla="*/ 2147483647 h 97"/>
              <a:gd name="T10" fmla="*/ 2147483647 w 81"/>
              <a:gd name="T11" fmla="*/ 2147483647 h 97"/>
              <a:gd name="T12" fmla="*/ 2147483647 w 81"/>
              <a:gd name="T13" fmla="*/ 2147483647 h 97"/>
              <a:gd name="T14" fmla="*/ 2147483647 w 81"/>
              <a:gd name="T15" fmla="*/ 2147483647 h 97"/>
              <a:gd name="T16" fmla="*/ 2147483647 w 81"/>
              <a:gd name="T17" fmla="*/ 0 h 97"/>
              <a:gd name="T18" fmla="*/ 0 w 81"/>
              <a:gd name="T19" fmla="*/ 2147483647 h 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97"/>
              <a:gd name="T32" fmla="*/ 81 w 81"/>
              <a:gd name="T33" fmla="*/ 97 h 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97">
                <a:moveTo>
                  <a:pt x="0" y="26"/>
                </a:moveTo>
                <a:lnTo>
                  <a:pt x="3" y="50"/>
                </a:lnTo>
                <a:lnTo>
                  <a:pt x="21" y="26"/>
                </a:lnTo>
                <a:lnTo>
                  <a:pt x="30" y="40"/>
                </a:lnTo>
                <a:lnTo>
                  <a:pt x="20" y="97"/>
                </a:lnTo>
                <a:lnTo>
                  <a:pt x="59" y="95"/>
                </a:lnTo>
                <a:lnTo>
                  <a:pt x="81" y="38"/>
                </a:lnTo>
                <a:lnTo>
                  <a:pt x="69" y="5"/>
                </a:lnTo>
                <a:lnTo>
                  <a:pt x="32" y="0"/>
                </a:lnTo>
                <a:lnTo>
                  <a:pt x="0" y="2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44" name="Freeform 99"/>
          <p:cNvSpPr>
            <a:spLocks noChangeAspect="1"/>
          </p:cNvSpPr>
          <p:nvPr/>
        </p:nvSpPr>
        <p:spPr bwMode="gray">
          <a:xfrm>
            <a:off x="6074230" y="3681193"/>
            <a:ext cx="388772" cy="373075"/>
          </a:xfrm>
          <a:custGeom>
            <a:avLst/>
            <a:gdLst>
              <a:gd name="T0" fmla="*/ 0 w 391"/>
              <a:gd name="T1" fmla="*/ 2147483647 h 314"/>
              <a:gd name="T2" fmla="*/ 2147483647 w 391"/>
              <a:gd name="T3" fmla="*/ 2147483647 h 314"/>
              <a:gd name="T4" fmla="*/ 2147483647 w 391"/>
              <a:gd name="T5" fmla="*/ 2147483647 h 314"/>
              <a:gd name="T6" fmla="*/ 2147483647 w 391"/>
              <a:gd name="T7" fmla="*/ 2147483647 h 314"/>
              <a:gd name="T8" fmla="*/ 2147483647 w 391"/>
              <a:gd name="T9" fmla="*/ 2147483647 h 314"/>
              <a:gd name="T10" fmla="*/ 2147483647 w 391"/>
              <a:gd name="T11" fmla="*/ 2147483647 h 314"/>
              <a:gd name="T12" fmla="*/ 2147483647 w 391"/>
              <a:gd name="T13" fmla="*/ 2147483647 h 314"/>
              <a:gd name="T14" fmla="*/ 2147483647 w 391"/>
              <a:gd name="T15" fmla="*/ 2147483647 h 314"/>
              <a:gd name="T16" fmla="*/ 2147483647 w 391"/>
              <a:gd name="T17" fmla="*/ 2147483647 h 314"/>
              <a:gd name="T18" fmla="*/ 2147483647 w 391"/>
              <a:gd name="T19" fmla="*/ 2147483647 h 314"/>
              <a:gd name="T20" fmla="*/ 2147483647 w 391"/>
              <a:gd name="T21" fmla="*/ 0 h 314"/>
              <a:gd name="T22" fmla="*/ 2147483647 w 391"/>
              <a:gd name="T23" fmla="*/ 2147483647 h 314"/>
              <a:gd name="T24" fmla="*/ 2147483647 w 391"/>
              <a:gd name="T25" fmla="*/ 2147483647 h 314"/>
              <a:gd name="T26" fmla="*/ 2147483647 w 391"/>
              <a:gd name="T27" fmla="*/ 2147483647 h 314"/>
              <a:gd name="T28" fmla="*/ 2147483647 w 391"/>
              <a:gd name="T29" fmla="*/ 2147483647 h 314"/>
              <a:gd name="T30" fmla="*/ 2147483647 w 391"/>
              <a:gd name="T31" fmla="*/ 2147483647 h 314"/>
              <a:gd name="T32" fmla="*/ 2147483647 w 391"/>
              <a:gd name="T33" fmla="*/ 2147483647 h 314"/>
              <a:gd name="T34" fmla="*/ 2147483647 w 391"/>
              <a:gd name="T35" fmla="*/ 2147483647 h 314"/>
              <a:gd name="T36" fmla="*/ 2147483647 w 391"/>
              <a:gd name="T37" fmla="*/ 2147483647 h 314"/>
              <a:gd name="T38" fmla="*/ 2147483647 w 391"/>
              <a:gd name="T39" fmla="*/ 2147483647 h 314"/>
              <a:gd name="T40" fmla="*/ 2147483647 w 391"/>
              <a:gd name="T41" fmla="*/ 2147483647 h 314"/>
              <a:gd name="T42" fmla="*/ 2147483647 w 391"/>
              <a:gd name="T43" fmla="*/ 2147483647 h 314"/>
              <a:gd name="T44" fmla="*/ 2147483647 w 391"/>
              <a:gd name="T45" fmla="*/ 2147483647 h 314"/>
              <a:gd name="T46" fmla="*/ 0 w 391"/>
              <a:gd name="T47" fmla="*/ 2147483647 h 31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91"/>
              <a:gd name="T73" fmla="*/ 0 h 314"/>
              <a:gd name="T74" fmla="*/ 391 w 391"/>
              <a:gd name="T75" fmla="*/ 314 h 31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91" h="314">
                <a:moveTo>
                  <a:pt x="0" y="296"/>
                </a:moveTo>
                <a:lnTo>
                  <a:pt x="70" y="237"/>
                </a:lnTo>
                <a:lnTo>
                  <a:pt x="169" y="237"/>
                </a:lnTo>
                <a:lnTo>
                  <a:pt x="208" y="165"/>
                </a:lnTo>
                <a:lnTo>
                  <a:pt x="225" y="160"/>
                </a:lnTo>
                <a:lnTo>
                  <a:pt x="226" y="187"/>
                </a:lnTo>
                <a:lnTo>
                  <a:pt x="271" y="160"/>
                </a:lnTo>
                <a:lnTo>
                  <a:pt x="309" y="105"/>
                </a:lnTo>
                <a:lnTo>
                  <a:pt x="326" y="16"/>
                </a:lnTo>
                <a:lnTo>
                  <a:pt x="357" y="20"/>
                </a:lnTo>
                <a:lnTo>
                  <a:pt x="347" y="0"/>
                </a:lnTo>
                <a:lnTo>
                  <a:pt x="367" y="1"/>
                </a:lnTo>
                <a:lnTo>
                  <a:pt x="391" y="76"/>
                </a:lnTo>
                <a:lnTo>
                  <a:pt x="357" y="129"/>
                </a:lnTo>
                <a:lnTo>
                  <a:pt x="357" y="177"/>
                </a:lnTo>
                <a:lnTo>
                  <a:pt x="333" y="248"/>
                </a:lnTo>
                <a:lnTo>
                  <a:pt x="315" y="258"/>
                </a:lnTo>
                <a:lnTo>
                  <a:pt x="314" y="231"/>
                </a:lnTo>
                <a:lnTo>
                  <a:pt x="257" y="272"/>
                </a:lnTo>
                <a:lnTo>
                  <a:pt x="208" y="254"/>
                </a:lnTo>
                <a:lnTo>
                  <a:pt x="211" y="288"/>
                </a:lnTo>
                <a:lnTo>
                  <a:pt x="170" y="314"/>
                </a:lnTo>
                <a:lnTo>
                  <a:pt x="158" y="269"/>
                </a:lnTo>
                <a:lnTo>
                  <a:pt x="0" y="29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45" name="Freeform 100"/>
          <p:cNvSpPr>
            <a:spLocks noChangeAspect="1"/>
          </p:cNvSpPr>
          <p:nvPr/>
        </p:nvSpPr>
        <p:spPr bwMode="gray">
          <a:xfrm>
            <a:off x="6120714" y="4024514"/>
            <a:ext cx="80290" cy="64087"/>
          </a:xfrm>
          <a:custGeom>
            <a:avLst/>
            <a:gdLst>
              <a:gd name="T0" fmla="*/ 0 w 81"/>
              <a:gd name="T1" fmla="*/ 2147483647 h 56"/>
              <a:gd name="T2" fmla="*/ 2147483647 w 81"/>
              <a:gd name="T3" fmla="*/ 2147483647 h 56"/>
              <a:gd name="T4" fmla="*/ 2147483647 w 81"/>
              <a:gd name="T5" fmla="*/ 2147483647 h 56"/>
              <a:gd name="T6" fmla="*/ 2147483647 w 81"/>
              <a:gd name="T7" fmla="*/ 0 h 56"/>
              <a:gd name="T8" fmla="*/ 0 w 81"/>
              <a:gd name="T9" fmla="*/ 2147483647 h 56"/>
              <a:gd name="T10" fmla="*/ 0 60000 65536"/>
              <a:gd name="T11" fmla="*/ 0 60000 65536"/>
              <a:gd name="T12" fmla="*/ 0 60000 65536"/>
              <a:gd name="T13" fmla="*/ 0 60000 65536"/>
              <a:gd name="T14" fmla="*/ 0 60000 65536"/>
              <a:gd name="T15" fmla="*/ 0 w 81"/>
              <a:gd name="T16" fmla="*/ 0 h 56"/>
              <a:gd name="T17" fmla="*/ 81 w 81"/>
              <a:gd name="T18" fmla="*/ 56 h 56"/>
            </a:gdLst>
            <a:ahLst/>
            <a:cxnLst>
              <a:cxn ang="T10">
                <a:pos x="T0" y="T1"/>
              </a:cxn>
              <a:cxn ang="T11">
                <a:pos x="T2" y="T3"/>
              </a:cxn>
              <a:cxn ang="T12">
                <a:pos x="T4" y="T5"/>
              </a:cxn>
              <a:cxn ang="T13">
                <a:pos x="T6" y="T7"/>
              </a:cxn>
              <a:cxn ang="T14">
                <a:pos x="T8" y="T9"/>
              </a:cxn>
            </a:cxnLst>
            <a:rect l="T15" t="T16" r="T17" b="T18"/>
            <a:pathLst>
              <a:path w="81" h="56">
                <a:moveTo>
                  <a:pt x="0" y="29"/>
                </a:moveTo>
                <a:lnTo>
                  <a:pt x="27" y="56"/>
                </a:lnTo>
                <a:lnTo>
                  <a:pt x="74" y="35"/>
                </a:lnTo>
                <a:lnTo>
                  <a:pt x="81" y="0"/>
                </a:lnTo>
                <a:lnTo>
                  <a:pt x="0" y="29"/>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46" name="Freeform 101"/>
          <p:cNvSpPr>
            <a:spLocks noChangeAspect="1"/>
          </p:cNvSpPr>
          <p:nvPr/>
        </p:nvSpPr>
        <p:spPr bwMode="gray">
          <a:xfrm>
            <a:off x="6389050" y="3477488"/>
            <a:ext cx="200725" cy="203705"/>
          </a:xfrm>
          <a:custGeom>
            <a:avLst/>
            <a:gdLst>
              <a:gd name="T0" fmla="*/ 0 w 203"/>
              <a:gd name="T1" fmla="*/ 2147483647 h 169"/>
              <a:gd name="T2" fmla="*/ 2147483647 w 203"/>
              <a:gd name="T3" fmla="*/ 2147483647 h 169"/>
              <a:gd name="T4" fmla="*/ 2147483647 w 203"/>
              <a:gd name="T5" fmla="*/ 2147483647 h 169"/>
              <a:gd name="T6" fmla="*/ 2147483647 w 203"/>
              <a:gd name="T7" fmla="*/ 2147483647 h 169"/>
              <a:gd name="T8" fmla="*/ 2147483647 w 203"/>
              <a:gd name="T9" fmla="*/ 2147483647 h 169"/>
              <a:gd name="T10" fmla="*/ 2147483647 w 203"/>
              <a:gd name="T11" fmla="*/ 2147483647 h 169"/>
              <a:gd name="T12" fmla="*/ 2147483647 w 203"/>
              <a:gd name="T13" fmla="*/ 2147483647 h 169"/>
              <a:gd name="T14" fmla="*/ 2147483647 w 203"/>
              <a:gd name="T15" fmla="*/ 2147483647 h 169"/>
              <a:gd name="T16" fmla="*/ 2147483647 w 203"/>
              <a:gd name="T17" fmla="*/ 2147483647 h 169"/>
              <a:gd name="T18" fmla="*/ 2147483647 w 203"/>
              <a:gd name="T19" fmla="*/ 2147483647 h 169"/>
              <a:gd name="T20" fmla="*/ 2147483647 w 203"/>
              <a:gd name="T21" fmla="*/ 0 h 169"/>
              <a:gd name="T22" fmla="*/ 2147483647 w 203"/>
              <a:gd name="T23" fmla="*/ 2147483647 h 169"/>
              <a:gd name="T24" fmla="*/ 2147483647 w 203"/>
              <a:gd name="T25" fmla="*/ 2147483647 h 169"/>
              <a:gd name="T26" fmla="*/ 0 w 203"/>
              <a:gd name="T27" fmla="*/ 2147483647 h 16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3"/>
              <a:gd name="T43" fmla="*/ 0 h 169"/>
              <a:gd name="T44" fmla="*/ 203 w 203"/>
              <a:gd name="T45" fmla="*/ 169 h 16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3" h="169">
                <a:moveTo>
                  <a:pt x="0" y="120"/>
                </a:moveTo>
                <a:lnTo>
                  <a:pt x="9" y="169"/>
                </a:lnTo>
                <a:lnTo>
                  <a:pt x="44" y="151"/>
                </a:lnTo>
                <a:lnTo>
                  <a:pt x="20" y="121"/>
                </a:lnTo>
                <a:lnTo>
                  <a:pt x="118" y="147"/>
                </a:lnTo>
                <a:lnTo>
                  <a:pt x="140" y="108"/>
                </a:lnTo>
                <a:lnTo>
                  <a:pt x="203" y="95"/>
                </a:lnTo>
                <a:lnTo>
                  <a:pt x="181" y="69"/>
                </a:lnTo>
                <a:lnTo>
                  <a:pt x="189" y="46"/>
                </a:lnTo>
                <a:lnTo>
                  <a:pt x="135" y="50"/>
                </a:lnTo>
                <a:lnTo>
                  <a:pt x="70" y="0"/>
                </a:lnTo>
                <a:lnTo>
                  <a:pt x="47" y="96"/>
                </a:lnTo>
                <a:lnTo>
                  <a:pt x="19" y="91"/>
                </a:lnTo>
                <a:lnTo>
                  <a:pt x="0" y="120"/>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47" name="Freeform 102"/>
          <p:cNvSpPr>
            <a:spLocks noChangeAspect="1"/>
          </p:cNvSpPr>
          <p:nvPr/>
        </p:nvSpPr>
        <p:spPr bwMode="gray">
          <a:xfrm>
            <a:off x="5852376" y="3605662"/>
            <a:ext cx="213403" cy="254058"/>
          </a:xfrm>
          <a:custGeom>
            <a:avLst/>
            <a:gdLst>
              <a:gd name="T0" fmla="*/ 0 w 221"/>
              <a:gd name="T1" fmla="*/ 2147483647 h 212"/>
              <a:gd name="T2" fmla="*/ 2147483647 w 221"/>
              <a:gd name="T3" fmla="*/ 2147483647 h 212"/>
              <a:gd name="T4" fmla="*/ 2147483647 w 221"/>
              <a:gd name="T5" fmla="*/ 2147483647 h 212"/>
              <a:gd name="T6" fmla="*/ 2147483647 w 221"/>
              <a:gd name="T7" fmla="*/ 2147483647 h 212"/>
              <a:gd name="T8" fmla="*/ 2147483647 w 221"/>
              <a:gd name="T9" fmla="*/ 2147483647 h 212"/>
              <a:gd name="T10" fmla="*/ 2147483647 w 221"/>
              <a:gd name="T11" fmla="*/ 2147483647 h 212"/>
              <a:gd name="T12" fmla="*/ 2147483647 w 221"/>
              <a:gd name="T13" fmla="*/ 2147483647 h 212"/>
              <a:gd name="T14" fmla="*/ 2147483647 w 221"/>
              <a:gd name="T15" fmla="*/ 2147483647 h 212"/>
              <a:gd name="T16" fmla="*/ 2147483647 w 221"/>
              <a:gd name="T17" fmla="*/ 2147483647 h 212"/>
              <a:gd name="T18" fmla="*/ 2147483647 w 221"/>
              <a:gd name="T19" fmla="*/ 0 h 212"/>
              <a:gd name="T20" fmla="*/ 2147483647 w 221"/>
              <a:gd name="T21" fmla="*/ 2147483647 h 212"/>
              <a:gd name="T22" fmla="*/ 2147483647 w 221"/>
              <a:gd name="T23" fmla="*/ 2147483647 h 212"/>
              <a:gd name="T24" fmla="*/ 2147483647 w 221"/>
              <a:gd name="T25" fmla="*/ 2147483647 h 212"/>
              <a:gd name="T26" fmla="*/ 0 w 221"/>
              <a:gd name="T27" fmla="*/ 2147483647 h 2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1"/>
              <a:gd name="T43" fmla="*/ 0 h 212"/>
              <a:gd name="T44" fmla="*/ 221 w 221"/>
              <a:gd name="T45" fmla="*/ 212 h 2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1" h="212">
                <a:moveTo>
                  <a:pt x="0" y="120"/>
                </a:moveTo>
                <a:lnTo>
                  <a:pt x="41" y="137"/>
                </a:lnTo>
                <a:lnTo>
                  <a:pt x="15" y="198"/>
                </a:lnTo>
                <a:lnTo>
                  <a:pt x="77" y="212"/>
                </a:lnTo>
                <a:lnTo>
                  <a:pt x="142" y="175"/>
                </a:lnTo>
                <a:lnTo>
                  <a:pt x="112" y="125"/>
                </a:lnTo>
                <a:lnTo>
                  <a:pt x="186" y="81"/>
                </a:lnTo>
                <a:lnTo>
                  <a:pt x="221" y="20"/>
                </a:lnTo>
                <a:lnTo>
                  <a:pt x="216" y="11"/>
                </a:lnTo>
                <a:lnTo>
                  <a:pt x="202" y="0"/>
                </a:lnTo>
                <a:lnTo>
                  <a:pt x="136" y="39"/>
                </a:lnTo>
                <a:lnTo>
                  <a:pt x="136" y="62"/>
                </a:lnTo>
                <a:lnTo>
                  <a:pt x="88" y="55"/>
                </a:lnTo>
                <a:lnTo>
                  <a:pt x="0" y="120"/>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48" name="Freeform 103"/>
          <p:cNvSpPr>
            <a:spLocks noChangeAspect="1"/>
          </p:cNvSpPr>
          <p:nvPr/>
        </p:nvSpPr>
        <p:spPr bwMode="gray">
          <a:xfrm>
            <a:off x="5909425" y="3813944"/>
            <a:ext cx="124660" cy="196837"/>
          </a:xfrm>
          <a:custGeom>
            <a:avLst/>
            <a:gdLst>
              <a:gd name="T0" fmla="*/ 0 w 121"/>
              <a:gd name="T1" fmla="*/ 2147483647 h 166"/>
              <a:gd name="T2" fmla="*/ 2147483647 w 121"/>
              <a:gd name="T3" fmla="*/ 2147483647 h 166"/>
              <a:gd name="T4" fmla="*/ 2147483647 w 121"/>
              <a:gd name="T5" fmla="*/ 0 h 166"/>
              <a:gd name="T6" fmla="*/ 2147483647 w 121"/>
              <a:gd name="T7" fmla="*/ 2147483647 h 166"/>
              <a:gd name="T8" fmla="*/ 2147483647 w 121"/>
              <a:gd name="T9" fmla="*/ 2147483647 h 166"/>
              <a:gd name="T10" fmla="*/ 0 w 121"/>
              <a:gd name="T11" fmla="*/ 2147483647 h 166"/>
              <a:gd name="T12" fmla="*/ 0 60000 65536"/>
              <a:gd name="T13" fmla="*/ 0 60000 65536"/>
              <a:gd name="T14" fmla="*/ 0 60000 65536"/>
              <a:gd name="T15" fmla="*/ 0 60000 65536"/>
              <a:gd name="T16" fmla="*/ 0 60000 65536"/>
              <a:gd name="T17" fmla="*/ 0 60000 65536"/>
              <a:gd name="T18" fmla="*/ 0 w 121"/>
              <a:gd name="T19" fmla="*/ 0 h 166"/>
              <a:gd name="T20" fmla="*/ 121 w 121"/>
              <a:gd name="T21" fmla="*/ 166 h 166"/>
            </a:gdLst>
            <a:ahLst/>
            <a:cxnLst>
              <a:cxn ang="T12">
                <a:pos x="T0" y="T1"/>
              </a:cxn>
              <a:cxn ang="T13">
                <a:pos x="T2" y="T3"/>
              </a:cxn>
              <a:cxn ang="T14">
                <a:pos x="T4" y="T5"/>
              </a:cxn>
              <a:cxn ang="T15">
                <a:pos x="T6" y="T7"/>
              </a:cxn>
              <a:cxn ang="T16">
                <a:pos x="T8" y="T9"/>
              </a:cxn>
              <a:cxn ang="T17">
                <a:pos x="T10" y="T11"/>
              </a:cxn>
            </a:cxnLst>
            <a:rect l="T18" t="T19" r="T20" b="T21"/>
            <a:pathLst>
              <a:path w="121" h="166">
                <a:moveTo>
                  <a:pt x="0" y="166"/>
                </a:moveTo>
                <a:lnTo>
                  <a:pt x="13" y="37"/>
                </a:lnTo>
                <a:lnTo>
                  <a:pt x="78" y="0"/>
                </a:lnTo>
                <a:lnTo>
                  <a:pt x="121" y="101"/>
                </a:lnTo>
                <a:lnTo>
                  <a:pt x="76" y="149"/>
                </a:lnTo>
                <a:lnTo>
                  <a:pt x="0" y="16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49" name="Freeform 104"/>
          <p:cNvSpPr>
            <a:spLocks noChangeAspect="1"/>
          </p:cNvSpPr>
          <p:nvPr/>
        </p:nvSpPr>
        <p:spPr bwMode="gray">
          <a:xfrm>
            <a:off x="5017785" y="4544073"/>
            <a:ext cx="249321" cy="345611"/>
          </a:xfrm>
          <a:custGeom>
            <a:avLst/>
            <a:gdLst>
              <a:gd name="T0" fmla="*/ 0 w 249"/>
              <a:gd name="T1" fmla="*/ 2147483647 h 290"/>
              <a:gd name="T2" fmla="*/ 2147483647 w 249"/>
              <a:gd name="T3" fmla="*/ 2147483647 h 290"/>
              <a:gd name="T4" fmla="*/ 2147483647 w 249"/>
              <a:gd name="T5" fmla="*/ 2147483647 h 290"/>
              <a:gd name="T6" fmla="*/ 2147483647 w 249"/>
              <a:gd name="T7" fmla="*/ 2147483647 h 290"/>
              <a:gd name="T8" fmla="*/ 2147483647 w 249"/>
              <a:gd name="T9" fmla="*/ 2147483647 h 290"/>
              <a:gd name="T10" fmla="*/ 2147483647 w 249"/>
              <a:gd name="T11" fmla="*/ 2147483647 h 290"/>
              <a:gd name="T12" fmla="*/ 2147483647 w 249"/>
              <a:gd name="T13" fmla="*/ 2147483647 h 290"/>
              <a:gd name="T14" fmla="*/ 2147483647 w 249"/>
              <a:gd name="T15" fmla="*/ 2147483647 h 290"/>
              <a:gd name="T16" fmla="*/ 2147483647 w 249"/>
              <a:gd name="T17" fmla="*/ 2147483647 h 290"/>
              <a:gd name="T18" fmla="*/ 2147483647 w 249"/>
              <a:gd name="T19" fmla="*/ 2147483647 h 290"/>
              <a:gd name="T20" fmla="*/ 2147483647 w 249"/>
              <a:gd name="T21" fmla="*/ 2147483647 h 290"/>
              <a:gd name="T22" fmla="*/ 2147483647 w 249"/>
              <a:gd name="T23" fmla="*/ 2147483647 h 290"/>
              <a:gd name="T24" fmla="*/ 2147483647 w 249"/>
              <a:gd name="T25" fmla="*/ 0 h 290"/>
              <a:gd name="T26" fmla="*/ 2147483647 w 249"/>
              <a:gd name="T27" fmla="*/ 2147483647 h 290"/>
              <a:gd name="T28" fmla="*/ 2147483647 w 249"/>
              <a:gd name="T29" fmla="*/ 2147483647 h 290"/>
              <a:gd name="T30" fmla="*/ 2147483647 w 249"/>
              <a:gd name="T31" fmla="*/ 2147483647 h 290"/>
              <a:gd name="T32" fmla="*/ 0 w 249"/>
              <a:gd name="T33" fmla="*/ 2147483647 h 2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9"/>
              <a:gd name="T52" fmla="*/ 0 h 290"/>
              <a:gd name="T53" fmla="*/ 249 w 249"/>
              <a:gd name="T54" fmla="*/ 290 h 2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9" h="290">
                <a:moveTo>
                  <a:pt x="0" y="64"/>
                </a:moveTo>
                <a:lnTo>
                  <a:pt x="33" y="105"/>
                </a:lnTo>
                <a:lnTo>
                  <a:pt x="23" y="176"/>
                </a:lnTo>
                <a:lnTo>
                  <a:pt x="111" y="144"/>
                </a:lnTo>
                <a:lnTo>
                  <a:pt x="149" y="176"/>
                </a:lnTo>
                <a:lnTo>
                  <a:pt x="182" y="246"/>
                </a:lnTo>
                <a:lnTo>
                  <a:pt x="170" y="290"/>
                </a:lnTo>
                <a:lnTo>
                  <a:pt x="249" y="278"/>
                </a:lnTo>
                <a:lnTo>
                  <a:pt x="211" y="185"/>
                </a:lnTo>
                <a:lnTo>
                  <a:pt x="127" y="116"/>
                </a:lnTo>
                <a:lnTo>
                  <a:pt x="150" y="76"/>
                </a:lnTo>
                <a:lnTo>
                  <a:pt x="103" y="55"/>
                </a:lnTo>
                <a:lnTo>
                  <a:pt x="67" y="0"/>
                </a:lnTo>
                <a:lnTo>
                  <a:pt x="46" y="1"/>
                </a:lnTo>
                <a:lnTo>
                  <a:pt x="49" y="40"/>
                </a:lnTo>
                <a:lnTo>
                  <a:pt x="33" y="31"/>
                </a:lnTo>
                <a:lnTo>
                  <a:pt x="0" y="64"/>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50" name="Freeform 105"/>
          <p:cNvSpPr>
            <a:spLocks noChangeAspect="1"/>
          </p:cNvSpPr>
          <p:nvPr/>
        </p:nvSpPr>
        <p:spPr bwMode="gray">
          <a:xfrm>
            <a:off x="1755484" y="3228009"/>
            <a:ext cx="16903" cy="36621"/>
          </a:xfrm>
          <a:custGeom>
            <a:avLst/>
            <a:gdLst>
              <a:gd name="T0" fmla="*/ 0 w 17"/>
              <a:gd name="T1" fmla="*/ 2147483647 h 30"/>
              <a:gd name="T2" fmla="*/ 2147483647 w 17"/>
              <a:gd name="T3" fmla="*/ 0 h 30"/>
              <a:gd name="T4" fmla="*/ 2147483647 w 17"/>
              <a:gd name="T5" fmla="*/ 2147483647 h 30"/>
              <a:gd name="T6" fmla="*/ 0 w 17"/>
              <a:gd name="T7" fmla="*/ 2147483647 h 30"/>
              <a:gd name="T8" fmla="*/ 0 60000 65536"/>
              <a:gd name="T9" fmla="*/ 0 60000 65536"/>
              <a:gd name="T10" fmla="*/ 0 60000 65536"/>
              <a:gd name="T11" fmla="*/ 0 60000 65536"/>
              <a:gd name="T12" fmla="*/ 0 w 17"/>
              <a:gd name="T13" fmla="*/ 0 h 30"/>
              <a:gd name="T14" fmla="*/ 17 w 17"/>
              <a:gd name="T15" fmla="*/ 30 h 30"/>
            </a:gdLst>
            <a:ahLst/>
            <a:cxnLst>
              <a:cxn ang="T8">
                <a:pos x="T0" y="T1"/>
              </a:cxn>
              <a:cxn ang="T9">
                <a:pos x="T2" y="T3"/>
              </a:cxn>
              <a:cxn ang="T10">
                <a:pos x="T4" y="T5"/>
              </a:cxn>
              <a:cxn ang="T11">
                <a:pos x="T6" y="T7"/>
              </a:cxn>
            </a:cxnLst>
            <a:rect l="T12" t="T13" r="T14" b="T15"/>
            <a:pathLst>
              <a:path w="17" h="30">
                <a:moveTo>
                  <a:pt x="0" y="23"/>
                </a:moveTo>
                <a:lnTo>
                  <a:pt x="13" y="0"/>
                </a:lnTo>
                <a:lnTo>
                  <a:pt x="17" y="30"/>
                </a:lnTo>
                <a:lnTo>
                  <a:pt x="0" y="23"/>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51" name="Freeform 109"/>
          <p:cNvSpPr>
            <a:spLocks noChangeAspect="1"/>
          </p:cNvSpPr>
          <p:nvPr/>
        </p:nvSpPr>
        <p:spPr bwMode="gray">
          <a:xfrm>
            <a:off x="4588868" y="3118146"/>
            <a:ext cx="1094477" cy="549314"/>
          </a:xfrm>
          <a:custGeom>
            <a:avLst/>
            <a:gdLst>
              <a:gd name="T0" fmla="*/ 0 w 1101"/>
              <a:gd name="T1" fmla="*/ 2147483647 h 463"/>
              <a:gd name="T2" fmla="*/ 2147483647 w 1101"/>
              <a:gd name="T3" fmla="*/ 2147483647 h 463"/>
              <a:gd name="T4" fmla="*/ 2147483647 w 1101"/>
              <a:gd name="T5" fmla="*/ 2147483647 h 463"/>
              <a:gd name="T6" fmla="*/ 2147483647 w 1101"/>
              <a:gd name="T7" fmla="*/ 2147483647 h 463"/>
              <a:gd name="T8" fmla="*/ 2147483647 w 1101"/>
              <a:gd name="T9" fmla="*/ 2147483647 h 463"/>
              <a:gd name="T10" fmla="*/ 2147483647 w 1101"/>
              <a:gd name="T11" fmla="*/ 2147483647 h 463"/>
              <a:gd name="T12" fmla="*/ 2147483647 w 1101"/>
              <a:gd name="T13" fmla="*/ 2147483647 h 463"/>
              <a:gd name="T14" fmla="*/ 2147483647 w 1101"/>
              <a:gd name="T15" fmla="*/ 2147483647 h 463"/>
              <a:gd name="T16" fmla="*/ 2147483647 w 1101"/>
              <a:gd name="T17" fmla="*/ 2147483647 h 463"/>
              <a:gd name="T18" fmla="*/ 2147483647 w 1101"/>
              <a:gd name="T19" fmla="*/ 2147483647 h 463"/>
              <a:gd name="T20" fmla="*/ 2147483647 w 1101"/>
              <a:gd name="T21" fmla="*/ 2147483647 h 463"/>
              <a:gd name="T22" fmla="*/ 2147483647 w 1101"/>
              <a:gd name="T23" fmla="*/ 2147483647 h 463"/>
              <a:gd name="T24" fmla="*/ 2147483647 w 1101"/>
              <a:gd name="T25" fmla="*/ 2147483647 h 463"/>
              <a:gd name="T26" fmla="*/ 2147483647 w 1101"/>
              <a:gd name="T27" fmla="*/ 2147483647 h 463"/>
              <a:gd name="T28" fmla="*/ 2147483647 w 1101"/>
              <a:gd name="T29" fmla="*/ 2147483647 h 463"/>
              <a:gd name="T30" fmla="*/ 2147483647 w 1101"/>
              <a:gd name="T31" fmla="*/ 2147483647 h 463"/>
              <a:gd name="T32" fmla="*/ 2147483647 w 1101"/>
              <a:gd name="T33" fmla="*/ 2147483647 h 463"/>
              <a:gd name="T34" fmla="*/ 2147483647 w 1101"/>
              <a:gd name="T35" fmla="*/ 2147483647 h 463"/>
              <a:gd name="T36" fmla="*/ 2147483647 w 1101"/>
              <a:gd name="T37" fmla="*/ 2147483647 h 463"/>
              <a:gd name="T38" fmla="*/ 2147483647 w 1101"/>
              <a:gd name="T39" fmla="*/ 2147483647 h 463"/>
              <a:gd name="T40" fmla="*/ 2147483647 w 1101"/>
              <a:gd name="T41" fmla="*/ 2147483647 h 463"/>
              <a:gd name="T42" fmla="*/ 2147483647 w 1101"/>
              <a:gd name="T43" fmla="*/ 2147483647 h 463"/>
              <a:gd name="T44" fmla="*/ 2147483647 w 1101"/>
              <a:gd name="T45" fmla="*/ 2147483647 h 463"/>
              <a:gd name="T46" fmla="*/ 2147483647 w 1101"/>
              <a:gd name="T47" fmla="*/ 0 h 463"/>
              <a:gd name="T48" fmla="*/ 2147483647 w 1101"/>
              <a:gd name="T49" fmla="*/ 2147483647 h 463"/>
              <a:gd name="T50" fmla="*/ 2147483647 w 1101"/>
              <a:gd name="T51" fmla="*/ 2147483647 h 463"/>
              <a:gd name="T52" fmla="*/ 2147483647 w 1101"/>
              <a:gd name="T53" fmla="*/ 2147483647 h 463"/>
              <a:gd name="T54" fmla="*/ 0 w 1101"/>
              <a:gd name="T55" fmla="*/ 2147483647 h 46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01"/>
              <a:gd name="T85" fmla="*/ 0 h 463"/>
              <a:gd name="T86" fmla="*/ 1101 w 1101"/>
              <a:gd name="T87" fmla="*/ 463 h 46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01" h="463">
                <a:moveTo>
                  <a:pt x="0" y="145"/>
                </a:moveTo>
                <a:lnTo>
                  <a:pt x="36" y="192"/>
                </a:lnTo>
                <a:lnTo>
                  <a:pt x="84" y="209"/>
                </a:lnTo>
                <a:lnTo>
                  <a:pt x="105" y="308"/>
                </a:lnTo>
                <a:lnTo>
                  <a:pt x="258" y="346"/>
                </a:lnTo>
                <a:lnTo>
                  <a:pt x="321" y="414"/>
                </a:lnTo>
                <a:lnTo>
                  <a:pt x="447" y="410"/>
                </a:lnTo>
                <a:lnTo>
                  <a:pt x="591" y="463"/>
                </a:lnTo>
                <a:lnTo>
                  <a:pt x="780" y="414"/>
                </a:lnTo>
                <a:lnTo>
                  <a:pt x="839" y="376"/>
                </a:lnTo>
                <a:lnTo>
                  <a:pt x="839" y="322"/>
                </a:lnTo>
                <a:lnTo>
                  <a:pt x="891" y="328"/>
                </a:lnTo>
                <a:lnTo>
                  <a:pt x="1008" y="251"/>
                </a:lnTo>
                <a:lnTo>
                  <a:pt x="1101" y="246"/>
                </a:lnTo>
                <a:lnTo>
                  <a:pt x="1057" y="187"/>
                </a:lnTo>
                <a:lnTo>
                  <a:pt x="967" y="203"/>
                </a:lnTo>
                <a:lnTo>
                  <a:pt x="966" y="138"/>
                </a:lnTo>
                <a:lnTo>
                  <a:pt x="989" y="102"/>
                </a:lnTo>
                <a:lnTo>
                  <a:pt x="926" y="92"/>
                </a:lnTo>
                <a:lnTo>
                  <a:pt x="762" y="132"/>
                </a:lnTo>
                <a:lnTo>
                  <a:pt x="617" y="74"/>
                </a:lnTo>
                <a:lnTo>
                  <a:pt x="525" y="82"/>
                </a:lnTo>
                <a:lnTo>
                  <a:pt x="490" y="33"/>
                </a:lnTo>
                <a:lnTo>
                  <a:pt x="399" y="0"/>
                </a:lnTo>
                <a:lnTo>
                  <a:pt x="351" y="35"/>
                </a:lnTo>
                <a:lnTo>
                  <a:pt x="347" y="101"/>
                </a:lnTo>
                <a:lnTo>
                  <a:pt x="139" y="72"/>
                </a:lnTo>
                <a:lnTo>
                  <a:pt x="0" y="145"/>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52" name="Freeform 110"/>
          <p:cNvSpPr>
            <a:spLocks noChangeAspect="1"/>
          </p:cNvSpPr>
          <p:nvPr/>
        </p:nvSpPr>
        <p:spPr bwMode="gray">
          <a:xfrm>
            <a:off x="3354941" y="4438787"/>
            <a:ext cx="264112" cy="357054"/>
          </a:xfrm>
          <a:custGeom>
            <a:avLst/>
            <a:gdLst>
              <a:gd name="T0" fmla="*/ 0 w 266"/>
              <a:gd name="T1" fmla="*/ 2147483647 h 300"/>
              <a:gd name="T2" fmla="*/ 2147483647 w 266"/>
              <a:gd name="T3" fmla="*/ 2147483647 h 300"/>
              <a:gd name="T4" fmla="*/ 2147483647 w 266"/>
              <a:gd name="T5" fmla="*/ 2147483647 h 300"/>
              <a:gd name="T6" fmla="*/ 2147483647 w 266"/>
              <a:gd name="T7" fmla="*/ 2147483647 h 300"/>
              <a:gd name="T8" fmla="*/ 2147483647 w 266"/>
              <a:gd name="T9" fmla="*/ 2147483647 h 300"/>
              <a:gd name="T10" fmla="*/ 2147483647 w 266"/>
              <a:gd name="T11" fmla="*/ 2147483647 h 300"/>
              <a:gd name="T12" fmla="*/ 2147483647 w 266"/>
              <a:gd name="T13" fmla="*/ 2147483647 h 300"/>
              <a:gd name="T14" fmla="*/ 2147483647 w 266"/>
              <a:gd name="T15" fmla="*/ 2147483647 h 300"/>
              <a:gd name="T16" fmla="*/ 2147483647 w 266"/>
              <a:gd name="T17" fmla="*/ 0 h 300"/>
              <a:gd name="T18" fmla="*/ 2147483647 w 266"/>
              <a:gd name="T19" fmla="*/ 2147483647 h 300"/>
              <a:gd name="T20" fmla="*/ 2147483647 w 266"/>
              <a:gd name="T21" fmla="*/ 2147483647 h 300"/>
              <a:gd name="T22" fmla="*/ 2147483647 w 266"/>
              <a:gd name="T23" fmla="*/ 2147483647 h 300"/>
              <a:gd name="T24" fmla="*/ 2147483647 w 266"/>
              <a:gd name="T25" fmla="*/ 2147483647 h 300"/>
              <a:gd name="T26" fmla="*/ 2147483647 w 266"/>
              <a:gd name="T27" fmla="*/ 2147483647 h 300"/>
              <a:gd name="T28" fmla="*/ 0 w 266"/>
              <a:gd name="T29" fmla="*/ 2147483647 h 3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6"/>
              <a:gd name="T46" fmla="*/ 0 h 300"/>
              <a:gd name="T47" fmla="*/ 266 w 266"/>
              <a:gd name="T48" fmla="*/ 300 h 3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6" h="300">
                <a:moveTo>
                  <a:pt x="0" y="213"/>
                </a:moveTo>
                <a:lnTo>
                  <a:pt x="36" y="300"/>
                </a:lnTo>
                <a:lnTo>
                  <a:pt x="99" y="286"/>
                </a:lnTo>
                <a:lnTo>
                  <a:pt x="199" y="212"/>
                </a:lnTo>
                <a:lnTo>
                  <a:pt x="197" y="176"/>
                </a:lnTo>
                <a:lnTo>
                  <a:pt x="262" y="110"/>
                </a:lnTo>
                <a:lnTo>
                  <a:pt x="266" y="88"/>
                </a:lnTo>
                <a:lnTo>
                  <a:pt x="230" y="50"/>
                </a:lnTo>
                <a:lnTo>
                  <a:pt x="148" y="0"/>
                </a:lnTo>
                <a:lnTo>
                  <a:pt x="128" y="1"/>
                </a:lnTo>
                <a:lnTo>
                  <a:pt x="139" y="28"/>
                </a:lnTo>
                <a:lnTo>
                  <a:pt x="110" y="80"/>
                </a:lnTo>
                <a:lnTo>
                  <a:pt x="128" y="105"/>
                </a:lnTo>
                <a:lnTo>
                  <a:pt x="102" y="177"/>
                </a:lnTo>
                <a:lnTo>
                  <a:pt x="0" y="213"/>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53" name="Freeform 111"/>
          <p:cNvSpPr>
            <a:spLocks noChangeAspect="1"/>
          </p:cNvSpPr>
          <p:nvPr/>
        </p:nvSpPr>
        <p:spPr bwMode="gray">
          <a:xfrm>
            <a:off x="4318418" y="4198463"/>
            <a:ext cx="278901" cy="171660"/>
          </a:xfrm>
          <a:custGeom>
            <a:avLst/>
            <a:gdLst>
              <a:gd name="T0" fmla="*/ 0 w 278"/>
              <a:gd name="T1" fmla="*/ 2147483647 h 143"/>
              <a:gd name="T2" fmla="*/ 2147483647 w 278"/>
              <a:gd name="T3" fmla="*/ 0 h 143"/>
              <a:gd name="T4" fmla="*/ 2147483647 w 278"/>
              <a:gd name="T5" fmla="*/ 2147483647 h 143"/>
              <a:gd name="T6" fmla="*/ 2147483647 w 278"/>
              <a:gd name="T7" fmla="*/ 2147483647 h 143"/>
              <a:gd name="T8" fmla="*/ 2147483647 w 278"/>
              <a:gd name="T9" fmla="*/ 2147483647 h 143"/>
              <a:gd name="T10" fmla="*/ 2147483647 w 278"/>
              <a:gd name="T11" fmla="*/ 2147483647 h 143"/>
              <a:gd name="T12" fmla="*/ 2147483647 w 278"/>
              <a:gd name="T13" fmla="*/ 2147483647 h 143"/>
              <a:gd name="T14" fmla="*/ 0 w 278"/>
              <a:gd name="T15" fmla="*/ 2147483647 h 143"/>
              <a:gd name="T16" fmla="*/ 0 60000 65536"/>
              <a:gd name="T17" fmla="*/ 0 60000 65536"/>
              <a:gd name="T18" fmla="*/ 0 60000 65536"/>
              <a:gd name="T19" fmla="*/ 0 60000 65536"/>
              <a:gd name="T20" fmla="*/ 0 60000 65536"/>
              <a:gd name="T21" fmla="*/ 0 60000 65536"/>
              <a:gd name="T22" fmla="*/ 0 60000 65536"/>
              <a:gd name="T23" fmla="*/ 0 60000 65536"/>
              <a:gd name="T24" fmla="*/ 0 w 278"/>
              <a:gd name="T25" fmla="*/ 0 h 143"/>
              <a:gd name="T26" fmla="*/ 278 w 278"/>
              <a:gd name="T27" fmla="*/ 143 h 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8" h="143">
                <a:moveTo>
                  <a:pt x="0" y="56"/>
                </a:moveTo>
                <a:lnTo>
                  <a:pt x="34" y="0"/>
                </a:lnTo>
                <a:lnTo>
                  <a:pt x="144" y="36"/>
                </a:lnTo>
                <a:lnTo>
                  <a:pt x="203" y="90"/>
                </a:lnTo>
                <a:lnTo>
                  <a:pt x="278" y="90"/>
                </a:lnTo>
                <a:lnTo>
                  <a:pt x="274" y="143"/>
                </a:lnTo>
                <a:lnTo>
                  <a:pt x="93" y="109"/>
                </a:lnTo>
                <a:lnTo>
                  <a:pt x="0" y="5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54" name="Freeform 112"/>
          <p:cNvSpPr>
            <a:spLocks noChangeAspect="1"/>
          </p:cNvSpPr>
          <p:nvPr/>
        </p:nvSpPr>
        <p:spPr bwMode="gray">
          <a:xfrm>
            <a:off x="1683646" y="3060925"/>
            <a:ext cx="120434" cy="132751"/>
          </a:xfrm>
          <a:custGeom>
            <a:avLst/>
            <a:gdLst>
              <a:gd name="T0" fmla="*/ 0 w 123"/>
              <a:gd name="T1" fmla="*/ 2147483647 h 115"/>
              <a:gd name="T2" fmla="*/ 2147483647 w 123"/>
              <a:gd name="T3" fmla="*/ 2147483647 h 115"/>
              <a:gd name="T4" fmla="*/ 2147483647 w 123"/>
              <a:gd name="T5" fmla="*/ 2147483647 h 115"/>
              <a:gd name="T6" fmla="*/ 2147483647 w 123"/>
              <a:gd name="T7" fmla="*/ 2147483647 h 115"/>
              <a:gd name="T8" fmla="*/ 2147483647 w 123"/>
              <a:gd name="T9" fmla="*/ 2147483647 h 115"/>
              <a:gd name="T10" fmla="*/ 2147483647 w 123"/>
              <a:gd name="T11" fmla="*/ 0 h 115"/>
              <a:gd name="T12" fmla="*/ 2147483647 w 123"/>
              <a:gd name="T13" fmla="*/ 0 h 115"/>
              <a:gd name="T14" fmla="*/ 2147483647 w 123"/>
              <a:gd name="T15" fmla="*/ 2147483647 h 115"/>
              <a:gd name="T16" fmla="*/ 2147483647 w 123"/>
              <a:gd name="T17" fmla="*/ 2147483647 h 115"/>
              <a:gd name="T18" fmla="*/ 2147483647 w 123"/>
              <a:gd name="T19" fmla="*/ 2147483647 h 115"/>
              <a:gd name="T20" fmla="*/ 2147483647 w 123"/>
              <a:gd name="T21" fmla="*/ 2147483647 h 115"/>
              <a:gd name="T22" fmla="*/ 0 w 123"/>
              <a:gd name="T23" fmla="*/ 2147483647 h 1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3"/>
              <a:gd name="T37" fmla="*/ 0 h 115"/>
              <a:gd name="T38" fmla="*/ 123 w 123"/>
              <a:gd name="T39" fmla="*/ 115 h 11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3" h="115">
                <a:moveTo>
                  <a:pt x="0" y="86"/>
                </a:moveTo>
                <a:lnTo>
                  <a:pt x="47" y="72"/>
                </a:lnTo>
                <a:lnTo>
                  <a:pt x="22" y="58"/>
                </a:lnTo>
                <a:lnTo>
                  <a:pt x="46" y="18"/>
                </a:lnTo>
                <a:lnTo>
                  <a:pt x="64" y="44"/>
                </a:lnTo>
                <a:lnTo>
                  <a:pt x="67" y="0"/>
                </a:lnTo>
                <a:lnTo>
                  <a:pt x="123" y="0"/>
                </a:lnTo>
                <a:lnTo>
                  <a:pt x="118" y="44"/>
                </a:lnTo>
                <a:lnTo>
                  <a:pt x="82" y="61"/>
                </a:lnTo>
                <a:lnTo>
                  <a:pt x="84" y="115"/>
                </a:lnTo>
                <a:lnTo>
                  <a:pt x="50" y="82"/>
                </a:lnTo>
                <a:lnTo>
                  <a:pt x="0" y="8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55" name="Freeform 116"/>
          <p:cNvSpPr>
            <a:spLocks noChangeAspect="1"/>
          </p:cNvSpPr>
          <p:nvPr/>
        </p:nvSpPr>
        <p:spPr bwMode="gray">
          <a:xfrm>
            <a:off x="1734355" y="1911944"/>
            <a:ext cx="891639" cy="860592"/>
          </a:xfrm>
          <a:custGeom>
            <a:avLst/>
            <a:gdLst>
              <a:gd name="T0" fmla="*/ 2147483647 w 897"/>
              <a:gd name="T1" fmla="*/ 2147483647 h 719"/>
              <a:gd name="T2" fmla="*/ 2147483647 w 897"/>
              <a:gd name="T3" fmla="*/ 2147483647 h 719"/>
              <a:gd name="T4" fmla="*/ 2147483647 w 897"/>
              <a:gd name="T5" fmla="*/ 2147483647 h 719"/>
              <a:gd name="T6" fmla="*/ 2147483647 w 897"/>
              <a:gd name="T7" fmla="*/ 2147483647 h 719"/>
              <a:gd name="T8" fmla="*/ 2147483647 w 897"/>
              <a:gd name="T9" fmla="*/ 2147483647 h 719"/>
              <a:gd name="T10" fmla="*/ 2147483647 w 897"/>
              <a:gd name="T11" fmla="*/ 2147483647 h 719"/>
              <a:gd name="T12" fmla="*/ 2147483647 w 897"/>
              <a:gd name="T13" fmla="*/ 2147483647 h 719"/>
              <a:gd name="T14" fmla="*/ 2147483647 w 897"/>
              <a:gd name="T15" fmla="*/ 2147483647 h 719"/>
              <a:gd name="T16" fmla="*/ 2147483647 w 897"/>
              <a:gd name="T17" fmla="*/ 2147483647 h 719"/>
              <a:gd name="T18" fmla="*/ 2147483647 w 897"/>
              <a:gd name="T19" fmla="*/ 2147483647 h 719"/>
              <a:gd name="T20" fmla="*/ 2147483647 w 897"/>
              <a:gd name="T21" fmla="*/ 2147483647 h 719"/>
              <a:gd name="T22" fmla="*/ 2147483647 w 897"/>
              <a:gd name="T23" fmla="*/ 2147483647 h 719"/>
              <a:gd name="T24" fmla="*/ 2147483647 w 897"/>
              <a:gd name="T25" fmla="*/ 2147483647 h 719"/>
              <a:gd name="T26" fmla="*/ 2147483647 w 897"/>
              <a:gd name="T27" fmla="*/ 2147483647 h 719"/>
              <a:gd name="T28" fmla="*/ 2147483647 w 897"/>
              <a:gd name="T29" fmla="*/ 2147483647 h 719"/>
              <a:gd name="T30" fmla="*/ 2147483647 w 897"/>
              <a:gd name="T31" fmla="*/ 2147483647 h 719"/>
              <a:gd name="T32" fmla="*/ 2147483647 w 897"/>
              <a:gd name="T33" fmla="*/ 2147483647 h 719"/>
              <a:gd name="T34" fmla="*/ 2147483647 w 897"/>
              <a:gd name="T35" fmla="*/ 2147483647 h 719"/>
              <a:gd name="T36" fmla="*/ 2147483647 w 897"/>
              <a:gd name="T37" fmla="*/ 2147483647 h 719"/>
              <a:gd name="T38" fmla="*/ 2147483647 w 897"/>
              <a:gd name="T39" fmla="*/ 2147483647 h 719"/>
              <a:gd name="T40" fmla="*/ 2147483647 w 897"/>
              <a:gd name="T41" fmla="*/ 2147483647 h 719"/>
              <a:gd name="T42" fmla="*/ 2147483647 w 897"/>
              <a:gd name="T43" fmla="*/ 2147483647 h 719"/>
              <a:gd name="T44" fmla="*/ 2147483647 w 897"/>
              <a:gd name="T45" fmla="*/ 2147483647 h 719"/>
              <a:gd name="T46" fmla="*/ 2147483647 w 897"/>
              <a:gd name="T47" fmla="*/ 2147483647 h 719"/>
              <a:gd name="T48" fmla="*/ 2147483647 w 897"/>
              <a:gd name="T49" fmla="*/ 2147483647 h 719"/>
              <a:gd name="T50" fmla="*/ 2147483647 w 897"/>
              <a:gd name="T51" fmla="*/ 2147483647 h 719"/>
              <a:gd name="T52" fmla="*/ 2147483647 w 897"/>
              <a:gd name="T53" fmla="*/ 2147483647 h 719"/>
              <a:gd name="T54" fmla="*/ 2147483647 w 897"/>
              <a:gd name="T55" fmla="*/ 2147483647 h 719"/>
              <a:gd name="T56" fmla="*/ 2147483647 w 897"/>
              <a:gd name="T57" fmla="*/ 2147483647 h 719"/>
              <a:gd name="T58" fmla="*/ 2147483647 w 897"/>
              <a:gd name="T59" fmla="*/ 2147483647 h 719"/>
              <a:gd name="T60" fmla="*/ 2147483647 w 897"/>
              <a:gd name="T61" fmla="*/ 2147483647 h 719"/>
              <a:gd name="T62" fmla="*/ 2147483647 w 897"/>
              <a:gd name="T63" fmla="*/ 2147483647 h 719"/>
              <a:gd name="T64" fmla="*/ 2147483647 w 897"/>
              <a:gd name="T65" fmla="*/ 2147483647 h 719"/>
              <a:gd name="T66" fmla="*/ 2147483647 w 897"/>
              <a:gd name="T67" fmla="*/ 2147483647 h 719"/>
              <a:gd name="T68" fmla="*/ 2147483647 w 897"/>
              <a:gd name="T69" fmla="*/ 2147483647 h 719"/>
              <a:gd name="T70" fmla="*/ 2147483647 w 897"/>
              <a:gd name="T71" fmla="*/ 2147483647 h 719"/>
              <a:gd name="T72" fmla="*/ 2147483647 w 897"/>
              <a:gd name="T73" fmla="*/ 2147483647 h 719"/>
              <a:gd name="T74" fmla="*/ 2147483647 w 897"/>
              <a:gd name="T75" fmla="*/ 2147483647 h 719"/>
              <a:gd name="T76" fmla="*/ 2147483647 w 897"/>
              <a:gd name="T77" fmla="*/ 2147483647 h 719"/>
              <a:gd name="T78" fmla="*/ 2147483647 w 897"/>
              <a:gd name="T79" fmla="*/ 2147483647 h 719"/>
              <a:gd name="T80" fmla="*/ 0 w 897"/>
              <a:gd name="T81" fmla="*/ 2147483647 h 7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97"/>
              <a:gd name="T124" fmla="*/ 0 h 719"/>
              <a:gd name="T125" fmla="*/ 897 w 897"/>
              <a:gd name="T126" fmla="*/ 719 h 71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97" h="719">
                <a:moveTo>
                  <a:pt x="0" y="538"/>
                </a:moveTo>
                <a:lnTo>
                  <a:pt x="2" y="568"/>
                </a:lnTo>
                <a:lnTo>
                  <a:pt x="84" y="548"/>
                </a:lnTo>
                <a:lnTo>
                  <a:pt x="87" y="560"/>
                </a:lnTo>
                <a:lnTo>
                  <a:pt x="1" y="581"/>
                </a:lnTo>
                <a:lnTo>
                  <a:pt x="22" y="592"/>
                </a:lnTo>
                <a:lnTo>
                  <a:pt x="13" y="631"/>
                </a:lnTo>
                <a:lnTo>
                  <a:pt x="71" y="598"/>
                </a:lnTo>
                <a:lnTo>
                  <a:pt x="9" y="653"/>
                </a:lnTo>
                <a:lnTo>
                  <a:pt x="44" y="653"/>
                </a:lnTo>
                <a:lnTo>
                  <a:pt x="22" y="699"/>
                </a:lnTo>
                <a:lnTo>
                  <a:pt x="109" y="719"/>
                </a:lnTo>
                <a:lnTo>
                  <a:pt x="177" y="674"/>
                </a:lnTo>
                <a:lnTo>
                  <a:pt x="191" y="632"/>
                </a:lnTo>
                <a:lnTo>
                  <a:pt x="213" y="674"/>
                </a:lnTo>
                <a:lnTo>
                  <a:pt x="253" y="622"/>
                </a:lnTo>
                <a:lnTo>
                  <a:pt x="246" y="577"/>
                </a:lnTo>
                <a:lnTo>
                  <a:pt x="264" y="556"/>
                </a:lnTo>
                <a:lnTo>
                  <a:pt x="246" y="535"/>
                </a:lnTo>
                <a:lnTo>
                  <a:pt x="248" y="433"/>
                </a:lnTo>
                <a:lnTo>
                  <a:pt x="313" y="408"/>
                </a:lnTo>
                <a:lnTo>
                  <a:pt x="300" y="376"/>
                </a:lnTo>
                <a:lnTo>
                  <a:pt x="328" y="298"/>
                </a:lnTo>
                <a:lnTo>
                  <a:pt x="389" y="241"/>
                </a:lnTo>
                <a:lnTo>
                  <a:pt x="401" y="193"/>
                </a:lnTo>
                <a:lnTo>
                  <a:pt x="444" y="184"/>
                </a:lnTo>
                <a:lnTo>
                  <a:pt x="457" y="155"/>
                </a:lnTo>
                <a:lnTo>
                  <a:pt x="521" y="162"/>
                </a:lnTo>
                <a:lnTo>
                  <a:pt x="522" y="123"/>
                </a:lnTo>
                <a:lnTo>
                  <a:pt x="538" y="123"/>
                </a:lnTo>
                <a:lnTo>
                  <a:pt x="563" y="106"/>
                </a:lnTo>
                <a:lnTo>
                  <a:pt x="603" y="140"/>
                </a:lnTo>
                <a:lnTo>
                  <a:pt x="675" y="147"/>
                </a:lnTo>
                <a:lnTo>
                  <a:pt x="717" y="125"/>
                </a:lnTo>
                <a:lnTo>
                  <a:pt x="729" y="78"/>
                </a:lnTo>
                <a:lnTo>
                  <a:pt x="797" y="65"/>
                </a:lnTo>
                <a:lnTo>
                  <a:pt x="834" y="83"/>
                </a:lnTo>
                <a:lnTo>
                  <a:pt x="830" y="123"/>
                </a:lnTo>
                <a:lnTo>
                  <a:pt x="894" y="78"/>
                </a:lnTo>
                <a:lnTo>
                  <a:pt x="851" y="85"/>
                </a:lnTo>
                <a:lnTo>
                  <a:pt x="862" y="73"/>
                </a:lnTo>
                <a:lnTo>
                  <a:pt x="818" y="61"/>
                </a:lnTo>
                <a:lnTo>
                  <a:pt x="897" y="39"/>
                </a:lnTo>
                <a:lnTo>
                  <a:pt x="834" y="12"/>
                </a:lnTo>
                <a:lnTo>
                  <a:pt x="793" y="39"/>
                </a:lnTo>
                <a:lnTo>
                  <a:pt x="815" y="3"/>
                </a:lnTo>
                <a:lnTo>
                  <a:pt x="782" y="0"/>
                </a:lnTo>
                <a:lnTo>
                  <a:pt x="760" y="39"/>
                </a:lnTo>
                <a:lnTo>
                  <a:pt x="749" y="43"/>
                </a:lnTo>
                <a:lnTo>
                  <a:pt x="749" y="8"/>
                </a:lnTo>
                <a:lnTo>
                  <a:pt x="691" y="65"/>
                </a:lnTo>
                <a:lnTo>
                  <a:pt x="722" y="13"/>
                </a:lnTo>
                <a:lnTo>
                  <a:pt x="691" y="5"/>
                </a:lnTo>
                <a:lnTo>
                  <a:pt x="630" y="68"/>
                </a:lnTo>
                <a:lnTo>
                  <a:pt x="571" y="48"/>
                </a:lnTo>
                <a:lnTo>
                  <a:pt x="587" y="83"/>
                </a:lnTo>
                <a:lnTo>
                  <a:pt x="563" y="65"/>
                </a:lnTo>
                <a:lnTo>
                  <a:pt x="522" y="107"/>
                </a:lnTo>
                <a:lnTo>
                  <a:pt x="527" y="72"/>
                </a:lnTo>
                <a:lnTo>
                  <a:pt x="505" y="103"/>
                </a:lnTo>
                <a:lnTo>
                  <a:pt x="487" y="81"/>
                </a:lnTo>
                <a:lnTo>
                  <a:pt x="500" y="112"/>
                </a:lnTo>
                <a:lnTo>
                  <a:pt x="453" y="99"/>
                </a:lnTo>
                <a:lnTo>
                  <a:pt x="440" y="142"/>
                </a:lnTo>
                <a:lnTo>
                  <a:pt x="398" y="158"/>
                </a:lnTo>
                <a:lnTo>
                  <a:pt x="437" y="161"/>
                </a:lnTo>
                <a:lnTo>
                  <a:pt x="366" y="182"/>
                </a:lnTo>
                <a:lnTo>
                  <a:pt x="352" y="213"/>
                </a:lnTo>
                <a:lnTo>
                  <a:pt x="374" y="213"/>
                </a:lnTo>
                <a:lnTo>
                  <a:pt x="287" y="263"/>
                </a:lnTo>
                <a:lnTo>
                  <a:pt x="254" y="348"/>
                </a:lnTo>
                <a:lnTo>
                  <a:pt x="160" y="419"/>
                </a:lnTo>
                <a:lnTo>
                  <a:pt x="177" y="438"/>
                </a:lnTo>
                <a:lnTo>
                  <a:pt x="218" y="425"/>
                </a:lnTo>
                <a:lnTo>
                  <a:pt x="122" y="446"/>
                </a:lnTo>
                <a:lnTo>
                  <a:pt x="71" y="476"/>
                </a:lnTo>
                <a:lnTo>
                  <a:pt x="84" y="491"/>
                </a:lnTo>
                <a:lnTo>
                  <a:pt x="46" y="491"/>
                </a:lnTo>
                <a:lnTo>
                  <a:pt x="50" y="513"/>
                </a:lnTo>
                <a:lnTo>
                  <a:pt x="4" y="513"/>
                </a:lnTo>
                <a:lnTo>
                  <a:pt x="46" y="526"/>
                </a:lnTo>
                <a:lnTo>
                  <a:pt x="0" y="538"/>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56" name="Freeform 117"/>
          <p:cNvSpPr>
            <a:spLocks noChangeAspect="1"/>
          </p:cNvSpPr>
          <p:nvPr/>
        </p:nvSpPr>
        <p:spPr bwMode="gray">
          <a:xfrm>
            <a:off x="3661310" y="3887186"/>
            <a:ext cx="576818" cy="599668"/>
          </a:xfrm>
          <a:custGeom>
            <a:avLst/>
            <a:gdLst>
              <a:gd name="T0" fmla="*/ 0 w 582"/>
              <a:gd name="T1" fmla="*/ 2147483647 h 505"/>
              <a:gd name="T2" fmla="*/ 2147483647 w 582"/>
              <a:gd name="T3" fmla="*/ 2147483647 h 505"/>
              <a:gd name="T4" fmla="*/ 2147483647 w 582"/>
              <a:gd name="T5" fmla="*/ 2147483647 h 505"/>
              <a:gd name="T6" fmla="*/ 2147483647 w 582"/>
              <a:gd name="T7" fmla="*/ 2147483647 h 505"/>
              <a:gd name="T8" fmla="*/ 2147483647 w 582"/>
              <a:gd name="T9" fmla="*/ 2147483647 h 505"/>
              <a:gd name="T10" fmla="*/ 2147483647 w 582"/>
              <a:gd name="T11" fmla="*/ 2147483647 h 505"/>
              <a:gd name="T12" fmla="*/ 2147483647 w 582"/>
              <a:gd name="T13" fmla="*/ 2147483647 h 505"/>
              <a:gd name="T14" fmla="*/ 2147483647 w 582"/>
              <a:gd name="T15" fmla="*/ 2147483647 h 505"/>
              <a:gd name="T16" fmla="*/ 2147483647 w 582"/>
              <a:gd name="T17" fmla="*/ 2147483647 h 505"/>
              <a:gd name="T18" fmla="*/ 2147483647 w 582"/>
              <a:gd name="T19" fmla="*/ 2147483647 h 505"/>
              <a:gd name="T20" fmla="*/ 2147483647 w 582"/>
              <a:gd name="T21" fmla="*/ 2147483647 h 505"/>
              <a:gd name="T22" fmla="*/ 2147483647 w 582"/>
              <a:gd name="T23" fmla="*/ 0 h 505"/>
              <a:gd name="T24" fmla="*/ 2147483647 w 582"/>
              <a:gd name="T25" fmla="*/ 2147483647 h 505"/>
              <a:gd name="T26" fmla="*/ 2147483647 w 582"/>
              <a:gd name="T27" fmla="*/ 2147483647 h 505"/>
              <a:gd name="T28" fmla="*/ 2147483647 w 582"/>
              <a:gd name="T29" fmla="*/ 2147483647 h 505"/>
              <a:gd name="T30" fmla="*/ 2147483647 w 582"/>
              <a:gd name="T31" fmla="*/ 2147483647 h 505"/>
              <a:gd name="T32" fmla="*/ 2147483647 w 582"/>
              <a:gd name="T33" fmla="*/ 2147483647 h 505"/>
              <a:gd name="T34" fmla="*/ 2147483647 w 582"/>
              <a:gd name="T35" fmla="*/ 2147483647 h 505"/>
              <a:gd name="T36" fmla="*/ 2147483647 w 582"/>
              <a:gd name="T37" fmla="*/ 2147483647 h 505"/>
              <a:gd name="T38" fmla="*/ 2147483647 w 582"/>
              <a:gd name="T39" fmla="*/ 2147483647 h 505"/>
              <a:gd name="T40" fmla="*/ 2147483647 w 582"/>
              <a:gd name="T41" fmla="*/ 2147483647 h 505"/>
              <a:gd name="T42" fmla="*/ 2147483647 w 582"/>
              <a:gd name="T43" fmla="*/ 2147483647 h 505"/>
              <a:gd name="T44" fmla="*/ 2147483647 w 582"/>
              <a:gd name="T45" fmla="*/ 2147483647 h 505"/>
              <a:gd name="T46" fmla="*/ 2147483647 w 582"/>
              <a:gd name="T47" fmla="*/ 2147483647 h 505"/>
              <a:gd name="T48" fmla="*/ 2147483647 w 582"/>
              <a:gd name="T49" fmla="*/ 2147483647 h 505"/>
              <a:gd name="T50" fmla="*/ 2147483647 w 582"/>
              <a:gd name="T51" fmla="*/ 2147483647 h 505"/>
              <a:gd name="T52" fmla="*/ 2147483647 w 582"/>
              <a:gd name="T53" fmla="*/ 2147483647 h 505"/>
              <a:gd name="T54" fmla="*/ 2147483647 w 582"/>
              <a:gd name="T55" fmla="*/ 2147483647 h 505"/>
              <a:gd name="T56" fmla="*/ 0 w 582"/>
              <a:gd name="T57" fmla="*/ 2147483647 h 50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82"/>
              <a:gd name="T88" fmla="*/ 0 h 505"/>
              <a:gd name="T89" fmla="*/ 582 w 582"/>
              <a:gd name="T90" fmla="*/ 505 h 50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82" h="505">
                <a:moveTo>
                  <a:pt x="0" y="277"/>
                </a:moveTo>
                <a:lnTo>
                  <a:pt x="55" y="295"/>
                </a:lnTo>
                <a:lnTo>
                  <a:pt x="182" y="277"/>
                </a:lnTo>
                <a:lnTo>
                  <a:pt x="206" y="226"/>
                </a:lnTo>
                <a:lnTo>
                  <a:pt x="292" y="198"/>
                </a:lnTo>
                <a:lnTo>
                  <a:pt x="300" y="155"/>
                </a:lnTo>
                <a:lnTo>
                  <a:pt x="329" y="143"/>
                </a:lnTo>
                <a:lnTo>
                  <a:pt x="316" y="121"/>
                </a:lnTo>
                <a:lnTo>
                  <a:pt x="347" y="118"/>
                </a:lnTo>
                <a:lnTo>
                  <a:pt x="370" y="74"/>
                </a:lnTo>
                <a:lnTo>
                  <a:pt x="360" y="32"/>
                </a:lnTo>
                <a:lnTo>
                  <a:pt x="475" y="0"/>
                </a:lnTo>
                <a:lnTo>
                  <a:pt x="582" y="65"/>
                </a:lnTo>
                <a:lnTo>
                  <a:pt x="552" y="92"/>
                </a:lnTo>
                <a:lnTo>
                  <a:pt x="453" y="92"/>
                </a:lnTo>
                <a:lnTo>
                  <a:pt x="455" y="149"/>
                </a:lnTo>
                <a:lnTo>
                  <a:pt x="500" y="184"/>
                </a:lnTo>
                <a:lnTo>
                  <a:pt x="473" y="203"/>
                </a:lnTo>
                <a:lnTo>
                  <a:pt x="480" y="235"/>
                </a:lnTo>
                <a:lnTo>
                  <a:pt x="378" y="351"/>
                </a:lnTo>
                <a:lnTo>
                  <a:pt x="331" y="347"/>
                </a:lnTo>
                <a:lnTo>
                  <a:pt x="300" y="376"/>
                </a:lnTo>
                <a:lnTo>
                  <a:pt x="354" y="482"/>
                </a:lnTo>
                <a:lnTo>
                  <a:pt x="276" y="482"/>
                </a:lnTo>
                <a:lnTo>
                  <a:pt x="247" y="505"/>
                </a:lnTo>
                <a:lnTo>
                  <a:pt x="189" y="441"/>
                </a:lnTo>
                <a:lnTo>
                  <a:pt x="28" y="453"/>
                </a:lnTo>
                <a:lnTo>
                  <a:pt x="82" y="380"/>
                </a:lnTo>
                <a:lnTo>
                  <a:pt x="0" y="277"/>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57" name="Freeform 124"/>
          <p:cNvSpPr>
            <a:spLocks noChangeAspect="1"/>
          </p:cNvSpPr>
          <p:nvPr/>
        </p:nvSpPr>
        <p:spPr bwMode="gray">
          <a:xfrm>
            <a:off x="5603055" y="5015567"/>
            <a:ext cx="80290" cy="121308"/>
          </a:xfrm>
          <a:custGeom>
            <a:avLst/>
            <a:gdLst>
              <a:gd name="T0" fmla="*/ 0 w 80"/>
              <a:gd name="T1" fmla="*/ 2147483647 h 100"/>
              <a:gd name="T2" fmla="*/ 2147483647 w 80"/>
              <a:gd name="T3" fmla="*/ 2147483647 h 100"/>
              <a:gd name="T4" fmla="*/ 2147483647 w 80"/>
              <a:gd name="T5" fmla="*/ 0 h 100"/>
              <a:gd name="T6" fmla="*/ 0 w 80"/>
              <a:gd name="T7" fmla="*/ 2147483647 h 100"/>
              <a:gd name="T8" fmla="*/ 0 60000 65536"/>
              <a:gd name="T9" fmla="*/ 0 60000 65536"/>
              <a:gd name="T10" fmla="*/ 0 60000 65536"/>
              <a:gd name="T11" fmla="*/ 0 60000 65536"/>
              <a:gd name="T12" fmla="*/ 0 w 80"/>
              <a:gd name="T13" fmla="*/ 0 h 100"/>
              <a:gd name="T14" fmla="*/ 80 w 80"/>
              <a:gd name="T15" fmla="*/ 100 h 100"/>
            </a:gdLst>
            <a:ahLst/>
            <a:cxnLst>
              <a:cxn ang="T8">
                <a:pos x="T0" y="T1"/>
              </a:cxn>
              <a:cxn ang="T9">
                <a:pos x="T2" y="T3"/>
              </a:cxn>
              <a:cxn ang="T10">
                <a:pos x="T4" y="T5"/>
              </a:cxn>
              <a:cxn ang="T11">
                <a:pos x="T6" y="T7"/>
              </a:cxn>
            </a:cxnLst>
            <a:rect l="T12" t="T13" r="T14" b="T15"/>
            <a:pathLst>
              <a:path w="80" h="100">
                <a:moveTo>
                  <a:pt x="0" y="100"/>
                </a:moveTo>
                <a:lnTo>
                  <a:pt x="55" y="53"/>
                </a:lnTo>
                <a:lnTo>
                  <a:pt x="80" y="0"/>
                </a:lnTo>
                <a:lnTo>
                  <a:pt x="0" y="100"/>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58" name="Freeform 125"/>
          <p:cNvSpPr>
            <a:spLocks noChangeAspect="1"/>
          </p:cNvSpPr>
          <p:nvPr/>
        </p:nvSpPr>
        <p:spPr bwMode="gray">
          <a:xfrm>
            <a:off x="3752164" y="4221351"/>
            <a:ext cx="137338" cy="256346"/>
          </a:xfrm>
          <a:custGeom>
            <a:avLst/>
            <a:gdLst>
              <a:gd name="T0" fmla="*/ 0 w 142"/>
              <a:gd name="T1" fmla="*/ 2147483647 h 211"/>
              <a:gd name="T2" fmla="*/ 2147483647 w 142"/>
              <a:gd name="T3" fmla="*/ 0 h 211"/>
              <a:gd name="T4" fmla="*/ 2147483647 w 142"/>
              <a:gd name="T5" fmla="*/ 2147483647 h 211"/>
              <a:gd name="T6" fmla="*/ 2147483647 w 142"/>
              <a:gd name="T7" fmla="*/ 2147483647 h 211"/>
              <a:gd name="T8" fmla="*/ 2147483647 w 142"/>
              <a:gd name="T9" fmla="*/ 2147483647 h 211"/>
              <a:gd name="T10" fmla="*/ 2147483647 w 142"/>
              <a:gd name="T11" fmla="*/ 2147483647 h 211"/>
              <a:gd name="T12" fmla="*/ 2147483647 w 142"/>
              <a:gd name="T13" fmla="*/ 2147483647 h 211"/>
              <a:gd name="T14" fmla="*/ 2147483647 w 142"/>
              <a:gd name="T15" fmla="*/ 2147483647 h 211"/>
              <a:gd name="T16" fmla="*/ 2147483647 w 142"/>
              <a:gd name="T17" fmla="*/ 2147483647 h 211"/>
              <a:gd name="T18" fmla="*/ 2147483647 w 142"/>
              <a:gd name="T19" fmla="*/ 2147483647 h 211"/>
              <a:gd name="T20" fmla="*/ 2147483647 w 142"/>
              <a:gd name="T21" fmla="*/ 2147483647 h 211"/>
              <a:gd name="T22" fmla="*/ 0 w 142"/>
              <a:gd name="T23" fmla="*/ 2147483647 h 2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2"/>
              <a:gd name="T37" fmla="*/ 0 h 211"/>
              <a:gd name="T38" fmla="*/ 142 w 142"/>
              <a:gd name="T39" fmla="*/ 211 h 2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2" h="211">
                <a:moveTo>
                  <a:pt x="0" y="83"/>
                </a:moveTo>
                <a:lnTo>
                  <a:pt x="27" y="0"/>
                </a:lnTo>
                <a:lnTo>
                  <a:pt x="78" y="2"/>
                </a:lnTo>
                <a:lnTo>
                  <a:pt x="90" y="57"/>
                </a:lnTo>
                <a:lnTo>
                  <a:pt x="52" y="113"/>
                </a:lnTo>
                <a:lnTo>
                  <a:pt x="60" y="146"/>
                </a:lnTo>
                <a:lnTo>
                  <a:pt x="136" y="167"/>
                </a:lnTo>
                <a:lnTo>
                  <a:pt x="142" y="211"/>
                </a:lnTo>
                <a:lnTo>
                  <a:pt x="96" y="167"/>
                </a:lnTo>
                <a:lnTo>
                  <a:pt x="96" y="188"/>
                </a:lnTo>
                <a:lnTo>
                  <a:pt x="27" y="167"/>
                </a:lnTo>
                <a:lnTo>
                  <a:pt x="0" y="83"/>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59" name="Freeform 126"/>
          <p:cNvSpPr>
            <a:spLocks noChangeAspect="1"/>
          </p:cNvSpPr>
          <p:nvPr/>
        </p:nvSpPr>
        <p:spPr bwMode="gray">
          <a:xfrm>
            <a:off x="5708700" y="4928592"/>
            <a:ext cx="40146" cy="48066"/>
          </a:xfrm>
          <a:custGeom>
            <a:avLst/>
            <a:gdLst>
              <a:gd name="T0" fmla="*/ 0 w 40"/>
              <a:gd name="T1" fmla="*/ 0 h 42"/>
              <a:gd name="T2" fmla="*/ 2147483647 w 40"/>
              <a:gd name="T3" fmla="*/ 0 h 42"/>
              <a:gd name="T4" fmla="*/ 2147483647 w 40"/>
              <a:gd name="T5" fmla="*/ 2147483647 h 42"/>
              <a:gd name="T6" fmla="*/ 2147483647 w 40"/>
              <a:gd name="T7" fmla="*/ 2147483647 h 42"/>
              <a:gd name="T8" fmla="*/ 0 w 40"/>
              <a:gd name="T9" fmla="*/ 0 h 42"/>
              <a:gd name="T10" fmla="*/ 0 60000 65536"/>
              <a:gd name="T11" fmla="*/ 0 60000 65536"/>
              <a:gd name="T12" fmla="*/ 0 60000 65536"/>
              <a:gd name="T13" fmla="*/ 0 60000 65536"/>
              <a:gd name="T14" fmla="*/ 0 60000 65536"/>
              <a:gd name="T15" fmla="*/ 0 w 40"/>
              <a:gd name="T16" fmla="*/ 0 h 42"/>
              <a:gd name="T17" fmla="*/ 40 w 40"/>
              <a:gd name="T18" fmla="*/ 42 h 42"/>
            </a:gdLst>
            <a:ahLst/>
            <a:cxnLst>
              <a:cxn ang="T10">
                <a:pos x="T0" y="T1"/>
              </a:cxn>
              <a:cxn ang="T11">
                <a:pos x="T2" y="T3"/>
              </a:cxn>
              <a:cxn ang="T12">
                <a:pos x="T4" y="T5"/>
              </a:cxn>
              <a:cxn ang="T13">
                <a:pos x="T6" y="T7"/>
              </a:cxn>
              <a:cxn ang="T14">
                <a:pos x="T8" y="T9"/>
              </a:cxn>
            </a:cxnLst>
            <a:rect l="T15" t="T16" r="T17" b="T18"/>
            <a:pathLst>
              <a:path w="40" h="42">
                <a:moveTo>
                  <a:pt x="0" y="0"/>
                </a:moveTo>
                <a:lnTo>
                  <a:pt x="21" y="0"/>
                </a:lnTo>
                <a:lnTo>
                  <a:pt x="40" y="8"/>
                </a:lnTo>
                <a:lnTo>
                  <a:pt x="30" y="42"/>
                </a:lnTo>
                <a:lnTo>
                  <a:pt x="0" y="0"/>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60" name="Freeform 127"/>
          <p:cNvSpPr>
            <a:spLocks noChangeAspect="1"/>
          </p:cNvSpPr>
          <p:nvPr/>
        </p:nvSpPr>
        <p:spPr bwMode="gray">
          <a:xfrm>
            <a:off x="5765748" y="4990391"/>
            <a:ext cx="35918" cy="66375"/>
          </a:xfrm>
          <a:custGeom>
            <a:avLst/>
            <a:gdLst>
              <a:gd name="T0" fmla="*/ 0 w 37"/>
              <a:gd name="T1" fmla="*/ 0 h 55"/>
              <a:gd name="T2" fmla="*/ 2147483647 w 37"/>
              <a:gd name="T3" fmla="*/ 2147483647 h 55"/>
              <a:gd name="T4" fmla="*/ 2147483647 w 37"/>
              <a:gd name="T5" fmla="*/ 2147483647 h 55"/>
              <a:gd name="T6" fmla="*/ 0 w 37"/>
              <a:gd name="T7" fmla="*/ 0 h 55"/>
              <a:gd name="T8" fmla="*/ 0 60000 65536"/>
              <a:gd name="T9" fmla="*/ 0 60000 65536"/>
              <a:gd name="T10" fmla="*/ 0 60000 65536"/>
              <a:gd name="T11" fmla="*/ 0 60000 65536"/>
              <a:gd name="T12" fmla="*/ 0 w 37"/>
              <a:gd name="T13" fmla="*/ 0 h 55"/>
              <a:gd name="T14" fmla="*/ 37 w 37"/>
              <a:gd name="T15" fmla="*/ 55 h 55"/>
            </a:gdLst>
            <a:ahLst/>
            <a:cxnLst>
              <a:cxn ang="T8">
                <a:pos x="T0" y="T1"/>
              </a:cxn>
              <a:cxn ang="T9">
                <a:pos x="T2" y="T3"/>
              </a:cxn>
              <a:cxn ang="T10">
                <a:pos x="T4" y="T5"/>
              </a:cxn>
              <a:cxn ang="T11">
                <a:pos x="T6" y="T7"/>
              </a:cxn>
            </a:cxnLst>
            <a:rect l="T12" t="T13" r="T14" b="T15"/>
            <a:pathLst>
              <a:path w="37" h="55">
                <a:moveTo>
                  <a:pt x="0" y="0"/>
                </a:moveTo>
                <a:lnTo>
                  <a:pt x="2" y="55"/>
                </a:lnTo>
                <a:lnTo>
                  <a:pt x="37" y="32"/>
                </a:lnTo>
                <a:lnTo>
                  <a:pt x="0" y="0"/>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61" name="Freeform 129"/>
          <p:cNvSpPr>
            <a:spLocks noChangeAspect="1"/>
          </p:cNvSpPr>
          <p:nvPr/>
        </p:nvSpPr>
        <p:spPr bwMode="gray">
          <a:xfrm>
            <a:off x="5786877" y="5040745"/>
            <a:ext cx="31693" cy="70952"/>
          </a:xfrm>
          <a:custGeom>
            <a:avLst/>
            <a:gdLst>
              <a:gd name="T0" fmla="*/ 0 w 34"/>
              <a:gd name="T1" fmla="*/ 2147483647 h 58"/>
              <a:gd name="T2" fmla="*/ 2147483647 w 34"/>
              <a:gd name="T3" fmla="*/ 2147483647 h 58"/>
              <a:gd name="T4" fmla="*/ 2147483647 w 34"/>
              <a:gd name="T5" fmla="*/ 0 h 58"/>
              <a:gd name="T6" fmla="*/ 2147483647 w 34"/>
              <a:gd name="T7" fmla="*/ 2147483647 h 58"/>
              <a:gd name="T8" fmla="*/ 0 w 34"/>
              <a:gd name="T9" fmla="*/ 2147483647 h 58"/>
              <a:gd name="T10" fmla="*/ 0 60000 65536"/>
              <a:gd name="T11" fmla="*/ 0 60000 65536"/>
              <a:gd name="T12" fmla="*/ 0 60000 65536"/>
              <a:gd name="T13" fmla="*/ 0 60000 65536"/>
              <a:gd name="T14" fmla="*/ 0 60000 65536"/>
              <a:gd name="T15" fmla="*/ 0 w 34"/>
              <a:gd name="T16" fmla="*/ 0 h 58"/>
              <a:gd name="T17" fmla="*/ 34 w 34"/>
              <a:gd name="T18" fmla="*/ 58 h 58"/>
            </a:gdLst>
            <a:ahLst/>
            <a:cxnLst>
              <a:cxn ang="T10">
                <a:pos x="T0" y="T1"/>
              </a:cxn>
              <a:cxn ang="T11">
                <a:pos x="T2" y="T3"/>
              </a:cxn>
              <a:cxn ang="T12">
                <a:pos x="T4" y="T5"/>
              </a:cxn>
              <a:cxn ang="T13">
                <a:pos x="T6" y="T7"/>
              </a:cxn>
              <a:cxn ang="T14">
                <a:pos x="T8" y="T9"/>
              </a:cxn>
            </a:cxnLst>
            <a:rect l="T15" t="T16" r="T17" b="T18"/>
            <a:pathLst>
              <a:path w="34" h="58">
                <a:moveTo>
                  <a:pt x="0" y="38"/>
                </a:moveTo>
                <a:lnTo>
                  <a:pt x="8" y="25"/>
                </a:lnTo>
                <a:lnTo>
                  <a:pt x="34" y="0"/>
                </a:lnTo>
                <a:lnTo>
                  <a:pt x="23" y="58"/>
                </a:lnTo>
                <a:lnTo>
                  <a:pt x="0" y="38"/>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62" name="Freeform 130"/>
          <p:cNvSpPr>
            <a:spLocks noChangeAspect="1"/>
          </p:cNvSpPr>
          <p:nvPr/>
        </p:nvSpPr>
        <p:spPr bwMode="gray">
          <a:xfrm>
            <a:off x="2044949" y="2969373"/>
            <a:ext cx="346514" cy="313567"/>
          </a:xfrm>
          <a:custGeom>
            <a:avLst/>
            <a:gdLst>
              <a:gd name="T0" fmla="*/ 0 w 345"/>
              <a:gd name="T1" fmla="*/ 2147483647 h 262"/>
              <a:gd name="T2" fmla="*/ 2147483647 w 345"/>
              <a:gd name="T3" fmla="*/ 2147483647 h 262"/>
              <a:gd name="T4" fmla="*/ 2147483647 w 345"/>
              <a:gd name="T5" fmla="*/ 2147483647 h 262"/>
              <a:gd name="T6" fmla="*/ 2147483647 w 345"/>
              <a:gd name="T7" fmla="*/ 2147483647 h 262"/>
              <a:gd name="T8" fmla="*/ 2147483647 w 345"/>
              <a:gd name="T9" fmla="*/ 2147483647 h 262"/>
              <a:gd name="T10" fmla="*/ 2147483647 w 345"/>
              <a:gd name="T11" fmla="*/ 2147483647 h 262"/>
              <a:gd name="T12" fmla="*/ 2147483647 w 345"/>
              <a:gd name="T13" fmla="*/ 2147483647 h 262"/>
              <a:gd name="T14" fmla="*/ 2147483647 w 345"/>
              <a:gd name="T15" fmla="*/ 2147483647 h 262"/>
              <a:gd name="T16" fmla="*/ 2147483647 w 345"/>
              <a:gd name="T17" fmla="*/ 2147483647 h 262"/>
              <a:gd name="T18" fmla="*/ 2147483647 w 345"/>
              <a:gd name="T19" fmla="*/ 0 h 262"/>
              <a:gd name="T20" fmla="*/ 0 w 345"/>
              <a:gd name="T21" fmla="*/ 2147483647 h 2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5"/>
              <a:gd name="T34" fmla="*/ 0 h 262"/>
              <a:gd name="T35" fmla="*/ 345 w 345"/>
              <a:gd name="T36" fmla="*/ 262 h 2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5" h="262">
                <a:moveTo>
                  <a:pt x="0" y="48"/>
                </a:moveTo>
                <a:lnTo>
                  <a:pt x="20" y="185"/>
                </a:lnTo>
                <a:lnTo>
                  <a:pt x="201" y="253"/>
                </a:lnTo>
                <a:lnTo>
                  <a:pt x="289" y="262"/>
                </a:lnTo>
                <a:lnTo>
                  <a:pt x="345" y="193"/>
                </a:lnTo>
                <a:lnTo>
                  <a:pt x="317" y="115"/>
                </a:lnTo>
                <a:lnTo>
                  <a:pt x="339" y="94"/>
                </a:lnTo>
                <a:lnTo>
                  <a:pt x="324" y="34"/>
                </a:lnTo>
                <a:lnTo>
                  <a:pt x="192" y="15"/>
                </a:lnTo>
                <a:lnTo>
                  <a:pt x="107" y="0"/>
                </a:lnTo>
                <a:lnTo>
                  <a:pt x="0" y="48"/>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63" name="Freeform 131"/>
          <p:cNvSpPr>
            <a:spLocks noChangeAspect="1"/>
          </p:cNvSpPr>
          <p:nvPr/>
        </p:nvSpPr>
        <p:spPr bwMode="gray">
          <a:xfrm>
            <a:off x="1239939" y="3658305"/>
            <a:ext cx="109870" cy="228881"/>
          </a:xfrm>
          <a:custGeom>
            <a:avLst/>
            <a:gdLst>
              <a:gd name="T0" fmla="*/ 0 w 109"/>
              <a:gd name="T1" fmla="*/ 2147483647 h 192"/>
              <a:gd name="T2" fmla="*/ 2147483647 w 109"/>
              <a:gd name="T3" fmla="*/ 0 h 192"/>
              <a:gd name="T4" fmla="*/ 2147483647 w 109"/>
              <a:gd name="T5" fmla="*/ 2147483647 h 192"/>
              <a:gd name="T6" fmla="*/ 2147483647 w 109"/>
              <a:gd name="T7" fmla="*/ 2147483647 h 192"/>
              <a:gd name="T8" fmla="*/ 2147483647 w 109"/>
              <a:gd name="T9" fmla="*/ 2147483647 h 192"/>
              <a:gd name="T10" fmla="*/ 2147483647 w 109"/>
              <a:gd name="T11" fmla="*/ 2147483647 h 192"/>
              <a:gd name="T12" fmla="*/ 2147483647 w 109"/>
              <a:gd name="T13" fmla="*/ 2147483647 h 192"/>
              <a:gd name="T14" fmla="*/ 0 w 109"/>
              <a:gd name="T15" fmla="*/ 2147483647 h 192"/>
              <a:gd name="T16" fmla="*/ 0 60000 65536"/>
              <a:gd name="T17" fmla="*/ 0 60000 65536"/>
              <a:gd name="T18" fmla="*/ 0 60000 65536"/>
              <a:gd name="T19" fmla="*/ 0 60000 65536"/>
              <a:gd name="T20" fmla="*/ 0 60000 65536"/>
              <a:gd name="T21" fmla="*/ 0 60000 65536"/>
              <a:gd name="T22" fmla="*/ 0 60000 65536"/>
              <a:gd name="T23" fmla="*/ 0 60000 65536"/>
              <a:gd name="T24" fmla="*/ 0 w 109"/>
              <a:gd name="T25" fmla="*/ 0 h 192"/>
              <a:gd name="T26" fmla="*/ 109 w 109"/>
              <a:gd name="T27" fmla="*/ 192 h 1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9" h="192">
                <a:moveTo>
                  <a:pt x="0" y="125"/>
                </a:moveTo>
                <a:lnTo>
                  <a:pt x="19" y="0"/>
                </a:lnTo>
                <a:lnTo>
                  <a:pt x="109" y="8"/>
                </a:lnTo>
                <a:lnTo>
                  <a:pt x="69" y="88"/>
                </a:lnTo>
                <a:lnTo>
                  <a:pt x="69" y="187"/>
                </a:lnTo>
                <a:lnTo>
                  <a:pt x="16" y="192"/>
                </a:lnTo>
                <a:lnTo>
                  <a:pt x="23" y="132"/>
                </a:lnTo>
                <a:lnTo>
                  <a:pt x="0" y="125"/>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64" name="Freeform 132"/>
          <p:cNvSpPr>
            <a:spLocks noChangeAspect="1"/>
          </p:cNvSpPr>
          <p:nvPr/>
        </p:nvSpPr>
        <p:spPr bwMode="gray">
          <a:xfrm>
            <a:off x="2252012" y="3328717"/>
            <a:ext cx="331724" cy="231169"/>
          </a:xfrm>
          <a:custGeom>
            <a:avLst/>
            <a:gdLst>
              <a:gd name="T0" fmla="*/ 0 w 329"/>
              <a:gd name="T1" fmla="*/ 2147483647 h 193"/>
              <a:gd name="T2" fmla="*/ 2147483647 w 329"/>
              <a:gd name="T3" fmla="*/ 2147483647 h 193"/>
              <a:gd name="T4" fmla="*/ 2147483647 w 329"/>
              <a:gd name="T5" fmla="*/ 2147483647 h 193"/>
              <a:gd name="T6" fmla="*/ 2147483647 w 329"/>
              <a:gd name="T7" fmla="*/ 2147483647 h 193"/>
              <a:gd name="T8" fmla="*/ 2147483647 w 329"/>
              <a:gd name="T9" fmla="*/ 2147483647 h 193"/>
              <a:gd name="T10" fmla="*/ 2147483647 w 329"/>
              <a:gd name="T11" fmla="*/ 2147483647 h 193"/>
              <a:gd name="T12" fmla="*/ 2147483647 w 329"/>
              <a:gd name="T13" fmla="*/ 0 h 193"/>
              <a:gd name="T14" fmla="*/ 2147483647 w 329"/>
              <a:gd name="T15" fmla="*/ 2147483647 h 193"/>
              <a:gd name="T16" fmla="*/ 0 w 329"/>
              <a:gd name="T17" fmla="*/ 2147483647 h 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9"/>
              <a:gd name="T28" fmla="*/ 0 h 193"/>
              <a:gd name="T29" fmla="*/ 329 w 329"/>
              <a:gd name="T30" fmla="*/ 193 h 1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9" h="193">
                <a:moveTo>
                  <a:pt x="0" y="94"/>
                </a:moveTo>
                <a:lnTo>
                  <a:pt x="89" y="174"/>
                </a:lnTo>
                <a:lnTo>
                  <a:pt x="293" y="193"/>
                </a:lnTo>
                <a:lnTo>
                  <a:pt x="329" y="126"/>
                </a:lnTo>
                <a:lnTo>
                  <a:pt x="277" y="122"/>
                </a:lnTo>
                <a:lnTo>
                  <a:pt x="272" y="63"/>
                </a:lnTo>
                <a:lnTo>
                  <a:pt x="226" y="0"/>
                </a:lnTo>
                <a:lnTo>
                  <a:pt x="89" y="13"/>
                </a:lnTo>
                <a:lnTo>
                  <a:pt x="0" y="94"/>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65" name="Freeform 133"/>
          <p:cNvSpPr>
            <a:spLocks noChangeAspect="1"/>
          </p:cNvSpPr>
          <p:nvPr/>
        </p:nvSpPr>
        <p:spPr bwMode="gray">
          <a:xfrm>
            <a:off x="2759106" y="4111489"/>
            <a:ext cx="720496" cy="723263"/>
          </a:xfrm>
          <a:custGeom>
            <a:avLst/>
            <a:gdLst>
              <a:gd name="T0" fmla="*/ 0 w 731"/>
              <a:gd name="T1" fmla="*/ 2147483647 h 607"/>
              <a:gd name="T2" fmla="*/ 2147483647 w 731"/>
              <a:gd name="T3" fmla="*/ 2147483647 h 607"/>
              <a:gd name="T4" fmla="*/ 2147483647 w 731"/>
              <a:gd name="T5" fmla="*/ 2147483647 h 607"/>
              <a:gd name="T6" fmla="*/ 2147483647 w 731"/>
              <a:gd name="T7" fmla="*/ 2147483647 h 607"/>
              <a:gd name="T8" fmla="*/ 2147483647 w 731"/>
              <a:gd name="T9" fmla="*/ 2147483647 h 607"/>
              <a:gd name="T10" fmla="*/ 2147483647 w 731"/>
              <a:gd name="T11" fmla="*/ 2147483647 h 607"/>
              <a:gd name="T12" fmla="*/ 2147483647 w 731"/>
              <a:gd name="T13" fmla="*/ 0 h 607"/>
              <a:gd name="T14" fmla="*/ 2147483647 w 731"/>
              <a:gd name="T15" fmla="*/ 2147483647 h 607"/>
              <a:gd name="T16" fmla="*/ 2147483647 w 731"/>
              <a:gd name="T17" fmla="*/ 2147483647 h 607"/>
              <a:gd name="T18" fmla="*/ 2147483647 w 731"/>
              <a:gd name="T19" fmla="*/ 2147483647 h 607"/>
              <a:gd name="T20" fmla="*/ 2147483647 w 731"/>
              <a:gd name="T21" fmla="*/ 2147483647 h 607"/>
              <a:gd name="T22" fmla="*/ 2147483647 w 731"/>
              <a:gd name="T23" fmla="*/ 2147483647 h 607"/>
              <a:gd name="T24" fmla="*/ 2147483647 w 731"/>
              <a:gd name="T25" fmla="*/ 2147483647 h 607"/>
              <a:gd name="T26" fmla="*/ 2147483647 w 731"/>
              <a:gd name="T27" fmla="*/ 2147483647 h 607"/>
              <a:gd name="T28" fmla="*/ 2147483647 w 731"/>
              <a:gd name="T29" fmla="*/ 2147483647 h 607"/>
              <a:gd name="T30" fmla="*/ 2147483647 w 731"/>
              <a:gd name="T31" fmla="*/ 2147483647 h 607"/>
              <a:gd name="T32" fmla="*/ 2147483647 w 731"/>
              <a:gd name="T33" fmla="*/ 2147483647 h 607"/>
              <a:gd name="T34" fmla="*/ 2147483647 w 731"/>
              <a:gd name="T35" fmla="*/ 2147483647 h 607"/>
              <a:gd name="T36" fmla="*/ 2147483647 w 731"/>
              <a:gd name="T37" fmla="*/ 2147483647 h 607"/>
              <a:gd name="T38" fmla="*/ 2147483647 w 731"/>
              <a:gd name="T39" fmla="*/ 2147483647 h 607"/>
              <a:gd name="T40" fmla="*/ 2147483647 w 731"/>
              <a:gd name="T41" fmla="*/ 2147483647 h 607"/>
              <a:gd name="T42" fmla="*/ 2147483647 w 731"/>
              <a:gd name="T43" fmla="*/ 2147483647 h 607"/>
              <a:gd name="T44" fmla="*/ 2147483647 w 731"/>
              <a:gd name="T45" fmla="*/ 2147483647 h 607"/>
              <a:gd name="T46" fmla="*/ 2147483647 w 731"/>
              <a:gd name="T47" fmla="*/ 2147483647 h 607"/>
              <a:gd name="T48" fmla="*/ 2147483647 w 731"/>
              <a:gd name="T49" fmla="*/ 2147483647 h 607"/>
              <a:gd name="T50" fmla="*/ 2147483647 w 731"/>
              <a:gd name="T51" fmla="*/ 2147483647 h 607"/>
              <a:gd name="T52" fmla="*/ 2147483647 w 731"/>
              <a:gd name="T53" fmla="*/ 2147483647 h 607"/>
              <a:gd name="T54" fmla="*/ 2147483647 w 731"/>
              <a:gd name="T55" fmla="*/ 2147483647 h 607"/>
              <a:gd name="T56" fmla="*/ 0 w 731"/>
              <a:gd name="T57" fmla="*/ 2147483647 h 60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31"/>
              <a:gd name="T88" fmla="*/ 0 h 607"/>
              <a:gd name="T89" fmla="*/ 731 w 731"/>
              <a:gd name="T90" fmla="*/ 607 h 60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31" h="607">
                <a:moveTo>
                  <a:pt x="0" y="158"/>
                </a:moveTo>
                <a:lnTo>
                  <a:pt x="10" y="106"/>
                </a:lnTo>
                <a:lnTo>
                  <a:pt x="49" y="117"/>
                </a:lnTo>
                <a:lnTo>
                  <a:pt x="96" y="85"/>
                </a:lnTo>
                <a:lnTo>
                  <a:pt x="115" y="61"/>
                </a:lnTo>
                <a:lnTo>
                  <a:pt x="77" y="26"/>
                </a:lnTo>
                <a:lnTo>
                  <a:pt x="156" y="0"/>
                </a:lnTo>
                <a:lnTo>
                  <a:pt x="312" y="70"/>
                </a:lnTo>
                <a:lnTo>
                  <a:pt x="314" y="96"/>
                </a:lnTo>
                <a:lnTo>
                  <a:pt x="350" y="113"/>
                </a:lnTo>
                <a:lnTo>
                  <a:pt x="383" y="130"/>
                </a:lnTo>
                <a:lnTo>
                  <a:pt x="414" y="117"/>
                </a:lnTo>
                <a:lnTo>
                  <a:pt x="476" y="137"/>
                </a:lnTo>
                <a:lnTo>
                  <a:pt x="561" y="276"/>
                </a:lnTo>
                <a:lnTo>
                  <a:pt x="570" y="285"/>
                </a:lnTo>
                <a:lnTo>
                  <a:pt x="603" y="340"/>
                </a:lnTo>
                <a:lnTo>
                  <a:pt x="713" y="353"/>
                </a:lnTo>
                <a:lnTo>
                  <a:pt x="731" y="378"/>
                </a:lnTo>
                <a:lnTo>
                  <a:pt x="705" y="450"/>
                </a:lnTo>
                <a:lnTo>
                  <a:pt x="603" y="486"/>
                </a:lnTo>
                <a:lnTo>
                  <a:pt x="492" y="510"/>
                </a:lnTo>
                <a:lnTo>
                  <a:pt x="403" y="607"/>
                </a:lnTo>
                <a:lnTo>
                  <a:pt x="403" y="570"/>
                </a:lnTo>
                <a:lnTo>
                  <a:pt x="340" y="546"/>
                </a:lnTo>
                <a:lnTo>
                  <a:pt x="278" y="579"/>
                </a:lnTo>
                <a:lnTo>
                  <a:pt x="214" y="469"/>
                </a:lnTo>
                <a:lnTo>
                  <a:pt x="163" y="426"/>
                </a:lnTo>
                <a:lnTo>
                  <a:pt x="130" y="311"/>
                </a:lnTo>
                <a:lnTo>
                  <a:pt x="0" y="158"/>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66" name="Freeform 135"/>
          <p:cNvSpPr>
            <a:spLocks noChangeAspect="1"/>
          </p:cNvSpPr>
          <p:nvPr/>
        </p:nvSpPr>
        <p:spPr bwMode="gray">
          <a:xfrm>
            <a:off x="3219716" y="2028674"/>
            <a:ext cx="71838" cy="52642"/>
          </a:xfrm>
          <a:custGeom>
            <a:avLst/>
            <a:gdLst>
              <a:gd name="T0" fmla="*/ 0 w 68"/>
              <a:gd name="T1" fmla="*/ 2147483647 h 39"/>
              <a:gd name="T2" fmla="*/ 2147483647 w 68"/>
              <a:gd name="T3" fmla="*/ 0 h 39"/>
              <a:gd name="T4" fmla="*/ 2147483647 w 68"/>
              <a:gd name="T5" fmla="*/ 2147483647 h 39"/>
              <a:gd name="T6" fmla="*/ 0 w 68"/>
              <a:gd name="T7" fmla="*/ 2147483647 h 39"/>
              <a:gd name="T8" fmla="*/ 0 60000 65536"/>
              <a:gd name="T9" fmla="*/ 0 60000 65536"/>
              <a:gd name="T10" fmla="*/ 0 60000 65536"/>
              <a:gd name="T11" fmla="*/ 0 60000 65536"/>
              <a:gd name="T12" fmla="*/ 0 w 68"/>
              <a:gd name="T13" fmla="*/ 0 h 39"/>
              <a:gd name="T14" fmla="*/ 68 w 68"/>
              <a:gd name="T15" fmla="*/ 39 h 39"/>
            </a:gdLst>
            <a:ahLst/>
            <a:cxnLst>
              <a:cxn ang="T8">
                <a:pos x="T0" y="T1"/>
              </a:cxn>
              <a:cxn ang="T9">
                <a:pos x="T2" y="T3"/>
              </a:cxn>
              <a:cxn ang="T10">
                <a:pos x="T4" y="T5"/>
              </a:cxn>
              <a:cxn ang="T11">
                <a:pos x="T6" y="T7"/>
              </a:cxn>
            </a:cxnLst>
            <a:rect l="T12" t="T13" r="T14" b="T15"/>
            <a:pathLst>
              <a:path w="68" h="39">
                <a:moveTo>
                  <a:pt x="0" y="39"/>
                </a:moveTo>
                <a:lnTo>
                  <a:pt x="19" y="0"/>
                </a:lnTo>
                <a:lnTo>
                  <a:pt x="68" y="22"/>
                </a:lnTo>
                <a:lnTo>
                  <a:pt x="0" y="39"/>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67" name="Freeform 145"/>
          <p:cNvSpPr>
            <a:spLocks noChangeAspect="1"/>
          </p:cNvSpPr>
          <p:nvPr/>
        </p:nvSpPr>
        <p:spPr bwMode="gray">
          <a:xfrm>
            <a:off x="6446099" y="2999128"/>
            <a:ext cx="109870" cy="448606"/>
          </a:xfrm>
          <a:custGeom>
            <a:avLst/>
            <a:gdLst>
              <a:gd name="T0" fmla="*/ 0 w 108"/>
              <a:gd name="T1" fmla="*/ 2147483647 h 377"/>
              <a:gd name="T2" fmla="*/ 2147483647 w 108"/>
              <a:gd name="T3" fmla="*/ 2147483647 h 377"/>
              <a:gd name="T4" fmla="*/ 2147483647 w 108"/>
              <a:gd name="T5" fmla="*/ 2147483647 h 377"/>
              <a:gd name="T6" fmla="*/ 2147483647 w 108"/>
              <a:gd name="T7" fmla="*/ 2147483647 h 377"/>
              <a:gd name="T8" fmla="*/ 2147483647 w 108"/>
              <a:gd name="T9" fmla="*/ 2147483647 h 377"/>
              <a:gd name="T10" fmla="*/ 2147483647 w 108"/>
              <a:gd name="T11" fmla="*/ 2147483647 h 377"/>
              <a:gd name="T12" fmla="*/ 2147483647 w 108"/>
              <a:gd name="T13" fmla="*/ 2147483647 h 377"/>
              <a:gd name="T14" fmla="*/ 2147483647 w 108"/>
              <a:gd name="T15" fmla="*/ 2147483647 h 377"/>
              <a:gd name="T16" fmla="*/ 2147483647 w 108"/>
              <a:gd name="T17" fmla="*/ 2147483647 h 377"/>
              <a:gd name="T18" fmla="*/ 2147483647 w 108"/>
              <a:gd name="T19" fmla="*/ 0 h 377"/>
              <a:gd name="T20" fmla="*/ 0 w 108"/>
              <a:gd name="T21" fmla="*/ 2147483647 h 3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8"/>
              <a:gd name="T34" fmla="*/ 0 h 377"/>
              <a:gd name="T35" fmla="*/ 108 w 108"/>
              <a:gd name="T36" fmla="*/ 377 h 3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8" h="377">
                <a:moveTo>
                  <a:pt x="0" y="96"/>
                </a:moveTo>
                <a:lnTo>
                  <a:pt x="19" y="142"/>
                </a:lnTo>
                <a:lnTo>
                  <a:pt x="19" y="377"/>
                </a:lnTo>
                <a:lnTo>
                  <a:pt x="37" y="349"/>
                </a:lnTo>
                <a:lnTo>
                  <a:pt x="65" y="367"/>
                </a:lnTo>
                <a:lnTo>
                  <a:pt x="33" y="302"/>
                </a:lnTo>
                <a:lnTo>
                  <a:pt x="50" y="237"/>
                </a:lnTo>
                <a:lnTo>
                  <a:pt x="108" y="257"/>
                </a:lnTo>
                <a:lnTo>
                  <a:pt x="53" y="132"/>
                </a:lnTo>
                <a:lnTo>
                  <a:pt x="37" y="0"/>
                </a:lnTo>
                <a:lnTo>
                  <a:pt x="0" y="9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68" name="Freeform 147"/>
          <p:cNvSpPr>
            <a:spLocks noChangeAspect="1"/>
          </p:cNvSpPr>
          <p:nvPr/>
        </p:nvSpPr>
        <p:spPr bwMode="gray">
          <a:xfrm>
            <a:off x="1244165" y="3566753"/>
            <a:ext cx="428916" cy="366209"/>
          </a:xfrm>
          <a:custGeom>
            <a:avLst/>
            <a:gdLst>
              <a:gd name="T0" fmla="*/ 0 w 426"/>
              <a:gd name="T1" fmla="*/ 2147483647 h 307"/>
              <a:gd name="T2" fmla="*/ 2147483647 w 426"/>
              <a:gd name="T3" fmla="*/ 2147483647 h 307"/>
              <a:gd name="T4" fmla="*/ 2147483647 w 426"/>
              <a:gd name="T5" fmla="*/ 2147483647 h 307"/>
              <a:gd name="T6" fmla="*/ 2147483647 w 426"/>
              <a:gd name="T7" fmla="*/ 2147483647 h 307"/>
              <a:gd name="T8" fmla="*/ 2147483647 w 426"/>
              <a:gd name="T9" fmla="*/ 2147483647 h 307"/>
              <a:gd name="T10" fmla="*/ 2147483647 w 426"/>
              <a:gd name="T11" fmla="*/ 2147483647 h 307"/>
              <a:gd name="T12" fmla="*/ 2147483647 w 426"/>
              <a:gd name="T13" fmla="*/ 2147483647 h 307"/>
              <a:gd name="T14" fmla="*/ 2147483647 w 426"/>
              <a:gd name="T15" fmla="*/ 2147483647 h 307"/>
              <a:gd name="T16" fmla="*/ 2147483647 w 426"/>
              <a:gd name="T17" fmla="*/ 2147483647 h 307"/>
              <a:gd name="T18" fmla="*/ 2147483647 w 426"/>
              <a:gd name="T19" fmla="*/ 2147483647 h 307"/>
              <a:gd name="T20" fmla="*/ 2147483647 w 426"/>
              <a:gd name="T21" fmla="*/ 2147483647 h 307"/>
              <a:gd name="T22" fmla="*/ 2147483647 w 426"/>
              <a:gd name="T23" fmla="*/ 2147483647 h 307"/>
              <a:gd name="T24" fmla="*/ 2147483647 w 426"/>
              <a:gd name="T25" fmla="*/ 2147483647 h 307"/>
              <a:gd name="T26" fmla="*/ 2147483647 w 426"/>
              <a:gd name="T27" fmla="*/ 2147483647 h 307"/>
              <a:gd name="T28" fmla="*/ 2147483647 w 426"/>
              <a:gd name="T29" fmla="*/ 2147483647 h 307"/>
              <a:gd name="T30" fmla="*/ 2147483647 w 426"/>
              <a:gd name="T31" fmla="*/ 0 h 307"/>
              <a:gd name="T32" fmla="*/ 0 w 426"/>
              <a:gd name="T33" fmla="*/ 2147483647 h 30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6"/>
              <a:gd name="T52" fmla="*/ 0 h 307"/>
              <a:gd name="T53" fmla="*/ 426 w 426"/>
              <a:gd name="T54" fmla="*/ 307 h 30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6" h="307">
                <a:moveTo>
                  <a:pt x="0" y="26"/>
                </a:moveTo>
                <a:lnTo>
                  <a:pt x="14" y="76"/>
                </a:lnTo>
                <a:lnTo>
                  <a:pt x="104" y="84"/>
                </a:lnTo>
                <a:lnTo>
                  <a:pt x="64" y="164"/>
                </a:lnTo>
                <a:lnTo>
                  <a:pt x="64" y="263"/>
                </a:lnTo>
                <a:lnTo>
                  <a:pt x="128" y="307"/>
                </a:lnTo>
                <a:lnTo>
                  <a:pt x="253" y="279"/>
                </a:lnTo>
                <a:lnTo>
                  <a:pt x="322" y="204"/>
                </a:lnTo>
                <a:lnTo>
                  <a:pt x="308" y="174"/>
                </a:lnTo>
                <a:lnTo>
                  <a:pt x="346" y="120"/>
                </a:lnTo>
                <a:lnTo>
                  <a:pt x="425" y="77"/>
                </a:lnTo>
                <a:lnTo>
                  <a:pt x="426" y="53"/>
                </a:lnTo>
                <a:lnTo>
                  <a:pt x="375" y="46"/>
                </a:lnTo>
                <a:lnTo>
                  <a:pt x="364" y="43"/>
                </a:lnTo>
                <a:lnTo>
                  <a:pt x="255" y="11"/>
                </a:lnTo>
                <a:lnTo>
                  <a:pt x="36" y="0"/>
                </a:lnTo>
                <a:lnTo>
                  <a:pt x="0" y="2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69" name="Freeform 152"/>
          <p:cNvSpPr>
            <a:spLocks noChangeAspect="1"/>
          </p:cNvSpPr>
          <p:nvPr/>
        </p:nvSpPr>
        <p:spPr bwMode="gray">
          <a:xfrm>
            <a:off x="1945644" y="2060717"/>
            <a:ext cx="445819" cy="874324"/>
          </a:xfrm>
          <a:custGeom>
            <a:avLst/>
            <a:gdLst>
              <a:gd name="T0" fmla="*/ 0 w 445"/>
              <a:gd name="T1" fmla="*/ 2147483647 h 733"/>
              <a:gd name="T2" fmla="*/ 2147483647 w 445"/>
              <a:gd name="T3" fmla="*/ 2147483647 h 733"/>
              <a:gd name="T4" fmla="*/ 2147483647 w 445"/>
              <a:gd name="T5" fmla="*/ 2147483647 h 733"/>
              <a:gd name="T6" fmla="*/ 2147483647 w 445"/>
              <a:gd name="T7" fmla="*/ 2147483647 h 733"/>
              <a:gd name="T8" fmla="*/ 2147483647 w 445"/>
              <a:gd name="T9" fmla="*/ 2147483647 h 733"/>
              <a:gd name="T10" fmla="*/ 2147483647 w 445"/>
              <a:gd name="T11" fmla="*/ 2147483647 h 733"/>
              <a:gd name="T12" fmla="*/ 2147483647 w 445"/>
              <a:gd name="T13" fmla="*/ 2147483647 h 733"/>
              <a:gd name="T14" fmla="*/ 2147483647 w 445"/>
              <a:gd name="T15" fmla="*/ 2147483647 h 733"/>
              <a:gd name="T16" fmla="*/ 2147483647 w 445"/>
              <a:gd name="T17" fmla="*/ 2147483647 h 733"/>
              <a:gd name="T18" fmla="*/ 2147483647 w 445"/>
              <a:gd name="T19" fmla="*/ 2147483647 h 733"/>
              <a:gd name="T20" fmla="*/ 2147483647 w 445"/>
              <a:gd name="T21" fmla="*/ 2147483647 h 733"/>
              <a:gd name="T22" fmla="*/ 2147483647 w 445"/>
              <a:gd name="T23" fmla="*/ 2147483647 h 733"/>
              <a:gd name="T24" fmla="*/ 2147483647 w 445"/>
              <a:gd name="T25" fmla="*/ 2147483647 h 733"/>
              <a:gd name="T26" fmla="*/ 2147483647 w 445"/>
              <a:gd name="T27" fmla="*/ 2147483647 h 733"/>
              <a:gd name="T28" fmla="*/ 2147483647 w 445"/>
              <a:gd name="T29" fmla="*/ 2147483647 h 733"/>
              <a:gd name="T30" fmla="*/ 2147483647 w 445"/>
              <a:gd name="T31" fmla="*/ 2147483647 h 733"/>
              <a:gd name="T32" fmla="*/ 2147483647 w 445"/>
              <a:gd name="T33" fmla="*/ 2147483647 h 733"/>
              <a:gd name="T34" fmla="*/ 2147483647 w 445"/>
              <a:gd name="T35" fmla="*/ 2147483647 h 733"/>
              <a:gd name="T36" fmla="*/ 2147483647 w 445"/>
              <a:gd name="T37" fmla="*/ 2147483647 h 733"/>
              <a:gd name="T38" fmla="*/ 2147483647 w 445"/>
              <a:gd name="T39" fmla="*/ 2147483647 h 733"/>
              <a:gd name="T40" fmla="*/ 2147483647 w 445"/>
              <a:gd name="T41" fmla="*/ 0 h 733"/>
              <a:gd name="T42" fmla="*/ 2147483647 w 445"/>
              <a:gd name="T43" fmla="*/ 0 h 733"/>
              <a:gd name="T44" fmla="*/ 2147483647 w 445"/>
              <a:gd name="T45" fmla="*/ 2147483647 h 733"/>
              <a:gd name="T46" fmla="*/ 2147483647 w 445"/>
              <a:gd name="T47" fmla="*/ 2147483647 h 733"/>
              <a:gd name="T48" fmla="*/ 2147483647 w 445"/>
              <a:gd name="T49" fmla="*/ 2147483647 h 733"/>
              <a:gd name="T50" fmla="*/ 2147483647 w 445"/>
              <a:gd name="T51" fmla="*/ 2147483647 h 733"/>
              <a:gd name="T52" fmla="*/ 2147483647 w 445"/>
              <a:gd name="T53" fmla="*/ 2147483647 h 733"/>
              <a:gd name="T54" fmla="*/ 2147483647 w 445"/>
              <a:gd name="T55" fmla="*/ 2147483647 h 733"/>
              <a:gd name="T56" fmla="*/ 2147483647 w 445"/>
              <a:gd name="T57" fmla="*/ 2147483647 h 733"/>
              <a:gd name="T58" fmla="*/ 2147483647 w 445"/>
              <a:gd name="T59" fmla="*/ 2147483647 h 733"/>
              <a:gd name="T60" fmla="*/ 2147483647 w 445"/>
              <a:gd name="T61" fmla="*/ 2147483647 h 733"/>
              <a:gd name="T62" fmla="*/ 2147483647 w 445"/>
              <a:gd name="T63" fmla="*/ 2147483647 h 733"/>
              <a:gd name="T64" fmla="*/ 2147483647 w 445"/>
              <a:gd name="T65" fmla="*/ 2147483647 h 733"/>
              <a:gd name="T66" fmla="*/ 2147483647 w 445"/>
              <a:gd name="T67" fmla="*/ 2147483647 h 733"/>
              <a:gd name="T68" fmla="*/ 2147483647 w 445"/>
              <a:gd name="T69" fmla="*/ 2147483647 h 733"/>
              <a:gd name="T70" fmla="*/ 0 w 445"/>
              <a:gd name="T71" fmla="*/ 2147483647 h 7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5"/>
              <a:gd name="T109" fmla="*/ 0 h 733"/>
              <a:gd name="T110" fmla="*/ 445 w 445"/>
              <a:gd name="T111" fmla="*/ 733 h 7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5" h="733">
                <a:moveTo>
                  <a:pt x="0" y="551"/>
                </a:moveTo>
                <a:lnTo>
                  <a:pt x="18" y="635"/>
                </a:lnTo>
                <a:lnTo>
                  <a:pt x="57" y="675"/>
                </a:lnTo>
                <a:lnTo>
                  <a:pt x="52" y="733"/>
                </a:lnTo>
                <a:lnTo>
                  <a:pt x="161" y="694"/>
                </a:lnTo>
                <a:lnTo>
                  <a:pt x="189" y="578"/>
                </a:lnTo>
                <a:lnTo>
                  <a:pt x="169" y="574"/>
                </a:lnTo>
                <a:lnTo>
                  <a:pt x="249" y="538"/>
                </a:lnTo>
                <a:lnTo>
                  <a:pt x="172" y="530"/>
                </a:lnTo>
                <a:lnTo>
                  <a:pt x="231" y="538"/>
                </a:lnTo>
                <a:lnTo>
                  <a:pt x="263" y="508"/>
                </a:lnTo>
                <a:lnTo>
                  <a:pt x="215" y="471"/>
                </a:lnTo>
                <a:lnTo>
                  <a:pt x="171" y="497"/>
                </a:lnTo>
                <a:lnTo>
                  <a:pt x="207" y="474"/>
                </a:lnTo>
                <a:lnTo>
                  <a:pt x="208" y="368"/>
                </a:lnTo>
                <a:lnTo>
                  <a:pt x="358" y="268"/>
                </a:lnTo>
                <a:lnTo>
                  <a:pt x="347" y="246"/>
                </a:lnTo>
                <a:lnTo>
                  <a:pt x="373" y="196"/>
                </a:lnTo>
                <a:lnTo>
                  <a:pt x="445" y="180"/>
                </a:lnTo>
                <a:lnTo>
                  <a:pt x="427" y="61"/>
                </a:lnTo>
                <a:lnTo>
                  <a:pt x="325" y="0"/>
                </a:lnTo>
                <a:lnTo>
                  <a:pt x="309" y="0"/>
                </a:lnTo>
                <a:lnTo>
                  <a:pt x="308" y="39"/>
                </a:lnTo>
                <a:lnTo>
                  <a:pt x="244" y="32"/>
                </a:lnTo>
                <a:lnTo>
                  <a:pt x="231" y="61"/>
                </a:lnTo>
                <a:lnTo>
                  <a:pt x="188" y="70"/>
                </a:lnTo>
                <a:lnTo>
                  <a:pt x="176" y="118"/>
                </a:lnTo>
                <a:lnTo>
                  <a:pt x="115" y="175"/>
                </a:lnTo>
                <a:lnTo>
                  <a:pt x="87" y="253"/>
                </a:lnTo>
                <a:lnTo>
                  <a:pt x="100" y="285"/>
                </a:lnTo>
                <a:lnTo>
                  <a:pt x="35" y="310"/>
                </a:lnTo>
                <a:lnTo>
                  <a:pt x="33" y="412"/>
                </a:lnTo>
                <a:lnTo>
                  <a:pt x="51" y="433"/>
                </a:lnTo>
                <a:lnTo>
                  <a:pt x="33" y="454"/>
                </a:lnTo>
                <a:lnTo>
                  <a:pt x="40" y="499"/>
                </a:lnTo>
                <a:lnTo>
                  <a:pt x="0" y="551"/>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70" name="Freeform 153"/>
          <p:cNvSpPr>
            <a:spLocks noChangeAspect="1"/>
          </p:cNvSpPr>
          <p:nvPr/>
        </p:nvSpPr>
        <p:spPr bwMode="gray">
          <a:xfrm>
            <a:off x="1761822" y="3358470"/>
            <a:ext cx="156354" cy="91552"/>
          </a:xfrm>
          <a:custGeom>
            <a:avLst/>
            <a:gdLst>
              <a:gd name="T0" fmla="*/ 0 w 153"/>
              <a:gd name="T1" fmla="*/ 2147483647 h 76"/>
              <a:gd name="T2" fmla="*/ 2147483647 w 153"/>
              <a:gd name="T3" fmla="*/ 2147483647 h 76"/>
              <a:gd name="T4" fmla="*/ 2147483647 w 153"/>
              <a:gd name="T5" fmla="*/ 2147483647 h 76"/>
              <a:gd name="T6" fmla="*/ 2147483647 w 153"/>
              <a:gd name="T7" fmla="*/ 2147483647 h 76"/>
              <a:gd name="T8" fmla="*/ 2147483647 w 153"/>
              <a:gd name="T9" fmla="*/ 2147483647 h 76"/>
              <a:gd name="T10" fmla="*/ 2147483647 w 153"/>
              <a:gd name="T11" fmla="*/ 2147483647 h 76"/>
              <a:gd name="T12" fmla="*/ 2147483647 w 153"/>
              <a:gd name="T13" fmla="*/ 2147483647 h 76"/>
              <a:gd name="T14" fmla="*/ 2147483647 w 153"/>
              <a:gd name="T15" fmla="*/ 2147483647 h 76"/>
              <a:gd name="T16" fmla="*/ 2147483647 w 153"/>
              <a:gd name="T17" fmla="*/ 0 h 76"/>
              <a:gd name="T18" fmla="*/ 0 w 153"/>
              <a:gd name="T19" fmla="*/ 2147483647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3"/>
              <a:gd name="T31" fmla="*/ 0 h 76"/>
              <a:gd name="T32" fmla="*/ 153 w 153"/>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3" h="76">
                <a:moveTo>
                  <a:pt x="0" y="52"/>
                </a:moveTo>
                <a:lnTo>
                  <a:pt x="34" y="76"/>
                </a:lnTo>
                <a:lnTo>
                  <a:pt x="82" y="55"/>
                </a:lnTo>
                <a:lnTo>
                  <a:pt x="104" y="75"/>
                </a:lnTo>
                <a:lnTo>
                  <a:pt x="153" y="35"/>
                </a:lnTo>
                <a:lnTo>
                  <a:pt x="124" y="31"/>
                </a:lnTo>
                <a:lnTo>
                  <a:pt x="122" y="13"/>
                </a:lnTo>
                <a:lnTo>
                  <a:pt x="119" y="8"/>
                </a:lnTo>
                <a:lnTo>
                  <a:pt x="51" y="0"/>
                </a:lnTo>
                <a:lnTo>
                  <a:pt x="0" y="52"/>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71" name="Freeform 154"/>
          <p:cNvSpPr>
            <a:spLocks noChangeAspect="1"/>
          </p:cNvSpPr>
          <p:nvPr/>
        </p:nvSpPr>
        <p:spPr bwMode="gray">
          <a:xfrm>
            <a:off x="2780235" y="3880318"/>
            <a:ext cx="245095" cy="224303"/>
          </a:xfrm>
          <a:custGeom>
            <a:avLst/>
            <a:gdLst>
              <a:gd name="T0" fmla="*/ 0 w 247"/>
              <a:gd name="T1" fmla="*/ 2147483647 h 189"/>
              <a:gd name="T2" fmla="*/ 2147483647 w 247"/>
              <a:gd name="T3" fmla="*/ 2147483647 h 189"/>
              <a:gd name="T4" fmla="*/ 2147483647 w 247"/>
              <a:gd name="T5" fmla="*/ 2147483647 h 189"/>
              <a:gd name="T6" fmla="*/ 2147483647 w 247"/>
              <a:gd name="T7" fmla="*/ 2147483647 h 189"/>
              <a:gd name="T8" fmla="*/ 2147483647 w 247"/>
              <a:gd name="T9" fmla="*/ 2147483647 h 189"/>
              <a:gd name="T10" fmla="*/ 2147483647 w 247"/>
              <a:gd name="T11" fmla="*/ 2147483647 h 189"/>
              <a:gd name="T12" fmla="*/ 2147483647 w 247"/>
              <a:gd name="T13" fmla="*/ 0 h 189"/>
              <a:gd name="T14" fmla="*/ 2147483647 w 247"/>
              <a:gd name="T15" fmla="*/ 2147483647 h 189"/>
              <a:gd name="T16" fmla="*/ 2147483647 w 247"/>
              <a:gd name="T17" fmla="*/ 2147483647 h 189"/>
              <a:gd name="T18" fmla="*/ 2147483647 w 247"/>
              <a:gd name="T19" fmla="*/ 2147483647 h 189"/>
              <a:gd name="T20" fmla="*/ 2147483647 w 247"/>
              <a:gd name="T21" fmla="*/ 2147483647 h 189"/>
              <a:gd name="T22" fmla="*/ 0 w 247"/>
              <a:gd name="T23" fmla="*/ 2147483647 h 1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7"/>
              <a:gd name="T37" fmla="*/ 0 h 189"/>
              <a:gd name="T38" fmla="*/ 247 w 247"/>
              <a:gd name="T39" fmla="*/ 189 h 1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7" h="189">
                <a:moveTo>
                  <a:pt x="0" y="175"/>
                </a:moveTo>
                <a:lnTo>
                  <a:pt x="5" y="155"/>
                </a:lnTo>
                <a:lnTo>
                  <a:pt x="41" y="115"/>
                </a:lnTo>
                <a:lnTo>
                  <a:pt x="20" y="97"/>
                </a:lnTo>
                <a:lnTo>
                  <a:pt x="19" y="48"/>
                </a:lnTo>
                <a:lnTo>
                  <a:pt x="41" y="10"/>
                </a:lnTo>
                <a:lnTo>
                  <a:pt x="247" y="0"/>
                </a:lnTo>
                <a:lnTo>
                  <a:pt x="209" y="28"/>
                </a:lnTo>
                <a:lnTo>
                  <a:pt x="196" y="104"/>
                </a:lnTo>
                <a:lnTo>
                  <a:pt x="112" y="149"/>
                </a:lnTo>
                <a:lnTo>
                  <a:pt x="37" y="189"/>
                </a:lnTo>
                <a:lnTo>
                  <a:pt x="0" y="175"/>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72" name="Freeform 155"/>
          <p:cNvSpPr>
            <a:spLocks noChangeAspect="1"/>
          </p:cNvSpPr>
          <p:nvPr/>
        </p:nvSpPr>
        <p:spPr bwMode="gray">
          <a:xfrm>
            <a:off x="4922705" y="4619604"/>
            <a:ext cx="274676" cy="631711"/>
          </a:xfrm>
          <a:custGeom>
            <a:avLst/>
            <a:gdLst>
              <a:gd name="T0" fmla="*/ 0 w 275"/>
              <a:gd name="T1" fmla="*/ 2147483647 h 529"/>
              <a:gd name="T2" fmla="*/ 2147483647 w 275"/>
              <a:gd name="T3" fmla="*/ 2147483647 h 529"/>
              <a:gd name="T4" fmla="*/ 2147483647 w 275"/>
              <a:gd name="T5" fmla="*/ 0 h 529"/>
              <a:gd name="T6" fmla="*/ 2147483647 w 275"/>
              <a:gd name="T7" fmla="*/ 2147483647 h 529"/>
              <a:gd name="T8" fmla="*/ 2147483647 w 275"/>
              <a:gd name="T9" fmla="*/ 2147483647 h 529"/>
              <a:gd name="T10" fmla="*/ 2147483647 w 275"/>
              <a:gd name="T11" fmla="*/ 2147483647 h 529"/>
              <a:gd name="T12" fmla="*/ 2147483647 w 275"/>
              <a:gd name="T13" fmla="*/ 2147483647 h 529"/>
              <a:gd name="T14" fmla="*/ 2147483647 w 275"/>
              <a:gd name="T15" fmla="*/ 2147483647 h 529"/>
              <a:gd name="T16" fmla="*/ 2147483647 w 275"/>
              <a:gd name="T17" fmla="*/ 2147483647 h 529"/>
              <a:gd name="T18" fmla="*/ 2147483647 w 275"/>
              <a:gd name="T19" fmla="*/ 2147483647 h 529"/>
              <a:gd name="T20" fmla="*/ 2147483647 w 275"/>
              <a:gd name="T21" fmla="*/ 2147483647 h 529"/>
              <a:gd name="T22" fmla="*/ 2147483647 w 275"/>
              <a:gd name="T23" fmla="*/ 2147483647 h 529"/>
              <a:gd name="T24" fmla="*/ 2147483647 w 275"/>
              <a:gd name="T25" fmla="*/ 2147483647 h 529"/>
              <a:gd name="T26" fmla="*/ 2147483647 w 275"/>
              <a:gd name="T27" fmla="*/ 2147483647 h 529"/>
              <a:gd name="T28" fmla="*/ 2147483647 w 275"/>
              <a:gd name="T29" fmla="*/ 2147483647 h 529"/>
              <a:gd name="T30" fmla="*/ 2147483647 w 275"/>
              <a:gd name="T31" fmla="*/ 2147483647 h 529"/>
              <a:gd name="T32" fmla="*/ 2147483647 w 275"/>
              <a:gd name="T33" fmla="*/ 2147483647 h 529"/>
              <a:gd name="T34" fmla="*/ 2147483647 w 275"/>
              <a:gd name="T35" fmla="*/ 2147483647 h 529"/>
              <a:gd name="T36" fmla="*/ 2147483647 w 275"/>
              <a:gd name="T37" fmla="*/ 2147483647 h 529"/>
              <a:gd name="T38" fmla="*/ 2147483647 w 275"/>
              <a:gd name="T39" fmla="*/ 2147483647 h 529"/>
              <a:gd name="T40" fmla="*/ 2147483647 w 275"/>
              <a:gd name="T41" fmla="*/ 2147483647 h 529"/>
              <a:gd name="T42" fmla="*/ 2147483647 w 275"/>
              <a:gd name="T43" fmla="*/ 2147483647 h 529"/>
              <a:gd name="T44" fmla="*/ 2147483647 w 275"/>
              <a:gd name="T45" fmla="*/ 2147483647 h 529"/>
              <a:gd name="T46" fmla="*/ 2147483647 w 275"/>
              <a:gd name="T47" fmla="*/ 2147483647 h 529"/>
              <a:gd name="T48" fmla="*/ 0 w 275"/>
              <a:gd name="T49" fmla="*/ 2147483647 h 52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5"/>
              <a:gd name="T76" fmla="*/ 0 h 529"/>
              <a:gd name="T77" fmla="*/ 275 w 275"/>
              <a:gd name="T78" fmla="*/ 529 h 52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5" h="529">
                <a:moveTo>
                  <a:pt x="0" y="84"/>
                </a:moveTo>
                <a:lnTo>
                  <a:pt x="19" y="43"/>
                </a:lnTo>
                <a:lnTo>
                  <a:pt x="93" y="0"/>
                </a:lnTo>
                <a:lnTo>
                  <a:pt x="126" y="41"/>
                </a:lnTo>
                <a:lnTo>
                  <a:pt x="116" y="112"/>
                </a:lnTo>
                <a:lnTo>
                  <a:pt x="204" y="80"/>
                </a:lnTo>
                <a:lnTo>
                  <a:pt x="242" y="112"/>
                </a:lnTo>
                <a:lnTo>
                  <a:pt x="275" y="182"/>
                </a:lnTo>
                <a:lnTo>
                  <a:pt x="263" y="226"/>
                </a:lnTo>
                <a:lnTo>
                  <a:pt x="196" y="223"/>
                </a:lnTo>
                <a:lnTo>
                  <a:pt x="172" y="244"/>
                </a:lnTo>
                <a:lnTo>
                  <a:pt x="185" y="318"/>
                </a:lnTo>
                <a:lnTo>
                  <a:pt x="95" y="254"/>
                </a:lnTo>
                <a:lnTo>
                  <a:pt x="57" y="368"/>
                </a:lnTo>
                <a:lnTo>
                  <a:pt x="100" y="472"/>
                </a:lnTo>
                <a:lnTo>
                  <a:pt x="161" y="510"/>
                </a:lnTo>
                <a:lnTo>
                  <a:pt x="129" y="529"/>
                </a:lnTo>
                <a:lnTo>
                  <a:pt x="121" y="499"/>
                </a:lnTo>
                <a:lnTo>
                  <a:pt x="95" y="499"/>
                </a:lnTo>
                <a:lnTo>
                  <a:pt x="26" y="440"/>
                </a:lnTo>
                <a:lnTo>
                  <a:pt x="38" y="373"/>
                </a:lnTo>
                <a:lnTo>
                  <a:pt x="73" y="310"/>
                </a:lnTo>
                <a:lnTo>
                  <a:pt x="24" y="208"/>
                </a:lnTo>
                <a:lnTo>
                  <a:pt x="40" y="162"/>
                </a:lnTo>
                <a:lnTo>
                  <a:pt x="0" y="84"/>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73" name="Freeform 157"/>
          <p:cNvSpPr>
            <a:spLocks noChangeAspect="1"/>
          </p:cNvSpPr>
          <p:nvPr/>
        </p:nvSpPr>
        <p:spPr bwMode="gray">
          <a:xfrm>
            <a:off x="3319022" y="4386146"/>
            <a:ext cx="179595" cy="146484"/>
          </a:xfrm>
          <a:custGeom>
            <a:avLst/>
            <a:gdLst>
              <a:gd name="T0" fmla="*/ 0 w 181"/>
              <a:gd name="T1" fmla="*/ 2147483647 h 124"/>
              <a:gd name="T2" fmla="*/ 2147483647 w 181"/>
              <a:gd name="T3" fmla="*/ 2147483647 h 124"/>
              <a:gd name="T4" fmla="*/ 2147483647 w 181"/>
              <a:gd name="T5" fmla="*/ 2147483647 h 124"/>
              <a:gd name="T6" fmla="*/ 2147483647 w 181"/>
              <a:gd name="T7" fmla="*/ 2147483647 h 124"/>
              <a:gd name="T8" fmla="*/ 2147483647 w 181"/>
              <a:gd name="T9" fmla="*/ 0 h 124"/>
              <a:gd name="T10" fmla="*/ 2147483647 w 181"/>
              <a:gd name="T11" fmla="*/ 2147483647 h 124"/>
              <a:gd name="T12" fmla="*/ 2147483647 w 181"/>
              <a:gd name="T13" fmla="*/ 2147483647 h 124"/>
              <a:gd name="T14" fmla="*/ 2147483647 w 181"/>
              <a:gd name="T15" fmla="*/ 2147483647 h 124"/>
              <a:gd name="T16" fmla="*/ 2147483647 w 181"/>
              <a:gd name="T17" fmla="*/ 2147483647 h 124"/>
              <a:gd name="T18" fmla="*/ 2147483647 w 181"/>
              <a:gd name="T19" fmla="*/ 2147483647 h 124"/>
              <a:gd name="T20" fmla="*/ 0 w 181"/>
              <a:gd name="T21" fmla="*/ 2147483647 h 1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1"/>
              <a:gd name="T34" fmla="*/ 0 h 124"/>
              <a:gd name="T35" fmla="*/ 181 w 181"/>
              <a:gd name="T36" fmla="*/ 124 h 1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1" h="124">
                <a:moveTo>
                  <a:pt x="0" y="56"/>
                </a:moveTo>
                <a:lnTo>
                  <a:pt x="10" y="54"/>
                </a:lnTo>
                <a:lnTo>
                  <a:pt x="25" y="73"/>
                </a:lnTo>
                <a:lnTo>
                  <a:pt x="102" y="72"/>
                </a:lnTo>
                <a:lnTo>
                  <a:pt x="172" y="0"/>
                </a:lnTo>
                <a:lnTo>
                  <a:pt x="181" y="44"/>
                </a:lnTo>
                <a:lnTo>
                  <a:pt x="161" y="45"/>
                </a:lnTo>
                <a:lnTo>
                  <a:pt x="172" y="72"/>
                </a:lnTo>
                <a:lnTo>
                  <a:pt x="143" y="124"/>
                </a:lnTo>
                <a:lnTo>
                  <a:pt x="33" y="111"/>
                </a:lnTo>
                <a:lnTo>
                  <a:pt x="0" y="5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74" name="Freeform 158"/>
          <p:cNvSpPr>
            <a:spLocks noChangeAspect="1"/>
          </p:cNvSpPr>
          <p:nvPr/>
        </p:nvSpPr>
        <p:spPr bwMode="gray">
          <a:xfrm>
            <a:off x="1812531" y="3887186"/>
            <a:ext cx="139451" cy="311278"/>
          </a:xfrm>
          <a:custGeom>
            <a:avLst/>
            <a:gdLst>
              <a:gd name="T0" fmla="*/ 0 w 137"/>
              <a:gd name="T1" fmla="*/ 2147483647 h 261"/>
              <a:gd name="T2" fmla="*/ 2147483647 w 137"/>
              <a:gd name="T3" fmla="*/ 2147483647 h 261"/>
              <a:gd name="T4" fmla="*/ 2147483647 w 137"/>
              <a:gd name="T5" fmla="*/ 2147483647 h 261"/>
              <a:gd name="T6" fmla="*/ 2147483647 w 137"/>
              <a:gd name="T7" fmla="*/ 0 h 261"/>
              <a:gd name="T8" fmla="*/ 2147483647 w 137"/>
              <a:gd name="T9" fmla="*/ 2147483647 h 261"/>
              <a:gd name="T10" fmla="*/ 2147483647 w 137"/>
              <a:gd name="T11" fmla="*/ 2147483647 h 261"/>
              <a:gd name="T12" fmla="*/ 2147483647 w 137"/>
              <a:gd name="T13" fmla="*/ 2147483647 h 261"/>
              <a:gd name="T14" fmla="*/ 2147483647 w 137"/>
              <a:gd name="T15" fmla="*/ 2147483647 h 261"/>
              <a:gd name="T16" fmla="*/ 2147483647 w 137"/>
              <a:gd name="T17" fmla="*/ 2147483647 h 261"/>
              <a:gd name="T18" fmla="*/ 2147483647 w 137"/>
              <a:gd name="T19" fmla="*/ 2147483647 h 261"/>
              <a:gd name="T20" fmla="*/ 0 w 137"/>
              <a:gd name="T21" fmla="*/ 2147483647 h 26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7"/>
              <a:gd name="T34" fmla="*/ 0 h 261"/>
              <a:gd name="T35" fmla="*/ 137 w 137"/>
              <a:gd name="T36" fmla="*/ 261 h 26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7" h="261">
                <a:moveTo>
                  <a:pt x="0" y="122"/>
                </a:moveTo>
                <a:lnTo>
                  <a:pt x="30" y="98"/>
                </a:lnTo>
                <a:lnTo>
                  <a:pt x="45" y="3"/>
                </a:lnTo>
                <a:lnTo>
                  <a:pt x="128" y="0"/>
                </a:lnTo>
                <a:lnTo>
                  <a:pt x="107" y="32"/>
                </a:lnTo>
                <a:lnTo>
                  <a:pt x="132" y="72"/>
                </a:lnTo>
                <a:lnTo>
                  <a:pt x="83" y="122"/>
                </a:lnTo>
                <a:lnTo>
                  <a:pt x="137" y="153"/>
                </a:lnTo>
                <a:lnTo>
                  <a:pt x="68" y="261"/>
                </a:lnTo>
                <a:lnTo>
                  <a:pt x="58" y="192"/>
                </a:lnTo>
                <a:lnTo>
                  <a:pt x="0" y="122"/>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75" name="Freeform 159"/>
          <p:cNvSpPr>
            <a:spLocks noChangeAspect="1"/>
          </p:cNvSpPr>
          <p:nvPr/>
        </p:nvSpPr>
        <p:spPr bwMode="gray">
          <a:xfrm>
            <a:off x="2463301" y="3651438"/>
            <a:ext cx="92967" cy="89264"/>
          </a:xfrm>
          <a:custGeom>
            <a:avLst/>
            <a:gdLst>
              <a:gd name="T0" fmla="*/ 0 w 97"/>
              <a:gd name="T1" fmla="*/ 2147483647 h 73"/>
              <a:gd name="T2" fmla="*/ 2147483647 w 97"/>
              <a:gd name="T3" fmla="*/ 2147483647 h 73"/>
              <a:gd name="T4" fmla="*/ 2147483647 w 97"/>
              <a:gd name="T5" fmla="*/ 0 h 73"/>
              <a:gd name="T6" fmla="*/ 2147483647 w 97"/>
              <a:gd name="T7" fmla="*/ 2147483647 h 73"/>
              <a:gd name="T8" fmla="*/ 2147483647 w 97"/>
              <a:gd name="T9" fmla="*/ 2147483647 h 73"/>
              <a:gd name="T10" fmla="*/ 2147483647 w 97"/>
              <a:gd name="T11" fmla="*/ 2147483647 h 73"/>
              <a:gd name="T12" fmla="*/ 2147483647 w 97"/>
              <a:gd name="T13" fmla="*/ 2147483647 h 73"/>
              <a:gd name="T14" fmla="*/ 0 w 97"/>
              <a:gd name="T15" fmla="*/ 2147483647 h 73"/>
              <a:gd name="T16" fmla="*/ 0 60000 65536"/>
              <a:gd name="T17" fmla="*/ 0 60000 65536"/>
              <a:gd name="T18" fmla="*/ 0 60000 65536"/>
              <a:gd name="T19" fmla="*/ 0 60000 65536"/>
              <a:gd name="T20" fmla="*/ 0 60000 65536"/>
              <a:gd name="T21" fmla="*/ 0 60000 65536"/>
              <a:gd name="T22" fmla="*/ 0 60000 65536"/>
              <a:gd name="T23" fmla="*/ 0 60000 65536"/>
              <a:gd name="T24" fmla="*/ 0 w 97"/>
              <a:gd name="T25" fmla="*/ 0 h 73"/>
              <a:gd name="T26" fmla="*/ 97 w 97"/>
              <a:gd name="T27" fmla="*/ 73 h 7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7" h="73">
                <a:moveTo>
                  <a:pt x="0" y="49"/>
                </a:moveTo>
                <a:lnTo>
                  <a:pt x="11" y="4"/>
                </a:lnTo>
                <a:lnTo>
                  <a:pt x="66" y="0"/>
                </a:lnTo>
                <a:lnTo>
                  <a:pt x="97" y="37"/>
                </a:lnTo>
                <a:lnTo>
                  <a:pt x="53" y="38"/>
                </a:lnTo>
                <a:lnTo>
                  <a:pt x="4" y="73"/>
                </a:lnTo>
                <a:lnTo>
                  <a:pt x="26" y="51"/>
                </a:lnTo>
                <a:lnTo>
                  <a:pt x="0" y="49"/>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76" name="Freeform 160"/>
          <p:cNvSpPr>
            <a:spLocks noChangeAspect="1"/>
          </p:cNvSpPr>
          <p:nvPr/>
        </p:nvSpPr>
        <p:spPr bwMode="gray">
          <a:xfrm>
            <a:off x="2471753" y="3644572"/>
            <a:ext cx="633867" cy="290678"/>
          </a:xfrm>
          <a:custGeom>
            <a:avLst/>
            <a:gdLst>
              <a:gd name="T0" fmla="*/ 0 w 638"/>
              <a:gd name="T1" fmla="*/ 2147483647 h 247"/>
              <a:gd name="T2" fmla="*/ 2147483647 w 638"/>
              <a:gd name="T3" fmla="*/ 2147483647 h 247"/>
              <a:gd name="T4" fmla="*/ 2147483647 w 638"/>
              <a:gd name="T5" fmla="*/ 2147483647 h 247"/>
              <a:gd name="T6" fmla="*/ 2147483647 w 638"/>
              <a:gd name="T7" fmla="*/ 2147483647 h 247"/>
              <a:gd name="T8" fmla="*/ 2147483647 w 638"/>
              <a:gd name="T9" fmla="*/ 2147483647 h 247"/>
              <a:gd name="T10" fmla="*/ 2147483647 w 638"/>
              <a:gd name="T11" fmla="*/ 2147483647 h 247"/>
              <a:gd name="T12" fmla="*/ 2147483647 w 638"/>
              <a:gd name="T13" fmla="*/ 2147483647 h 247"/>
              <a:gd name="T14" fmla="*/ 2147483647 w 638"/>
              <a:gd name="T15" fmla="*/ 2147483647 h 247"/>
              <a:gd name="T16" fmla="*/ 2147483647 w 638"/>
              <a:gd name="T17" fmla="*/ 2147483647 h 247"/>
              <a:gd name="T18" fmla="*/ 2147483647 w 638"/>
              <a:gd name="T19" fmla="*/ 2147483647 h 247"/>
              <a:gd name="T20" fmla="*/ 2147483647 w 638"/>
              <a:gd name="T21" fmla="*/ 2147483647 h 247"/>
              <a:gd name="T22" fmla="*/ 2147483647 w 638"/>
              <a:gd name="T23" fmla="*/ 2147483647 h 247"/>
              <a:gd name="T24" fmla="*/ 2147483647 w 638"/>
              <a:gd name="T25" fmla="*/ 2147483647 h 247"/>
              <a:gd name="T26" fmla="*/ 2147483647 w 638"/>
              <a:gd name="T27" fmla="*/ 2147483647 h 247"/>
              <a:gd name="T28" fmla="*/ 2147483647 w 638"/>
              <a:gd name="T29" fmla="*/ 2147483647 h 247"/>
              <a:gd name="T30" fmla="*/ 2147483647 w 638"/>
              <a:gd name="T31" fmla="*/ 2147483647 h 247"/>
              <a:gd name="T32" fmla="*/ 2147483647 w 638"/>
              <a:gd name="T33" fmla="*/ 2147483647 h 247"/>
              <a:gd name="T34" fmla="*/ 2147483647 w 638"/>
              <a:gd name="T35" fmla="*/ 2147483647 h 247"/>
              <a:gd name="T36" fmla="*/ 2147483647 w 638"/>
              <a:gd name="T37" fmla="*/ 2147483647 h 247"/>
              <a:gd name="T38" fmla="*/ 2147483647 w 638"/>
              <a:gd name="T39" fmla="*/ 2147483647 h 247"/>
              <a:gd name="T40" fmla="*/ 2147483647 w 638"/>
              <a:gd name="T41" fmla="*/ 2147483647 h 247"/>
              <a:gd name="T42" fmla="*/ 2147483647 w 638"/>
              <a:gd name="T43" fmla="*/ 0 h 247"/>
              <a:gd name="T44" fmla="*/ 2147483647 w 638"/>
              <a:gd name="T45" fmla="*/ 2147483647 h 247"/>
              <a:gd name="T46" fmla="*/ 2147483647 w 638"/>
              <a:gd name="T47" fmla="*/ 2147483647 h 247"/>
              <a:gd name="T48" fmla="*/ 2147483647 w 638"/>
              <a:gd name="T49" fmla="*/ 2147483647 h 247"/>
              <a:gd name="T50" fmla="*/ 2147483647 w 638"/>
              <a:gd name="T51" fmla="*/ 2147483647 h 247"/>
              <a:gd name="T52" fmla="*/ 0 w 638"/>
              <a:gd name="T53" fmla="*/ 2147483647 h 24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38"/>
              <a:gd name="T82" fmla="*/ 0 h 247"/>
              <a:gd name="T83" fmla="*/ 638 w 638"/>
              <a:gd name="T84" fmla="*/ 247 h 24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38" h="247">
                <a:moveTo>
                  <a:pt x="0" y="83"/>
                </a:moveTo>
                <a:lnTo>
                  <a:pt x="27" y="148"/>
                </a:lnTo>
                <a:lnTo>
                  <a:pt x="1" y="154"/>
                </a:lnTo>
                <a:lnTo>
                  <a:pt x="27" y="165"/>
                </a:lnTo>
                <a:lnTo>
                  <a:pt x="37" y="204"/>
                </a:lnTo>
                <a:lnTo>
                  <a:pt x="73" y="200"/>
                </a:lnTo>
                <a:lnTo>
                  <a:pt x="37" y="217"/>
                </a:lnTo>
                <a:lnTo>
                  <a:pt x="78" y="210"/>
                </a:lnTo>
                <a:lnTo>
                  <a:pt x="122" y="236"/>
                </a:lnTo>
                <a:lnTo>
                  <a:pt x="163" y="209"/>
                </a:lnTo>
                <a:lnTo>
                  <a:pt x="226" y="244"/>
                </a:lnTo>
                <a:lnTo>
                  <a:pt x="336" y="209"/>
                </a:lnTo>
                <a:lnTo>
                  <a:pt x="333" y="247"/>
                </a:lnTo>
                <a:lnTo>
                  <a:pt x="355" y="209"/>
                </a:lnTo>
                <a:lnTo>
                  <a:pt x="561" y="199"/>
                </a:lnTo>
                <a:lnTo>
                  <a:pt x="638" y="195"/>
                </a:lnTo>
                <a:lnTo>
                  <a:pt x="616" y="108"/>
                </a:lnTo>
                <a:lnTo>
                  <a:pt x="634" y="90"/>
                </a:lnTo>
                <a:lnTo>
                  <a:pt x="567" y="17"/>
                </a:lnTo>
                <a:lnTo>
                  <a:pt x="525" y="17"/>
                </a:lnTo>
                <a:lnTo>
                  <a:pt x="408" y="47"/>
                </a:lnTo>
                <a:lnTo>
                  <a:pt x="307" y="0"/>
                </a:lnTo>
                <a:lnTo>
                  <a:pt x="245" y="1"/>
                </a:lnTo>
                <a:lnTo>
                  <a:pt x="164" y="45"/>
                </a:lnTo>
                <a:lnTo>
                  <a:pt x="100" y="33"/>
                </a:lnTo>
                <a:lnTo>
                  <a:pt x="120" y="56"/>
                </a:lnTo>
                <a:lnTo>
                  <a:pt x="0" y="83"/>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77" name="Freeform 161"/>
          <p:cNvSpPr>
            <a:spLocks noChangeAspect="1"/>
          </p:cNvSpPr>
          <p:nvPr/>
        </p:nvSpPr>
        <p:spPr bwMode="gray">
          <a:xfrm>
            <a:off x="1214584" y="2953352"/>
            <a:ext cx="135225" cy="196837"/>
          </a:xfrm>
          <a:custGeom>
            <a:avLst/>
            <a:gdLst>
              <a:gd name="T0" fmla="*/ 0 w 141"/>
              <a:gd name="T1" fmla="*/ 2147483647 h 165"/>
              <a:gd name="T2" fmla="*/ 2147483647 w 141"/>
              <a:gd name="T3" fmla="*/ 2147483647 h 165"/>
              <a:gd name="T4" fmla="*/ 2147483647 w 141"/>
              <a:gd name="T5" fmla="*/ 2147483647 h 165"/>
              <a:gd name="T6" fmla="*/ 2147483647 w 141"/>
              <a:gd name="T7" fmla="*/ 2147483647 h 165"/>
              <a:gd name="T8" fmla="*/ 2147483647 w 141"/>
              <a:gd name="T9" fmla="*/ 2147483647 h 165"/>
              <a:gd name="T10" fmla="*/ 2147483647 w 141"/>
              <a:gd name="T11" fmla="*/ 2147483647 h 165"/>
              <a:gd name="T12" fmla="*/ 2147483647 w 141"/>
              <a:gd name="T13" fmla="*/ 2147483647 h 165"/>
              <a:gd name="T14" fmla="*/ 2147483647 w 141"/>
              <a:gd name="T15" fmla="*/ 2147483647 h 165"/>
              <a:gd name="T16" fmla="*/ 2147483647 w 141"/>
              <a:gd name="T17" fmla="*/ 2147483647 h 165"/>
              <a:gd name="T18" fmla="*/ 2147483647 w 141"/>
              <a:gd name="T19" fmla="*/ 0 h 165"/>
              <a:gd name="T20" fmla="*/ 2147483647 w 141"/>
              <a:gd name="T21" fmla="*/ 2147483647 h 165"/>
              <a:gd name="T22" fmla="*/ 2147483647 w 141"/>
              <a:gd name="T23" fmla="*/ 2147483647 h 165"/>
              <a:gd name="T24" fmla="*/ 2147483647 w 141"/>
              <a:gd name="T25" fmla="*/ 2147483647 h 165"/>
              <a:gd name="T26" fmla="*/ 2147483647 w 141"/>
              <a:gd name="T27" fmla="*/ 2147483647 h 165"/>
              <a:gd name="T28" fmla="*/ 2147483647 w 141"/>
              <a:gd name="T29" fmla="*/ 2147483647 h 165"/>
              <a:gd name="T30" fmla="*/ 2147483647 w 141"/>
              <a:gd name="T31" fmla="*/ 2147483647 h 165"/>
              <a:gd name="T32" fmla="*/ 2147483647 w 141"/>
              <a:gd name="T33" fmla="*/ 2147483647 h 165"/>
              <a:gd name="T34" fmla="*/ 0 w 141"/>
              <a:gd name="T35" fmla="*/ 2147483647 h 1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1"/>
              <a:gd name="T55" fmla="*/ 0 h 165"/>
              <a:gd name="T56" fmla="*/ 141 w 141"/>
              <a:gd name="T57" fmla="*/ 165 h 1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1" h="165">
                <a:moveTo>
                  <a:pt x="0" y="137"/>
                </a:moveTo>
                <a:lnTo>
                  <a:pt x="18" y="152"/>
                </a:lnTo>
                <a:lnTo>
                  <a:pt x="4" y="165"/>
                </a:lnTo>
                <a:lnTo>
                  <a:pt x="131" y="140"/>
                </a:lnTo>
                <a:lnTo>
                  <a:pt x="141" y="53"/>
                </a:lnTo>
                <a:lnTo>
                  <a:pt x="123" y="33"/>
                </a:lnTo>
                <a:lnTo>
                  <a:pt x="87" y="43"/>
                </a:lnTo>
                <a:lnTo>
                  <a:pt x="73" y="31"/>
                </a:lnTo>
                <a:lnTo>
                  <a:pt x="89" y="10"/>
                </a:lnTo>
                <a:lnTo>
                  <a:pt x="73" y="0"/>
                </a:lnTo>
                <a:lnTo>
                  <a:pt x="57" y="42"/>
                </a:lnTo>
                <a:lnTo>
                  <a:pt x="4" y="53"/>
                </a:lnTo>
                <a:lnTo>
                  <a:pt x="21" y="64"/>
                </a:lnTo>
                <a:lnTo>
                  <a:pt x="11" y="86"/>
                </a:lnTo>
                <a:lnTo>
                  <a:pt x="45" y="92"/>
                </a:lnTo>
                <a:lnTo>
                  <a:pt x="13" y="124"/>
                </a:lnTo>
                <a:lnTo>
                  <a:pt x="51" y="117"/>
                </a:lnTo>
                <a:lnTo>
                  <a:pt x="0" y="137"/>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78" name="Freeform 162"/>
          <p:cNvSpPr>
            <a:spLocks noChangeAspect="1"/>
          </p:cNvSpPr>
          <p:nvPr/>
        </p:nvSpPr>
        <p:spPr bwMode="gray">
          <a:xfrm>
            <a:off x="1282197" y="2935042"/>
            <a:ext cx="92967" cy="82397"/>
          </a:xfrm>
          <a:custGeom>
            <a:avLst/>
            <a:gdLst>
              <a:gd name="T0" fmla="*/ 0 w 90"/>
              <a:gd name="T1" fmla="*/ 2147483647 h 64"/>
              <a:gd name="T2" fmla="*/ 2147483647 w 90"/>
              <a:gd name="T3" fmla="*/ 2147483647 h 64"/>
              <a:gd name="T4" fmla="*/ 2147483647 w 90"/>
              <a:gd name="T5" fmla="*/ 2147483647 h 64"/>
              <a:gd name="T6" fmla="*/ 2147483647 w 90"/>
              <a:gd name="T7" fmla="*/ 2147483647 h 64"/>
              <a:gd name="T8" fmla="*/ 2147483647 w 90"/>
              <a:gd name="T9" fmla="*/ 2147483647 h 64"/>
              <a:gd name="T10" fmla="*/ 2147483647 w 90"/>
              <a:gd name="T11" fmla="*/ 2147483647 h 64"/>
              <a:gd name="T12" fmla="*/ 2147483647 w 90"/>
              <a:gd name="T13" fmla="*/ 0 h 64"/>
              <a:gd name="T14" fmla="*/ 2147483647 w 90"/>
              <a:gd name="T15" fmla="*/ 2147483647 h 64"/>
              <a:gd name="T16" fmla="*/ 0 w 90"/>
              <a:gd name="T17" fmla="*/ 2147483647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64"/>
              <a:gd name="T29" fmla="*/ 90 w 90"/>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64">
                <a:moveTo>
                  <a:pt x="0" y="42"/>
                </a:moveTo>
                <a:lnTo>
                  <a:pt x="14" y="54"/>
                </a:lnTo>
                <a:lnTo>
                  <a:pt x="50" y="44"/>
                </a:lnTo>
                <a:lnTo>
                  <a:pt x="68" y="64"/>
                </a:lnTo>
                <a:lnTo>
                  <a:pt x="90" y="42"/>
                </a:lnTo>
                <a:lnTo>
                  <a:pt x="69" y="10"/>
                </a:lnTo>
                <a:lnTo>
                  <a:pt x="26" y="0"/>
                </a:lnTo>
                <a:lnTo>
                  <a:pt x="16" y="21"/>
                </a:lnTo>
                <a:lnTo>
                  <a:pt x="0" y="42"/>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79" name="Freeform 163"/>
          <p:cNvSpPr>
            <a:spLocks noChangeAspect="1"/>
          </p:cNvSpPr>
          <p:nvPr/>
        </p:nvSpPr>
        <p:spPr bwMode="gray">
          <a:xfrm>
            <a:off x="1330792" y="2802291"/>
            <a:ext cx="21129" cy="22888"/>
          </a:xfrm>
          <a:custGeom>
            <a:avLst/>
            <a:gdLst>
              <a:gd name="T0" fmla="*/ 0 w 22"/>
              <a:gd name="T1" fmla="*/ 2147483647 h 20"/>
              <a:gd name="T2" fmla="*/ 2147483647 w 22"/>
              <a:gd name="T3" fmla="*/ 0 h 20"/>
              <a:gd name="T4" fmla="*/ 2147483647 w 22"/>
              <a:gd name="T5" fmla="*/ 2147483647 h 20"/>
              <a:gd name="T6" fmla="*/ 0 w 22"/>
              <a:gd name="T7" fmla="*/ 2147483647 h 20"/>
              <a:gd name="T8" fmla="*/ 0 60000 65536"/>
              <a:gd name="T9" fmla="*/ 0 60000 65536"/>
              <a:gd name="T10" fmla="*/ 0 60000 65536"/>
              <a:gd name="T11" fmla="*/ 0 60000 65536"/>
              <a:gd name="T12" fmla="*/ 0 w 22"/>
              <a:gd name="T13" fmla="*/ 0 h 20"/>
              <a:gd name="T14" fmla="*/ 22 w 22"/>
              <a:gd name="T15" fmla="*/ 20 h 20"/>
            </a:gdLst>
            <a:ahLst/>
            <a:cxnLst>
              <a:cxn ang="T8">
                <a:pos x="T0" y="T1"/>
              </a:cxn>
              <a:cxn ang="T9">
                <a:pos x="T2" y="T3"/>
              </a:cxn>
              <a:cxn ang="T10">
                <a:pos x="T4" y="T5"/>
              </a:cxn>
              <a:cxn ang="T11">
                <a:pos x="T6" y="T7"/>
              </a:cxn>
            </a:cxnLst>
            <a:rect l="T12" t="T13" r="T14" b="T15"/>
            <a:pathLst>
              <a:path w="22" h="20">
                <a:moveTo>
                  <a:pt x="0" y="15"/>
                </a:moveTo>
                <a:lnTo>
                  <a:pt x="11" y="0"/>
                </a:lnTo>
                <a:lnTo>
                  <a:pt x="22" y="20"/>
                </a:lnTo>
                <a:lnTo>
                  <a:pt x="0" y="15"/>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80" name="Freeform 164"/>
          <p:cNvSpPr>
            <a:spLocks noChangeAspect="1"/>
          </p:cNvSpPr>
          <p:nvPr/>
        </p:nvSpPr>
        <p:spPr bwMode="gray">
          <a:xfrm>
            <a:off x="1351921" y="2745070"/>
            <a:ext cx="268338" cy="492094"/>
          </a:xfrm>
          <a:custGeom>
            <a:avLst/>
            <a:gdLst>
              <a:gd name="T0" fmla="*/ 0 w 268"/>
              <a:gd name="T1" fmla="*/ 2147483647 h 409"/>
              <a:gd name="T2" fmla="*/ 2147483647 w 268"/>
              <a:gd name="T3" fmla="*/ 2147483647 h 409"/>
              <a:gd name="T4" fmla="*/ 2147483647 w 268"/>
              <a:gd name="T5" fmla="*/ 0 h 409"/>
              <a:gd name="T6" fmla="*/ 2147483647 w 268"/>
              <a:gd name="T7" fmla="*/ 0 h 409"/>
              <a:gd name="T8" fmla="*/ 2147483647 w 268"/>
              <a:gd name="T9" fmla="*/ 2147483647 h 409"/>
              <a:gd name="T10" fmla="*/ 2147483647 w 268"/>
              <a:gd name="T11" fmla="*/ 2147483647 h 409"/>
              <a:gd name="T12" fmla="*/ 2147483647 w 268"/>
              <a:gd name="T13" fmla="*/ 2147483647 h 409"/>
              <a:gd name="T14" fmla="*/ 2147483647 w 268"/>
              <a:gd name="T15" fmla="*/ 2147483647 h 409"/>
              <a:gd name="T16" fmla="*/ 2147483647 w 268"/>
              <a:gd name="T17" fmla="*/ 2147483647 h 409"/>
              <a:gd name="T18" fmla="*/ 2147483647 w 268"/>
              <a:gd name="T19" fmla="*/ 2147483647 h 409"/>
              <a:gd name="T20" fmla="*/ 2147483647 w 268"/>
              <a:gd name="T21" fmla="*/ 2147483647 h 409"/>
              <a:gd name="T22" fmla="*/ 2147483647 w 268"/>
              <a:gd name="T23" fmla="*/ 2147483647 h 409"/>
              <a:gd name="T24" fmla="*/ 2147483647 w 268"/>
              <a:gd name="T25" fmla="*/ 2147483647 h 409"/>
              <a:gd name="T26" fmla="*/ 2147483647 w 268"/>
              <a:gd name="T27" fmla="*/ 2147483647 h 409"/>
              <a:gd name="T28" fmla="*/ 2147483647 w 268"/>
              <a:gd name="T29" fmla="*/ 2147483647 h 409"/>
              <a:gd name="T30" fmla="*/ 2147483647 w 268"/>
              <a:gd name="T31" fmla="*/ 2147483647 h 409"/>
              <a:gd name="T32" fmla="*/ 2147483647 w 268"/>
              <a:gd name="T33" fmla="*/ 2147483647 h 409"/>
              <a:gd name="T34" fmla="*/ 2147483647 w 268"/>
              <a:gd name="T35" fmla="*/ 2147483647 h 409"/>
              <a:gd name="T36" fmla="*/ 2147483647 w 268"/>
              <a:gd name="T37" fmla="*/ 2147483647 h 409"/>
              <a:gd name="T38" fmla="*/ 2147483647 w 268"/>
              <a:gd name="T39" fmla="*/ 2147483647 h 409"/>
              <a:gd name="T40" fmla="*/ 2147483647 w 268"/>
              <a:gd name="T41" fmla="*/ 2147483647 h 409"/>
              <a:gd name="T42" fmla="*/ 2147483647 w 268"/>
              <a:gd name="T43" fmla="*/ 2147483647 h 409"/>
              <a:gd name="T44" fmla="*/ 2147483647 w 268"/>
              <a:gd name="T45" fmla="*/ 2147483647 h 409"/>
              <a:gd name="T46" fmla="*/ 2147483647 w 268"/>
              <a:gd name="T47" fmla="*/ 2147483647 h 409"/>
              <a:gd name="T48" fmla="*/ 2147483647 w 268"/>
              <a:gd name="T49" fmla="*/ 2147483647 h 409"/>
              <a:gd name="T50" fmla="*/ 2147483647 w 268"/>
              <a:gd name="T51" fmla="*/ 2147483647 h 409"/>
              <a:gd name="T52" fmla="*/ 2147483647 w 268"/>
              <a:gd name="T53" fmla="*/ 2147483647 h 409"/>
              <a:gd name="T54" fmla="*/ 2147483647 w 268"/>
              <a:gd name="T55" fmla="*/ 2147483647 h 409"/>
              <a:gd name="T56" fmla="*/ 2147483647 w 268"/>
              <a:gd name="T57" fmla="*/ 2147483647 h 409"/>
              <a:gd name="T58" fmla="*/ 0 w 268"/>
              <a:gd name="T59" fmla="*/ 2147483647 h 40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8"/>
              <a:gd name="T91" fmla="*/ 0 h 409"/>
              <a:gd name="T92" fmla="*/ 268 w 268"/>
              <a:gd name="T93" fmla="*/ 409 h 40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8" h="409">
                <a:moveTo>
                  <a:pt x="0" y="96"/>
                </a:moveTo>
                <a:lnTo>
                  <a:pt x="10" y="41"/>
                </a:lnTo>
                <a:lnTo>
                  <a:pt x="39" y="0"/>
                </a:lnTo>
                <a:lnTo>
                  <a:pt x="102" y="0"/>
                </a:lnTo>
                <a:lnTo>
                  <a:pt x="65" y="49"/>
                </a:lnTo>
                <a:lnTo>
                  <a:pt x="147" y="59"/>
                </a:lnTo>
                <a:lnTo>
                  <a:pt x="96" y="126"/>
                </a:lnTo>
                <a:lnTo>
                  <a:pt x="157" y="150"/>
                </a:lnTo>
                <a:lnTo>
                  <a:pt x="215" y="234"/>
                </a:lnTo>
                <a:lnTo>
                  <a:pt x="198" y="239"/>
                </a:lnTo>
                <a:lnTo>
                  <a:pt x="224" y="260"/>
                </a:lnTo>
                <a:lnTo>
                  <a:pt x="209" y="280"/>
                </a:lnTo>
                <a:lnTo>
                  <a:pt x="268" y="285"/>
                </a:lnTo>
                <a:lnTo>
                  <a:pt x="233" y="340"/>
                </a:lnTo>
                <a:lnTo>
                  <a:pt x="257" y="356"/>
                </a:lnTo>
                <a:lnTo>
                  <a:pt x="15" y="409"/>
                </a:lnTo>
                <a:lnTo>
                  <a:pt x="122" y="333"/>
                </a:lnTo>
                <a:lnTo>
                  <a:pt x="91" y="345"/>
                </a:lnTo>
                <a:lnTo>
                  <a:pt x="30" y="322"/>
                </a:lnTo>
                <a:lnTo>
                  <a:pt x="75" y="294"/>
                </a:lnTo>
                <a:lnTo>
                  <a:pt x="47" y="280"/>
                </a:lnTo>
                <a:lnTo>
                  <a:pt x="108" y="251"/>
                </a:lnTo>
                <a:lnTo>
                  <a:pt x="115" y="213"/>
                </a:lnTo>
                <a:lnTo>
                  <a:pt x="83" y="202"/>
                </a:lnTo>
                <a:lnTo>
                  <a:pt x="102" y="180"/>
                </a:lnTo>
                <a:lnTo>
                  <a:pt x="38" y="191"/>
                </a:lnTo>
                <a:lnTo>
                  <a:pt x="39" y="132"/>
                </a:lnTo>
                <a:lnTo>
                  <a:pt x="10" y="159"/>
                </a:lnTo>
                <a:lnTo>
                  <a:pt x="27" y="99"/>
                </a:lnTo>
                <a:lnTo>
                  <a:pt x="0" y="9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81" name="Freeform 176"/>
          <p:cNvSpPr>
            <a:spLocks noChangeAspect="1"/>
          </p:cNvSpPr>
          <p:nvPr/>
        </p:nvSpPr>
        <p:spPr bwMode="gray">
          <a:xfrm>
            <a:off x="5083284" y="4512029"/>
            <a:ext cx="242983" cy="622556"/>
          </a:xfrm>
          <a:custGeom>
            <a:avLst/>
            <a:gdLst>
              <a:gd name="T0" fmla="*/ 0 w 242"/>
              <a:gd name="T1" fmla="*/ 2147483647 h 517"/>
              <a:gd name="T2" fmla="*/ 2147483647 w 242"/>
              <a:gd name="T3" fmla="*/ 2147483647 h 517"/>
              <a:gd name="T4" fmla="*/ 2147483647 w 242"/>
              <a:gd name="T5" fmla="*/ 2147483647 h 517"/>
              <a:gd name="T6" fmla="*/ 2147483647 w 242"/>
              <a:gd name="T7" fmla="*/ 2147483647 h 517"/>
              <a:gd name="T8" fmla="*/ 2147483647 w 242"/>
              <a:gd name="T9" fmla="*/ 2147483647 h 517"/>
              <a:gd name="T10" fmla="*/ 2147483647 w 242"/>
              <a:gd name="T11" fmla="*/ 2147483647 h 517"/>
              <a:gd name="T12" fmla="*/ 2147483647 w 242"/>
              <a:gd name="T13" fmla="*/ 2147483647 h 517"/>
              <a:gd name="T14" fmla="*/ 2147483647 w 242"/>
              <a:gd name="T15" fmla="*/ 2147483647 h 517"/>
              <a:gd name="T16" fmla="*/ 2147483647 w 242"/>
              <a:gd name="T17" fmla="*/ 2147483647 h 517"/>
              <a:gd name="T18" fmla="*/ 2147483647 w 242"/>
              <a:gd name="T19" fmla="*/ 2147483647 h 517"/>
              <a:gd name="T20" fmla="*/ 2147483647 w 242"/>
              <a:gd name="T21" fmla="*/ 2147483647 h 517"/>
              <a:gd name="T22" fmla="*/ 2147483647 w 242"/>
              <a:gd name="T23" fmla="*/ 2147483647 h 517"/>
              <a:gd name="T24" fmla="*/ 2147483647 w 242"/>
              <a:gd name="T25" fmla="*/ 2147483647 h 517"/>
              <a:gd name="T26" fmla="*/ 2147483647 w 242"/>
              <a:gd name="T27" fmla="*/ 2147483647 h 517"/>
              <a:gd name="T28" fmla="*/ 2147483647 w 242"/>
              <a:gd name="T29" fmla="*/ 2147483647 h 517"/>
              <a:gd name="T30" fmla="*/ 2147483647 w 242"/>
              <a:gd name="T31" fmla="*/ 2147483647 h 517"/>
              <a:gd name="T32" fmla="*/ 2147483647 w 242"/>
              <a:gd name="T33" fmla="*/ 2147483647 h 517"/>
              <a:gd name="T34" fmla="*/ 2147483647 w 242"/>
              <a:gd name="T35" fmla="*/ 0 h 517"/>
              <a:gd name="T36" fmla="*/ 0 w 242"/>
              <a:gd name="T37" fmla="*/ 2147483647 h 5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2"/>
              <a:gd name="T58" fmla="*/ 0 h 517"/>
              <a:gd name="T59" fmla="*/ 242 w 242"/>
              <a:gd name="T60" fmla="*/ 517 h 5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2" h="517">
                <a:moveTo>
                  <a:pt x="0" y="26"/>
                </a:moveTo>
                <a:lnTo>
                  <a:pt x="36" y="81"/>
                </a:lnTo>
                <a:lnTo>
                  <a:pt x="83" y="102"/>
                </a:lnTo>
                <a:lnTo>
                  <a:pt x="60" y="142"/>
                </a:lnTo>
                <a:lnTo>
                  <a:pt x="144" y="211"/>
                </a:lnTo>
                <a:lnTo>
                  <a:pt x="182" y="304"/>
                </a:lnTo>
                <a:lnTo>
                  <a:pt x="186" y="383"/>
                </a:lnTo>
                <a:lnTo>
                  <a:pt x="82" y="453"/>
                </a:lnTo>
                <a:lnTo>
                  <a:pt x="99" y="517"/>
                </a:lnTo>
                <a:lnTo>
                  <a:pt x="132" y="471"/>
                </a:lnTo>
                <a:lnTo>
                  <a:pt x="150" y="483"/>
                </a:lnTo>
                <a:lnTo>
                  <a:pt x="159" y="455"/>
                </a:lnTo>
                <a:lnTo>
                  <a:pt x="242" y="408"/>
                </a:lnTo>
                <a:lnTo>
                  <a:pt x="230" y="278"/>
                </a:lnTo>
                <a:lnTo>
                  <a:pt x="119" y="158"/>
                </a:lnTo>
                <a:lnTo>
                  <a:pt x="131" y="119"/>
                </a:lnTo>
                <a:lnTo>
                  <a:pt x="198" y="60"/>
                </a:lnTo>
                <a:lnTo>
                  <a:pt x="103" y="0"/>
                </a:lnTo>
                <a:lnTo>
                  <a:pt x="0" y="2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82" name="Freeform 177"/>
          <p:cNvSpPr>
            <a:spLocks noChangeAspect="1"/>
          </p:cNvSpPr>
          <p:nvPr/>
        </p:nvSpPr>
        <p:spPr bwMode="gray">
          <a:xfrm>
            <a:off x="3059136" y="4692846"/>
            <a:ext cx="329611" cy="267790"/>
          </a:xfrm>
          <a:custGeom>
            <a:avLst/>
            <a:gdLst>
              <a:gd name="T0" fmla="*/ 0 w 334"/>
              <a:gd name="T1" fmla="*/ 2147483647 h 224"/>
              <a:gd name="T2" fmla="*/ 2147483647 w 334"/>
              <a:gd name="T3" fmla="*/ 2147483647 h 224"/>
              <a:gd name="T4" fmla="*/ 2147483647 w 334"/>
              <a:gd name="T5" fmla="*/ 2147483647 h 224"/>
              <a:gd name="T6" fmla="*/ 2147483647 w 334"/>
              <a:gd name="T7" fmla="*/ 2147483647 h 224"/>
              <a:gd name="T8" fmla="*/ 2147483647 w 334"/>
              <a:gd name="T9" fmla="*/ 2147483647 h 224"/>
              <a:gd name="T10" fmla="*/ 2147483647 w 334"/>
              <a:gd name="T11" fmla="*/ 0 h 224"/>
              <a:gd name="T12" fmla="*/ 2147483647 w 334"/>
              <a:gd name="T13" fmla="*/ 2147483647 h 224"/>
              <a:gd name="T14" fmla="*/ 2147483647 w 334"/>
              <a:gd name="T15" fmla="*/ 2147483647 h 224"/>
              <a:gd name="T16" fmla="*/ 2147483647 w 334"/>
              <a:gd name="T17" fmla="*/ 2147483647 h 224"/>
              <a:gd name="T18" fmla="*/ 0 w 334"/>
              <a:gd name="T19" fmla="*/ 2147483647 h 2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4"/>
              <a:gd name="T31" fmla="*/ 0 h 224"/>
              <a:gd name="T32" fmla="*/ 334 w 334"/>
              <a:gd name="T33" fmla="*/ 224 h 2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4" h="224">
                <a:moveTo>
                  <a:pt x="0" y="224"/>
                </a:moveTo>
                <a:lnTo>
                  <a:pt x="88" y="175"/>
                </a:lnTo>
                <a:lnTo>
                  <a:pt x="72" y="150"/>
                </a:lnTo>
                <a:lnTo>
                  <a:pt x="98" y="121"/>
                </a:lnTo>
                <a:lnTo>
                  <a:pt x="187" y="24"/>
                </a:lnTo>
                <a:lnTo>
                  <a:pt x="298" y="0"/>
                </a:lnTo>
                <a:lnTo>
                  <a:pt x="334" y="87"/>
                </a:lnTo>
                <a:lnTo>
                  <a:pt x="306" y="121"/>
                </a:lnTo>
                <a:lnTo>
                  <a:pt x="179" y="181"/>
                </a:lnTo>
                <a:lnTo>
                  <a:pt x="0" y="224"/>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83" name="Freeform 178"/>
          <p:cNvSpPr>
            <a:spLocks noChangeAspect="1"/>
          </p:cNvSpPr>
          <p:nvPr/>
        </p:nvSpPr>
        <p:spPr bwMode="gray">
          <a:xfrm>
            <a:off x="3027443" y="4763798"/>
            <a:ext cx="130999" cy="196837"/>
          </a:xfrm>
          <a:custGeom>
            <a:avLst/>
            <a:gdLst>
              <a:gd name="T0" fmla="*/ 0 w 125"/>
              <a:gd name="T1" fmla="*/ 2147483647 h 164"/>
              <a:gd name="T2" fmla="*/ 2147483647 w 125"/>
              <a:gd name="T3" fmla="*/ 2147483647 h 164"/>
              <a:gd name="T4" fmla="*/ 2147483647 w 125"/>
              <a:gd name="T5" fmla="*/ 2147483647 h 164"/>
              <a:gd name="T6" fmla="*/ 2147483647 w 125"/>
              <a:gd name="T7" fmla="*/ 2147483647 h 164"/>
              <a:gd name="T8" fmla="*/ 2147483647 w 125"/>
              <a:gd name="T9" fmla="*/ 2147483647 h 164"/>
              <a:gd name="T10" fmla="*/ 2147483647 w 125"/>
              <a:gd name="T11" fmla="*/ 2147483647 h 164"/>
              <a:gd name="T12" fmla="*/ 2147483647 w 125"/>
              <a:gd name="T13" fmla="*/ 0 h 164"/>
              <a:gd name="T14" fmla="*/ 0 w 125"/>
              <a:gd name="T15" fmla="*/ 2147483647 h 164"/>
              <a:gd name="T16" fmla="*/ 0 60000 65536"/>
              <a:gd name="T17" fmla="*/ 0 60000 65536"/>
              <a:gd name="T18" fmla="*/ 0 60000 65536"/>
              <a:gd name="T19" fmla="*/ 0 60000 65536"/>
              <a:gd name="T20" fmla="*/ 0 60000 65536"/>
              <a:gd name="T21" fmla="*/ 0 60000 65536"/>
              <a:gd name="T22" fmla="*/ 0 60000 65536"/>
              <a:gd name="T23" fmla="*/ 0 60000 65536"/>
              <a:gd name="T24" fmla="*/ 0 w 125"/>
              <a:gd name="T25" fmla="*/ 0 h 164"/>
              <a:gd name="T26" fmla="*/ 125 w 125"/>
              <a:gd name="T27" fmla="*/ 164 h 16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5" h="164">
                <a:moveTo>
                  <a:pt x="0" y="33"/>
                </a:moveTo>
                <a:lnTo>
                  <a:pt x="27" y="164"/>
                </a:lnTo>
                <a:lnTo>
                  <a:pt x="115" y="115"/>
                </a:lnTo>
                <a:lnTo>
                  <a:pt x="99" y="90"/>
                </a:lnTo>
                <a:lnTo>
                  <a:pt x="125" y="61"/>
                </a:lnTo>
                <a:lnTo>
                  <a:pt x="125" y="24"/>
                </a:lnTo>
                <a:lnTo>
                  <a:pt x="62" y="0"/>
                </a:lnTo>
                <a:lnTo>
                  <a:pt x="0" y="33"/>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84" name="Freeform 179"/>
          <p:cNvSpPr>
            <a:spLocks noChangeAspect="1"/>
          </p:cNvSpPr>
          <p:nvPr/>
        </p:nvSpPr>
        <p:spPr bwMode="gray">
          <a:xfrm>
            <a:off x="2032272" y="3395091"/>
            <a:ext cx="319047" cy="306700"/>
          </a:xfrm>
          <a:custGeom>
            <a:avLst/>
            <a:gdLst>
              <a:gd name="T0" fmla="*/ 0 w 325"/>
              <a:gd name="T1" fmla="*/ 2147483647 h 255"/>
              <a:gd name="T2" fmla="*/ 0 w 325"/>
              <a:gd name="T3" fmla="*/ 2147483647 h 255"/>
              <a:gd name="T4" fmla="*/ 2147483647 w 325"/>
              <a:gd name="T5" fmla="*/ 0 h 255"/>
              <a:gd name="T6" fmla="*/ 2147483647 w 325"/>
              <a:gd name="T7" fmla="*/ 2147483647 h 255"/>
              <a:gd name="T8" fmla="*/ 2147483647 w 325"/>
              <a:gd name="T9" fmla="*/ 2147483647 h 255"/>
              <a:gd name="T10" fmla="*/ 2147483647 w 325"/>
              <a:gd name="T11" fmla="*/ 2147483647 h 255"/>
              <a:gd name="T12" fmla="*/ 2147483647 w 325"/>
              <a:gd name="T13" fmla="*/ 2147483647 h 255"/>
              <a:gd name="T14" fmla="*/ 2147483647 w 325"/>
              <a:gd name="T15" fmla="*/ 2147483647 h 255"/>
              <a:gd name="T16" fmla="*/ 2147483647 w 325"/>
              <a:gd name="T17" fmla="*/ 2147483647 h 255"/>
              <a:gd name="T18" fmla="*/ 2147483647 w 325"/>
              <a:gd name="T19" fmla="*/ 2147483647 h 255"/>
              <a:gd name="T20" fmla="*/ 2147483647 w 325"/>
              <a:gd name="T21" fmla="*/ 2147483647 h 255"/>
              <a:gd name="T22" fmla="*/ 2147483647 w 325"/>
              <a:gd name="T23" fmla="*/ 2147483647 h 255"/>
              <a:gd name="T24" fmla="*/ 2147483647 w 325"/>
              <a:gd name="T25" fmla="*/ 2147483647 h 255"/>
              <a:gd name="T26" fmla="*/ 2147483647 w 325"/>
              <a:gd name="T27" fmla="*/ 2147483647 h 255"/>
              <a:gd name="T28" fmla="*/ 0 w 325"/>
              <a:gd name="T29" fmla="*/ 2147483647 h 2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5"/>
              <a:gd name="T46" fmla="*/ 0 h 255"/>
              <a:gd name="T47" fmla="*/ 325 w 325"/>
              <a:gd name="T48" fmla="*/ 255 h 2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5" h="255">
                <a:moveTo>
                  <a:pt x="0" y="60"/>
                </a:moveTo>
                <a:lnTo>
                  <a:pt x="0" y="19"/>
                </a:lnTo>
                <a:lnTo>
                  <a:pt x="84" y="0"/>
                </a:lnTo>
                <a:lnTo>
                  <a:pt x="151" y="50"/>
                </a:lnTo>
                <a:lnTo>
                  <a:pt x="227" y="36"/>
                </a:lnTo>
                <a:lnTo>
                  <a:pt x="316" y="116"/>
                </a:lnTo>
                <a:lnTo>
                  <a:pt x="304" y="200"/>
                </a:lnTo>
                <a:lnTo>
                  <a:pt x="325" y="236"/>
                </a:lnTo>
                <a:lnTo>
                  <a:pt x="256" y="255"/>
                </a:lnTo>
                <a:lnTo>
                  <a:pt x="224" y="185"/>
                </a:lnTo>
                <a:lnTo>
                  <a:pt x="196" y="213"/>
                </a:lnTo>
                <a:lnTo>
                  <a:pt x="84" y="145"/>
                </a:lnTo>
                <a:lnTo>
                  <a:pt x="30" y="72"/>
                </a:lnTo>
                <a:lnTo>
                  <a:pt x="3" y="87"/>
                </a:lnTo>
                <a:lnTo>
                  <a:pt x="0" y="60"/>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85" name="Freeform 184"/>
          <p:cNvSpPr>
            <a:spLocks noChangeAspect="1"/>
          </p:cNvSpPr>
          <p:nvPr/>
        </p:nvSpPr>
        <p:spPr bwMode="gray">
          <a:xfrm>
            <a:off x="1850563" y="4956058"/>
            <a:ext cx="264112" cy="462339"/>
          </a:xfrm>
          <a:custGeom>
            <a:avLst/>
            <a:gdLst>
              <a:gd name="T0" fmla="*/ 0 w 268"/>
              <a:gd name="T1" fmla="*/ 2147483647 h 389"/>
              <a:gd name="T2" fmla="*/ 2147483647 w 268"/>
              <a:gd name="T3" fmla="*/ 2147483647 h 389"/>
              <a:gd name="T4" fmla="*/ 2147483647 w 268"/>
              <a:gd name="T5" fmla="*/ 2147483647 h 389"/>
              <a:gd name="T6" fmla="*/ 2147483647 w 268"/>
              <a:gd name="T7" fmla="*/ 2147483647 h 389"/>
              <a:gd name="T8" fmla="*/ 2147483647 w 268"/>
              <a:gd name="T9" fmla="*/ 2147483647 h 389"/>
              <a:gd name="T10" fmla="*/ 2147483647 w 268"/>
              <a:gd name="T11" fmla="*/ 2147483647 h 389"/>
              <a:gd name="T12" fmla="*/ 2147483647 w 268"/>
              <a:gd name="T13" fmla="*/ 0 h 389"/>
              <a:gd name="T14" fmla="*/ 2147483647 w 268"/>
              <a:gd name="T15" fmla="*/ 2147483647 h 389"/>
              <a:gd name="T16" fmla="*/ 2147483647 w 268"/>
              <a:gd name="T17" fmla="*/ 2147483647 h 389"/>
              <a:gd name="T18" fmla="*/ 2147483647 w 268"/>
              <a:gd name="T19" fmla="*/ 2147483647 h 389"/>
              <a:gd name="T20" fmla="*/ 2147483647 w 268"/>
              <a:gd name="T21" fmla="*/ 2147483647 h 389"/>
              <a:gd name="T22" fmla="*/ 2147483647 w 268"/>
              <a:gd name="T23" fmla="*/ 2147483647 h 389"/>
              <a:gd name="T24" fmla="*/ 2147483647 w 268"/>
              <a:gd name="T25" fmla="*/ 2147483647 h 389"/>
              <a:gd name="T26" fmla="*/ 2147483647 w 268"/>
              <a:gd name="T27" fmla="*/ 2147483647 h 389"/>
              <a:gd name="T28" fmla="*/ 2147483647 w 268"/>
              <a:gd name="T29" fmla="*/ 2147483647 h 389"/>
              <a:gd name="T30" fmla="*/ 2147483647 w 268"/>
              <a:gd name="T31" fmla="*/ 2147483647 h 389"/>
              <a:gd name="T32" fmla="*/ 2147483647 w 268"/>
              <a:gd name="T33" fmla="*/ 2147483647 h 389"/>
              <a:gd name="T34" fmla="*/ 0 w 268"/>
              <a:gd name="T35" fmla="*/ 2147483647 h 38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8"/>
              <a:gd name="T55" fmla="*/ 0 h 389"/>
              <a:gd name="T56" fmla="*/ 268 w 268"/>
              <a:gd name="T57" fmla="*/ 389 h 38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8" h="389">
                <a:moveTo>
                  <a:pt x="0" y="278"/>
                </a:moveTo>
                <a:lnTo>
                  <a:pt x="38" y="204"/>
                </a:lnTo>
                <a:lnTo>
                  <a:pt x="103" y="214"/>
                </a:lnTo>
                <a:lnTo>
                  <a:pt x="175" y="63"/>
                </a:lnTo>
                <a:lnTo>
                  <a:pt x="210" y="36"/>
                </a:lnTo>
                <a:lnTo>
                  <a:pt x="196" y="6"/>
                </a:lnTo>
                <a:lnTo>
                  <a:pt x="213" y="0"/>
                </a:lnTo>
                <a:lnTo>
                  <a:pt x="238" y="94"/>
                </a:lnTo>
                <a:lnTo>
                  <a:pt x="196" y="111"/>
                </a:lnTo>
                <a:lnTo>
                  <a:pt x="245" y="186"/>
                </a:lnTo>
                <a:lnTo>
                  <a:pt x="213" y="274"/>
                </a:lnTo>
                <a:lnTo>
                  <a:pt x="268" y="341"/>
                </a:lnTo>
                <a:lnTo>
                  <a:pt x="262" y="389"/>
                </a:lnTo>
                <a:lnTo>
                  <a:pt x="170" y="367"/>
                </a:lnTo>
                <a:lnTo>
                  <a:pt x="100" y="366"/>
                </a:lnTo>
                <a:lnTo>
                  <a:pt x="43" y="367"/>
                </a:lnTo>
                <a:lnTo>
                  <a:pt x="42" y="303"/>
                </a:lnTo>
                <a:lnTo>
                  <a:pt x="0" y="278"/>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86" name="Freeform 185"/>
          <p:cNvSpPr>
            <a:spLocks noChangeAspect="1"/>
          </p:cNvSpPr>
          <p:nvPr/>
        </p:nvSpPr>
        <p:spPr bwMode="gray">
          <a:xfrm>
            <a:off x="2059740" y="5031589"/>
            <a:ext cx="450045" cy="331876"/>
          </a:xfrm>
          <a:custGeom>
            <a:avLst/>
            <a:gdLst>
              <a:gd name="T0" fmla="*/ 0 w 454"/>
              <a:gd name="T1" fmla="*/ 2147483647 h 280"/>
              <a:gd name="T2" fmla="*/ 2147483647 w 454"/>
              <a:gd name="T3" fmla="*/ 2147483647 h 280"/>
              <a:gd name="T4" fmla="*/ 2147483647 w 454"/>
              <a:gd name="T5" fmla="*/ 2147483647 h 280"/>
              <a:gd name="T6" fmla="*/ 2147483647 w 454"/>
              <a:gd name="T7" fmla="*/ 2147483647 h 280"/>
              <a:gd name="T8" fmla="*/ 2147483647 w 454"/>
              <a:gd name="T9" fmla="*/ 2147483647 h 280"/>
              <a:gd name="T10" fmla="*/ 2147483647 w 454"/>
              <a:gd name="T11" fmla="*/ 0 h 280"/>
              <a:gd name="T12" fmla="*/ 2147483647 w 454"/>
              <a:gd name="T13" fmla="*/ 2147483647 h 280"/>
              <a:gd name="T14" fmla="*/ 2147483647 w 454"/>
              <a:gd name="T15" fmla="*/ 2147483647 h 280"/>
              <a:gd name="T16" fmla="*/ 2147483647 w 454"/>
              <a:gd name="T17" fmla="*/ 2147483647 h 280"/>
              <a:gd name="T18" fmla="*/ 2147483647 w 454"/>
              <a:gd name="T19" fmla="*/ 2147483647 h 280"/>
              <a:gd name="T20" fmla="*/ 2147483647 w 454"/>
              <a:gd name="T21" fmla="*/ 2147483647 h 280"/>
              <a:gd name="T22" fmla="*/ 2147483647 w 454"/>
              <a:gd name="T23" fmla="*/ 2147483647 h 280"/>
              <a:gd name="T24" fmla="*/ 2147483647 w 454"/>
              <a:gd name="T25" fmla="*/ 2147483647 h 280"/>
              <a:gd name="T26" fmla="*/ 2147483647 w 454"/>
              <a:gd name="T27" fmla="*/ 2147483647 h 280"/>
              <a:gd name="T28" fmla="*/ 0 w 454"/>
              <a:gd name="T29" fmla="*/ 2147483647 h 2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54"/>
              <a:gd name="T46" fmla="*/ 0 h 280"/>
              <a:gd name="T47" fmla="*/ 454 w 454"/>
              <a:gd name="T48" fmla="*/ 280 h 2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54" h="280">
                <a:moveTo>
                  <a:pt x="0" y="213"/>
                </a:moveTo>
                <a:lnTo>
                  <a:pt x="32" y="125"/>
                </a:lnTo>
                <a:lnTo>
                  <a:pt x="144" y="102"/>
                </a:lnTo>
                <a:lnTo>
                  <a:pt x="156" y="74"/>
                </a:lnTo>
                <a:lnTo>
                  <a:pt x="208" y="64"/>
                </a:lnTo>
                <a:lnTo>
                  <a:pt x="285" y="0"/>
                </a:lnTo>
                <a:lnTo>
                  <a:pt x="310" y="75"/>
                </a:lnTo>
                <a:lnTo>
                  <a:pt x="369" y="102"/>
                </a:lnTo>
                <a:lnTo>
                  <a:pt x="454" y="203"/>
                </a:lnTo>
                <a:lnTo>
                  <a:pt x="243" y="233"/>
                </a:lnTo>
                <a:lnTo>
                  <a:pt x="175" y="203"/>
                </a:lnTo>
                <a:lnTo>
                  <a:pt x="144" y="253"/>
                </a:lnTo>
                <a:lnTo>
                  <a:pt x="84" y="253"/>
                </a:lnTo>
                <a:lnTo>
                  <a:pt x="55" y="280"/>
                </a:lnTo>
                <a:lnTo>
                  <a:pt x="0" y="213"/>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87" name="Freeform 186"/>
          <p:cNvSpPr>
            <a:spLocks noChangeAspect="1"/>
          </p:cNvSpPr>
          <p:nvPr/>
        </p:nvSpPr>
        <p:spPr bwMode="gray">
          <a:xfrm>
            <a:off x="2023820" y="4500586"/>
            <a:ext cx="367643" cy="677487"/>
          </a:xfrm>
          <a:custGeom>
            <a:avLst/>
            <a:gdLst>
              <a:gd name="T0" fmla="*/ 0 w 371"/>
              <a:gd name="T1" fmla="*/ 2147483647 h 567"/>
              <a:gd name="T2" fmla="*/ 2147483647 w 371"/>
              <a:gd name="T3" fmla="*/ 2147483647 h 567"/>
              <a:gd name="T4" fmla="*/ 2147483647 w 371"/>
              <a:gd name="T5" fmla="*/ 2147483647 h 567"/>
              <a:gd name="T6" fmla="*/ 2147483647 w 371"/>
              <a:gd name="T7" fmla="*/ 2147483647 h 567"/>
              <a:gd name="T8" fmla="*/ 2147483647 w 371"/>
              <a:gd name="T9" fmla="*/ 2147483647 h 567"/>
              <a:gd name="T10" fmla="*/ 2147483647 w 371"/>
              <a:gd name="T11" fmla="*/ 2147483647 h 567"/>
              <a:gd name="T12" fmla="*/ 2147483647 w 371"/>
              <a:gd name="T13" fmla="*/ 2147483647 h 567"/>
              <a:gd name="T14" fmla="*/ 2147483647 w 371"/>
              <a:gd name="T15" fmla="*/ 2147483647 h 567"/>
              <a:gd name="T16" fmla="*/ 2147483647 w 371"/>
              <a:gd name="T17" fmla="*/ 2147483647 h 567"/>
              <a:gd name="T18" fmla="*/ 2147483647 w 371"/>
              <a:gd name="T19" fmla="*/ 2147483647 h 567"/>
              <a:gd name="T20" fmla="*/ 2147483647 w 371"/>
              <a:gd name="T21" fmla="*/ 2147483647 h 567"/>
              <a:gd name="T22" fmla="*/ 2147483647 w 371"/>
              <a:gd name="T23" fmla="*/ 2147483647 h 567"/>
              <a:gd name="T24" fmla="*/ 2147483647 w 371"/>
              <a:gd name="T25" fmla="*/ 2147483647 h 567"/>
              <a:gd name="T26" fmla="*/ 2147483647 w 371"/>
              <a:gd name="T27" fmla="*/ 2147483647 h 567"/>
              <a:gd name="T28" fmla="*/ 2147483647 w 371"/>
              <a:gd name="T29" fmla="*/ 0 h 567"/>
              <a:gd name="T30" fmla="*/ 2147483647 w 371"/>
              <a:gd name="T31" fmla="*/ 2147483647 h 567"/>
              <a:gd name="T32" fmla="*/ 2147483647 w 371"/>
              <a:gd name="T33" fmla="*/ 2147483647 h 567"/>
              <a:gd name="T34" fmla="*/ 2147483647 w 371"/>
              <a:gd name="T35" fmla="*/ 2147483647 h 567"/>
              <a:gd name="T36" fmla="*/ 2147483647 w 371"/>
              <a:gd name="T37" fmla="*/ 2147483647 h 567"/>
              <a:gd name="T38" fmla="*/ 0 w 371"/>
              <a:gd name="T39" fmla="*/ 2147483647 h 5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71"/>
              <a:gd name="T61" fmla="*/ 0 h 567"/>
              <a:gd name="T62" fmla="*/ 371 w 371"/>
              <a:gd name="T63" fmla="*/ 567 h 5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71" h="567">
                <a:moveTo>
                  <a:pt x="0" y="324"/>
                </a:moveTo>
                <a:lnTo>
                  <a:pt x="53" y="353"/>
                </a:lnTo>
                <a:lnTo>
                  <a:pt x="39" y="381"/>
                </a:lnTo>
                <a:lnTo>
                  <a:pt x="64" y="475"/>
                </a:lnTo>
                <a:lnTo>
                  <a:pt x="22" y="492"/>
                </a:lnTo>
                <a:lnTo>
                  <a:pt x="71" y="567"/>
                </a:lnTo>
                <a:lnTo>
                  <a:pt x="183" y="544"/>
                </a:lnTo>
                <a:lnTo>
                  <a:pt x="195" y="516"/>
                </a:lnTo>
                <a:lnTo>
                  <a:pt x="247" y="506"/>
                </a:lnTo>
                <a:lnTo>
                  <a:pt x="324" y="442"/>
                </a:lnTo>
                <a:lnTo>
                  <a:pt x="297" y="374"/>
                </a:lnTo>
                <a:lnTo>
                  <a:pt x="334" y="281"/>
                </a:lnTo>
                <a:lnTo>
                  <a:pt x="369" y="274"/>
                </a:lnTo>
                <a:lnTo>
                  <a:pt x="371" y="143"/>
                </a:lnTo>
                <a:lnTo>
                  <a:pt x="93" y="0"/>
                </a:lnTo>
                <a:lnTo>
                  <a:pt x="56" y="14"/>
                </a:lnTo>
                <a:lnTo>
                  <a:pt x="56" y="69"/>
                </a:lnTo>
                <a:lnTo>
                  <a:pt x="93" y="108"/>
                </a:lnTo>
                <a:lnTo>
                  <a:pt x="71" y="233"/>
                </a:lnTo>
                <a:lnTo>
                  <a:pt x="0" y="324"/>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88" name="Freeform 187"/>
          <p:cNvSpPr>
            <a:spLocks noChangeAspect="1"/>
          </p:cNvSpPr>
          <p:nvPr/>
        </p:nvSpPr>
        <p:spPr bwMode="gray">
          <a:xfrm>
            <a:off x="1945644" y="5331422"/>
            <a:ext cx="257773" cy="359343"/>
          </a:xfrm>
          <a:custGeom>
            <a:avLst/>
            <a:gdLst>
              <a:gd name="T0" fmla="*/ 0 w 260"/>
              <a:gd name="T1" fmla="*/ 2147483647 h 301"/>
              <a:gd name="T2" fmla="*/ 2147483647 w 260"/>
              <a:gd name="T3" fmla="*/ 2147483647 h 301"/>
              <a:gd name="T4" fmla="*/ 2147483647 w 260"/>
              <a:gd name="T5" fmla="*/ 2147483647 h 301"/>
              <a:gd name="T6" fmla="*/ 2147483647 w 260"/>
              <a:gd name="T7" fmla="*/ 2147483647 h 301"/>
              <a:gd name="T8" fmla="*/ 2147483647 w 260"/>
              <a:gd name="T9" fmla="*/ 2147483647 h 301"/>
              <a:gd name="T10" fmla="*/ 2147483647 w 260"/>
              <a:gd name="T11" fmla="*/ 2147483647 h 301"/>
              <a:gd name="T12" fmla="*/ 2147483647 w 260"/>
              <a:gd name="T13" fmla="*/ 2147483647 h 301"/>
              <a:gd name="T14" fmla="*/ 2147483647 w 260"/>
              <a:gd name="T15" fmla="*/ 0 h 301"/>
              <a:gd name="T16" fmla="*/ 2147483647 w 260"/>
              <a:gd name="T17" fmla="*/ 0 h 301"/>
              <a:gd name="T18" fmla="*/ 2147483647 w 260"/>
              <a:gd name="T19" fmla="*/ 2147483647 h 301"/>
              <a:gd name="T20" fmla="*/ 2147483647 w 260"/>
              <a:gd name="T21" fmla="*/ 2147483647 h 301"/>
              <a:gd name="T22" fmla="*/ 2147483647 w 260"/>
              <a:gd name="T23" fmla="*/ 2147483647 h 301"/>
              <a:gd name="T24" fmla="*/ 2147483647 w 260"/>
              <a:gd name="T25" fmla="*/ 2147483647 h 301"/>
              <a:gd name="T26" fmla="*/ 2147483647 w 260"/>
              <a:gd name="T27" fmla="*/ 2147483647 h 301"/>
              <a:gd name="T28" fmla="*/ 2147483647 w 260"/>
              <a:gd name="T29" fmla="*/ 2147483647 h 301"/>
              <a:gd name="T30" fmla="*/ 2147483647 w 260"/>
              <a:gd name="T31" fmla="*/ 2147483647 h 301"/>
              <a:gd name="T32" fmla="*/ 0 w 260"/>
              <a:gd name="T33" fmla="*/ 2147483647 h 30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60"/>
              <a:gd name="T52" fmla="*/ 0 h 301"/>
              <a:gd name="T53" fmla="*/ 260 w 260"/>
              <a:gd name="T54" fmla="*/ 301 h 30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60" h="301">
                <a:moveTo>
                  <a:pt x="0" y="263"/>
                </a:moveTo>
                <a:lnTo>
                  <a:pt x="27" y="301"/>
                </a:lnTo>
                <a:lnTo>
                  <a:pt x="62" y="289"/>
                </a:lnTo>
                <a:lnTo>
                  <a:pt x="115" y="293"/>
                </a:lnTo>
                <a:lnTo>
                  <a:pt x="163" y="261"/>
                </a:lnTo>
                <a:lnTo>
                  <a:pt x="177" y="201"/>
                </a:lnTo>
                <a:lnTo>
                  <a:pt x="228" y="151"/>
                </a:lnTo>
                <a:lnTo>
                  <a:pt x="260" y="0"/>
                </a:lnTo>
                <a:lnTo>
                  <a:pt x="200" y="0"/>
                </a:lnTo>
                <a:lnTo>
                  <a:pt x="171" y="27"/>
                </a:lnTo>
                <a:lnTo>
                  <a:pt x="165" y="75"/>
                </a:lnTo>
                <a:lnTo>
                  <a:pt x="73" y="53"/>
                </a:lnTo>
                <a:lnTo>
                  <a:pt x="71" y="85"/>
                </a:lnTo>
                <a:lnTo>
                  <a:pt x="107" y="87"/>
                </a:lnTo>
                <a:lnTo>
                  <a:pt x="96" y="206"/>
                </a:lnTo>
                <a:lnTo>
                  <a:pt x="51" y="192"/>
                </a:lnTo>
                <a:lnTo>
                  <a:pt x="0" y="263"/>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89" name="Freeform 188"/>
          <p:cNvSpPr>
            <a:spLocks noChangeAspect="1"/>
          </p:cNvSpPr>
          <p:nvPr/>
        </p:nvSpPr>
        <p:spPr bwMode="gray">
          <a:xfrm>
            <a:off x="1983676" y="5269625"/>
            <a:ext cx="654996" cy="764462"/>
          </a:xfrm>
          <a:custGeom>
            <a:avLst/>
            <a:gdLst>
              <a:gd name="T0" fmla="*/ 0 w 659"/>
              <a:gd name="T1" fmla="*/ 2147483647 h 635"/>
              <a:gd name="T2" fmla="*/ 2147483647 w 659"/>
              <a:gd name="T3" fmla="*/ 2147483647 h 635"/>
              <a:gd name="T4" fmla="*/ 2147483647 w 659"/>
              <a:gd name="T5" fmla="*/ 2147483647 h 635"/>
              <a:gd name="T6" fmla="*/ 2147483647 w 659"/>
              <a:gd name="T7" fmla="*/ 2147483647 h 635"/>
              <a:gd name="T8" fmla="*/ 2147483647 w 659"/>
              <a:gd name="T9" fmla="*/ 2147483647 h 635"/>
              <a:gd name="T10" fmla="*/ 2147483647 w 659"/>
              <a:gd name="T11" fmla="*/ 2147483647 h 635"/>
              <a:gd name="T12" fmla="*/ 2147483647 w 659"/>
              <a:gd name="T13" fmla="*/ 2147483647 h 635"/>
              <a:gd name="T14" fmla="*/ 2147483647 w 659"/>
              <a:gd name="T15" fmla="*/ 2147483647 h 635"/>
              <a:gd name="T16" fmla="*/ 2147483647 w 659"/>
              <a:gd name="T17" fmla="*/ 2147483647 h 635"/>
              <a:gd name="T18" fmla="*/ 2147483647 w 659"/>
              <a:gd name="T19" fmla="*/ 2147483647 h 635"/>
              <a:gd name="T20" fmla="*/ 2147483647 w 659"/>
              <a:gd name="T21" fmla="*/ 2147483647 h 635"/>
              <a:gd name="T22" fmla="*/ 2147483647 w 659"/>
              <a:gd name="T23" fmla="*/ 2147483647 h 635"/>
              <a:gd name="T24" fmla="*/ 2147483647 w 659"/>
              <a:gd name="T25" fmla="*/ 2147483647 h 635"/>
              <a:gd name="T26" fmla="*/ 2147483647 w 659"/>
              <a:gd name="T27" fmla="*/ 2147483647 h 635"/>
              <a:gd name="T28" fmla="*/ 2147483647 w 659"/>
              <a:gd name="T29" fmla="*/ 2147483647 h 635"/>
              <a:gd name="T30" fmla="*/ 2147483647 w 659"/>
              <a:gd name="T31" fmla="*/ 2147483647 h 635"/>
              <a:gd name="T32" fmla="*/ 2147483647 w 659"/>
              <a:gd name="T33" fmla="*/ 2147483647 h 635"/>
              <a:gd name="T34" fmla="*/ 2147483647 w 659"/>
              <a:gd name="T35" fmla="*/ 2147483647 h 635"/>
              <a:gd name="T36" fmla="*/ 2147483647 w 659"/>
              <a:gd name="T37" fmla="*/ 2147483647 h 635"/>
              <a:gd name="T38" fmla="*/ 2147483647 w 659"/>
              <a:gd name="T39" fmla="*/ 2147483647 h 635"/>
              <a:gd name="T40" fmla="*/ 2147483647 w 659"/>
              <a:gd name="T41" fmla="*/ 2147483647 h 635"/>
              <a:gd name="T42" fmla="*/ 2147483647 w 659"/>
              <a:gd name="T43" fmla="*/ 2147483647 h 635"/>
              <a:gd name="T44" fmla="*/ 2147483647 w 659"/>
              <a:gd name="T45" fmla="*/ 0 h 635"/>
              <a:gd name="T46" fmla="*/ 2147483647 w 659"/>
              <a:gd name="T47" fmla="*/ 2147483647 h 635"/>
              <a:gd name="T48" fmla="*/ 2147483647 w 659"/>
              <a:gd name="T49" fmla="*/ 0 h 635"/>
              <a:gd name="T50" fmla="*/ 2147483647 w 659"/>
              <a:gd name="T51" fmla="*/ 2147483647 h 635"/>
              <a:gd name="T52" fmla="*/ 2147483647 w 659"/>
              <a:gd name="T53" fmla="*/ 2147483647 h 635"/>
              <a:gd name="T54" fmla="*/ 2147483647 w 659"/>
              <a:gd name="T55" fmla="*/ 2147483647 h 635"/>
              <a:gd name="T56" fmla="*/ 2147483647 w 659"/>
              <a:gd name="T57" fmla="*/ 2147483647 h 635"/>
              <a:gd name="T58" fmla="*/ 2147483647 w 659"/>
              <a:gd name="T59" fmla="*/ 2147483647 h 635"/>
              <a:gd name="T60" fmla="*/ 2147483647 w 659"/>
              <a:gd name="T61" fmla="*/ 2147483647 h 635"/>
              <a:gd name="T62" fmla="*/ 0 w 659"/>
              <a:gd name="T63" fmla="*/ 2147483647 h 6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9"/>
              <a:gd name="T97" fmla="*/ 0 h 635"/>
              <a:gd name="T98" fmla="*/ 659 w 659"/>
              <a:gd name="T99" fmla="*/ 635 h 6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9" h="635">
                <a:moveTo>
                  <a:pt x="0" y="377"/>
                </a:moveTo>
                <a:lnTo>
                  <a:pt x="2" y="394"/>
                </a:lnTo>
                <a:lnTo>
                  <a:pt x="134" y="377"/>
                </a:lnTo>
                <a:lnTo>
                  <a:pt x="192" y="457"/>
                </a:lnTo>
                <a:lnTo>
                  <a:pt x="241" y="453"/>
                </a:lnTo>
                <a:lnTo>
                  <a:pt x="252" y="416"/>
                </a:lnTo>
                <a:lnTo>
                  <a:pt x="296" y="414"/>
                </a:lnTo>
                <a:lnTo>
                  <a:pt x="329" y="437"/>
                </a:lnTo>
                <a:lnTo>
                  <a:pt x="336" y="560"/>
                </a:lnTo>
                <a:lnTo>
                  <a:pt x="407" y="553"/>
                </a:lnTo>
                <a:lnTo>
                  <a:pt x="606" y="635"/>
                </a:lnTo>
                <a:lnTo>
                  <a:pt x="605" y="598"/>
                </a:lnTo>
                <a:lnTo>
                  <a:pt x="566" y="581"/>
                </a:lnTo>
                <a:lnTo>
                  <a:pt x="573" y="491"/>
                </a:lnTo>
                <a:lnTo>
                  <a:pt x="636" y="459"/>
                </a:lnTo>
                <a:lnTo>
                  <a:pt x="597" y="398"/>
                </a:lnTo>
                <a:lnTo>
                  <a:pt x="590" y="294"/>
                </a:lnTo>
                <a:lnTo>
                  <a:pt x="583" y="268"/>
                </a:lnTo>
                <a:lnTo>
                  <a:pt x="606" y="222"/>
                </a:lnTo>
                <a:lnTo>
                  <a:pt x="636" y="135"/>
                </a:lnTo>
                <a:lnTo>
                  <a:pt x="659" y="102"/>
                </a:lnTo>
                <a:lnTo>
                  <a:pt x="646" y="52"/>
                </a:lnTo>
                <a:lnTo>
                  <a:pt x="531" y="0"/>
                </a:lnTo>
                <a:lnTo>
                  <a:pt x="320" y="30"/>
                </a:lnTo>
                <a:lnTo>
                  <a:pt x="252" y="0"/>
                </a:lnTo>
                <a:lnTo>
                  <a:pt x="221" y="50"/>
                </a:lnTo>
                <a:lnTo>
                  <a:pt x="189" y="201"/>
                </a:lnTo>
                <a:lnTo>
                  <a:pt x="138" y="251"/>
                </a:lnTo>
                <a:lnTo>
                  <a:pt x="124" y="311"/>
                </a:lnTo>
                <a:lnTo>
                  <a:pt x="76" y="343"/>
                </a:lnTo>
                <a:lnTo>
                  <a:pt x="23" y="339"/>
                </a:lnTo>
                <a:lnTo>
                  <a:pt x="0" y="377"/>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90" name="Freeform 189"/>
          <p:cNvSpPr>
            <a:spLocks noChangeAspect="1"/>
          </p:cNvSpPr>
          <p:nvPr/>
        </p:nvSpPr>
        <p:spPr bwMode="gray">
          <a:xfrm>
            <a:off x="2674590" y="3953560"/>
            <a:ext cx="84516" cy="45776"/>
          </a:xfrm>
          <a:custGeom>
            <a:avLst/>
            <a:gdLst>
              <a:gd name="T0" fmla="*/ 0 w 82"/>
              <a:gd name="T1" fmla="*/ 2147483647 h 43"/>
              <a:gd name="T2" fmla="*/ 2147483647 w 82"/>
              <a:gd name="T3" fmla="*/ 2147483647 h 43"/>
              <a:gd name="T4" fmla="*/ 2147483647 w 82"/>
              <a:gd name="T5" fmla="*/ 0 h 43"/>
              <a:gd name="T6" fmla="*/ 0 w 82"/>
              <a:gd name="T7" fmla="*/ 2147483647 h 43"/>
              <a:gd name="T8" fmla="*/ 0 60000 65536"/>
              <a:gd name="T9" fmla="*/ 0 60000 65536"/>
              <a:gd name="T10" fmla="*/ 0 60000 65536"/>
              <a:gd name="T11" fmla="*/ 0 60000 65536"/>
              <a:gd name="T12" fmla="*/ 0 w 82"/>
              <a:gd name="T13" fmla="*/ 0 h 43"/>
              <a:gd name="T14" fmla="*/ 82 w 82"/>
              <a:gd name="T15" fmla="*/ 43 h 43"/>
            </a:gdLst>
            <a:ahLst/>
            <a:cxnLst>
              <a:cxn ang="T8">
                <a:pos x="T0" y="T1"/>
              </a:cxn>
              <a:cxn ang="T9">
                <a:pos x="T2" y="T3"/>
              </a:cxn>
              <a:cxn ang="T10">
                <a:pos x="T4" y="T5"/>
              </a:cxn>
              <a:cxn ang="T11">
                <a:pos x="T6" y="T7"/>
              </a:cxn>
            </a:cxnLst>
            <a:rect l="T12" t="T13" r="T14" b="T15"/>
            <a:pathLst>
              <a:path w="82" h="43">
                <a:moveTo>
                  <a:pt x="0" y="22"/>
                </a:moveTo>
                <a:lnTo>
                  <a:pt x="29" y="43"/>
                </a:lnTo>
                <a:lnTo>
                  <a:pt x="82" y="0"/>
                </a:lnTo>
                <a:lnTo>
                  <a:pt x="0" y="22"/>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91" name="Freeform 190"/>
          <p:cNvSpPr>
            <a:spLocks noChangeAspect="1"/>
          </p:cNvSpPr>
          <p:nvPr/>
        </p:nvSpPr>
        <p:spPr bwMode="gray">
          <a:xfrm>
            <a:off x="1592791" y="4969791"/>
            <a:ext cx="92967" cy="251769"/>
          </a:xfrm>
          <a:custGeom>
            <a:avLst/>
            <a:gdLst>
              <a:gd name="T0" fmla="*/ 0 w 94"/>
              <a:gd name="T1" fmla="*/ 2147483647 h 214"/>
              <a:gd name="T2" fmla="*/ 2147483647 w 94"/>
              <a:gd name="T3" fmla="*/ 2147483647 h 214"/>
              <a:gd name="T4" fmla="*/ 2147483647 w 94"/>
              <a:gd name="T5" fmla="*/ 2147483647 h 214"/>
              <a:gd name="T6" fmla="*/ 2147483647 w 94"/>
              <a:gd name="T7" fmla="*/ 2147483647 h 214"/>
              <a:gd name="T8" fmla="*/ 2147483647 w 94"/>
              <a:gd name="T9" fmla="*/ 0 h 214"/>
              <a:gd name="T10" fmla="*/ 2147483647 w 94"/>
              <a:gd name="T11" fmla="*/ 2147483647 h 214"/>
              <a:gd name="T12" fmla="*/ 0 w 94"/>
              <a:gd name="T13" fmla="*/ 2147483647 h 214"/>
              <a:gd name="T14" fmla="*/ 0 60000 65536"/>
              <a:gd name="T15" fmla="*/ 0 60000 65536"/>
              <a:gd name="T16" fmla="*/ 0 60000 65536"/>
              <a:gd name="T17" fmla="*/ 0 60000 65536"/>
              <a:gd name="T18" fmla="*/ 0 60000 65536"/>
              <a:gd name="T19" fmla="*/ 0 60000 65536"/>
              <a:gd name="T20" fmla="*/ 0 60000 65536"/>
              <a:gd name="T21" fmla="*/ 0 w 94"/>
              <a:gd name="T22" fmla="*/ 0 h 214"/>
              <a:gd name="T23" fmla="*/ 94 w 94"/>
              <a:gd name="T24" fmla="*/ 214 h 2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4" h="214">
                <a:moveTo>
                  <a:pt x="0" y="52"/>
                </a:moveTo>
                <a:lnTo>
                  <a:pt x="36" y="214"/>
                </a:lnTo>
                <a:lnTo>
                  <a:pt x="67" y="212"/>
                </a:lnTo>
                <a:lnTo>
                  <a:pt x="94" y="25"/>
                </a:lnTo>
                <a:lnTo>
                  <a:pt x="67" y="0"/>
                </a:lnTo>
                <a:lnTo>
                  <a:pt x="50" y="16"/>
                </a:lnTo>
                <a:lnTo>
                  <a:pt x="0" y="52"/>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92" name="Freeform 191"/>
          <p:cNvSpPr>
            <a:spLocks noChangeAspect="1"/>
          </p:cNvSpPr>
          <p:nvPr/>
        </p:nvSpPr>
        <p:spPr bwMode="gray">
          <a:xfrm>
            <a:off x="1882257" y="5390931"/>
            <a:ext cx="67612" cy="57221"/>
          </a:xfrm>
          <a:custGeom>
            <a:avLst/>
            <a:gdLst>
              <a:gd name="T0" fmla="*/ 0 w 62"/>
              <a:gd name="T1" fmla="*/ 2147483647 h 43"/>
              <a:gd name="T2" fmla="*/ 2147483647 w 62"/>
              <a:gd name="T3" fmla="*/ 2147483647 h 43"/>
              <a:gd name="T4" fmla="*/ 2147483647 w 62"/>
              <a:gd name="T5" fmla="*/ 0 h 43"/>
              <a:gd name="T6" fmla="*/ 2147483647 w 62"/>
              <a:gd name="T7" fmla="*/ 2147483647 h 43"/>
              <a:gd name="T8" fmla="*/ 0 w 62"/>
              <a:gd name="T9" fmla="*/ 2147483647 h 43"/>
              <a:gd name="T10" fmla="*/ 0 60000 65536"/>
              <a:gd name="T11" fmla="*/ 0 60000 65536"/>
              <a:gd name="T12" fmla="*/ 0 60000 65536"/>
              <a:gd name="T13" fmla="*/ 0 60000 65536"/>
              <a:gd name="T14" fmla="*/ 0 60000 65536"/>
              <a:gd name="T15" fmla="*/ 0 w 62"/>
              <a:gd name="T16" fmla="*/ 0 h 43"/>
              <a:gd name="T17" fmla="*/ 62 w 62"/>
              <a:gd name="T18" fmla="*/ 43 h 43"/>
            </a:gdLst>
            <a:ahLst/>
            <a:cxnLst>
              <a:cxn ang="T10">
                <a:pos x="T0" y="T1"/>
              </a:cxn>
              <a:cxn ang="T11">
                <a:pos x="T2" y="T3"/>
              </a:cxn>
              <a:cxn ang="T12">
                <a:pos x="T4" y="T5"/>
              </a:cxn>
              <a:cxn ang="T13">
                <a:pos x="T6" y="T7"/>
              </a:cxn>
              <a:cxn ang="T14">
                <a:pos x="T8" y="T9"/>
              </a:cxn>
            </a:cxnLst>
            <a:rect l="T15" t="T16" r="T17" b="T18"/>
            <a:pathLst>
              <a:path w="62" h="43">
                <a:moveTo>
                  <a:pt x="0" y="43"/>
                </a:moveTo>
                <a:lnTo>
                  <a:pt x="5" y="1"/>
                </a:lnTo>
                <a:lnTo>
                  <a:pt x="62" y="0"/>
                </a:lnTo>
                <a:lnTo>
                  <a:pt x="62" y="38"/>
                </a:lnTo>
                <a:lnTo>
                  <a:pt x="0" y="43"/>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93" name="Freeform 192"/>
          <p:cNvSpPr>
            <a:spLocks noChangeAspect="1"/>
          </p:cNvSpPr>
          <p:nvPr/>
        </p:nvSpPr>
        <p:spPr bwMode="gray">
          <a:xfrm>
            <a:off x="2697833" y="4734044"/>
            <a:ext cx="519771" cy="608823"/>
          </a:xfrm>
          <a:custGeom>
            <a:avLst/>
            <a:gdLst>
              <a:gd name="T0" fmla="*/ 0 w 524"/>
              <a:gd name="T1" fmla="*/ 2147483647 h 509"/>
              <a:gd name="T2" fmla="*/ 2147483647 w 524"/>
              <a:gd name="T3" fmla="*/ 2147483647 h 509"/>
              <a:gd name="T4" fmla="*/ 2147483647 w 524"/>
              <a:gd name="T5" fmla="*/ 2147483647 h 509"/>
              <a:gd name="T6" fmla="*/ 2147483647 w 524"/>
              <a:gd name="T7" fmla="*/ 2147483647 h 509"/>
              <a:gd name="T8" fmla="*/ 2147483647 w 524"/>
              <a:gd name="T9" fmla="*/ 2147483647 h 509"/>
              <a:gd name="T10" fmla="*/ 2147483647 w 524"/>
              <a:gd name="T11" fmla="*/ 0 h 509"/>
              <a:gd name="T12" fmla="*/ 2147483647 w 524"/>
              <a:gd name="T13" fmla="*/ 2147483647 h 509"/>
              <a:gd name="T14" fmla="*/ 2147483647 w 524"/>
              <a:gd name="T15" fmla="*/ 2147483647 h 509"/>
              <a:gd name="T16" fmla="*/ 2147483647 w 524"/>
              <a:gd name="T17" fmla="*/ 2147483647 h 509"/>
              <a:gd name="T18" fmla="*/ 2147483647 w 524"/>
              <a:gd name="T19" fmla="*/ 2147483647 h 509"/>
              <a:gd name="T20" fmla="*/ 2147483647 w 524"/>
              <a:gd name="T21" fmla="*/ 2147483647 h 509"/>
              <a:gd name="T22" fmla="*/ 2147483647 w 524"/>
              <a:gd name="T23" fmla="*/ 2147483647 h 509"/>
              <a:gd name="T24" fmla="*/ 2147483647 w 524"/>
              <a:gd name="T25" fmla="*/ 2147483647 h 509"/>
              <a:gd name="T26" fmla="*/ 2147483647 w 524"/>
              <a:gd name="T27" fmla="*/ 2147483647 h 509"/>
              <a:gd name="T28" fmla="*/ 2147483647 w 524"/>
              <a:gd name="T29" fmla="*/ 2147483647 h 509"/>
              <a:gd name="T30" fmla="*/ 2147483647 w 524"/>
              <a:gd name="T31" fmla="*/ 2147483647 h 509"/>
              <a:gd name="T32" fmla="*/ 2147483647 w 524"/>
              <a:gd name="T33" fmla="*/ 2147483647 h 509"/>
              <a:gd name="T34" fmla="*/ 0 w 524"/>
              <a:gd name="T35" fmla="*/ 2147483647 h 5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24"/>
              <a:gd name="T55" fmla="*/ 0 h 509"/>
              <a:gd name="T56" fmla="*/ 524 w 524"/>
              <a:gd name="T57" fmla="*/ 509 h 50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24" h="509">
                <a:moveTo>
                  <a:pt x="0" y="356"/>
                </a:moveTo>
                <a:lnTo>
                  <a:pt x="40" y="329"/>
                </a:lnTo>
                <a:lnTo>
                  <a:pt x="44" y="265"/>
                </a:lnTo>
                <a:lnTo>
                  <a:pt x="112" y="181"/>
                </a:lnTo>
                <a:lnTo>
                  <a:pt x="139" y="33"/>
                </a:lnTo>
                <a:lnTo>
                  <a:pt x="193" y="0"/>
                </a:lnTo>
                <a:lnTo>
                  <a:pt x="232" y="102"/>
                </a:lnTo>
                <a:lnTo>
                  <a:pt x="348" y="188"/>
                </a:lnTo>
                <a:lnTo>
                  <a:pt x="307" y="240"/>
                </a:lnTo>
                <a:lnTo>
                  <a:pt x="345" y="253"/>
                </a:lnTo>
                <a:lnTo>
                  <a:pt x="387" y="316"/>
                </a:lnTo>
                <a:lnTo>
                  <a:pt x="524" y="350"/>
                </a:lnTo>
                <a:lnTo>
                  <a:pt x="418" y="455"/>
                </a:lnTo>
                <a:lnTo>
                  <a:pt x="309" y="493"/>
                </a:lnTo>
                <a:lnTo>
                  <a:pt x="210" y="509"/>
                </a:lnTo>
                <a:lnTo>
                  <a:pt x="100" y="470"/>
                </a:lnTo>
                <a:lnTo>
                  <a:pt x="61" y="398"/>
                </a:lnTo>
                <a:lnTo>
                  <a:pt x="0" y="35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94" name="Freeform 193"/>
          <p:cNvSpPr>
            <a:spLocks noChangeAspect="1"/>
          </p:cNvSpPr>
          <p:nvPr/>
        </p:nvSpPr>
        <p:spPr bwMode="gray">
          <a:xfrm>
            <a:off x="3002089" y="4960636"/>
            <a:ext cx="57047" cy="75531"/>
          </a:xfrm>
          <a:custGeom>
            <a:avLst/>
            <a:gdLst>
              <a:gd name="T0" fmla="*/ 0 w 55"/>
              <a:gd name="T1" fmla="*/ 2147483647 h 65"/>
              <a:gd name="T2" fmla="*/ 2147483647 w 55"/>
              <a:gd name="T3" fmla="*/ 2147483647 h 65"/>
              <a:gd name="T4" fmla="*/ 2147483647 w 55"/>
              <a:gd name="T5" fmla="*/ 2147483647 h 65"/>
              <a:gd name="T6" fmla="*/ 2147483647 w 55"/>
              <a:gd name="T7" fmla="*/ 2147483647 h 65"/>
              <a:gd name="T8" fmla="*/ 2147483647 w 55"/>
              <a:gd name="T9" fmla="*/ 2147483647 h 65"/>
              <a:gd name="T10" fmla="*/ 2147483647 w 55"/>
              <a:gd name="T11" fmla="*/ 0 h 65"/>
              <a:gd name="T12" fmla="*/ 0 w 55"/>
              <a:gd name="T13" fmla="*/ 2147483647 h 65"/>
              <a:gd name="T14" fmla="*/ 0 60000 65536"/>
              <a:gd name="T15" fmla="*/ 0 60000 65536"/>
              <a:gd name="T16" fmla="*/ 0 60000 65536"/>
              <a:gd name="T17" fmla="*/ 0 60000 65536"/>
              <a:gd name="T18" fmla="*/ 0 60000 65536"/>
              <a:gd name="T19" fmla="*/ 0 60000 65536"/>
              <a:gd name="T20" fmla="*/ 0 60000 65536"/>
              <a:gd name="T21" fmla="*/ 0 w 55"/>
              <a:gd name="T22" fmla="*/ 0 h 65"/>
              <a:gd name="T23" fmla="*/ 55 w 55"/>
              <a:gd name="T24" fmla="*/ 65 h 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5">
                <a:moveTo>
                  <a:pt x="0" y="52"/>
                </a:moveTo>
                <a:lnTo>
                  <a:pt x="38" y="65"/>
                </a:lnTo>
                <a:lnTo>
                  <a:pt x="52" y="44"/>
                </a:lnTo>
                <a:lnTo>
                  <a:pt x="25" y="41"/>
                </a:lnTo>
                <a:lnTo>
                  <a:pt x="55" y="25"/>
                </a:lnTo>
                <a:lnTo>
                  <a:pt x="41" y="0"/>
                </a:lnTo>
                <a:lnTo>
                  <a:pt x="0" y="52"/>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95" name="Freeform 194"/>
          <p:cNvSpPr>
            <a:spLocks noChangeAspect="1"/>
          </p:cNvSpPr>
          <p:nvPr/>
        </p:nvSpPr>
        <p:spPr bwMode="gray">
          <a:xfrm>
            <a:off x="1861128" y="5390931"/>
            <a:ext cx="192272" cy="256346"/>
          </a:xfrm>
          <a:custGeom>
            <a:avLst/>
            <a:gdLst>
              <a:gd name="T0" fmla="*/ 0 w 192"/>
              <a:gd name="T1" fmla="*/ 2147483647 h 211"/>
              <a:gd name="T2" fmla="*/ 2147483647 w 192"/>
              <a:gd name="T3" fmla="*/ 2147483647 h 211"/>
              <a:gd name="T4" fmla="*/ 2147483647 w 192"/>
              <a:gd name="T5" fmla="*/ 2147483647 h 211"/>
              <a:gd name="T6" fmla="*/ 2147483647 w 192"/>
              <a:gd name="T7" fmla="*/ 2147483647 h 211"/>
              <a:gd name="T8" fmla="*/ 2147483647 w 192"/>
              <a:gd name="T9" fmla="*/ 2147483647 h 211"/>
              <a:gd name="T10" fmla="*/ 2147483647 w 192"/>
              <a:gd name="T11" fmla="*/ 0 h 211"/>
              <a:gd name="T12" fmla="*/ 2147483647 w 192"/>
              <a:gd name="T13" fmla="*/ 2147483647 h 211"/>
              <a:gd name="T14" fmla="*/ 2147483647 w 192"/>
              <a:gd name="T15" fmla="*/ 2147483647 h 211"/>
              <a:gd name="T16" fmla="*/ 2147483647 w 192"/>
              <a:gd name="T17" fmla="*/ 2147483647 h 211"/>
              <a:gd name="T18" fmla="*/ 2147483647 w 192"/>
              <a:gd name="T19" fmla="*/ 2147483647 h 211"/>
              <a:gd name="T20" fmla="*/ 2147483647 w 192"/>
              <a:gd name="T21" fmla="*/ 2147483647 h 211"/>
              <a:gd name="T22" fmla="*/ 2147483647 w 192"/>
              <a:gd name="T23" fmla="*/ 2147483647 h 211"/>
              <a:gd name="T24" fmla="*/ 0 w 192"/>
              <a:gd name="T25" fmla="*/ 2147483647 h 2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2"/>
              <a:gd name="T40" fmla="*/ 0 h 211"/>
              <a:gd name="T41" fmla="*/ 192 w 192"/>
              <a:gd name="T42" fmla="*/ 211 h 2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2" h="211">
                <a:moveTo>
                  <a:pt x="0" y="100"/>
                </a:moveTo>
                <a:lnTo>
                  <a:pt x="21" y="67"/>
                </a:lnTo>
                <a:lnTo>
                  <a:pt x="36" y="70"/>
                </a:lnTo>
                <a:lnTo>
                  <a:pt x="26" y="43"/>
                </a:lnTo>
                <a:lnTo>
                  <a:pt x="88" y="38"/>
                </a:lnTo>
                <a:lnTo>
                  <a:pt x="88" y="0"/>
                </a:lnTo>
                <a:lnTo>
                  <a:pt x="158" y="1"/>
                </a:lnTo>
                <a:lnTo>
                  <a:pt x="156" y="33"/>
                </a:lnTo>
                <a:lnTo>
                  <a:pt x="192" y="35"/>
                </a:lnTo>
                <a:lnTo>
                  <a:pt x="181" y="154"/>
                </a:lnTo>
                <a:lnTo>
                  <a:pt x="136" y="140"/>
                </a:lnTo>
                <a:lnTo>
                  <a:pt x="85" y="211"/>
                </a:lnTo>
                <a:lnTo>
                  <a:pt x="0" y="100"/>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96" name="Freeform 195"/>
          <p:cNvSpPr>
            <a:spLocks noChangeAspect="1"/>
          </p:cNvSpPr>
          <p:nvPr/>
        </p:nvSpPr>
        <p:spPr bwMode="gray">
          <a:xfrm>
            <a:off x="984278" y="4917149"/>
            <a:ext cx="105644" cy="27466"/>
          </a:xfrm>
          <a:custGeom>
            <a:avLst/>
            <a:gdLst>
              <a:gd name="T0" fmla="*/ 0 w 103"/>
              <a:gd name="T1" fmla="*/ 2147483647 h 21"/>
              <a:gd name="T2" fmla="*/ 2147483647 w 103"/>
              <a:gd name="T3" fmla="*/ 0 h 21"/>
              <a:gd name="T4" fmla="*/ 2147483647 w 103"/>
              <a:gd name="T5" fmla="*/ 2147483647 h 21"/>
              <a:gd name="T6" fmla="*/ 0 w 103"/>
              <a:gd name="T7" fmla="*/ 2147483647 h 21"/>
              <a:gd name="T8" fmla="*/ 0 60000 65536"/>
              <a:gd name="T9" fmla="*/ 0 60000 65536"/>
              <a:gd name="T10" fmla="*/ 0 60000 65536"/>
              <a:gd name="T11" fmla="*/ 0 60000 65536"/>
              <a:gd name="T12" fmla="*/ 0 w 103"/>
              <a:gd name="T13" fmla="*/ 0 h 21"/>
              <a:gd name="T14" fmla="*/ 103 w 103"/>
              <a:gd name="T15" fmla="*/ 21 h 21"/>
            </a:gdLst>
            <a:ahLst/>
            <a:cxnLst>
              <a:cxn ang="T8">
                <a:pos x="T0" y="T1"/>
              </a:cxn>
              <a:cxn ang="T9">
                <a:pos x="T2" y="T3"/>
              </a:cxn>
              <a:cxn ang="T10">
                <a:pos x="T4" y="T5"/>
              </a:cxn>
              <a:cxn ang="T11">
                <a:pos x="T6" y="T7"/>
              </a:cxn>
            </a:cxnLst>
            <a:rect l="T12" t="T13" r="T14" b="T15"/>
            <a:pathLst>
              <a:path w="103" h="21">
                <a:moveTo>
                  <a:pt x="0" y="21"/>
                </a:moveTo>
                <a:lnTo>
                  <a:pt x="4" y="0"/>
                </a:lnTo>
                <a:lnTo>
                  <a:pt x="103" y="8"/>
                </a:lnTo>
                <a:lnTo>
                  <a:pt x="0" y="21"/>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97" name="Freeform 196"/>
          <p:cNvSpPr>
            <a:spLocks noChangeAspect="1"/>
          </p:cNvSpPr>
          <p:nvPr/>
        </p:nvSpPr>
        <p:spPr bwMode="gray">
          <a:xfrm>
            <a:off x="1455454" y="5017856"/>
            <a:ext cx="145789" cy="267790"/>
          </a:xfrm>
          <a:custGeom>
            <a:avLst/>
            <a:gdLst>
              <a:gd name="T0" fmla="*/ 0 w 148"/>
              <a:gd name="T1" fmla="*/ 2147483647 h 225"/>
              <a:gd name="T2" fmla="*/ 2147483647 w 148"/>
              <a:gd name="T3" fmla="*/ 2147483647 h 225"/>
              <a:gd name="T4" fmla="*/ 2147483647 w 148"/>
              <a:gd name="T5" fmla="*/ 2147483647 h 225"/>
              <a:gd name="T6" fmla="*/ 2147483647 w 148"/>
              <a:gd name="T7" fmla="*/ 0 h 225"/>
              <a:gd name="T8" fmla="*/ 2147483647 w 148"/>
              <a:gd name="T9" fmla="*/ 2147483647 h 225"/>
              <a:gd name="T10" fmla="*/ 2147483647 w 148"/>
              <a:gd name="T11" fmla="*/ 2147483647 h 225"/>
              <a:gd name="T12" fmla="*/ 0 w 148"/>
              <a:gd name="T13" fmla="*/ 2147483647 h 225"/>
              <a:gd name="T14" fmla="*/ 0 60000 65536"/>
              <a:gd name="T15" fmla="*/ 0 60000 65536"/>
              <a:gd name="T16" fmla="*/ 0 60000 65536"/>
              <a:gd name="T17" fmla="*/ 0 60000 65536"/>
              <a:gd name="T18" fmla="*/ 0 60000 65536"/>
              <a:gd name="T19" fmla="*/ 0 60000 65536"/>
              <a:gd name="T20" fmla="*/ 0 60000 65536"/>
              <a:gd name="T21" fmla="*/ 0 w 148"/>
              <a:gd name="T22" fmla="*/ 0 h 225"/>
              <a:gd name="T23" fmla="*/ 148 w 148"/>
              <a:gd name="T24" fmla="*/ 225 h 2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8" h="225">
                <a:moveTo>
                  <a:pt x="0" y="212"/>
                </a:moveTo>
                <a:lnTo>
                  <a:pt x="13" y="57"/>
                </a:lnTo>
                <a:lnTo>
                  <a:pt x="6" y="9"/>
                </a:lnTo>
                <a:lnTo>
                  <a:pt x="99" y="0"/>
                </a:lnTo>
                <a:lnTo>
                  <a:pt x="148" y="177"/>
                </a:lnTo>
                <a:lnTo>
                  <a:pt x="38" y="225"/>
                </a:lnTo>
                <a:lnTo>
                  <a:pt x="0" y="212"/>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98" name="Freeform 197"/>
          <p:cNvSpPr>
            <a:spLocks noChangeAspect="1"/>
          </p:cNvSpPr>
          <p:nvPr/>
        </p:nvSpPr>
        <p:spPr bwMode="gray">
          <a:xfrm>
            <a:off x="1041327" y="4960636"/>
            <a:ext cx="253547" cy="219726"/>
          </a:xfrm>
          <a:custGeom>
            <a:avLst/>
            <a:gdLst>
              <a:gd name="T0" fmla="*/ 0 w 254"/>
              <a:gd name="T1" fmla="*/ 2147483647 h 186"/>
              <a:gd name="T2" fmla="*/ 2147483647 w 254"/>
              <a:gd name="T3" fmla="*/ 2147483647 h 186"/>
              <a:gd name="T4" fmla="*/ 2147483647 w 254"/>
              <a:gd name="T5" fmla="*/ 0 h 186"/>
              <a:gd name="T6" fmla="*/ 2147483647 w 254"/>
              <a:gd name="T7" fmla="*/ 2147483647 h 186"/>
              <a:gd name="T8" fmla="*/ 2147483647 w 254"/>
              <a:gd name="T9" fmla="*/ 2147483647 h 186"/>
              <a:gd name="T10" fmla="*/ 2147483647 w 254"/>
              <a:gd name="T11" fmla="*/ 2147483647 h 186"/>
              <a:gd name="T12" fmla="*/ 2147483647 w 254"/>
              <a:gd name="T13" fmla="*/ 2147483647 h 186"/>
              <a:gd name="T14" fmla="*/ 2147483647 w 254"/>
              <a:gd name="T15" fmla="*/ 2147483647 h 186"/>
              <a:gd name="T16" fmla="*/ 2147483647 w 254"/>
              <a:gd name="T17" fmla="*/ 2147483647 h 186"/>
              <a:gd name="T18" fmla="*/ 2147483647 w 254"/>
              <a:gd name="T19" fmla="*/ 2147483647 h 186"/>
              <a:gd name="T20" fmla="*/ 2147483647 w 254"/>
              <a:gd name="T21" fmla="*/ 2147483647 h 186"/>
              <a:gd name="T22" fmla="*/ 2147483647 w 254"/>
              <a:gd name="T23" fmla="*/ 2147483647 h 186"/>
              <a:gd name="T24" fmla="*/ 2147483647 w 254"/>
              <a:gd name="T25" fmla="*/ 2147483647 h 186"/>
              <a:gd name="T26" fmla="*/ 2147483647 w 254"/>
              <a:gd name="T27" fmla="*/ 2147483647 h 186"/>
              <a:gd name="T28" fmla="*/ 2147483647 w 254"/>
              <a:gd name="T29" fmla="*/ 2147483647 h 186"/>
              <a:gd name="T30" fmla="*/ 0 w 254"/>
              <a:gd name="T31" fmla="*/ 2147483647 h 1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54"/>
              <a:gd name="T49" fmla="*/ 0 h 186"/>
              <a:gd name="T50" fmla="*/ 254 w 254"/>
              <a:gd name="T51" fmla="*/ 186 h 1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54" h="186">
                <a:moveTo>
                  <a:pt x="0" y="62"/>
                </a:moveTo>
                <a:lnTo>
                  <a:pt x="43" y="35"/>
                </a:lnTo>
                <a:lnTo>
                  <a:pt x="44" y="0"/>
                </a:lnTo>
                <a:lnTo>
                  <a:pt x="127" y="8"/>
                </a:lnTo>
                <a:lnTo>
                  <a:pt x="149" y="25"/>
                </a:lnTo>
                <a:lnTo>
                  <a:pt x="208" y="5"/>
                </a:lnTo>
                <a:lnTo>
                  <a:pt x="243" y="88"/>
                </a:lnTo>
                <a:lnTo>
                  <a:pt x="254" y="151"/>
                </a:lnTo>
                <a:lnTo>
                  <a:pt x="232" y="146"/>
                </a:lnTo>
                <a:lnTo>
                  <a:pt x="226" y="180"/>
                </a:lnTo>
                <a:lnTo>
                  <a:pt x="190" y="186"/>
                </a:lnTo>
                <a:lnTo>
                  <a:pt x="188" y="151"/>
                </a:lnTo>
                <a:lnTo>
                  <a:pt x="166" y="150"/>
                </a:lnTo>
                <a:lnTo>
                  <a:pt x="132" y="97"/>
                </a:lnTo>
                <a:lnTo>
                  <a:pt x="60" y="126"/>
                </a:lnTo>
                <a:lnTo>
                  <a:pt x="0" y="62"/>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99" name="Freeform 198"/>
          <p:cNvSpPr>
            <a:spLocks noChangeAspect="1"/>
          </p:cNvSpPr>
          <p:nvPr/>
        </p:nvSpPr>
        <p:spPr bwMode="gray">
          <a:xfrm>
            <a:off x="3103507" y="4244240"/>
            <a:ext cx="65499" cy="22888"/>
          </a:xfrm>
          <a:custGeom>
            <a:avLst/>
            <a:gdLst>
              <a:gd name="T0" fmla="*/ 0 w 64"/>
              <a:gd name="T1" fmla="*/ 0 h 17"/>
              <a:gd name="T2" fmla="*/ 2147483647 w 64"/>
              <a:gd name="T3" fmla="*/ 2147483647 h 17"/>
              <a:gd name="T4" fmla="*/ 2147483647 w 64"/>
              <a:gd name="T5" fmla="*/ 2147483647 h 17"/>
              <a:gd name="T6" fmla="*/ 0 w 64"/>
              <a:gd name="T7" fmla="*/ 0 h 17"/>
              <a:gd name="T8" fmla="*/ 0 60000 65536"/>
              <a:gd name="T9" fmla="*/ 0 60000 65536"/>
              <a:gd name="T10" fmla="*/ 0 60000 65536"/>
              <a:gd name="T11" fmla="*/ 0 60000 65536"/>
              <a:gd name="T12" fmla="*/ 0 w 64"/>
              <a:gd name="T13" fmla="*/ 0 h 17"/>
              <a:gd name="T14" fmla="*/ 64 w 64"/>
              <a:gd name="T15" fmla="*/ 17 h 17"/>
            </a:gdLst>
            <a:ahLst/>
            <a:cxnLst>
              <a:cxn ang="T8">
                <a:pos x="T0" y="T1"/>
              </a:cxn>
              <a:cxn ang="T9">
                <a:pos x="T2" y="T3"/>
              </a:cxn>
              <a:cxn ang="T10">
                <a:pos x="T4" y="T5"/>
              </a:cxn>
              <a:cxn ang="T11">
                <a:pos x="T6" y="T7"/>
              </a:cxn>
            </a:cxnLst>
            <a:rect l="T12" t="T13" r="T14" b="T15"/>
            <a:pathLst>
              <a:path w="64" h="17">
                <a:moveTo>
                  <a:pt x="0" y="0"/>
                </a:moveTo>
                <a:lnTo>
                  <a:pt x="33" y="17"/>
                </a:lnTo>
                <a:lnTo>
                  <a:pt x="64" y="4"/>
                </a:lnTo>
                <a:lnTo>
                  <a:pt x="0" y="0"/>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00" name="Freeform 199"/>
          <p:cNvSpPr>
            <a:spLocks noChangeAspect="1"/>
          </p:cNvSpPr>
          <p:nvPr/>
        </p:nvSpPr>
        <p:spPr bwMode="gray">
          <a:xfrm>
            <a:off x="2731639" y="4070290"/>
            <a:ext cx="52822" cy="171660"/>
          </a:xfrm>
          <a:custGeom>
            <a:avLst/>
            <a:gdLst>
              <a:gd name="T0" fmla="*/ 0 w 55"/>
              <a:gd name="T1" fmla="*/ 2147483647 h 147"/>
              <a:gd name="T2" fmla="*/ 2147483647 w 55"/>
              <a:gd name="T3" fmla="*/ 2147483647 h 147"/>
              <a:gd name="T4" fmla="*/ 2147483647 w 55"/>
              <a:gd name="T5" fmla="*/ 2147483647 h 147"/>
              <a:gd name="T6" fmla="*/ 2147483647 w 55"/>
              <a:gd name="T7" fmla="*/ 2147483647 h 147"/>
              <a:gd name="T8" fmla="*/ 2147483647 w 55"/>
              <a:gd name="T9" fmla="*/ 2147483647 h 147"/>
              <a:gd name="T10" fmla="*/ 2147483647 w 55"/>
              <a:gd name="T11" fmla="*/ 2147483647 h 147"/>
              <a:gd name="T12" fmla="*/ 2147483647 w 55"/>
              <a:gd name="T13" fmla="*/ 2147483647 h 147"/>
              <a:gd name="T14" fmla="*/ 2147483647 w 55"/>
              <a:gd name="T15" fmla="*/ 0 h 147"/>
              <a:gd name="T16" fmla="*/ 2147483647 w 55"/>
              <a:gd name="T17" fmla="*/ 2147483647 h 147"/>
              <a:gd name="T18" fmla="*/ 0 w 55"/>
              <a:gd name="T19" fmla="*/ 2147483647 h 1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
              <a:gd name="T31" fmla="*/ 0 h 147"/>
              <a:gd name="T32" fmla="*/ 55 w 55"/>
              <a:gd name="T33" fmla="*/ 147 h 1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 h="147">
                <a:moveTo>
                  <a:pt x="0" y="74"/>
                </a:moveTo>
                <a:lnTo>
                  <a:pt x="30" y="147"/>
                </a:lnTo>
                <a:lnTo>
                  <a:pt x="33" y="145"/>
                </a:lnTo>
                <a:lnTo>
                  <a:pt x="49" y="66"/>
                </a:lnTo>
                <a:lnTo>
                  <a:pt x="27" y="72"/>
                </a:lnTo>
                <a:lnTo>
                  <a:pt x="33" y="37"/>
                </a:lnTo>
                <a:lnTo>
                  <a:pt x="50" y="20"/>
                </a:lnTo>
                <a:lnTo>
                  <a:pt x="55" y="0"/>
                </a:lnTo>
                <a:lnTo>
                  <a:pt x="36" y="3"/>
                </a:lnTo>
                <a:lnTo>
                  <a:pt x="0" y="74"/>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01" name="Freeform 200"/>
          <p:cNvSpPr>
            <a:spLocks noChangeAspect="1"/>
          </p:cNvSpPr>
          <p:nvPr/>
        </p:nvSpPr>
        <p:spPr bwMode="gray">
          <a:xfrm>
            <a:off x="1263180" y="5043033"/>
            <a:ext cx="204951" cy="258636"/>
          </a:xfrm>
          <a:custGeom>
            <a:avLst/>
            <a:gdLst>
              <a:gd name="T0" fmla="*/ 0 w 204"/>
              <a:gd name="T1" fmla="*/ 2147483647 h 219"/>
              <a:gd name="T2" fmla="*/ 2147483647 w 204"/>
              <a:gd name="T3" fmla="*/ 2147483647 h 219"/>
              <a:gd name="T4" fmla="*/ 2147483647 w 204"/>
              <a:gd name="T5" fmla="*/ 2147483647 h 219"/>
              <a:gd name="T6" fmla="*/ 2147483647 w 204"/>
              <a:gd name="T7" fmla="*/ 2147483647 h 219"/>
              <a:gd name="T8" fmla="*/ 2147483647 w 204"/>
              <a:gd name="T9" fmla="*/ 2147483647 h 219"/>
              <a:gd name="T10" fmla="*/ 2147483647 w 204"/>
              <a:gd name="T11" fmla="*/ 0 h 219"/>
              <a:gd name="T12" fmla="*/ 2147483647 w 204"/>
              <a:gd name="T13" fmla="*/ 2147483647 h 219"/>
              <a:gd name="T14" fmla="*/ 2147483647 w 204"/>
              <a:gd name="T15" fmla="*/ 2147483647 h 219"/>
              <a:gd name="T16" fmla="*/ 2147483647 w 204"/>
              <a:gd name="T17" fmla="*/ 2147483647 h 219"/>
              <a:gd name="T18" fmla="*/ 2147483647 w 204"/>
              <a:gd name="T19" fmla="*/ 2147483647 h 219"/>
              <a:gd name="T20" fmla="*/ 2147483647 w 204"/>
              <a:gd name="T21" fmla="*/ 2147483647 h 219"/>
              <a:gd name="T22" fmla="*/ 2147483647 w 204"/>
              <a:gd name="T23" fmla="*/ 2147483647 h 219"/>
              <a:gd name="T24" fmla="*/ 0 w 204"/>
              <a:gd name="T25" fmla="*/ 2147483647 h 2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4"/>
              <a:gd name="T40" fmla="*/ 0 h 219"/>
              <a:gd name="T41" fmla="*/ 204 w 204"/>
              <a:gd name="T42" fmla="*/ 219 h 2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4" h="219">
                <a:moveTo>
                  <a:pt x="0" y="144"/>
                </a:moveTo>
                <a:lnTo>
                  <a:pt x="2" y="111"/>
                </a:lnTo>
                <a:lnTo>
                  <a:pt x="8" y="77"/>
                </a:lnTo>
                <a:lnTo>
                  <a:pt x="30" y="82"/>
                </a:lnTo>
                <a:lnTo>
                  <a:pt x="19" y="19"/>
                </a:lnTo>
                <a:lnTo>
                  <a:pt x="81" y="0"/>
                </a:lnTo>
                <a:lnTo>
                  <a:pt x="116" y="13"/>
                </a:lnTo>
                <a:lnTo>
                  <a:pt x="134" y="34"/>
                </a:lnTo>
                <a:lnTo>
                  <a:pt x="204" y="41"/>
                </a:lnTo>
                <a:lnTo>
                  <a:pt x="191" y="196"/>
                </a:lnTo>
                <a:lnTo>
                  <a:pt x="33" y="219"/>
                </a:lnTo>
                <a:lnTo>
                  <a:pt x="37" y="169"/>
                </a:lnTo>
                <a:lnTo>
                  <a:pt x="0" y="144"/>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02" name="Freeform 201"/>
          <p:cNvSpPr>
            <a:spLocks noChangeAspect="1"/>
          </p:cNvSpPr>
          <p:nvPr/>
        </p:nvSpPr>
        <p:spPr bwMode="gray">
          <a:xfrm>
            <a:off x="2759106" y="4061135"/>
            <a:ext cx="152128" cy="192260"/>
          </a:xfrm>
          <a:custGeom>
            <a:avLst/>
            <a:gdLst>
              <a:gd name="T0" fmla="*/ 0 w 152"/>
              <a:gd name="T1" fmla="*/ 2147483647 h 162"/>
              <a:gd name="T2" fmla="*/ 2147483647 w 152"/>
              <a:gd name="T3" fmla="*/ 2147483647 h 162"/>
              <a:gd name="T4" fmla="*/ 2147483647 w 152"/>
              <a:gd name="T5" fmla="*/ 2147483647 h 162"/>
              <a:gd name="T6" fmla="*/ 2147483647 w 152"/>
              <a:gd name="T7" fmla="*/ 2147483647 h 162"/>
              <a:gd name="T8" fmla="*/ 2147483647 w 152"/>
              <a:gd name="T9" fmla="*/ 0 h 162"/>
              <a:gd name="T10" fmla="*/ 2147483647 w 152"/>
              <a:gd name="T11" fmla="*/ 2147483647 h 162"/>
              <a:gd name="T12" fmla="*/ 2147483647 w 152"/>
              <a:gd name="T13" fmla="*/ 2147483647 h 162"/>
              <a:gd name="T14" fmla="*/ 2147483647 w 152"/>
              <a:gd name="T15" fmla="*/ 2147483647 h 162"/>
              <a:gd name="T16" fmla="*/ 2147483647 w 152"/>
              <a:gd name="T17" fmla="*/ 2147483647 h 162"/>
              <a:gd name="T18" fmla="*/ 2147483647 w 152"/>
              <a:gd name="T19" fmla="*/ 2147483647 h 162"/>
              <a:gd name="T20" fmla="*/ 2147483647 w 152"/>
              <a:gd name="T21" fmla="*/ 2147483647 h 162"/>
              <a:gd name="T22" fmla="*/ 2147483647 w 152"/>
              <a:gd name="T23" fmla="*/ 2147483647 h 162"/>
              <a:gd name="T24" fmla="*/ 0 w 152"/>
              <a:gd name="T25" fmla="*/ 2147483647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2"/>
              <a:gd name="T40" fmla="*/ 0 h 162"/>
              <a:gd name="T41" fmla="*/ 152 w 152"/>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2" h="162">
                <a:moveTo>
                  <a:pt x="0" y="78"/>
                </a:moveTo>
                <a:lnTo>
                  <a:pt x="6" y="43"/>
                </a:lnTo>
                <a:lnTo>
                  <a:pt x="23" y="26"/>
                </a:lnTo>
                <a:lnTo>
                  <a:pt x="60" y="40"/>
                </a:lnTo>
                <a:lnTo>
                  <a:pt x="135" y="0"/>
                </a:lnTo>
                <a:lnTo>
                  <a:pt x="152" y="45"/>
                </a:lnTo>
                <a:lnTo>
                  <a:pt x="73" y="71"/>
                </a:lnTo>
                <a:lnTo>
                  <a:pt x="111" y="106"/>
                </a:lnTo>
                <a:lnTo>
                  <a:pt x="92" y="130"/>
                </a:lnTo>
                <a:lnTo>
                  <a:pt x="45" y="162"/>
                </a:lnTo>
                <a:lnTo>
                  <a:pt x="6" y="151"/>
                </a:lnTo>
                <a:lnTo>
                  <a:pt x="22" y="72"/>
                </a:lnTo>
                <a:lnTo>
                  <a:pt x="0" y="78"/>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03" name="Freeform 202"/>
          <p:cNvSpPr>
            <a:spLocks noChangeAspect="1"/>
          </p:cNvSpPr>
          <p:nvPr/>
        </p:nvSpPr>
        <p:spPr bwMode="gray">
          <a:xfrm>
            <a:off x="2731639" y="5292513"/>
            <a:ext cx="270450" cy="384520"/>
          </a:xfrm>
          <a:custGeom>
            <a:avLst/>
            <a:gdLst>
              <a:gd name="T0" fmla="*/ 0 w 274"/>
              <a:gd name="T1" fmla="*/ 2147483647 h 319"/>
              <a:gd name="T2" fmla="*/ 2147483647 w 274"/>
              <a:gd name="T3" fmla="*/ 2147483647 h 319"/>
              <a:gd name="T4" fmla="*/ 0 w 274"/>
              <a:gd name="T5" fmla="*/ 2147483647 h 319"/>
              <a:gd name="T6" fmla="*/ 2147483647 w 274"/>
              <a:gd name="T7" fmla="*/ 2147483647 h 319"/>
              <a:gd name="T8" fmla="*/ 2147483647 w 274"/>
              <a:gd name="T9" fmla="*/ 2147483647 h 319"/>
              <a:gd name="T10" fmla="*/ 2147483647 w 274"/>
              <a:gd name="T11" fmla="*/ 2147483647 h 319"/>
              <a:gd name="T12" fmla="*/ 2147483647 w 274"/>
              <a:gd name="T13" fmla="*/ 2147483647 h 319"/>
              <a:gd name="T14" fmla="*/ 2147483647 w 274"/>
              <a:gd name="T15" fmla="*/ 2147483647 h 319"/>
              <a:gd name="T16" fmla="*/ 2147483647 w 274"/>
              <a:gd name="T17" fmla="*/ 2147483647 h 319"/>
              <a:gd name="T18" fmla="*/ 2147483647 w 274"/>
              <a:gd name="T19" fmla="*/ 2147483647 h 319"/>
              <a:gd name="T20" fmla="*/ 2147483647 w 274"/>
              <a:gd name="T21" fmla="*/ 2147483647 h 319"/>
              <a:gd name="T22" fmla="*/ 2147483647 w 274"/>
              <a:gd name="T23" fmla="*/ 0 h 319"/>
              <a:gd name="T24" fmla="*/ 0 w 274"/>
              <a:gd name="T25" fmla="*/ 2147483647 h 3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4"/>
              <a:gd name="T40" fmla="*/ 0 h 319"/>
              <a:gd name="T41" fmla="*/ 274 w 274"/>
              <a:gd name="T42" fmla="*/ 319 h 3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4" h="319">
                <a:moveTo>
                  <a:pt x="0" y="20"/>
                </a:moveTo>
                <a:lnTo>
                  <a:pt x="38" y="88"/>
                </a:lnTo>
                <a:lnTo>
                  <a:pt x="0" y="150"/>
                </a:lnTo>
                <a:lnTo>
                  <a:pt x="30" y="167"/>
                </a:lnTo>
                <a:lnTo>
                  <a:pt x="9" y="190"/>
                </a:lnTo>
                <a:lnTo>
                  <a:pt x="187" y="319"/>
                </a:lnTo>
                <a:lnTo>
                  <a:pt x="263" y="216"/>
                </a:lnTo>
                <a:lnTo>
                  <a:pt x="246" y="188"/>
                </a:lnTo>
                <a:lnTo>
                  <a:pt x="246" y="61"/>
                </a:lnTo>
                <a:lnTo>
                  <a:pt x="274" y="23"/>
                </a:lnTo>
                <a:lnTo>
                  <a:pt x="175" y="39"/>
                </a:lnTo>
                <a:lnTo>
                  <a:pt x="65" y="0"/>
                </a:lnTo>
                <a:lnTo>
                  <a:pt x="0" y="20"/>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04" name="Freeform 203"/>
          <p:cNvSpPr>
            <a:spLocks noChangeAspect="1"/>
          </p:cNvSpPr>
          <p:nvPr/>
        </p:nvSpPr>
        <p:spPr bwMode="gray">
          <a:xfrm>
            <a:off x="3169006" y="4209907"/>
            <a:ext cx="57049" cy="64087"/>
          </a:xfrm>
          <a:custGeom>
            <a:avLst/>
            <a:gdLst>
              <a:gd name="T0" fmla="*/ 0 w 62"/>
              <a:gd name="T1" fmla="*/ 2147483647 h 52"/>
              <a:gd name="T2" fmla="*/ 2147483647 w 62"/>
              <a:gd name="T3" fmla="*/ 0 h 52"/>
              <a:gd name="T4" fmla="*/ 2147483647 w 62"/>
              <a:gd name="T5" fmla="*/ 2147483647 h 52"/>
              <a:gd name="T6" fmla="*/ 0 w 62"/>
              <a:gd name="T7" fmla="*/ 2147483647 h 52"/>
              <a:gd name="T8" fmla="*/ 0 60000 65536"/>
              <a:gd name="T9" fmla="*/ 0 60000 65536"/>
              <a:gd name="T10" fmla="*/ 0 60000 65536"/>
              <a:gd name="T11" fmla="*/ 0 60000 65536"/>
              <a:gd name="T12" fmla="*/ 0 w 62"/>
              <a:gd name="T13" fmla="*/ 0 h 52"/>
              <a:gd name="T14" fmla="*/ 62 w 62"/>
              <a:gd name="T15" fmla="*/ 52 h 52"/>
            </a:gdLst>
            <a:ahLst/>
            <a:cxnLst>
              <a:cxn ang="T8">
                <a:pos x="T0" y="T1"/>
              </a:cxn>
              <a:cxn ang="T9">
                <a:pos x="T2" y="T3"/>
              </a:cxn>
              <a:cxn ang="T10">
                <a:pos x="T4" y="T5"/>
              </a:cxn>
              <a:cxn ang="T11">
                <a:pos x="T6" y="T7"/>
              </a:cxn>
            </a:cxnLst>
            <a:rect l="T12" t="T13" r="T14" b="T15"/>
            <a:pathLst>
              <a:path w="62" h="52">
                <a:moveTo>
                  <a:pt x="0" y="32"/>
                </a:moveTo>
                <a:lnTo>
                  <a:pt x="51" y="0"/>
                </a:lnTo>
                <a:lnTo>
                  <a:pt x="62" y="52"/>
                </a:lnTo>
                <a:lnTo>
                  <a:pt x="0" y="32"/>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05" name="Freeform 204"/>
          <p:cNvSpPr>
            <a:spLocks noChangeAspect="1"/>
          </p:cNvSpPr>
          <p:nvPr/>
        </p:nvSpPr>
        <p:spPr bwMode="gray">
          <a:xfrm>
            <a:off x="2771783" y="3994759"/>
            <a:ext cx="50709" cy="75531"/>
          </a:xfrm>
          <a:custGeom>
            <a:avLst/>
            <a:gdLst>
              <a:gd name="T0" fmla="*/ 0 w 55"/>
              <a:gd name="T1" fmla="*/ 2147483647 h 61"/>
              <a:gd name="T2" fmla="*/ 2147483647 w 55"/>
              <a:gd name="T3" fmla="*/ 2147483647 h 61"/>
              <a:gd name="T4" fmla="*/ 2147483647 w 55"/>
              <a:gd name="T5" fmla="*/ 2147483647 h 61"/>
              <a:gd name="T6" fmla="*/ 2147483647 w 55"/>
              <a:gd name="T7" fmla="*/ 0 h 61"/>
              <a:gd name="T8" fmla="*/ 0 w 55"/>
              <a:gd name="T9" fmla="*/ 2147483647 h 61"/>
              <a:gd name="T10" fmla="*/ 0 60000 65536"/>
              <a:gd name="T11" fmla="*/ 0 60000 65536"/>
              <a:gd name="T12" fmla="*/ 0 60000 65536"/>
              <a:gd name="T13" fmla="*/ 0 60000 65536"/>
              <a:gd name="T14" fmla="*/ 0 60000 65536"/>
              <a:gd name="T15" fmla="*/ 0 w 55"/>
              <a:gd name="T16" fmla="*/ 0 h 61"/>
              <a:gd name="T17" fmla="*/ 55 w 55"/>
              <a:gd name="T18" fmla="*/ 61 h 61"/>
            </a:gdLst>
            <a:ahLst/>
            <a:cxnLst>
              <a:cxn ang="T10">
                <a:pos x="T0" y="T1"/>
              </a:cxn>
              <a:cxn ang="T11">
                <a:pos x="T2" y="T3"/>
              </a:cxn>
              <a:cxn ang="T12">
                <a:pos x="T4" y="T5"/>
              </a:cxn>
              <a:cxn ang="T13">
                <a:pos x="T6" y="T7"/>
              </a:cxn>
              <a:cxn ang="T14">
                <a:pos x="T8" y="T9"/>
              </a:cxn>
            </a:cxnLst>
            <a:rect l="T15" t="T16" r="T17" b="T18"/>
            <a:pathLst>
              <a:path w="55" h="61">
                <a:moveTo>
                  <a:pt x="0" y="61"/>
                </a:moveTo>
                <a:lnTo>
                  <a:pt x="19" y="58"/>
                </a:lnTo>
                <a:lnTo>
                  <a:pt x="55" y="18"/>
                </a:lnTo>
                <a:lnTo>
                  <a:pt x="34" y="0"/>
                </a:lnTo>
                <a:lnTo>
                  <a:pt x="0" y="61"/>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06" name="Freeform 205"/>
          <p:cNvSpPr>
            <a:spLocks noChangeAspect="1"/>
          </p:cNvSpPr>
          <p:nvPr/>
        </p:nvSpPr>
        <p:spPr bwMode="gray">
          <a:xfrm>
            <a:off x="1165987" y="5141452"/>
            <a:ext cx="135225" cy="160217"/>
          </a:xfrm>
          <a:custGeom>
            <a:avLst/>
            <a:gdLst>
              <a:gd name="T0" fmla="*/ 0 w 137"/>
              <a:gd name="T1" fmla="*/ 2147483647 h 138"/>
              <a:gd name="T2" fmla="*/ 2147483647 w 137"/>
              <a:gd name="T3" fmla="*/ 0 h 138"/>
              <a:gd name="T4" fmla="*/ 2147483647 w 137"/>
              <a:gd name="T5" fmla="*/ 2147483647 h 138"/>
              <a:gd name="T6" fmla="*/ 2147483647 w 137"/>
              <a:gd name="T7" fmla="*/ 2147483647 h 138"/>
              <a:gd name="T8" fmla="*/ 2147483647 w 137"/>
              <a:gd name="T9" fmla="*/ 2147483647 h 138"/>
              <a:gd name="T10" fmla="*/ 2147483647 w 137"/>
              <a:gd name="T11" fmla="*/ 2147483647 h 138"/>
              <a:gd name="T12" fmla="*/ 2147483647 w 137"/>
              <a:gd name="T13" fmla="*/ 2147483647 h 138"/>
              <a:gd name="T14" fmla="*/ 2147483647 w 137"/>
              <a:gd name="T15" fmla="*/ 2147483647 h 138"/>
              <a:gd name="T16" fmla="*/ 0 w 137"/>
              <a:gd name="T17" fmla="*/ 2147483647 h 1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7"/>
              <a:gd name="T28" fmla="*/ 0 h 138"/>
              <a:gd name="T29" fmla="*/ 137 w 137"/>
              <a:gd name="T30" fmla="*/ 138 h 1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7" h="138">
                <a:moveTo>
                  <a:pt x="0" y="51"/>
                </a:moveTo>
                <a:lnTo>
                  <a:pt x="42" y="0"/>
                </a:lnTo>
                <a:lnTo>
                  <a:pt x="64" y="1"/>
                </a:lnTo>
                <a:lnTo>
                  <a:pt x="66" y="36"/>
                </a:lnTo>
                <a:lnTo>
                  <a:pt x="102" y="30"/>
                </a:lnTo>
                <a:lnTo>
                  <a:pt x="100" y="63"/>
                </a:lnTo>
                <a:lnTo>
                  <a:pt x="137" y="88"/>
                </a:lnTo>
                <a:lnTo>
                  <a:pt x="133" y="138"/>
                </a:lnTo>
                <a:lnTo>
                  <a:pt x="0" y="51"/>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07" name="Freeform 206"/>
          <p:cNvSpPr>
            <a:spLocks noChangeAspect="1"/>
          </p:cNvSpPr>
          <p:nvPr/>
        </p:nvSpPr>
        <p:spPr bwMode="gray">
          <a:xfrm>
            <a:off x="1880144" y="4070290"/>
            <a:ext cx="540900" cy="601956"/>
          </a:xfrm>
          <a:custGeom>
            <a:avLst/>
            <a:gdLst>
              <a:gd name="T0" fmla="*/ 0 w 543"/>
              <a:gd name="T1" fmla="*/ 2147483647 h 505"/>
              <a:gd name="T2" fmla="*/ 2147483647 w 543"/>
              <a:gd name="T3" fmla="*/ 2147483647 h 505"/>
              <a:gd name="T4" fmla="*/ 2147483647 w 543"/>
              <a:gd name="T5" fmla="*/ 0 h 505"/>
              <a:gd name="T6" fmla="*/ 2147483647 w 543"/>
              <a:gd name="T7" fmla="*/ 2147483647 h 505"/>
              <a:gd name="T8" fmla="*/ 2147483647 w 543"/>
              <a:gd name="T9" fmla="*/ 2147483647 h 505"/>
              <a:gd name="T10" fmla="*/ 2147483647 w 543"/>
              <a:gd name="T11" fmla="*/ 2147483647 h 505"/>
              <a:gd name="T12" fmla="*/ 2147483647 w 543"/>
              <a:gd name="T13" fmla="*/ 2147483647 h 505"/>
              <a:gd name="T14" fmla="*/ 2147483647 w 543"/>
              <a:gd name="T15" fmla="*/ 2147483647 h 505"/>
              <a:gd name="T16" fmla="*/ 2147483647 w 543"/>
              <a:gd name="T17" fmla="*/ 2147483647 h 505"/>
              <a:gd name="T18" fmla="*/ 2147483647 w 543"/>
              <a:gd name="T19" fmla="*/ 2147483647 h 505"/>
              <a:gd name="T20" fmla="*/ 2147483647 w 543"/>
              <a:gd name="T21" fmla="*/ 2147483647 h 505"/>
              <a:gd name="T22" fmla="*/ 2147483647 w 543"/>
              <a:gd name="T23" fmla="*/ 2147483647 h 505"/>
              <a:gd name="T24" fmla="*/ 2147483647 w 543"/>
              <a:gd name="T25" fmla="*/ 2147483647 h 505"/>
              <a:gd name="T26" fmla="*/ 2147483647 w 543"/>
              <a:gd name="T27" fmla="*/ 2147483647 h 505"/>
              <a:gd name="T28" fmla="*/ 2147483647 w 543"/>
              <a:gd name="T29" fmla="*/ 2147483647 h 505"/>
              <a:gd name="T30" fmla="*/ 2147483647 w 543"/>
              <a:gd name="T31" fmla="*/ 2147483647 h 505"/>
              <a:gd name="T32" fmla="*/ 2147483647 w 543"/>
              <a:gd name="T33" fmla="*/ 2147483647 h 505"/>
              <a:gd name="T34" fmla="*/ 2147483647 w 543"/>
              <a:gd name="T35" fmla="*/ 2147483647 h 505"/>
              <a:gd name="T36" fmla="*/ 0 w 543"/>
              <a:gd name="T37" fmla="*/ 2147483647 h 50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3"/>
              <a:gd name="T58" fmla="*/ 0 h 505"/>
              <a:gd name="T59" fmla="*/ 543 w 543"/>
              <a:gd name="T60" fmla="*/ 505 h 50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3" h="505">
                <a:moveTo>
                  <a:pt x="0" y="263"/>
                </a:moveTo>
                <a:lnTo>
                  <a:pt x="1" y="108"/>
                </a:lnTo>
                <a:lnTo>
                  <a:pt x="70" y="0"/>
                </a:lnTo>
                <a:lnTo>
                  <a:pt x="199" y="31"/>
                </a:lnTo>
                <a:lnTo>
                  <a:pt x="224" y="69"/>
                </a:lnTo>
                <a:lnTo>
                  <a:pt x="329" y="108"/>
                </a:lnTo>
                <a:lnTo>
                  <a:pt x="363" y="95"/>
                </a:lnTo>
                <a:lnTo>
                  <a:pt x="366" y="40"/>
                </a:lnTo>
                <a:lnTo>
                  <a:pt x="400" y="14"/>
                </a:lnTo>
                <a:lnTo>
                  <a:pt x="543" y="57"/>
                </a:lnTo>
                <a:lnTo>
                  <a:pt x="527" y="117"/>
                </a:lnTo>
                <a:lnTo>
                  <a:pt x="543" y="413"/>
                </a:lnTo>
                <a:lnTo>
                  <a:pt x="543" y="483"/>
                </a:lnTo>
                <a:lnTo>
                  <a:pt x="512" y="485"/>
                </a:lnTo>
                <a:lnTo>
                  <a:pt x="512" y="505"/>
                </a:lnTo>
                <a:lnTo>
                  <a:pt x="234" y="362"/>
                </a:lnTo>
                <a:lnTo>
                  <a:pt x="197" y="376"/>
                </a:lnTo>
                <a:lnTo>
                  <a:pt x="82" y="359"/>
                </a:lnTo>
                <a:lnTo>
                  <a:pt x="0" y="263"/>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08" name="Freeform 209"/>
          <p:cNvSpPr>
            <a:spLocks noChangeAspect="1"/>
          </p:cNvSpPr>
          <p:nvPr/>
        </p:nvSpPr>
        <p:spPr bwMode="gray">
          <a:xfrm>
            <a:off x="1144858" y="4434210"/>
            <a:ext cx="557803" cy="627133"/>
          </a:xfrm>
          <a:custGeom>
            <a:avLst/>
            <a:gdLst>
              <a:gd name="T0" fmla="*/ 0 w 561"/>
              <a:gd name="T1" fmla="*/ 2147483647 h 527"/>
              <a:gd name="T2" fmla="*/ 2147483647 w 561"/>
              <a:gd name="T3" fmla="*/ 2147483647 h 527"/>
              <a:gd name="T4" fmla="*/ 2147483647 w 561"/>
              <a:gd name="T5" fmla="*/ 2147483647 h 527"/>
              <a:gd name="T6" fmla="*/ 2147483647 w 561"/>
              <a:gd name="T7" fmla="*/ 2147483647 h 527"/>
              <a:gd name="T8" fmla="*/ 2147483647 w 561"/>
              <a:gd name="T9" fmla="*/ 0 h 527"/>
              <a:gd name="T10" fmla="*/ 2147483647 w 561"/>
              <a:gd name="T11" fmla="*/ 0 h 527"/>
              <a:gd name="T12" fmla="*/ 2147483647 w 561"/>
              <a:gd name="T13" fmla="*/ 2147483647 h 527"/>
              <a:gd name="T14" fmla="*/ 2147483647 w 561"/>
              <a:gd name="T15" fmla="*/ 2147483647 h 527"/>
              <a:gd name="T16" fmla="*/ 2147483647 w 561"/>
              <a:gd name="T17" fmla="*/ 2147483647 h 527"/>
              <a:gd name="T18" fmla="*/ 2147483647 w 561"/>
              <a:gd name="T19" fmla="*/ 2147483647 h 527"/>
              <a:gd name="T20" fmla="*/ 2147483647 w 561"/>
              <a:gd name="T21" fmla="*/ 2147483647 h 527"/>
              <a:gd name="T22" fmla="*/ 2147483647 w 561"/>
              <a:gd name="T23" fmla="*/ 2147483647 h 527"/>
              <a:gd name="T24" fmla="*/ 2147483647 w 561"/>
              <a:gd name="T25" fmla="*/ 2147483647 h 527"/>
              <a:gd name="T26" fmla="*/ 2147483647 w 561"/>
              <a:gd name="T27" fmla="*/ 2147483647 h 527"/>
              <a:gd name="T28" fmla="*/ 2147483647 w 561"/>
              <a:gd name="T29" fmla="*/ 2147483647 h 527"/>
              <a:gd name="T30" fmla="*/ 2147483647 w 561"/>
              <a:gd name="T31" fmla="*/ 2147483647 h 527"/>
              <a:gd name="T32" fmla="*/ 2147483647 w 561"/>
              <a:gd name="T33" fmla="*/ 2147483647 h 527"/>
              <a:gd name="T34" fmla="*/ 2147483647 w 561"/>
              <a:gd name="T35" fmla="*/ 2147483647 h 527"/>
              <a:gd name="T36" fmla="*/ 2147483647 w 561"/>
              <a:gd name="T37" fmla="*/ 2147483647 h 527"/>
              <a:gd name="T38" fmla="*/ 0 w 561"/>
              <a:gd name="T39" fmla="*/ 2147483647 h 52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1"/>
              <a:gd name="T61" fmla="*/ 0 h 527"/>
              <a:gd name="T62" fmla="*/ 561 w 561"/>
              <a:gd name="T63" fmla="*/ 527 h 52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1" h="527">
                <a:moveTo>
                  <a:pt x="0" y="365"/>
                </a:moveTo>
                <a:lnTo>
                  <a:pt x="23" y="328"/>
                </a:lnTo>
                <a:lnTo>
                  <a:pt x="51" y="353"/>
                </a:lnTo>
                <a:lnTo>
                  <a:pt x="226" y="342"/>
                </a:lnTo>
                <a:lnTo>
                  <a:pt x="189" y="0"/>
                </a:lnTo>
                <a:lnTo>
                  <a:pt x="250" y="0"/>
                </a:lnTo>
                <a:lnTo>
                  <a:pt x="529" y="185"/>
                </a:lnTo>
                <a:lnTo>
                  <a:pt x="532" y="217"/>
                </a:lnTo>
                <a:lnTo>
                  <a:pt x="560" y="212"/>
                </a:lnTo>
                <a:lnTo>
                  <a:pt x="561" y="321"/>
                </a:lnTo>
                <a:lnTo>
                  <a:pt x="538" y="344"/>
                </a:lnTo>
                <a:lnTo>
                  <a:pt x="425" y="359"/>
                </a:lnTo>
                <a:lnTo>
                  <a:pt x="282" y="421"/>
                </a:lnTo>
                <a:lnTo>
                  <a:pt x="238" y="521"/>
                </a:lnTo>
                <a:lnTo>
                  <a:pt x="203" y="508"/>
                </a:lnTo>
                <a:lnTo>
                  <a:pt x="141" y="527"/>
                </a:lnTo>
                <a:lnTo>
                  <a:pt x="106" y="444"/>
                </a:lnTo>
                <a:lnTo>
                  <a:pt x="47" y="464"/>
                </a:lnTo>
                <a:lnTo>
                  <a:pt x="25" y="447"/>
                </a:lnTo>
                <a:lnTo>
                  <a:pt x="0" y="365"/>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09" name="Freeform 210"/>
          <p:cNvSpPr>
            <a:spLocks noChangeAspect="1"/>
          </p:cNvSpPr>
          <p:nvPr/>
        </p:nvSpPr>
        <p:spPr bwMode="gray">
          <a:xfrm>
            <a:off x="973715" y="4335792"/>
            <a:ext cx="420464" cy="533291"/>
          </a:xfrm>
          <a:custGeom>
            <a:avLst/>
            <a:gdLst>
              <a:gd name="T0" fmla="*/ 0 w 419"/>
              <a:gd name="T1" fmla="*/ 2147483647 h 448"/>
              <a:gd name="T2" fmla="*/ 2147483647 w 419"/>
              <a:gd name="T3" fmla="*/ 2147483647 h 448"/>
              <a:gd name="T4" fmla="*/ 2147483647 w 419"/>
              <a:gd name="T5" fmla="*/ 2147483647 h 448"/>
              <a:gd name="T6" fmla="*/ 2147483647 w 419"/>
              <a:gd name="T7" fmla="*/ 2147483647 h 448"/>
              <a:gd name="T8" fmla="*/ 2147483647 w 419"/>
              <a:gd name="T9" fmla="*/ 2147483647 h 448"/>
              <a:gd name="T10" fmla="*/ 2147483647 w 419"/>
              <a:gd name="T11" fmla="*/ 2147483647 h 448"/>
              <a:gd name="T12" fmla="*/ 2147483647 w 419"/>
              <a:gd name="T13" fmla="*/ 2147483647 h 448"/>
              <a:gd name="T14" fmla="*/ 2147483647 w 419"/>
              <a:gd name="T15" fmla="*/ 2147483647 h 448"/>
              <a:gd name="T16" fmla="*/ 2147483647 w 419"/>
              <a:gd name="T17" fmla="*/ 2147483647 h 448"/>
              <a:gd name="T18" fmla="*/ 2147483647 w 419"/>
              <a:gd name="T19" fmla="*/ 2147483647 h 448"/>
              <a:gd name="T20" fmla="*/ 2147483647 w 419"/>
              <a:gd name="T21" fmla="*/ 2147483647 h 448"/>
              <a:gd name="T22" fmla="*/ 2147483647 w 419"/>
              <a:gd name="T23" fmla="*/ 0 h 448"/>
              <a:gd name="T24" fmla="*/ 2147483647 w 419"/>
              <a:gd name="T25" fmla="*/ 2147483647 h 448"/>
              <a:gd name="T26" fmla="*/ 2147483647 w 419"/>
              <a:gd name="T27" fmla="*/ 2147483647 h 448"/>
              <a:gd name="T28" fmla="*/ 2147483647 w 419"/>
              <a:gd name="T29" fmla="*/ 2147483647 h 448"/>
              <a:gd name="T30" fmla="*/ 2147483647 w 419"/>
              <a:gd name="T31" fmla="*/ 2147483647 h 448"/>
              <a:gd name="T32" fmla="*/ 2147483647 w 419"/>
              <a:gd name="T33" fmla="*/ 2147483647 h 448"/>
              <a:gd name="T34" fmla="*/ 0 w 419"/>
              <a:gd name="T35" fmla="*/ 2147483647 h 4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9"/>
              <a:gd name="T55" fmla="*/ 0 h 448"/>
              <a:gd name="T56" fmla="*/ 419 w 419"/>
              <a:gd name="T57" fmla="*/ 448 h 44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9" h="448">
                <a:moveTo>
                  <a:pt x="0" y="225"/>
                </a:moveTo>
                <a:lnTo>
                  <a:pt x="25" y="251"/>
                </a:lnTo>
                <a:lnTo>
                  <a:pt x="30" y="318"/>
                </a:lnTo>
                <a:lnTo>
                  <a:pt x="11" y="403"/>
                </a:lnTo>
                <a:lnTo>
                  <a:pt x="89" y="384"/>
                </a:lnTo>
                <a:lnTo>
                  <a:pt x="169" y="448"/>
                </a:lnTo>
                <a:lnTo>
                  <a:pt x="192" y="411"/>
                </a:lnTo>
                <a:lnTo>
                  <a:pt x="220" y="436"/>
                </a:lnTo>
                <a:lnTo>
                  <a:pt x="395" y="425"/>
                </a:lnTo>
                <a:lnTo>
                  <a:pt x="358" y="83"/>
                </a:lnTo>
                <a:lnTo>
                  <a:pt x="419" y="83"/>
                </a:lnTo>
                <a:lnTo>
                  <a:pt x="291" y="0"/>
                </a:lnTo>
                <a:lnTo>
                  <a:pt x="288" y="45"/>
                </a:lnTo>
                <a:lnTo>
                  <a:pt x="177" y="43"/>
                </a:lnTo>
                <a:lnTo>
                  <a:pt x="175" y="137"/>
                </a:lnTo>
                <a:lnTo>
                  <a:pt x="136" y="154"/>
                </a:lnTo>
                <a:lnTo>
                  <a:pt x="138" y="211"/>
                </a:lnTo>
                <a:lnTo>
                  <a:pt x="0" y="225"/>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10" name="Freeform 211"/>
          <p:cNvSpPr>
            <a:spLocks noChangeAspect="1"/>
          </p:cNvSpPr>
          <p:nvPr/>
        </p:nvSpPr>
        <p:spPr bwMode="gray">
          <a:xfrm>
            <a:off x="1113165" y="3953560"/>
            <a:ext cx="401449" cy="361632"/>
          </a:xfrm>
          <a:custGeom>
            <a:avLst/>
            <a:gdLst>
              <a:gd name="T0" fmla="*/ 0 w 407"/>
              <a:gd name="T1" fmla="*/ 2147483647 h 307"/>
              <a:gd name="T2" fmla="*/ 2147483647 w 407"/>
              <a:gd name="T3" fmla="*/ 2147483647 h 307"/>
              <a:gd name="T4" fmla="*/ 2147483647 w 407"/>
              <a:gd name="T5" fmla="*/ 2147483647 h 307"/>
              <a:gd name="T6" fmla="*/ 2147483647 w 407"/>
              <a:gd name="T7" fmla="*/ 2147483647 h 307"/>
              <a:gd name="T8" fmla="*/ 2147483647 w 407"/>
              <a:gd name="T9" fmla="*/ 0 h 307"/>
              <a:gd name="T10" fmla="*/ 2147483647 w 407"/>
              <a:gd name="T11" fmla="*/ 2147483647 h 307"/>
              <a:gd name="T12" fmla="*/ 2147483647 w 407"/>
              <a:gd name="T13" fmla="*/ 2147483647 h 307"/>
              <a:gd name="T14" fmla="*/ 2147483647 w 407"/>
              <a:gd name="T15" fmla="*/ 2147483647 h 307"/>
              <a:gd name="T16" fmla="*/ 2147483647 w 407"/>
              <a:gd name="T17" fmla="*/ 2147483647 h 307"/>
              <a:gd name="T18" fmla="*/ 2147483647 w 407"/>
              <a:gd name="T19" fmla="*/ 2147483647 h 307"/>
              <a:gd name="T20" fmla="*/ 2147483647 w 407"/>
              <a:gd name="T21" fmla="*/ 2147483647 h 307"/>
              <a:gd name="T22" fmla="*/ 2147483647 w 407"/>
              <a:gd name="T23" fmla="*/ 2147483647 h 307"/>
              <a:gd name="T24" fmla="*/ 0 w 407"/>
              <a:gd name="T25" fmla="*/ 2147483647 h 3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7"/>
              <a:gd name="T40" fmla="*/ 0 h 307"/>
              <a:gd name="T41" fmla="*/ 407 w 407"/>
              <a:gd name="T42" fmla="*/ 307 h 3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7" h="307">
                <a:moveTo>
                  <a:pt x="0" y="303"/>
                </a:moveTo>
                <a:lnTo>
                  <a:pt x="100" y="244"/>
                </a:lnTo>
                <a:lnTo>
                  <a:pt x="136" y="122"/>
                </a:lnTo>
                <a:lnTo>
                  <a:pt x="221" y="61"/>
                </a:lnTo>
                <a:lnTo>
                  <a:pt x="249" y="0"/>
                </a:lnTo>
                <a:lnTo>
                  <a:pt x="374" y="19"/>
                </a:lnTo>
                <a:lnTo>
                  <a:pt x="407" y="134"/>
                </a:lnTo>
                <a:lnTo>
                  <a:pt x="351" y="137"/>
                </a:lnTo>
                <a:lnTo>
                  <a:pt x="321" y="149"/>
                </a:lnTo>
                <a:lnTo>
                  <a:pt x="326" y="180"/>
                </a:lnTo>
                <a:lnTo>
                  <a:pt x="170" y="248"/>
                </a:lnTo>
                <a:lnTo>
                  <a:pt x="151" y="307"/>
                </a:lnTo>
                <a:lnTo>
                  <a:pt x="0" y="303"/>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11" name="Freeform 213"/>
          <p:cNvSpPr>
            <a:spLocks noChangeAspect="1"/>
          </p:cNvSpPr>
          <p:nvPr/>
        </p:nvSpPr>
        <p:spPr bwMode="gray">
          <a:xfrm>
            <a:off x="1567436" y="4498296"/>
            <a:ext cx="547239" cy="501250"/>
          </a:xfrm>
          <a:custGeom>
            <a:avLst/>
            <a:gdLst>
              <a:gd name="T0" fmla="*/ 0 w 551"/>
              <a:gd name="T1" fmla="*/ 2147483647 h 420"/>
              <a:gd name="T2" fmla="*/ 2147483647 w 551"/>
              <a:gd name="T3" fmla="*/ 2147483647 h 420"/>
              <a:gd name="T4" fmla="*/ 2147483647 w 551"/>
              <a:gd name="T5" fmla="*/ 2147483647 h 420"/>
              <a:gd name="T6" fmla="*/ 2147483647 w 551"/>
              <a:gd name="T7" fmla="*/ 2147483647 h 420"/>
              <a:gd name="T8" fmla="*/ 2147483647 w 551"/>
              <a:gd name="T9" fmla="*/ 2147483647 h 420"/>
              <a:gd name="T10" fmla="*/ 2147483647 w 551"/>
              <a:gd name="T11" fmla="*/ 2147483647 h 420"/>
              <a:gd name="T12" fmla="*/ 2147483647 w 551"/>
              <a:gd name="T13" fmla="*/ 2147483647 h 420"/>
              <a:gd name="T14" fmla="*/ 2147483647 w 551"/>
              <a:gd name="T15" fmla="*/ 2147483647 h 420"/>
              <a:gd name="T16" fmla="*/ 2147483647 w 551"/>
              <a:gd name="T17" fmla="*/ 2147483647 h 420"/>
              <a:gd name="T18" fmla="*/ 2147483647 w 551"/>
              <a:gd name="T19" fmla="*/ 2147483647 h 420"/>
              <a:gd name="T20" fmla="*/ 2147483647 w 551"/>
              <a:gd name="T21" fmla="*/ 2147483647 h 420"/>
              <a:gd name="T22" fmla="*/ 2147483647 w 551"/>
              <a:gd name="T23" fmla="*/ 2147483647 h 420"/>
              <a:gd name="T24" fmla="*/ 2147483647 w 551"/>
              <a:gd name="T25" fmla="*/ 2147483647 h 420"/>
              <a:gd name="T26" fmla="*/ 2147483647 w 551"/>
              <a:gd name="T27" fmla="*/ 0 h 420"/>
              <a:gd name="T28" fmla="*/ 2147483647 w 551"/>
              <a:gd name="T29" fmla="*/ 2147483647 h 420"/>
              <a:gd name="T30" fmla="*/ 2147483647 w 551"/>
              <a:gd name="T31" fmla="*/ 2147483647 h 420"/>
              <a:gd name="T32" fmla="*/ 2147483647 w 551"/>
              <a:gd name="T33" fmla="*/ 2147483647 h 420"/>
              <a:gd name="T34" fmla="*/ 2147483647 w 551"/>
              <a:gd name="T35" fmla="*/ 2147483647 h 420"/>
              <a:gd name="T36" fmla="*/ 0 w 551"/>
              <a:gd name="T37" fmla="*/ 2147483647 h 4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51"/>
              <a:gd name="T58" fmla="*/ 0 h 420"/>
              <a:gd name="T59" fmla="*/ 551 w 551"/>
              <a:gd name="T60" fmla="*/ 420 h 4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51" h="420">
                <a:moveTo>
                  <a:pt x="0" y="305"/>
                </a:moveTo>
                <a:lnTo>
                  <a:pt x="8" y="339"/>
                </a:lnTo>
                <a:lnTo>
                  <a:pt x="75" y="411"/>
                </a:lnTo>
                <a:lnTo>
                  <a:pt x="92" y="395"/>
                </a:lnTo>
                <a:lnTo>
                  <a:pt x="119" y="420"/>
                </a:lnTo>
                <a:lnTo>
                  <a:pt x="160" y="348"/>
                </a:lnTo>
                <a:lnTo>
                  <a:pt x="317" y="384"/>
                </a:lnTo>
                <a:lnTo>
                  <a:pt x="453" y="346"/>
                </a:lnTo>
                <a:lnTo>
                  <a:pt x="458" y="327"/>
                </a:lnTo>
                <a:lnTo>
                  <a:pt x="529" y="236"/>
                </a:lnTo>
                <a:lnTo>
                  <a:pt x="551" y="111"/>
                </a:lnTo>
                <a:lnTo>
                  <a:pt x="514" y="72"/>
                </a:lnTo>
                <a:lnTo>
                  <a:pt x="514" y="17"/>
                </a:lnTo>
                <a:lnTo>
                  <a:pt x="399" y="0"/>
                </a:lnTo>
                <a:lnTo>
                  <a:pt x="189" y="145"/>
                </a:lnTo>
                <a:lnTo>
                  <a:pt x="135" y="158"/>
                </a:lnTo>
                <a:lnTo>
                  <a:pt x="136" y="267"/>
                </a:lnTo>
                <a:lnTo>
                  <a:pt x="113" y="290"/>
                </a:lnTo>
                <a:lnTo>
                  <a:pt x="0" y="305"/>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12" name="Freeform 214"/>
          <p:cNvSpPr>
            <a:spLocks noChangeAspect="1"/>
          </p:cNvSpPr>
          <p:nvPr/>
        </p:nvSpPr>
        <p:spPr bwMode="gray">
          <a:xfrm>
            <a:off x="1660403" y="4910282"/>
            <a:ext cx="397223" cy="400542"/>
          </a:xfrm>
          <a:custGeom>
            <a:avLst/>
            <a:gdLst>
              <a:gd name="T0" fmla="*/ 0 w 402"/>
              <a:gd name="T1" fmla="*/ 2147483647 h 335"/>
              <a:gd name="T2" fmla="*/ 2147483647 w 402"/>
              <a:gd name="T3" fmla="*/ 2147483647 h 335"/>
              <a:gd name="T4" fmla="*/ 2147483647 w 402"/>
              <a:gd name="T5" fmla="*/ 2147483647 h 335"/>
              <a:gd name="T6" fmla="*/ 2147483647 w 402"/>
              <a:gd name="T7" fmla="*/ 2147483647 h 335"/>
              <a:gd name="T8" fmla="*/ 2147483647 w 402"/>
              <a:gd name="T9" fmla="*/ 0 h 335"/>
              <a:gd name="T10" fmla="*/ 2147483647 w 402"/>
              <a:gd name="T11" fmla="*/ 2147483647 h 335"/>
              <a:gd name="T12" fmla="*/ 2147483647 w 402"/>
              <a:gd name="T13" fmla="*/ 2147483647 h 335"/>
              <a:gd name="T14" fmla="*/ 2147483647 w 402"/>
              <a:gd name="T15" fmla="*/ 2147483647 h 335"/>
              <a:gd name="T16" fmla="*/ 2147483647 w 402"/>
              <a:gd name="T17" fmla="*/ 2147483647 h 335"/>
              <a:gd name="T18" fmla="*/ 2147483647 w 402"/>
              <a:gd name="T19" fmla="*/ 2147483647 h 335"/>
              <a:gd name="T20" fmla="*/ 2147483647 w 402"/>
              <a:gd name="T21" fmla="*/ 2147483647 h 335"/>
              <a:gd name="T22" fmla="*/ 2147483647 w 402"/>
              <a:gd name="T23" fmla="*/ 2147483647 h 335"/>
              <a:gd name="T24" fmla="*/ 2147483647 w 402"/>
              <a:gd name="T25" fmla="*/ 2147483647 h 335"/>
              <a:gd name="T26" fmla="*/ 0 w 402"/>
              <a:gd name="T27" fmla="*/ 2147483647 h 3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02"/>
              <a:gd name="T43" fmla="*/ 0 h 335"/>
              <a:gd name="T44" fmla="*/ 402 w 402"/>
              <a:gd name="T45" fmla="*/ 335 h 3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02" h="335">
                <a:moveTo>
                  <a:pt x="0" y="261"/>
                </a:moveTo>
                <a:lnTo>
                  <a:pt x="27" y="74"/>
                </a:lnTo>
                <a:lnTo>
                  <a:pt x="68" y="2"/>
                </a:lnTo>
                <a:lnTo>
                  <a:pt x="225" y="38"/>
                </a:lnTo>
                <a:lnTo>
                  <a:pt x="361" y="0"/>
                </a:lnTo>
                <a:lnTo>
                  <a:pt x="388" y="44"/>
                </a:lnTo>
                <a:lnTo>
                  <a:pt x="402" y="74"/>
                </a:lnTo>
                <a:lnTo>
                  <a:pt x="367" y="101"/>
                </a:lnTo>
                <a:lnTo>
                  <a:pt x="295" y="252"/>
                </a:lnTo>
                <a:lnTo>
                  <a:pt x="230" y="242"/>
                </a:lnTo>
                <a:lnTo>
                  <a:pt x="192" y="316"/>
                </a:lnTo>
                <a:lnTo>
                  <a:pt x="115" y="335"/>
                </a:lnTo>
                <a:lnTo>
                  <a:pt x="68" y="269"/>
                </a:lnTo>
                <a:lnTo>
                  <a:pt x="0" y="261"/>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13" name="Freeform 215"/>
          <p:cNvSpPr>
            <a:spLocks noChangeAspect="1"/>
          </p:cNvSpPr>
          <p:nvPr/>
        </p:nvSpPr>
        <p:spPr bwMode="gray">
          <a:xfrm>
            <a:off x="984278" y="4960636"/>
            <a:ext cx="105644" cy="70954"/>
          </a:xfrm>
          <a:custGeom>
            <a:avLst/>
            <a:gdLst>
              <a:gd name="T0" fmla="*/ 0 w 104"/>
              <a:gd name="T1" fmla="*/ 2147483647 h 62"/>
              <a:gd name="T2" fmla="*/ 2147483647 w 104"/>
              <a:gd name="T3" fmla="*/ 2147483647 h 62"/>
              <a:gd name="T4" fmla="*/ 2147483647 w 104"/>
              <a:gd name="T5" fmla="*/ 2147483647 h 62"/>
              <a:gd name="T6" fmla="*/ 2147483647 w 104"/>
              <a:gd name="T7" fmla="*/ 2147483647 h 62"/>
              <a:gd name="T8" fmla="*/ 2147483647 w 104"/>
              <a:gd name="T9" fmla="*/ 2147483647 h 62"/>
              <a:gd name="T10" fmla="*/ 2147483647 w 104"/>
              <a:gd name="T11" fmla="*/ 2147483647 h 62"/>
              <a:gd name="T12" fmla="*/ 2147483647 w 104"/>
              <a:gd name="T13" fmla="*/ 0 h 62"/>
              <a:gd name="T14" fmla="*/ 0 w 104"/>
              <a:gd name="T15" fmla="*/ 2147483647 h 62"/>
              <a:gd name="T16" fmla="*/ 0 60000 65536"/>
              <a:gd name="T17" fmla="*/ 0 60000 65536"/>
              <a:gd name="T18" fmla="*/ 0 60000 65536"/>
              <a:gd name="T19" fmla="*/ 0 60000 65536"/>
              <a:gd name="T20" fmla="*/ 0 60000 65536"/>
              <a:gd name="T21" fmla="*/ 0 60000 65536"/>
              <a:gd name="T22" fmla="*/ 0 60000 65536"/>
              <a:gd name="T23" fmla="*/ 0 60000 65536"/>
              <a:gd name="T24" fmla="*/ 0 w 104"/>
              <a:gd name="T25" fmla="*/ 0 h 62"/>
              <a:gd name="T26" fmla="*/ 104 w 104"/>
              <a:gd name="T27" fmla="*/ 62 h 6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4" h="62">
                <a:moveTo>
                  <a:pt x="0" y="8"/>
                </a:moveTo>
                <a:lnTo>
                  <a:pt x="29" y="35"/>
                </a:lnTo>
                <a:lnTo>
                  <a:pt x="64" y="26"/>
                </a:lnTo>
                <a:lnTo>
                  <a:pt x="44" y="35"/>
                </a:lnTo>
                <a:lnTo>
                  <a:pt x="60" y="62"/>
                </a:lnTo>
                <a:lnTo>
                  <a:pt x="103" y="35"/>
                </a:lnTo>
                <a:lnTo>
                  <a:pt x="104" y="0"/>
                </a:lnTo>
                <a:lnTo>
                  <a:pt x="0" y="8"/>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14" name="Freeform 216"/>
          <p:cNvSpPr>
            <a:spLocks noChangeAspect="1"/>
          </p:cNvSpPr>
          <p:nvPr/>
        </p:nvSpPr>
        <p:spPr bwMode="gray">
          <a:xfrm>
            <a:off x="3308457" y="4386146"/>
            <a:ext cx="21129" cy="66375"/>
          </a:xfrm>
          <a:custGeom>
            <a:avLst/>
            <a:gdLst>
              <a:gd name="T0" fmla="*/ 0 w 19"/>
              <a:gd name="T1" fmla="*/ 2147483647 h 56"/>
              <a:gd name="T2" fmla="*/ 2147483647 w 19"/>
              <a:gd name="T3" fmla="*/ 2147483647 h 56"/>
              <a:gd name="T4" fmla="*/ 2147483647 w 19"/>
              <a:gd name="T5" fmla="*/ 2147483647 h 56"/>
              <a:gd name="T6" fmla="*/ 2147483647 w 19"/>
              <a:gd name="T7" fmla="*/ 0 h 56"/>
              <a:gd name="T8" fmla="*/ 0 w 19"/>
              <a:gd name="T9" fmla="*/ 2147483647 h 56"/>
              <a:gd name="T10" fmla="*/ 0 60000 65536"/>
              <a:gd name="T11" fmla="*/ 0 60000 65536"/>
              <a:gd name="T12" fmla="*/ 0 60000 65536"/>
              <a:gd name="T13" fmla="*/ 0 60000 65536"/>
              <a:gd name="T14" fmla="*/ 0 60000 65536"/>
              <a:gd name="T15" fmla="*/ 0 w 19"/>
              <a:gd name="T16" fmla="*/ 0 h 56"/>
              <a:gd name="T17" fmla="*/ 19 w 19"/>
              <a:gd name="T18" fmla="*/ 56 h 56"/>
            </a:gdLst>
            <a:ahLst/>
            <a:cxnLst>
              <a:cxn ang="T10">
                <a:pos x="T0" y="T1"/>
              </a:cxn>
              <a:cxn ang="T11">
                <a:pos x="T2" y="T3"/>
              </a:cxn>
              <a:cxn ang="T12">
                <a:pos x="T4" y="T5"/>
              </a:cxn>
              <a:cxn ang="T13">
                <a:pos x="T6" y="T7"/>
              </a:cxn>
              <a:cxn ang="T14">
                <a:pos x="T8" y="T9"/>
              </a:cxn>
            </a:cxnLst>
            <a:rect l="T15" t="T16" r="T17" b="T18"/>
            <a:pathLst>
              <a:path w="19" h="56">
                <a:moveTo>
                  <a:pt x="0" y="47"/>
                </a:moveTo>
                <a:lnTo>
                  <a:pt x="9" y="56"/>
                </a:lnTo>
                <a:lnTo>
                  <a:pt x="19" y="54"/>
                </a:lnTo>
                <a:lnTo>
                  <a:pt x="11" y="0"/>
                </a:lnTo>
                <a:lnTo>
                  <a:pt x="0" y="47"/>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15" name="Freeform 217"/>
          <p:cNvSpPr>
            <a:spLocks noChangeAspect="1"/>
          </p:cNvSpPr>
          <p:nvPr/>
        </p:nvSpPr>
        <p:spPr bwMode="gray">
          <a:xfrm>
            <a:off x="2562608" y="5525972"/>
            <a:ext cx="59161" cy="66375"/>
          </a:xfrm>
          <a:custGeom>
            <a:avLst/>
            <a:gdLst>
              <a:gd name="T0" fmla="*/ 0 w 58"/>
              <a:gd name="T1" fmla="*/ 2147483647 h 56"/>
              <a:gd name="T2" fmla="*/ 2147483647 w 58"/>
              <a:gd name="T3" fmla="*/ 2147483647 h 56"/>
              <a:gd name="T4" fmla="*/ 2147483647 w 58"/>
              <a:gd name="T5" fmla="*/ 0 h 56"/>
              <a:gd name="T6" fmla="*/ 2147483647 w 58"/>
              <a:gd name="T7" fmla="*/ 2147483647 h 56"/>
              <a:gd name="T8" fmla="*/ 0 w 58"/>
              <a:gd name="T9" fmla="*/ 2147483647 h 56"/>
              <a:gd name="T10" fmla="*/ 0 60000 65536"/>
              <a:gd name="T11" fmla="*/ 0 60000 65536"/>
              <a:gd name="T12" fmla="*/ 0 60000 65536"/>
              <a:gd name="T13" fmla="*/ 0 60000 65536"/>
              <a:gd name="T14" fmla="*/ 0 60000 65536"/>
              <a:gd name="T15" fmla="*/ 0 w 58"/>
              <a:gd name="T16" fmla="*/ 0 h 56"/>
              <a:gd name="T17" fmla="*/ 58 w 58"/>
              <a:gd name="T18" fmla="*/ 56 h 56"/>
            </a:gdLst>
            <a:ahLst/>
            <a:cxnLst>
              <a:cxn ang="T10">
                <a:pos x="T0" y="T1"/>
              </a:cxn>
              <a:cxn ang="T11">
                <a:pos x="T2" y="T3"/>
              </a:cxn>
              <a:cxn ang="T12">
                <a:pos x="T4" y="T5"/>
              </a:cxn>
              <a:cxn ang="T13">
                <a:pos x="T6" y="T7"/>
              </a:cxn>
              <a:cxn ang="T14">
                <a:pos x="T8" y="T9"/>
              </a:cxn>
            </a:cxnLst>
            <a:rect l="T15" t="T16" r="T17" b="T18"/>
            <a:pathLst>
              <a:path w="58" h="56">
                <a:moveTo>
                  <a:pt x="0" y="56"/>
                </a:moveTo>
                <a:lnTo>
                  <a:pt x="23" y="10"/>
                </a:lnTo>
                <a:lnTo>
                  <a:pt x="50" y="0"/>
                </a:lnTo>
                <a:lnTo>
                  <a:pt x="58" y="46"/>
                </a:lnTo>
                <a:lnTo>
                  <a:pt x="0" y="5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16" name="Freeform 218"/>
          <p:cNvSpPr>
            <a:spLocks noChangeAspect="1"/>
          </p:cNvSpPr>
          <p:nvPr/>
        </p:nvSpPr>
        <p:spPr bwMode="gray">
          <a:xfrm>
            <a:off x="954698" y="4793553"/>
            <a:ext cx="217628" cy="173949"/>
          </a:xfrm>
          <a:custGeom>
            <a:avLst/>
            <a:gdLst>
              <a:gd name="T0" fmla="*/ 0 w 215"/>
              <a:gd name="T1" fmla="*/ 2147483647 h 146"/>
              <a:gd name="T2" fmla="*/ 2147483647 w 215"/>
              <a:gd name="T3" fmla="*/ 2147483647 h 146"/>
              <a:gd name="T4" fmla="*/ 2147483647 w 215"/>
              <a:gd name="T5" fmla="*/ 2147483647 h 146"/>
              <a:gd name="T6" fmla="*/ 2147483647 w 215"/>
              <a:gd name="T7" fmla="*/ 2147483647 h 146"/>
              <a:gd name="T8" fmla="*/ 2147483647 w 215"/>
              <a:gd name="T9" fmla="*/ 2147483647 h 146"/>
              <a:gd name="T10" fmla="*/ 2147483647 w 215"/>
              <a:gd name="T11" fmla="*/ 2147483647 h 146"/>
              <a:gd name="T12" fmla="*/ 2147483647 w 215"/>
              <a:gd name="T13" fmla="*/ 2147483647 h 146"/>
              <a:gd name="T14" fmla="*/ 2147483647 w 215"/>
              <a:gd name="T15" fmla="*/ 2147483647 h 146"/>
              <a:gd name="T16" fmla="*/ 2147483647 w 215"/>
              <a:gd name="T17" fmla="*/ 0 h 146"/>
              <a:gd name="T18" fmla="*/ 2147483647 w 215"/>
              <a:gd name="T19" fmla="*/ 2147483647 h 146"/>
              <a:gd name="T20" fmla="*/ 0 w 215"/>
              <a:gd name="T21" fmla="*/ 2147483647 h 1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5"/>
              <a:gd name="T34" fmla="*/ 0 h 146"/>
              <a:gd name="T35" fmla="*/ 215 w 215"/>
              <a:gd name="T36" fmla="*/ 146 h 1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5" h="146">
                <a:moveTo>
                  <a:pt x="0" y="64"/>
                </a:moveTo>
                <a:lnTo>
                  <a:pt x="32" y="105"/>
                </a:lnTo>
                <a:lnTo>
                  <a:pt x="131" y="113"/>
                </a:lnTo>
                <a:lnTo>
                  <a:pt x="28" y="126"/>
                </a:lnTo>
                <a:lnTo>
                  <a:pt x="28" y="146"/>
                </a:lnTo>
                <a:lnTo>
                  <a:pt x="132" y="138"/>
                </a:lnTo>
                <a:lnTo>
                  <a:pt x="215" y="146"/>
                </a:lnTo>
                <a:lnTo>
                  <a:pt x="190" y="64"/>
                </a:lnTo>
                <a:lnTo>
                  <a:pt x="110" y="0"/>
                </a:lnTo>
                <a:lnTo>
                  <a:pt x="32" y="19"/>
                </a:lnTo>
                <a:lnTo>
                  <a:pt x="0" y="64"/>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17" name="Freeform 219"/>
          <p:cNvSpPr>
            <a:spLocks noChangeAspect="1"/>
          </p:cNvSpPr>
          <p:nvPr/>
        </p:nvSpPr>
        <p:spPr bwMode="gray">
          <a:xfrm>
            <a:off x="1102600" y="5075076"/>
            <a:ext cx="109870" cy="125885"/>
          </a:xfrm>
          <a:custGeom>
            <a:avLst/>
            <a:gdLst>
              <a:gd name="T0" fmla="*/ 0 w 106"/>
              <a:gd name="T1" fmla="*/ 2147483647 h 104"/>
              <a:gd name="T2" fmla="*/ 2147483647 w 106"/>
              <a:gd name="T3" fmla="*/ 2147483647 h 104"/>
              <a:gd name="T4" fmla="*/ 2147483647 w 106"/>
              <a:gd name="T5" fmla="*/ 2147483647 h 104"/>
              <a:gd name="T6" fmla="*/ 2147483647 w 106"/>
              <a:gd name="T7" fmla="*/ 2147483647 h 104"/>
              <a:gd name="T8" fmla="*/ 2147483647 w 106"/>
              <a:gd name="T9" fmla="*/ 0 h 104"/>
              <a:gd name="T10" fmla="*/ 0 w 106"/>
              <a:gd name="T11" fmla="*/ 2147483647 h 104"/>
              <a:gd name="T12" fmla="*/ 0 60000 65536"/>
              <a:gd name="T13" fmla="*/ 0 60000 65536"/>
              <a:gd name="T14" fmla="*/ 0 60000 65536"/>
              <a:gd name="T15" fmla="*/ 0 60000 65536"/>
              <a:gd name="T16" fmla="*/ 0 60000 65536"/>
              <a:gd name="T17" fmla="*/ 0 60000 65536"/>
              <a:gd name="T18" fmla="*/ 0 w 106"/>
              <a:gd name="T19" fmla="*/ 0 h 104"/>
              <a:gd name="T20" fmla="*/ 106 w 106"/>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6" h="104">
                <a:moveTo>
                  <a:pt x="0" y="29"/>
                </a:moveTo>
                <a:lnTo>
                  <a:pt x="11" y="71"/>
                </a:lnTo>
                <a:lnTo>
                  <a:pt x="64" y="104"/>
                </a:lnTo>
                <a:lnTo>
                  <a:pt x="106" y="53"/>
                </a:lnTo>
                <a:lnTo>
                  <a:pt x="72" y="0"/>
                </a:lnTo>
                <a:lnTo>
                  <a:pt x="0" y="29"/>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18" name="Freeform 220"/>
          <p:cNvSpPr>
            <a:spLocks noChangeAspect="1"/>
          </p:cNvSpPr>
          <p:nvPr/>
        </p:nvSpPr>
        <p:spPr bwMode="gray">
          <a:xfrm>
            <a:off x="2976734" y="4990391"/>
            <a:ext cx="350740" cy="565335"/>
          </a:xfrm>
          <a:custGeom>
            <a:avLst/>
            <a:gdLst>
              <a:gd name="T0" fmla="*/ 0 w 355"/>
              <a:gd name="T1" fmla="*/ 2147483647 h 471"/>
              <a:gd name="T2" fmla="*/ 0 w 355"/>
              <a:gd name="T3" fmla="*/ 2147483647 h 471"/>
              <a:gd name="T4" fmla="*/ 2147483647 w 355"/>
              <a:gd name="T5" fmla="*/ 2147483647 h 471"/>
              <a:gd name="T6" fmla="*/ 2147483647 w 355"/>
              <a:gd name="T7" fmla="*/ 2147483647 h 471"/>
              <a:gd name="T8" fmla="*/ 2147483647 w 355"/>
              <a:gd name="T9" fmla="*/ 2147483647 h 471"/>
              <a:gd name="T10" fmla="*/ 2147483647 w 355"/>
              <a:gd name="T11" fmla="*/ 2147483647 h 471"/>
              <a:gd name="T12" fmla="*/ 2147483647 w 355"/>
              <a:gd name="T13" fmla="*/ 2147483647 h 471"/>
              <a:gd name="T14" fmla="*/ 2147483647 w 355"/>
              <a:gd name="T15" fmla="*/ 2147483647 h 471"/>
              <a:gd name="T16" fmla="*/ 2147483647 w 355"/>
              <a:gd name="T17" fmla="*/ 2147483647 h 471"/>
              <a:gd name="T18" fmla="*/ 2147483647 w 355"/>
              <a:gd name="T19" fmla="*/ 0 h 471"/>
              <a:gd name="T20" fmla="*/ 2147483647 w 355"/>
              <a:gd name="T21" fmla="*/ 2147483647 h 471"/>
              <a:gd name="T22" fmla="*/ 2147483647 w 355"/>
              <a:gd name="T23" fmla="*/ 2147483647 h 471"/>
              <a:gd name="T24" fmla="*/ 2147483647 w 355"/>
              <a:gd name="T25" fmla="*/ 2147483647 h 471"/>
              <a:gd name="T26" fmla="*/ 0 w 355"/>
              <a:gd name="T27" fmla="*/ 2147483647 h 47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5"/>
              <a:gd name="T43" fmla="*/ 0 h 471"/>
              <a:gd name="T44" fmla="*/ 355 w 355"/>
              <a:gd name="T45" fmla="*/ 471 h 47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5" h="471">
                <a:moveTo>
                  <a:pt x="0" y="443"/>
                </a:moveTo>
                <a:lnTo>
                  <a:pt x="0" y="316"/>
                </a:lnTo>
                <a:lnTo>
                  <a:pt x="28" y="278"/>
                </a:lnTo>
                <a:lnTo>
                  <a:pt x="137" y="240"/>
                </a:lnTo>
                <a:lnTo>
                  <a:pt x="243" y="135"/>
                </a:lnTo>
                <a:lnTo>
                  <a:pt x="106" y="101"/>
                </a:lnTo>
                <a:lnTo>
                  <a:pt x="64" y="38"/>
                </a:lnTo>
                <a:lnTo>
                  <a:pt x="78" y="17"/>
                </a:lnTo>
                <a:lnTo>
                  <a:pt x="133" y="55"/>
                </a:lnTo>
                <a:lnTo>
                  <a:pt x="339" y="0"/>
                </a:lnTo>
                <a:lnTo>
                  <a:pt x="355" y="55"/>
                </a:lnTo>
                <a:lnTo>
                  <a:pt x="230" y="275"/>
                </a:lnTo>
                <a:lnTo>
                  <a:pt x="17" y="471"/>
                </a:lnTo>
                <a:lnTo>
                  <a:pt x="0" y="443"/>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19" name="Freeform 223"/>
          <p:cNvSpPr>
            <a:spLocks noChangeAspect="1"/>
          </p:cNvSpPr>
          <p:nvPr/>
        </p:nvSpPr>
        <p:spPr bwMode="gray">
          <a:xfrm>
            <a:off x="973715" y="4312904"/>
            <a:ext cx="289465" cy="290678"/>
          </a:xfrm>
          <a:custGeom>
            <a:avLst/>
            <a:gdLst>
              <a:gd name="T0" fmla="*/ 0 w 291"/>
              <a:gd name="T1" fmla="*/ 2147483647 h 242"/>
              <a:gd name="T2" fmla="*/ 2147483647 w 291"/>
              <a:gd name="T3" fmla="*/ 0 h 242"/>
              <a:gd name="T4" fmla="*/ 2147483647 w 291"/>
              <a:gd name="T5" fmla="*/ 2147483647 h 242"/>
              <a:gd name="T6" fmla="*/ 2147483647 w 291"/>
              <a:gd name="T7" fmla="*/ 2147483647 h 242"/>
              <a:gd name="T8" fmla="*/ 2147483647 w 291"/>
              <a:gd name="T9" fmla="*/ 2147483647 h 242"/>
              <a:gd name="T10" fmla="*/ 2147483647 w 291"/>
              <a:gd name="T11" fmla="*/ 2147483647 h 242"/>
              <a:gd name="T12" fmla="*/ 2147483647 w 291"/>
              <a:gd name="T13" fmla="*/ 2147483647 h 242"/>
              <a:gd name="T14" fmla="*/ 2147483647 w 291"/>
              <a:gd name="T15" fmla="*/ 2147483647 h 242"/>
              <a:gd name="T16" fmla="*/ 2147483647 w 291"/>
              <a:gd name="T17" fmla="*/ 2147483647 h 242"/>
              <a:gd name="T18" fmla="*/ 0 w 291"/>
              <a:gd name="T19" fmla="*/ 2147483647 h 2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1"/>
              <a:gd name="T31" fmla="*/ 0 h 242"/>
              <a:gd name="T32" fmla="*/ 291 w 291"/>
              <a:gd name="T33" fmla="*/ 242 h 2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1" h="242">
                <a:moveTo>
                  <a:pt x="0" y="242"/>
                </a:moveTo>
                <a:lnTo>
                  <a:pt x="137" y="0"/>
                </a:lnTo>
                <a:lnTo>
                  <a:pt x="288" y="4"/>
                </a:lnTo>
                <a:lnTo>
                  <a:pt x="291" y="17"/>
                </a:lnTo>
                <a:lnTo>
                  <a:pt x="288" y="62"/>
                </a:lnTo>
                <a:lnTo>
                  <a:pt x="177" y="60"/>
                </a:lnTo>
                <a:lnTo>
                  <a:pt x="175" y="154"/>
                </a:lnTo>
                <a:lnTo>
                  <a:pt x="136" y="171"/>
                </a:lnTo>
                <a:lnTo>
                  <a:pt x="138" y="228"/>
                </a:lnTo>
                <a:lnTo>
                  <a:pt x="0" y="242"/>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20" name="Freeform 224"/>
          <p:cNvSpPr>
            <a:spLocks noChangeAspect="1"/>
          </p:cNvSpPr>
          <p:nvPr/>
        </p:nvSpPr>
        <p:spPr bwMode="gray">
          <a:xfrm>
            <a:off x="2315399" y="4521185"/>
            <a:ext cx="574706" cy="814815"/>
          </a:xfrm>
          <a:custGeom>
            <a:avLst/>
            <a:gdLst>
              <a:gd name="T0" fmla="*/ 0 w 576"/>
              <a:gd name="T1" fmla="*/ 2147483647 h 684"/>
              <a:gd name="T2" fmla="*/ 2147483647 w 576"/>
              <a:gd name="T3" fmla="*/ 2147483647 h 684"/>
              <a:gd name="T4" fmla="*/ 2147483647 w 576"/>
              <a:gd name="T5" fmla="*/ 2147483647 h 684"/>
              <a:gd name="T6" fmla="*/ 2147483647 w 576"/>
              <a:gd name="T7" fmla="*/ 2147483647 h 684"/>
              <a:gd name="T8" fmla="*/ 2147483647 w 576"/>
              <a:gd name="T9" fmla="*/ 2147483647 h 684"/>
              <a:gd name="T10" fmla="*/ 2147483647 w 576"/>
              <a:gd name="T11" fmla="*/ 2147483647 h 684"/>
              <a:gd name="T12" fmla="*/ 2147483647 w 576"/>
              <a:gd name="T13" fmla="*/ 2147483647 h 684"/>
              <a:gd name="T14" fmla="*/ 2147483647 w 576"/>
              <a:gd name="T15" fmla="*/ 2147483647 h 684"/>
              <a:gd name="T16" fmla="*/ 2147483647 w 576"/>
              <a:gd name="T17" fmla="*/ 2147483647 h 684"/>
              <a:gd name="T18" fmla="*/ 2147483647 w 576"/>
              <a:gd name="T19" fmla="*/ 2147483647 h 684"/>
              <a:gd name="T20" fmla="*/ 2147483647 w 576"/>
              <a:gd name="T21" fmla="*/ 2147483647 h 684"/>
              <a:gd name="T22" fmla="*/ 2147483647 w 576"/>
              <a:gd name="T23" fmla="*/ 2147483647 h 684"/>
              <a:gd name="T24" fmla="*/ 2147483647 w 576"/>
              <a:gd name="T25" fmla="*/ 2147483647 h 684"/>
              <a:gd name="T26" fmla="*/ 2147483647 w 576"/>
              <a:gd name="T27" fmla="*/ 2147483647 h 684"/>
              <a:gd name="T28" fmla="*/ 2147483647 w 576"/>
              <a:gd name="T29" fmla="*/ 2147483647 h 684"/>
              <a:gd name="T30" fmla="*/ 2147483647 w 576"/>
              <a:gd name="T31" fmla="*/ 2147483647 h 684"/>
              <a:gd name="T32" fmla="*/ 2147483647 w 576"/>
              <a:gd name="T33" fmla="*/ 2147483647 h 684"/>
              <a:gd name="T34" fmla="*/ 2147483647 w 576"/>
              <a:gd name="T35" fmla="*/ 0 h 684"/>
              <a:gd name="T36" fmla="*/ 2147483647 w 576"/>
              <a:gd name="T37" fmla="*/ 2147483647 h 684"/>
              <a:gd name="T38" fmla="*/ 2147483647 w 576"/>
              <a:gd name="T39" fmla="*/ 2147483647 h 684"/>
              <a:gd name="T40" fmla="*/ 2147483647 w 576"/>
              <a:gd name="T41" fmla="*/ 2147483647 h 684"/>
              <a:gd name="T42" fmla="*/ 2147483647 w 576"/>
              <a:gd name="T43" fmla="*/ 2147483647 h 684"/>
              <a:gd name="T44" fmla="*/ 2147483647 w 576"/>
              <a:gd name="T45" fmla="*/ 2147483647 h 684"/>
              <a:gd name="T46" fmla="*/ 2147483647 w 576"/>
              <a:gd name="T47" fmla="*/ 2147483647 h 684"/>
              <a:gd name="T48" fmla="*/ 2147483647 w 576"/>
              <a:gd name="T49" fmla="*/ 2147483647 h 684"/>
              <a:gd name="T50" fmla="*/ 0 w 576"/>
              <a:gd name="T51" fmla="*/ 2147483647 h 68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76"/>
              <a:gd name="T79" fmla="*/ 0 h 684"/>
              <a:gd name="T80" fmla="*/ 576 w 576"/>
              <a:gd name="T81" fmla="*/ 684 h 68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76" h="684">
                <a:moveTo>
                  <a:pt x="0" y="361"/>
                </a:moveTo>
                <a:lnTo>
                  <a:pt x="27" y="429"/>
                </a:lnTo>
                <a:lnTo>
                  <a:pt x="52" y="504"/>
                </a:lnTo>
                <a:lnTo>
                  <a:pt x="111" y="531"/>
                </a:lnTo>
                <a:lnTo>
                  <a:pt x="196" y="632"/>
                </a:lnTo>
                <a:lnTo>
                  <a:pt x="311" y="684"/>
                </a:lnTo>
                <a:lnTo>
                  <a:pt x="418" y="671"/>
                </a:lnTo>
                <a:lnTo>
                  <a:pt x="483" y="651"/>
                </a:lnTo>
                <a:lnTo>
                  <a:pt x="444" y="579"/>
                </a:lnTo>
                <a:lnTo>
                  <a:pt x="383" y="537"/>
                </a:lnTo>
                <a:lnTo>
                  <a:pt x="423" y="510"/>
                </a:lnTo>
                <a:lnTo>
                  <a:pt x="427" y="446"/>
                </a:lnTo>
                <a:lnTo>
                  <a:pt x="495" y="362"/>
                </a:lnTo>
                <a:lnTo>
                  <a:pt x="522" y="214"/>
                </a:lnTo>
                <a:lnTo>
                  <a:pt x="576" y="181"/>
                </a:lnTo>
                <a:lnTo>
                  <a:pt x="534" y="149"/>
                </a:lnTo>
                <a:lnTo>
                  <a:pt x="518" y="39"/>
                </a:lnTo>
                <a:lnTo>
                  <a:pt x="473" y="0"/>
                </a:lnTo>
                <a:lnTo>
                  <a:pt x="418" y="47"/>
                </a:lnTo>
                <a:lnTo>
                  <a:pt x="105" y="38"/>
                </a:lnTo>
                <a:lnTo>
                  <a:pt x="105" y="108"/>
                </a:lnTo>
                <a:lnTo>
                  <a:pt x="74" y="110"/>
                </a:lnTo>
                <a:lnTo>
                  <a:pt x="74" y="130"/>
                </a:lnTo>
                <a:lnTo>
                  <a:pt x="72" y="261"/>
                </a:lnTo>
                <a:lnTo>
                  <a:pt x="37" y="268"/>
                </a:lnTo>
                <a:lnTo>
                  <a:pt x="0" y="361"/>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21" name="Freeform 226"/>
          <p:cNvSpPr>
            <a:spLocks noChangeAspect="1"/>
          </p:cNvSpPr>
          <p:nvPr/>
        </p:nvSpPr>
        <p:spPr bwMode="gray">
          <a:xfrm>
            <a:off x="2585849" y="5519105"/>
            <a:ext cx="371869" cy="446318"/>
          </a:xfrm>
          <a:custGeom>
            <a:avLst/>
            <a:gdLst>
              <a:gd name="T0" fmla="*/ 0 w 374"/>
              <a:gd name="T1" fmla="*/ 2147483647 h 371"/>
              <a:gd name="T2" fmla="*/ 2147483647 w 374"/>
              <a:gd name="T3" fmla="*/ 2147483647 h 371"/>
              <a:gd name="T4" fmla="*/ 2147483647 w 374"/>
              <a:gd name="T5" fmla="*/ 2147483647 h 371"/>
              <a:gd name="T6" fmla="*/ 2147483647 w 374"/>
              <a:gd name="T7" fmla="*/ 2147483647 h 371"/>
              <a:gd name="T8" fmla="*/ 2147483647 w 374"/>
              <a:gd name="T9" fmla="*/ 2147483647 h 371"/>
              <a:gd name="T10" fmla="*/ 2147483647 w 374"/>
              <a:gd name="T11" fmla="*/ 2147483647 h 371"/>
              <a:gd name="T12" fmla="*/ 2147483647 w 374"/>
              <a:gd name="T13" fmla="*/ 2147483647 h 371"/>
              <a:gd name="T14" fmla="*/ 2147483647 w 374"/>
              <a:gd name="T15" fmla="*/ 2147483647 h 371"/>
              <a:gd name="T16" fmla="*/ 2147483647 w 374"/>
              <a:gd name="T17" fmla="*/ 2147483647 h 371"/>
              <a:gd name="T18" fmla="*/ 2147483647 w 374"/>
              <a:gd name="T19" fmla="*/ 2147483647 h 371"/>
              <a:gd name="T20" fmla="*/ 2147483647 w 374"/>
              <a:gd name="T21" fmla="*/ 0 h 371"/>
              <a:gd name="T22" fmla="*/ 2147483647 w 374"/>
              <a:gd name="T23" fmla="*/ 2147483647 h 371"/>
              <a:gd name="T24" fmla="*/ 2147483647 w 374"/>
              <a:gd name="T25" fmla="*/ 2147483647 h 371"/>
              <a:gd name="T26" fmla="*/ 2147483647 w 374"/>
              <a:gd name="T27" fmla="*/ 2147483647 h 371"/>
              <a:gd name="T28" fmla="*/ 2147483647 w 374"/>
              <a:gd name="T29" fmla="*/ 0 h 371"/>
              <a:gd name="T30" fmla="*/ 2147483647 w 374"/>
              <a:gd name="T31" fmla="*/ 2147483647 h 371"/>
              <a:gd name="T32" fmla="*/ 2147483647 w 374"/>
              <a:gd name="T33" fmla="*/ 2147483647 h 371"/>
              <a:gd name="T34" fmla="*/ 2147483647 w 374"/>
              <a:gd name="T35" fmla="*/ 2147483647 h 371"/>
              <a:gd name="T36" fmla="*/ 0 w 374"/>
              <a:gd name="T37" fmla="*/ 2147483647 h 3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4"/>
              <a:gd name="T58" fmla="*/ 0 h 371"/>
              <a:gd name="T59" fmla="*/ 374 w 374"/>
              <a:gd name="T60" fmla="*/ 371 h 3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4" h="371">
                <a:moveTo>
                  <a:pt x="0" y="118"/>
                </a:moveTo>
                <a:lnTo>
                  <a:pt x="3" y="189"/>
                </a:lnTo>
                <a:lnTo>
                  <a:pt x="48" y="262"/>
                </a:lnTo>
                <a:lnTo>
                  <a:pt x="113" y="293"/>
                </a:lnTo>
                <a:lnTo>
                  <a:pt x="147" y="300"/>
                </a:lnTo>
                <a:lnTo>
                  <a:pt x="184" y="371"/>
                </a:lnTo>
                <a:lnTo>
                  <a:pt x="323" y="362"/>
                </a:lnTo>
                <a:lnTo>
                  <a:pt x="374" y="331"/>
                </a:lnTo>
                <a:lnTo>
                  <a:pt x="322" y="185"/>
                </a:lnTo>
                <a:lnTo>
                  <a:pt x="335" y="129"/>
                </a:lnTo>
                <a:lnTo>
                  <a:pt x="157" y="0"/>
                </a:lnTo>
                <a:lnTo>
                  <a:pt x="110" y="64"/>
                </a:lnTo>
                <a:lnTo>
                  <a:pt x="89" y="47"/>
                </a:lnTo>
                <a:lnTo>
                  <a:pt x="76" y="62"/>
                </a:lnTo>
                <a:lnTo>
                  <a:pt x="74" y="0"/>
                </a:lnTo>
                <a:lnTo>
                  <a:pt x="28" y="3"/>
                </a:lnTo>
                <a:lnTo>
                  <a:pt x="36" y="49"/>
                </a:lnTo>
                <a:lnTo>
                  <a:pt x="38" y="78"/>
                </a:lnTo>
                <a:lnTo>
                  <a:pt x="0" y="118"/>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22" name="Freeform 227"/>
          <p:cNvSpPr>
            <a:spLocks noChangeAspect="1"/>
          </p:cNvSpPr>
          <p:nvPr/>
        </p:nvSpPr>
        <p:spPr bwMode="gray">
          <a:xfrm>
            <a:off x="1552646" y="5017856"/>
            <a:ext cx="71838" cy="215148"/>
          </a:xfrm>
          <a:custGeom>
            <a:avLst/>
            <a:gdLst>
              <a:gd name="T0" fmla="*/ 0 w 74"/>
              <a:gd name="T1" fmla="*/ 0 h 177"/>
              <a:gd name="T2" fmla="*/ 2147483647 w 74"/>
              <a:gd name="T3" fmla="*/ 2147483647 h 177"/>
              <a:gd name="T4" fmla="*/ 2147483647 w 74"/>
              <a:gd name="T5" fmla="*/ 2147483647 h 177"/>
              <a:gd name="T6" fmla="*/ 2147483647 w 74"/>
              <a:gd name="T7" fmla="*/ 2147483647 h 177"/>
              <a:gd name="T8" fmla="*/ 0 w 74"/>
              <a:gd name="T9" fmla="*/ 0 h 177"/>
              <a:gd name="T10" fmla="*/ 0 60000 65536"/>
              <a:gd name="T11" fmla="*/ 0 60000 65536"/>
              <a:gd name="T12" fmla="*/ 0 60000 65536"/>
              <a:gd name="T13" fmla="*/ 0 60000 65536"/>
              <a:gd name="T14" fmla="*/ 0 60000 65536"/>
              <a:gd name="T15" fmla="*/ 0 w 74"/>
              <a:gd name="T16" fmla="*/ 0 h 177"/>
              <a:gd name="T17" fmla="*/ 74 w 74"/>
              <a:gd name="T18" fmla="*/ 177 h 177"/>
            </a:gdLst>
            <a:ahLst/>
            <a:cxnLst>
              <a:cxn ang="T10">
                <a:pos x="T0" y="T1"/>
              </a:cxn>
              <a:cxn ang="T11">
                <a:pos x="T2" y="T3"/>
              </a:cxn>
              <a:cxn ang="T12">
                <a:pos x="T4" y="T5"/>
              </a:cxn>
              <a:cxn ang="T13">
                <a:pos x="T6" y="T7"/>
              </a:cxn>
              <a:cxn ang="T14">
                <a:pos x="T8" y="T9"/>
              </a:cxn>
            </a:cxnLst>
            <a:rect l="T15" t="T16" r="T17" b="T18"/>
            <a:pathLst>
              <a:path w="74" h="177">
                <a:moveTo>
                  <a:pt x="0" y="0"/>
                </a:moveTo>
                <a:lnTo>
                  <a:pt x="38" y="9"/>
                </a:lnTo>
                <a:lnTo>
                  <a:pt x="74" y="171"/>
                </a:lnTo>
                <a:lnTo>
                  <a:pt x="49" y="177"/>
                </a:lnTo>
                <a:lnTo>
                  <a:pt x="0" y="0"/>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23" name="Freeform 228"/>
          <p:cNvSpPr>
            <a:spLocks noChangeAspect="1"/>
          </p:cNvSpPr>
          <p:nvPr/>
        </p:nvSpPr>
        <p:spPr bwMode="gray">
          <a:xfrm>
            <a:off x="2585849" y="5317690"/>
            <a:ext cx="185934" cy="217437"/>
          </a:xfrm>
          <a:custGeom>
            <a:avLst/>
            <a:gdLst>
              <a:gd name="T0" fmla="*/ 0 w 185"/>
              <a:gd name="T1" fmla="*/ 2147483647 h 183"/>
              <a:gd name="T2" fmla="*/ 2147483647 w 185"/>
              <a:gd name="T3" fmla="*/ 2147483647 h 183"/>
              <a:gd name="T4" fmla="*/ 2147483647 w 185"/>
              <a:gd name="T5" fmla="*/ 2147483647 h 183"/>
              <a:gd name="T6" fmla="*/ 2147483647 w 185"/>
              <a:gd name="T7" fmla="*/ 2147483647 h 183"/>
              <a:gd name="T8" fmla="*/ 2147483647 w 185"/>
              <a:gd name="T9" fmla="*/ 2147483647 h 183"/>
              <a:gd name="T10" fmla="*/ 2147483647 w 185"/>
              <a:gd name="T11" fmla="*/ 2147483647 h 183"/>
              <a:gd name="T12" fmla="*/ 2147483647 w 185"/>
              <a:gd name="T13" fmla="*/ 0 h 183"/>
              <a:gd name="T14" fmla="*/ 2147483647 w 185"/>
              <a:gd name="T15" fmla="*/ 2147483647 h 183"/>
              <a:gd name="T16" fmla="*/ 2147483647 w 185"/>
              <a:gd name="T17" fmla="*/ 2147483647 h 183"/>
              <a:gd name="T18" fmla="*/ 2147483647 w 185"/>
              <a:gd name="T19" fmla="*/ 2147483647 h 183"/>
              <a:gd name="T20" fmla="*/ 0 w 185"/>
              <a:gd name="T21" fmla="*/ 2147483647 h 1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5"/>
              <a:gd name="T34" fmla="*/ 0 h 183"/>
              <a:gd name="T35" fmla="*/ 185 w 185"/>
              <a:gd name="T36" fmla="*/ 183 h 1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5" h="183">
                <a:moveTo>
                  <a:pt x="0" y="183"/>
                </a:moveTo>
                <a:lnTo>
                  <a:pt x="27" y="173"/>
                </a:lnTo>
                <a:lnTo>
                  <a:pt x="73" y="170"/>
                </a:lnTo>
                <a:lnTo>
                  <a:pt x="75" y="145"/>
                </a:lnTo>
                <a:lnTo>
                  <a:pt x="147" y="130"/>
                </a:lnTo>
                <a:lnTo>
                  <a:pt x="185" y="68"/>
                </a:lnTo>
                <a:lnTo>
                  <a:pt x="147" y="0"/>
                </a:lnTo>
                <a:lnTo>
                  <a:pt x="40" y="13"/>
                </a:lnTo>
                <a:lnTo>
                  <a:pt x="53" y="63"/>
                </a:lnTo>
                <a:lnTo>
                  <a:pt x="30" y="96"/>
                </a:lnTo>
                <a:lnTo>
                  <a:pt x="0" y="183"/>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24" name="Freeform 229"/>
          <p:cNvSpPr>
            <a:spLocks noChangeAspect="1"/>
          </p:cNvSpPr>
          <p:nvPr/>
        </p:nvSpPr>
        <p:spPr bwMode="gray">
          <a:xfrm>
            <a:off x="2402028" y="4138954"/>
            <a:ext cx="388772" cy="432584"/>
          </a:xfrm>
          <a:custGeom>
            <a:avLst/>
            <a:gdLst>
              <a:gd name="T0" fmla="*/ 0 w 389"/>
              <a:gd name="T1" fmla="*/ 2147483647 h 365"/>
              <a:gd name="T2" fmla="*/ 2147483647 w 389"/>
              <a:gd name="T3" fmla="*/ 2147483647 h 365"/>
              <a:gd name="T4" fmla="*/ 2147483647 w 389"/>
              <a:gd name="T5" fmla="*/ 2147483647 h 365"/>
              <a:gd name="T6" fmla="*/ 2147483647 w 389"/>
              <a:gd name="T7" fmla="*/ 2147483647 h 365"/>
              <a:gd name="T8" fmla="*/ 2147483647 w 389"/>
              <a:gd name="T9" fmla="*/ 2147483647 h 365"/>
              <a:gd name="T10" fmla="*/ 2147483647 w 389"/>
              <a:gd name="T11" fmla="*/ 2147483647 h 365"/>
              <a:gd name="T12" fmla="*/ 2147483647 w 389"/>
              <a:gd name="T13" fmla="*/ 2147483647 h 365"/>
              <a:gd name="T14" fmla="*/ 2147483647 w 389"/>
              <a:gd name="T15" fmla="*/ 2147483647 h 365"/>
              <a:gd name="T16" fmla="*/ 2147483647 w 389"/>
              <a:gd name="T17" fmla="*/ 2147483647 h 365"/>
              <a:gd name="T18" fmla="*/ 2147483647 w 389"/>
              <a:gd name="T19" fmla="*/ 2147483647 h 365"/>
              <a:gd name="T20" fmla="*/ 2147483647 w 389"/>
              <a:gd name="T21" fmla="*/ 2147483647 h 365"/>
              <a:gd name="T22" fmla="*/ 2147483647 w 389"/>
              <a:gd name="T23" fmla="*/ 2147483647 h 365"/>
              <a:gd name="T24" fmla="*/ 2147483647 w 389"/>
              <a:gd name="T25" fmla="*/ 2147483647 h 365"/>
              <a:gd name="T26" fmla="*/ 2147483647 w 389"/>
              <a:gd name="T27" fmla="*/ 0 h 365"/>
              <a:gd name="T28" fmla="*/ 0 w 389"/>
              <a:gd name="T29" fmla="*/ 2147483647 h 3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9"/>
              <a:gd name="T46" fmla="*/ 0 h 365"/>
              <a:gd name="T47" fmla="*/ 389 w 389"/>
              <a:gd name="T48" fmla="*/ 365 h 3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9" h="365">
                <a:moveTo>
                  <a:pt x="0" y="60"/>
                </a:moveTo>
                <a:lnTo>
                  <a:pt x="16" y="356"/>
                </a:lnTo>
                <a:lnTo>
                  <a:pt x="329" y="365"/>
                </a:lnTo>
                <a:lnTo>
                  <a:pt x="384" y="318"/>
                </a:lnTo>
                <a:lnTo>
                  <a:pt x="389" y="286"/>
                </a:lnTo>
                <a:lnTo>
                  <a:pt x="272" y="77"/>
                </a:lnTo>
                <a:lnTo>
                  <a:pt x="329" y="144"/>
                </a:lnTo>
                <a:lnTo>
                  <a:pt x="359" y="87"/>
                </a:lnTo>
                <a:lnTo>
                  <a:pt x="329" y="14"/>
                </a:lnTo>
                <a:lnTo>
                  <a:pt x="257" y="25"/>
                </a:lnTo>
                <a:lnTo>
                  <a:pt x="255" y="5"/>
                </a:lnTo>
                <a:lnTo>
                  <a:pt x="217" y="5"/>
                </a:lnTo>
                <a:lnTo>
                  <a:pt x="152" y="32"/>
                </a:lnTo>
                <a:lnTo>
                  <a:pt x="16" y="0"/>
                </a:lnTo>
                <a:lnTo>
                  <a:pt x="0" y="60"/>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25" name="Freeform 230"/>
          <p:cNvSpPr>
            <a:spLocks noChangeAspect="1"/>
          </p:cNvSpPr>
          <p:nvPr/>
        </p:nvSpPr>
        <p:spPr bwMode="gray">
          <a:xfrm>
            <a:off x="1381502" y="4864506"/>
            <a:ext cx="259886" cy="224303"/>
          </a:xfrm>
          <a:custGeom>
            <a:avLst/>
            <a:gdLst>
              <a:gd name="T0" fmla="*/ 0 w 262"/>
              <a:gd name="T1" fmla="*/ 2147483647 h 190"/>
              <a:gd name="T2" fmla="*/ 2147483647 w 262"/>
              <a:gd name="T3" fmla="*/ 2147483647 h 190"/>
              <a:gd name="T4" fmla="*/ 2147483647 w 262"/>
              <a:gd name="T5" fmla="*/ 2147483647 h 190"/>
              <a:gd name="T6" fmla="*/ 2147483647 w 262"/>
              <a:gd name="T7" fmla="*/ 2147483647 h 190"/>
              <a:gd name="T8" fmla="*/ 2147483647 w 262"/>
              <a:gd name="T9" fmla="*/ 2147483647 h 190"/>
              <a:gd name="T10" fmla="*/ 2147483647 w 262"/>
              <a:gd name="T11" fmla="*/ 2147483647 h 190"/>
              <a:gd name="T12" fmla="*/ 2147483647 w 262"/>
              <a:gd name="T13" fmla="*/ 2147483647 h 190"/>
              <a:gd name="T14" fmla="*/ 2147483647 w 262"/>
              <a:gd name="T15" fmla="*/ 2147483647 h 190"/>
              <a:gd name="T16" fmla="*/ 2147483647 w 262"/>
              <a:gd name="T17" fmla="*/ 0 h 190"/>
              <a:gd name="T18" fmla="*/ 2147483647 w 262"/>
              <a:gd name="T19" fmla="*/ 2147483647 h 190"/>
              <a:gd name="T20" fmla="*/ 0 w 262"/>
              <a:gd name="T21" fmla="*/ 2147483647 h 1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2"/>
              <a:gd name="T34" fmla="*/ 0 h 190"/>
              <a:gd name="T35" fmla="*/ 262 w 262"/>
              <a:gd name="T36" fmla="*/ 190 h 19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2" h="190">
                <a:moveTo>
                  <a:pt x="0" y="162"/>
                </a:moveTo>
                <a:lnTo>
                  <a:pt x="18" y="183"/>
                </a:lnTo>
                <a:lnTo>
                  <a:pt x="88" y="190"/>
                </a:lnTo>
                <a:lnTo>
                  <a:pt x="81" y="142"/>
                </a:lnTo>
                <a:lnTo>
                  <a:pt x="174" y="133"/>
                </a:lnTo>
                <a:lnTo>
                  <a:pt x="212" y="142"/>
                </a:lnTo>
                <a:lnTo>
                  <a:pt x="262" y="106"/>
                </a:lnTo>
                <a:lnTo>
                  <a:pt x="195" y="34"/>
                </a:lnTo>
                <a:lnTo>
                  <a:pt x="187" y="0"/>
                </a:lnTo>
                <a:lnTo>
                  <a:pt x="44" y="62"/>
                </a:lnTo>
                <a:lnTo>
                  <a:pt x="0" y="162"/>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26" name="Freeform 234"/>
          <p:cNvSpPr>
            <a:spLocks noChangeAspect="1"/>
          </p:cNvSpPr>
          <p:nvPr/>
        </p:nvSpPr>
        <p:spPr bwMode="gray">
          <a:xfrm>
            <a:off x="2359770" y="2921309"/>
            <a:ext cx="276788" cy="258635"/>
          </a:xfrm>
          <a:custGeom>
            <a:avLst/>
            <a:gdLst>
              <a:gd name="T0" fmla="*/ 2147483647 w 277"/>
              <a:gd name="T1" fmla="*/ 0 h 215"/>
              <a:gd name="T2" fmla="*/ 2147483647 w 277"/>
              <a:gd name="T3" fmla="*/ 2147483647 h 215"/>
              <a:gd name="T4" fmla="*/ 2147483647 w 277"/>
              <a:gd name="T5" fmla="*/ 2147483647 h 215"/>
              <a:gd name="T6" fmla="*/ 2147483647 w 277"/>
              <a:gd name="T7" fmla="*/ 2147483647 h 215"/>
              <a:gd name="T8" fmla="*/ 2147483647 w 277"/>
              <a:gd name="T9" fmla="*/ 2147483647 h 215"/>
              <a:gd name="T10" fmla="*/ 2147483647 w 277"/>
              <a:gd name="T11" fmla="*/ 2147483647 h 215"/>
              <a:gd name="T12" fmla="*/ 2147483647 w 277"/>
              <a:gd name="T13" fmla="*/ 2147483647 h 215"/>
              <a:gd name="T14" fmla="*/ 2147483647 w 277"/>
              <a:gd name="T15" fmla="*/ 2147483647 h 215"/>
              <a:gd name="T16" fmla="*/ 2147483647 w 277"/>
              <a:gd name="T17" fmla="*/ 2147483647 h 215"/>
              <a:gd name="T18" fmla="*/ 2147483647 w 277"/>
              <a:gd name="T19" fmla="*/ 2147483647 h 215"/>
              <a:gd name="T20" fmla="*/ 2147483647 w 277"/>
              <a:gd name="T21" fmla="*/ 2147483647 h 215"/>
              <a:gd name="T22" fmla="*/ 2147483647 w 277"/>
              <a:gd name="T23" fmla="*/ 2147483647 h 215"/>
              <a:gd name="T24" fmla="*/ 2147483647 w 277"/>
              <a:gd name="T25" fmla="*/ 2147483647 h 215"/>
              <a:gd name="T26" fmla="*/ 2147483647 w 277"/>
              <a:gd name="T27" fmla="*/ 2147483647 h 215"/>
              <a:gd name="T28" fmla="*/ 2147483647 w 277"/>
              <a:gd name="T29" fmla="*/ 2147483647 h 215"/>
              <a:gd name="T30" fmla="*/ 2147483647 w 277"/>
              <a:gd name="T31" fmla="*/ 2147483647 h 215"/>
              <a:gd name="T32" fmla="*/ 2147483647 w 277"/>
              <a:gd name="T33" fmla="*/ 2147483647 h 215"/>
              <a:gd name="T34" fmla="*/ 2147483647 w 277"/>
              <a:gd name="T35" fmla="*/ 2147483647 h 215"/>
              <a:gd name="T36" fmla="*/ 2147483647 w 277"/>
              <a:gd name="T37" fmla="*/ 2147483647 h 215"/>
              <a:gd name="T38" fmla="*/ 2147483647 w 277"/>
              <a:gd name="T39" fmla="*/ 2147483647 h 215"/>
              <a:gd name="T40" fmla="*/ 2147483647 w 277"/>
              <a:gd name="T41" fmla="*/ 2147483647 h 215"/>
              <a:gd name="T42" fmla="*/ 2147483647 w 277"/>
              <a:gd name="T43" fmla="*/ 2147483647 h 215"/>
              <a:gd name="T44" fmla="*/ 2147483647 w 277"/>
              <a:gd name="T45" fmla="*/ 2147483647 h 215"/>
              <a:gd name="T46" fmla="*/ 2147483647 w 277"/>
              <a:gd name="T47" fmla="*/ 2147483647 h 215"/>
              <a:gd name="T48" fmla="*/ 2147483647 w 277"/>
              <a:gd name="T49" fmla="*/ 2147483647 h 215"/>
              <a:gd name="T50" fmla="*/ 2147483647 w 277"/>
              <a:gd name="T51" fmla="*/ 2147483647 h 215"/>
              <a:gd name="T52" fmla="*/ 2147483647 w 277"/>
              <a:gd name="T53" fmla="*/ 2147483647 h 215"/>
              <a:gd name="T54" fmla="*/ 2147483647 w 277"/>
              <a:gd name="T55" fmla="*/ 2147483647 h 215"/>
              <a:gd name="T56" fmla="*/ 2147483647 w 277"/>
              <a:gd name="T57" fmla="*/ 2147483647 h 215"/>
              <a:gd name="T58" fmla="*/ 2147483647 w 277"/>
              <a:gd name="T59" fmla="*/ 2147483647 h 215"/>
              <a:gd name="T60" fmla="*/ 0 w 277"/>
              <a:gd name="T61" fmla="*/ 2147483647 h 215"/>
              <a:gd name="T62" fmla="*/ 2147483647 w 277"/>
              <a:gd name="T63" fmla="*/ 2147483647 h 215"/>
              <a:gd name="T64" fmla="*/ 2147483647 w 277"/>
              <a:gd name="T65" fmla="*/ 2147483647 h 215"/>
              <a:gd name="T66" fmla="*/ 2147483647 w 277"/>
              <a:gd name="T67" fmla="*/ 2147483647 h 215"/>
              <a:gd name="T68" fmla="*/ 2147483647 w 277"/>
              <a:gd name="T69" fmla="*/ 2147483647 h 215"/>
              <a:gd name="T70" fmla="*/ 2147483647 w 277"/>
              <a:gd name="T71" fmla="*/ 2147483647 h 215"/>
              <a:gd name="T72" fmla="*/ 2147483647 w 277"/>
              <a:gd name="T73" fmla="*/ 2147483647 h 215"/>
              <a:gd name="T74" fmla="*/ 2147483647 w 277"/>
              <a:gd name="T75" fmla="*/ 2147483647 h 215"/>
              <a:gd name="T76" fmla="*/ 2147483647 w 277"/>
              <a:gd name="T77" fmla="*/ 2147483647 h 215"/>
              <a:gd name="T78" fmla="*/ 2147483647 w 277"/>
              <a:gd name="T79" fmla="*/ 0 h 215"/>
              <a:gd name="T80" fmla="*/ 2147483647 w 277"/>
              <a:gd name="T81" fmla="*/ 0 h 21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77"/>
              <a:gd name="T124" fmla="*/ 0 h 215"/>
              <a:gd name="T125" fmla="*/ 277 w 277"/>
              <a:gd name="T126" fmla="*/ 215 h 21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77" h="215">
                <a:moveTo>
                  <a:pt x="91" y="0"/>
                </a:moveTo>
                <a:lnTo>
                  <a:pt x="113" y="5"/>
                </a:lnTo>
                <a:lnTo>
                  <a:pt x="136" y="21"/>
                </a:lnTo>
                <a:lnTo>
                  <a:pt x="174" y="21"/>
                </a:lnTo>
                <a:lnTo>
                  <a:pt x="212" y="26"/>
                </a:lnTo>
                <a:lnTo>
                  <a:pt x="230" y="51"/>
                </a:lnTo>
                <a:lnTo>
                  <a:pt x="246" y="88"/>
                </a:lnTo>
                <a:lnTo>
                  <a:pt x="252" y="100"/>
                </a:lnTo>
                <a:lnTo>
                  <a:pt x="266" y="111"/>
                </a:lnTo>
                <a:lnTo>
                  <a:pt x="277" y="122"/>
                </a:lnTo>
                <a:lnTo>
                  <a:pt x="277" y="134"/>
                </a:lnTo>
                <a:lnTo>
                  <a:pt x="259" y="134"/>
                </a:lnTo>
                <a:lnTo>
                  <a:pt x="235" y="134"/>
                </a:lnTo>
                <a:lnTo>
                  <a:pt x="246" y="149"/>
                </a:lnTo>
                <a:lnTo>
                  <a:pt x="255" y="158"/>
                </a:lnTo>
                <a:lnTo>
                  <a:pt x="259" y="176"/>
                </a:lnTo>
                <a:lnTo>
                  <a:pt x="246" y="185"/>
                </a:lnTo>
                <a:lnTo>
                  <a:pt x="225" y="185"/>
                </a:lnTo>
                <a:lnTo>
                  <a:pt x="221" y="185"/>
                </a:lnTo>
                <a:lnTo>
                  <a:pt x="212" y="193"/>
                </a:lnTo>
                <a:lnTo>
                  <a:pt x="212" y="210"/>
                </a:lnTo>
                <a:lnTo>
                  <a:pt x="197" y="215"/>
                </a:lnTo>
                <a:lnTo>
                  <a:pt x="184" y="207"/>
                </a:lnTo>
                <a:lnTo>
                  <a:pt x="162" y="202"/>
                </a:lnTo>
                <a:lnTo>
                  <a:pt x="142" y="193"/>
                </a:lnTo>
                <a:lnTo>
                  <a:pt x="124" y="198"/>
                </a:lnTo>
                <a:lnTo>
                  <a:pt x="66" y="176"/>
                </a:lnTo>
                <a:lnTo>
                  <a:pt x="43" y="181"/>
                </a:lnTo>
                <a:lnTo>
                  <a:pt x="23" y="176"/>
                </a:lnTo>
                <a:lnTo>
                  <a:pt x="14" y="193"/>
                </a:lnTo>
                <a:lnTo>
                  <a:pt x="0" y="156"/>
                </a:lnTo>
                <a:lnTo>
                  <a:pt x="25" y="133"/>
                </a:lnTo>
                <a:lnTo>
                  <a:pt x="7" y="88"/>
                </a:lnTo>
                <a:lnTo>
                  <a:pt x="23" y="93"/>
                </a:lnTo>
                <a:lnTo>
                  <a:pt x="26" y="83"/>
                </a:lnTo>
                <a:lnTo>
                  <a:pt x="31" y="66"/>
                </a:lnTo>
                <a:lnTo>
                  <a:pt x="40" y="57"/>
                </a:lnTo>
                <a:lnTo>
                  <a:pt x="43" y="38"/>
                </a:lnTo>
                <a:lnTo>
                  <a:pt x="61" y="17"/>
                </a:lnTo>
                <a:lnTo>
                  <a:pt x="75" y="0"/>
                </a:lnTo>
                <a:lnTo>
                  <a:pt x="91" y="0"/>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27" name="Freeform 235"/>
          <p:cNvSpPr>
            <a:spLocks noChangeAspect="1"/>
          </p:cNvSpPr>
          <p:nvPr/>
        </p:nvSpPr>
        <p:spPr bwMode="gray">
          <a:xfrm>
            <a:off x="2317512" y="3106701"/>
            <a:ext cx="612738" cy="418852"/>
          </a:xfrm>
          <a:custGeom>
            <a:avLst/>
            <a:gdLst>
              <a:gd name="T0" fmla="*/ 2147483647 w 610"/>
              <a:gd name="T1" fmla="*/ 2147483647 h 352"/>
              <a:gd name="T2" fmla="*/ 2147483647 w 610"/>
              <a:gd name="T3" fmla="*/ 0 h 352"/>
              <a:gd name="T4" fmla="*/ 2147483647 w 610"/>
              <a:gd name="T5" fmla="*/ 2147483647 h 352"/>
              <a:gd name="T6" fmla="*/ 2147483647 w 610"/>
              <a:gd name="T7" fmla="*/ 2147483647 h 352"/>
              <a:gd name="T8" fmla="*/ 2147483647 w 610"/>
              <a:gd name="T9" fmla="*/ 2147483647 h 352"/>
              <a:gd name="T10" fmla="*/ 2147483647 w 610"/>
              <a:gd name="T11" fmla="*/ 2147483647 h 352"/>
              <a:gd name="T12" fmla="*/ 2147483647 w 610"/>
              <a:gd name="T13" fmla="*/ 2147483647 h 352"/>
              <a:gd name="T14" fmla="*/ 2147483647 w 610"/>
              <a:gd name="T15" fmla="*/ 2147483647 h 352"/>
              <a:gd name="T16" fmla="*/ 2147483647 w 610"/>
              <a:gd name="T17" fmla="*/ 2147483647 h 352"/>
              <a:gd name="T18" fmla="*/ 2147483647 w 610"/>
              <a:gd name="T19" fmla="*/ 2147483647 h 352"/>
              <a:gd name="T20" fmla="*/ 2147483647 w 610"/>
              <a:gd name="T21" fmla="*/ 2147483647 h 352"/>
              <a:gd name="T22" fmla="*/ 2147483647 w 610"/>
              <a:gd name="T23" fmla="*/ 2147483647 h 352"/>
              <a:gd name="T24" fmla="*/ 2147483647 w 610"/>
              <a:gd name="T25" fmla="*/ 2147483647 h 352"/>
              <a:gd name="T26" fmla="*/ 2147483647 w 610"/>
              <a:gd name="T27" fmla="*/ 2147483647 h 352"/>
              <a:gd name="T28" fmla="*/ 2147483647 w 610"/>
              <a:gd name="T29" fmla="*/ 2147483647 h 352"/>
              <a:gd name="T30" fmla="*/ 2147483647 w 610"/>
              <a:gd name="T31" fmla="*/ 2147483647 h 352"/>
              <a:gd name="T32" fmla="*/ 2147483647 w 610"/>
              <a:gd name="T33" fmla="*/ 2147483647 h 352"/>
              <a:gd name="T34" fmla="*/ 2147483647 w 610"/>
              <a:gd name="T35" fmla="*/ 2147483647 h 352"/>
              <a:gd name="T36" fmla="*/ 2147483647 w 610"/>
              <a:gd name="T37" fmla="*/ 2147483647 h 352"/>
              <a:gd name="T38" fmla="*/ 2147483647 w 610"/>
              <a:gd name="T39" fmla="*/ 2147483647 h 352"/>
              <a:gd name="T40" fmla="*/ 2147483647 w 610"/>
              <a:gd name="T41" fmla="*/ 2147483647 h 352"/>
              <a:gd name="T42" fmla="*/ 2147483647 w 610"/>
              <a:gd name="T43" fmla="*/ 2147483647 h 352"/>
              <a:gd name="T44" fmla="*/ 2147483647 w 610"/>
              <a:gd name="T45" fmla="*/ 2147483647 h 352"/>
              <a:gd name="T46" fmla="*/ 2147483647 w 610"/>
              <a:gd name="T47" fmla="*/ 2147483647 h 352"/>
              <a:gd name="T48" fmla="*/ 2147483647 w 610"/>
              <a:gd name="T49" fmla="*/ 2147483647 h 352"/>
              <a:gd name="T50" fmla="*/ 2147483647 w 610"/>
              <a:gd name="T51" fmla="*/ 2147483647 h 352"/>
              <a:gd name="T52" fmla="*/ 2147483647 w 610"/>
              <a:gd name="T53" fmla="*/ 2147483647 h 352"/>
              <a:gd name="T54" fmla="*/ 2147483647 w 610"/>
              <a:gd name="T55" fmla="*/ 2147483647 h 352"/>
              <a:gd name="T56" fmla="*/ 2147483647 w 610"/>
              <a:gd name="T57" fmla="*/ 2147483647 h 352"/>
              <a:gd name="T58" fmla="*/ 2147483647 w 610"/>
              <a:gd name="T59" fmla="*/ 2147483647 h 352"/>
              <a:gd name="T60" fmla="*/ 2147483647 w 610"/>
              <a:gd name="T61" fmla="*/ 2147483647 h 352"/>
              <a:gd name="T62" fmla="*/ 2147483647 w 610"/>
              <a:gd name="T63" fmla="*/ 2147483647 h 352"/>
              <a:gd name="T64" fmla="*/ 2147483647 w 610"/>
              <a:gd name="T65" fmla="*/ 2147483647 h 352"/>
              <a:gd name="T66" fmla="*/ 2147483647 w 610"/>
              <a:gd name="T67" fmla="*/ 2147483647 h 35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10"/>
              <a:gd name="T103" fmla="*/ 0 h 352"/>
              <a:gd name="T104" fmla="*/ 610 w 610"/>
              <a:gd name="T105" fmla="*/ 352 h 35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10" h="352">
                <a:moveTo>
                  <a:pt x="303" y="17"/>
                </a:moveTo>
                <a:lnTo>
                  <a:pt x="313" y="14"/>
                </a:lnTo>
                <a:lnTo>
                  <a:pt x="330" y="5"/>
                </a:lnTo>
                <a:lnTo>
                  <a:pt x="343" y="0"/>
                </a:lnTo>
                <a:lnTo>
                  <a:pt x="370" y="5"/>
                </a:lnTo>
                <a:lnTo>
                  <a:pt x="380" y="23"/>
                </a:lnTo>
                <a:lnTo>
                  <a:pt x="386" y="45"/>
                </a:lnTo>
                <a:lnTo>
                  <a:pt x="395" y="51"/>
                </a:lnTo>
                <a:lnTo>
                  <a:pt x="409" y="47"/>
                </a:lnTo>
                <a:lnTo>
                  <a:pt x="439" y="76"/>
                </a:lnTo>
                <a:lnTo>
                  <a:pt x="455" y="99"/>
                </a:lnTo>
                <a:lnTo>
                  <a:pt x="496" y="115"/>
                </a:lnTo>
                <a:lnTo>
                  <a:pt x="523" y="118"/>
                </a:lnTo>
                <a:lnTo>
                  <a:pt x="537" y="115"/>
                </a:lnTo>
                <a:lnTo>
                  <a:pt x="562" y="126"/>
                </a:lnTo>
                <a:lnTo>
                  <a:pt x="593" y="131"/>
                </a:lnTo>
                <a:lnTo>
                  <a:pt x="610" y="184"/>
                </a:lnTo>
                <a:lnTo>
                  <a:pt x="579" y="192"/>
                </a:lnTo>
                <a:lnTo>
                  <a:pt x="573" y="217"/>
                </a:lnTo>
                <a:lnTo>
                  <a:pt x="528" y="244"/>
                </a:lnTo>
                <a:lnTo>
                  <a:pt x="456" y="263"/>
                </a:lnTo>
                <a:lnTo>
                  <a:pt x="449" y="287"/>
                </a:lnTo>
                <a:lnTo>
                  <a:pt x="419" y="277"/>
                </a:lnTo>
                <a:lnTo>
                  <a:pt x="452" y="310"/>
                </a:lnTo>
                <a:lnTo>
                  <a:pt x="491" y="314"/>
                </a:lnTo>
                <a:lnTo>
                  <a:pt x="413" y="352"/>
                </a:lnTo>
                <a:lnTo>
                  <a:pt x="367" y="312"/>
                </a:lnTo>
                <a:lnTo>
                  <a:pt x="405" y="282"/>
                </a:lnTo>
                <a:lnTo>
                  <a:pt x="367" y="275"/>
                </a:lnTo>
                <a:lnTo>
                  <a:pt x="341" y="275"/>
                </a:lnTo>
                <a:lnTo>
                  <a:pt x="346" y="249"/>
                </a:lnTo>
                <a:lnTo>
                  <a:pt x="339" y="252"/>
                </a:lnTo>
                <a:lnTo>
                  <a:pt x="282" y="266"/>
                </a:lnTo>
                <a:lnTo>
                  <a:pt x="260" y="312"/>
                </a:lnTo>
                <a:lnTo>
                  <a:pt x="224" y="309"/>
                </a:lnTo>
                <a:lnTo>
                  <a:pt x="233" y="277"/>
                </a:lnTo>
                <a:lnTo>
                  <a:pt x="235" y="263"/>
                </a:lnTo>
                <a:lnTo>
                  <a:pt x="257" y="257"/>
                </a:lnTo>
                <a:lnTo>
                  <a:pt x="268" y="246"/>
                </a:lnTo>
                <a:lnTo>
                  <a:pt x="270" y="237"/>
                </a:lnTo>
                <a:lnTo>
                  <a:pt x="257" y="233"/>
                </a:lnTo>
                <a:lnTo>
                  <a:pt x="241" y="200"/>
                </a:lnTo>
                <a:lnTo>
                  <a:pt x="216" y="181"/>
                </a:lnTo>
                <a:lnTo>
                  <a:pt x="186" y="181"/>
                </a:lnTo>
                <a:lnTo>
                  <a:pt x="148" y="189"/>
                </a:lnTo>
                <a:lnTo>
                  <a:pt x="93" y="192"/>
                </a:lnTo>
                <a:lnTo>
                  <a:pt x="65" y="198"/>
                </a:lnTo>
                <a:lnTo>
                  <a:pt x="23" y="198"/>
                </a:lnTo>
                <a:lnTo>
                  <a:pt x="0" y="177"/>
                </a:lnTo>
                <a:lnTo>
                  <a:pt x="14" y="146"/>
                </a:lnTo>
                <a:lnTo>
                  <a:pt x="39" y="113"/>
                </a:lnTo>
                <a:lnTo>
                  <a:pt x="66" y="79"/>
                </a:lnTo>
                <a:lnTo>
                  <a:pt x="54" y="39"/>
                </a:lnTo>
                <a:lnTo>
                  <a:pt x="55" y="32"/>
                </a:lnTo>
                <a:lnTo>
                  <a:pt x="63" y="23"/>
                </a:lnTo>
                <a:lnTo>
                  <a:pt x="83" y="28"/>
                </a:lnTo>
                <a:lnTo>
                  <a:pt x="106" y="23"/>
                </a:lnTo>
                <a:lnTo>
                  <a:pt x="133" y="33"/>
                </a:lnTo>
                <a:lnTo>
                  <a:pt x="161" y="45"/>
                </a:lnTo>
                <a:lnTo>
                  <a:pt x="182" y="39"/>
                </a:lnTo>
                <a:lnTo>
                  <a:pt x="202" y="49"/>
                </a:lnTo>
                <a:lnTo>
                  <a:pt x="224" y="54"/>
                </a:lnTo>
                <a:lnTo>
                  <a:pt x="237" y="62"/>
                </a:lnTo>
                <a:lnTo>
                  <a:pt x="252" y="57"/>
                </a:lnTo>
                <a:lnTo>
                  <a:pt x="253" y="40"/>
                </a:lnTo>
                <a:lnTo>
                  <a:pt x="261" y="32"/>
                </a:lnTo>
                <a:lnTo>
                  <a:pt x="286" y="32"/>
                </a:lnTo>
                <a:lnTo>
                  <a:pt x="295" y="28"/>
                </a:lnTo>
                <a:lnTo>
                  <a:pt x="303" y="17"/>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28" name="Freeform 236"/>
          <p:cNvSpPr>
            <a:spLocks noChangeAspect="1"/>
          </p:cNvSpPr>
          <p:nvPr/>
        </p:nvSpPr>
        <p:spPr bwMode="gray">
          <a:xfrm>
            <a:off x="2480204" y="3319561"/>
            <a:ext cx="109870" cy="157927"/>
          </a:xfrm>
          <a:custGeom>
            <a:avLst/>
            <a:gdLst>
              <a:gd name="T0" fmla="*/ 2147483647 w 113"/>
              <a:gd name="T1" fmla="*/ 2147483647 h 127"/>
              <a:gd name="T2" fmla="*/ 2147483647 w 113"/>
              <a:gd name="T3" fmla="*/ 2147483647 h 127"/>
              <a:gd name="T4" fmla="*/ 2147483647 w 113"/>
              <a:gd name="T5" fmla="*/ 2147483647 h 127"/>
              <a:gd name="T6" fmla="*/ 2147483647 w 113"/>
              <a:gd name="T7" fmla="*/ 2147483647 h 127"/>
              <a:gd name="T8" fmla="*/ 2147483647 w 113"/>
              <a:gd name="T9" fmla="*/ 2147483647 h 127"/>
              <a:gd name="T10" fmla="*/ 2147483647 w 113"/>
              <a:gd name="T11" fmla="*/ 2147483647 h 127"/>
              <a:gd name="T12" fmla="*/ 2147483647 w 113"/>
              <a:gd name="T13" fmla="*/ 2147483647 h 127"/>
              <a:gd name="T14" fmla="*/ 2147483647 w 113"/>
              <a:gd name="T15" fmla="*/ 2147483647 h 127"/>
              <a:gd name="T16" fmla="*/ 2147483647 w 113"/>
              <a:gd name="T17" fmla="*/ 2147483647 h 127"/>
              <a:gd name="T18" fmla="*/ 2147483647 w 113"/>
              <a:gd name="T19" fmla="*/ 2147483647 h 127"/>
              <a:gd name="T20" fmla="*/ 2147483647 w 113"/>
              <a:gd name="T21" fmla="*/ 2147483647 h 127"/>
              <a:gd name="T22" fmla="*/ 2147483647 w 113"/>
              <a:gd name="T23" fmla="*/ 2147483647 h 127"/>
              <a:gd name="T24" fmla="*/ 2147483647 w 113"/>
              <a:gd name="T25" fmla="*/ 0 h 127"/>
              <a:gd name="T26" fmla="*/ 0 w 113"/>
              <a:gd name="T27" fmla="*/ 2147483647 h 127"/>
              <a:gd name="T28" fmla="*/ 2147483647 w 113"/>
              <a:gd name="T29" fmla="*/ 2147483647 h 1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3"/>
              <a:gd name="T46" fmla="*/ 0 h 127"/>
              <a:gd name="T47" fmla="*/ 113 w 113"/>
              <a:gd name="T48" fmla="*/ 127 h 12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3" h="127">
                <a:moveTo>
                  <a:pt x="25" y="34"/>
                </a:moveTo>
                <a:lnTo>
                  <a:pt x="40" y="52"/>
                </a:lnTo>
                <a:lnTo>
                  <a:pt x="47" y="67"/>
                </a:lnTo>
                <a:lnTo>
                  <a:pt x="53" y="124"/>
                </a:lnTo>
                <a:lnTo>
                  <a:pt x="66" y="127"/>
                </a:lnTo>
                <a:lnTo>
                  <a:pt x="75" y="96"/>
                </a:lnTo>
                <a:lnTo>
                  <a:pt x="77" y="80"/>
                </a:lnTo>
                <a:lnTo>
                  <a:pt x="107" y="71"/>
                </a:lnTo>
                <a:lnTo>
                  <a:pt x="113" y="58"/>
                </a:lnTo>
                <a:lnTo>
                  <a:pt x="100" y="54"/>
                </a:lnTo>
                <a:lnTo>
                  <a:pt x="84" y="21"/>
                </a:lnTo>
                <a:lnTo>
                  <a:pt x="59" y="1"/>
                </a:lnTo>
                <a:lnTo>
                  <a:pt x="28" y="0"/>
                </a:lnTo>
                <a:lnTo>
                  <a:pt x="0" y="3"/>
                </a:lnTo>
                <a:lnTo>
                  <a:pt x="25" y="34"/>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29" name="Freeform 237"/>
          <p:cNvSpPr>
            <a:spLocks noChangeAspect="1"/>
          </p:cNvSpPr>
          <p:nvPr/>
        </p:nvSpPr>
        <p:spPr bwMode="gray">
          <a:xfrm>
            <a:off x="2892218" y="3527842"/>
            <a:ext cx="255659" cy="135040"/>
          </a:xfrm>
          <a:custGeom>
            <a:avLst/>
            <a:gdLst>
              <a:gd name="T0" fmla="*/ 0 w 256"/>
              <a:gd name="T1" fmla="*/ 2147483647 h 114"/>
              <a:gd name="T2" fmla="*/ 2147483647 w 256"/>
              <a:gd name="T3" fmla="*/ 0 h 114"/>
              <a:gd name="T4" fmla="*/ 2147483647 w 256"/>
              <a:gd name="T5" fmla="*/ 2147483647 h 114"/>
              <a:gd name="T6" fmla="*/ 2147483647 w 256"/>
              <a:gd name="T7" fmla="*/ 2147483647 h 114"/>
              <a:gd name="T8" fmla="*/ 2147483647 w 256"/>
              <a:gd name="T9" fmla="*/ 2147483647 h 114"/>
              <a:gd name="T10" fmla="*/ 2147483647 w 256"/>
              <a:gd name="T11" fmla="*/ 2147483647 h 114"/>
              <a:gd name="T12" fmla="*/ 2147483647 w 256"/>
              <a:gd name="T13" fmla="*/ 2147483647 h 114"/>
              <a:gd name="T14" fmla="*/ 2147483647 w 256"/>
              <a:gd name="T15" fmla="*/ 2147483647 h 114"/>
              <a:gd name="T16" fmla="*/ 2147483647 w 256"/>
              <a:gd name="T17" fmla="*/ 2147483647 h 114"/>
              <a:gd name="T18" fmla="*/ 2147483647 w 256"/>
              <a:gd name="T19" fmla="*/ 2147483647 h 114"/>
              <a:gd name="T20" fmla="*/ 2147483647 w 256"/>
              <a:gd name="T21" fmla="*/ 2147483647 h 114"/>
              <a:gd name="T22" fmla="*/ 2147483647 w 256"/>
              <a:gd name="T23" fmla="*/ 2147483647 h 114"/>
              <a:gd name="T24" fmla="*/ 2147483647 w 256"/>
              <a:gd name="T25" fmla="*/ 2147483647 h 114"/>
              <a:gd name="T26" fmla="*/ 2147483647 w 256"/>
              <a:gd name="T27" fmla="*/ 2147483647 h 114"/>
              <a:gd name="T28" fmla="*/ 2147483647 w 256"/>
              <a:gd name="T29" fmla="*/ 2147483647 h 114"/>
              <a:gd name="T30" fmla="*/ 2147483647 w 256"/>
              <a:gd name="T31" fmla="*/ 2147483647 h 114"/>
              <a:gd name="T32" fmla="*/ 2147483647 w 256"/>
              <a:gd name="T33" fmla="*/ 2147483647 h 114"/>
              <a:gd name="T34" fmla="*/ 2147483647 w 256"/>
              <a:gd name="T35" fmla="*/ 2147483647 h 114"/>
              <a:gd name="T36" fmla="*/ 2147483647 w 256"/>
              <a:gd name="T37" fmla="*/ 2147483647 h 114"/>
              <a:gd name="T38" fmla="*/ 2147483647 w 256"/>
              <a:gd name="T39" fmla="*/ 2147483647 h 114"/>
              <a:gd name="T40" fmla="*/ 2147483647 w 256"/>
              <a:gd name="T41" fmla="*/ 2147483647 h 114"/>
              <a:gd name="T42" fmla="*/ 0 w 256"/>
              <a:gd name="T43" fmla="*/ 2147483647 h 1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6"/>
              <a:gd name="T67" fmla="*/ 0 h 114"/>
              <a:gd name="T68" fmla="*/ 256 w 256"/>
              <a:gd name="T69" fmla="*/ 114 h 1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6" h="114">
                <a:moveTo>
                  <a:pt x="0" y="6"/>
                </a:moveTo>
                <a:lnTo>
                  <a:pt x="61" y="0"/>
                </a:lnTo>
                <a:lnTo>
                  <a:pt x="119" y="23"/>
                </a:lnTo>
                <a:lnTo>
                  <a:pt x="144" y="49"/>
                </a:lnTo>
                <a:lnTo>
                  <a:pt x="175" y="49"/>
                </a:lnTo>
                <a:lnTo>
                  <a:pt x="195" y="37"/>
                </a:lnTo>
                <a:lnTo>
                  <a:pt x="211" y="33"/>
                </a:lnTo>
                <a:lnTo>
                  <a:pt x="227" y="60"/>
                </a:lnTo>
                <a:lnTo>
                  <a:pt x="254" y="66"/>
                </a:lnTo>
                <a:lnTo>
                  <a:pt x="248" y="77"/>
                </a:lnTo>
                <a:lnTo>
                  <a:pt x="256" y="97"/>
                </a:lnTo>
                <a:lnTo>
                  <a:pt x="254" y="113"/>
                </a:lnTo>
                <a:lnTo>
                  <a:pt x="227" y="88"/>
                </a:lnTo>
                <a:lnTo>
                  <a:pt x="211" y="82"/>
                </a:lnTo>
                <a:lnTo>
                  <a:pt x="197" y="82"/>
                </a:lnTo>
                <a:lnTo>
                  <a:pt x="190" y="108"/>
                </a:lnTo>
                <a:lnTo>
                  <a:pt x="170" y="100"/>
                </a:lnTo>
                <a:lnTo>
                  <a:pt x="137" y="114"/>
                </a:lnTo>
                <a:lnTo>
                  <a:pt x="99" y="111"/>
                </a:lnTo>
                <a:lnTo>
                  <a:pt x="97" y="66"/>
                </a:lnTo>
                <a:lnTo>
                  <a:pt x="34" y="27"/>
                </a:lnTo>
                <a:lnTo>
                  <a:pt x="0" y="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30" name="Freeform 238"/>
          <p:cNvSpPr>
            <a:spLocks noChangeAspect="1"/>
          </p:cNvSpPr>
          <p:nvPr/>
        </p:nvSpPr>
        <p:spPr bwMode="gray">
          <a:xfrm>
            <a:off x="3080265" y="3610239"/>
            <a:ext cx="213403" cy="201415"/>
          </a:xfrm>
          <a:custGeom>
            <a:avLst/>
            <a:gdLst>
              <a:gd name="T0" fmla="*/ 2147483647 w 213"/>
              <a:gd name="T1" fmla="*/ 2147483647 h 173"/>
              <a:gd name="T2" fmla="*/ 2147483647 w 213"/>
              <a:gd name="T3" fmla="*/ 2147483647 h 173"/>
              <a:gd name="T4" fmla="*/ 2147483647 w 213"/>
              <a:gd name="T5" fmla="*/ 2147483647 h 173"/>
              <a:gd name="T6" fmla="*/ 2147483647 w 213"/>
              <a:gd name="T7" fmla="*/ 2147483647 h 173"/>
              <a:gd name="T8" fmla="*/ 2147483647 w 213"/>
              <a:gd name="T9" fmla="*/ 2147483647 h 173"/>
              <a:gd name="T10" fmla="*/ 2147483647 w 213"/>
              <a:gd name="T11" fmla="*/ 2147483647 h 173"/>
              <a:gd name="T12" fmla="*/ 2147483647 w 213"/>
              <a:gd name="T13" fmla="*/ 2147483647 h 173"/>
              <a:gd name="T14" fmla="*/ 2147483647 w 213"/>
              <a:gd name="T15" fmla="*/ 2147483647 h 173"/>
              <a:gd name="T16" fmla="*/ 2147483647 w 213"/>
              <a:gd name="T17" fmla="*/ 2147483647 h 173"/>
              <a:gd name="T18" fmla="*/ 2147483647 w 213"/>
              <a:gd name="T19" fmla="*/ 2147483647 h 173"/>
              <a:gd name="T20" fmla="*/ 2147483647 w 213"/>
              <a:gd name="T21" fmla="*/ 2147483647 h 173"/>
              <a:gd name="T22" fmla="*/ 2147483647 w 213"/>
              <a:gd name="T23" fmla="*/ 2147483647 h 173"/>
              <a:gd name="T24" fmla="*/ 2147483647 w 213"/>
              <a:gd name="T25" fmla="*/ 2147483647 h 173"/>
              <a:gd name="T26" fmla="*/ 2147483647 w 213"/>
              <a:gd name="T27" fmla="*/ 2147483647 h 173"/>
              <a:gd name="T28" fmla="*/ 2147483647 w 213"/>
              <a:gd name="T29" fmla="*/ 2147483647 h 173"/>
              <a:gd name="T30" fmla="*/ 2147483647 w 213"/>
              <a:gd name="T31" fmla="*/ 2147483647 h 173"/>
              <a:gd name="T32" fmla="*/ 2147483647 w 213"/>
              <a:gd name="T33" fmla="*/ 2147483647 h 173"/>
              <a:gd name="T34" fmla="*/ 2147483647 w 213"/>
              <a:gd name="T35" fmla="*/ 2147483647 h 173"/>
              <a:gd name="T36" fmla="*/ 2147483647 w 213"/>
              <a:gd name="T37" fmla="*/ 2147483647 h 173"/>
              <a:gd name="T38" fmla="*/ 2147483647 w 213"/>
              <a:gd name="T39" fmla="*/ 2147483647 h 173"/>
              <a:gd name="T40" fmla="*/ 2147483647 w 213"/>
              <a:gd name="T41" fmla="*/ 2147483647 h 173"/>
              <a:gd name="T42" fmla="*/ 2147483647 w 213"/>
              <a:gd name="T43" fmla="*/ 2147483647 h 173"/>
              <a:gd name="T44" fmla="*/ 2147483647 w 213"/>
              <a:gd name="T45" fmla="*/ 2147483647 h 173"/>
              <a:gd name="T46" fmla="*/ 2147483647 w 213"/>
              <a:gd name="T47" fmla="*/ 2147483647 h 173"/>
              <a:gd name="T48" fmla="*/ 2147483647 w 213"/>
              <a:gd name="T49" fmla="*/ 2147483647 h 173"/>
              <a:gd name="T50" fmla="*/ 2147483647 w 213"/>
              <a:gd name="T51" fmla="*/ 2147483647 h 173"/>
              <a:gd name="T52" fmla="*/ 0 w 213"/>
              <a:gd name="T53" fmla="*/ 2147483647 h 173"/>
              <a:gd name="T54" fmla="*/ 2147483647 w 213"/>
              <a:gd name="T55" fmla="*/ 2147483647 h 173"/>
              <a:gd name="T56" fmla="*/ 2147483647 w 213"/>
              <a:gd name="T57" fmla="*/ 2147483647 h 173"/>
              <a:gd name="T58" fmla="*/ 2147483647 w 213"/>
              <a:gd name="T59" fmla="*/ 2147483647 h 173"/>
              <a:gd name="T60" fmla="*/ 2147483647 w 213"/>
              <a:gd name="T61" fmla="*/ 2147483647 h 173"/>
              <a:gd name="T62" fmla="*/ 2147483647 w 213"/>
              <a:gd name="T63" fmla="*/ 2147483647 h 173"/>
              <a:gd name="T64" fmla="*/ 2147483647 w 213"/>
              <a:gd name="T65" fmla="*/ 2147483647 h 173"/>
              <a:gd name="T66" fmla="*/ 2147483647 w 213"/>
              <a:gd name="T67" fmla="*/ 2147483647 h 173"/>
              <a:gd name="T68" fmla="*/ 2147483647 w 213"/>
              <a:gd name="T69" fmla="*/ 0 h 173"/>
              <a:gd name="T70" fmla="*/ 2147483647 w 213"/>
              <a:gd name="T71" fmla="*/ 2147483647 h 1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3"/>
              <a:gd name="T109" fmla="*/ 0 h 173"/>
              <a:gd name="T110" fmla="*/ 213 w 213"/>
              <a:gd name="T111" fmla="*/ 173 h 1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3" h="173">
                <a:moveTo>
                  <a:pt x="80" y="8"/>
                </a:moveTo>
                <a:lnTo>
                  <a:pt x="91" y="8"/>
                </a:lnTo>
                <a:lnTo>
                  <a:pt x="123" y="16"/>
                </a:lnTo>
                <a:lnTo>
                  <a:pt x="155" y="38"/>
                </a:lnTo>
                <a:lnTo>
                  <a:pt x="173" y="66"/>
                </a:lnTo>
                <a:lnTo>
                  <a:pt x="213" y="98"/>
                </a:lnTo>
                <a:lnTo>
                  <a:pt x="191" y="105"/>
                </a:lnTo>
                <a:lnTo>
                  <a:pt x="177" y="126"/>
                </a:lnTo>
                <a:lnTo>
                  <a:pt x="174" y="136"/>
                </a:lnTo>
                <a:lnTo>
                  <a:pt x="166" y="173"/>
                </a:lnTo>
                <a:lnTo>
                  <a:pt x="137" y="163"/>
                </a:lnTo>
                <a:lnTo>
                  <a:pt x="130" y="130"/>
                </a:lnTo>
                <a:lnTo>
                  <a:pt x="102" y="143"/>
                </a:lnTo>
                <a:lnTo>
                  <a:pt x="71" y="162"/>
                </a:lnTo>
                <a:lnTo>
                  <a:pt x="54" y="157"/>
                </a:lnTo>
                <a:lnTo>
                  <a:pt x="38" y="141"/>
                </a:lnTo>
                <a:lnTo>
                  <a:pt x="29" y="126"/>
                </a:lnTo>
                <a:lnTo>
                  <a:pt x="41" y="110"/>
                </a:lnTo>
                <a:lnTo>
                  <a:pt x="49" y="122"/>
                </a:lnTo>
                <a:lnTo>
                  <a:pt x="87" y="140"/>
                </a:lnTo>
                <a:lnTo>
                  <a:pt x="95" y="124"/>
                </a:lnTo>
                <a:lnTo>
                  <a:pt x="60" y="97"/>
                </a:lnTo>
                <a:lnTo>
                  <a:pt x="48" y="75"/>
                </a:lnTo>
                <a:lnTo>
                  <a:pt x="37" y="66"/>
                </a:lnTo>
                <a:lnTo>
                  <a:pt x="37" y="53"/>
                </a:lnTo>
                <a:lnTo>
                  <a:pt x="21" y="47"/>
                </a:lnTo>
                <a:lnTo>
                  <a:pt x="0" y="43"/>
                </a:lnTo>
                <a:lnTo>
                  <a:pt x="5" y="26"/>
                </a:lnTo>
                <a:lnTo>
                  <a:pt x="9" y="16"/>
                </a:lnTo>
                <a:lnTo>
                  <a:pt x="26" y="16"/>
                </a:lnTo>
                <a:lnTo>
                  <a:pt x="37" y="22"/>
                </a:lnTo>
                <a:lnTo>
                  <a:pt x="64" y="47"/>
                </a:lnTo>
                <a:lnTo>
                  <a:pt x="66" y="31"/>
                </a:lnTo>
                <a:lnTo>
                  <a:pt x="58" y="12"/>
                </a:lnTo>
                <a:lnTo>
                  <a:pt x="64" y="0"/>
                </a:lnTo>
                <a:lnTo>
                  <a:pt x="80" y="8"/>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31" name="Freeform 239"/>
          <p:cNvSpPr>
            <a:spLocks noChangeAspect="1"/>
          </p:cNvSpPr>
          <p:nvPr/>
        </p:nvSpPr>
        <p:spPr bwMode="gray">
          <a:xfrm>
            <a:off x="3033781" y="3649150"/>
            <a:ext cx="145790" cy="123596"/>
          </a:xfrm>
          <a:custGeom>
            <a:avLst/>
            <a:gdLst>
              <a:gd name="T0" fmla="*/ 0 w 141"/>
              <a:gd name="T1" fmla="*/ 2147483647 h 106"/>
              <a:gd name="T2" fmla="*/ 2147483647 w 141"/>
              <a:gd name="T3" fmla="*/ 2147483647 h 106"/>
              <a:gd name="T4" fmla="*/ 2147483647 w 141"/>
              <a:gd name="T5" fmla="*/ 2147483647 h 106"/>
              <a:gd name="T6" fmla="*/ 2147483647 w 141"/>
              <a:gd name="T7" fmla="*/ 2147483647 h 106"/>
              <a:gd name="T8" fmla="*/ 2147483647 w 141"/>
              <a:gd name="T9" fmla="*/ 2147483647 h 106"/>
              <a:gd name="T10" fmla="*/ 2147483647 w 141"/>
              <a:gd name="T11" fmla="*/ 2147483647 h 106"/>
              <a:gd name="T12" fmla="*/ 2147483647 w 141"/>
              <a:gd name="T13" fmla="*/ 2147483647 h 106"/>
              <a:gd name="T14" fmla="*/ 2147483647 w 141"/>
              <a:gd name="T15" fmla="*/ 2147483647 h 106"/>
              <a:gd name="T16" fmla="*/ 2147483647 w 141"/>
              <a:gd name="T17" fmla="*/ 2147483647 h 106"/>
              <a:gd name="T18" fmla="*/ 2147483647 w 141"/>
              <a:gd name="T19" fmla="*/ 2147483647 h 106"/>
              <a:gd name="T20" fmla="*/ 2147483647 w 141"/>
              <a:gd name="T21" fmla="*/ 2147483647 h 106"/>
              <a:gd name="T22" fmla="*/ 2147483647 w 141"/>
              <a:gd name="T23" fmla="*/ 2147483647 h 106"/>
              <a:gd name="T24" fmla="*/ 2147483647 w 141"/>
              <a:gd name="T25" fmla="*/ 2147483647 h 106"/>
              <a:gd name="T26" fmla="*/ 2147483647 w 141"/>
              <a:gd name="T27" fmla="*/ 2147483647 h 106"/>
              <a:gd name="T28" fmla="*/ 2147483647 w 141"/>
              <a:gd name="T29" fmla="*/ 2147483647 h 106"/>
              <a:gd name="T30" fmla="*/ 2147483647 w 141"/>
              <a:gd name="T31" fmla="*/ 0 h 106"/>
              <a:gd name="T32" fmla="*/ 2147483647 w 141"/>
              <a:gd name="T33" fmla="*/ 2147483647 h 106"/>
              <a:gd name="T34" fmla="*/ 0 w 141"/>
              <a:gd name="T35" fmla="*/ 2147483647 h 1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1"/>
              <a:gd name="T55" fmla="*/ 0 h 106"/>
              <a:gd name="T56" fmla="*/ 141 w 141"/>
              <a:gd name="T57" fmla="*/ 106 h 1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1" h="106">
                <a:moveTo>
                  <a:pt x="0" y="16"/>
                </a:moveTo>
                <a:lnTo>
                  <a:pt x="17" y="33"/>
                </a:lnTo>
                <a:lnTo>
                  <a:pt x="38" y="59"/>
                </a:lnTo>
                <a:lnTo>
                  <a:pt x="70" y="93"/>
                </a:lnTo>
                <a:lnTo>
                  <a:pt x="92" y="73"/>
                </a:lnTo>
                <a:lnTo>
                  <a:pt x="93" y="90"/>
                </a:lnTo>
                <a:lnTo>
                  <a:pt x="109" y="93"/>
                </a:lnTo>
                <a:lnTo>
                  <a:pt x="132" y="106"/>
                </a:lnTo>
                <a:lnTo>
                  <a:pt x="141" y="90"/>
                </a:lnTo>
                <a:lnTo>
                  <a:pt x="106" y="63"/>
                </a:lnTo>
                <a:lnTo>
                  <a:pt x="98" y="42"/>
                </a:lnTo>
                <a:lnTo>
                  <a:pt x="83" y="32"/>
                </a:lnTo>
                <a:lnTo>
                  <a:pt x="83" y="19"/>
                </a:lnTo>
                <a:lnTo>
                  <a:pt x="67" y="13"/>
                </a:lnTo>
                <a:lnTo>
                  <a:pt x="44" y="8"/>
                </a:lnTo>
                <a:lnTo>
                  <a:pt x="24" y="0"/>
                </a:lnTo>
                <a:lnTo>
                  <a:pt x="7" y="3"/>
                </a:lnTo>
                <a:lnTo>
                  <a:pt x="0" y="1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32" name="Freeform 240"/>
          <p:cNvSpPr>
            <a:spLocks noChangeAspect="1"/>
          </p:cNvSpPr>
          <p:nvPr/>
        </p:nvSpPr>
        <p:spPr bwMode="gray">
          <a:xfrm>
            <a:off x="3114071" y="2935042"/>
            <a:ext cx="1445216" cy="748439"/>
          </a:xfrm>
          <a:custGeom>
            <a:avLst/>
            <a:gdLst>
              <a:gd name="T0" fmla="*/ 2147483647 w 1452"/>
              <a:gd name="T1" fmla="*/ 2147483647 h 623"/>
              <a:gd name="T2" fmla="*/ 2147483647 w 1452"/>
              <a:gd name="T3" fmla="*/ 2147483647 h 623"/>
              <a:gd name="T4" fmla="*/ 2147483647 w 1452"/>
              <a:gd name="T5" fmla="*/ 2147483647 h 623"/>
              <a:gd name="T6" fmla="*/ 2147483647 w 1452"/>
              <a:gd name="T7" fmla="*/ 2147483647 h 623"/>
              <a:gd name="T8" fmla="*/ 2147483647 w 1452"/>
              <a:gd name="T9" fmla="*/ 2147483647 h 623"/>
              <a:gd name="T10" fmla="*/ 2147483647 w 1452"/>
              <a:gd name="T11" fmla="*/ 2147483647 h 623"/>
              <a:gd name="T12" fmla="*/ 2147483647 w 1452"/>
              <a:gd name="T13" fmla="*/ 2147483647 h 623"/>
              <a:gd name="T14" fmla="*/ 2147483647 w 1452"/>
              <a:gd name="T15" fmla="*/ 2147483647 h 623"/>
              <a:gd name="T16" fmla="*/ 2147483647 w 1452"/>
              <a:gd name="T17" fmla="*/ 2147483647 h 623"/>
              <a:gd name="T18" fmla="*/ 2147483647 w 1452"/>
              <a:gd name="T19" fmla="*/ 2147483647 h 623"/>
              <a:gd name="T20" fmla="*/ 2147483647 w 1452"/>
              <a:gd name="T21" fmla="*/ 2147483647 h 623"/>
              <a:gd name="T22" fmla="*/ 2147483647 w 1452"/>
              <a:gd name="T23" fmla="*/ 2147483647 h 623"/>
              <a:gd name="T24" fmla="*/ 2147483647 w 1452"/>
              <a:gd name="T25" fmla="*/ 2147483647 h 623"/>
              <a:gd name="T26" fmla="*/ 2147483647 w 1452"/>
              <a:gd name="T27" fmla="*/ 2147483647 h 623"/>
              <a:gd name="T28" fmla="*/ 2147483647 w 1452"/>
              <a:gd name="T29" fmla="*/ 2147483647 h 623"/>
              <a:gd name="T30" fmla="*/ 2147483647 w 1452"/>
              <a:gd name="T31" fmla="*/ 2147483647 h 623"/>
              <a:gd name="T32" fmla="*/ 2147483647 w 1452"/>
              <a:gd name="T33" fmla="*/ 2147483647 h 623"/>
              <a:gd name="T34" fmla="*/ 2147483647 w 1452"/>
              <a:gd name="T35" fmla="*/ 2147483647 h 623"/>
              <a:gd name="T36" fmla="*/ 2147483647 w 1452"/>
              <a:gd name="T37" fmla="*/ 2147483647 h 623"/>
              <a:gd name="T38" fmla="*/ 2147483647 w 1452"/>
              <a:gd name="T39" fmla="*/ 2147483647 h 623"/>
              <a:gd name="T40" fmla="*/ 2147483647 w 1452"/>
              <a:gd name="T41" fmla="*/ 2147483647 h 623"/>
              <a:gd name="T42" fmla="*/ 2147483647 w 1452"/>
              <a:gd name="T43" fmla="*/ 2147483647 h 623"/>
              <a:gd name="T44" fmla="*/ 0 w 1452"/>
              <a:gd name="T45" fmla="*/ 2147483647 h 623"/>
              <a:gd name="T46" fmla="*/ 2147483647 w 1452"/>
              <a:gd name="T47" fmla="*/ 2147483647 h 623"/>
              <a:gd name="T48" fmla="*/ 2147483647 w 1452"/>
              <a:gd name="T49" fmla="*/ 2147483647 h 623"/>
              <a:gd name="T50" fmla="*/ 2147483647 w 1452"/>
              <a:gd name="T51" fmla="*/ 2147483647 h 623"/>
              <a:gd name="T52" fmla="*/ 2147483647 w 1452"/>
              <a:gd name="T53" fmla="*/ 2147483647 h 623"/>
              <a:gd name="T54" fmla="*/ 2147483647 w 1452"/>
              <a:gd name="T55" fmla="*/ 2147483647 h 623"/>
              <a:gd name="T56" fmla="*/ 2147483647 w 1452"/>
              <a:gd name="T57" fmla="*/ 2147483647 h 623"/>
              <a:gd name="T58" fmla="*/ 2147483647 w 1452"/>
              <a:gd name="T59" fmla="*/ 2147483647 h 623"/>
              <a:gd name="T60" fmla="*/ 2147483647 w 1452"/>
              <a:gd name="T61" fmla="*/ 2147483647 h 623"/>
              <a:gd name="T62" fmla="*/ 2147483647 w 1452"/>
              <a:gd name="T63" fmla="*/ 2147483647 h 623"/>
              <a:gd name="T64" fmla="*/ 2147483647 w 1452"/>
              <a:gd name="T65" fmla="*/ 2147483647 h 623"/>
              <a:gd name="T66" fmla="*/ 2147483647 w 1452"/>
              <a:gd name="T67" fmla="*/ 2147483647 h 623"/>
              <a:gd name="T68" fmla="*/ 2147483647 w 1452"/>
              <a:gd name="T69" fmla="*/ 2147483647 h 623"/>
              <a:gd name="T70" fmla="*/ 2147483647 w 1452"/>
              <a:gd name="T71" fmla="*/ 2147483647 h 623"/>
              <a:gd name="T72" fmla="*/ 2147483647 w 1452"/>
              <a:gd name="T73" fmla="*/ 2147483647 h 623"/>
              <a:gd name="T74" fmla="*/ 2147483647 w 1452"/>
              <a:gd name="T75" fmla="*/ 2147483647 h 623"/>
              <a:gd name="T76" fmla="*/ 2147483647 w 1452"/>
              <a:gd name="T77" fmla="*/ 2147483647 h 623"/>
              <a:gd name="T78" fmla="*/ 2147483647 w 1452"/>
              <a:gd name="T79" fmla="*/ 2147483647 h 623"/>
              <a:gd name="T80" fmla="*/ 2147483647 w 1452"/>
              <a:gd name="T81" fmla="*/ 2147483647 h 623"/>
              <a:gd name="T82" fmla="*/ 2147483647 w 1452"/>
              <a:gd name="T83" fmla="*/ 2147483647 h 623"/>
              <a:gd name="T84" fmla="*/ 2147483647 w 1452"/>
              <a:gd name="T85" fmla="*/ 2147483647 h 623"/>
              <a:gd name="T86" fmla="*/ 2147483647 w 1452"/>
              <a:gd name="T87" fmla="*/ 2147483647 h 623"/>
              <a:gd name="T88" fmla="*/ 2147483647 w 1452"/>
              <a:gd name="T89" fmla="*/ 2147483647 h 623"/>
              <a:gd name="T90" fmla="*/ 2147483647 w 1452"/>
              <a:gd name="T91" fmla="*/ 2147483647 h 623"/>
              <a:gd name="T92" fmla="*/ 2147483647 w 1452"/>
              <a:gd name="T93" fmla="*/ 2147483647 h 623"/>
              <a:gd name="T94" fmla="*/ 2147483647 w 1452"/>
              <a:gd name="T95" fmla="*/ 2147483647 h 623"/>
              <a:gd name="T96" fmla="*/ 2147483647 w 1452"/>
              <a:gd name="T97" fmla="*/ 2147483647 h 623"/>
              <a:gd name="T98" fmla="*/ 2147483647 w 1452"/>
              <a:gd name="T99" fmla="*/ 2147483647 h 623"/>
              <a:gd name="T100" fmla="*/ 2147483647 w 1452"/>
              <a:gd name="T101" fmla="*/ 2147483647 h 62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52"/>
              <a:gd name="T154" fmla="*/ 0 h 623"/>
              <a:gd name="T155" fmla="*/ 1452 w 1452"/>
              <a:gd name="T156" fmla="*/ 623 h 62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52" h="623">
                <a:moveTo>
                  <a:pt x="1416" y="321"/>
                </a:moveTo>
                <a:lnTo>
                  <a:pt x="1452" y="307"/>
                </a:lnTo>
                <a:lnTo>
                  <a:pt x="1378" y="257"/>
                </a:lnTo>
                <a:lnTo>
                  <a:pt x="1332" y="278"/>
                </a:lnTo>
                <a:lnTo>
                  <a:pt x="1265" y="258"/>
                </a:lnTo>
                <a:lnTo>
                  <a:pt x="1234" y="244"/>
                </a:lnTo>
                <a:lnTo>
                  <a:pt x="1206" y="244"/>
                </a:lnTo>
                <a:lnTo>
                  <a:pt x="1189" y="213"/>
                </a:lnTo>
                <a:lnTo>
                  <a:pt x="1180" y="194"/>
                </a:lnTo>
                <a:lnTo>
                  <a:pt x="1154" y="194"/>
                </a:lnTo>
                <a:lnTo>
                  <a:pt x="1132" y="194"/>
                </a:lnTo>
                <a:lnTo>
                  <a:pt x="1112" y="202"/>
                </a:lnTo>
                <a:lnTo>
                  <a:pt x="1077" y="168"/>
                </a:lnTo>
                <a:lnTo>
                  <a:pt x="1062" y="173"/>
                </a:lnTo>
                <a:lnTo>
                  <a:pt x="1046" y="180"/>
                </a:lnTo>
                <a:lnTo>
                  <a:pt x="1026" y="187"/>
                </a:lnTo>
                <a:lnTo>
                  <a:pt x="995" y="162"/>
                </a:lnTo>
                <a:lnTo>
                  <a:pt x="925" y="104"/>
                </a:lnTo>
                <a:lnTo>
                  <a:pt x="868" y="70"/>
                </a:lnTo>
                <a:lnTo>
                  <a:pt x="834" y="38"/>
                </a:lnTo>
                <a:lnTo>
                  <a:pt x="774" y="76"/>
                </a:lnTo>
                <a:lnTo>
                  <a:pt x="764" y="49"/>
                </a:lnTo>
                <a:lnTo>
                  <a:pt x="680" y="46"/>
                </a:lnTo>
                <a:lnTo>
                  <a:pt x="670" y="46"/>
                </a:lnTo>
                <a:lnTo>
                  <a:pt x="632" y="0"/>
                </a:lnTo>
                <a:lnTo>
                  <a:pt x="592" y="6"/>
                </a:lnTo>
                <a:lnTo>
                  <a:pt x="565" y="25"/>
                </a:lnTo>
                <a:lnTo>
                  <a:pt x="512" y="36"/>
                </a:lnTo>
                <a:lnTo>
                  <a:pt x="495" y="26"/>
                </a:lnTo>
                <a:lnTo>
                  <a:pt x="467" y="53"/>
                </a:lnTo>
                <a:lnTo>
                  <a:pt x="448" y="49"/>
                </a:lnTo>
                <a:lnTo>
                  <a:pt x="372" y="55"/>
                </a:lnTo>
                <a:lnTo>
                  <a:pt x="356" y="53"/>
                </a:lnTo>
                <a:lnTo>
                  <a:pt x="346" y="59"/>
                </a:lnTo>
                <a:lnTo>
                  <a:pt x="377" y="93"/>
                </a:lnTo>
                <a:lnTo>
                  <a:pt x="356" y="125"/>
                </a:lnTo>
                <a:lnTo>
                  <a:pt x="358" y="147"/>
                </a:lnTo>
                <a:lnTo>
                  <a:pt x="358" y="159"/>
                </a:lnTo>
                <a:lnTo>
                  <a:pt x="399" y="159"/>
                </a:lnTo>
                <a:lnTo>
                  <a:pt x="411" y="180"/>
                </a:lnTo>
                <a:lnTo>
                  <a:pt x="411" y="202"/>
                </a:lnTo>
                <a:lnTo>
                  <a:pt x="399" y="206"/>
                </a:lnTo>
                <a:lnTo>
                  <a:pt x="383" y="194"/>
                </a:lnTo>
                <a:lnTo>
                  <a:pt x="366" y="202"/>
                </a:lnTo>
                <a:lnTo>
                  <a:pt x="356" y="211"/>
                </a:lnTo>
                <a:lnTo>
                  <a:pt x="326" y="194"/>
                </a:lnTo>
                <a:lnTo>
                  <a:pt x="318" y="176"/>
                </a:lnTo>
                <a:lnTo>
                  <a:pt x="291" y="185"/>
                </a:lnTo>
                <a:lnTo>
                  <a:pt x="291" y="190"/>
                </a:lnTo>
                <a:lnTo>
                  <a:pt x="273" y="176"/>
                </a:lnTo>
                <a:lnTo>
                  <a:pt x="248" y="194"/>
                </a:lnTo>
                <a:lnTo>
                  <a:pt x="216" y="202"/>
                </a:lnTo>
                <a:lnTo>
                  <a:pt x="207" y="194"/>
                </a:lnTo>
                <a:lnTo>
                  <a:pt x="198" y="176"/>
                </a:lnTo>
                <a:lnTo>
                  <a:pt x="158" y="173"/>
                </a:lnTo>
                <a:lnTo>
                  <a:pt x="92" y="169"/>
                </a:lnTo>
                <a:lnTo>
                  <a:pt x="76" y="173"/>
                </a:lnTo>
                <a:lnTo>
                  <a:pt x="70" y="185"/>
                </a:lnTo>
                <a:lnTo>
                  <a:pt x="59" y="180"/>
                </a:lnTo>
                <a:lnTo>
                  <a:pt x="49" y="198"/>
                </a:lnTo>
                <a:lnTo>
                  <a:pt x="38" y="213"/>
                </a:lnTo>
                <a:lnTo>
                  <a:pt x="38" y="220"/>
                </a:lnTo>
                <a:lnTo>
                  <a:pt x="45" y="233"/>
                </a:lnTo>
                <a:lnTo>
                  <a:pt x="34" y="238"/>
                </a:lnTo>
                <a:lnTo>
                  <a:pt x="22" y="213"/>
                </a:lnTo>
                <a:lnTo>
                  <a:pt x="5" y="216"/>
                </a:lnTo>
                <a:lnTo>
                  <a:pt x="0" y="249"/>
                </a:lnTo>
                <a:lnTo>
                  <a:pt x="0" y="269"/>
                </a:lnTo>
                <a:lnTo>
                  <a:pt x="0" y="286"/>
                </a:lnTo>
                <a:lnTo>
                  <a:pt x="8" y="301"/>
                </a:lnTo>
                <a:lnTo>
                  <a:pt x="18" y="313"/>
                </a:lnTo>
                <a:lnTo>
                  <a:pt x="18" y="333"/>
                </a:lnTo>
                <a:lnTo>
                  <a:pt x="34" y="331"/>
                </a:lnTo>
                <a:lnTo>
                  <a:pt x="54" y="316"/>
                </a:lnTo>
                <a:lnTo>
                  <a:pt x="63" y="331"/>
                </a:lnTo>
                <a:lnTo>
                  <a:pt x="79" y="349"/>
                </a:lnTo>
                <a:lnTo>
                  <a:pt x="93" y="366"/>
                </a:lnTo>
                <a:lnTo>
                  <a:pt x="109" y="400"/>
                </a:lnTo>
                <a:lnTo>
                  <a:pt x="138" y="392"/>
                </a:lnTo>
                <a:lnTo>
                  <a:pt x="187" y="383"/>
                </a:lnTo>
                <a:lnTo>
                  <a:pt x="263" y="373"/>
                </a:lnTo>
                <a:lnTo>
                  <a:pt x="281" y="397"/>
                </a:lnTo>
                <a:lnTo>
                  <a:pt x="284" y="439"/>
                </a:lnTo>
                <a:lnTo>
                  <a:pt x="249" y="448"/>
                </a:lnTo>
                <a:lnTo>
                  <a:pt x="216" y="456"/>
                </a:lnTo>
                <a:lnTo>
                  <a:pt x="221" y="486"/>
                </a:lnTo>
                <a:lnTo>
                  <a:pt x="172" y="486"/>
                </a:lnTo>
                <a:lnTo>
                  <a:pt x="216" y="547"/>
                </a:lnTo>
                <a:lnTo>
                  <a:pt x="237" y="552"/>
                </a:lnTo>
                <a:lnTo>
                  <a:pt x="258" y="556"/>
                </a:lnTo>
                <a:lnTo>
                  <a:pt x="268" y="581"/>
                </a:lnTo>
                <a:lnTo>
                  <a:pt x="280" y="571"/>
                </a:lnTo>
                <a:lnTo>
                  <a:pt x="320" y="567"/>
                </a:lnTo>
                <a:lnTo>
                  <a:pt x="341" y="576"/>
                </a:lnTo>
                <a:lnTo>
                  <a:pt x="356" y="589"/>
                </a:lnTo>
                <a:lnTo>
                  <a:pt x="367" y="576"/>
                </a:lnTo>
                <a:lnTo>
                  <a:pt x="392" y="579"/>
                </a:lnTo>
                <a:lnTo>
                  <a:pt x="348" y="442"/>
                </a:lnTo>
                <a:lnTo>
                  <a:pt x="366" y="434"/>
                </a:lnTo>
                <a:lnTo>
                  <a:pt x="424" y="405"/>
                </a:lnTo>
                <a:lnTo>
                  <a:pt x="434" y="403"/>
                </a:lnTo>
                <a:lnTo>
                  <a:pt x="426" y="392"/>
                </a:lnTo>
                <a:lnTo>
                  <a:pt x="439" y="398"/>
                </a:lnTo>
                <a:lnTo>
                  <a:pt x="439" y="383"/>
                </a:lnTo>
                <a:lnTo>
                  <a:pt x="448" y="373"/>
                </a:lnTo>
                <a:lnTo>
                  <a:pt x="451" y="377"/>
                </a:lnTo>
                <a:lnTo>
                  <a:pt x="465" y="377"/>
                </a:lnTo>
                <a:lnTo>
                  <a:pt x="477" y="386"/>
                </a:lnTo>
                <a:lnTo>
                  <a:pt x="494" y="368"/>
                </a:lnTo>
                <a:lnTo>
                  <a:pt x="504" y="373"/>
                </a:lnTo>
                <a:lnTo>
                  <a:pt x="493" y="398"/>
                </a:lnTo>
                <a:lnTo>
                  <a:pt x="501" y="431"/>
                </a:lnTo>
                <a:lnTo>
                  <a:pt x="531" y="449"/>
                </a:lnTo>
                <a:lnTo>
                  <a:pt x="531" y="456"/>
                </a:lnTo>
                <a:lnTo>
                  <a:pt x="521" y="471"/>
                </a:lnTo>
                <a:lnTo>
                  <a:pt x="526" y="478"/>
                </a:lnTo>
                <a:lnTo>
                  <a:pt x="562" y="493"/>
                </a:lnTo>
                <a:lnTo>
                  <a:pt x="575" y="513"/>
                </a:lnTo>
                <a:lnTo>
                  <a:pt x="610" y="502"/>
                </a:lnTo>
                <a:lnTo>
                  <a:pt x="648" y="493"/>
                </a:lnTo>
                <a:lnTo>
                  <a:pt x="680" y="554"/>
                </a:lnTo>
                <a:lnTo>
                  <a:pt x="691" y="584"/>
                </a:lnTo>
                <a:lnTo>
                  <a:pt x="681" y="590"/>
                </a:lnTo>
                <a:lnTo>
                  <a:pt x="675" y="601"/>
                </a:lnTo>
                <a:lnTo>
                  <a:pt x="706" y="611"/>
                </a:lnTo>
                <a:lnTo>
                  <a:pt x="715" y="623"/>
                </a:lnTo>
                <a:lnTo>
                  <a:pt x="757" y="611"/>
                </a:lnTo>
                <a:lnTo>
                  <a:pt x="772" y="623"/>
                </a:lnTo>
                <a:lnTo>
                  <a:pt x="800" y="607"/>
                </a:lnTo>
                <a:lnTo>
                  <a:pt x="819" y="604"/>
                </a:lnTo>
                <a:lnTo>
                  <a:pt x="846" y="609"/>
                </a:lnTo>
                <a:lnTo>
                  <a:pt x="900" y="609"/>
                </a:lnTo>
                <a:lnTo>
                  <a:pt x="885" y="597"/>
                </a:lnTo>
                <a:lnTo>
                  <a:pt x="885" y="579"/>
                </a:lnTo>
                <a:lnTo>
                  <a:pt x="894" y="568"/>
                </a:lnTo>
                <a:lnTo>
                  <a:pt x="894" y="558"/>
                </a:lnTo>
                <a:lnTo>
                  <a:pt x="877" y="549"/>
                </a:lnTo>
                <a:lnTo>
                  <a:pt x="911" y="546"/>
                </a:lnTo>
                <a:lnTo>
                  <a:pt x="942" y="549"/>
                </a:lnTo>
                <a:lnTo>
                  <a:pt x="949" y="558"/>
                </a:lnTo>
                <a:lnTo>
                  <a:pt x="973" y="554"/>
                </a:lnTo>
                <a:lnTo>
                  <a:pt x="955" y="527"/>
                </a:lnTo>
                <a:lnTo>
                  <a:pt x="975" y="524"/>
                </a:lnTo>
                <a:lnTo>
                  <a:pt x="1059" y="535"/>
                </a:lnTo>
                <a:lnTo>
                  <a:pt x="1129" y="541"/>
                </a:lnTo>
                <a:lnTo>
                  <a:pt x="1180" y="563"/>
                </a:lnTo>
                <a:lnTo>
                  <a:pt x="1206" y="563"/>
                </a:lnTo>
                <a:lnTo>
                  <a:pt x="1214" y="589"/>
                </a:lnTo>
                <a:lnTo>
                  <a:pt x="1234" y="535"/>
                </a:lnTo>
                <a:lnTo>
                  <a:pt x="1206" y="475"/>
                </a:lnTo>
                <a:lnTo>
                  <a:pt x="1291" y="454"/>
                </a:lnTo>
                <a:lnTo>
                  <a:pt x="1301" y="422"/>
                </a:lnTo>
                <a:lnTo>
                  <a:pt x="1315" y="373"/>
                </a:lnTo>
                <a:lnTo>
                  <a:pt x="1403" y="377"/>
                </a:lnTo>
                <a:lnTo>
                  <a:pt x="1416" y="321"/>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33" name="Freeform 241"/>
          <p:cNvSpPr>
            <a:spLocks noChangeAspect="1"/>
          </p:cNvSpPr>
          <p:nvPr/>
        </p:nvSpPr>
        <p:spPr bwMode="gray">
          <a:xfrm>
            <a:off x="3462699" y="3420269"/>
            <a:ext cx="631753" cy="460050"/>
          </a:xfrm>
          <a:custGeom>
            <a:avLst/>
            <a:gdLst>
              <a:gd name="T0" fmla="*/ 2147483647 w 634"/>
              <a:gd name="T1" fmla="*/ 2147483647 h 386"/>
              <a:gd name="T2" fmla="*/ 2147483647 w 634"/>
              <a:gd name="T3" fmla="*/ 2147483647 h 386"/>
              <a:gd name="T4" fmla="*/ 2147483647 w 634"/>
              <a:gd name="T5" fmla="*/ 2147483647 h 386"/>
              <a:gd name="T6" fmla="*/ 2147483647 w 634"/>
              <a:gd name="T7" fmla="*/ 2147483647 h 386"/>
              <a:gd name="T8" fmla="*/ 2147483647 w 634"/>
              <a:gd name="T9" fmla="*/ 2147483647 h 386"/>
              <a:gd name="T10" fmla="*/ 2147483647 w 634"/>
              <a:gd name="T11" fmla="*/ 2147483647 h 386"/>
              <a:gd name="T12" fmla="*/ 2147483647 w 634"/>
              <a:gd name="T13" fmla="*/ 2147483647 h 386"/>
              <a:gd name="T14" fmla="*/ 2147483647 w 634"/>
              <a:gd name="T15" fmla="*/ 2147483647 h 386"/>
              <a:gd name="T16" fmla="*/ 2147483647 w 634"/>
              <a:gd name="T17" fmla="*/ 2147483647 h 386"/>
              <a:gd name="T18" fmla="*/ 2147483647 w 634"/>
              <a:gd name="T19" fmla="*/ 2147483647 h 386"/>
              <a:gd name="T20" fmla="*/ 2147483647 w 634"/>
              <a:gd name="T21" fmla="*/ 2147483647 h 386"/>
              <a:gd name="T22" fmla="*/ 2147483647 w 634"/>
              <a:gd name="T23" fmla="*/ 2147483647 h 386"/>
              <a:gd name="T24" fmla="*/ 2147483647 w 634"/>
              <a:gd name="T25" fmla="*/ 2147483647 h 386"/>
              <a:gd name="T26" fmla="*/ 2147483647 w 634"/>
              <a:gd name="T27" fmla="*/ 2147483647 h 386"/>
              <a:gd name="T28" fmla="*/ 2147483647 w 634"/>
              <a:gd name="T29" fmla="*/ 2147483647 h 386"/>
              <a:gd name="T30" fmla="*/ 2147483647 w 634"/>
              <a:gd name="T31" fmla="*/ 2147483647 h 386"/>
              <a:gd name="T32" fmla="*/ 2147483647 w 634"/>
              <a:gd name="T33" fmla="*/ 2147483647 h 386"/>
              <a:gd name="T34" fmla="*/ 2147483647 w 634"/>
              <a:gd name="T35" fmla="*/ 2147483647 h 386"/>
              <a:gd name="T36" fmla="*/ 2147483647 w 634"/>
              <a:gd name="T37" fmla="*/ 2147483647 h 386"/>
              <a:gd name="T38" fmla="*/ 2147483647 w 634"/>
              <a:gd name="T39" fmla="*/ 2147483647 h 386"/>
              <a:gd name="T40" fmla="*/ 2147483647 w 634"/>
              <a:gd name="T41" fmla="*/ 2147483647 h 386"/>
              <a:gd name="T42" fmla="*/ 2147483647 w 634"/>
              <a:gd name="T43" fmla="*/ 2147483647 h 386"/>
              <a:gd name="T44" fmla="*/ 2147483647 w 634"/>
              <a:gd name="T45" fmla="*/ 2147483647 h 386"/>
              <a:gd name="T46" fmla="*/ 2147483647 w 634"/>
              <a:gd name="T47" fmla="*/ 2147483647 h 386"/>
              <a:gd name="T48" fmla="*/ 2147483647 w 634"/>
              <a:gd name="T49" fmla="*/ 2147483647 h 386"/>
              <a:gd name="T50" fmla="*/ 2147483647 w 634"/>
              <a:gd name="T51" fmla="*/ 2147483647 h 386"/>
              <a:gd name="T52" fmla="*/ 2147483647 w 634"/>
              <a:gd name="T53" fmla="*/ 2147483647 h 386"/>
              <a:gd name="T54" fmla="*/ 2147483647 w 634"/>
              <a:gd name="T55" fmla="*/ 2147483647 h 386"/>
              <a:gd name="T56" fmla="*/ 2147483647 w 634"/>
              <a:gd name="T57" fmla="*/ 2147483647 h 386"/>
              <a:gd name="T58" fmla="*/ 2147483647 w 634"/>
              <a:gd name="T59" fmla="*/ 2147483647 h 386"/>
              <a:gd name="T60" fmla="*/ 2147483647 w 634"/>
              <a:gd name="T61" fmla="*/ 2147483647 h 386"/>
              <a:gd name="T62" fmla="*/ 2147483647 w 634"/>
              <a:gd name="T63" fmla="*/ 2147483647 h 386"/>
              <a:gd name="T64" fmla="*/ 2147483647 w 634"/>
              <a:gd name="T65" fmla="*/ 2147483647 h 386"/>
              <a:gd name="T66" fmla="*/ 2147483647 w 634"/>
              <a:gd name="T67" fmla="*/ 0 h 386"/>
              <a:gd name="T68" fmla="*/ 2147483647 w 634"/>
              <a:gd name="T69" fmla="*/ 2147483647 h 38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34"/>
              <a:gd name="T106" fmla="*/ 0 h 386"/>
              <a:gd name="T107" fmla="*/ 634 w 634"/>
              <a:gd name="T108" fmla="*/ 386 h 38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34" h="386">
                <a:moveTo>
                  <a:pt x="44" y="176"/>
                </a:moveTo>
                <a:lnTo>
                  <a:pt x="60" y="173"/>
                </a:lnTo>
                <a:lnTo>
                  <a:pt x="66" y="157"/>
                </a:lnTo>
                <a:lnTo>
                  <a:pt x="71" y="144"/>
                </a:lnTo>
                <a:lnTo>
                  <a:pt x="91" y="151"/>
                </a:lnTo>
                <a:lnTo>
                  <a:pt x="86" y="132"/>
                </a:lnTo>
                <a:lnTo>
                  <a:pt x="103" y="124"/>
                </a:lnTo>
                <a:lnTo>
                  <a:pt x="113" y="138"/>
                </a:lnTo>
                <a:lnTo>
                  <a:pt x="129" y="138"/>
                </a:lnTo>
                <a:lnTo>
                  <a:pt x="145" y="146"/>
                </a:lnTo>
                <a:lnTo>
                  <a:pt x="153" y="151"/>
                </a:lnTo>
                <a:lnTo>
                  <a:pt x="153" y="155"/>
                </a:lnTo>
                <a:lnTo>
                  <a:pt x="155" y="167"/>
                </a:lnTo>
                <a:lnTo>
                  <a:pt x="173" y="173"/>
                </a:lnTo>
                <a:lnTo>
                  <a:pt x="173" y="190"/>
                </a:lnTo>
                <a:lnTo>
                  <a:pt x="188" y="217"/>
                </a:lnTo>
                <a:lnTo>
                  <a:pt x="205" y="220"/>
                </a:lnTo>
                <a:lnTo>
                  <a:pt x="212" y="212"/>
                </a:lnTo>
                <a:lnTo>
                  <a:pt x="230" y="203"/>
                </a:lnTo>
                <a:lnTo>
                  <a:pt x="246" y="217"/>
                </a:lnTo>
                <a:lnTo>
                  <a:pt x="266" y="239"/>
                </a:lnTo>
                <a:lnTo>
                  <a:pt x="296" y="269"/>
                </a:lnTo>
                <a:lnTo>
                  <a:pt x="349" y="282"/>
                </a:lnTo>
                <a:lnTo>
                  <a:pt x="350" y="301"/>
                </a:lnTo>
                <a:lnTo>
                  <a:pt x="384" y="313"/>
                </a:lnTo>
                <a:lnTo>
                  <a:pt x="400" y="331"/>
                </a:lnTo>
                <a:lnTo>
                  <a:pt x="389" y="385"/>
                </a:lnTo>
                <a:lnTo>
                  <a:pt x="420" y="386"/>
                </a:lnTo>
                <a:lnTo>
                  <a:pt x="441" y="359"/>
                </a:lnTo>
                <a:lnTo>
                  <a:pt x="453" y="343"/>
                </a:lnTo>
                <a:lnTo>
                  <a:pt x="462" y="329"/>
                </a:lnTo>
                <a:lnTo>
                  <a:pt x="457" y="303"/>
                </a:lnTo>
                <a:lnTo>
                  <a:pt x="432" y="293"/>
                </a:lnTo>
                <a:lnTo>
                  <a:pt x="437" y="245"/>
                </a:lnTo>
                <a:lnTo>
                  <a:pt x="460" y="227"/>
                </a:lnTo>
                <a:lnTo>
                  <a:pt x="479" y="233"/>
                </a:lnTo>
                <a:lnTo>
                  <a:pt x="526" y="225"/>
                </a:lnTo>
                <a:lnTo>
                  <a:pt x="534" y="244"/>
                </a:lnTo>
                <a:lnTo>
                  <a:pt x="561" y="243"/>
                </a:lnTo>
                <a:lnTo>
                  <a:pt x="619" y="239"/>
                </a:lnTo>
                <a:lnTo>
                  <a:pt x="634" y="217"/>
                </a:lnTo>
                <a:lnTo>
                  <a:pt x="619" y="204"/>
                </a:lnTo>
                <a:lnTo>
                  <a:pt x="581" y="204"/>
                </a:lnTo>
                <a:lnTo>
                  <a:pt x="517" y="204"/>
                </a:lnTo>
                <a:lnTo>
                  <a:pt x="491" y="204"/>
                </a:lnTo>
                <a:lnTo>
                  <a:pt x="465" y="200"/>
                </a:lnTo>
                <a:lnTo>
                  <a:pt x="424" y="220"/>
                </a:lnTo>
                <a:lnTo>
                  <a:pt x="419" y="217"/>
                </a:lnTo>
                <a:lnTo>
                  <a:pt x="409" y="208"/>
                </a:lnTo>
                <a:lnTo>
                  <a:pt x="388" y="212"/>
                </a:lnTo>
                <a:lnTo>
                  <a:pt x="367" y="220"/>
                </a:lnTo>
                <a:lnTo>
                  <a:pt x="364" y="216"/>
                </a:lnTo>
                <a:lnTo>
                  <a:pt x="359" y="208"/>
                </a:lnTo>
                <a:lnTo>
                  <a:pt x="333" y="200"/>
                </a:lnTo>
                <a:lnTo>
                  <a:pt x="327" y="198"/>
                </a:lnTo>
                <a:lnTo>
                  <a:pt x="332" y="187"/>
                </a:lnTo>
                <a:lnTo>
                  <a:pt x="344" y="181"/>
                </a:lnTo>
                <a:lnTo>
                  <a:pt x="327" y="143"/>
                </a:lnTo>
                <a:lnTo>
                  <a:pt x="300" y="90"/>
                </a:lnTo>
                <a:lnTo>
                  <a:pt x="228" y="107"/>
                </a:lnTo>
                <a:lnTo>
                  <a:pt x="212" y="90"/>
                </a:lnTo>
                <a:lnTo>
                  <a:pt x="178" y="75"/>
                </a:lnTo>
                <a:lnTo>
                  <a:pt x="146" y="97"/>
                </a:lnTo>
                <a:lnTo>
                  <a:pt x="114" y="91"/>
                </a:lnTo>
                <a:lnTo>
                  <a:pt x="80" y="68"/>
                </a:lnTo>
                <a:lnTo>
                  <a:pt x="75" y="40"/>
                </a:lnTo>
                <a:lnTo>
                  <a:pt x="78" y="20"/>
                </a:lnTo>
                <a:lnTo>
                  <a:pt x="76" y="0"/>
                </a:lnTo>
                <a:lnTo>
                  <a:pt x="0" y="40"/>
                </a:lnTo>
                <a:lnTo>
                  <a:pt x="44" y="176"/>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34" name="Freeform 242"/>
          <p:cNvSpPr>
            <a:spLocks noChangeAspect="1"/>
          </p:cNvSpPr>
          <p:nvPr/>
        </p:nvSpPr>
        <p:spPr bwMode="gray">
          <a:xfrm>
            <a:off x="3382409" y="3571330"/>
            <a:ext cx="479625" cy="402830"/>
          </a:xfrm>
          <a:custGeom>
            <a:avLst/>
            <a:gdLst>
              <a:gd name="T0" fmla="*/ 0 w 485"/>
              <a:gd name="T1" fmla="*/ 2147483647 h 338"/>
              <a:gd name="T2" fmla="*/ 2147483647 w 485"/>
              <a:gd name="T3" fmla="*/ 2147483647 h 338"/>
              <a:gd name="T4" fmla="*/ 2147483647 w 485"/>
              <a:gd name="T5" fmla="*/ 2147483647 h 338"/>
              <a:gd name="T6" fmla="*/ 2147483647 w 485"/>
              <a:gd name="T7" fmla="*/ 2147483647 h 338"/>
              <a:gd name="T8" fmla="*/ 2147483647 w 485"/>
              <a:gd name="T9" fmla="*/ 2147483647 h 338"/>
              <a:gd name="T10" fmla="*/ 2147483647 w 485"/>
              <a:gd name="T11" fmla="*/ 2147483647 h 338"/>
              <a:gd name="T12" fmla="*/ 2147483647 w 485"/>
              <a:gd name="T13" fmla="*/ 2147483647 h 338"/>
              <a:gd name="T14" fmla="*/ 2147483647 w 485"/>
              <a:gd name="T15" fmla="*/ 2147483647 h 338"/>
              <a:gd name="T16" fmla="*/ 2147483647 w 485"/>
              <a:gd name="T17" fmla="*/ 2147483647 h 338"/>
              <a:gd name="T18" fmla="*/ 2147483647 w 485"/>
              <a:gd name="T19" fmla="*/ 2147483647 h 338"/>
              <a:gd name="T20" fmla="*/ 2147483647 w 485"/>
              <a:gd name="T21" fmla="*/ 2147483647 h 338"/>
              <a:gd name="T22" fmla="*/ 2147483647 w 485"/>
              <a:gd name="T23" fmla="*/ 2147483647 h 338"/>
              <a:gd name="T24" fmla="*/ 2147483647 w 485"/>
              <a:gd name="T25" fmla="*/ 2147483647 h 338"/>
              <a:gd name="T26" fmla="*/ 2147483647 w 485"/>
              <a:gd name="T27" fmla="*/ 2147483647 h 338"/>
              <a:gd name="T28" fmla="*/ 2147483647 w 485"/>
              <a:gd name="T29" fmla="*/ 2147483647 h 338"/>
              <a:gd name="T30" fmla="*/ 2147483647 w 485"/>
              <a:gd name="T31" fmla="*/ 2147483647 h 338"/>
              <a:gd name="T32" fmla="*/ 2147483647 w 485"/>
              <a:gd name="T33" fmla="*/ 2147483647 h 338"/>
              <a:gd name="T34" fmla="*/ 2147483647 w 485"/>
              <a:gd name="T35" fmla="*/ 2147483647 h 338"/>
              <a:gd name="T36" fmla="*/ 2147483647 w 485"/>
              <a:gd name="T37" fmla="*/ 2147483647 h 338"/>
              <a:gd name="T38" fmla="*/ 2147483647 w 485"/>
              <a:gd name="T39" fmla="*/ 2147483647 h 338"/>
              <a:gd name="T40" fmla="*/ 2147483647 w 485"/>
              <a:gd name="T41" fmla="*/ 2147483647 h 338"/>
              <a:gd name="T42" fmla="*/ 2147483647 w 485"/>
              <a:gd name="T43" fmla="*/ 2147483647 h 338"/>
              <a:gd name="T44" fmla="*/ 2147483647 w 485"/>
              <a:gd name="T45" fmla="*/ 2147483647 h 338"/>
              <a:gd name="T46" fmla="*/ 2147483647 w 485"/>
              <a:gd name="T47" fmla="*/ 2147483647 h 338"/>
              <a:gd name="T48" fmla="*/ 2147483647 w 485"/>
              <a:gd name="T49" fmla="*/ 2147483647 h 338"/>
              <a:gd name="T50" fmla="*/ 2147483647 w 485"/>
              <a:gd name="T51" fmla="*/ 2147483647 h 338"/>
              <a:gd name="T52" fmla="*/ 2147483647 w 485"/>
              <a:gd name="T53" fmla="*/ 2147483647 h 338"/>
              <a:gd name="T54" fmla="*/ 2147483647 w 485"/>
              <a:gd name="T55" fmla="*/ 2147483647 h 338"/>
              <a:gd name="T56" fmla="*/ 2147483647 w 485"/>
              <a:gd name="T57" fmla="*/ 2147483647 h 338"/>
              <a:gd name="T58" fmla="*/ 2147483647 w 485"/>
              <a:gd name="T59" fmla="*/ 2147483647 h 338"/>
              <a:gd name="T60" fmla="*/ 2147483647 w 485"/>
              <a:gd name="T61" fmla="*/ 2147483647 h 338"/>
              <a:gd name="T62" fmla="*/ 2147483647 w 485"/>
              <a:gd name="T63" fmla="*/ 2147483647 h 338"/>
              <a:gd name="T64" fmla="*/ 2147483647 w 485"/>
              <a:gd name="T65" fmla="*/ 2147483647 h 338"/>
              <a:gd name="T66" fmla="*/ 2147483647 w 485"/>
              <a:gd name="T67" fmla="*/ 2147483647 h 338"/>
              <a:gd name="T68" fmla="*/ 2147483647 w 485"/>
              <a:gd name="T69" fmla="*/ 2147483647 h 338"/>
              <a:gd name="T70" fmla="*/ 2147483647 w 485"/>
              <a:gd name="T71" fmla="*/ 2147483647 h 338"/>
              <a:gd name="T72" fmla="*/ 2147483647 w 485"/>
              <a:gd name="T73" fmla="*/ 2147483647 h 338"/>
              <a:gd name="T74" fmla="*/ 2147483647 w 485"/>
              <a:gd name="T75" fmla="*/ 2147483647 h 338"/>
              <a:gd name="T76" fmla="*/ 2147483647 w 485"/>
              <a:gd name="T77" fmla="*/ 2147483647 h 338"/>
              <a:gd name="T78" fmla="*/ 2147483647 w 485"/>
              <a:gd name="T79" fmla="*/ 0 h 338"/>
              <a:gd name="T80" fmla="*/ 2147483647 w 485"/>
              <a:gd name="T81" fmla="*/ 2147483647 h 338"/>
              <a:gd name="T82" fmla="*/ 2147483647 w 485"/>
              <a:gd name="T83" fmla="*/ 2147483647 h 338"/>
              <a:gd name="T84" fmla="*/ 2147483647 w 485"/>
              <a:gd name="T85" fmla="*/ 2147483647 h 338"/>
              <a:gd name="T86" fmla="*/ 2147483647 w 485"/>
              <a:gd name="T87" fmla="*/ 2147483647 h 338"/>
              <a:gd name="T88" fmla="*/ 2147483647 w 485"/>
              <a:gd name="T89" fmla="*/ 2147483647 h 338"/>
              <a:gd name="T90" fmla="*/ 2147483647 w 485"/>
              <a:gd name="T91" fmla="*/ 2147483647 h 338"/>
              <a:gd name="T92" fmla="*/ 2147483647 w 485"/>
              <a:gd name="T93" fmla="*/ 2147483647 h 338"/>
              <a:gd name="T94" fmla="*/ 2147483647 w 485"/>
              <a:gd name="T95" fmla="*/ 2147483647 h 338"/>
              <a:gd name="T96" fmla="*/ 2147483647 w 485"/>
              <a:gd name="T97" fmla="*/ 2147483647 h 338"/>
              <a:gd name="T98" fmla="*/ 2147483647 w 485"/>
              <a:gd name="T99" fmla="*/ 2147483647 h 338"/>
              <a:gd name="T100" fmla="*/ 0 w 485"/>
              <a:gd name="T101" fmla="*/ 2147483647 h 33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5"/>
              <a:gd name="T154" fmla="*/ 0 h 338"/>
              <a:gd name="T155" fmla="*/ 485 w 485"/>
              <a:gd name="T156" fmla="*/ 338 h 33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5" h="338">
                <a:moveTo>
                  <a:pt x="0" y="49"/>
                </a:moveTo>
                <a:lnTo>
                  <a:pt x="3" y="93"/>
                </a:lnTo>
                <a:lnTo>
                  <a:pt x="31" y="66"/>
                </a:lnTo>
                <a:lnTo>
                  <a:pt x="66" y="101"/>
                </a:lnTo>
                <a:lnTo>
                  <a:pt x="50" y="121"/>
                </a:lnTo>
                <a:lnTo>
                  <a:pt x="6" y="102"/>
                </a:lnTo>
                <a:lnTo>
                  <a:pt x="2" y="132"/>
                </a:lnTo>
                <a:lnTo>
                  <a:pt x="6" y="150"/>
                </a:lnTo>
                <a:lnTo>
                  <a:pt x="31" y="153"/>
                </a:lnTo>
                <a:lnTo>
                  <a:pt x="19" y="172"/>
                </a:lnTo>
                <a:lnTo>
                  <a:pt x="41" y="186"/>
                </a:lnTo>
                <a:lnTo>
                  <a:pt x="41" y="246"/>
                </a:lnTo>
                <a:lnTo>
                  <a:pt x="107" y="229"/>
                </a:lnTo>
                <a:lnTo>
                  <a:pt x="143" y="211"/>
                </a:lnTo>
                <a:lnTo>
                  <a:pt x="229" y="251"/>
                </a:lnTo>
                <a:lnTo>
                  <a:pt x="282" y="274"/>
                </a:lnTo>
                <a:lnTo>
                  <a:pt x="294" y="287"/>
                </a:lnTo>
                <a:lnTo>
                  <a:pt x="299" y="316"/>
                </a:lnTo>
                <a:lnTo>
                  <a:pt x="349" y="338"/>
                </a:lnTo>
                <a:lnTo>
                  <a:pt x="423" y="257"/>
                </a:lnTo>
                <a:lnTo>
                  <a:pt x="472" y="257"/>
                </a:lnTo>
                <a:lnTo>
                  <a:pt x="480" y="223"/>
                </a:lnTo>
                <a:lnTo>
                  <a:pt x="485" y="210"/>
                </a:lnTo>
                <a:lnTo>
                  <a:pt x="469" y="188"/>
                </a:lnTo>
                <a:lnTo>
                  <a:pt x="433" y="175"/>
                </a:lnTo>
                <a:lnTo>
                  <a:pt x="431" y="158"/>
                </a:lnTo>
                <a:lnTo>
                  <a:pt x="379" y="145"/>
                </a:lnTo>
                <a:lnTo>
                  <a:pt x="349" y="115"/>
                </a:lnTo>
                <a:lnTo>
                  <a:pt x="338" y="96"/>
                </a:lnTo>
                <a:lnTo>
                  <a:pt x="313" y="77"/>
                </a:lnTo>
                <a:lnTo>
                  <a:pt x="297" y="87"/>
                </a:lnTo>
                <a:lnTo>
                  <a:pt x="288" y="96"/>
                </a:lnTo>
                <a:lnTo>
                  <a:pt x="271" y="93"/>
                </a:lnTo>
                <a:lnTo>
                  <a:pt x="256" y="66"/>
                </a:lnTo>
                <a:lnTo>
                  <a:pt x="255" y="49"/>
                </a:lnTo>
                <a:lnTo>
                  <a:pt x="238" y="43"/>
                </a:lnTo>
                <a:lnTo>
                  <a:pt x="234" y="27"/>
                </a:lnTo>
                <a:lnTo>
                  <a:pt x="212" y="14"/>
                </a:lnTo>
                <a:lnTo>
                  <a:pt x="196" y="14"/>
                </a:lnTo>
                <a:lnTo>
                  <a:pt x="186" y="0"/>
                </a:lnTo>
                <a:lnTo>
                  <a:pt x="169" y="8"/>
                </a:lnTo>
                <a:lnTo>
                  <a:pt x="175" y="27"/>
                </a:lnTo>
                <a:lnTo>
                  <a:pt x="167" y="24"/>
                </a:lnTo>
                <a:lnTo>
                  <a:pt x="154" y="20"/>
                </a:lnTo>
                <a:lnTo>
                  <a:pt x="143" y="49"/>
                </a:lnTo>
                <a:lnTo>
                  <a:pt x="125" y="52"/>
                </a:lnTo>
                <a:lnTo>
                  <a:pt x="107" y="48"/>
                </a:lnTo>
                <a:lnTo>
                  <a:pt x="91" y="62"/>
                </a:lnTo>
                <a:lnTo>
                  <a:pt x="76" y="49"/>
                </a:lnTo>
                <a:lnTo>
                  <a:pt x="53" y="36"/>
                </a:lnTo>
                <a:lnTo>
                  <a:pt x="0" y="49"/>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35" name="Freeform 243"/>
          <p:cNvSpPr>
            <a:spLocks noChangeAspect="1"/>
          </p:cNvSpPr>
          <p:nvPr/>
        </p:nvSpPr>
        <p:spPr bwMode="gray">
          <a:xfrm>
            <a:off x="3919083" y="3566753"/>
            <a:ext cx="403561" cy="201415"/>
          </a:xfrm>
          <a:custGeom>
            <a:avLst/>
            <a:gdLst>
              <a:gd name="T0" fmla="*/ 2147483647 w 405"/>
              <a:gd name="T1" fmla="*/ 2147483647 h 172"/>
              <a:gd name="T2" fmla="*/ 2147483647 w 405"/>
              <a:gd name="T3" fmla="*/ 2147483647 h 172"/>
              <a:gd name="T4" fmla="*/ 2147483647 w 405"/>
              <a:gd name="T5" fmla="*/ 2147483647 h 172"/>
              <a:gd name="T6" fmla="*/ 0 w 405"/>
              <a:gd name="T7" fmla="*/ 2147483647 h 172"/>
              <a:gd name="T8" fmla="*/ 2147483647 w 405"/>
              <a:gd name="T9" fmla="*/ 2147483647 h 172"/>
              <a:gd name="T10" fmla="*/ 2147483647 w 405"/>
              <a:gd name="T11" fmla="*/ 2147483647 h 172"/>
              <a:gd name="T12" fmla="*/ 2147483647 w 405"/>
              <a:gd name="T13" fmla="*/ 2147483647 h 172"/>
              <a:gd name="T14" fmla="*/ 2147483647 w 405"/>
              <a:gd name="T15" fmla="*/ 2147483647 h 172"/>
              <a:gd name="T16" fmla="*/ 2147483647 w 405"/>
              <a:gd name="T17" fmla="*/ 2147483647 h 172"/>
              <a:gd name="T18" fmla="*/ 2147483647 w 405"/>
              <a:gd name="T19" fmla="*/ 2147483647 h 172"/>
              <a:gd name="T20" fmla="*/ 2147483647 w 405"/>
              <a:gd name="T21" fmla="*/ 2147483647 h 172"/>
              <a:gd name="T22" fmla="*/ 2147483647 w 405"/>
              <a:gd name="T23" fmla="*/ 2147483647 h 172"/>
              <a:gd name="T24" fmla="*/ 2147483647 w 405"/>
              <a:gd name="T25" fmla="*/ 2147483647 h 172"/>
              <a:gd name="T26" fmla="*/ 2147483647 w 405"/>
              <a:gd name="T27" fmla="*/ 2147483647 h 172"/>
              <a:gd name="T28" fmla="*/ 2147483647 w 405"/>
              <a:gd name="T29" fmla="*/ 2147483647 h 172"/>
              <a:gd name="T30" fmla="*/ 2147483647 w 405"/>
              <a:gd name="T31" fmla="*/ 2147483647 h 172"/>
              <a:gd name="T32" fmla="*/ 2147483647 w 405"/>
              <a:gd name="T33" fmla="*/ 2147483647 h 172"/>
              <a:gd name="T34" fmla="*/ 2147483647 w 405"/>
              <a:gd name="T35" fmla="*/ 2147483647 h 172"/>
              <a:gd name="T36" fmla="*/ 2147483647 w 405"/>
              <a:gd name="T37" fmla="*/ 2147483647 h 172"/>
              <a:gd name="T38" fmla="*/ 2147483647 w 405"/>
              <a:gd name="T39" fmla="*/ 2147483647 h 172"/>
              <a:gd name="T40" fmla="*/ 2147483647 w 405"/>
              <a:gd name="T41" fmla="*/ 2147483647 h 172"/>
              <a:gd name="T42" fmla="*/ 2147483647 w 405"/>
              <a:gd name="T43" fmla="*/ 0 h 172"/>
              <a:gd name="T44" fmla="*/ 2147483647 w 405"/>
              <a:gd name="T45" fmla="*/ 2147483647 h 172"/>
              <a:gd name="T46" fmla="*/ 2147483647 w 405"/>
              <a:gd name="T47" fmla="*/ 2147483647 h 172"/>
              <a:gd name="T48" fmla="*/ 2147483647 w 405"/>
              <a:gd name="T49" fmla="*/ 2147483647 h 172"/>
              <a:gd name="T50" fmla="*/ 2147483647 w 405"/>
              <a:gd name="T51" fmla="*/ 2147483647 h 172"/>
              <a:gd name="T52" fmla="*/ 2147483647 w 405"/>
              <a:gd name="T53" fmla="*/ 2147483647 h 172"/>
              <a:gd name="T54" fmla="*/ 2147483647 w 405"/>
              <a:gd name="T55" fmla="*/ 2147483647 h 172"/>
              <a:gd name="T56" fmla="*/ 2147483647 w 405"/>
              <a:gd name="T57" fmla="*/ 2147483647 h 172"/>
              <a:gd name="T58" fmla="*/ 2147483647 w 405"/>
              <a:gd name="T59" fmla="*/ 2147483647 h 172"/>
              <a:gd name="T60" fmla="*/ 2147483647 w 405"/>
              <a:gd name="T61" fmla="*/ 2147483647 h 172"/>
              <a:gd name="T62" fmla="*/ 2147483647 w 405"/>
              <a:gd name="T63" fmla="*/ 2147483647 h 172"/>
              <a:gd name="T64" fmla="*/ 2147483647 w 405"/>
              <a:gd name="T65" fmla="*/ 2147483647 h 172"/>
              <a:gd name="T66" fmla="*/ 2147483647 w 405"/>
              <a:gd name="T67" fmla="*/ 2147483647 h 172"/>
              <a:gd name="T68" fmla="*/ 2147483647 w 405"/>
              <a:gd name="T69" fmla="*/ 2147483647 h 172"/>
              <a:gd name="T70" fmla="*/ 2147483647 w 405"/>
              <a:gd name="T71" fmla="*/ 2147483647 h 172"/>
              <a:gd name="T72" fmla="*/ 2147483647 w 405"/>
              <a:gd name="T73" fmla="*/ 2147483647 h 172"/>
              <a:gd name="T74" fmla="*/ 2147483647 w 405"/>
              <a:gd name="T75" fmla="*/ 2147483647 h 172"/>
              <a:gd name="T76" fmla="*/ 2147483647 w 405"/>
              <a:gd name="T77" fmla="*/ 2147483647 h 172"/>
              <a:gd name="T78" fmla="*/ 2147483647 w 405"/>
              <a:gd name="T79" fmla="*/ 2147483647 h 172"/>
              <a:gd name="T80" fmla="*/ 2147483647 w 405"/>
              <a:gd name="T81" fmla="*/ 2147483647 h 172"/>
              <a:gd name="T82" fmla="*/ 2147483647 w 405"/>
              <a:gd name="T83" fmla="*/ 2147483647 h 17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5"/>
              <a:gd name="T127" fmla="*/ 0 h 172"/>
              <a:gd name="T128" fmla="*/ 405 w 405"/>
              <a:gd name="T129" fmla="*/ 172 h 17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5" h="172">
                <a:moveTo>
                  <a:pt x="103" y="122"/>
                </a:moveTo>
                <a:lnTo>
                  <a:pt x="74" y="122"/>
                </a:lnTo>
                <a:lnTo>
                  <a:pt x="15" y="129"/>
                </a:lnTo>
                <a:lnTo>
                  <a:pt x="0" y="148"/>
                </a:lnTo>
                <a:lnTo>
                  <a:pt x="15" y="156"/>
                </a:lnTo>
                <a:lnTo>
                  <a:pt x="27" y="162"/>
                </a:lnTo>
                <a:lnTo>
                  <a:pt x="109" y="161"/>
                </a:lnTo>
                <a:lnTo>
                  <a:pt x="163" y="161"/>
                </a:lnTo>
                <a:lnTo>
                  <a:pt x="187" y="172"/>
                </a:lnTo>
                <a:lnTo>
                  <a:pt x="196" y="150"/>
                </a:lnTo>
                <a:lnTo>
                  <a:pt x="219" y="148"/>
                </a:lnTo>
                <a:lnTo>
                  <a:pt x="252" y="140"/>
                </a:lnTo>
                <a:lnTo>
                  <a:pt x="280" y="135"/>
                </a:lnTo>
                <a:lnTo>
                  <a:pt x="332" y="106"/>
                </a:lnTo>
                <a:lnTo>
                  <a:pt x="387" y="79"/>
                </a:lnTo>
                <a:lnTo>
                  <a:pt x="405" y="65"/>
                </a:lnTo>
                <a:lnTo>
                  <a:pt x="398" y="39"/>
                </a:lnTo>
                <a:lnTo>
                  <a:pt x="372" y="39"/>
                </a:lnTo>
                <a:lnTo>
                  <a:pt x="346" y="27"/>
                </a:lnTo>
                <a:lnTo>
                  <a:pt x="320" y="17"/>
                </a:lnTo>
                <a:lnTo>
                  <a:pt x="251" y="11"/>
                </a:lnTo>
                <a:lnTo>
                  <a:pt x="167" y="0"/>
                </a:lnTo>
                <a:lnTo>
                  <a:pt x="150" y="3"/>
                </a:lnTo>
                <a:lnTo>
                  <a:pt x="154" y="17"/>
                </a:lnTo>
                <a:lnTo>
                  <a:pt x="165" y="30"/>
                </a:lnTo>
                <a:lnTo>
                  <a:pt x="141" y="34"/>
                </a:lnTo>
                <a:lnTo>
                  <a:pt x="134" y="25"/>
                </a:lnTo>
                <a:lnTo>
                  <a:pt x="107" y="22"/>
                </a:lnTo>
                <a:lnTo>
                  <a:pt x="69" y="25"/>
                </a:lnTo>
                <a:lnTo>
                  <a:pt x="86" y="34"/>
                </a:lnTo>
                <a:lnTo>
                  <a:pt x="90" y="44"/>
                </a:lnTo>
                <a:lnTo>
                  <a:pt x="77" y="55"/>
                </a:lnTo>
                <a:lnTo>
                  <a:pt x="77" y="73"/>
                </a:lnTo>
                <a:lnTo>
                  <a:pt x="92" y="85"/>
                </a:lnTo>
                <a:lnTo>
                  <a:pt x="141" y="85"/>
                </a:lnTo>
                <a:lnTo>
                  <a:pt x="158" y="83"/>
                </a:lnTo>
                <a:lnTo>
                  <a:pt x="174" y="99"/>
                </a:lnTo>
                <a:lnTo>
                  <a:pt x="156" y="120"/>
                </a:lnTo>
                <a:lnTo>
                  <a:pt x="139" y="120"/>
                </a:lnTo>
                <a:lnTo>
                  <a:pt x="121" y="118"/>
                </a:lnTo>
                <a:lnTo>
                  <a:pt x="113" y="120"/>
                </a:lnTo>
                <a:lnTo>
                  <a:pt x="103" y="122"/>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36" name="Freeform 244"/>
          <p:cNvSpPr>
            <a:spLocks noChangeAspect="1"/>
          </p:cNvSpPr>
          <p:nvPr/>
        </p:nvSpPr>
        <p:spPr bwMode="gray">
          <a:xfrm>
            <a:off x="3866260" y="3672038"/>
            <a:ext cx="253547" cy="208281"/>
          </a:xfrm>
          <a:custGeom>
            <a:avLst/>
            <a:gdLst>
              <a:gd name="T0" fmla="*/ 0 w 256"/>
              <a:gd name="T1" fmla="*/ 2147483647 h 178"/>
              <a:gd name="T2" fmla="*/ 2147483647 w 256"/>
              <a:gd name="T3" fmla="*/ 2147483647 h 178"/>
              <a:gd name="T4" fmla="*/ 2147483647 w 256"/>
              <a:gd name="T5" fmla="*/ 2147483647 h 178"/>
              <a:gd name="T6" fmla="*/ 2147483647 w 256"/>
              <a:gd name="T7" fmla="*/ 2147483647 h 178"/>
              <a:gd name="T8" fmla="*/ 2147483647 w 256"/>
              <a:gd name="T9" fmla="*/ 2147483647 h 178"/>
              <a:gd name="T10" fmla="*/ 2147483647 w 256"/>
              <a:gd name="T11" fmla="*/ 2147483647 h 178"/>
              <a:gd name="T12" fmla="*/ 2147483647 w 256"/>
              <a:gd name="T13" fmla="*/ 2147483647 h 178"/>
              <a:gd name="T14" fmla="*/ 2147483647 w 256"/>
              <a:gd name="T15" fmla="*/ 2147483647 h 178"/>
              <a:gd name="T16" fmla="*/ 2147483647 w 256"/>
              <a:gd name="T17" fmla="*/ 2147483647 h 178"/>
              <a:gd name="T18" fmla="*/ 2147483647 w 256"/>
              <a:gd name="T19" fmla="*/ 2147483647 h 178"/>
              <a:gd name="T20" fmla="*/ 2147483647 w 256"/>
              <a:gd name="T21" fmla="*/ 2147483647 h 178"/>
              <a:gd name="T22" fmla="*/ 2147483647 w 256"/>
              <a:gd name="T23" fmla="*/ 2147483647 h 178"/>
              <a:gd name="T24" fmla="*/ 2147483647 w 256"/>
              <a:gd name="T25" fmla="*/ 2147483647 h 178"/>
              <a:gd name="T26" fmla="*/ 2147483647 w 256"/>
              <a:gd name="T27" fmla="*/ 2147483647 h 178"/>
              <a:gd name="T28" fmla="*/ 2147483647 w 256"/>
              <a:gd name="T29" fmla="*/ 2147483647 h 178"/>
              <a:gd name="T30" fmla="*/ 2147483647 w 256"/>
              <a:gd name="T31" fmla="*/ 2147483647 h 178"/>
              <a:gd name="T32" fmla="*/ 2147483647 w 256"/>
              <a:gd name="T33" fmla="*/ 2147483647 h 178"/>
              <a:gd name="T34" fmla="*/ 2147483647 w 256"/>
              <a:gd name="T35" fmla="*/ 2147483647 h 178"/>
              <a:gd name="T36" fmla="*/ 2147483647 w 256"/>
              <a:gd name="T37" fmla="*/ 2147483647 h 178"/>
              <a:gd name="T38" fmla="*/ 2147483647 w 256"/>
              <a:gd name="T39" fmla="*/ 2147483647 h 178"/>
              <a:gd name="T40" fmla="*/ 2147483647 w 256"/>
              <a:gd name="T41" fmla="*/ 2147483647 h 178"/>
              <a:gd name="T42" fmla="*/ 2147483647 w 256"/>
              <a:gd name="T43" fmla="*/ 2147483647 h 178"/>
              <a:gd name="T44" fmla="*/ 2147483647 w 256"/>
              <a:gd name="T45" fmla="*/ 2147483647 h 178"/>
              <a:gd name="T46" fmla="*/ 2147483647 w 256"/>
              <a:gd name="T47" fmla="*/ 2147483647 h 178"/>
              <a:gd name="T48" fmla="*/ 2147483647 w 256"/>
              <a:gd name="T49" fmla="*/ 0 h 178"/>
              <a:gd name="T50" fmla="*/ 2147483647 w 256"/>
              <a:gd name="T51" fmla="*/ 2147483647 h 178"/>
              <a:gd name="T52" fmla="*/ 2147483647 w 256"/>
              <a:gd name="T53" fmla="*/ 2147483647 h 178"/>
              <a:gd name="T54" fmla="*/ 2147483647 w 256"/>
              <a:gd name="T55" fmla="*/ 2147483647 h 178"/>
              <a:gd name="T56" fmla="*/ 2147483647 w 256"/>
              <a:gd name="T57" fmla="*/ 2147483647 h 178"/>
              <a:gd name="T58" fmla="*/ 2147483647 w 256"/>
              <a:gd name="T59" fmla="*/ 2147483647 h 178"/>
              <a:gd name="T60" fmla="*/ 2147483647 w 256"/>
              <a:gd name="T61" fmla="*/ 2147483647 h 178"/>
              <a:gd name="T62" fmla="*/ 2147483647 w 256"/>
              <a:gd name="T63" fmla="*/ 2147483647 h 178"/>
              <a:gd name="T64" fmla="*/ 2147483647 w 256"/>
              <a:gd name="T65" fmla="*/ 2147483647 h 178"/>
              <a:gd name="T66" fmla="*/ 2147483647 w 256"/>
              <a:gd name="T67" fmla="*/ 2147483647 h 178"/>
              <a:gd name="T68" fmla="*/ 2147483647 w 256"/>
              <a:gd name="T69" fmla="*/ 2147483647 h 178"/>
              <a:gd name="T70" fmla="*/ 2147483647 w 256"/>
              <a:gd name="T71" fmla="*/ 2147483647 h 178"/>
              <a:gd name="T72" fmla="*/ 0 w 256"/>
              <a:gd name="T73" fmla="*/ 2147483647 h 17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56"/>
              <a:gd name="T112" fmla="*/ 0 h 178"/>
              <a:gd name="T113" fmla="*/ 256 w 256"/>
              <a:gd name="T114" fmla="*/ 178 h 17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56" h="178">
                <a:moveTo>
                  <a:pt x="0" y="151"/>
                </a:moveTo>
                <a:lnTo>
                  <a:pt x="2" y="159"/>
                </a:lnTo>
                <a:lnTo>
                  <a:pt x="20" y="161"/>
                </a:lnTo>
                <a:lnTo>
                  <a:pt x="67" y="162"/>
                </a:lnTo>
                <a:lnTo>
                  <a:pt x="121" y="106"/>
                </a:lnTo>
                <a:lnTo>
                  <a:pt x="134" y="143"/>
                </a:lnTo>
                <a:lnTo>
                  <a:pt x="149" y="178"/>
                </a:lnTo>
                <a:lnTo>
                  <a:pt x="182" y="164"/>
                </a:lnTo>
                <a:lnTo>
                  <a:pt x="219" y="150"/>
                </a:lnTo>
                <a:lnTo>
                  <a:pt x="254" y="161"/>
                </a:lnTo>
                <a:lnTo>
                  <a:pt x="256" y="109"/>
                </a:lnTo>
                <a:lnTo>
                  <a:pt x="231" y="98"/>
                </a:lnTo>
                <a:lnTo>
                  <a:pt x="216" y="100"/>
                </a:lnTo>
                <a:lnTo>
                  <a:pt x="227" y="67"/>
                </a:lnTo>
                <a:lnTo>
                  <a:pt x="197" y="60"/>
                </a:lnTo>
                <a:lnTo>
                  <a:pt x="171" y="57"/>
                </a:lnTo>
                <a:lnTo>
                  <a:pt x="135" y="57"/>
                </a:lnTo>
                <a:lnTo>
                  <a:pt x="106" y="57"/>
                </a:lnTo>
                <a:lnTo>
                  <a:pt x="72" y="57"/>
                </a:lnTo>
                <a:lnTo>
                  <a:pt x="42" y="51"/>
                </a:lnTo>
                <a:lnTo>
                  <a:pt x="38" y="46"/>
                </a:lnTo>
                <a:lnTo>
                  <a:pt x="44" y="34"/>
                </a:lnTo>
                <a:lnTo>
                  <a:pt x="56" y="25"/>
                </a:lnTo>
                <a:lnTo>
                  <a:pt x="105" y="17"/>
                </a:lnTo>
                <a:lnTo>
                  <a:pt x="102" y="0"/>
                </a:lnTo>
                <a:lnTo>
                  <a:pt x="66" y="6"/>
                </a:lnTo>
                <a:lnTo>
                  <a:pt x="34" y="3"/>
                </a:lnTo>
                <a:lnTo>
                  <a:pt x="13" y="20"/>
                </a:lnTo>
                <a:lnTo>
                  <a:pt x="7" y="57"/>
                </a:lnTo>
                <a:lnTo>
                  <a:pt x="8" y="66"/>
                </a:lnTo>
                <a:lnTo>
                  <a:pt x="5" y="68"/>
                </a:lnTo>
                <a:lnTo>
                  <a:pt x="28" y="76"/>
                </a:lnTo>
                <a:lnTo>
                  <a:pt x="39" y="95"/>
                </a:lnTo>
                <a:lnTo>
                  <a:pt x="33" y="118"/>
                </a:lnTo>
                <a:lnTo>
                  <a:pt x="27" y="121"/>
                </a:lnTo>
                <a:lnTo>
                  <a:pt x="18" y="131"/>
                </a:lnTo>
                <a:lnTo>
                  <a:pt x="0" y="151"/>
                </a:lnTo>
                <a:close/>
              </a:path>
            </a:pathLst>
          </a:custGeom>
          <a:solidFill>
            <a:schemeClr val="accent3"/>
          </a:solidFill>
          <a:ln w="12700" cap="rnd">
            <a:solidFill>
              <a:schemeClr val="bg2"/>
            </a:solidFill>
            <a:round/>
            <a:headEnd/>
            <a:tailEnd/>
          </a:ln>
        </p:spPr>
        <p:txBody>
          <a:bodyPr/>
          <a:lstStyle/>
          <a:p>
            <a:pPr>
              <a:defRPr/>
            </a:pPr>
            <a:endParaRPr lang="nl-NL"/>
          </a:p>
        </p:txBody>
      </p:sp>
      <p:sp>
        <p:nvSpPr>
          <p:cNvPr id="138"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39" name="Text Placeholder 36"/>
          <p:cNvSpPr txBox="1">
            <a:spLocks/>
          </p:cNvSpPr>
          <p:nvPr/>
        </p:nvSpPr>
        <p:spPr bwMode="gray">
          <a:xfrm>
            <a:off x="411479" y="6153912"/>
            <a:ext cx="3995928" cy="128016"/>
          </a:xfrm>
          <a:prstGeom prst="rect">
            <a:avLst/>
          </a:prstGeom>
          <a:ln>
            <a:noFill/>
          </a:ln>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4513" name="Title 1"/>
          <p:cNvSpPr>
            <a:spLocks noGrp="1"/>
          </p:cNvSpPr>
          <p:nvPr>
            <p:ph type="title"/>
          </p:nvPr>
        </p:nvSpPr>
        <p:spPr>
          <a:xfrm>
            <a:off x="414338" y="446038"/>
            <a:ext cx="8330184" cy="333425"/>
          </a:xfrm>
        </p:spPr>
        <p:txBody>
          <a:bodyPr/>
          <a:lstStyle/>
          <a:p>
            <a:r>
              <a:rPr lang="en-GB" altLang="ja-JP"/>
              <a:t>Maps </a:t>
            </a:r>
            <a:r>
              <a:rPr lang="en-US"/>
              <a:t>—</a:t>
            </a:r>
            <a:r>
              <a:rPr lang="en-GB" altLang="ja-JP" smtClean="0"/>
              <a:t> </a:t>
            </a:r>
            <a:r>
              <a:rPr lang="en-GB" altLang="ja-JP"/>
              <a:t>Europe</a:t>
            </a:r>
            <a:endParaRPr lang="nl-NL"/>
          </a:p>
        </p:txBody>
      </p:sp>
      <p:sp>
        <p:nvSpPr>
          <p:cNvPr id="5" name="Freeform 4"/>
          <p:cNvSpPr>
            <a:spLocks/>
          </p:cNvSpPr>
          <p:nvPr/>
        </p:nvSpPr>
        <p:spPr bwMode="auto">
          <a:xfrm>
            <a:off x="2645020" y="4600741"/>
            <a:ext cx="402243" cy="573934"/>
          </a:xfrm>
          <a:custGeom>
            <a:avLst/>
            <a:gdLst>
              <a:gd name="T0" fmla="*/ 165 w 344"/>
              <a:gd name="T1" fmla="*/ 0 h 492"/>
              <a:gd name="T2" fmla="*/ 180 w 344"/>
              <a:gd name="T3" fmla="*/ 25 h 492"/>
              <a:gd name="T4" fmla="*/ 195 w 344"/>
              <a:gd name="T5" fmla="*/ 25 h 492"/>
              <a:gd name="T6" fmla="*/ 238 w 344"/>
              <a:gd name="T7" fmla="*/ 31 h 492"/>
              <a:gd name="T8" fmla="*/ 258 w 344"/>
              <a:gd name="T9" fmla="*/ 37 h 492"/>
              <a:gd name="T10" fmla="*/ 276 w 344"/>
              <a:gd name="T11" fmla="*/ 60 h 492"/>
              <a:gd name="T12" fmla="*/ 281 w 344"/>
              <a:gd name="T13" fmla="*/ 68 h 492"/>
              <a:gd name="T14" fmla="*/ 231 w 344"/>
              <a:gd name="T15" fmla="*/ 85 h 492"/>
              <a:gd name="T16" fmla="*/ 215 w 344"/>
              <a:gd name="T17" fmla="*/ 112 h 492"/>
              <a:gd name="T18" fmla="*/ 201 w 344"/>
              <a:gd name="T19" fmla="*/ 136 h 492"/>
              <a:gd name="T20" fmla="*/ 191 w 344"/>
              <a:gd name="T21" fmla="*/ 156 h 492"/>
              <a:gd name="T22" fmla="*/ 167 w 344"/>
              <a:gd name="T23" fmla="*/ 151 h 492"/>
              <a:gd name="T24" fmla="*/ 163 w 344"/>
              <a:gd name="T25" fmla="*/ 171 h 492"/>
              <a:gd name="T26" fmla="*/ 165 w 344"/>
              <a:gd name="T27" fmla="*/ 191 h 492"/>
              <a:gd name="T28" fmla="*/ 144 w 344"/>
              <a:gd name="T29" fmla="*/ 211 h 492"/>
              <a:gd name="T30" fmla="*/ 140 w 344"/>
              <a:gd name="T31" fmla="*/ 236 h 492"/>
              <a:gd name="T32" fmla="*/ 144 w 344"/>
              <a:gd name="T33" fmla="*/ 253 h 492"/>
              <a:gd name="T34" fmla="*/ 108 w 344"/>
              <a:gd name="T35" fmla="*/ 265 h 492"/>
              <a:gd name="T36" fmla="*/ 107 w 344"/>
              <a:gd name="T37" fmla="*/ 289 h 492"/>
              <a:gd name="T38" fmla="*/ 56 w 344"/>
              <a:gd name="T39" fmla="*/ 292 h 492"/>
              <a:gd name="T40" fmla="*/ 18 w 344"/>
              <a:gd name="T41" fmla="*/ 270 h 492"/>
              <a:gd name="T42" fmla="*/ 0 w 344"/>
              <a:gd name="T43" fmla="*/ 264 h 492"/>
              <a:gd name="T44" fmla="*/ 20 w 344"/>
              <a:gd name="T45" fmla="*/ 241 h 492"/>
              <a:gd name="T46" fmla="*/ 45 w 344"/>
              <a:gd name="T47" fmla="*/ 211 h 492"/>
              <a:gd name="T48" fmla="*/ 41 w 344"/>
              <a:gd name="T49" fmla="*/ 193 h 492"/>
              <a:gd name="T50" fmla="*/ 29 w 344"/>
              <a:gd name="T51" fmla="*/ 180 h 492"/>
              <a:gd name="T52" fmla="*/ 49 w 344"/>
              <a:gd name="T53" fmla="*/ 169 h 492"/>
              <a:gd name="T54" fmla="*/ 20 w 344"/>
              <a:gd name="T55" fmla="*/ 171 h 492"/>
              <a:gd name="T56" fmla="*/ 29 w 344"/>
              <a:gd name="T57" fmla="*/ 151 h 492"/>
              <a:gd name="T58" fmla="*/ 39 w 344"/>
              <a:gd name="T59" fmla="*/ 134 h 492"/>
              <a:gd name="T60" fmla="*/ 49 w 344"/>
              <a:gd name="T61" fmla="*/ 125 h 492"/>
              <a:gd name="T62" fmla="*/ 77 w 344"/>
              <a:gd name="T63" fmla="*/ 112 h 492"/>
              <a:gd name="T64" fmla="*/ 114 w 344"/>
              <a:gd name="T65" fmla="*/ 76 h 492"/>
              <a:gd name="T66" fmla="*/ 127 w 344"/>
              <a:gd name="T67" fmla="*/ 53 h 492"/>
              <a:gd name="T68" fmla="*/ 136 w 344"/>
              <a:gd name="T69" fmla="*/ 25 h 4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4"/>
              <a:gd name="T106" fmla="*/ 0 h 492"/>
              <a:gd name="T107" fmla="*/ 344 w 344"/>
              <a:gd name="T108" fmla="*/ 492 h 4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4" h="492">
                <a:moveTo>
                  <a:pt x="174" y="4"/>
                </a:moveTo>
                <a:lnTo>
                  <a:pt x="199" y="0"/>
                </a:lnTo>
                <a:lnTo>
                  <a:pt x="215" y="20"/>
                </a:lnTo>
                <a:lnTo>
                  <a:pt x="218" y="43"/>
                </a:lnTo>
                <a:lnTo>
                  <a:pt x="224" y="47"/>
                </a:lnTo>
                <a:lnTo>
                  <a:pt x="236" y="43"/>
                </a:lnTo>
                <a:lnTo>
                  <a:pt x="277" y="59"/>
                </a:lnTo>
                <a:lnTo>
                  <a:pt x="288" y="52"/>
                </a:lnTo>
                <a:lnTo>
                  <a:pt x="304" y="50"/>
                </a:lnTo>
                <a:lnTo>
                  <a:pt x="313" y="63"/>
                </a:lnTo>
                <a:lnTo>
                  <a:pt x="322" y="86"/>
                </a:lnTo>
                <a:lnTo>
                  <a:pt x="333" y="100"/>
                </a:lnTo>
                <a:lnTo>
                  <a:pt x="343" y="109"/>
                </a:lnTo>
                <a:lnTo>
                  <a:pt x="340" y="115"/>
                </a:lnTo>
                <a:lnTo>
                  <a:pt x="311" y="125"/>
                </a:lnTo>
                <a:lnTo>
                  <a:pt x="279" y="143"/>
                </a:lnTo>
                <a:lnTo>
                  <a:pt x="279" y="172"/>
                </a:lnTo>
                <a:lnTo>
                  <a:pt x="261" y="188"/>
                </a:lnTo>
                <a:lnTo>
                  <a:pt x="245" y="202"/>
                </a:lnTo>
                <a:lnTo>
                  <a:pt x="243" y="229"/>
                </a:lnTo>
                <a:lnTo>
                  <a:pt x="243" y="250"/>
                </a:lnTo>
                <a:lnTo>
                  <a:pt x="231" y="263"/>
                </a:lnTo>
                <a:lnTo>
                  <a:pt x="220" y="250"/>
                </a:lnTo>
                <a:lnTo>
                  <a:pt x="202" y="254"/>
                </a:lnTo>
                <a:lnTo>
                  <a:pt x="199" y="263"/>
                </a:lnTo>
                <a:lnTo>
                  <a:pt x="197" y="288"/>
                </a:lnTo>
                <a:lnTo>
                  <a:pt x="204" y="297"/>
                </a:lnTo>
                <a:lnTo>
                  <a:pt x="199" y="322"/>
                </a:lnTo>
                <a:lnTo>
                  <a:pt x="188" y="334"/>
                </a:lnTo>
                <a:lnTo>
                  <a:pt x="174" y="354"/>
                </a:lnTo>
                <a:lnTo>
                  <a:pt x="168" y="370"/>
                </a:lnTo>
                <a:lnTo>
                  <a:pt x="170" y="397"/>
                </a:lnTo>
                <a:lnTo>
                  <a:pt x="183" y="415"/>
                </a:lnTo>
                <a:lnTo>
                  <a:pt x="174" y="425"/>
                </a:lnTo>
                <a:lnTo>
                  <a:pt x="143" y="436"/>
                </a:lnTo>
                <a:lnTo>
                  <a:pt x="131" y="447"/>
                </a:lnTo>
                <a:lnTo>
                  <a:pt x="129" y="461"/>
                </a:lnTo>
                <a:lnTo>
                  <a:pt x="129" y="486"/>
                </a:lnTo>
                <a:lnTo>
                  <a:pt x="93" y="486"/>
                </a:lnTo>
                <a:lnTo>
                  <a:pt x="68" y="491"/>
                </a:lnTo>
                <a:lnTo>
                  <a:pt x="38" y="456"/>
                </a:lnTo>
                <a:lnTo>
                  <a:pt x="22" y="456"/>
                </a:lnTo>
                <a:lnTo>
                  <a:pt x="9" y="456"/>
                </a:lnTo>
                <a:lnTo>
                  <a:pt x="0" y="445"/>
                </a:lnTo>
                <a:lnTo>
                  <a:pt x="9" y="431"/>
                </a:lnTo>
                <a:lnTo>
                  <a:pt x="24" y="406"/>
                </a:lnTo>
                <a:lnTo>
                  <a:pt x="34" y="381"/>
                </a:lnTo>
                <a:lnTo>
                  <a:pt x="54" y="354"/>
                </a:lnTo>
                <a:lnTo>
                  <a:pt x="59" y="336"/>
                </a:lnTo>
                <a:lnTo>
                  <a:pt x="49" y="325"/>
                </a:lnTo>
                <a:lnTo>
                  <a:pt x="38" y="311"/>
                </a:lnTo>
                <a:lnTo>
                  <a:pt x="34" y="304"/>
                </a:lnTo>
                <a:lnTo>
                  <a:pt x="49" y="300"/>
                </a:lnTo>
                <a:lnTo>
                  <a:pt x="59" y="284"/>
                </a:lnTo>
                <a:lnTo>
                  <a:pt x="43" y="279"/>
                </a:lnTo>
                <a:lnTo>
                  <a:pt x="24" y="288"/>
                </a:lnTo>
                <a:lnTo>
                  <a:pt x="24" y="265"/>
                </a:lnTo>
                <a:lnTo>
                  <a:pt x="34" y="254"/>
                </a:lnTo>
                <a:lnTo>
                  <a:pt x="43" y="240"/>
                </a:lnTo>
                <a:lnTo>
                  <a:pt x="47" y="225"/>
                </a:lnTo>
                <a:lnTo>
                  <a:pt x="49" y="213"/>
                </a:lnTo>
                <a:lnTo>
                  <a:pt x="59" y="209"/>
                </a:lnTo>
                <a:lnTo>
                  <a:pt x="70" y="218"/>
                </a:lnTo>
                <a:lnTo>
                  <a:pt x="93" y="188"/>
                </a:lnTo>
                <a:lnTo>
                  <a:pt x="104" y="168"/>
                </a:lnTo>
                <a:lnTo>
                  <a:pt x="138" y="129"/>
                </a:lnTo>
                <a:lnTo>
                  <a:pt x="138" y="113"/>
                </a:lnTo>
                <a:lnTo>
                  <a:pt x="154" y="88"/>
                </a:lnTo>
                <a:lnTo>
                  <a:pt x="159" y="59"/>
                </a:lnTo>
                <a:lnTo>
                  <a:pt x="165" y="43"/>
                </a:lnTo>
                <a:lnTo>
                  <a:pt x="174" y="4"/>
                </a:lnTo>
              </a:path>
            </a:pathLst>
          </a:custGeom>
          <a:solidFill>
            <a:schemeClr val="accent3"/>
          </a:solidFill>
          <a:ln w="12700" cap="rnd">
            <a:solidFill>
              <a:schemeClr val="bg1"/>
            </a:solidFill>
            <a:round/>
            <a:headEnd/>
            <a:tailEnd/>
          </a:ln>
        </p:spPr>
        <p:txBody>
          <a:bodyPr/>
          <a:lstStyle/>
          <a:p>
            <a:pPr>
              <a:defRPr/>
            </a:pPr>
            <a:endParaRPr lang="en-GB"/>
          </a:p>
        </p:txBody>
      </p:sp>
      <p:sp>
        <p:nvSpPr>
          <p:cNvPr id="6" name="Freeform 5"/>
          <p:cNvSpPr>
            <a:spLocks/>
          </p:cNvSpPr>
          <p:nvPr/>
        </p:nvSpPr>
        <p:spPr bwMode="auto">
          <a:xfrm>
            <a:off x="2797087" y="4422715"/>
            <a:ext cx="1063246" cy="939285"/>
          </a:xfrm>
          <a:custGeom>
            <a:avLst/>
            <a:gdLst>
              <a:gd name="T0" fmla="*/ 32 w 911"/>
              <a:gd name="T1" fmla="*/ 86 h 805"/>
              <a:gd name="T2" fmla="*/ 58 w 911"/>
              <a:gd name="T3" fmla="*/ 52 h 805"/>
              <a:gd name="T4" fmla="*/ 51 w 911"/>
              <a:gd name="T5" fmla="*/ 39 h 805"/>
              <a:gd name="T6" fmla="*/ 42 w 911"/>
              <a:gd name="T7" fmla="*/ 27 h 805"/>
              <a:gd name="T8" fmla="*/ 82 w 911"/>
              <a:gd name="T9" fmla="*/ 12 h 805"/>
              <a:gd name="T10" fmla="*/ 111 w 911"/>
              <a:gd name="T11" fmla="*/ 7 h 805"/>
              <a:gd name="T12" fmla="*/ 144 w 911"/>
              <a:gd name="T13" fmla="*/ 4 h 805"/>
              <a:gd name="T14" fmla="*/ 206 w 911"/>
              <a:gd name="T15" fmla="*/ 37 h 805"/>
              <a:gd name="T16" fmla="*/ 247 w 911"/>
              <a:gd name="T17" fmla="*/ 39 h 805"/>
              <a:gd name="T18" fmla="*/ 366 w 911"/>
              <a:gd name="T19" fmla="*/ 80 h 805"/>
              <a:gd name="T20" fmla="*/ 418 w 911"/>
              <a:gd name="T21" fmla="*/ 87 h 805"/>
              <a:gd name="T22" fmla="*/ 453 w 911"/>
              <a:gd name="T23" fmla="*/ 108 h 805"/>
              <a:gd name="T24" fmla="*/ 486 w 911"/>
              <a:gd name="T25" fmla="*/ 111 h 805"/>
              <a:gd name="T26" fmla="*/ 486 w 911"/>
              <a:gd name="T27" fmla="*/ 123 h 805"/>
              <a:gd name="T28" fmla="*/ 543 w 911"/>
              <a:gd name="T29" fmla="*/ 161 h 805"/>
              <a:gd name="T30" fmla="*/ 586 w 911"/>
              <a:gd name="T31" fmla="*/ 175 h 805"/>
              <a:gd name="T32" fmla="*/ 654 w 911"/>
              <a:gd name="T33" fmla="*/ 188 h 805"/>
              <a:gd name="T34" fmla="*/ 668 w 911"/>
              <a:gd name="T35" fmla="*/ 206 h 805"/>
              <a:gd name="T36" fmla="*/ 694 w 911"/>
              <a:gd name="T37" fmla="*/ 214 h 805"/>
              <a:gd name="T38" fmla="*/ 722 w 911"/>
              <a:gd name="T39" fmla="*/ 214 h 805"/>
              <a:gd name="T40" fmla="*/ 740 w 911"/>
              <a:gd name="T41" fmla="*/ 214 h 805"/>
              <a:gd name="T42" fmla="*/ 746 w 911"/>
              <a:gd name="T43" fmla="*/ 237 h 805"/>
              <a:gd name="T44" fmla="*/ 681 w 911"/>
              <a:gd name="T45" fmla="*/ 272 h 805"/>
              <a:gd name="T46" fmla="*/ 589 w 911"/>
              <a:gd name="T47" fmla="*/ 286 h 805"/>
              <a:gd name="T48" fmla="*/ 565 w 911"/>
              <a:gd name="T49" fmla="*/ 304 h 805"/>
              <a:gd name="T50" fmla="*/ 539 w 911"/>
              <a:gd name="T51" fmla="*/ 310 h 805"/>
              <a:gd name="T52" fmla="*/ 511 w 911"/>
              <a:gd name="T53" fmla="*/ 332 h 805"/>
              <a:gd name="T54" fmla="*/ 479 w 911"/>
              <a:gd name="T55" fmla="*/ 348 h 805"/>
              <a:gd name="T56" fmla="*/ 491 w 911"/>
              <a:gd name="T57" fmla="*/ 374 h 805"/>
              <a:gd name="T58" fmla="*/ 494 w 911"/>
              <a:gd name="T59" fmla="*/ 394 h 805"/>
              <a:gd name="T60" fmla="*/ 478 w 911"/>
              <a:gd name="T61" fmla="*/ 402 h 805"/>
              <a:gd name="T62" fmla="*/ 429 w 911"/>
              <a:gd name="T63" fmla="*/ 432 h 805"/>
              <a:gd name="T64" fmla="*/ 412 w 911"/>
              <a:gd name="T65" fmla="*/ 444 h 805"/>
              <a:gd name="T66" fmla="*/ 383 w 911"/>
              <a:gd name="T67" fmla="*/ 451 h 805"/>
              <a:gd name="T68" fmla="*/ 349 w 911"/>
              <a:gd name="T69" fmla="*/ 457 h 805"/>
              <a:gd name="T70" fmla="*/ 333 w 911"/>
              <a:gd name="T71" fmla="*/ 472 h 805"/>
              <a:gd name="T72" fmla="*/ 306 w 911"/>
              <a:gd name="T73" fmla="*/ 476 h 805"/>
              <a:gd name="T74" fmla="*/ 252 w 911"/>
              <a:gd name="T75" fmla="*/ 472 h 805"/>
              <a:gd name="T76" fmla="*/ 166 w 911"/>
              <a:gd name="T77" fmla="*/ 451 h 805"/>
              <a:gd name="T78" fmla="*/ 127 w 911"/>
              <a:gd name="T79" fmla="*/ 464 h 805"/>
              <a:gd name="T80" fmla="*/ 87 w 911"/>
              <a:gd name="T81" fmla="*/ 474 h 805"/>
              <a:gd name="T82" fmla="*/ 42 w 911"/>
              <a:gd name="T83" fmla="*/ 450 h 805"/>
              <a:gd name="T84" fmla="*/ 25 w 911"/>
              <a:gd name="T85" fmla="*/ 392 h 805"/>
              <a:gd name="T86" fmla="*/ 0 w 911"/>
              <a:gd name="T87" fmla="*/ 372 h 805"/>
              <a:gd name="T88" fmla="*/ 10 w 911"/>
              <a:gd name="T89" fmla="*/ 350 h 805"/>
              <a:gd name="T90" fmla="*/ 45 w 911"/>
              <a:gd name="T91" fmla="*/ 337 h 805"/>
              <a:gd name="T92" fmla="*/ 29 w 911"/>
              <a:gd name="T93" fmla="*/ 310 h 805"/>
              <a:gd name="T94" fmla="*/ 62 w 911"/>
              <a:gd name="T95" fmla="*/ 281 h 805"/>
              <a:gd name="T96" fmla="*/ 53 w 911"/>
              <a:gd name="T97" fmla="*/ 259 h 805"/>
              <a:gd name="T98" fmla="*/ 65 w 911"/>
              <a:gd name="T99" fmla="*/ 239 h 805"/>
              <a:gd name="T100" fmla="*/ 82 w 911"/>
              <a:gd name="T101" fmla="*/ 247 h 805"/>
              <a:gd name="T102" fmla="*/ 95 w 911"/>
              <a:gd name="T103" fmla="*/ 209 h 805"/>
              <a:gd name="T104" fmla="*/ 123 w 911"/>
              <a:gd name="T105" fmla="*/ 182 h 805"/>
              <a:gd name="T106" fmla="*/ 149 w 911"/>
              <a:gd name="T107" fmla="*/ 163 h 805"/>
              <a:gd name="T108" fmla="*/ 178 w 911"/>
              <a:gd name="T109" fmla="*/ 155 h 805"/>
              <a:gd name="T110" fmla="*/ 147 w 911"/>
              <a:gd name="T111" fmla="*/ 123 h 805"/>
              <a:gd name="T112" fmla="*/ 119 w 911"/>
              <a:gd name="T113" fmla="*/ 125 h 805"/>
              <a:gd name="T114" fmla="*/ 85 w 911"/>
              <a:gd name="T115" fmla="*/ 116 h 805"/>
              <a:gd name="T116" fmla="*/ 72 w 911"/>
              <a:gd name="T117" fmla="*/ 113 h 805"/>
              <a:gd name="T118" fmla="*/ 62 w 911"/>
              <a:gd name="T119" fmla="*/ 92 h 805"/>
              <a:gd name="T120" fmla="*/ 37 w 911"/>
              <a:gd name="T121" fmla="*/ 92 h 80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1"/>
              <a:gd name="T184" fmla="*/ 0 h 805"/>
              <a:gd name="T185" fmla="*/ 911 w 911"/>
              <a:gd name="T186" fmla="*/ 805 h 80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1" h="805">
                <a:moveTo>
                  <a:pt x="45" y="156"/>
                </a:moveTo>
                <a:lnTo>
                  <a:pt x="40" y="145"/>
                </a:lnTo>
                <a:lnTo>
                  <a:pt x="45" y="129"/>
                </a:lnTo>
                <a:lnTo>
                  <a:pt x="70" y="86"/>
                </a:lnTo>
                <a:lnTo>
                  <a:pt x="59" y="77"/>
                </a:lnTo>
                <a:lnTo>
                  <a:pt x="63" y="65"/>
                </a:lnTo>
                <a:lnTo>
                  <a:pt x="50" y="63"/>
                </a:lnTo>
                <a:lnTo>
                  <a:pt x="50" y="45"/>
                </a:lnTo>
                <a:lnTo>
                  <a:pt x="59" y="34"/>
                </a:lnTo>
                <a:lnTo>
                  <a:pt x="100" y="20"/>
                </a:lnTo>
                <a:lnTo>
                  <a:pt x="134" y="24"/>
                </a:lnTo>
                <a:lnTo>
                  <a:pt x="136" y="11"/>
                </a:lnTo>
                <a:lnTo>
                  <a:pt x="161" y="0"/>
                </a:lnTo>
                <a:lnTo>
                  <a:pt x="175" y="4"/>
                </a:lnTo>
                <a:lnTo>
                  <a:pt x="202" y="40"/>
                </a:lnTo>
                <a:lnTo>
                  <a:pt x="250" y="63"/>
                </a:lnTo>
                <a:lnTo>
                  <a:pt x="291" y="63"/>
                </a:lnTo>
                <a:lnTo>
                  <a:pt x="302" y="65"/>
                </a:lnTo>
                <a:lnTo>
                  <a:pt x="416" y="129"/>
                </a:lnTo>
                <a:lnTo>
                  <a:pt x="448" y="134"/>
                </a:lnTo>
                <a:lnTo>
                  <a:pt x="473" y="156"/>
                </a:lnTo>
                <a:lnTo>
                  <a:pt x="509" y="147"/>
                </a:lnTo>
                <a:lnTo>
                  <a:pt x="532" y="161"/>
                </a:lnTo>
                <a:lnTo>
                  <a:pt x="552" y="181"/>
                </a:lnTo>
                <a:lnTo>
                  <a:pt x="577" y="181"/>
                </a:lnTo>
                <a:lnTo>
                  <a:pt x="593" y="186"/>
                </a:lnTo>
                <a:lnTo>
                  <a:pt x="602" y="195"/>
                </a:lnTo>
                <a:lnTo>
                  <a:pt x="593" y="206"/>
                </a:lnTo>
                <a:lnTo>
                  <a:pt x="593" y="222"/>
                </a:lnTo>
                <a:lnTo>
                  <a:pt x="662" y="270"/>
                </a:lnTo>
                <a:lnTo>
                  <a:pt x="698" y="299"/>
                </a:lnTo>
                <a:lnTo>
                  <a:pt x="714" y="295"/>
                </a:lnTo>
                <a:lnTo>
                  <a:pt x="734" y="290"/>
                </a:lnTo>
                <a:lnTo>
                  <a:pt x="798" y="317"/>
                </a:lnTo>
                <a:lnTo>
                  <a:pt x="805" y="340"/>
                </a:lnTo>
                <a:lnTo>
                  <a:pt x="814" y="347"/>
                </a:lnTo>
                <a:lnTo>
                  <a:pt x="834" y="352"/>
                </a:lnTo>
                <a:lnTo>
                  <a:pt x="846" y="361"/>
                </a:lnTo>
                <a:lnTo>
                  <a:pt x="864" y="361"/>
                </a:lnTo>
                <a:lnTo>
                  <a:pt x="880" y="361"/>
                </a:lnTo>
                <a:lnTo>
                  <a:pt x="898" y="365"/>
                </a:lnTo>
                <a:lnTo>
                  <a:pt x="903" y="361"/>
                </a:lnTo>
                <a:lnTo>
                  <a:pt x="910" y="377"/>
                </a:lnTo>
                <a:lnTo>
                  <a:pt x="910" y="397"/>
                </a:lnTo>
                <a:lnTo>
                  <a:pt x="898" y="411"/>
                </a:lnTo>
                <a:lnTo>
                  <a:pt x="830" y="458"/>
                </a:lnTo>
                <a:lnTo>
                  <a:pt x="803" y="458"/>
                </a:lnTo>
                <a:lnTo>
                  <a:pt x="718" y="481"/>
                </a:lnTo>
                <a:lnTo>
                  <a:pt x="689" y="486"/>
                </a:lnTo>
                <a:lnTo>
                  <a:pt x="689" y="511"/>
                </a:lnTo>
                <a:lnTo>
                  <a:pt x="673" y="511"/>
                </a:lnTo>
                <a:lnTo>
                  <a:pt x="657" y="522"/>
                </a:lnTo>
                <a:lnTo>
                  <a:pt x="639" y="542"/>
                </a:lnTo>
                <a:lnTo>
                  <a:pt x="623" y="558"/>
                </a:lnTo>
                <a:lnTo>
                  <a:pt x="602" y="563"/>
                </a:lnTo>
                <a:lnTo>
                  <a:pt x="584" y="585"/>
                </a:lnTo>
                <a:lnTo>
                  <a:pt x="584" y="613"/>
                </a:lnTo>
                <a:lnTo>
                  <a:pt x="598" y="629"/>
                </a:lnTo>
                <a:lnTo>
                  <a:pt x="602" y="642"/>
                </a:lnTo>
                <a:lnTo>
                  <a:pt x="602" y="663"/>
                </a:lnTo>
                <a:lnTo>
                  <a:pt x="598" y="672"/>
                </a:lnTo>
                <a:lnTo>
                  <a:pt x="582" y="676"/>
                </a:lnTo>
                <a:lnTo>
                  <a:pt x="557" y="697"/>
                </a:lnTo>
                <a:lnTo>
                  <a:pt x="523" y="726"/>
                </a:lnTo>
                <a:lnTo>
                  <a:pt x="509" y="738"/>
                </a:lnTo>
                <a:lnTo>
                  <a:pt x="502" y="747"/>
                </a:lnTo>
                <a:lnTo>
                  <a:pt x="502" y="758"/>
                </a:lnTo>
                <a:lnTo>
                  <a:pt x="466" y="758"/>
                </a:lnTo>
                <a:lnTo>
                  <a:pt x="443" y="763"/>
                </a:lnTo>
                <a:lnTo>
                  <a:pt x="427" y="767"/>
                </a:lnTo>
                <a:lnTo>
                  <a:pt x="420" y="774"/>
                </a:lnTo>
                <a:lnTo>
                  <a:pt x="407" y="792"/>
                </a:lnTo>
                <a:lnTo>
                  <a:pt x="386" y="799"/>
                </a:lnTo>
                <a:lnTo>
                  <a:pt x="373" y="799"/>
                </a:lnTo>
                <a:lnTo>
                  <a:pt x="348" y="797"/>
                </a:lnTo>
                <a:lnTo>
                  <a:pt x="307" y="792"/>
                </a:lnTo>
                <a:lnTo>
                  <a:pt x="232" y="763"/>
                </a:lnTo>
                <a:lnTo>
                  <a:pt x="202" y="758"/>
                </a:lnTo>
                <a:lnTo>
                  <a:pt x="175" y="767"/>
                </a:lnTo>
                <a:lnTo>
                  <a:pt x="154" y="779"/>
                </a:lnTo>
                <a:lnTo>
                  <a:pt x="129" y="783"/>
                </a:lnTo>
                <a:lnTo>
                  <a:pt x="106" y="797"/>
                </a:lnTo>
                <a:lnTo>
                  <a:pt x="95" y="804"/>
                </a:lnTo>
                <a:lnTo>
                  <a:pt x="50" y="756"/>
                </a:lnTo>
                <a:lnTo>
                  <a:pt x="50" y="683"/>
                </a:lnTo>
                <a:lnTo>
                  <a:pt x="29" y="658"/>
                </a:lnTo>
                <a:lnTo>
                  <a:pt x="4" y="638"/>
                </a:lnTo>
                <a:lnTo>
                  <a:pt x="0" y="626"/>
                </a:lnTo>
                <a:lnTo>
                  <a:pt x="0" y="601"/>
                </a:lnTo>
                <a:lnTo>
                  <a:pt x="13" y="588"/>
                </a:lnTo>
                <a:lnTo>
                  <a:pt x="45" y="576"/>
                </a:lnTo>
                <a:lnTo>
                  <a:pt x="54" y="567"/>
                </a:lnTo>
                <a:lnTo>
                  <a:pt x="40" y="551"/>
                </a:lnTo>
                <a:lnTo>
                  <a:pt x="36" y="522"/>
                </a:lnTo>
                <a:lnTo>
                  <a:pt x="50" y="497"/>
                </a:lnTo>
                <a:lnTo>
                  <a:pt x="75" y="472"/>
                </a:lnTo>
                <a:lnTo>
                  <a:pt x="75" y="451"/>
                </a:lnTo>
                <a:lnTo>
                  <a:pt x="65" y="436"/>
                </a:lnTo>
                <a:lnTo>
                  <a:pt x="75" y="406"/>
                </a:lnTo>
                <a:lnTo>
                  <a:pt x="79" y="402"/>
                </a:lnTo>
                <a:lnTo>
                  <a:pt x="91" y="402"/>
                </a:lnTo>
                <a:lnTo>
                  <a:pt x="100" y="415"/>
                </a:lnTo>
                <a:lnTo>
                  <a:pt x="111" y="397"/>
                </a:lnTo>
                <a:lnTo>
                  <a:pt x="116" y="352"/>
                </a:lnTo>
                <a:lnTo>
                  <a:pt x="150" y="322"/>
                </a:lnTo>
                <a:lnTo>
                  <a:pt x="150" y="306"/>
                </a:lnTo>
                <a:lnTo>
                  <a:pt x="150" y="295"/>
                </a:lnTo>
                <a:lnTo>
                  <a:pt x="182" y="274"/>
                </a:lnTo>
                <a:lnTo>
                  <a:pt x="207" y="270"/>
                </a:lnTo>
                <a:lnTo>
                  <a:pt x="216" y="261"/>
                </a:lnTo>
                <a:lnTo>
                  <a:pt x="195" y="240"/>
                </a:lnTo>
                <a:lnTo>
                  <a:pt x="179" y="206"/>
                </a:lnTo>
                <a:lnTo>
                  <a:pt x="170" y="199"/>
                </a:lnTo>
                <a:lnTo>
                  <a:pt x="145" y="211"/>
                </a:lnTo>
                <a:lnTo>
                  <a:pt x="129" y="204"/>
                </a:lnTo>
                <a:lnTo>
                  <a:pt x="104" y="195"/>
                </a:lnTo>
                <a:lnTo>
                  <a:pt x="95" y="199"/>
                </a:lnTo>
                <a:lnTo>
                  <a:pt x="88" y="190"/>
                </a:lnTo>
                <a:lnTo>
                  <a:pt x="88" y="174"/>
                </a:lnTo>
                <a:lnTo>
                  <a:pt x="75" y="156"/>
                </a:lnTo>
                <a:lnTo>
                  <a:pt x="65" y="152"/>
                </a:lnTo>
                <a:lnTo>
                  <a:pt x="45" y="156"/>
                </a:lnTo>
              </a:path>
            </a:pathLst>
          </a:custGeom>
          <a:solidFill>
            <a:schemeClr val="accent3"/>
          </a:solidFill>
          <a:ln w="12700" cap="rnd">
            <a:solidFill>
              <a:schemeClr val="bg1"/>
            </a:solidFill>
            <a:round/>
            <a:headEnd/>
            <a:tailEnd/>
          </a:ln>
        </p:spPr>
        <p:txBody>
          <a:bodyPr/>
          <a:lstStyle/>
          <a:p>
            <a:pPr>
              <a:defRPr/>
            </a:pPr>
            <a:endParaRPr lang="en-GB"/>
          </a:p>
        </p:txBody>
      </p:sp>
      <p:sp>
        <p:nvSpPr>
          <p:cNvPr id="7" name="Freeform 6"/>
          <p:cNvSpPr>
            <a:spLocks/>
          </p:cNvSpPr>
          <p:nvPr/>
        </p:nvSpPr>
        <p:spPr bwMode="auto">
          <a:xfrm>
            <a:off x="3606479" y="5202574"/>
            <a:ext cx="42922" cy="43842"/>
          </a:xfrm>
          <a:custGeom>
            <a:avLst/>
            <a:gdLst>
              <a:gd name="T0" fmla="*/ 31 w 36"/>
              <a:gd name="T1" fmla="*/ 0 h 38"/>
              <a:gd name="T2" fmla="*/ 18 w 36"/>
              <a:gd name="T3" fmla="*/ 0 h 38"/>
              <a:gd name="T4" fmla="*/ 0 w 36"/>
              <a:gd name="T5" fmla="*/ 13 h 38"/>
              <a:gd name="T6" fmla="*/ 9 w 36"/>
              <a:gd name="T7" fmla="*/ 21 h 38"/>
              <a:gd name="T8" fmla="*/ 21 w 36"/>
              <a:gd name="T9" fmla="*/ 21 h 38"/>
              <a:gd name="T10" fmla="*/ 31 w 36"/>
              <a:gd name="T11" fmla="*/ 0 h 38"/>
              <a:gd name="T12" fmla="*/ 0 60000 65536"/>
              <a:gd name="T13" fmla="*/ 0 60000 65536"/>
              <a:gd name="T14" fmla="*/ 0 60000 65536"/>
              <a:gd name="T15" fmla="*/ 0 60000 65536"/>
              <a:gd name="T16" fmla="*/ 0 60000 65536"/>
              <a:gd name="T17" fmla="*/ 0 60000 65536"/>
              <a:gd name="T18" fmla="*/ 0 w 36"/>
              <a:gd name="T19" fmla="*/ 0 h 38"/>
              <a:gd name="T20" fmla="*/ 36 w 36"/>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36" h="38">
                <a:moveTo>
                  <a:pt x="35" y="0"/>
                </a:moveTo>
                <a:lnTo>
                  <a:pt x="18" y="0"/>
                </a:lnTo>
                <a:lnTo>
                  <a:pt x="0" y="23"/>
                </a:lnTo>
                <a:lnTo>
                  <a:pt x="9" y="37"/>
                </a:lnTo>
                <a:lnTo>
                  <a:pt x="25" y="37"/>
                </a:lnTo>
                <a:lnTo>
                  <a:pt x="35" y="0"/>
                </a:lnTo>
              </a:path>
            </a:pathLst>
          </a:custGeom>
          <a:solidFill>
            <a:schemeClr val="accent3"/>
          </a:solidFill>
          <a:ln w="12700" cap="rnd">
            <a:solidFill>
              <a:schemeClr val="bg1"/>
            </a:solidFill>
            <a:round/>
            <a:headEnd/>
            <a:tailEnd/>
          </a:ln>
        </p:spPr>
        <p:txBody>
          <a:bodyPr/>
          <a:lstStyle/>
          <a:p>
            <a:pPr>
              <a:defRPr/>
            </a:pPr>
            <a:endParaRPr lang="en-GB"/>
          </a:p>
        </p:txBody>
      </p:sp>
      <p:sp>
        <p:nvSpPr>
          <p:cNvPr id="8" name="Freeform 7"/>
          <p:cNvSpPr>
            <a:spLocks/>
          </p:cNvSpPr>
          <p:nvPr/>
        </p:nvSpPr>
        <p:spPr bwMode="auto">
          <a:xfrm>
            <a:off x="3721756" y="5130832"/>
            <a:ext cx="94429" cy="73070"/>
          </a:xfrm>
          <a:custGeom>
            <a:avLst/>
            <a:gdLst>
              <a:gd name="T0" fmla="*/ 50 w 80"/>
              <a:gd name="T1" fmla="*/ 0 h 62"/>
              <a:gd name="T2" fmla="*/ 41 w 80"/>
              <a:gd name="T3" fmla="*/ 4 h 62"/>
              <a:gd name="T4" fmla="*/ 14 w 80"/>
              <a:gd name="T5" fmla="*/ 7 h 62"/>
              <a:gd name="T6" fmla="*/ 0 w 80"/>
              <a:gd name="T7" fmla="*/ 20 h 62"/>
              <a:gd name="T8" fmla="*/ 20 w 80"/>
              <a:gd name="T9" fmla="*/ 30 h 62"/>
              <a:gd name="T10" fmla="*/ 34 w 80"/>
              <a:gd name="T11" fmla="*/ 38 h 62"/>
              <a:gd name="T12" fmla="*/ 55 w 80"/>
              <a:gd name="T13" fmla="*/ 35 h 62"/>
              <a:gd name="T14" fmla="*/ 67 w 80"/>
              <a:gd name="T15" fmla="*/ 30 h 62"/>
              <a:gd name="T16" fmla="*/ 63 w 80"/>
              <a:gd name="T17" fmla="*/ 20 h 62"/>
              <a:gd name="T18" fmla="*/ 55 w 80"/>
              <a:gd name="T19" fmla="*/ 12 h 62"/>
              <a:gd name="T20" fmla="*/ 50 w 80"/>
              <a:gd name="T21" fmla="*/ 0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0"/>
              <a:gd name="T34" fmla="*/ 0 h 62"/>
              <a:gd name="T35" fmla="*/ 80 w 80"/>
              <a:gd name="T36" fmla="*/ 62 h 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0" h="62">
                <a:moveTo>
                  <a:pt x="58" y="0"/>
                </a:moveTo>
                <a:lnTo>
                  <a:pt x="49" y="6"/>
                </a:lnTo>
                <a:lnTo>
                  <a:pt x="18" y="11"/>
                </a:lnTo>
                <a:lnTo>
                  <a:pt x="0" y="31"/>
                </a:lnTo>
                <a:lnTo>
                  <a:pt x="24" y="49"/>
                </a:lnTo>
                <a:lnTo>
                  <a:pt x="38" y="61"/>
                </a:lnTo>
                <a:lnTo>
                  <a:pt x="63" y="56"/>
                </a:lnTo>
                <a:lnTo>
                  <a:pt x="79" y="49"/>
                </a:lnTo>
                <a:lnTo>
                  <a:pt x="74" y="31"/>
                </a:lnTo>
                <a:lnTo>
                  <a:pt x="63" y="20"/>
                </a:lnTo>
                <a:lnTo>
                  <a:pt x="58" y="0"/>
                </a:lnTo>
              </a:path>
            </a:pathLst>
          </a:custGeom>
          <a:solidFill>
            <a:schemeClr val="accent3"/>
          </a:solidFill>
          <a:ln w="12700" cap="rnd">
            <a:solidFill>
              <a:schemeClr val="bg1"/>
            </a:solidFill>
            <a:round/>
            <a:headEnd/>
            <a:tailEnd/>
          </a:ln>
        </p:spPr>
        <p:txBody>
          <a:bodyPr/>
          <a:lstStyle/>
          <a:p>
            <a:pPr>
              <a:defRPr/>
            </a:pPr>
            <a:endParaRPr lang="en-GB"/>
          </a:p>
        </p:txBody>
      </p:sp>
      <p:sp>
        <p:nvSpPr>
          <p:cNvPr id="9" name="Freeform 8"/>
          <p:cNvSpPr>
            <a:spLocks/>
          </p:cNvSpPr>
          <p:nvPr/>
        </p:nvSpPr>
        <p:spPr bwMode="auto">
          <a:xfrm>
            <a:off x="3867691" y="5134818"/>
            <a:ext cx="45375" cy="42514"/>
          </a:xfrm>
          <a:custGeom>
            <a:avLst/>
            <a:gdLst>
              <a:gd name="T0" fmla="*/ 19 w 38"/>
              <a:gd name="T1" fmla="*/ 0 h 37"/>
              <a:gd name="T2" fmla="*/ 0 w 38"/>
              <a:gd name="T3" fmla="*/ 5 h 37"/>
              <a:gd name="T4" fmla="*/ 19 w 38"/>
              <a:gd name="T5" fmla="*/ 12 h 37"/>
              <a:gd name="T6" fmla="*/ 33 w 38"/>
              <a:gd name="T7" fmla="*/ 20 h 37"/>
              <a:gd name="T8" fmla="*/ 19 w 38"/>
              <a:gd name="T9" fmla="*/ 0 h 37"/>
              <a:gd name="T10" fmla="*/ 0 60000 65536"/>
              <a:gd name="T11" fmla="*/ 0 60000 65536"/>
              <a:gd name="T12" fmla="*/ 0 60000 65536"/>
              <a:gd name="T13" fmla="*/ 0 60000 65536"/>
              <a:gd name="T14" fmla="*/ 0 60000 65536"/>
              <a:gd name="T15" fmla="*/ 0 w 38"/>
              <a:gd name="T16" fmla="*/ 0 h 37"/>
              <a:gd name="T17" fmla="*/ 38 w 38"/>
              <a:gd name="T18" fmla="*/ 37 h 37"/>
            </a:gdLst>
            <a:ahLst/>
            <a:cxnLst>
              <a:cxn ang="T10">
                <a:pos x="T0" y="T1"/>
              </a:cxn>
              <a:cxn ang="T11">
                <a:pos x="T2" y="T3"/>
              </a:cxn>
              <a:cxn ang="T12">
                <a:pos x="T4" y="T5"/>
              </a:cxn>
              <a:cxn ang="T13">
                <a:pos x="T6" y="T7"/>
              </a:cxn>
              <a:cxn ang="T14">
                <a:pos x="T8" y="T9"/>
              </a:cxn>
            </a:cxnLst>
            <a:rect l="T15" t="T16" r="T17" b="T18"/>
            <a:pathLst>
              <a:path w="38" h="37">
                <a:moveTo>
                  <a:pt x="23" y="0"/>
                </a:moveTo>
                <a:lnTo>
                  <a:pt x="0" y="9"/>
                </a:lnTo>
                <a:lnTo>
                  <a:pt x="20" y="21"/>
                </a:lnTo>
                <a:lnTo>
                  <a:pt x="37" y="36"/>
                </a:lnTo>
                <a:lnTo>
                  <a:pt x="23" y="0"/>
                </a:lnTo>
              </a:path>
            </a:pathLst>
          </a:custGeom>
          <a:solidFill>
            <a:schemeClr val="accent3"/>
          </a:solidFill>
          <a:ln w="12700" cap="rnd">
            <a:solidFill>
              <a:schemeClr val="bg1"/>
            </a:solidFill>
            <a:round/>
            <a:headEnd/>
            <a:tailEnd/>
          </a:ln>
        </p:spPr>
        <p:txBody>
          <a:bodyPr/>
          <a:lstStyle/>
          <a:p>
            <a:pPr>
              <a:defRPr/>
            </a:pPr>
            <a:endParaRPr lang="en-GB"/>
          </a:p>
        </p:txBody>
      </p:sp>
      <p:sp>
        <p:nvSpPr>
          <p:cNvPr id="10" name="Freeform 9"/>
          <p:cNvSpPr>
            <a:spLocks/>
          </p:cNvSpPr>
          <p:nvPr/>
        </p:nvSpPr>
        <p:spPr bwMode="auto">
          <a:xfrm>
            <a:off x="4251539" y="5096290"/>
            <a:ext cx="158199" cy="253753"/>
          </a:xfrm>
          <a:custGeom>
            <a:avLst/>
            <a:gdLst>
              <a:gd name="T0" fmla="*/ 65 w 136"/>
              <a:gd name="T1" fmla="*/ 0 h 217"/>
              <a:gd name="T2" fmla="*/ 47 w 136"/>
              <a:gd name="T3" fmla="*/ 7 h 217"/>
              <a:gd name="T4" fmla="*/ 35 w 136"/>
              <a:gd name="T5" fmla="*/ 15 h 217"/>
              <a:gd name="T6" fmla="*/ 21 w 136"/>
              <a:gd name="T7" fmla="*/ 18 h 217"/>
              <a:gd name="T8" fmla="*/ 0 w 136"/>
              <a:gd name="T9" fmla="*/ 15 h 217"/>
              <a:gd name="T10" fmla="*/ 4 w 136"/>
              <a:gd name="T11" fmla="*/ 30 h 217"/>
              <a:gd name="T12" fmla="*/ 14 w 136"/>
              <a:gd name="T13" fmla="*/ 39 h 217"/>
              <a:gd name="T14" fmla="*/ 9 w 136"/>
              <a:gd name="T15" fmla="*/ 63 h 217"/>
              <a:gd name="T16" fmla="*/ 9 w 136"/>
              <a:gd name="T17" fmla="*/ 77 h 217"/>
              <a:gd name="T18" fmla="*/ 14 w 136"/>
              <a:gd name="T19" fmla="*/ 87 h 217"/>
              <a:gd name="T20" fmla="*/ 4 w 136"/>
              <a:gd name="T21" fmla="*/ 107 h 217"/>
              <a:gd name="T22" fmla="*/ 9 w 136"/>
              <a:gd name="T23" fmla="*/ 121 h 217"/>
              <a:gd name="T24" fmla="*/ 21 w 136"/>
              <a:gd name="T25" fmla="*/ 129 h 217"/>
              <a:gd name="T26" fmla="*/ 41 w 136"/>
              <a:gd name="T27" fmla="*/ 118 h 217"/>
              <a:gd name="T28" fmla="*/ 47 w 136"/>
              <a:gd name="T29" fmla="*/ 116 h 217"/>
              <a:gd name="T30" fmla="*/ 68 w 136"/>
              <a:gd name="T31" fmla="*/ 118 h 217"/>
              <a:gd name="T32" fmla="*/ 81 w 136"/>
              <a:gd name="T33" fmla="*/ 108 h 217"/>
              <a:gd name="T34" fmla="*/ 81 w 136"/>
              <a:gd name="T35" fmla="*/ 99 h 217"/>
              <a:gd name="T36" fmla="*/ 98 w 136"/>
              <a:gd name="T37" fmla="*/ 78 h 217"/>
              <a:gd name="T38" fmla="*/ 105 w 136"/>
              <a:gd name="T39" fmla="*/ 67 h 217"/>
              <a:gd name="T40" fmla="*/ 98 w 136"/>
              <a:gd name="T41" fmla="*/ 55 h 217"/>
              <a:gd name="T42" fmla="*/ 109 w 136"/>
              <a:gd name="T43" fmla="*/ 39 h 217"/>
              <a:gd name="T44" fmla="*/ 101 w 136"/>
              <a:gd name="T45" fmla="*/ 18 h 217"/>
              <a:gd name="T46" fmla="*/ 98 w 136"/>
              <a:gd name="T47" fmla="*/ 4 h 217"/>
              <a:gd name="T48" fmla="*/ 65 w 136"/>
              <a:gd name="T49" fmla="*/ 0 h 2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6"/>
              <a:gd name="T76" fmla="*/ 0 h 217"/>
              <a:gd name="T77" fmla="*/ 136 w 136"/>
              <a:gd name="T78" fmla="*/ 217 h 21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6" h="217">
                <a:moveTo>
                  <a:pt x="80" y="0"/>
                </a:moveTo>
                <a:lnTo>
                  <a:pt x="59" y="11"/>
                </a:lnTo>
                <a:lnTo>
                  <a:pt x="43" y="25"/>
                </a:lnTo>
                <a:lnTo>
                  <a:pt x="25" y="29"/>
                </a:lnTo>
                <a:lnTo>
                  <a:pt x="0" y="25"/>
                </a:lnTo>
                <a:lnTo>
                  <a:pt x="4" y="50"/>
                </a:lnTo>
                <a:lnTo>
                  <a:pt x="18" y="65"/>
                </a:lnTo>
                <a:lnTo>
                  <a:pt x="13" y="106"/>
                </a:lnTo>
                <a:lnTo>
                  <a:pt x="13" y="127"/>
                </a:lnTo>
                <a:lnTo>
                  <a:pt x="18" y="145"/>
                </a:lnTo>
                <a:lnTo>
                  <a:pt x="4" y="179"/>
                </a:lnTo>
                <a:lnTo>
                  <a:pt x="9" y="202"/>
                </a:lnTo>
                <a:lnTo>
                  <a:pt x="25" y="216"/>
                </a:lnTo>
                <a:lnTo>
                  <a:pt x="50" y="197"/>
                </a:lnTo>
                <a:lnTo>
                  <a:pt x="59" y="193"/>
                </a:lnTo>
                <a:lnTo>
                  <a:pt x="84" y="197"/>
                </a:lnTo>
                <a:lnTo>
                  <a:pt x="100" y="181"/>
                </a:lnTo>
                <a:lnTo>
                  <a:pt x="100" y="165"/>
                </a:lnTo>
                <a:lnTo>
                  <a:pt x="121" y="131"/>
                </a:lnTo>
                <a:lnTo>
                  <a:pt x="130" y="111"/>
                </a:lnTo>
                <a:lnTo>
                  <a:pt x="121" y="90"/>
                </a:lnTo>
                <a:lnTo>
                  <a:pt x="135" y="65"/>
                </a:lnTo>
                <a:lnTo>
                  <a:pt x="125" y="29"/>
                </a:lnTo>
                <a:lnTo>
                  <a:pt x="121" y="6"/>
                </a:lnTo>
                <a:lnTo>
                  <a:pt x="80" y="0"/>
                </a:lnTo>
              </a:path>
            </a:pathLst>
          </a:custGeom>
          <a:solidFill>
            <a:schemeClr val="accent3"/>
          </a:solidFill>
          <a:ln w="12700" cap="rnd">
            <a:solidFill>
              <a:schemeClr val="bg1"/>
            </a:solidFill>
            <a:round/>
            <a:headEnd/>
            <a:tailEnd/>
          </a:ln>
        </p:spPr>
        <p:txBody>
          <a:bodyPr/>
          <a:lstStyle/>
          <a:p>
            <a:pPr>
              <a:defRPr/>
            </a:pPr>
            <a:endParaRPr lang="en-GB"/>
          </a:p>
        </p:txBody>
      </p:sp>
      <p:sp>
        <p:nvSpPr>
          <p:cNvPr id="11" name="Freeform 10"/>
          <p:cNvSpPr>
            <a:spLocks/>
          </p:cNvSpPr>
          <p:nvPr/>
        </p:nvSpPr>
        <p:spPr bwMode="auto">
          <a:xfrm>
            <a:off x="4605954" y="5490869"/>
            <a:ext cx="289419" cy="178026"/>
          </a:xfrm>
          <a:custGeom>
            <a:avLst/>
            <a:gdLst>
              <a:gd name="T0" fmla="*/ 198 w 246"/>
              <a:gd name="T1" fmla="*/ 0 h 153"/>
              <a:gd name="T2" fmla="*/ 207 w 246"/>
              <a:gd name="T3" fmla="*/ 7 h 153"/>
              <a:gd name="T4" fmla="*/ 201 w 246"/>
              <a:gd name="T5" fmla="*/ 14 h 153"/>
              <a:gd name="T6" fmla="*/ 193 w 246"/>
              <a:gd name="T7" fmla="*/ 26 h 153"/>
              <a:gd name="T8" fmla="*/ 182 w 246"/>
              <a:gd name="T9" fmla="*/ 33 h 153"/>
              <a:gd name="T10" fmla="*/ 185 w 246"/>
              <a:gd name="T11" fmla="*/ 56 h 153"/>
              <a:gd name="T12" fmla="*/ 193 w 246"/>
              <a:gd name="T13" fmla="*/ 72 h 153"/>
              <a:gd name="T14" fmla="*/ 175 w 246"/>
              <a:gd name="T15" fmla="*/ 80 h 153"/>
              <a:gd name="T16" fmla="*/ 172 w 246"/>
              <a:gd name="T17" fmla="*/ 87 h 153"/>
              <a:gd name="T18" fmla="*/ 156 w 246"/>
              <a:gd name="T19" fmla="*/ 89 h 153"/>
              <a:gd name="T20" fmla="*/ 135 w 246"/>
              <a:gd name="T21" fmla="*/ 74 h 153"/>
              <a:gd name="T22" fmla="*/ 122 w 246"/>
              <a:gd name="T23" fmla="*/ 74 h 153"/>
              <a:gd name="T24" fmla="*/ 110 w 246"/>
              <a:gd name="T25" fmla="*/ 62 h 153"/>
              <a:gd name="T26" fmla="*/ 89 w 246"/>
              <a:gd name="T27" fmla="*/ 56 h 153"/>
              <a:gd name="T28" fmla="*/ 76 w 246"/>
              <a:gd name="T29" fmla="*/ 53 h 153"/>
              <a:gd name="T30" fmla="*/ 61 w 246"/>
              <a:gd name="T31" fmla="*/ 47 h 153"/>
              <a:gd name="T32" fmla="*/ 46 w 246"/>
              <a:gd name="T33" fmla="*/ 40 h 153"/>
              <a:gd name="T34" fmla="*/ 21 w 246"/>
              <a:gd name="T35" fmla="*/ 29 h 153"/>
              <a:gd name="T36" fmla="*/ 12 w 246"/>
              <a:gd name="T37" fmla="*/ 26 h 153"/>
              <a:gd name="T38" fmla="*/ 0 w 246"/>
              <a:gd name="T39" fmla="*/ 18 h 153"/>
              <a:gd name="T40" fmla="*/ 0 w 246"/>
              <a:gd name="T41" fmla="*/ 9 h 153"/>
              <a:gd name="T42" fmla="*/ 4 w 246"/>
              <a:gd name="T43" fmla="*/ 4 h 153"/>
              <a:gd name="T44" fmla="*/ 25 w 246"/>
              <a:gd name="T45" fmla="*/ 4 h 153"/>
              <a:gd name="T46" fmla="*/ 57 w 246"/>
              <a:gd name="T47" fmla="*/ 4 h 153"/>
              <a:gd name="T48" fmla="*/ 65 w 246"/>
              <a:gd name="T49" fmla="*/ 12 h 153"/>
              <a:gd name="T50" fmla="*/ 101 w 246"/>
              <a:gd name="T51" fmla="*/ 12 h 153"/>
              <a:gd name="T52" fmla="*/ 125 w 246"/>
              <a:gd name="T53" fmla="*/ 12 h 153"/>
              <a:gd name="T54" fmla="*/ 156 w 246"/>
              <a:gd name="T55" fmla="*/ 7 h 153"/>
              <a:gd name="T56" fmla="*/ 198 w 246"/>
              <a:gd name="T57" fmla="*/ 0 h 15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6"/>
              <a:gd name="T88" fmla="*/ 0 h 153"/>
              <a:gd name="T89" fmla="*/ 246 w 246"/>
              <a:gd name="T90" fmla="*/ 153 h 15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6" h="153">
                <a:moveTo>
                  <a:pt x="233" y="0"/>
                </a:moveTo>
                <a:lnTo>
                  <a:pt x="245" y="11"/>
                </a:lnTo>
                <a:lnTo>
                  <a:pt x="238" y="24"/>
                </a:lnTo>
                <a:lnTo>
                  <a:pt x="228" y="45"/>
                </a:lnTo>
                <a:lnTo>
                  <a:pt x="215" y="56"/>
                </a:lnTo>
                <a:lnTo>
                  <a:pt x="219" y="95"/>
                </a:lnTo>
                <a:lnTo>
                  <a:pt x="228" y="122"/>
                </a:lnTo>
                <a:lnTo>
                  <a:pt x="206" y="136"/>
                </a:lnTo>
                <a:lnTo>
                  <a:pt x="203" y="147"/>
                </a:lnTo>
                <a:lnTo>
                  <a:pt x="185" y="152"/>
                </a:lnTo>
                <a:lnTo>
                  <a:pt x="160" y="127"/>
                </a:lnTo>
                <a:lnTo>
                  <a:pt x="144" y="127"/>
                </a:lnTo>
                <a:lnTo>
                  <a:pt x="130" y="106"/>
                </a:lnTo>
                <a:lnTo>
                  <a:pt x="105" y="95"/>
                </a:lnTo>
                <a:lnTo>
                  <a:pt x="89" y="90"/>
                </a:lnTo>
                <a:lnTo>
                  <a:pt x="73" y="81"/>
                </a:lnTo>
                <a:lnTo>
                  <a:pt x="54" y="70"/>
                </a:lnTo>
                <a:lnTo>
                  <a:pt x="25" y="49"/>
                </a:lnTo>
                <a:lnTo>
                  <a:pt x="13" y="45"/>
                </a:lnTo>
                <a:lnTo>
                  <a:pt x="0" y="31"/>
                </a:lnTo>
                <a:lnTo>
                  <a:pt x="0" y="15"/>
                </a:lnTo>
                <a:lnTo>
                  <a:pt x="4" y="4"/>
                </a:lnTo>
                <a:lnTo>
                  <a:pt x="29" y="6"/>
                </a:lnTo>
                <a:lnTo>
                  <a:pt x="68" y="6"/>
                </a:lnTo>
                <a:lnTo>
                  <a:pt x="77" y="20"/>
                </a:lnTo>
                <a:lnTo>
                  <a:pt x="119" y="20"/>
                </a:lnTo>
                <a:lnTo>
                  <a:pt x="148" y="20"/>
                </a:lnTo>
                <a:lnTo>
                  <a:pt x="185" y="11"/>
                </a:lnTo>
                <a:lnTo>
                  <a:pt x="233" y="0"/>
                </a:lnTo>
              </a:path>
            </a:pathLst>
          </a:custGeom>
          <a:solidFill>
            <a:schemeClr val="accent3"/>
          </a:solidFill>
          <a:ln w="12700" cap="rnd">
            <a:solidFill>
              <a:schemeClr val="bg1"/>
            </a:solidFill>
            <a:round/>
            <a:headEnd/>
            <a:tailEnd/>
          </a:ln>
        </p:spPr>
        <p:txBody>
          <a:bodyPr/>
          <a:lstStyle/>
          <a:p>
            <a:pPr>
              <a:defRPr/>
            </a:pPr>
            <a:endParaRPr lang="en-GB"/>
          </a:p>
        </p:txBody>
      </p:sp>
      <p:sp>
        <p:nvSpPr>
          <p:cNvPr id="12" name="Freeform 11"/>
          <p:cNvSpPr>
            <a:spLocks/>
          </p:cNvSpPr>
          <p:nvPr/>
        </p:nvSpPr>
        <p:spPr bwMode="auto">
          <a:xfrm>
            <a:off x="4218428" y="4453272"/>
            <a:ext cx="963911" cy="1085425"/>
          </a:xfrm>
          <a:custGeom>
            <a:avLst/>
            <a:gdLst>
              <a:gd name="T0" fmla="*/ 517 w 825"/>
              <a:gd name="T1" fmla="*/ 546 h 930"/>
              <a:gd name="T2" fmla="*/ 558 w 825"/>
              <a:gd name="T3" fmla="*/ 494 h 930"/>
              <a:gd name="T4" fmla="*/ 576 w 825"/>
              <a:gd name="T5" fmla="*/ 477 h 930"/>
              <a:gd name="T6" fmla="*/ 563 w 825"/>
              <a:gd name="T7" fmla="*/ 452 h 930"/>
              <a:gd name="T8" fmla="*/ 546 w 825"/>
              <a:gd name="T9" fmla="*/ 449 h 930"/>
              <a:gd name="T10" fmla="*/ 558 w 825"/>
              <a:gd name="T11" fmla="*/ 430 h 930"/>
              <a:gd name="T12" fmla="*/ 579 w 825"/>
              <a:gd name="T13" fmla="*/ 403 h 930"/>
              <a:gd name="T14" fmla="*/ 645 w 825"/>
              <a:gd name="T15" fmla="*/ 435 h 930"/>
              <a:gd name="T16" fmla="*/ 671 w 825"/>
              <a:gd name="T17" fmla="*/ 435 h 930"/>
              <a:gd name="T18" fmla="*/ 650 w 825"/>
              <a:gd name="T19" fmla="*/ 397 h 930"/>
              <a:gd name="T20" fmla="*/ 630 w 825"/>
              <a:gd name="T21" fmla="*/ 394 h 930"/>
              <a:gd name="T22" fmla="*/ 558 w 825"/>
              <a:gd name="T23" fmla="*/ 352 h 930"/>
              <a:gd name="T24" fmla="*/ 514 w 825"/>
              <a:gd name="T25" fmla="*/ 331 h 930"/>
              <a:gd name="T26" fmla="*/ 517 w 825"/>
              <a:gd name="T27" fmla="*/ 315 h 930"/>
              <a:gd name="T28" fmla="*/ 451 w 825"/>
              <a:gd name="T29" fmla="*/ 293 h 930"/>
              <a:gd name="T30" fmla="*/ 418 w 825"/>
              <a:gd name="T31" fmla="*/ 275 h 930"/>
              <a:gd name="T32" fmla="*/ 348 w 825"/>
              <a:gd name="T33" fmla="*/ 194 h 930"/>
              <a:gd name="T34" fmla="*/ 335 w 825"/>
              <a:gd name="T35" fmla="*/ 132 h 930"/>
              <a:gd name="T36" fmla="*/ 314 w 825"/>
              <a:gd name="T37" fmla="*/ 108 h 930"/>
              <a:gd name="T38" fmla="*/ 373 w 825"/>
              <a:gd name="T39" fmla="*/ 89 h 930"/>
              <a:gd name="T40" fmla="*/ 397 w 825"/>
              <a:gd name="T41" fmla="*/ 47 h 930"/>
              <a:gd name="T42" fmla="*/ 338 w 825"/>
              <a:gd name="T43" fmla="*/ 27 h 930"/>
              <a:gd name="T44" fmla="*/ 327 w 825"/>
              <a:gd name="T45" fmla="*/ 9 h 930"/>
              <a:gd name="T46" fmla="*/ 240 w 825"/>
              <a:gd name="T47" fmla="*/ 4 h 930"/>
              <a:gd name="T48" fmla="*/ 202 w 825"/>
              <a:gd name="T49" fmla="*/ 33 h 930"/>
              <a:gd name="T50" fmla="*/ 166 w 825"/>
              <a:gd name="T51" fmla="*/ 31 h 930"/>
              <a:gd name="T52" fmla="*/ 121 w 825"/>
              <a:gd name="T53" fmla="*/ 41 h 930"/>
              <a:gd name="T54" fmla="*/ 105 w 825"/>
              <a:gd name="T55" fmla="*/ 20 h 930"/>
              <a:gd name="T56" fmla="*/ 80 w 825"/>
              <a:gd name="T57" fmla="*/ 39 h 930"/>
              <a:gd name="T58" fmla="*/ 18 w 825"/>
              <a:gd name="T59" fmla="*/ 56 h 930"/>
              <a:gd name="T60" fmla="*/ 6 w 825"/>
              <a:gd name="T61" fmla="*/ 91 h 930"/>
              <a:gd name="T62" fmla="*/ 0 w 825"/>
              <a:gd name="T63" fmla="*/ 126 h 930"/>
              <a:gd name="T64" fmla="*/ 27 w 825"/>
              <a:gd name="T65" fmla="*/ 137 h 930"/>
              <a:gd name="T66" fmla="*/ 46 w 825"/>
              <a:gd name="T67" fmla="*/ 164 h 930"/>
              <a:gd name="T68" fmla="*/ 112 w 825"/>
              <a:gd name="T69" fmla="*/ 141 h 930"/>
              <a:gd name="T70" fmla="*/ 173 w 825"/>
              <a:gd name="T71" fmla="*/ 180 h 930"/>
              <a:gd name="T72" fmla="*/ 202 w 825"/>
              <a:gd name="T73" fmla="*/ 233 h 930"/>
              <a:gd name="T74" fmla="*/ 248 w 825"/>
              <a:gd name="T75" fmla="*/ 264 h 930"/>
              <a:gd name="T76" fmla="*/ 310 w 825"/>
              <a:gd name="T77" fmla="*/ 320 h 930"/>
              <a:gd name="T78" fmla="*/ 406 w 825"/>
              <a:gd name="T79" fmla="*/ 371 h 930"/>
              <a:gd name="T80" fmla="*/ 434 w 825"/>
              <a:gd name="T81" fmla="*/ 385 h 930"/>
              <a:gd name="T82" fmla="*/ 460 w 825"/>
              <a:gd name="T83" fmla="*/ 421 h 930"/>
              <a:gd name="T84" fmla="*/ 496 w 825"/>
              <a:gd name="T85" fmla="*/ 430 h 930"/>
              <a:gd name="T86" fmla="*/ 512 w 825"/>
              <a:gd name="T87" fmla="*/ 474 h 930"/>
              <a:gd name="T88" fmla="*/ 501 w 825"/>
              <a:gd name="T89" fmla="*/ 507 h 930"/>
              <a:gd name="T90" fmla="*/ 490 w 825"/>
              <a:gd name="T91" fmla="*/ 546 h 9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25"/>
              <a:gd name="T139" fmla="*/ 0 h 930"/>
              <a:gd name="T140" fmla="*/ 825 w 825"/>
              <a:gd name="T141" fmla="*/ 930 h 9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25" h="930">
                <a:moveTo>
                  <a:pt x="594" y="917"/>
                </a:moveTo>
                <a:lnTo>
                  <a:pt x="608" y="929"/>
                </a:lnTo>
                <a:lnTo>
                  <a:pt x="628" y="917"/>
                </a:lnTo>
                <a:lnTo>
                  <a:pt x="653" y="883"/>
                </a:lnTo>
                <a:lnTo>
                  <a:pt x="665" y="833"/>
                </a:lnTo>
                <a:lnTo>
                  <a:pt x="678" y="829"/>
                </a:lnTo>
                <a:lnTo>
                  <a:pt x="687" y="838"/>
                </a:lnTo>
                <a:lnTo>
                  <a:pt x="703" y="822"/>
                </a:lnTo>
                <a:lnTo>
                  <a:pt x="699" y="801"/>
                </a:lnTo>
                <a:lnTo>
                  <a:pt x="708" y="783"/>
                </a:lnTo>
                <a:lnTo>
                  <a:pt x="703" y="776"/>
                </a:lnTo>
                <a:lnTo>
                  <a:pt x="683" y="758"/>
                </a:lnTo>
                <a:lnTo>
                  <a:pt x="674" y="758"/>
                </a:lnTo>
                <a:lnTo>
                  <a:pt x="678" y="749"/>
                </a:lnTo>
                <a:lnTo>
                  <a:pt x="662" y="754"/>
                </a:lnTo>
                <a:lnTo>
                  <a:pt x="653" y="747"/>
                </a:lnTo>
                <a:lnTo>
                  <a:pt x="653" y="738"/>
                </a:lnTo>
                <a:lnTo>
                  <a:pt x="678" y="722"/>
                </a:lnTo>
                <a:lnTo>
                  <a:pt x="690" y="706"/>
                </a:lnTo>
                <a:lnTo>
                  <a:pt x="690" y="679"/>
                </a:lnTo>
                <a:lnTo>
                  <a:pt x="703" y="676"/>
                </a:lnTo>
                <a:lnTo>
                  <a:pt x="744" y="697"/>
                </a:lnTo>
                <a:lnTo>
                  <a:pt x="760" y="701"/>
                </a:lnTo>
                <a:lnTo>
                  <a:pt x="783" y="731"/>
                </a:lnTo>
                <a:lnTo>
                  <a:pt x="789" y="747"/>
                </a:lnTo>
                <a:lnTo>
                  <a:pt x="803" y="747"/>
                </a:lnTo>
                <a:lnTo>
                  <a:pt x="814" y="731"/>
                </a:lnTo>
                <a:lnTo>
                  <a:pt x="824" y="713"/>
                </a:lnTo>
                <a:lnTo>
                  <a:pt x="808" y="683"/>
                </a:lnTo>
                <a:lnTo>
                  <a:pt x="789" y="667"/>
                </a:lnTo>
                <a:lnTo>
                  <a:pt x="774" y="667"/>
                </a:lnTo>
                <a:lnTo>
                  <a:pt x="774" y="663"/>
                </a:lnTo>
                <a:lnTo>
                  <a:pt x="764" y="663"/>
                </a:lnTo>
                <a:lnTo>
                  <a:pt x="724" y="622"/>
                </a:lnTo>
                <a:lnTo>
                  <a:pt x="703" y="626"/>
                </a:lnTo>
                <a:lnTo>
                  <a:pt x="678" y="592"/>
                </a:lnTo>
                <a:lnTo>
                  <a:pt x="662" y="588"/>
                </a:lnTo>
                <a:lnTo>
                  <a:pt x="637" y="565"/>
                </a:lnTo>
                <a:lnTo>
                  <a:pt x="624" y="556"/>
                </a:lnTo>
                <a:lnTo>
                  <a:pt x="633" y="547"/>
                </a:lnTo>
                <a:lnTo>
                  <a:pt x="646" y="542"/>
                </a:lnTo>
                <a:lnTo>
                  <a:pt x="628" y="531"/>
                </a:lnTo>
                <a:lnTo>
                  <a:pt x="608" y="538"/>
                </a:lnTo>
                <a:lnTo>
                  <a:pt x="592" y="531"/>
                </a:lnTo>
                <a:lnTo>
                  <a:pt x="547" y="492"/>
                </a:lnTo>
                <a:lnTo>
                  <a:pt x="542" y="476"/>
                </a:lnTo>
                <a:lnTo>
                  <a:pt x="524" y="472"/>
                </a:lnTo>
                <a:lnTo>
                  <a:pt x="508" y="461"/>
                </a:lnTo>
                <a:lnTo>
                  <a:pt x="467" y="367"/>
                </a:lnTo>
                <a:lnTo>
                  <a:pt x="453" y="356"/>
                </a:lnTo>
                <a:lnTo>
                  <a:pt x="422" y="327"/>
                </a:lnTo>
                <a:lnTo>
                  <a:pt x="383" y="270"/>
                </a:lnTo>
                <a:lnTo>
                  <a:pt x="383" y="236"/>
                </a:lnTo>
                <a:lnTo>
                  <a:pt x="406" y="222"/>
                </a:lnTo>
                <a:lnTo>
                  <a:pt x="406" y="206"/>
                </a:lnTo>
                <a:lnTo>
                  <a:pt x="388" y="190"/>
                </a:lnTo>
                <a:lnTo>
                  <a:pt x="381" y="181"/>
                </a:lnTo>
                <a:lnTo>
                  <a:pt x="383" y="170"/>
                </a:lnTo>
                <a:lnTo>
                  <a:pt x="401" y="161"/>
                </a:lnTo>
                <a:lnTo>
                  <a:pt x="451" y="149"/>
                </a:lnTo>
                <a:lnTo>
                  <a:pt x="472" y="136"/>
                </a:lnTo>
                <a:lnTo>
                  <a:pt x="488" y="120"/>
                </a:lnTo>
                <a:lnTo>
                  <a:pt x="483" y="77"/>
                </a:lnTo>
                <a:lnTo>
                  <a:pt x="488" y="61"/>
                </a:lnTo>
                <a:lnTo>
                  <a:pt x="463" y="56"/>
                </a:lnTo>
                <a:lnTo>
                  <a:pt x="410" y="45"/>
                </a:lnTo>
                <a:lnTo>
                  <a:pt x="401" y="34"/>
                </a:lnTo>
                <a:lnTo>
                  <a:pt x="397" y="29"/>
                </a:lnTo>
                <a:lnTo>
                  <a:pt x="397" y="15"/>
                </a:lnTo>
                <a:lnTo>
                  <a:pt x="392" y="4"/>
                </a:lnTo>
                <a:lnTo>
                  <a:pt x="363" y="0"/>
                </a:lnTo>
                <a:lnTo>
                  <a:pt x="292" y="4"/>
                </a:lnTo>
                <a:lnTo>
                  <a:pt x="286" y="20"/>
                </a:lnTo>
                <a:lnTo>
                  <a:pt x="258" y="24"/>
                </a:lnTo>
                <a:lnTo>
                  <a:pt x="245" y="56"/>
                </a:lnTo>
                <a:lnTo>
                  <a:pt x="245" y="70"/>
                </a:lnTo>
                <a:lnTo>
                  <a:pt x="226" y="56"/>
                </a:lnTo>
                <a:lnTo>
                  <a:pt x="202" y="52"/>
                </a:lnTo>
                <a:lnTo>
                  <a:pt x="186" y="61"/>
                </a:lnTo>
                <a:lnTo>
                  <a:pt x="172" y="86"/>
                </a:lnTo>
                <a:lnTo>
                  <a:pt x="147" y="70"/>
                </a:lnTo>
                <a:lnTo>
                  <a:pt x="152" y="45"/>
                </a:lnTo>
                <a:lnTo>
                  <a:pt x="145" y="29"/>
                </a:lnTo>
                <a:lnTo>
                  <a:pt x="127" y="34"/>
                </a:lnTo>
                <a:lnTo>
                  <a:pt x="122" y="52"/>
                </a:lnTo>
                <a:lnTo>
                  <a:pt x="111" y="65"/>
                </a:lnTo>
                <a:lnTo>
                  <a:pt x="97" y="65"/>
                </a:lnTo>
                <a:lnTo>
                  <a:pt x="40" y="56"/>
                </a:lnTo>
                <a:lnTo>
                  <a:pt x="20" y="74"/>
                </a:lnTo>
                <a:lnTo>
                  <a:pt x="22" y="95"/>
                </a:lnTo>
                <a:lnTo>
                  <a:pt x="27" y="111"/>
                </a:lnTo>
                <a:lnTo>
                  <a:pt x="0" y="136"/>
                </a:lnTo>
                <a:lnTo>
                  <a:pt x="6" y="152"/>
                </a:lnTo>
                <a:lnTo>
                  <a:pt x="15" y="161"/>
                </a:lnTo>
                <a:lnTo>
                  <a:pt x="0" y="181"/>
                </a:lnTo>
                <a:lnTo>
                  <a:pt x="0" y="211"/>
                </a:lnTo>
                <a:lnTo>
                  <a:pt x="6" y="222"/>
                </a:lnTo>
                <a:lnTo>
                  <a:pt x="22" y="222"/>
                </a:lnTo>
                <a:lnTo>
                  <a:pt x="31" y="231"/>
                </a:lnTo>
                <a:lnTo>
                  <a:pt x="40" y="252"/>
                </a:lnTo>
                <a:lnTo>
                  <a:pt x="40" y="274"/>
                </a:lnTo>
                <a:lnTo>
                  <a:pt x="56" y="277"/>
                </a:lnTo>
                <a:lnTo>
                  <a:pt x="70" y="274"/>
                </a:lnTo>
                <a:lnTo>
                  <a:pt x="115" y="227"/>
                </a:lnTo>
                <a:lnTo>
                  <a:pt x="136" y="236"/>
                </a:lnTo>
                <a:lnTo>
                  <a:pt x="177" y="256"/>
                </a:lnTo>
                <a:lnTo>
                  <a:pt x="206" y="277"/>
                </a:lnTo>
                <a:lnTo>
                  <a:pt x="211" y="302"/>
                </a:lnTo>
                <a:lnTo>
                  <a:pt x="226" y="320"/>
                </a:lnTo>
                <a:lnTo>
                  <a:pt x="236" y="349"/>
                </a:lnTo>
                <a:lnTo>
                  <a:pt x="245" y="392"/>
                </a:lnTo>
                <a:lnTo>
                  <a:pt x="256" y="415"/>
                </a:lnTo>
                <a:lnTo>
                  <a:pt x="272" y="431"/>
                </a:lnTo>
                <a:lnTo>
                  <a:pt x="301" y="442"/>
                </a:lnTo>
                <a:lnTo>
                  <a:pt x="326" y="486"/>
                </a:lnTo>
                <a:lnTo>
                  <a:pt x="351" y="517"/>
                </a:lnTo>
                <a:lnTo>
                  <a:pt x="376" y="536"/>
                </a:lnTo>
                <a:lnTo>
                  <a:pt x="422" y="588"/>
                </a:lnTo>
                <a:lnTo>
                  <a:pt x="453" y="588"/>
                </a:lnTo>
                <a:lnTo>
                  <a:pt x="492" y="622"/>
                </a:lnTo>
                <a:lnTo>
                  <a:pt x="492" y="656"/>
                </a:lnTo>
                <a:lnTo>
                  <a:pt x="503" y="663"/>
                </a:lnTo>
                <a:lnTo>
                  <a:pt x="528" y="647"/>
                </a:lnTo>
                <a:lnTo>
                  <a:pt x="533" y="663"/>
                </a:lnTo>
                <a:lnTo>
                  <a:pt x="533" y="683"/>
                </a:lnTo>
                <a:lnTo>
                  <a:pt x="558" y="706"/>
                </a:lnTo>
                <a:lnTo>
                  <a:pt x="567" y="717"/>
                </a:lnTo>
                <a:lnTo>
                  <a:pt x="599" y="708"/>
                </a:lnTo>
                <a:lnTo>
                  <a:pt x="603" y="722"/>
                </a:lnTo>
                <a:lnTo>
                  <a:pt x="599" y="749"/>
                </a:lnTo>
                <a:lnTo>
                  <a:pt x="617" y="776"/>
                </a:lnTo>
                <a:lnTo>
                  <a:pt x="621" y="797"/>
                </a:lnTo>
                <a:lnTo>
                  <a:pt x="628" y="817"/>
                </a:lnTo>
                <a:lnTo>
                  <a:pt x="624" y="833"/>
                </a:lnTo>
                <a:lnTo>
                  <a:pt x="608" y="851"/>
                </a:lnTo>
                <a:lnTo>
                  <a:pt x="603" y="872"/>
                </a:lnTo>
                <a:lnTo>
                  <a:pt x="592" y="894"/>
                </a:lnTo>
                <a:lnTo>
                  <a:pt x="594" y="917"/>
                </a:lnTo>
              </a:path>
            </a:pathLst>
          </a:custGeom>
          <a:solidFill>
            <a:schemeClr val="accent3"/>
          </a:solidFill>
          <a:ln w="12700" cap="rnd">
            <a:solidFill>
              <a:schemeClr val="bg1"/>
            </a:solidFill>
            <a:round/>
            <a:headEnd/>
            <a:tailEnd/>
          </a:ln>
        </p:spPr>
        <p:txBody>
          <a:bodyPr/>
          <a:lstStyle/>
          <a:p>
            <a:pPr>
              <a:defRPr/>
            </a:pPr>
            <a:endParaRPr lang="en-GB"/>
          </a:p>
        </p:txBody>
      </p:sp>
      <p:sp>
        <p:nvSpPr>
          <p:cNvPr id="13" name="Freeform 12"/>
          <p:cNvSpPr>
            <a:spLocks/>
          </p:cNvSpPr>
          <p:nvPr/>
        </p:nvSpPr>
        <p:spPr bwMode="auto">
          <a:xfrm>
            <a:off x="4169373" y="4297832"/>
            <a:ext cx="391206" cy="257739"/>
          </a:xfrm>
          <a:custGeom>
            <a:avLst/>
            <a:gdLst>
              <a:gd name="T0" fmla="*/ 146 w 334"/>
              <a:gd name="T1" fmla="*/ 25 h 220"/>
              <a:gd name="T2" fmla="*/ 131 w 334"/>
              <a:gd name="T3" fmla="*/ 17 h 220"/>
              <a:gd name="T4" fmla="*/ 132 w 334"/>
              <a:gd name="T5" fmla="*/ 13 h 220"/>
              <a:gd name="T6" fmla="*/ 125 w 334"/>
              <a:gd name="T7" fmla="*/ 8 h 220"/>
              <a:gd name="T8" fmla="*/ 117 w 334"/>
              <a:gd name="T9" fmla="*/ 0 h 220"/>
              <a:gd name="T10" fmla="*/ 108 w 334"/>
              <a:gd name="T11" fmla="*/ 8 h 220"/>
              <a:gd name="T12" fmla="*/ 104 w 334"/>
              <a:gd name="T13" fmla="*/ 5 h 220"/>
              <a:gd name="T14" fmla="*/ 92 w 334"/>
              <a:gd name="T15" fmla="*/ 12 h 220"/>
              <a:gd name="T16" fmla="*/ 92 w 334"/>
              <a:gd name="T17" fmla="*/ 15 h 220"/>
              <a:gd name="T18" fmla="*/ 82 w 334"/>
              <a:gd name="T19" fmla="*/ 19 h 220"/>
              <a:gd name="T20" fmla="*/ 49 w 334"/>
              <a:gd name="T21" fmla="*/ 37 h 220"/>
              <a:gd name="T22" fmla="*/ 42 w 334"/>
              <a:gd name="T23" fmla="*/ 43 h 220"/>
              <a:gd name="T24" fmla="*/ 42 w 334"/>
              <a:gd name="T25" fmla="*/ 54 h 220"/>
              <a:gd name="T26" fmla="*/ 30 w 334"/>
              <a:gd name="T27" fmla="*/ 56 h 220"/>
              <a:gd name="T28" fmla="*/ 9 w 334"/>
              <a:gd name="T29" fmla="*/ 72 h 220"/>
              <a:gd name="T30" fmla="*/ 9 w 334"/>
              <a:gd name="T31" fmla="*/ 79 h 220"/>
              <a:gd name="T32" fmla="*/ 0 w 334"/>
              <a:gd name="T33" fmla="*/ 86 h 220"/>
              <a:gd name="T34" fmla="*/ 4 w 334"/>
              <a:gd name="T35" fmla="*/ 95 h 220"/>
              <a:gd name="T36" fmla="*/ 11 w 334"/>
              <a:gd name="T37" fmla="*/ 90 h 220"/>
              <a:gd name="T38" fmla="*/ 25 w 334"/>
              <a:gd name="T39" fmla="*/ 82 h 220"/>
              <a:gd name="T40" fmla="*/ 39 w 334"/>
              <a:gd name="T41" fmla="*/ 81 h 220"/>
              <a:gd name="T42" fmla="*/ 49 w 334"/>
              <a:gd name="T43" fmla="*/ 82 h 220"/>
              <a:gd name="T44" fmla="*/ 52 w 334"/>
              <a:gd name="T45" fmla="*/ 95 h 220"/>
              <a:gd name="T46" fmla="*/ 51 w 334"/>
              <a:gd name="T47" fmla="*/ 105 h 220"/>
              <a:gd name="T48" fmla="*/ 58 w 334"/>
              <a:gd name="T49" fmla="*/ 109 h 220"/>
              <a:gd name="T50" fmla="*/ 66 w 334"/>
              <a:gd name="T51" fmla="*/ 115 h 220"/>
              <a:gd name="T52" fmla="*/ 85 w 334"/>
              <a:gd name="T53" fmla="*/ 116 h 220"/>
              <a:gd name="T54" fmla="*/ 123 w 334"/>
              <a:gd name="T55" fmla="*/ 120 h 220"/>
              <a:gd name="T56" fmla="*/ 131 w 334"/>
              <a:gd name="T57" fmla="*/ 116 h 220"/>
              <a:gd name="T58" fmla="*/ 137 w 334"/>
              <a:gd name="T59" fmla="*/ 109 h 220"/>
              <a:gd name="T60" fmla="*/ 139 w 334"/>
              <a:gd name="T61" fmla="*/ 100 h 220"/>
              <a:gd name="T62" fmla="*/ 156 w 334"/>
              <a:gd name="T63" fmla="*/ 100 h 220"/>
              <a:gd name="T64" fmla="*/ 159 w 334"/>
              <a:gd name="T65" fmla="*/ 106 h 220"/>
              <a:gd name="T66" fmla="*/ 159 w 334"/>
              <a:gd name="T67" fmla="*/ 123 h 220"/>
              <a:gd name="T68" fmla="*/ 176 w 334"/>
              <a:gd name="T69" fmla="*/ 132 h 220"/>
              <a:gd name="T70" fmla="*/ 190 w 334"/>
              <a:gd name="T71" fmla="*/ 116 h 220"/>
              <a:gd name="T72" fmla="*/ 204 w 334"/>
              <a:gd name="T73" fmla="*/ 111 h 220"/>
              <a:gd name="T74" fmla="*/ 220 w 334"/>
              <a:gd name="T75" fmla="*/ 114 h 220"/>
              <a:gd name="T76" fmla="*/ 233 w 334"/>
              <a:gd name="T77" fmla="*/ 119 h 220"/>
              <a:gd name="T78" fmla="*/ 237 w 334"/>
              <a:gd name="T79" fmla="*/ 123 h 220"/>
              <a:gd name="T80" fmla="*/ 241 w 334"/>
              <a:gd name="T81" fmla="*/ 108 h 220"/>
              <a:gd name="T82" fmla="*/ 250 w 334"/>
              <a:gd name="T83" fmla="*/ 95 h 220"/>
              <a:gd name="T84" fmla="*/ 271 w 334"/>
              <a:gd name="T85" fmla="*/ 92 h 220"/>
              <a:gd name="T86" fmla="*/ 277 w 334"/>
              <a:gd name="T87" fmla="*/ 82 h 220"/>
              <a:gd name="T88" fmla="*/ 271 w 334"/>
              <a:gd name="T89" fmla="*/ 74 h 220"/>
              <a:gd name="T90" fmla="*/ 262 w 334"/>
              <a:gd name="T91" fmla="*/ 70 h 220"/>
              <a:gd name="T92" fmla="*/ 234 w 334"/>
              <a:gd name="T93" fmla="*/ 67 h 220"/>
              <a:gd name="T94" fmla="*/ 234 w 334"/>
              <a:gd name="T95" fmla="*/ 57 h 220"/>
              <a:gd name="T96" fmla="*/ 234 w 334"/>
              <a:gd name="T97" fmla="*/ 49 h 220"/>
              <a:gd name="T98" fmla="*/ 234 w 334"/>
              <a:gd name="T99" fmla="*/ 40 h 220"/>
              <a:gd name="T100" fmla="*/ 218 w 334"/>
              <a:gd name="T101" fmla="*/ 34 h 220"/>
              <a:gd name="T102" fmla="*/ 211 w 334"/>
              <a:gd name="T103" fmla="*/ 37 h 220"/>
              <a:gd name="T104" fmla="*/ 194 w 334"/>
              <a:gd name="T105" fmla="*/ 28 h 220"/>
              <a:gd name="T106" fmla="*/ 193 w 334"/>
              <a:gd name="T107" fmla="*/ 23 h 220"/>
              <a:gd name="T108" fmla="*/ 187 w 334"/>
              <a:gd name="T109" fmla="*/ 18 h 220"/>
              <a:gd name="T110" fmla="*/ 187 w 334"/>
              <a:gd name="T111" fmla="*/ 15 h 220"/>
              <a:gd name="T112" fmla="*/ 174 w 334"/>
              <a:gd name="T113" fmla="*/ 12 h 220"/>
              <a:gd name="T114" fmla="*/ 168 w 334"/>
              <a:gd name="T115" fmla="*/ 17 h 220"/>
              <a:gd name="T116" fmla="*/ 158 w 334"/>
              <a:gd name="T117" fmla="*/ 22 h 220"/>
              <a:gd name="T118" fmla="*/ 146 w 334"/>
              <a:gd name="T119" fmla="*/ 25 h 2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34"/>
              <a:gd name="T181" fmla="*/ 0 h 220"/>
              <a:gd name="T182" fmla="*/ 334 w 334"/>
              <a:gd name="T183" fmla="*/ 220 h 22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34" h="220">
                <a:moveTo>
                  <a:pt x="175" y="41"/>
                </a:moveTo>
                <a:lnTo>
                  <a:pt x="157" y="27"/>
                </a:lnTo>
                <a:lnTo>
                  <a:pt x="159" y="22"/>
                </a:lnTo>
                <a:lnTo>
                  <a:pt x="150" y="13"/>
                </a:lnTo>
                <a:lnTo>
                  <a:pt x="141" y="0"/>
                </a:lnTo>
                <a:lnTo>
                  <a:pt x="130" y="13"/>
                </a:lnTo>
                <a:lnTo>
                  <a:pt x="125" y="9"/>
                </a:lnTo>
                <a:lnTo>
                  <a:pt x="111" y="20"/>
                </a:lnTo>
                <a:lnTo>
                  <a:pt x="111" y="25"/>
                </a:lnTo>
                <a:lnTo>
                  <a:pt x="98" y="31"/>
                </a:lnTo>
                <a:lnTo>
                  <a:pt x="59" y="61"/>
                </a:lnTo>
                <a:lnTo>
                  <a:pt x="50" y="73"/>
                </a:lnTo>
                <a:lnTo>
                  <a:pt x="50" y="88"/>
                </a:lnTo>
                <a:lnTo>
                  <a:pt x="36" y="93"/>
                </a:lnTo>
                <a:lnTo>
                  <a:pt x="9" y="120"/>
                </a:lnTo>
                <a:lnTo>
                  <a:pt x="9" y="132"/>
                </a:lnTo>
                <a:lnTo>
                  <a:pt x="0" y="143"/>
                </a:lnTo>
                <a:lnTo>
                  <a:pt x="4" y="159"/>
                </a:lnTo>
                <a:lnTo>
                  <a:pt x="15" y="150"/>
                </a:lnTo>
                <a:lnTo>
                  <a:pt x="29" y="136"/>
                </a:lnTo>
                <a:lnTo>
                  <a:pt x="47" y="134"/>
                </a:lnTo>
                <a:lnTo>
                  <a:pt x="59" y="136"/>
                </a:lnTo>
                <a:lnTo>
                  <a:pt x="63" y="159"/>
                </a:lnTo>
                <a:lnTo>
                  <a:pt x="61" y="173"/>
                </a:lnTo>
                <a:lnTo>
                  <a:pt x="70" y="182"/>
                </a:lnTo>
                <a:lnTo>
                  <a:pt x="79" y="189"/>
                </a:lnTo>
                <a:lnTo>
                  <a:pt x="102" y="191"/>
                </a:lnTo>
                <a:lnTo>
                  <a:pt x="148" y="198"/>
                </a:lnTo>
                <a:lnTo>
                  <a:pt x="157" y="191"/>
                </a:lnTo>
                <a:lnTo>
                  <a:pt x="164" y="182"/>
                </a:lnTo>
                <a:lnTo>
                  <a:pt x="168" y="164"/>
                </a:lnTo>
                <a:lnTo>
                  <a:pt x="187" y="164"/>
                </a:lnTo>
                <a:lnTo>
                  <a:pt x="191" y="175"/>
                </a:lnTo>
                <a:lnTo>
                  <a:pt x="191" y="203"/>
                </a:lnTo>
                <a:lnTo>
                  <a:pt x="212" y="219"/>
                </a:lnTo>
                <a:lnTo>
                  <a:pt x="228" y="193"/>
                </a:lnTo>
                <a:lnTo>
                  <a:pt x="246" y="184"/>
                </a:lnTo>
                <a:lnTo>
                  <a:pt x="264" y="187"/>
                </a:lnTo>
                <a:lnTo>
                  <a:pt x="280" y="196"/>
                </a:lnTo>
                <a:lnTo>
                  <a:pt x="285" y="203"/>
                </a:lnTo>
                <a:lnTo>
                  <a:pt x="289" y="180"/>
                </a:lnTo>
                <a:lnTo>
                  <a:pt x="301" y="157"/>
                </a:lnTo>
                <a:lnTo>
                  <a:pt x="326" y="152"/>
                </a:lnTo>
                <a:lnTo>
                  <a:pt x="333" y="136"/>
                </a:lnTo>
                <a:lnTo>
                  <a:pt x="326" y="123"/>
                </a:lnTo>
                <a:lnTo>
                  <a:pt x="314" y="116"/>
                </a:lnTo>
                <a:lnTo>
                  <a:pt x="282" y="111"/>
                </a:lnTo>
                <a:lnTo>
                  <a:pt x="282" y="95"/>
                </a:lnTo>
                <a:lnTo>
                  <a:pt x="282" y="79"/>
                </a:lnTo>
                <a:lnTo>
                  <a:pt x="282" y="66"/>
                </a:lnTo>
                <a:lnTo>
                  <a:pt x="262" y="57"/>
                </a:lnTo>
                <a:lnTo>
                  <a:pt x="253" y="61"/>
                </a:lnTo>
                <a:lnTo>
                  <a:pt x="234" y="47"/>
                </a:lnTo>
                <a:lnTo>
                  <a:pt x="232" y="38"/>
                </a:lnTo>
                <a:lnTo>
                  <a:pt x="225" y="29"/>
                </a:lnTo>
                <a:lnTo>
                  <a:pt x="225" y="25"/>
                </a:lnTo>
                <a:lnTo>
                  <a:pt x="209" y="20"/>
                </a:lnTo>
                <a:lnTo>
                  <a:pt x="202" y="27"/>
                </a:lnTo>
                <a:lnTo>
                  <a:pt x="189" y="36"/>
                </a:lnTo>
                <a:lnTo>
                  <a:pt x="175" y="41"/>
                </a:lnTo>
              </a:path>
            </a:pathLst>
          </a:custGeom>
          <a:solidFill>
            <a:schemeClr val="accent3"/>
          </a:solidFill>
          <a:ln w="12700" cap="rnd">
            <a:solidFill>
              <a:schemeClr val="bg1"/>
            </a:solidFill>
            <a:round/>
            <a:headEnd/>
            <a:tailEnd/>
          </a:ln>
        </p:spPr>
        <p:txBody>
          <a:bodyPr/>
          <a:lstStyle/>
          <a:p>
            <a:pPr>
              <a:defRPr/>
            </a:pPr>
            <a:endParaRPr lang="en-GB"/>
          </a:p>
        </p:txBody>
      </p:sp>
      <p:sp>
        <p:nvSpPr>
          <p:cNvPr id="14" name="Freeform 13"/>
          <p:cNvSpPr>
            <a:spLocks/>
          </p:cNvSpPr>
          <p:nvPr/>
        </p:nvSpPr>
        <p:spPr bwMode="auto">
          <a:xfrm>
            <a:off x="4480866" y="4269932"/>
            <a:ext cx="591101" cy="271024"/>
          </a:xfrm>
          <a:custGeom>
            <a:avLst/>
            <a:gdLst>
              <a:gd name="T0" fmla="*/ 18 w 507"/>
              <a:gd name="T1" fmla="*/ 48 h 232"/>
              <a:gd name="T2" fmla="*/ 32 w 507"/>
              <a:gd name="T3" fmla="*/ 55 h 232"/>
              <a:gd name="T4" fmla="*/ 58 w 507"/>
              <a:gd name="T5" fmla="*/ 54 h 232"/>
              <a:gd name="T6" fmla="*/ 81 w 507"/>
              <a:gd name="T7" fmla="*/ 53 h 232"/>
              <a:gd name="T8" fmla="*/ 107 w 507"/>
              <a:gd name="T9" fmla="*/ 60 h 232"/>
              <a:gd name="T10" fmla="*/ 125 w 507"/>
              <a:gd name="T11" fmla="*/ 57 h 232"/>
              <a:gd name="T12" fmla="*/ 157 w 507"/>
              <a:gd name="T13" fmla="*/ 54 h 232"/>
              <a:gd name="T14" fmla="*/ 191 w 507"/>
              <a:gd name="T15" fmla="*/ 68 h 232"/>
              <a:gd name="T16" fmla="*/ 207 w 507"/>
              <a:gd name="T17" fmla="*/ 54 h 232"/>
              <a:gd name="T18" fmla="*/ 194 w 507"/>
              <a:gd name="T19" fmla="*/ 27 h 232"/>
              <a:gd name="T20" fmla="*/ 250 w 507"/>
              <a:gd name="T21" fmla="*/ 4 h 232"/>
              <a:gd name="T22" fmla="*/ 266 w 507"/>
              <a:gd name="T23" fmla="*/ 13 h 232"/>
              <a:gd name="T24" fmla="*/ 306 w 507"/>
              <a:gd name="T25" fmla="*/ 2 h 232"/>
              <a:gd name="T26" fmla="*/ 353 w 507"/>
              <a:gd name="T27" fmla="*/ 12 h 232"/>
              <a:gd name="T28" fmla="*/ 379 w 507"/>
              <a:gd name="T29" fmla="*/ 5 h 232"/>
              <a:gd name="T30" fmla="*/ 404 w 507"/>
              <a:gd name="T31" fmla="*/ 35 h 232"/>
              <a:gd name="T32" fmla="*/ 411 w 507"/>
              <a:gd name="T33" fmla="*/ 55 h 232"/>
              <a:gd name="T34" fmla="*/ 391 w 507"/>
              <a:gd name="T35" fmla="*/ 68 h 232"/>
              <a:gd name="T36" fmla="*/ 395 w 507"/>
              <a:gd name="T37" fmla="*/ 80 h 232"/>
              <a:gd name="T38" fmla="*/ 388 w 507"/>
              <a:gd name="T39" fmla="*/ 99 h 232"/>
              <a:gd name="T40" fmla="*/ 365 w 507"/>
              <a:gd name="T41" fmla="*/ 115 h 232"/>
              <a:gd name="T42" fmla="*/ 348 w 507"/>
              <a:gd name="T43" fmla="*/ 126 h 232"/>
              <a:gd name="T44" fmla="*/ 302 w 507"/>
              <a:gd name="T45" fmla="*/ 128 h 232"/>
              <a:gd name="T46" fmla="*/ 265 w 507"/>
              <a:gd name="T47" fmla="*/ 138 h 232"/>
              <a:gd name="T48" fmla="*/ 202 w 507"/>
              <a:gd name="T49" fmla="*/ 128 h 232"/>
              <a:gd name="T50" fmla="*/ 141 w 507"/>
              <a:gd name="T51" fmla="*/ 111 h 232"/>
              <a:gd name="T52" fmla="*/ 137 w 507"/>
              <a:gd name="T53" fmla="*/ 94 h 232"/>
              <a:gd name="T54" fmla="*/ 98 w 507"/>
              <a:gd name="T55" fmla="*/ 93 h 232"/>
              <a:gd name="T56" fmla="*/ 47 w 507"/>
              <a:gd name="T57" fmla="*/ 87 h 232"/>
              <a:gd name="T58" fmla="*/ 26 w 507"/>
              <a:gd name="T59" fmla="*/ 82 h 232"/>
              <a:gd name="T60" fmla="*/ 11 w 507"/>
              <a:gd name="T61" fmla="*/ 70 h 232"/>
              <a:gd name="T62" fmla="*/ 0 w 507"/>
              <a:gd name="T63" fmla="*/ 49 h 2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07"/>
              <a:gd name="T97" fmla="*/ 0 h 232"/>
              <a:gd name="T98" fmla="*/ 507 w 507"/>
              <a:gd name="T99" fmla="*/ 232 h 2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07" h="232">
                <a:moveTo>
                  <a:pt x="0" y="83"/>
                </a:moveTo>
                <a:lnTo>
                  <a:pt x="22" y="81"/>
                </a:lnTo>
                <a:lnTo>
                  <a:pt x="29" y="79"/>
                </a:lnTo>
                <a:lnTo>
                  <a:pt x="40" y="92"/>
                </a:lnTo>
                <a:lnTo>
                  <a:pt x="54" y="88"/>
                </a:lnTo>
                <a:lnTo>
                  <a:pt x="70" y="90"/>
                </a:lnTo>
                <a:lnTo>
                  <a:pt x="81" y="97"/>
                </a:lnTo>
                <a:lnTo>
                  <a:pt x="99" y="88"/>
                </a:lnTo>
                <a:lnTo>
                  <a:pt x="122" y="88"/>
                </a:lnTo>
                <a:lnTo>
                  <a:pt x="131" y="99"/>
                </a:lnTo>
                <a:lnTo>
                  <a:pt x="147" y="101"/>
                </a:lnTo>
                <a:lnTo>
                  <a:pt x="154" y="95"/>
                </a:lnTo>
                <a:lnTo>
                  <a:pt x="181" y="90"/>
                </a:lnTo>
                <a:lnTo>
                  <a:pt x="192" y="90"/>
                </a:lnTo>
                <a:lnTo>
                  <a:pt x="211" y="97"/>
                </a:lnTo>
                <a:lnTo>
                  <a:pt x="233" y="113"/>
                </a:lnTo>
                <a:lnTo>
                  <a:pt x="251" y="106"/>
                </a:lnTo>
                <a:lnTo>
                  <a:pt x="254" y="90"/>
                </a:lnTo>
                <a:lnTo>
                  <a:pt x="242" y="72"/>
                </a:lnTo>
                <a:lnTo>
                  <a:pt x="238" y="45"/>
                </a:lnTo>
                <a:lnTo>
                  <a:pt x="294" y="6"/>
                </a:lnTo>
                <a:lnTo>
                  <a:pt x="306" y="6"/>
                </a:lnTo>
                <a:lnTo>
                  <a:pt x="308" y="20"/>
                </a:lnTo>
                <a:lnTo>
                  <a:pt x="326" y="22"/>
                </a:lnTo>
                <a:lnTo>
                  <a:pt x="360" y="18"/>
                </a:lnTo>
                <a:lnTo>
                  <a:pt x="376" y="2"/>
                </a:lnTo>
                <a:lnTo>
                  <a:pt x="422" y="0"/>
                </a:lnTo>
                <a:lnTo>
                  <a:pt x="431" y="20"/>
                </a:lnTo>
                <a:lnTo>
                  <a:pt x="449" y="20"/>
                </a:lnTo>
                <a:lnTo>
                  <a:pt x="465" y="9"/>
                </a:lnTo>
                <a:lnTo>
                  <a:pt x="494" y="27"/>
                </a:lnTo>
                <a:lnTo>
                  <a:pt x="494" y="58"/>
                </a:lnTo>
                <a:lnTo>
                  <a:pt x="506" y="72"/>
                </a:lnTo>
                <a:lnTo>
                  <a:pt x="503" y="92"/>
                </a:lnTo>
                <a:lnTo>
                  <a:pt x="494" y="113"/>
                </a:lnTo>
                <a:lnTo>
                  <a:pt x="478" y="113"/>
                </a:lnTo>
                <a:lnTo>
                  <a:pt x="474" y="117"/>
                </a:lnTo>
                <a:lnTo>
                  <a:pt x="483" y="133"/>
                </a:lnTo>
                <a:lnTo>
                  <a:pt x="483" y="151"/>
                </a:lnTo>
                <a:lnTo>
                  <a:pt x="474" y="165"/>
                </a:lnTo>
                <a:lnTo>
                  <a:pt x="449" y="178"/>
                </a:lnTo>
                <a:lnTo>
                  <a:pt x="447" y="192"/>
                </a:lnTo>
                <a:lnTo>
                  <a:pt x="447" y="206"/>
                </a:lnTo>
                <a:lnTo>
                  <a:pt x="426" y="210"/>
                </a:lnTo>
                <a:lnTo>
                  <a:pt x="388" y="208"/>
                </a:lnTo>
                <a:lnTo>
                  <a:pt x="369" y="215"/>
                </a:lnTo>
                <a:lnTo>
                  <a:pt x="338" y="215"/>
                </a:lnTo>
                <a:lnTo>
                  <a:pt x="324" y="231"/>
                </a:lnTo>
                <a:lnTo>
                  <a:pt x="272" y="212"/>
                </a:lnTo>
                <a:lnTo>
                  <a:pt x="247" y="215"/>
                </a:lnTo>
                <a:lnTo>
                  <a:pt x="181" y="201"/>
                </a:lnTo>
                <a:lnTo>
                  <a:pt x="172" y="185"/>
                </a:lnTo>
                <a:lnTo>
                  <a:pt x="172" y="167"/>
                </a:lnTo>
                <a:lnTo>
                  <a:pt x="167" y="158"/>
                </a:lnTo>
                <a:lnTo>
                  <a:pt x="161" y="154"/>
                </a:lnTo>
                <a:lnTo>
                  <a:pt x="120" y="156"/>
                </a:lnTo>
                <a:lnTo>
                  <a:pt x="63" y="160"/>
                </a:lnTo>
                <a:lnTo>
                  <a:pt x="58" y="147"/>
                </a:lnTo>
                <a:lnTo>
                  <a:pt x="47" y="142"/>
                </a:lnTo>
                <a:lnTo>
                  <a:pt x="31" y="138"/>
                </a:lnTo>
                <a:lnTo>
                  <a:pt x="15" y="133"/>
                </a:lnTo>
                <a:lnTo>
                  <a:pt x="15" y="117"/>
                </a:lnTo>
                <a:lnTo>
                  <a:pt x="15" y="95"/>
                </a:lnTo>
                <a:lnTo>
                  <a:pt x="0" y="83"/>
                </a:lnTo>
              </a:path>
            </a:pathLst>
          </a:custGeom>
          <a:solidFill>
            <a:schemeClr val="accent3"/>
          </a:solidFill>
          <a:ln w="12700" cap="rnd">
            <a:solidFill>
              <a:schemeClr val="bg1"/>
            </a:solidFill>
            <a:round/>
            <a:headEnd/>
            <a:tailEnd/>
          </a:ln>
        </p:spPr>
        <p:txBody>
          <a:bodyPr/>
          <a:lstStyle/>
          <a:p>
            <a:pPr>
              <a:defRPr/>
            </a:pPr>
            <a:endParaRPr lang="en-GB"/>
          </a:p>
        </p:txBody>
      </p:sp>
      <p:sp>
        <p:nvSpPr>
          <p:cNvPr id="15" name="Freeform 14"/>
          <p:cNvSpPr>
            <a:spLocks/>
          </p:cNvSpPr>
          <p:nvPr/>
        </p:nvSpPr>
        <p:spPr bwMode="auto">
          <a:xfrm>
            <a:off x="4999613" y="4304474"/>
            <a:ext cx="555537" cy="333466"/>
          </a:xfrm>
          <a:custGeom>
            <a:avLst/>
            <a:gdLst>
              <a:gd name="T0" fmla="*/ 2 w 474"/>
              <a:gd name="T1" fmla="*/ 107 h 286"/>
              <a:gd name="T2" fmla="*/ 14 w 474"/>
              <a:gd name="T3" fmla="*/ 114 h 286"/>
              <a:gd name="T4" fmla="*/ 11 w 474"/>
              <a:gd name="T5" fmla="*/ 118 h 286"/>
              <a:gd name="T6" fmla="*/ 16 w 474"/>
              <a:gd name="T7" fmla="*/ 126 h 286"/>
              <a:gd name="T8" fmla="*/ 27 w 474"/>
              <a:gd name="T9" fmla="*/ 126 h 286"/>
              <a:gd name="T10" fmla="*/ 67 w 474"/>
              <a:gd name="T11" fmla="*/ 153 h 286"/>
              <a:gd name="T12" fmla="*/ 77 w 474"/>
              <a:gd name="T13" fmla="*/ 154 h 286"/>
              <a:gd name="T14" fmla="*/ 109 w 474"/>
              <a:gd name="T15" fmla="*/ 169 h 286"/>
              <a:gd name="T16" fmla="*/ 127 w 474"/>
              <a:gd name="T17" fmla="*/ 161 h 286"/>
              <a:gd name="T18" fmla="*/ 149 w 474"/>
              <a:gd name="T19" fmla="*/ 162 h 286"/>
              <a:gd name="T20" fmla="*/ 157 w 474"/>
              <a:gd name="T21" fmla="*/ 165 h 286"/>
              <a:gd name="T22" fmla="*/ 175 w 474"/>
              <a:gd name="T23" fmla="*/ 161 h 286"/>
              <a:gd name="T24" fmla="*/ 208 w 474"/>
              <a:gd name="T25" fmla="*/ 150 h 286"/>
              <a:gd name="T26" fmla="*/ 248 w 474"/>
              <a:gd name="T27" fmla="*/ 147 h 286"/>
              <a:gd name="T28" fmla="*/ 266 w 474"/>
              <a:gd name="T29" fmla="*/ 148 h 286"/>
              <a:gd name="T30" fmla="*/ 271 w 474"/>
              <a:gd name="T31" fmla="*/ 154 h 286"/>
              <a:gd name="T32" fmla="*/ 285 w 474"/>
              <a:gd name="T33" fmla="*/ 143 h 286"/>
              <a:gd name="T34" fmla="*/ 303 w 474"/>
              <a:gd name="T35" fmla="*/ 139 h 286"/>
              <a:gd name="T36" fmla="*/ 320 w 474"/>
              <a:gd name="T37" fmla="*/ 136 h 286"/>
              <a:gd name="T38" fmla="*/ 352 w 474"/>
              <a:gd name="T39" fmla="*/ 114 h 286"/>
              <a:gd name="T40" fmla="*/ 361 w 474"/>
              <a:gd name="T41" fmla="*/ 102 h 286"/>
              <a:gd name="T42" fmla="*/ 364 w 474"/>
              <a:gd name="T43" fmla="*/ 75 h 286"/>
              <a:gd name="T44" fmla="*/ 367 w 474"/>
              <a:gd name="T45" fmla="*/ 54 h 286"/>
              <a:gd name="T46" fmla="*/ 381 w 474"/>
              <a:gd name="T47" fmla="*/ 54 h 286"/>
              <a:gd name="T48" fmla="*/ 388 w 474"/>
              <a:gd name="T49" fmla="*/ 47 h 286"/>
              <a:gd name="T50" fmla="*/ 395 w 474"/>
              <a:gd name="T51" fmla="*/ 39 h 286"/>
              <a:gd name="T52" fmla="*/ 383 w 474"/>
              <a:gd name="T53" fmla="*/ 34 h 286"/>
              <a:gd name="T54" fmla="*/ 378 w 474"/>
              <a:gd name="T55" fmla="*/ 36 h 286"/>
              <a:gd name="T56" fmla="*/ 358 w 474"/>
              <a:gd name="T57" fmla="*/ 34 h 286"/>
              <a:gd name="T58" fmla="*/ 348 w 474"/>
              <a:gd name="T59" fmla="*/ 22 h 286"/>
              <a:gd name="T60" fmla="*/ 337 w 474"/>
              <a:gd name="T61" fmla="*/ 11 h 286"/>
              <a:gd name="T62" fmla="*/ 326 w 474"/>
              <a:gd name="T63" fmla="*/ 11 h 286"/>
              <a:gd name="T64" fmla="*/ 307 w 474"/>
              <a:gd name="T65" fmla="*/ 0 h 286"/>
              <a:gd name="T66" fmla="*/ 298 w 474"/>
              <a:gd name="T67" fmla="*/ 2 h 286"/>
              <a:gd name="T68" fmla="*/ 258 w 474"/>
              <a:gd name="T69" fmla="*/ 5 h 286"/>
              <a:gd name="T70" fmla="*/ 252 w 474"/>
              <a:gd name="T71" fmla="*/ 12 h 286"/>
              <a:gd name="T72" fmla="*/ 240 w 474"/>
              <a:gd name="T73" fmla="*/ 22 h 286"/>
              <a:gd name="T74" fmla="*/ 227 w 474"/>
              <a:gd name="T75" fmla="*/ 26 h 286"/>
              <a:gd name="T76" fmla="*/ 214 w 474"/>
              <a:gd name="T77" fmla="*/ 30 h 286"/>
              <a:gd name="T78" fmla="*/ 205 w 474"/>
              <a:gd name="T79" fmla="*/ 26 h 286"/>
              <a:gd name="T80" fmla="*/ 196 w 474"/>
              <a:gd name="T81" fmla="*/ 22 h 286"/>
              <a:gd name="T82" fmla="*/ 189 w 474"/>
              <a:gd name="T83" fmla="*/ 22 h 286"/>
              <a:gd name="T84" fmla="*/ 178 w 474"/>
              <a:gd name="T85" fmla="*/ 25 h 286"/>
              <a:gd name="T86" fmla="*/ 161 w 474"/>
              <a:gd name="T87" fmla="*/ 32 h 286"/>
              <a:gd name="T88" fmla="*/ 128 w 474"/>
              <a:gd name="T89" fmla="*/ 41 h 286"/>
              <a:gd name="T90" fmla="*/ 114 w 474"/>
              <a:gd name="T91" fmla="*/ 42 h 286"/>
              <a:gd name="T92" fmla="*/ 77 w 474"/>
              <a:gd name="T93" fmla="*/ 41 h 286"/>
              <a:gd name="T94" fmla="*/ 73 w 474"/>
              <a:gd name="T95" fmla="*/ 41 h 286"/>
              <a:gd name="T96" fmla="*/ 65 w 474"/>
              <a:gd name="T97" fmla="*/ 31 h 286"/>
              <a:gd name="T98" fmla="*/ 52 w 474"/>
              <a:gd name="T99" fmla="*/ 25 h 286"/>
              <a:gd name="T100" fmla="*/ 50 w 474"/>
              <a:gd name="T101" fmla="*/ 30 h 286"/>
              <a:gd name="T102" fmla="*/ 48 w 474"/>
              <a:gd name="T103" fmla="*/ 39 h 286"/>
              <a:gd name="T104" fmla="*/ 42 w 474"/>
              <a:gd name="T105" fmla="*/ 50 h 286"/>
              <a:gd name="T106" fmla="*/ 29 w 474"/>
              <a:gd name="T107" fmla="*/ 50 h 286"/>
              <a:gd name="T108" fmla="*/ 25 w 474"/>
              <a:gd name="T109" fmla="*/ 53 h 286"/>
              <a:gd name="T110" fmla="*/ 31 w 474"/>
              <a:gd name="T111" fmla="*/ 61 h 286"/>
              <a:gd name="T112" fmla="*/ 30 w 474"/>
              <a:gd name="T113" fmla="*/ 71 h 286"/>
              <a:gd name="T114" fmla="*/ 21 w 474"/>
              <a:gd name="T115" fmla="*/ 80 h 286"/>
              <a:gd name="T116" fmla="*/ 14 w 474"/>
              <a:gd name="T117" fmla="*/ 85 h 286"/>
              <a:gd name="T118" fmla="*/ 4 w 474"/>
              <a:gd name="T119" fmla="*/ 90 h 286"/>
              <a:gd name="T120" fmla="*/ 0 w 474"/>
              <a:gd name="T121" fmla="*/ 97 h 286"/>
              <a:gd name="T122" fmla="*/ 2 w 474"/>
              <a:gd name="T123" fmla="*/ 107 h 28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74"/>
              <a:gd name="T187" fmla="*/ 0 h 286"/>
              <a:gd name="T188" fmla="*/ 474 w 474"/>
              <a:gd name="T189" fmla="*/ 286 h 28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74" h="286">
                <a:moveTo>
                  <a:pt x="2" y="180"/>
                </a:moveTo>
                <a:lnTo>
                  <a:pt x="18" y="193"/>
                </a:lnTo>
                <a:lnTo>
                  <a:pt x="15" y="200"/>
                </a:lnTo>
                <a:lnTo>
                  <a:pt x="20" y="212"/>
                </a:lnTo>
                <a:lnTo>
                  <a:pt x="31" y="212"/>
                </a:lnTo>
                <a:lnTo>
                  <a:pt x="79" y="257"/>
                </a:lnTo>
                <a:lnTo>
                  <a:pt x="93" y="259"/>
                </a:lnTo>
                <a:lnTo>
                  <a:pt x="131" y="285"/>
                </a:lnTo>
                <a:lnTo>
                  <a:pt x="152" y="271"/>
                </a:lnTo>
                <a:lnTo>
                  <a:pt x="179" y="273"/>
                </a:lnTo>
                <a:lnTo>
                  <a:pt x="188" y="278"/>
                </a:lnTo>
                <a:lnTo>
                  <a:pt x="209" y="271"/>
                </a:lnTo>
                <a:lnTo>
                  <a:pt x="250" y="253"/>
                </a:lnTo>
                <a:lnTo>
                  <a:pt x="297" y="246"/>
                </a:lnTo>
                <a:lnTo>
                  <a:pt x="318" y="250"/>
                </a:lnTo>
                <a:lnTo>
                  <a:pt x="325" y="259"/>
                </a:lnTo>
                <a:lnTo>
                  <a:pt x="341" y="241"/>
                </a:lnTo>
                <a:lnTo>
                  <a:pt x="363" y="234"/>
                </a:lnTo>
                <a:lnTo>
                  <a:pt x="384" y="230"/>
                </a:lnTo>
                <a:lnTo>
                  <a:pt x="422" y="193"/>
                </a:lnTo>
                <a:lnTo>
                  <a:pt x="432" y="171"/>
                </a:lnTo>
                <a:lnTo>
                  <a:pt x="436" y="127"/>
                </a:lnTo>
                <a:lnTo>
                  <a:pt x="441" y="91"/>
                </a:lnTo>
                <a:lnTo>
                  <a:pt x="457" y="91"/>
                </a:lnTo>
                <a:lnTo>
                  <a:pt x="466" y="77"/>
                </a:lnTo>
                <a:lnTo>
                  <a:pt x="473" y="66"/>
                </a:lnTo>
                <a:lnTo>
                  <a:pt x="459" y="57"/>
                </a:lnTo>
                <a:lnTo>
                  <a:pt x="452" y="61"/>
                </a:lnTo>
                <a:lnTo>
                  <a:pt x="429" y="57"/>
                </a:lnTo>
                <a:lnTo>
                  <a:pt x="418" y="38"/>
                </a:lnTo>
                <a:lnTo>
                  <a:pt x="404" y="18"/>
                </a:lnTo>
                <a:lnTo>
                  <a:pt x="391" y="18"/>
                </a:lnTo>
                <a:lnTo>
                  <a:pt x="368" y="0"/>
                </a:lnTo>
                <a:lnTo>
                  <a:pt x="357" y="2"/>
                </a:lnTo>
                <a:lnTo>
                  <a:pt x="309" y="9"/>
                </a:lnTo>
                <a:lnTo>
                  <a:pt x="302" y="20"/>
                </a:lnTo>
                <a:lnTo>
                  <a:pt x="288" y="36"/>
                </a:lnTo>
                <a:lnTo>
                  <a:pt x="272" y="45"/>
                </a:lnTo>
                <a:lnTo>
                  <a:pt x="256" y="50"/>
                </a:lnTo>
                <a:lnTo>
                  <a:pt x="245" y="45"/>
                </a:lnTo>
                <a:lnTo>
                  <a:pt x="234" y="38"/>
                </a:lnTo>
                <a:lnTo>
                  <a:pt x="227" y="36"/>
                </a:lnTo>
                <a:lnTo>
                  <a:pt x="213" y="43"/>
                </a:lnTo>
                <a:lnTo>
                  <a:pt x="193" y="54"/>
                </a:lnTo>
                <a:lnTo>
                  <a:pt x="154" y="70"/>
                </a:lnTo>
                <a:lnTo>
                  <a:pt x="136" y="72"/>
                </a:lnTo>
                <a:lnTo>
                  <a:pt x="93" y="70"/>
                </a:lnTo>
                <a:lnTo>
                  <a:pt x="88" y="68"/>
                </a:lnTo>
                <a:lnTo>
                  <a:pt x="77" y="52"/>
                </a:lnTo>
                <a:lnTo>
                  <a:pt x="63" y="43"/>
                </a:lnTo>
                <a:lnTo>
                  <a:pt x="59" y="50"/>
                </a:lnTo>
                <a:lnTo>
                  <a:pt x="56" y="66"/>
                </a:lnTo>
                <a:lnTo>
                  <a:pt x="50" y="84"/>
                </a:lnTo>
                <a:lnTo>
                  <a:pt x="34" y="84"/>
                </a:lnTo>
                <a:lnTo>
                  <a:pt x="29" y="88"/>
                </a:lnTo>
                <a:lnTo>
                  <a:pt x="38" y="104"/>
                </a:lnTo>
                <a:lnTo>
                  <a:pt x="36" y="120"/>
                </a:lnTo>
                <a:lnTo>
                  <a:pt x="25" y="136"/>
                </a:lnTo>
                <a:lnTo>
                  <a:pt x="18" y="143"/>
                </a:lnTo>
                <a:lnTo>
                  <a:pt x="4" y="150"/>
                </a:lnTo>
                <a:lnTo>
                  <a:pt x="0" y="164"/>
                </a:lnTo>
                <a:lnTo>
                  <a:pt x="2" y="180"/>
                </a:lnTo>
              </a:path>
            </a:pathLst>
          </a:custGeom>
          <a:solidFill>
            <a:schemeClr val="accent3"/>
          </a:solidFill>
          <a:ln w="12700" cap="rnd">
            <a:solidFill>
              <a:schemeClr val="bg1"/>
            </a:solidFill>
            <a:round/>
            <a:headEnd/>
            <a:tailEnd/>
          </a:ln>
        </p:spPr>
        <p:txBody>
          <a:bodyPr/>
          <a:lstStyle/>
          <a:p>
            <a:pPr>
              <a:defRPr/>
            </a:pPr>
            <a:endParaRPr lang="en-GB"/>
          </a:p>
        </p:txBody>
      </p:sp>
      <p:sp>
        <p:nvSpPr>
          <p:cNvPr id="16" name="Freeform 15"/>
          <p:cNvSpPr>
            <a:spLocks/>
          </p:cNvSpPr>
          <p:nvPr/>
        </p:nvSpPr>
        <p:spPr bwMode="auto">
          <a:xfrm>
            <a:off x="4762927" y="4514385"/>
            <a:ext cx="261213" cy="151455"/>
          </a:xfrm>
          <a:custGeom>
            <a:avLst/>
            <a:gdLst>
              <a:gd name="T0" fmla="*/ 16 w 224"/>
              <a:gd name="T1" fmla="*/ 40 h 130"/>
              <a:gd name="T2" fmla="*/ 32 w 224"/>
              <a:gd name="T3" fmla="*/ 54 h 130"/>
              <a:gd name="T4" fmla="*/ 28 w 224"/>
              <a:gd name="T5" fmla="*/ 61 h 130"/>
              <a:gd name="T6" fmla="*/ 21 w 224"/>
              <a:gd name="T7" fmla="*/ 65 h 130"/>
              <a:gd name="T8" fmla="*/ 10 w 224"/>
              <a:gd name="T9" fmla="*/ 67 h 130"/>
              <a:gd name="T10" fmla="*/ 0 w 224"/>
              <a:gd name="T11" fmla="*/ 68 h 130"/>
              <a:gd name="T12" fmla="*/ 18 w 224"/>
              <a:gd name="T13" fmla="*/ 74 h 130"/>
              <a:gd name="T14" fmla="*/ 26 w 224"/>
              <a:gd name="T15" fmla="*/ 76 h 130"/>
              <a:gd name="T16" fmla="*/ 48 w 224"/>
              <a:gd name="T17" fmla="*/ 65 h 130"/>
              <a:gd name="T18" fmla="*/ 98 w 224"/>
              <a:gd name="T19" fmla="*/ 74 h 130"/>
              <a:gd name="T20" fmla="*/ 131 w 224"/>
              <a:gd name="T21" fmla="*/ 47 h 130"/>
              <a:gd name="T22" fmla="*/ 139 w 224"/>
              <a:gd name="T23" fmla="*/ 37 h 130"/>
              <a:gd name="T24" fmla="*/ 145 w 224"/>
              <a:gd name="T25" fmla="*/ 34 h 130"/>
              <a:gd name="T26" fmla="*/ 164 w 224"/>
              <a:gd name="T27" fmla="*/ 35 h 130"/>
              <a:gd name="T28" fmla="*/ 183 w 224"/>
              <a:gd name="T29" fmla="*/ 19 h 130"/>
              <a:gd name="T30" fmla="*/ 180 w 224"/>
              <a:gd name="T31" fmla="*/ 9 h 130"/>
              <a:gd name="T32" fmla="*/ 166 w 224"/>
              <a:gd name="T33" fmla="*/ 0 h 130"/>
              <a:gd name="T34" fmla="*/ 158 w 224"/>
              <a:gd name="T35" fmla="*/ 2 h 130"/>
              <a:gd name="T36" fmla="*/ 150 w 224"/>
              <a:gd name="T37" fmla="*/ 4 h 130"/>
              <a:gd name="T38" fmla="*/ 133 w 224"/>
              <a:gd name="T39" fmla="*/ 0 h 130"/>
              <a:gd name="T40" fmla="*/ 117 w 224"/>
              <a:gd name="T41" fmla="*/ 2 h 130"/>
              <a:gd name="T42" fmla="*/ 100 w 224"/>
              <a:gd name="T43" fmla="*/ 4 h 130"/>
              <a:gd name="T44" fmla="*/ 78 w 224"/>
              <a:gd name="T45" fmla="*/ 4 h 130"/>
              <a:gd name="T46" fmla="*/ 66 w 224"/>
              <a:gd name="T47" fmla="*/ 13 h 130"/>
              <a:gd name="T48" fmla="*/ 28 w 224"/>
              <a:gd name="T49" fmla="*/ 4 h 130"/>
              <a:gd name="T50" fmla="*/ 14 w 224"/>
              <a:gd name="T51" fmla="*/ 4 h 130"/>
              <a:gd name="T52" fmla="*/ 14 w 224"/>
              <a:gd name="T53" fmla="*/ 22 h 130"/>
              <a:gd name="T54" fmla="*/ 16 w 224"/>
              <a:gd name="T55" fmla="*/ 40 h 1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4"/>
              <a:gd name="T85" fmla="*/ 0 h 130"/>
              <a:gd name="T86" fmla="*/ 224 w 224"/>
              <a:gd name="T87" fmla="*/ 130 h 1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4" h="130">
                <a:moveTo>
                  <a:pt x="20" y="70"/>
                </a:moveTo>
                <a:lnTo>
                  <a:pt x="40" y="92"/>
                </a:lnTo>
                <a:lnTo>
                  <a:pt x="34" y="104"/>
                </a:lnTo>
                <a:lnTo>
                  <a:pt x="25" y="110"/>
                </a:lnTo>
                <a:lnTo>
                  <a:pt x="13" y="113"/>
                </a:lnTo>
                <a:lnTo>
                  <a:pt x="0" y="115"/>
                </a:lnTo>
                <a:lnTo>
                  <a:pt x="22" y="126"/>
                </a:lnTo>
                <a:lnTo>
                  <a:pt x="31" y="129"/>
                </a:lnTo>
                <a:lnTo>
                  <a:pt x="59" y="110"/>
                </a:lnTo>
                <a:lnTo>
                  <a:pt x="120" y="126"/>
                </a:lnTo>
                <a:lnTo>
                  <a:pt x="161" y="81"/>
                </a:lnTo>
                <a:lnTo>
                  <a:pt x="170" y="63"/>
                </a:lnTo>
                <a:lnTo>
                  <a:pt x="177" y="58"/>
                </a:lnTo>
                <a:lnTo>
                  <a:pt x="200" y="61"/>
                </a:lnTo>
                <a:lnTo>
                  <a:pt x="223" y="33"/>
                </a:lnTo>
                <a:lnTo>
                  <a:pt x="220" y="15"/>
                </a:lnTo>
                <a:lnTo>
                  <a:pt x="204" y="0"/>
                </a:lnTo>
                <a:lnTo>
                  <a:pt x="193" y="2"/>
                </a:lnTo>
                <a:lnTo>
                  <a:pt x="184" y="4"/>
                </a:lnTo>
                <a:lnTo>
                  <a:pt x="163" y="0"/>
                </a:lnTo>
                <a:lnTo>
                  <a:pt x="143" y="2"/>
                </a:lnTo>
                <a:lnTo>
                  <a:pt x="122" y="6"/>
                </a:lnTo>
                <a:lnTo>
                  <a:pt x="95" y="4"/>
                </a:lnTo>
                <a:lnTo>
                  <a:pt x="81" y="22"/>
                </a:lnTo>
                <a:lnTo>
                  <a:pt x="34" y="6"/>
                </a:lnTo>
                <a:lnTo>
                  <a:pt x="18" y="6"/>
                </a:lnTo>
                <a:lnTo>
                  <a:pt x="18" y="36"/>
                </a:lnTo>
                <a:lnTo>
                  <a:pt x="20" y="70"/>
                </a:lnTo>
              </a:path>
            </a:pathLst>
          </a:custGeom>
          <a:solidFill>
            <a:schemeClr val="accent3"/>
          </a:solidFill>
          <a:ln w="12700" cap="rnd">
            <a:solidFill>
              <a:schemeClr val="bg1"/>
            </a:solidFill>
            <a:round/>
            <a:headEnd/>
            <a:tailEnd/>
          </a:ln>
        </p:spPr>
        <p:txBody>
          <a:bodyPr/>
          <a:lstStyle/>
          <a:p>
            <a:pPr>
              <a:defRPr/>
            </a:pPr>
            <a:endParaRPr lang="en-GB"/>
          </a:p>
        </p:txBody>
      </p:sp>
      <p:sp>
        <p:nvSpPr>
          <p:cNvPr id="17" name="Freeform 16"/>
          <p:cNvSpPr>
            <a:spLocks/>
          </p:cNvSpPr>
          <p:nvPr/>
        </p:nvSpPr>
        <p:spPr bwMode="auto">
          <a:xfrm>
            <a:off x="5529396" y="4786738"/>
            <a:ext cx="501577" cy="369337"/>
          </a:xfrm>
          <a:custGeom>
            <a:avLst/>
            <a:gdLst>
              <a:gd name="T0" fmla="*/ 9 w 430"/>
              <a:gd name="T1" fmla="*/ 27 h 316"/>
              <a:gd name="T2" fmla="*/ 2 w 430"/>
              <a:gd name="T3" fmla="*/ 39 h 316"/>
              <a:gd name="T4" fmla="*/ 26 w 430"/>
              <a:gd name="T5" fmla="*/ 55 h 316"/>
              <a:gd name="T6" fmla="*/ 28 w 430"/>
              <a:gd name="T7" fmla="*/ 77 h 316"/>
              <a:gd name="T8" fmla="*/ 6 w 430"/>
              <a:gd name="T9" fmla="*/ 91 h 316"/>
              <a:gd name="T10" fmla="*/ 10 w 430"/>
              <a:gd name="T11" fmla="*/ 106 h 316"/>
              <a:gd name="T12" fmla="*/ 6 w 430"/>
              <a:gd name="T13" fmla="*/ 126 h 316"/>
              <a:gd name="T14" fmla="*/ 10 w 430"/>
              <a:gd name="T15" fmla="*/ 141 h 316"/>
              <a:gd name="T16" fmla="*/ 28 w 430"/>
              <a:gd name="T17" fmla="*/ 150 h 316"/>
              <a:gd name="T18" fmla="*/ 28 w 430"/>
              <a:gd name="T19" fmla="*/ 172 h 316"/>
              <a:gd name="T20" fmla="*/ 41 w 430"/>
              <a:gd name="T21" fmla="*/ 189 h 316"/>
              <a:gd name="T22" fmla="*/ 100 w 430"/>
              <a:gd name="T23" fmla="*/ 177 h 316"/>
              <a:gd name="T24" fmla="*/ 135 w 430"/>
              <a:gd name="T25" fmla="*/ 158 h 316"/>
              <a:gd name="T26" fmla="*/ 163 w 430"/>
              <a:gd name="T27" fmla="*/ 171 h 316"/>
              <a:gd name="T28" fmla="*/ 189 w 430"/>
              <a:gd name="T29" fmla="*/ 177 h 316"/>
              <a:gd name="T30" fmla="*/ 221 w 430"/>
              <a:gd name="T31" fmla="*/ 168 h 316"/>
              <a:gd name="T32" fmla="*/ 223 w 430"/>
              <a:gd name="T33" fmla="*/ 148 h 316"/>
              <a:gd name="T34" fmla="*/ 246 w 430"/>
              <a:gd name="T35" fmla="*/ 148 h 316"/>
              <a:gd name="T36" fmla="*/ 260 w 430"/>
              <a:gd name="T37" fmla="*/ 142 h 316"/>
              <a:gd name="T38" fmla="*/ 306 w 430"/>
              <a:gd name="T39" fmla="*/ 132 h 316"/>
              <a:gd name="T40" fmla="*/ 323 w 430"/>
              <a:gd name="T41" fmla="*/ 118 h 316"/>
              <a:gd name="T42" fmla="*/ 299 w 430"/>
              <a:gd name="T43" fmla="*/ 99 h 316"/>
              <a:gd name="T44" fmla="*/ 309 w 430"/>
              <a:gd name="T45" fmla="*/ 84 h 316"/>
              <a:gd name="T46" fmla="*/ 320 w 430"/>
              <a:gd name="T47" fmla="*/ 74 h 316"/>
              <a:gd name="T48" fmla="*/ 325 w 430"/>
              <a:gd name="T49" fmla="*/ 55 h 316"/>
              <a:gd name="T50" fmla="*/ 332 w 430"/>
              <a:gd name="T51" fmla="*/ 35 h 316"/>
              <a:gd name="T52" fmla="*/ 351 w 430"/>
              <a:gd name="T53" fmla="*/ 27 h 316"/>
              <a:gd name="T54" fmla="*/ 341 w 430"/>
              <a:gd name="T55" fmla="*/ 7 h 316"/>
              <a:gd name="T56" fmla="*/ 293 w 430"/>
              <a:gd name="T57" fmla="*/ 2 h 316"/>
              <a:gd name="T58" fmla="*/ 243 w 430"/>
              <a:gd name="T59" fmla="*/ 4 h 316"/>
              <a:gd name="T60" fmla="*/ 195 w 430"/>
              <a:gd name="T61" fmla="*/ 22 h 316"/>
              <a:gd name="T62" fmla="*/ 158 w 430"/>
              <a:gd name="T63" fmla="*/ 33 h 316"/>
              <a:gd name="T64" fmla="*/ 107 w 430"/>
              <a:gd name="T65" fmla="*/ 37 h 316"/>
              <a:gd name="T66" fmla="*/ 76 w 430"/>
              <a:gd name="T67" fmla="*/ 35 h 316"/>
              <a:gd name="T68" fmla="*/ 37 w 430"/>
              <a:gd name="T69" fmla="*/ 26 h 316"/>
              <a:gd name="T70" fmla="*/ 10 w 430"/>
              <a:gd name="T71" fmla="*/ 23 h 3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0"/>
              <a:gd name="T109" fmla="*/ 0 h 316"/>
              <a:gd name="T110" fmla="*/ 430 w 430"/>
              <a:gd name="T111" fmla="*/ 316 h 31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0" h="316">
                <a:moveTo>
                  <a:pt x="11" y="38"/>
                </a:moveTo>
                <a:lnTo>
                  <a:pt x="9" y="45"/>
                </a:lnTo>
                <a:lnTo>
                  <a:pt x="0" y="52"/>
                </a:lnTo>
                <a:lnTo>
                  <a:pt x="2" y="65"/>
                </a:lnTo>
                <a:lnTo>
                  <a:pt x="13" y="90"/>
                </a:lnTo>
                <a:lnTo>
                  <a:pt x="31" y="92"/>
                </a:lnTo>
                <a:lnTo>
                  <a:pt x="34" y="101"/>
                </a:lnTo>
                <a:lnTo>
                  <a:pt x="34" y="129"/>
                </a:lnTo>
                <a:lnTo>
                  <a:pt x="27" y="138"/>
                </a:lnTo>
                <a:lnTo>
                  <a:pt x="6" y="151"/>
                </a:lnTo>
                <a:lnTo>
                  <a:pt x="4" y="158"/>
                </a:lnTo>
                <a:lnTo>
                  <a:pt x="11" y="179"/>
                </a:lnTo>
                <a:lnTo>
                  <a:pt x="11" y="194"/>
                </a:lnTo>
                <a:lnTo>
                  <a:pt x="6" y="210"/>
                </a:lnTo>
                <a:lnTo>
                  <a:pt x="0" y="219"/>
                </a:lnTo>
                <a:lnTo>
                  <a:pt x="11" y="235"/>
                </a:lnTo>
                <a:lnTo>
                  <a:pt x="18" y="233"/>
                </a:lnTo>
                <a:lnTo>
                  <a:pt x="34" y="249"/>
                </a:lnTo>
                <a:lnTo>
                  <a:pt x="34" y="265"/>
                </a:lnTo>
                <a:lnTo>
                  <a:pt x="34" y="287"/>
                </a:lnTo>
                <a:lnTo>
                  <a:pt x="34" y="296"/>
                </a:lnTo>
                <a:lnTo>
                  <a:pt x="49" y="315"/>
                </a:lnTo>
                <a:lnTo>
                  <a:pt x="83" y="308"/>
                </a:lnTo>
                <a:lnTo>
                  <a:pt x="122" y="296"/>
                </a:lnTo>
                <a:lnTo>
                  <a:pt x="152" y="278"/>
                </a:lnTo>
                <a:lnTo>
                  <a:pt x="165" y="265"/>
                </a:lnTo>
                <a:lnTo>
                  <a:pt x="183" y="292"/>
                </a:lnTo>
                <a:lnTo>
                  <a:pt x="199" y="285"/>
                </a:lnTo>
                <a:lnTo>
                  <a:pt x="220" y="292"/>
                </a:lnTo>
                <a:lnTo>
                  <a:pt x="231" y="294"/>
                </a:lnTo>
                <a:lnTo>
                  <a:pt x="256" y="285"/>
                </a:lnTo>
                <a:lnTo>
                  <a:pt x="270" y="281"/>
                </a:lnTo>
                <a:lnTo>
                  <a:pt x="270" y="267"/>
                </a:lnTo>
                <a:lnTo>
                  <a:pt x="272" y="247"/>
                </a:lnTo>
                <a:lnTo>
                  <a:pt x="286" y="240"/>
                </a:lnTo>
                <a:lnTo>
                  <a:pt x="301" y="247"/>
                </a:lnTo>
                <a:lnTo>
                  <a:pt x="304" y="256"/>
                </a:lnTo>
                <a:lnTo>
                  <a:pt x="317" y="237"/>
                </a:lnTo>
                <a:lnTo>
                  <a:pt x="347" y="224"/>
                </a:lnTo>
                <a:lnTo>
                  <a:pt x="374" y="219"/>
                </a:lnTo>
                <a:lnTo>
                  <a:pt x="399" y="219"/>
                </a:lnTo>
                <a:lnTo>
                  <a:pt x="394" y="197"/>
                </a:lnTo>
                <a:lnTo>
                  <a:pt x="392" y="185"/>
                </a:lnTo>
                <a:lnTo>
                  <a:pt x="365" y="165"/>
                </a:lnTo>
                <a:lnTo>
                  <a:pt x="365" y="160"/>
                </a:lnTo>
                <a:lnTo>
                  <a:pt x="379" y="140"/>
                </a:lnTo>
                <a:lnTo>
                  <a:pt x="394" y="135"/>
                </a:lnTo>
                <a:lnTo>
                  <a:pt x="390" y="124"/>
                </a:lnTo>
                <a:lnTo>
                  <a:pt x="397" y="104"/>
                </a:lnTo>
                <a:lnTo>
                  <a:pt x="397" y="92"/>
                </a:lnTo>
                <a:lnTo>
                  <a:pt x="401" y="67"/>
                </a:lnTo>
                <a:lnTo>
                  <a:pt x="406" y="58"/>
                </a:lnTo>
                <a:lnTo>
                  <a:pt x="419" y="61"/>
                </a:lnTo>
                <a:lnTo>
                  <a:pt x="429" y="45"/>
                </a:lnTo>
                <a:lnTo>
                  <a:pt x="419" y="29"/>
                </a:lnTo>
                <a:lnTo>
                  <a:pt x="415" y="11"/>
                </a:lnTo>
                <a:lnTo>
                  <a:pt x="406" y="13"/>
                </a:lnTo>
                <a:lnTo>
                  <a:pt x="358" y="2"/>
                </a:lnTo>
                <a:lnTo>
                  <a:pt x="326" y="0"/>
                </a:lnTo>
                <a:lnTo>
                  <a:pt x="297" y="6"/>
                </a:lnTo>
                <a:lnTo>
                  <a:pt x="270" y="20"/>
                </a:lnTo>
                <a:lnTo>
                  <a:pt x="238" y="36"/>
                </a:lnTo>
                <a:lnTo>
                  <a:pt x="215" y="54"/>
                </a:lnTo>
                <a:lnTo>
                  <a:pt x="192" y="56"/>
                </a:lnTo>
                <a:lnTo>
                  <a:pt x="161" y="52"/>
                </a:lnTo>
                <a:lnTo>
                  <a:pt x="131" y="61"/>
                </a:lnTo>
                <a:lnTo>
                  <a:pt x="113" y="65"/>
                </a:lnTo>
                <a:lnTo>
                  <a:pt x="93" y="58"/>
                </a:lnTo>
                <a:lnTo>
                  <a:pt x="63" y="47"/>
                </a:lnTo>
                <a:lnTo>
                  <a:pt x="45" y="43"/>
                </a:lnTo>
                <a:lnTo>
                  <a:pt x="22" y="38"/>
                </a:lnTo>
                <a:lnTo>
                  <a:pt x="11" y="38"/>
                </a:lnTo>
              </a:path>
            </a:pathLst>
          </a:custGeom>
          <a:solidFill>
            <a:schemeClr val="accent3"/>
          </a:solidFill>
          <a:ln w="12700" cap="rnd">
            <a:solidFill>
              <a:schemeClr val="bg1"/>
            </a:solidFill>
            <a:round/>
            <a:headEnd/>
            <a:tailEnd/>
          </a:ln>
        </p:spPr>
        <p:txBody>
          <a:bodyPr/>
          <a:lstStyle/>
          <a:p>
            <a:pPr>
              <a:defRPr/>
            </a:pPr>
            <a:endParaRPr lang="en-GB"/>
          </a:p>
        </p:txBody>
      </p:sp>
      <p:sp>
        <p:nvSpPr>
          <p:cNvPr id="18" name="Freeform 17"/>
          <p:cNvSpPr>
            <a:spLocks/>
          </p:cNvSpPr>
          <p:nvPr/>
        </p:nvSpPr>
        <p:spPr bwMode="auto">
          <a:xfrm>
            <a:off x="5238751" y="5016577"/>
            <a:ext cx="194990" cy="325495"/>
          </a:xfrm>
          <a:custGeom>
            <a:avLst/>
            <a:gdLst>
              <a:gd name="T0" fmla="*/ 9 w 168"/>
              <a:gd name="T1" fmla="*/ 36 h 279"/>
              <a:gd name="T2" fmla="*/ 18 w 168"/>
              <a:gd name="T3" fmla="*/ 41 h 279"/>
              <a:gd name="T4" fmla="*/ 18 w 168"/>
              <a:gd name="T5" fmla="*/ 48 h 279"/>
              <a:gd name="T6" fmla="*/ 16 w 168"/>
              <a:gd name="T7" fmla="*/ 54 h 279"/>
              <a:gd name="T8" fmla="*/ 12 w 168"/>
              <a:gd name="T9" fmla="*/ 60 h 279"/>
              <a:gd name="T10" fmla="*/ 12 w 168"/>
              <a:gd name="T11" fmla="*/ 76 h 279"/>
              <a:gd name="T12" fmla="*/ 14 w 168"/>
              <a:gd name="T13" fmla="*/ 83 h 279"/>
              <a:gd name="T14" fmla="*/ 4 w 168"/>
              <a:gd name="T15" fmla="*/ 96 h 279"/>
              <a:gd name="T16" fmla="*/ 9 w 168"/>
              <a:gd name="T17" fmla="*/ 98 h 279"/>
              <a:gd name="T18" fmla="*/ 0 w 168"/>
              <a:gd name="T19" fmla="*/ 104 h 279"/>
              <a:gd name="T20" fmla="*/ 6 w 168"/>
              <a:gd name="T21" fmla="*/ 112 h 279"/>
              <a:gd name="T22" fmla="*/ 9 w 168"/>
              <a:gd name="T23" fmla="*/ 118 h 279"/>
              <a:gd name="T24" fmla="*/ 9 w 168"/>
              <a:gd name="T25" fmla="*/ 111 h 279"/>
              <a:gd name="T26" fmla="*/ 21 w 168"/>
              <a:gd name="T27" fmla="*/ 119 h 279"/>
              <a:gd name="T28" fmla="*/ 18 w 168"/>
              <a:gd name="T29" fmla="*/ 129 h 279"/>
              <a:gd name="T30" fmla="*/ 14 w 168"/>
              <a:gd name="T31" fmla="*/ 133 h 279"/>
              <a:gd name="T32" fmla="*/ 21 w 168"/>
              <a:gd name="T33" fmla="*/ 141 h 279"/>
              <a:gd name="T34" fmla="*/ 26 w 168"/>
              <a:gd name="T35" fmla="*/ 143 h 279"/>
              <a:gd name="T36" fmla="*/ 42 w 168"/>
              <a:gd name="T37" fmla="*/ 148 h 279"/>
              <a:gd name="T38" fmla="*/ 53 w 168"/>
              <a:gd name="T39" fmla="*/ 155 h 279"/>
              <a:gd name="T40" fmla="*/ 55 w 168"/>
              <a:gd name="T41" fmla="*/ 162 h 279"/>
              <a:gd name="T42" fmla="*/ 69 w 168"/>
              <a:gd name="T43" fmla="*/ 165 h 279"/>
              <a:gd name="T44" fmla="*/ 80 w 168"/>
              <a:gd name="T45" fmla="*/ 162 h 279"/>
              <a:gd name="T46" fmla="*/ 95 w 168"/>
              <a:gd name="T47" fmla="*/ 154 h 279"/>
              <a:gd name="T48" fmla="*/ 103 w 168"/>
              <a:gd name="T49" fmla="*/ 144 h 279"/>
              <a:gd name="T50" fmla="*/ 108 w 168"/>
              <a:gd name="T51" fmla="*/ 138 h 279"/>
              <a:gd name="T52" fmla="*/ 120 w 168"/>
              <a:gd name="T53" fmla="*/ 122 h 279"/>
              <a:gd name="T54" fmla="*/ 125 w 168"/>
              <a:gd name="T55" fmla="*/ 110 h 279"/>
              <a:gd name="T56" fmla="*/ 126 w 168"/>
              <a:gd name="T57" fmla="*/ 98 h 279"/>
              <a:gd name="T58" fmla="*/ 134 w 168"/>
              <a:gd name="T59" fmla="*/ 90 h 279"/>
              <a:gd name="T60" fmla="*/ 120 w 168"/>
              <a:gd name="T61" fmla="*/ 88 h 279"/>
              <a:gd name="T62" fmla="*/ 115 w 168"/>
              <a:gd name="T63" fmla="*/ 84 h 279"/>
              <a:gd name="T64" fmla="*/ 108 w 168"/>
              <a:gd name="T65" fmla="*/ 85 h 279"/>
              <a:gd name="T66" fmla="*/ 97 w 168"/>
              <a:gd name="T67" fmla="*/ 80 h 279"/>
              <a:gd name="T68" fmla="*/ 93 w 168"/>
              <a:gd name="T69" fmla="*/ 69 h 279"/>
              <a:gd name="T70" fmla="*/ 90 w 168"/>
              <a:gd name="T71" fmla="*/ 61 h 279"/>
              <a:gd name="T72" fmla="*/ 97 w 168"/>
              <a:gd name="T73" fmla="*/ 53 h 279"/>
              <a:gd name="T74" fmla="*/ 97 w 168"/>
              <a:gd name="T75" fmla="*/ 27 h 279"/>
              <a:gd name="T76" fmla="*/ 97 w 168"/>
              <a:gd name="T77" fmla="*/ 17 h 279"/>
              <a:gd name="T78" fmla="*/ 90 w 168"/>
              <a:gd name="T79" fmla="*/ 12 h 279"/>
              <a:gd name="T80" fmla="*/ 79 w 168"/>
              <a:gd name="T81" fmla="*/ 12 h 279"/>
              <a:gd name="T82" fmla="*/ 72 w 168"/>
              <a:gd name="T83" fmla="*/ 9 h 279"/>
              <a:gd name="T84" fmla="*/ 64 w 168"/>
              <a:gd name="T85" fmla="*/ 2 h 279"/>
              <a:gd name="T86" fmla="*/ 55 w 168"/>
              <a:gd name="T87" fmla="*/ 0 h 279"/>
              <a:gd name="T88" fmla="*/ 52 w 168"/>
              <a:gd name="T89" fmla="*/ 4 h 279"/>
              <a:gd name="T90" fmla="*/ 52 w 168"/>
              <a:gd name="T91" fmla="*/ 2 h 279"/>
              <a:gd name="T92" fmla="*/ 37 w 168"/>
              <a:gd name="T93" fmla="*/ 4 h 279"/>
              <a:gd name="T94" fmla="*/ 28 w 168"/>
              <a:gd name="T95" fmla="*/ 0 h 279"/>
              <a:gd name="T96" fmla="*/ 21 w 168"/>
              <a:gd name="T97" fmla="*/ 4 h 279"/>
              <a:gd name="T98" fmla="*/ 18 w 168"/>
              <a:gd name="T99" fmla="*/ 18 h 279"/>
              <a:gd name="T100" fmla="*/ 14 w 168"/>
              <a:gd name="T101" fmla="*/ 28 h 279"/>
              <a:gd name="T102" fmla="*/ 9 w 168"/>
              <a:gd name="T103" fmla="*/ 36 h 27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68"/>
              <a:gd name="T157" fmla="*/ 0 h 279"/>
              <a:gd name="T158" fmla="*/ 168 w 168"/>
              <a:gd name="T159" fmla="*/ 279 h 27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68" h="279">
                <a:moveTo>
                  <a:pt x="13" y="61"/>
                </a:moveTo>
                <a:lnTo>
                  <a:pt x="22" y="70"/>
                </a:lnTo>
                <a:lnTo>
                  <a:pt x="22" y="82"/>
                </a:lnTo>
                <a:lnTo>
                  <a:pt x="20" y="91"/>
                </a:lnTo>
                <a:lnTo>
                  <a:pt x="16" y="100"/>
                </a:lnTo>
                <a:lnTo>
                  <a:pt x="16" y="127"/>
                </a:lnTo>
                <a:lnTo>
                  <a:pt x="18" y="139"/>
                </a:lnTo>
                <a:lnTo>
                  <a:pt x="4" y="161"/>
                </a:lnTo>
                <a:lnTo>
                  <a:pt x="9" y="166"/>
                </a:lnTo>
                <a:lnTo>
                  <a:pt x="0" y="177"/>
                </a:lnTo>
                <a:lnTo>
                  <a:pt x="6" y="189"/>
                </a:lnTo>
                <a:lnTo>
                  <a:pt x="9" y="198"/>
                </a:lnTo>
                <a:lnTo>
                  <a:pt x="13" y="186"/>
                </a:lnTo>
                <a:lnTo>
                  <a:pt x="25" y="202"/>
                </a:lnTo>
                <a:lnTo>
                  <a:pt x="22" y="216"/>
                </a:lnTo>
                <a:lnTo>
                  <a:pt x="18" y="223"/>
                </a:lnTo>
                <a:lnTo>
                  <a:pt x="25" y="236"/>
                </a:lnTo>
                <a:lnTo>
                  <a:pt x="34" y="241"/>
                </a:lnTo>
                <a:lnTo>
                  <a:pt x="52" y="250"/>
                </a:lnTo>
                <a:lnTo>
                  <a:pt x="66" y="262"/>
                </a:lnTo>
                <a:lnTo>
                  <a:pt x="68" y="271"/>
                </a:lnTo>
                <a:lnTo>
                  <a:pt x="86" y="278"/>
                </a:lnTo>
                <a:lnTo>
                  <a:pt x="100" y="271"/>
                </a:lnTo>
                <a:lnTo>
                  <a:pt x="118" y="259"/>
                </a:lnTo>
                <a:lnTo>
                  <a:pt x="128" y="243"/>
                </a:lnTo>
                <a:lnTo>
                  <a:pt x="134" y="232"/>
                </a:lnTo>
                <a:lnTo>
                  <a:pt x="150" y="205"/>
                </a:lnTo>
                <a:lnTo>
                  <a:pt x="155" y="184"/>
                </a:lnTo>
                <a:lnTo>
                  <a:pt x="157" y="166"/>
                </a:lnTo>
                <a:lnTo>
                  <a:pt x="167" y="152"/>
                </a:lnTo>
                <a:lnTo>
                  <a:pt x="150" y="148"/>
                </a:lnTo>
                <a:lnTo>
                  <a:pt x="144" y="141"/>
                </a:lnTo>
                <a:lnTo>
                  <a:pt x="134" y="143"/>
                </a:lnTo>
                <a:lnTo>
                  <a:pt x="121" y="136"/>
                </a:lnTo>
                <a:lnTo>
                  <a:pt x="116" y="116"/>
                </a:lnTo>
                <a:lnTo>
                  <a:pt x="112" y="102"/>
                </a:lnTo>
                <a:lnTo>
                  <a:pt x="121" y="88"/>
                </a:lnTo>
                <a:lnTo>
                  <a:pt x="121" y="45"/>
                </a:lnTo>
                <a:lnTo>
                  <a:pt x="121" y="29"/>
                </a:lnTo>
                <a:lnTo>
                  <a:pt x="112" y="20"/>
                </a:lnTo>
                <a:lnTo>
                  <a:pt x="98" y="20"/>
                </a:lnTo>
                <a:lnTo>
                  <a:pt x="89" y="15"/>
                </a:lnTo>
                <a:lnTo>
                  <a:pt x="80" y="2"/>
                </a:lnTo>
                <a:lnTo>
                  <a:pt x="68" y="0"/>
                </a:lnTo>
                <a:lnTo>
                  <a:pt x="64" y="6"/>
                </a:lnTo>
                <a:lnTo>
                  <a:pt x="64" y="2"/>
                </a:lnTo>
                <a:lnTo>
                  <a:pt x="45" y="4"/>
                </a:lnTo>
                <a:lnTo>
                  <a:pt x="36" y="0"/>
                </a:lnTo>
                <a:lnTo>
                  <a:pt x="25" y="6"/>
                </a:lnTo>
                <a:lnTo>
                  <a:pt x="22" y="31"/>
                </a:lnTo>
                <a:lnTo>
                  <a:pt x="18" y="47"/>
                </a:lnTo>
                <a:lnTo>
                  <a:pt x="13" y="61"/>
                </a:lnTo>
              </a:path>
            </a:pathLst>
          </a:custGeom>
          <a:solidFill>
            <a:schemeClr val="accent3"/>
          </a:solidFill>
          <a:ln w="12700" cap="rnd">
            <a:solidFill>
              <a:schemeClr val="bg1"/>
            </a:solidFill>
            <a:round/>
            <a:headEnd/>
            <a:tailEnd/>
          </a:ln>
        </p:spPr>
        <p:txBody>
          <a:bodyPr/>
          <a:lstStyle/>
          <a:p>
            <a:pPr>
              <a:defRPr/>
            </a:pPr>
            <a:endParaRPr lang="en-GB"/>
          </a:p>
        </p:txBody>
      </p:sp>
      <p:sp>
        <p:nvSpPr>
          <p:cNvPr id="19" name="Freeform 18"/>
          <p:cNvSpPr>
            <a:spLocks/>
          </p:cNvSpPr>
          <p:nvPr/>
        </p:nvSpPr>
        <p:spPr bwMode="auto">
          <a:xfrm>
            <a:off x="5384687" y="4336359"/>
            <a:ext cx="718641" cy="524777"/>
          </a:xfrm>
          <a:custGeom>
            <a:avLst/>
            <a:gdLst>
              <a:gd name="T0" fmla="*/ 111 w 616"/>
              <a:gd name="T1" fmla="*/ 31 h 450"/>
              <a:gd name="T2" fmla="*/ 92 w 616"/>
              <a:gd name="T3" fmla="*/ 37 h 450"/>
              <a:gd name="T4" fmla="*/ 87 w 616"/>
              <a:gd name="T5" fmla="*/ 85 h 450"/>
              <a:gd name="T6" fmla="*/ 56 w 616"/>
              <a:gd name="T7" fmla="*/ 111 h 450"/>
              <a:gd name="T8" fmla="*/ 16 w 616"/>
              <a:gd name="T9" fmla="*/ 125 h 450"/>
              <a:gd name="T10" fmla="*/ 0 w 616"/>
              <a:gd name="T11" fmla="*/ 142 h 450"/>
              <a:gd name="T12" fmla="*/ 14 w 616"/>
              <a:gd name="T13" fmla="*/ 158 h 450"/>
              <a:gd name="T14" fmla="*/ 14 w 616"/>
              <a:gd name="T15" fmla="*/ 170 h 450"/>
              <a:gd name="T16" fmla="*/ 37 w 616"/>
              <a:gd name="T17" fmla="*/ 174 h 450"/>
              <a:gd name="T18" fmla="*/ 46 w 616"/>
              <a:gd name="T19" fmla="*/ 195 h 450"/>
              <a:gd name="T20" fmla="*/ 53 w 616"/>
              <a:gd name="T21" fmla="*/ 215 h 450"/>
              <a:gd name="T22" fmla="*/ 68 w 616"/>
              <a:gd name="T23" fmla="*/ 215 h 450"/>
              <a:gd name="T24" fmla="*/ 94 w 616"/>
              <a:gd name="T25" fmla="*/ 217 h 450"/>
              <a:gd name="T26" fmla="*/ 94 w 616"/>
              <a:gd name="T27" fmla="*/ 227 h 450"/>
              <a:gd name="T28" fmla="*/ 111 w 616"/>
              <a:gd name="T29" fmla="*/ 236 h 450"/>
              <a:gd name="T30" fmla="*/ 111 w 616"/>
              <a:gd name="T31" fmla="*/ 250 h 450"/>
              <a:gd name="T32" fmla="*/ 147 w 616"/>
              <a:gd name="T33" fmla="*/ 257 h 450"/>
              <a:gd name="T34" fmla="*/ 195 w 616"/>
              <a:gd name="T35" fmla="*/ 267 h 450"/>
              <a:gd name="T36" fmla="*/ 230 w 616"/>
              <a:gd name="T37" fmla="*/ 260 h 450"/>
              <a:gd name="T38" fmla="*/ 271 w 616"/>
              <a:gd name="T39" fmla="*/ 262 h 450"/>
              <a:gd name="T40" fmla="*/ 294 w 616"/>
              <a:gd name="T41" fmla="*/ 252 h 450"/>
              <a:gd name="T42" fmla="*/ 362 w 616"/>
              <a:gd name="T43" fmla="*/ 229 h 450"/>
              <a:gd name="T44" fmla="*/ 402 w 616"/>
              <a:gd name="T45" fmla="*/ 231 h 450"/>
              <a:gd name="T46" fmla="*/ 433 w 616"/>
              <a:gd name="T47" fmla="*/ 235 h 450"/>
              <a:gd name="T48" fmla="*/ 451 w 616"/>
              <a:gd name="T49" fmla="*/ 224 h 450"/>
              <a:gd name="T50" fmla="*/ 453 w 616"/>
              <a:gd name="T51" fmla="*/ 187 h 450"/>
              <a:gd name="T52" fmla="*/ 470 w 616"/>
              <a:gd name="T53" fmla="*/ 174 h 450"/>
              <a:gd name="T54" fmla="*/ 486 w 616"/>
              <a:gd name="T55" fmla="*/ 174 h 450"/>
              <a:gd name="T56" fmla="*/ 491 w 616"/>
              <a:gd name="T57" fmla="*/ 163 h 450"/>
              <a:gd name="T58" fmla="*/ 504 w 616"/>
              <a:gd name="T59" fmla="*/ 156 h 450"/>
              <a:gd name="T60" fmla="*/ 478 w 616"/>
              <a:gd name="T61" fmla="*/ 148 h 450"/>
              <a:gd name="T62" fmla="*/ 446 w 616"/>
              <a:gd name="T63" fmla="*/ 154 h 450"/>
              <a:gd name="T64" fmla="*/ 418 w 616"/>
              <a:gd name="T65" fmla="*/ 148 h 450"/>
              <a:gd name="T66" fmla="*/ 413 w 616"/>
              <a:gd name="T67" fmla="*/ 132 h 450"/>
              <a:gd name="T68" fmla="*/ 402 w 616"/>
              <a:gd name="T69" fmla="*/ 116 h 450"/>
              <a:gd name="T70" fmla="*/ 398 w 616"/>
              <a:gd name="T71" fmla="*/ 97 h 450"/>
              <a:gd name="T72" fmla="*/ 399 w 616"/>
              <a:gd name="T73" fmla="*/ 82 h 450"/>
              <a:gd name="T74" fmla="*/ 378 w 616"/>
              <a:gd name="T75" fmla="*/ 58 h 450"/>
              <a:gd name="T76" fmla="*/ 369 w 616"/>
              <a:gd name="T77" fmla="*/ 41 h 450"/>
              <a:gd name="T78" fmla="*/ 346 w 616"/>
              <a:gd name="T79" fmla="*/ 27 h 450"/>
              <a:gd name="T80" fmla="*/ 332 w 616"/>
              <a:gd name="T81" fmla="*/ 5 h 450"/>
              <a:gd name="T82" fmla="*/ 318 w 616"/>
              <a:gd name="T83" fmla="*/ 0 h 450"/>
              <a:gd name="T84" fmla="*/ 301 w 616"/>
              <a:gd name="T85" fmla="*/ 8 h 450"/>
              <a:gd name="T86" fmla="*/ 280 w 616"/>
              <a:gd name="T87" fmla="*/ 9 h 450"/>
              <a:gd name="T88" fmla="*/ 261 w 616"/>
              <a:gd name="T89" fmla="*/ 17 h 450"/>
              <a:gd name="T90" fmla="*/ 236 w 616"/>
              <a:gd name="T91" fmla="*/ 20 h 450"/>
              <a:gd name="T92" fmla="*/ 213 w 616"/>
              <a:gd name="T93" fmla="*/ 8 h 450"/>
              <a:gd name="T94" fmla="*/ 186 w 616"/>
              <a:gd name="T95" fmla="*/ 16 h 450"/>
              <a:gd name="T96" fmla="*/ 165 w 616"/>
              <a:gd name="T97" fmla="*/ 14 h 450"/>
              <a:gd name="T98" fmla="*/ 137 w 616"/>
              <a:gd name="T99" fmla="*/ 13 h 450"/>
              <a:gd name="T100" fmla="*/ 122 w 616"/>
              <a:gd name="T101" fmla="*/ 18 h 450"/>
              <a:gd name="T102" fmla="*/ 116 w 616"/>
              <a:gd name="T103" fmla="*/ 20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16"/>
              <a:gd name="T157" fmla="*/ 0 h 450"/>
              <a:gd name="T158" fmla="*/ 616 w 616"/>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16" h="450">
                <a:moveTo>
                  <a:pt x="147" y="38"/>
                </a:moveTo>
                <a:lnTo>
                  <a:pt x="136" y="52"/>
                </a:lnTo>
                <a:lnTo>
                  <a:pt x="129" y="61"/>
                </a:lnTo>
                <a:lnTo>
                  <a:pt x="113" y="63"/>
                </a:lnTo>
                <a:lnTo>
                  <a:pt x="106" y="133"/>
                </a:lnTo>
                <a:lnTo>
                  <a:pt x="106" y="145"/>
                </a:lnTo>
                <a:lnTo>
                  <a:pt x="88" y="172"/>
                </a:lnTo>
                <a:lnTo>
                  <a:pt x="68" y="188"/>
                </a:lnTo>
                <a:lnTo>
                  <a:pt x="56" y="204"/>
                </a:lnTo>
                <a:lnTo>
                  <a:pt x="20" y="210"/>
                </a:lnTo>
                <a:lnTo>
                  <a:pt x="2" y="226"/>
                </a:lnTo>
                <a:lnTo>
                  <a:pt x="0" y="240"/>
                </a:lnTo>
                <a:lnTo>
                  <a:pt x="11" y="249"/>
                </a:lnTo>
                <a:lnTo>
                  <a:pt x="18" y="265"/>
                </a:lnTo>
                <a:lnTo>
                  <a:pt x="15" y="274"/>
                </a:lnTo>
                <a:lnTo>
                  <a:pt x="18" y="287"/>
                </a:lnTo>
                <a:lnTo>
                  <a:pt x="29" y="294"/>
                </a:lnTo>
                <a:lnTo>
                  <a:pt x="45" y="294"/>
                </a:lnTo>
                <a:lnTo>
                  <a:pt x="52" y="306"/>
                </a:lnTo>
                <a:lnTo>
                  <a:pt x="56" y="328"/>
                </a:lnTo>
                <a:lnTo>
                  <a:pt x="59" y="346"/>
                </a:lnTo>
                <a:lnTo>
                  <a:pt x="65" y="362"/>
                </a:lnTo>
                <a:lnTo>
                  <a:pt x="77" y="367"/>
                </a:lnTo>
                <a:lnTo>
                  <a:pt x="83" y="362"/>
                </a:lnTo>
                <a:lnTo>
                  <a:pt x="99" y="351"/>
                </a:lnTo>
                <a:lnTo>
                  <a:pt x="115" y="365"/>
                </a:lnTo>
                <a:lnTo>
                  <a:pt x="113" y="376"/>
                </a:lnTo>
                <a:lnTo>
                  <a:pt x="115" y="383"/>
                </a:lnTo>
                <a:lnTo>
                  <a:pt x="124" y="385"/>
                </a:lnTo>
                <a:lnTo>
                  <a:pt x="136" y="399"/>
                </a:lnTo>
                <a:lnTo>
                  <a:pt x="133" y="414"/>
                </a:lnTo>
                <a:lnTo>
                  <a:pt x="136" y="421"/>
                </a:lnTo>
                <a:lnTo>
                  <a:pt x="154" y="421"/>
                </a:lnTo>
                <a:lnTo>
                  <a:pt x="179" y="433"/>
                </a:lnTo>
                <a:lnTo>
                  <a:pt x="220" y="449"/>
                </a:lnTo>
                <a:lnTo>
                  <a:pt x="238" y="449"/>
                </a:lnTo>
                <a:lnTo>
                  <a:pt x="260" y="444"/>
                </a:lnTo>
                <a:lnTo>
                  <a:pt x="281" y="437"/>
                </a:lnTo>
                <a:lnTo>
                  <a:pt x="315" y="442"/>
                </a:lnTo>
                <a:lnTo>
                  <a:pt x="331" y="442"/>
                </a:lnTo>
                <a:lnTo>
                  <a:pt x="340" y="439"/>
                </a:lnTo>
                <a:lnTo>
                  <a:pt x="360" y="424"/>
                </a:lnTo>
                <a:lnTo>
                  <a:pt x="408" y="396"/>
                </a:lnTo>
                <a:lnTo>
                  <a:pt x="444" y="385"/>
                </a:lnTo>
                <a:lnTo>
                  <a:pt x="462" y="385"/>
                </a:lnTo>
                <a:lnTo>
                  <a:pt x="492" y="390"/>
                </a:lnTo>
                <a:lnTo>
                  <a:pt x="517" y="392"/>
                </a:lnTo>
                <a:lnTo>
                  <a:pt x="528" y="396"/>
                </a:lnTo>
                <a:lnTo>
                  <a:pt x="546" y="394"/>
                </a:lnTo>
                <a:lnTo>
                  <a:pt x="551" y="378"/>
                </a:lnTo>
                <a:lnTo>
                  <a:pt x="551" y="346"/>
                </a:lnTo>
                <a:lnTo>
                  <a:pt x="553" y="315"/>
                </a:lnTo>
                <a:lnTo>
                  <a:pt x="562" y="297"/>
                </a:lnTo>
                <a:lnTo>
                  <a:pt x="574" y="294"/>
                </a:lnTo>
                <a:lnTo>
                  <a:pt x="585" y="299"/>
                </a:lnTo>
                <a:lnTo>
                  <a:pt x="594" y="294"/>
                </a:lnTo>
                <a:lnTo>
                  <a:pt x="601" y="285"/>
                </a:lnTo>
                <a:lnTo>
                  <a:pt x="599" y="276"/>
                </a:lnTo>
                <a:lnTo>
                  <a:pt x="612" y="274"/>
                </a:lnTo>
                <a:lnTo>
                  <a:pt x="615" y="263"/>
                </a:lnTo>
                <a:lnTo>
                  <a:pt x="601" y="256"/>
                </a:lnTo>
                <a:lnTo>
                  <a:pt x="583" y="251"/>
                </a:lnTo>
                <a:lnTo>
                  <a:pt x="567" y="256"/>
                </a:lnTo>
                <a:lnTo>
                  <a:pt x="544" y="260"/>
                </a:lnTo>
                <a:lnTo>
                  <a:pt x="524" y="260"/>
                </a:lnTo>
                <a:lnTo>
                  <a:pt x="510" y="251"/>
                </a:lnTo>
                <a:lnTo>
                  <a:pt x="503" y="240"/>
                </a:lnTo>
                <a:lnTo>
                  <a:pt x="503" y="222"/>
                </a:lnTo>
                <a:lnTo>
                  <a:pt x="501" y="206"/>
                </a:lnTo>
                <a:lnTo>
                  <a:pt x="492" y="195"/>
                </a:lnTo>
                <a:lnTo>
                  <a:pt x="485" y="181"/>
                </a:lnTo>
                <a:lnTo>
                  <a:pt x="485" y="165"/>
                </a:lnTo>
                <a:lnTo>
                  <a:pt x="487" y="147"/>
                </a:lnTo>
                <a:lnTo>
                  <a:pt x="487" y="138"/>
                </a:lnTo>
                <a:lnTo>
                  <a:pt x="476" y="113"/>
                </a:lnTo>
                <a:lnTo>
                  <a:pt x="460" y="97"/>
                </a:lnTo>
                <a:lnTo>
                  <a:pt x="453" y="79"/>
                </a:lnTo>
                <a:lnTo>
                  <a:pt x="451" y="68"/>
                </a:lnTo>
                <a:lnTo>
                  <a:pt x="449" y="63"/>
                </a:lnTo>
                <a:lnTo>
                  <a:pt x="424" y="45"/>
                </a:lnTo>
                <a:lnTo>
                  <a:pt x="417" y="31"/>
                </a:lnTo>
                <a:lnTo>
                  <a:pt x="406" y="9"/>
                </a:lnTo>
                <a:lnTo>
                  <a:pt x="397" y="2"/>
                </a:lnTo>
                <a:lnTo>
                  <a:pt x="388" y="0"/>
                </a:lnTo>
                <a:lnTo>
                  <a:pt x="376" y="4"/>
                </a:lnTo>
                <a:lnTo>
                  <a:pt x="367" y="13"/>
                </a:lnTo>
                <a:lnTo>
                  <a:pt x="360" y="15"/>
                </a:lnTo>
                <a:lnTo>
                  <a:pt x="342" y="15"/>
                </a:lnTo>
                <a:lnTo>
                  <a:pt x="329" y="18"/>
                </a:lnTo>
                <a:lnTo>
                  <a:pt x="319" y="29"/>
                </a:lnTo>
                <a:lnTo>
                  <a:pt x="304" y="34"/>
                </a:lnTo>
                <a:lnTo>
                  <a:pt x="288" y="34"/>
                </a:lnTo>
                <a:lnTo>
                  <a:pt x="279" y="24"/>
                </a:lnTo>
                <a:lnTo>
                  <a:pt x="260" y="13"/>
                </a:lnTo>
                <a:lnTo>
                  <a:pt x="247" y="18"/>
                </a:lnTo>
                <a:lnTo>
                  <a:pt x="226" y="27"/>
                </a:lnTo>
                <a:lnTo>
                  <a:pt x="213" y="29"/>
                </a:lnTo>
                <a:lnTo>
                  <a:pt x="201" y="24"/>
                </a:lnTo>
                <a:lnTo>
                  <a:pt x="186" y="15"/>
                </a:lnTo>
                <a:lnTo>
                  <a:pt x="167" y="22"/>
                </a:lnTo>
                <a:lnTo>
                  <a:pt x="154" y="29"/>
                </a:lnTo>
                <a:lnTo>
                  <a:pt x="149" y="31"/>
                </a:lnTo>
                <a:lnTo>
                  <a:pt x="147" y="34"/>
                </a:lnTo>
                <a:lnTo>
                  <a:pt x="142" y="34"/>
                </a:lnTo>
                <a:lnTo>
                  <a:pt x="147" y="38"/>
                </a:lnTo>
              </a:path>
            </a:pathLst>
          </a:custGeom>
          <a:solidFill>
            <a:schemeClr val="accent3"/>
          </a:solidFill>
          <a:ln w="12700" cap="rnd">
            <a:solidFill>
              <a:schemeClr val="bg1"/>
            </a:solidFill>
            <a:round/>
            <a:headEnd/>
            <a:tailEnd/>
          </a:ln>
        </p:spPr>
        <p:txBody>
          <a:bodyPr/>
          <a:lstStyle/>
          <a:p>
            <a:pPr>
              <a:defRPr/>
            </a:pPr>
            <a:endParaRPr lang="en-GB"/>
          </a:p>
        </p:txBody>
      </p:sp>
      <p:sp>
        <p:nvSpPr>
          <p:cNvPr id="20" name="Freeform 19"/>
          <p:cNvSpPr>
            <a:spLocks/>
          </p:cNvSpPr>
          <p:nvPr/>
        </p:nvSpPr>
        <p:spPr bwMode="auto">
          <a:xfrm>
            <a:off x="4043059" y="3832839"/>
            <a:ext cx="269797" cy="243125"/>
          </a:xfrm>
          <a:custGeom>
            <a:avLst/>
            <a:gdLst>
              <a:gd name="T0" fmla="*/ 0 w 233"/>
              <a:gd name="T1" fmla="*/ 23 h 208"/>
              <a:gd name="T2" fmla="*/ 4 w 233"/>
              <a:gd name="T3" fmla="*/ 18 h 208"/>
              <a:gd name="T4" fmla="*/ 2 w 233"/>
              <a:gd name="T5" fmla="*/ 12 h 208"/>
              <a:gd name="T6" fmla="*/ 30 w 233"/>
              <a:gd name="T7" fmla="*/ 0 h 208"/>
              <a:gd name="T8" fmla="*/ 32 w 233"/>
              <a:gd name="T9" fmla="*/ 4 h 208"/>
              <a:gd name="T10" fmla="*/ 53 w 233"/>
              <a:gd name="T11" fmla="*/ 2 h 208"/>
              <a:gd name="T12" fmla="*/ 68 w 233"/>
              <a:gd name="T13" fmla="*/ 4 h 208"/>
              <a:gd name="T14" fmla="*/ 62 w 233"/>
              <a:gd name="T15" fmla="*/ 8 h 208"/>
              <a:gd name="T16" fmla="*/ 66 w 233"/>
              <a:gd name="T17" fmla="*/ 16 h 208"/>
              <a:gd name="T18" fmla="*/ 78 w 233"/>
              <a:gd name="T19" fmla="*/ 20 h 208"/>
              <a:gd name="T20" fmla="*/ 93 w 233"/>
              <a:gd name="T21" fmla="*/ 18 h 208"/>
              <a:gd name="T22" fmla="*/ 104 w 233"/>
              <a:gd name="T23" fmla="*/ 13 h 208"/>
              <a:gd name="T24" fmla="*/ 121 w 233"/>
              <a:gd name="T25" fmla="*/ 12 h 208"/>
              <a:gd name="T26" fmla="*/ 127 w 233"/>
              <a:gd name="T27" fmla="*/ 18 h 208"/>
              <a:gd name="T28" fmla="*/ 136 w 233"/>
              <a:gd name="T29" fmla="*/ 22 h 208"/>
              <a:gd name="T30" fmla="*/ 152 w 233"/>
              <a:gd name="T31" fmla="*/ 23 h 208"/>
              <a:gd name="T32" fmla="*/ 148 w 233"/>
              <a:gd name="T33" fmla="*/ 31 h 208"/>
              <a:gd name="T34" fmla="*/ 150 w 233"/>
              <a:gd name="T35" fmla="*/ 50 h 208"/>
              <a:gd name="T36" fmla="*/ 152 w 233"/>
              <a:gd name="T37" fmla="*/ 62 h 208"/>
              <a:gd name="T38" fmla="*/ 169 w 233"/>
              <a:gd name="T39" fmla="*/ 62 h 208"/>
              <a:gd name="T40" fmla="*/ 175 w 233"/>
              <a:gd name="T41" fmla="*/ 70 h 208"/>
              <a:gd name="T42" fmla="*/ 175 w 233"/>
              <a:gd name="T43" fmla="*/ 75 h 208"/>
              <a:gd name="T44" fmla="*/ 184 w 233"/>
              <a:gd name="T45" fmla="*/ 84 h 208"/>
              <a:gd name="T46" fmla="*/ 174 w 233"/>
              <a:gd name="T47" fmla="*/ 92 h 208"/>
              <a:gd name="T48" fmla="*/ 164 w 233"/>
              <a:gd name="T49" fmla="*/ 97 h 208"/>
              <a:gd name="T50" fmla="*/ 153 w 233"/>
              <a:gd name="T51" fmla="*/ 97 h 208"/>
              <a:gd name="T52" fmla="*/ 141 w 233"/>
              <a:gd name="T53" fmla="*/ 99 h 208"/>
              <a:gd name="T54" fmla="*/ 141 w 233"/>
              <a:gd name="T55" fmla="*/ 111 h 208"/>
              <a:gd name="T56" fmla="*/ 136 w 233"/>
              <a:gd name="T57" fmla="*/ 117 h 208"/>
              <a:gd name="T58" fmla="*/ 123 w 233"/>
              <a:gd name="T59" fmla="*/ 124 h 208"/>
              <a:gd name="T60" fmla="*/ 100 w 233"/>
              <a:gd name="T61" fmla="*/ 112 h 208"/>
              <a:gd name="T62" fmla="*/ 94 w 233"/>
              <a:gd name="T63" fmla="*/ 100 h 208"/>
              <a:gd name="T64" fmla="*/ 73 w 233"/>
              <a:gd name="T65" fmla="*/ 97 h 208"/>
              <a:gd name="T66" fmla="*/ 66 w 233"/>
              <a:gd name="T67" fmla="*/ 82 h 208"/>
              <a:gd name="T68" fmla="*/ 53 w 233"/>
              <a:gd name="T69" fmla="*/ 73 h 208"/>
              <a:gd name="T70" fmla="*/ 48 w 233"/>
              <a:gd name="T71" fmla="*/ 62 h 208"/>
              <a:gd name="T72" fmla="*/ 36 w 233"/>
              <a:gd name="T73" fmla="*/ 52 h 208"/>
              <a:gd name="T74" fmla="*/ 28 w 233"/>
              <a:gd name="T75" fmla="*/ 41 h 208"/>
              <a:gd name="T76" fmla="*/ 11 w 233"/>
              <a:gd name="T77" fmla="*/ 33 h 208"/>
              <a:gd name="T78" fmla="*/ 0 w 233"/>
              <a:gd name="T79" fmla="*/ 23 h 20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33"/>
              <a:gd name="T121" fmla="*/ 0 h 208"/>
              <a:gd name="T122" fmla="*/ 233 w 233"/>
              <a:gd name="T123" fmla="*/ 208 h 20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33" h="208">
                <a:moveTo>
                  <a:pt x="0" y="38"/>
                </a:moveTo>
                <a:lnTo>
                  <a:pt x="4" y="29"/>
                </a:lnTo>
                <a:lnTo>
                  <a:pt x="2" y="20"/>
                </a:lnTo>
                <a:lnTo>
                  <a:pt x="38" y="0"/>
                </a:lnTo>
                <a:lnTo>
                  <a:pt x="40" y="6"/>
                </a:lnTo>
                <a:lnTo>
                  <a:pt x="67" y="2"/>
                </a:lnTo>
                <a:lnTo>
                  <a:pt x="85" y="4"/>
                </a:lnTo>
                <a:lnTo>
                  <a:pt x="78" y="13"/>
                </a:lnTo>
                <a:lnTo>
                  <a:pt x="83" y="27"/>
                </a:lnTo>
                <a:lnTo>
                  <a:pt x="99" y="34"/>
                </a:lnTo>
                <a:lnTo>
                  <a:pt x="117" y="31"/>
                </a:lnTo>
                <a:lnTo>
                  <a:pt x="130" y="22"/>
                </a:lnTo>
                <a:lnTo>
                  <a:pt x="153" y="20"/>
                </a:lnTo>
                <a:lnTo>
                  <a:pt x="159" y="29"/>
                </a:lnTo>
                <a:lnTo>
                  <a:pt x="171" y="36"/>
                </a:lnTo>
                <a:lnTo>
                  <a:pt x="191" y="38"/>
                </a:lnTo>
                <a:lnTo>
                  <a:pt x="186" y="52"/>
                </a:lnTo>
                <a:lnTo>
                  <a:pt x="189" y="84"/>
                </a:lnTo>
                <a:lnTo>
                  <a:pt x="191" y="104"/>
                </a:lnTo>
                <a:lnTo>
                  <a:pt x="213" y="102"/>
                </a:lnTo>
                <a:lnTo>
                  <a:pt x="220" y="116"/>
                </a:lnTo>
                <a:lnTo>
                  <a:pt x="220" y="125"/>
                </a:lnTo>
                <a:lnTo>
                  <a:pt x="232" y="141"/>
                </a:lnTo>
                <a:lnTo>
                  <a:pt x="218" y="152"/>
                </a:lnTo>
                <a:lnTo>
                  <a:pt x="207" y="161"/>
                </a:lnTo>
                <a:lnTo>
                  <a:pt x="193" y="161"/>
                </a:lnTo>
                <a:lnTo>
                  <a:pt x="177" y="166"/>
                </a:lnTo>
                <a:lnTo>
                  <a:pt x="177" y="184"/>
                </a:lnTo>
                <a:lnTo>
                  <a:pt x="171" y="195"/>
                </a:lnTo>
                <a:lnTo>
                  <a:pt x="155" y="207"/>
                </a:lnTo>
                <a:lnTo>
                  <a:pt x="126" y="186"/>
                </a:lnTo>
                <a:lnTo>
                  <a:pt x="119" y="168"/>
                </a:lnTo>
                <a:lnTo>
                  <a:pt x="92" y="161"/>
                </a:lnTo>
                <a:lnTo>
                  <a:pt x="83" y="136"/>
                </a:lnTo>
                <a:lnTo>
                  <a:pt x="67" y="122"/>
                </a:lnTo>
                <a:lnTo>
                  <a:pt x="60" y="104"/>
                </a:lnTo>
                <a:lnTo>
                  <a:pt x="45" y="86"/>
                </a:lnTo>
                <a:lnTo>
                  <a:pt x="36" y="68"/>
                </a:lnTo>
                <a:lnTo>
                  <a:pt x="15" y="54"/>
                </a:lnTo>
                <a:lnTo>
                  <a:pt x="0" y="38"/>
                </a:lnTo>
              </a:path>
            </a:pathLst>
          </a:custGeom>
          <a:solidFill>
            <a:schemeClr val="accent3"/>
          </a:solidFill>
          <a:ln w="12700" cap="rnd">
            <a:solidFill>
              <a:schemeClr val="bg1"/>
            </a:solidFill>
            <a:round/>
            <a:headEnd/>
            <a:tailEnd/>
          </a:ln>
        </p:spPr>
        <p:txBody>
          <a:bodyPr/>
          <a:lstStyle/>
          <a:p>
            <a:pPr>
              <a:defRPr/>
            </a:pPr>
            <a:endParaRPr lang="en-GB"/>
          </a:p>
        </p:txBody>
      </p:sp>
      <p:sp>
        <p:nvSpPr>
          <p:cNvPr id="21" name="Freeform 20"/>
          <p:cNvSpPr>
            <a:spLocks/>
          </p:cNvSpPr>
          <p:nvPr/>
        </p:nvSpPr>
        <p:spPr bwMode="auto">
          <a:xfrm>
            <a:off x="4227012" y="4018836"/>
            <a:ext cx="73581" cy="95656"/>
          </a:xfrm>
          <a:custGeom>
            <a:avLst/>
            <a:gdLst>
              <a:gd name="T0" fmla="*/ 36 w 63"/>
              <a:gd name="T1" fmla="*/ 47 h 82"/>
              <a:gd name="T2" fmla="*/ 40 w 63"/>
              <a:gd name="T3" fmla="*/ 32 h 82"/>
              <a:gd name="T4" fmla="*/ 50 w 63"/>
              <a:gd name="T5" fmla="*/ 25 h 82"/>
              <a:gd name="T6" fmla="*/ 50 w 63"/>
              <a:gd name="T7" fmla="*/ 19 h 82"/>
              <a:gd name="T8" fmla="*/ 46 w 63"/>
              <a:gd name="T9" fmla="*/ 14 h 82"/>
              <a:gd name="T10" fmla="*/ 38 w 63"/>
              <a:gd name="T11" fmla="*/ 7 h 82"/>
              <a:gd name="T12" fmla="*/ 34 w 63"/>
              <a:gd name="T13" fmla="*/ 0 h 82"/>
              <a:gd name="T14" fmla="*/ 24 w 63"/>
              <a:gd name="T15" fmla="*/ 0 h 82"/>
              <a:gd name="T16" fmla="*/ 13 w 63"/>
              <a:gd name="T17" fmla="*/ 4 h 82"/>
              <a:gd name="T18" fmla="*/ 13 w 63"/>
              <a:gd name="T19" fmla="*/ 14 h 82"/>
              <a:gd name="T20" fmla="*/ 8 w 63"/>
              <a:gd name="T21" fmla="*/ 22 h 82"/>
              <a:gd name="T22" fmla="*/ 0 w 63"/>
              <a:gd name="T23" fmla="*/ 25 h 82"/>
              <a:gd name="T24" fmla="*/ 4 w 63"/>
              <a:gd name="T25" fmla="*/ 32 h 82"/>
              <a:gd name="T26" fmla="*/ 13 w 63"/>
              <a:gd name="T27" fmla="*/ 34 h 82"/>
              <a:gd name="T28" fmla="*/ 27 w 63"/>
              <a:gd name="T29" fmla="*/ 36 h 82"/>
              <a:gd name="T30" fmla="*/ 30 w 63"/>
              <a:gd name="T31" fmla="*/ 41 h 82"/>
              <a:gd name="T32" fmla="*/ 36 w 63"/>
              <a:gd name="T33" fmla="*/ 47 h 8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3"/>
              <a:gd name="T52" fmla="*/ 0 h 82"/>
              <a:gd name="T53" fmla="*/ 63 w 63"/>
              <a:gd name="T54" fmla="*/ 82 h 8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3" h="82">
                <a:moveTo>
                  <a:pt x="44" y="81"/>
                </a:moveTo>
                <a:lnTo>
                  <a:pt x="48" y="55"/>
                </a:lnTo>
                <a:lnTo>
                  <a:pt x="62" y="43"/>
                </a:lnTo>
                <a:lnTo>
                  <a:pt x="62" y="32"/>
                </a:lnTo>
                <a:lnTo>
                  <a:pt x="55" y="23"/>
                </a:lnTo>
                <a:lnTo>
                  <a:pt x="46" y="11"/>
                </a:lnTo>
                <a:lnTo>
                  <a:pt x="42" y="0"/>
                </a:lnTo>
                <a:lnTo>
                  <a:pt x="28" y="0"/>
                </a:lnTo>
                <a:lnTo>
                  <a:pt x="17" y="4"/>
                </a:lnTo>
                <a:lnTo>
                  <a:pt x="17" y="23"/>
                </a:lnTo>
                <a:lnTo>
                  <a:pt x="8" y="37"/>
                </a:lnTo>
                <a:lnTo>
                  <a:pt x="0" y="41"/>
                </a:lnTo>
                <a:lnTo>
                  <a:pt x="4" y="53"/>
                </a:lnTo>
                <a:lnTo>
                  <a:pt x="17" y="57"/>
                </a:lnTo>
                <a:lnTo>
                  <a:pt x="31" y="60"/>
                </a:lnTo>
                <a:lnTo>
                  <a:pt x="37" y="69"/>
                </a:lnTo>
                <a:lnTo>
                  <a:pt x="44" y="81"/>
                </a:lnTo>
              </a:path>
            </a:pathLst>
          </a:custGeom>
          <a:solidFill>
            <a:schemeClr val="accent3"/>
          </a:solidFill>
          <a:ln w="12700">
            <a:solidFill>
              <a:schemeClr val="bg1"/>
            </a:solidFill>
            <a:round/>
            <a:headEnd/>
            <a:tailEnd/>
          </a:ln>
        </p:spPr>
        <p:txBody>
          <a:bodyPr anchor="ctr"/>
          <a:lstStyle/>
          <a:p>
            <a:pPr>
              <a:defRPr/>
            </a:pPr>
            <a:endParaRPr lang="en-GB"/>
          </a:p>
        </p:txBody>
      </p:sp>
      <p:sp>
        <p:nvSpPr>
          <p:cNvPr id="22" name="Freeform 21"/>
          <p:cNvSpPr>
            <a:spLocks/>
          </p:cNvSpPr>
          <p:nvPr/>
        </p:nvSpPr>
        <p:spPr bwMode="auto">
          <a:xfrm>
            <a:off x="4135036" y="3657471"/>
            <a:ext cx="279608" cy="297595"/>
          </a:xfrm>
          <a:custGeom>
            <a:avLst/>
            <a:gdLst>
              <a:gd name="T0" fmla="*/ 79 w 240"/>
              <a:gd name="T1" fmla="*/ 4 h 255"/>
              <a:gd name="T2" fmla="*/ 61 w 240"/>
              <a:gd name="T3" fmla="*/ 22 h 255"/>
              <a:gd name="T4" fmla="*/ 61 w 240"/>
              <a:gd name="T5" fmla="*/ 27 h 255"/>
              <a:gd name="T6" fmla="*/ 48 w 240"/>
              <a:gd name="T7" fmla="*/ 35 h 255"/>
              <a:gd name="T8" fmla="*/ 49 w 240"/>
              <a:gd name="T9" fmla="*/ 37 h 255"/>
              <a:gd name="T10" fmla="*/ 46 w 240"/>
              <a:gd name="T11" fmla="*/ 42 h 255"/>
              <a:gd name="T12" fmla="*/ 35 w 240"/>
              <a:gd name="T13" fmla="*/ 53 h 255"/>
              <a:gd name="T14" fmla="*/ 23 w 240"/>
              <a:gd name="T15" fmla="*/ 61 h 255"/>
              <a:gd name="T16" fmla="*/ 16 w 240"/>
              <a:gd name="T17" fmla="*/ 67 h 255"/>
              <a:gd name="T18" fmla="*/ 23 w 240"/>
              <a:gd name="T19" fmla="*/ 71 h 255"/>
              <a:gd name="T20" fmla="*/ 18 w 240"/>
              <a:gd name="T21" fmla="*/ 79 h 255"/>
              <a:gd name="T22" fmla="*/ 11 w 240"/>
              <a:gd name="T23" fmla="*/ 85 h 255"/>
              <a:gd name="T24" fmla="*/ 9 w 240"/>
              <a:gd name="T25" fmla="*/ 87 h 255"/>
              <a:gd name="T26" fmla="*/ 0 w 240"/>
              <a:gd name="T27" fmla="*/ 96 h 255"/>
              <a:gd name="T28" fmla="*/ 0 w 240"/>
              <a:gd name="T29" fmla="*/ 103 h 255"/>
              <a:gd name="T30" fmla="*/ 10 w 240"/>
              <a:gd name="T31" fmla="*/ 106 h 255"/>
              <a:gd name="T32" fmla="*/ 30 w 240"/>
              <a:gd name="T33" fmla="*/ 106 h 255"/>
              <a:gd name="T34" fmla="*/ 44 w 240"/>
              <a:gd name="T35" fmla="*/ 101 h 255"/>
              <a:gd name="T36" fmla="*/ 58 w 240"/>
              <a:gd name="T37" fmla="*/ 99 h 255"/>
              <a:gd name="T38" fmla="*/ 66 w 240"/>
              <a:gd name="T39" fmla="*/ 106 h 255"/>
              <a:gd name="T40" fmla="*/ 76 w 240"/>
              <a:gd name="T41" fmla="*/ 111 h 255"/>
              <a:gd name="T42" fmla="*/ 90 w 240"/>
              <a:gd name="T43" fmla="*/ 112 h 255"/>
              <a:gd name="T44" fmla="*/ 86 w 240"/>
              <a:gd name="T45" fmla="*/ 123 h 255"/>
              <a:gd name="T46" fmla="*/ 90 w 240"/>
              <a:gd name="T47" fmla="*/ 151 h 255"/>
              <a:gd name="T48" fmla="*/ 104 w 240"/>
              <a:gd name="T49" fmla="*/ 149 h 255"/>
              <a:gd name="T50" fmla="*/ 111 w 240"/>
              <a:gd name="T51" fmla="*/ 149 h 255"/>
              <a:gd name="T52" fmla="*/ 112 w 240"/>
              <a:gd name="T53" fmla="*/ 142 h 255"/>
              <a:gd name="T54" fmla="*/ 115 w 240"/>
              <a:gd name="T55" fmla="*/ 124 h 255"/>
              <a:gd name="T56" fmla="*/ 124 w 240"/>
              <a:gd name="T57" fmla="*/ 116 h 255"/>
              <a:gd name="T58" fmla="*/ 124 w 240"/>
              <a:gd name="T59" fmla="*/ 101 h 255"/>
              <a:gd name="T60" fmla="*/ 131 w 240"/>
              <a:gd name="T61" fmla="*/ 92 h 255"/>
              <a:gd name="T62" fmla="*/ 146 w 240"/>
              <a:gd name="T63" fmla="*/ 87 h 255"/>
              <a:gd name="T64" fmla="*/ 173 w 240"/>
              <a:gd name="T65" fmla="*/ 64 h 255"/>
              <a:gd name="T66" fmla="*/ 178 w 240"/>
              <a:gd name="T67" fmla="*/ 54 h 255"/>
              <a:gd name="T68" fmla="*/ 173 w 240"/>
              <a:gd name="T69" fmla="*/ 39 h 255"/>
              <a:gd name="T70" fmla="*/ 192 w 240"/>
              <a:gd name="T71" fmla="*/ 28 h 255"/>
              <a:gd name="T72" fmla="*/ 195 w 240"/>
              <a:gd name="T73" fmla="*/ 11 h 255"/>
              <a:gd name="T74" fmla="*/ 181 w 240"/>
              <a:gd name="T75" fmla="*/ 4 h 255"/>
              <a:gd name="T76" fmla="*/ 173 w 240"/>
              <a:gd name="T77" fmla="*/ 2 h 255"/>
              <a:gd name="T78" fmla="*/ 157 w 240"/>
              <a:gd name="T79" fmla="*/ 0 h 255"/>
              <a:gd name="T80" fmla="*/ 124 w 240"/>
              <a:gd name="T81" fmla="*/ 0 h 255"/>
              <a:gd name="T82" fmla="*/ 115 w 240"/>
              <a:gd name="T83" fmla="*/ 5 h 255"/>
              <a:gd name="T84" fmla="*/ 105 w 240"/>
              <a:gd name="T85" fmla="*/ 13 h 255"/>
              <a:gd name="T86" fmla="*/ 107 w 240"/>
              <a:gd name="T87" fmla="*/ 20 h 255"/>
              <a:gd name="T88" fmla="*/ 120 w 240"/>
              <a:gd name="T89" fmla="*/ 25 h 255"/>
              <a:gd name="T90" fmla="*/ 128 w 240"/>
              <a:gd name="T91" fmla="*/ 32 h 255"/>
              <a:gd name="T92" fmla="*/ 128 w 240"/>
              <a:gd name="T93" fmla="*/ 42 h 255"/>
              <a:gd name="T94" fmla="*/ 115 w 240"/>
              <a:gd name="T95" fmla="*/ 49 h 255"/>
              <a:gd name="T96" fmla="*/ 100 w 240"/>
              <a:gd name="T97" fmla="*/ 53 h 255"/>
              <a:gd name="T98" fmla="*/ 90 w 240"/>
              <a:gd name="T99" fmla="*/ 54 h 255"/>
              <a:gd name="T100" fmla="*/ 85 w 240"/>
              <a:gd name="T101" fmla="*/ 47 h 255"/>
              <a:gd name="T102" fmla="*/ 82 w 240"/>
              <a:gd name="T103" fmla="*/ 39 h 255"/>
              <a:gd name="T104" fmla="*/ 89 w 240"/>
              <a:gd name="T105" fmla="*/ 31 h 255"/>
              <a:gd name="T106" fmla="*/ 86 w 240"/>
              <a:gd name="T107" fmla="*/ 22 h 255"/>
              <a:gd name="T108" fmla="*/ 85 w 240"/>
              <a:gd name="T109" fmla="*/ 14 h 255"/>
              <a:gd name="T110" fmla="*/ 79 w 240"/>
              <a:gd name="T111" fmla="*/ 4 h 25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40"/>
              <a:gd name="T169" fmla="*/ 0 h 255"/>
              <a:gd name="T170" fmla="*/ 240 w 240"/>
              <a:gd name="T171" fmla="*/ 255 h 25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40" h="255">
                <a:moveTo>
                  <a:pt x="97" y="6"/>
                </a:moveTo>
                <a:lnTo>
                  <a:pt x="75" y="36"/>
                </a:lnTo>
                <a:lnTo>
                  <a:pt x="75" y="45"/>
                </a:lnTo>
                <a:lnTo>
                  <a:pt x="59" y="58"/>
                </a:lnTo>
                <a:lnTo>
                  <a:pt x="61" y="63"/>
                </a:lnTo>
                <a:lnTo>
                  <a:pt x="56" y="72"/>
                </a:lnTo>
                <a:lnTo>
                  <a:pt x="43" y="88"/>
                </a:lnTo>
                <a:lnTo>
                  <a:pt x="27" y="104"/>
                </a:lnTo>
                <a:lnTo>
                  <a:pt x="20" y="113"/>
                </a:lnTo>
                <a:lnTo>
                  <a:pt x="27" y="120"/>
                </a:lnTo>
                <a:lnTo>
                  <a:pt x="22" y="133"/>
                </a:lnTo>
                <a:lnTo>
                  <a:pt x="15" y="142"/>
                </a:lnTo>
                <a:lnTo>
                  <a:pt x="9" y="147"/>
                </a:lnTo>
                <a:lnTo>
                  <a:pt x="0" y="161"/>
                </a:lnTo>
                <a:lnTo>
                  <a:pt x="0" y="172"/>
                </a:lnTo>
                <a:lnTo>
                  <a:pt x="11" y="179"/>
                </a:lnTo>
                <a:lnTo>
                  <a:pt x="38" y="179"/>
                </a:lnTo>
                <a:lnTo>
                  <a:pt x="54" y="170"/>
                </a:lnTo>
                <a:lnTo>
                  <a:pt x="70" y="167"/>
                </a:lnTo>
                <a:lnTo>
                  <a:pt x="81" y="179"/>
                </a:lnTo>
                <a:lnTo>
                  <a:pt x="93" y="185"/>
                </a:lnTo>
                <a:lnTo>
                  <a:pt x="111" y="188"/>
                </a:lnTo>
                <a:lnTo>
                  <a:pt x="106" y="206"/>
                </a:lnTo>
                <a:lnTo>
                  <a:pt x="111" y="254"/>
                </a:lnTo>
                <a:lnTo>
                  <a:pt x="127" y="251"/>
                </a:lnTo>
                <a:lnTo>
                  <a:pt x="136" y="251"/>
                </a:lnTo>
                <a:lnTo>
                  <a:pt x="138" y="238"/>
                </a:lnTo>
                <a:lnTo>
                  <a:pt x="141" y="208"/>
                </a:lnTo>
                <a:lnTo>
                  <a:pt x="152" y="195"/>
                </a:lnTo>
                <a:lnTo>
                  <a:pt x="152" y="170"/>
                </a:lnTo>
                <a:lnTo>
                  <a:pt x="161" y="156"/>
                </a:lnTo>
                <a:lnTo>
                  <a:pt x="179" y="147"/>
                </a:lnTo>
                <a:lnTo>
                  <a:pt x="213" y="108"/>
                </a:lnTo>
                <a:lnTo>
                  <a:pt x="218" y="92"/>
                </a:lnTo>
                <a:lnTo>
                  <a:pt x="213" y="65"/>
                </a:lnTo>
                <a:lnTo>
                  <a:pt x="236" y="47"/>
                </a:lnTo>
                <a:lnTo>
                  <a:pt x="239" y="18"/>
                </a:lnTo>
                <a:lnTo>
                  <a:pt x="223" y="4"/>
                </a:lnTo>
                <a:lnTo>
                  <a:pt x="213" y="2"/>
                </a:lnTo>
                <a:lnTo>
                  <a:pt x="193" y="0"/>
                </a:lnTo>
                <a:lnTo>
                  <a:pt x="152" y="0"/>
                </a:lnTo>
                <a:lnTo>
                  <a:pt x="141" y="9"/>
                </a:lnTo>
                <a:lnTo>
                  <a:pt x="129" y="22"/>
                </a:lnTo>
                <a:lnTo>
                  <a:pt x="132" y="34"/>
                </a:lnTo>
                <a:lnTo>
                  <a:pt x="147" y="43"/>
                </a:lnTo>
                <a:lnTo>
                  <a:pt x="157" y="54"/>
                </a:lnTo>
                <a:lnTo>
                  <a:pt x="157" y="72"/>
                </a:lnTo>
                <a:lnTo>
                  <a:pt x="141" y="83"/>
                </a:lnTo>
                <a:lnTo>
                  <a:pt x="122" y="88"/>
                </a:lnTo>
                <a:lnTo>
                  <a:pt x="111" y="90"/>
                </a:lnTo>
                <a:lnTo>
                  <a:pt x="104" y="79"/>
                </a:lnTo>
                <a:lnTo>
                  <a:pt x="100" y="65"/>
                </a:lnTo>
                <a:lnTo>
                  <a:pt x="109" y="52"/>
                </a:lnTo>
                <a:lnTo>
                  <a:pt x="106" y="38"/>
                </a:lnTo>
                <a:lnTo>
                  <a:pt x="104" y="24"/>
                </a:lnTo>
                <a:lnTo>
                  <a:pt x="97" y="6"/>
                </a:lnTo>
              </a:path>
            </a:pathLst>
          </a:custGeom>
          <a:solidFill>
            <a:schemeClr val="accent3"/>
          </a:solidFill>
          <a:ln w="12700" cap="rnd">
            <a:solidFill>
              <a:schemeClr val="bg1"/>
            </a:solidFill>
            <a:round/>
            <a:headEnd/>
            <a:tailEnd/>
          </a:ln>
        </p:spPr>
        <p:txBody>
          <a:bodyPr/>
          <a:lstStyle/>
          <a:p>
            <a:pPr>
              <a:defRPr/>
            </a:pPr>
            <a:endParaRPr lang="en-GB"/>
          </a:p>
        </p:txBody>
      </p:sp>
      <p:sp>
        <p:nvSpPr>
          <p:cNvPr id="23" name="Freeform 22"/>
          <p:cNvSpPr>
            <a:spLocks/>
          </p:cNvSpPr>
          <p:nvPr/>
        </p:nvSpPr>
        <p:spPr bwMode="auto">
          <a:xfrm>
            <a:off x="3179709" y="3187164"/>
            <a:ext cx="398564" cy="366680"/>
          </a:xfrm>
          <a:custGeom>
            <a:avLst/>
            <a:gdLst>
              <a:gd name="T0" fmla="*/ 100 w 340"/>
              <a:gd name="T1" fmla="*/ 77 h 314"/>
              <a:gd name="T2" fmla="*/ 98 w 340"/>
              <a:gd name="T3" fmla="*/ 93 h 314"/>
              <a:gd name="T4" fmla="*/ 79 w 340"/>
              <a:gd name="T5" fmla="*/ 91 h 314"/>
              <a:gd name="T6" fmla="*/ 58 w 340"/>
              <a:gd name="T7" fmla="*/ 113 h 314"/>
              <a:gd name="T8" fmla="*/ 31 w 340"/>
              <a:gd name="T9" fmla="*/ 127 h 314"/>
              <a:gd name="T10" fmla="*/ 11 w 340"/>
              <a:gd name="T11" fmla="*/ 131 h 314"/>
              <a:gd name="T12" fmla="*/ 6 w 340"/>
              <a:gd name="T13" fmla="*/ 136 h 314"/>
              <a:gd name="T14" fmla="*/ 11 w 340"/>
              <a:gd name="T15" fmla="*/ 150 h 314"/>
              <a:gd name="T16" fmla="*/ 4 w 340"/>
              <a:gd name="T17" fmla="*/ 165 h 314"/>
              <a:gd name="T18" fmla="*/ 14 w 340"/>
              <a:gd name="T19" fmla="*/ 165 h 314"/>
              <a:gd name="T20" fmla="*/ 30 w 340"/>
              <a:gd name="T21" fmla="*/ 165 h 314"/>
              <a:gd name="T22" fmla="*/ 23 w 340"/>
              <a:gd name="T23" fmla="*/ 177 h 314"/>
              <a:gd name="T24" fmla="*/ 51 w 340"/>
              <a:gd name="T25" fmla="*/ 181 h 314"/>
              <a:gd name="T26" fmla="*/ 76 w 340"/>
              <a:gd name="T27" fmla="*/ 187 h 314"/>
              <a:gd name="T28" fmla="*/ 100 w 340"/>
              <a:gd name="T29" fmla="*/ 177 h 314"/>
              <a:gd name="T30" fmla="*/ 175 w 340"/>
              <a:gd name="T31" fmla="*/ 181 h 314"/>
              <a:gd name="T32" fmla="*/ 212 w 340"/>
              <a:gd name="T33" fmla="*/ 163 h 314"/>
              <a:gd name="T34" fmla="*/ 233 w 340"/>
              <a:gd name="T35" fmla="*/ 150 h 314"/>
              <a:gd name="T36" fmla="*/ 250 w 340"/>
              <a:gd name="T37" fmla="*/ 131 h 314"/>
              <a:gd name="T38" fmla="*/ 259 w 340"/>
              <a:gd name="T39" fmla="*/ 91 h 314"/>
              <a:gd name="T40" fmla="*/ 270 w 340"/>
              <a:gd name="T41" fmla="*/ 72 h 314"/>
              <a:gd name="T42" fmla="*/ 256 w 340"/>
              <a:gd name="T43" fmla="*/ 52 h 314"/>
              <a:gd name="T44" fmla="*/ 236 w 340"/>
              <a:gd name="T45" fmla="*/ 47 h 314"/>
              <a:gd name="T46" fmla="*/ 224 w 340"/>
              <a:gd name="T47" fmla="*/ 28 h 314"/>
              <a:gd name="T48" fmla="*/ 254 w 340"/>
              <a:gd name="T49" fmla="*/ 0 h 314"/>
              <a:gd name="T50" fmla="*/ 208 w 340"/>
              <a:gd name="T51" fmla="*/ 4 h 314"/>
              <a:gd name="T52" fmla="*/ 188 w 340"/>
              <a:gd name="T53" fmla="*/ 13 h 314"/>
              <a:gd name="T54" fmla="*/ 168 w 340"/>
              <a:gd name="T55" fmla="*/ 15 h 314"/>
              <a:gd name="T56" fmla="*/ 191 w 340"/>
              <a:gd name="T57" fmla="*/ 30 h 314"/>
              <a:gd name="T58" fmla="*/ 148 w 340"/>
              <a:gd name="T59" fmla="*/ 34 h 314"/>
              <a:gd name="T60" fmla="*/ 106 w 340"/>
              <a:gd name="T61" fmla="*/ 22 h 314"/>
              <a:gd name="T62" fmla="*/ 93 w 340"/>
              <a:gd name="T63" fmla="*/ 36 h 314"/>
              <a:gd name="T64" fmla="*/ 93 w 340"/>
              <a:gd name="T65" fmla="*/ 45 h 314"/>
              <a:gd name="T66" fmla="*/ 81 w 340"/>
              <a:gd name="T67" fmla="*/ 60 h 314"/>
              <a:gd name="T68" fmla="*/ 68 w 340"/>
              <a:gd name="T69" fmla="*/ 75 h 314"/>
              <a:gd name="T70" fmla="*/ 84 w 340"/>
              <a:gd name="T71" fmla="*/ 84 h 31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0"/>
              <a:gd name="T109" fmla="*/ 0 h 314"/>
              <a:gd name="T110" fmla="*/ 340 w 340"/>
              <a:gd name="T111" fmla="*/ 314 h 31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0" h="314">
                <a:moveTo>
                  <a:pt x="125" y="118"/>
                </a:moveTo>
                <a:lnTo>
                  <a:pt x="120" y="130"/>
                </a:lnTo>
                <a:lnTo>
                  <a:pt x="125" y="146"/>
                </a:lnTo>
                <a:lnTo>
                  <a:pt x="118" y="157"/>
                </a:lnTo>
                <a:lnTo>
                  <a:pt x="109" y="150"/>
                </a:lnTo>
                <a:lnTo>
                  <a:pt x="95" y="153"/>
                </a:lnTo>
                <a:lnTo>
                  <a:pt x="95" y="164"/>
                </a:lnTo>
                <a:lnTo>
                  <a:pt x="70" y="189"/>
                </a:lnTo>
                <a:lnTo>
                  <a:pt x="56" y="194"/>
                </a:lnTo>
                <a:lnTo>
                  <a:pt x="36" y="214"/>
                </a:lnTo>
                <a:lnTo>
                  <a:pt x="25" y="221"/>
                </a:lnTo>
                <a:lnTo>
                  <a:pt x="13" y="219"/>
                </a:lnTo>
                <a:lnTo>
                  <a:pt x="11" y="223"/>
                </a:lnTo>
                <a:lnTo>
                  <a:pt x="6" y="228"/>
                </a:lnTo>
                <a:lnTo>
                  <a:pt x="13" y="235"/>
                </a:lnTo>
                <a:lnTo>
                  <a:pt x="13" y="251"/>
                </a:lnTo>
                <a:lnTo>
                  <a:pt x="0" y="265"/>
                </a:lnTo>
                <a:lnTo>
                  <a:pt x="4" y="278"/>
                </a:lnTo>
                <a:lnTo>
                  <a:pt x="18" y="278"/>
                </a:lnTo>
                <a:lnTo>
                  <a:pt x="25" y="267"/>
                </a:lnTo>
                <a:lnTo>
                  <a:pt x="34" y="276"/>
                </a:lnTo>
                <a:lnTo>
                  <a:pt x="22" y="285"/>
                </a:lnTo>
                <a:lnTo>
                  <a:pt x="27" y="297"/>
                </a:lnTo>
                <a:lnTo>
                  <a:pt x="34" y="299"/>
                </a:lnTo>
                <a:lnTo>
                  <a:pt x="61" y="303"/>
                </a:lnTo>
                <a:lnTo>
                  <a:pt x="65" y="306"/>
                </a:lnTo>
                <a:lnTo>
                  <a:pt x="91" y="313"/>
                </a:lnTo>
                <a:lnTo>
                  <a:pt x="100" y="308"/>
                </a:lnTo>
                <a:lnTo>
                  <a:pt x="120" y="297"/>
                </a:lnTo>
                <a:lnTo>
                  <a:pt x="152" y="303"/>
                </a:lnTo>
                <a:lnTo>
                  <a:pt x="209" y="303"/>
                </a:lnTo>
                <a:lnTo>
                  <a:pt x="241" y="297"/>
                </a:lnTo>
                <a:lnTo>
                  <a:pt x="254" y="274"/>
                </a:lnTo>
                <a:lnTo>
                  <a:pt x="273" y="265"/>
                </a:lnTo>
                <a:lnTo>
                  <a:pt x="279" y="251"/>
                </a:lnTo>
                <a:lnTo>
                  <a:pt x="286" y="233"/>
                </a:lnTo>
                <a:lnTo>
                  <a:pt x="300" y="219"/>
                </a:lnTo>
                <a:lnTo>
                  <a:pt x="313" y="189"/>
                </a:lnTo>
                <a:lnTo>
                  <a:pt x="311" y="153"/>
                </a:lnTo>
                <a:lnTo>
                  <a:pt x="339" y="134"/>
                </a:lnTo>
                <a:lnTo>
                  <a:pt x="323" y="121"/>
                </a:lnTo>
                <a:lnTo>
                  <a:pt x="318" y="95"/>
                </a:lnTo>
                <a:lnTo>
                  <a:pt x="307" y="86"/>
                </a:lnTo>
                <a:lnTo>
                  <a:pt x="293" y="86"/>
                </a:lnTo>
                <a:lnTo>
                  <a:pt x="282" y="79"/>
                </a:lnTo>
                <a:lnTo>
                  <a:pt x="259" y="52"/>
                </a:lnTo>
                <a:lnTo>
                  <a:pt x="268" y="47"/>
                </a:lnTo>
                <a:lnTo>
                  <a:pt x="309" y="11"/>
                </a:lnTo>
                <a:lnTo>
                  <a:pt x="304" y="0"/>
                </a:lnTo>
                <a:lnTo>
                  <a:pt x="291" y="2"/>
                </a:lnTo>
                <a:lnTo>
                  <a:pt x="250" y="4"/>
                </a:lnTo>
                <a:lnTo>
                  <a:pt x="236" y="15"/>
                </a:lnTo>
                <a:lnTo>
                  <a:pt x="225" y="22"/>
                </a:lnTo>
                <a:lnTo>
                  <a:pt x="211" y="20"/>
                </a:lnTo>
                <a:lnTo>
                  <a:pt x="202" y="25"/>
                </a:lnTo>
                <a:lnTo>
                  <a:pt x="209" y="36"/>
                </a:lnTo>
                <a:lnTo>
                  <a:pt x="229" y="50"/>
                </a:lnTo>
                <a:lnTo>
                  <a:pt x="213" y="52"/>
                </a:lnTo>
                <a:lnTo>
                  <a:pt x="177" y="57"/>
                </a:lnTo>
                <a:lnTo>
                  <a:pt x="152" y="47"/>
                </a:lnTo>
                <a:lnTo>
                  <a:pt x="127" y="36"/>
                </a:lnTo>
                <a:lnTo>
                  <a:pt x="118" y="43"/>
                </a:lnTo>
                <a:lnTo>
                  <a:pt x="111" y="61"/>
                </a:lnTo>
                <a:lnTo>
                  <a:pt x="113" y="70"/>
                </a:lnTo>
                <a:lnTo>
                  <a:pt x="111" y="75"/>
                </a:lnTo>
                <a:lnTo>
                  <a:pt x="95" y="82"/>
                </a:lnTo>
                <a:lnTo>
                  <a:pt x="97" y="100"/>
                </a:lnTo>
                <a:lnTo>
                  <a:pt x="95" y="105"/>
                </a:lnTo>
                <a:lnTo>
                  <a:pt x="81" y="125"/>
                </a:lnTo>
                <a:lnTo>
                  <a:pt x="93" y="143"/>
                </a:lnTo>
                <a:lnTo>
                  <a:pt x="100" y="141"/>
                </a:lnTo>
                <a:lnTo>
                  <a:pt x="125" y="118"/>
                </a:lnTo>
              </a:path>
            </a:pathLst>
          </a:custGeom>
          <a:solidFill>
            <a:schemeClr val="accent3"/>
          </a:solidFill>
          <a:ln w="12700" cap="rnd">
            <a:solidFill>
              <a:schemeClr val="bg1"/>
            </a:solidFill>
            <a:round/>
            <a:headEnd/>
            <a:tailEnd/>
          </a:ln>
        </p:spPr>
        <p:txBody>
          <a:bodyPr/>
          <a:lstStyle/>
          <a:p>
            <a:pPr>
              <a:defRPr/>
            </a:pPr>
            <a:endParaRPr lang="en-GB"/>
          </a:p>
        </p:txBody>
      </p:sp>
      <p:grpSp>
        <p:nvGrpSpPr>
          <p:cNvPr id="3" name="Group 23"/>
          <p:cNvGrpSpPr>
            <a:grpSpLocks/>
          </p:cNvGrpSpPr>
          <p:nvPr/>
        </p:nvGrpSpPr>
        <p:grpSpPr bwMode="auto">
          <a:xfrm>
            <a:off x="4526241" y="3213735"/>
            <a:ext cx="470919" cy="360037"/>
            <a:chOff x="3001" y="2038"/>
            <a:chExt cx="404" cy="308"/>
          </a:xfrm>
          <a:solidFill>
            <a:schemeClr val="accent3"/>
          </a:solidFill>
        </p:grpSpPr>
        <p:sp>
          <p:nvSpPr>
            <p:cNvPr id="79" name="Freeform 24"/>
            <p:cNvSpPr>
              <a:spLocks/>
            </p:cNvSpPr>
            <p:nvPr/>
          </p:nvSpPr>
          <p:spPr bwMode="auto">
            <a:xfrm>
              <a:off x="3001" y="2099"/>
              <a:ext cx="164" cy="204"/>
            </a:xfrm>
            <a:custGeom>
              <a:avLst/>
              <a:gdLst>
                <a:gd name="T0" fmla="*/ 13 w 164"/>
                <a:gd name="T1" fmla="*/ 173 h 204"/>
                <a:gd name="T2" fmla="*/ 22 w 164"/>
                <a:gd name="T3" fmla="*/ 189 h 204"/>
                <a:gd name="T4" fmla="*/ 40 w 164"/>
                <a:gd name="T5" fmla="*/ 189 h 204"/>
                <a:gd name="T6" fmla="*/ 56 w 164"/>
                <a:gd name="T7" fmla="*/ 193 h 204"/>
                <a:gd name="T8" fmla="*/ 67 w 164"/>
                <a:gd name="T9" fmla="*/ 203 h 204"/>
                <a:gd name="T10" fmla="*/ 81 w 164"/>
                <a:gd name="T11" fmla="*/ 203 h 204"/>
                <a:gd name="T12" fmla="*/ 72 w 164"/>
                <a:gd name="T13" fmla="*/ 191 h 204"/>
                <a:gd name="T14" fmla="*/ 79 w 164"/>
                <a:gd name="T15" fmla="*/ 173 h 204"/>
                <a:gd name="T16" fmla="*/ 88 w 164"/>
                <a:gd name="T17" fmla="*/ 155 h 204"/>
                <a:gd name="T18" fmla="*/ 92 w 164"/>
                <a:gd name="T19" fmla="*/ 132 h 204"/>
                <a:gd name="T20" fmla="*/ 110 w 164"/>
                <a:gd name="T21" fmla="*/ 120 h 204"/>
                <a:gd name="T22" fmla="*/ 126 w 164"/>
                <a:gd name="T23" fmla="*/ 111 h 204"/>
                <a:gd name="T24" fmla="*/ 126 w 164"/>
                <a:gd name="T25" fmla="*/ 98 h 204"/>
                <a:gd name="T26" fmla="*/ 126 w 164"/>
                <a:gd name="T27" fmla="*/ 77 h 204"/>
                <a:gd name="T28" fmla="*/ 129 w 164"/>
                <a:gd name="T29" fmla="*/ 68 h 204"/>
                <a:gd name="T30" fmla="*/ 144 w 164"/>
                <a:gd name="T31" fmla="*/ 66 h 204"/>
                <a:gd name="T32" fmla="*/ 149 w 164"/>
                <a:gd name="T33" fmla="*/ 70 h 204"/>
                <a:gd name="T34" fmla="*/ 163 w 164"/>
                <a:gd name="T35" fmla="*/ 57 h 204"/>
                <a:gd name="T36" fmla="*/ 158 w 164"/>
                <a:gd name="T37" fmla="*/ 45 h 204"/>
                <a:gd name="T38" fmla="*/ 149 w 164"/>
                <a:gd name="T39" fmla="*/ 43 h 204"/>
                <a:gd name="T40" fmla="*/ 135 w 164"/>
                <a:gd name="T41" fmla="*/ 43 h 204"/>
                <a:gd name="T42" fmla="*/ 129 w 164"/>
                <a:gd name="T43" fmla="*/ 43 h 204"/>
                <a:gd name="T44" fmla="*/ 126 w 164"/>
                <a:gd name="T45" fmla="*/ 22 h 204"/>
                <a:gd name="T46" fmla="*/ 126 w 164"/>
                <a:gd name="T47" fmla="*/ 4 h 204"/>
                <a:gd name="T48" fmla="*/ 117 w 164"/>
                <a:gd name="T49" fmla="*/ 0 h 204"/>
                <a:gd name="T50" fmla="*/ 113 w 164"/>
                <a:gd name="T51" fmla="*/ 6 h 204"/>
                <a:gd name="T52" fmla="*/ 88 w 164"/>
                <a:gd name="T53" fmla="*/ 2 h 204"/>
                <a:gd name="T54" fmla="*/ 81 w 164"/>
                <a:gd name="T55" fmla="*/ 9 h 204"/>
                <a:gd name="T56" fmla="*/ 88 w 164"/>
                <a:gd name="T57" fmla="*/ 25 h 204"/>
                <a:gd name="T58" fmla="*/ 86 w 164"/>
                <a:gd name="T59" fmla="*/ 43 h 204"/>
                <a:gd name="T60" fmla="*/ 74 w 164"/>
                <a:gd name="T61" fmla="*/ 29 h 204"/>
                <a:gd name="T62" fmla="*/ 70 w 164"/>
                <a:gd name="T63" fmla="*/ 20 h 204"/>
                <a:gd name="T64" fmla="*/ 56 w 164"/>
                <a:gd name="T65" fmla="*/ 22 h 204"/>
                <a:gd name="T66" fmla="*/ 52 w 164"/>
                <a:gd name="T67" fmla="*/ 31 h 204"/>
                <a:gd name="T68" fmla="*/ 47 w 164"/>
                <a:gd name="T69" fmla="*/ 36 h 204"/>
                <a:gd name="T70" fmla="*/ 47 w 164"/>
                <a:gd name="T71" fmla="*/ 50 h 204"/>
                <a:gd name="T72" fmla="*/ 45 w 164"/>
                <a:gd name="T73" fmla="*/ 50 h 204"/>
                <a:gd name="T74" fmla="*/ 31 w 164"/>
                <a:gd name="T75" fmla="*/ 29 h 204"/>
                <a:gd name="T76" fmla="*/ 24 w 164"/>
                <a:gd name="T77" fmla="*/ 22 h 204"/>
                <a:gd name="T78" fmla="*/ 18 w 164"/>
                <a:gd name="T79" fmla="*/ 27 h 204"/>
                <a:gd name="T80" fmla="*/ 20 w 164"/>
                <a:gd name="T81" fmla="*/ 38 h 204"/>
                <a:gd name="T82" fmla="*/ 20 w 164"/>
                <a:gd name="T83" fmla="*/ 45 h 204"/>
                <a:gd name="T84" fmla="*/ 9 w 164"/>
                <a:gd name="T85" fmla="*/ 50 h 204"/>
                <a:gd name="T86" fmla="*/ 9 w 164"/>
                <a:gd name="T87" fmla="*/ 63 h 204"/>
                <a:gd name="T88" fmla="*/ 18 w 164"/>
                <a:gd name="T89" fmla="*/ 77 h 204"/>
                <a:gd name="T90" fmla="*/ 18 w 164"/>
                <a:gd name="T91" fmla="*/ 88 h 204"/>
                <a:gd name="T92" fmla="*/ 13 w 164"/>
                <a:gd name="T93" fmla="*/ 98 h 204"/>
                <a:gd name="T94" fmla="*/ 0 w 164"/>
                <a:gd name="T95" fmla="*/ 109 h 204"/>
                <a:gd name="T96" fmla="*/ 2 w 164"/>
                <a:gd name="T97" fmla="*/ 120 h 204"/>
                <a:gd name="T98" fmla="*/ 15 w 164"/>
                <a:gd name="T99" fmla="*/ 130 h 204"/>
                <a:gd name="T100" fmla="*/ 20 w 164"/>
                <a:gd name="T101" fmla="*/ 139 h 204"/>
                <a:gd name="T102" fmla="*/ 18 w 164"/>
                <a:gd name="T103" fmla="*/ 161 h 204"/>
                <a:gd name="T104" fmla="*/ 13 w 164"/>
                <a:gd name="T105" fmla="*/ 173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4"/>
                <a:gd name="T160" fmla="*/ 0 h 204"/>
                <a:gd name="T161" fmla="*/ 164 w 16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4" h="204">
                  <a:moveTo>
                    <a:pt x="13" y="173"/>
                  </a:moveTo>
                  <a:lnTo>
                    <a:pt x="22" y="189"/>
                  </a:lnTo>
                  <a:lnTo>
                    <a:pt x="40" y="189"/>
                  </a:lnTo>
                  <a:lnTo>
                    <a:pt x="56" y="193"/>
                  </a:lnTo>
                  <a:lnTo>
                    <a:pt x="67" y="203"/>
                  </a:lnTo>
                  <a:lnTo>
                    <a:pt x="81" y="203"/>
                  </a:lnTo>
                  <a:lnTo>
                    <a:pt x="72" y="191"/>
                  </a:lnTo>
                  <a:lnTo>
                    <a:pt x="79" y="173"/>
                  </a:lnTo>
                  <a:lnTo>
                    <a:pt x="88" y="155"/>
                  </a:lnTo>
                  <a:lnTo>
                    <a:pt x="92" y="132"/>
                  </a:lnTo>
                  <a:lnTo>
                    <a:pt x="110" y="120"/>
                  </a:lnTo>
                  <a:lnTo>
                    <a:pt x="126" y="111"/>
                  </a:lnTo>
                  <a:lnTo>
                    <a:pt x="126" y="98"/>
                  </a:lnTo>
                  <a:lnTo>
                    <a:pt x="126" y="77"/>
                  </a:lnTo>
                  <a:lnTo>
                    <a:pt x="129" y="68"/>
                  </a:lnTo>
                  <a:lnTo>
                    <a:pt x="144" y="66"/>
                  </a:lnTo>
                  <a:lnTo>
                    <a:pt x="149" y="70"/>
                  </a:lnTo>
                  <a:lnTo>
                    <a:pt x="163" y="57"/>
                  </a:lnTo>
                  <a:lnTo>
                    <a:pt x="158" y="45"/>
                  </a:lnTo>
                  <a:lnTo>
                    <a:pt x="149" y="43"/>
                  </a:lnTo>
                  <a:lnTo>
                    <a:pt x="135" y="43"/>
                  </a:lnTo>
                  <a:lnTo>
                    <a:pt x="129" y="43"/>
                  </a:lnTo>
                  <a:lnTo>
                    <a:pt x="126" y="22"/>
                  </a:lnTo>
                  <a:lnTo>
                    <a:pt x="126" y="4"/>
                  </a:lnTo>
                  <a:lnTo>
                    <a:pt x="117" y="0"/>
                  </a:lnTo>
                  <a:lnTo>
                    <a:pt x="113" y="6"/>
                  </a:lnTo>
                  <a:lnTo>
                    <a:pt x="88" y="2"/>
                  </a:lnTo>
                  <a:lnTo>
                    <a:pt x="81" y="9"/>
                  </a:lnTo>
                  <a:lnTo>
                    <a:pt x="88" y="25"/>
                  </a:lnTo>
                  <a:lnTo>
                    <a:pt x="86" y="43"/>
                  </a:lnTo>
                  <a:lnTo>
                    <a:pt x="74" y="29"/>
                  </a:lnTo>
                  <a:lnTo>
                    <a:pt x="70" y="20"/>
                  </a:lnTo>
                  <a:lnTo>
                    <a:pt x="56" y="22"/>
                  </a:lnTo>
                  <a:lnTo>
                    <a:pt x="52" y="31"/>
                  </a:lnTo>
                  <a:lnTo>
                    <a:pt x="47" y="36"/>
                  </a:lnTo>
                  <a:lnTo>
                    <a:pt x="47" y="50"/>
                  </a:lnTo>
                  <a:lnTo>
                    <a:pt x="45" y="50"/>
                  </a:lnTo>
                  <a:lnTo>
                    <a:pt x="31" y="29"/>
                  </a:lnTo>
                  <a:lnTo>
                    <a:pt x="24" y="22"/>
                  </a:lnTo>
                  <a:lnTo>
                    <a:pt x="18" y="27"/>
                  </a:lnTo>
                  <a:lnTo>
                    <a:pt x="20" y="38"/>
                  </a:lnTo>
                  <a:lnTo>
                    <a:pt x="20" y="45"/>
                  </a:lnTo>
                  <a:lnTo>
                    <a:pt x="9" y="50"/>
                  </a:lnTo>
                  <a:lnTo>
                    <a:pt x="9" y="63"/>
                  </a:lnTo>
                  <a:lnTo>
                    <a:pt x="18" y="77"/>
                  </a:lnTo>
                  <a:lnTo>
                    <a:pt x="18" y="88"/>
                  </a:lnTo>
                  <a:lnTo>
                    <a:pt x="13" y="98"/>
                  </a:lnTo>
                  <a:lnTo>
                    <a:pt x="0" y="109"/>
                  </a:lnTo>
                  <a:lnTo>
                    <a:pt x="2" y="120"/>
                  </a:lnTo>
                  <a:lnTo>
                    <a:pt x="15" y="130"/>
                  </a:lnTo>
                  <a:lnTo>
                    <a:pt x="20" y="139"/>
                  </a:lnTo>
                  <a:lnTo>
                    <a:pt x="18" y="161"/>
                  </a:lnTo>
                  <a:lnTo>
                    <a:pt x="13" y="173"/>
                  </a:lnTo>
                </a:path>
              </a:pathLst>
            </a:custGeom>
            <a:grpFill/>
            <a:ln w="12700" cap="rnd">
              <a:solidFill>
                <a:schemeClr val="bg1"/>
              </a:solidFill>
              <a:round/>
              <a:headEnd/>
              <a:tailEnd/>
            </a:ln>
          </p:spPr>
          <p:txBody>
            <a:bodyPr/>
            <a:lstStyle/>
            <a:p>
              <a:pPr>
                <a:defRPr/>
              </a:pPr>
              <a:endParaRPr lang="en-GB"/>
            </a:p>
          </p:txBody>
        </p:sp>
        <p:sp>
          <p:nvSpPr>
            <p:cNvPr id="80" name="Freeform 25"/>
            <p:cNvSpPr>
              <a:spLocks/>
            </p:cNvSpPr>
            <p:nvPr/>
          </p:nvSpPr>
          <p:spPr bwMode="auto">
            <a:xfrm>
              <a:off x="3035" y="2038"/>
              <a:ext cx="124" cy="78"/>
            </a:xfrm>
            <a:custGeom>
              <a:avLst/>
              <a:gdLst>
                <a:gd name="T0" fmla="*/ 0 w 124"/>
                <a:gd name="T1" fmla="*/ 74 h 78"/>
                <a:gd name="T2" fmla="*/ 11 w 124"/>
                <a:gd name="T3" fmla="*/ 77 h 78"/>
                <a:gd name="T4" fmla="*/ 22 w 124"/>
                <a:gd name="T5" fmla="*/ 67 h 78"/>
                <a:gd name="T6" fmla="*/ 34 w 124"/>
                <a:gd name="T7" fmla="*/ 52 h 78"/>
                <a:gd name="T8" fmla="*/ 68 w 124"/>
                <a:gd name="T9" fmla="*/ 52 h 78"/>
                <a:gd name="T10" fmla="*/ 97 w 124"/>
                <a:gd name="T11" fmla="*/ 47 h 78"/>
                <a:gd name="T12" fmla="*/ 113 w 124"/>
                <a:gd name="T13" fmla="*/ 33 h 78"/>
                <a:gd name="T14" fmla="*/ 120 w 124"/>
                <a:gd name="T15" fmla="*/ 18 h 78"/>
                <a:gd name="T16" fmla="*/ 123 w 124"/>
                <a:gd name="T17" fmla="*/ 0 h 78"/>
                <a:gd name="T18" fmla="*/ 100 w 124"/>
                <a:gd name="T19" fmla="*/ 11 h 78"/>
                <a:gd name="T20" fmla="*/ 59 w 124"/>
                <a:gd name="T21" fmla="*/ 29 h 78"/>
                <a:gd name="T22" fmla="*/ 47 w 124"/>
                <a:gd name="T23" fmla="*/ 31 h 78"/>
                <a:gd name="T24" fmla="*/ 34 w 124"/>
                <a:gd name="T25" fmla="*/ 40 h 78"/>
                <a:gd name="T26" fmla="*/ 11 w 124"/>
                <a:gd name="T27" fmla="*/ 45 h 78"/>
                <a:gd name="T28" fmla="*/ 0 w 124"/>
                <a:gd name="T29" fmla="*/ 49 h 78"/>
                <a:gd name="T30" fmla="*/ 0 w 124"/>
                <a:gd name="T31" fmla="*/ 74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4"/>
                <a:gd name="T49" fmla="*/ 0 h 78"/>
                <a:gd name="T50" fmla="*/ 124 w 124"/>
                <a:gd name="T51" fmla="*/ 78 h 7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4" h="78">
                  <a:moveTo>
                    <a:pt x="0" y="74"/>
                  </a:moveTo>
                  <a:lnTo>
                    <a:pt x="11" y="77"/>
                  </a:lnTo>
                  <a:lnTo>
                    <a:pt x="22" y="67"/>
                  </a:lnTo>
                  <a:lnTo>
                    <a:pt x="34" y="52"/>
                  </a:lnTo>
                  <a:lnTo>
                    <a:pt x="68" y="52"/>
                  </a:lnTo>
                  <a:lnTo>
                    <a:pt x="97" y="47"/>
                  </a:lnTo>
                  <a:lnTo>
                    <a:pt x="113" y="33"/>
                  </a:lnTo>
                  <a:lnTo>
                    <a:pt x="120" y="18"/>
                  </a:lnTo>
                  <a:lnTo>
                    <a:pt x="123" y="0"/>
                  </a:lnTo>
                  <a:lnTo>
                    <a:pt x="100" y="11"/>
                  </a:lnTo>
                  <a:lnTo>
                    <a:pt x="59" y="29"/>
                  </a:lnTo>
                  <a:lnTo>
                    <a:pt x="47" y="31"/>
                  </a:lnTo>
                  <a:lnTo>
                    <a:pt x="34" y="40"/>
                  </a:lnTo>
                  <a:lnTo>
                    <a:pt x="11" y="45"/>
                  </a:lnTo>
                  <a:lnTo>
                    <a:pt x="0" y="49"/>
                  </a:lnTo>
                  <a:lnTo>
                    <a:pt x="0" y="74"/>
                  </a:lnTo>
                </a:path>
              </a:pathLst>
            </a:custGeom>
            <a:grpFill/>
            <a:ln w="12700" cap="rnd">
              <a:solidFill>
                <a:schemeClr val="bg1"/>
              </a:solidFill>
              <a:round/>
              <a:headEnd/>
              <a:tailEnd/>
            </a:ln>
          </p:spPr>
          <p:txBody>
            <a:bodyPr/>
            <a:lstStyle/>
            <a:p>
              <a:pPr>
                <a:defRPr/>
              </a:pPr>
              <a:endParaRPr lang="en-GB"/>
            </a:p>
          </p:txBody>
        </p:sp>
        <p:sp>
          <p:nvSpPr>
            <p:cNvPr id="81" name="Freeform 26"/>
            <p:cNvSpPr>
              <a:spLocks/>
            </p:cNvSpPr>
            <p:nvPr/>
          </p:nvSpPr>
          <p:spPr bwMode="auto">
            <a:xfrm>
              <a:off x="3098" y="2227"/>
              <a:ext cx="54" cy="64"/>
            </a:xfrm>
            <a:custGeom>
              <a:avLst/>
              <a:gdLst>
                <a:gd name="T0" fmla="*/ 16 w 54"/>
                <a:gd name="T1" fmla="*/ 0 h 64"/>
                <a:gd name="T2" fmla="*/ 50 w 54"/>
                <a:gd name="T3" fmla="*/ 22 h 64"/>
                <a:gd name="T4" fmla="*/ 53 w 54"/>
                <a:gd name="T5" fmla="*/ 31 h 64"/>
                <a:gd name="T6" fmla="*/ 41 w 54"/>
                <a:gd name="T7" fmla="*/ 45 h 64"/>
                <a:gd name="T8" fmla="*/ 29 w 54"/>
                <a:gd name="T9" fmla="*/ 54 h 64"/>
                <a:gd name="T10" fmla="*/ 32 w 54"/>
                <a:gd name="T11" fmla="*/ 63 h 64"/>
                <a:gd name="T12" fmla="*/ 16 w 54"/>
                <a:gd name="T13" fmla="*/ 60 h 64"/>
                <a:gd name="T14" fmla="*/ 2 w 54"/>
                <a:gd name="T15" fmla="*/ 45 h 64"/>
                <a:gd name="T16" fmla="*/ 0 w 54"/>
                <a:gd name="T17" fmla="*/ 31 h 64"/>
                <a:gd name="T18" fmla="*/ 6 w 54"/>
                <a:gd name="T19" fmla="*/ 18 h 64"/>
                <a:gd name="T20" fmla="*/ 16 w 54"/>
                <a:gd name="T21" fmla="*/ 0 h 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
                <a:gd name="T34" fmla="*/ 0 h 64"/>
                <a:gd name="T35" fmla="*/ 54 w 54"/>
                <a:gd name="T36" fmla="*/ 64 h 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 h="64">
                  <a:moveTo>
                    <a:pt x="16" y="0"/>
                  </a:moveTo>
                  <a:lnTo>
                    <a:pt x="50" y="22"/>
                  </a:lnTo>
                  <a:lnTo>
                    <a:pt x="53" y="31"/>
                  </a:lnTo>
                  <a:lnTo>
                    <a:pt x="41" y="45"/>
                  </a:lnTo>
                  <a:lnTo>
                    <a:pt x="29" y="54"/>
                  </a:lnTo>
                  <a:lnTo>
                    <a:pt x="32" y="63"/>
                  </a:lnTo>
                  <a:lnTo>
                    <a:pt x="16" y="60"/>
                  </a:lnTo>
                  <a:lnTo>
                    <a:pt x="2" y="45"/>
                  </a:lnTo>
                  <a:lnTo>
                    <a:pt x="0" y="31"/>
                  </a:lnTo>
                  <a:lnTo>
                    <a:pt x="6" y="18"/>
                  </a:lnTo>
                  <a:lnTo>
                    <a:pt x="16" y="0"/>
                  </a:lnTo>
                </a:path>
              </a:pathLst>
            </a:custGeom>
            <a:grpFill/>
            <a:ln w="12700" cap="rnd">
              <a:solidFill>
                <a:schemeClr val="bg1"/>
              </a:solidFill>
              <a:round/>
              <a:headEnd/>
              <a:tailEnd/>
            </a:ln>
          </p:spPr>
          <p:txBody>
            <a:bodyPr/>
            <a:lstStyle/>
            <a:p>
              <a:pPr>
                <a:defRPr/>
              </a:pPr>
              <a:endParaRPr lang="en-GB"/>
            </a:p>
          </p:txBody>
        </p:sp>
        <p:sp>
          <p:nvSpPr>
            <p:cNvPr id="82" name="Freeform 27"/>
            <p:cNvSpPr>
              <a:spLocks/>
            </p:cNvSpPr>
            <p:nvPr/>
          </p:nvSpPr>
          <p:spPr bwMode="auto">
            <a:xfrm>
              <a:off x="3164" y="2208"/>
              <a:ext cx="78" cy="95"/>
            </a:xfrm>
            <a:custGeom>
              <a:avLst/>
              <a:gdLst>
                <a:gd name="T0" fmla="*/ 72 w 78"/>
                <a:gd name="T1" fmla="*/ 0 h 95"/>
                <a:gd name="T2" fmla="*/ 77 w 78"/>
                <a:gd name="T3" fmla="*/ 4 h 95"/>
                <a:gd name="T4" fmla="*/ 72 w 78"/>
                <a:gd name="T5" fmla="*/ 9 h 95"/>
                <a:gd name="T6" fmla="*/ 77 w 78"/>
                <a:gd name="T7" fmla="*/ 18 h 95"/>
                <a:gd name="T8" fmla="*/ 70 w 78"/>
                <a:gd name="T9" fmla="*/ 32 h 95"/>
                <a:gd name="T10" fmla="*/ 61 w 78"/>
                <a:gd name="T11" fmla="*/ 41 h 95"/>
                <a:gd name="T12" fmla="*/ 63 w 78"/>
                <a:gd name="T13" fmla="*/ 52 h 95"/>
                <a:gd name="T14" fmla="*/ 61 w 78"/>
                <a:gd name="T15" fmla="*/ 61 h 95"/>
                <a:gd name="T16" fmla="*/ 63 w 78"/>
                <a:gd name="T17" fmla="*/ 71 h 95"/>
                <a:gd name="T18" fmla="*/ 49 w 78"/>
                <a:gd name="T19" fmla="*/ 94 h 95"/>
                <a:gd name="T20" fmla="*/ 18 w 78"/>
                <a:gd name="T21" fmla="*/ 71 h 95"/>
                <a:gd name="T22" fmla="*/ 0 w 78"/>
                <a:gd name="T23" fmla="*/ 59 h 95"/>
                <a:gd name="T24" fmla="*/ 9 w 78"/>
                <a:gd name="T25" fmla="*/ 52 h 95"/>
                <a:gd name="T26" fmla="*/ 9 w 78"/>
                <a:gd name="T27" fmla="*/ 36 h 95"/>
                <a:gd name="T28" fmla="*/ 29 w 78"/>
                <a:gd name="T29" fmla="*/ 22 h 95"/>
                <a:gd name="T30" fmla="*/ 40 w 78"/>
                <a:gd name="T31" fmla="*/ 27 h 95"/>
                <a:gd name="T32" fmla="*/ 49 w 78"/>
                <a:gd name="T33" fmla="*/ 22 h 95"/>
                <a:gd name="T34" fmla="*/ 65 w 78"/>
                <a:gd name="T35" fmla="*/ 11 h 95"/>
                <a:gd name="T36" fmla="*/ 72 w 78"/>
                <a:gd name="T37" fmla="*/ 0 h 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8"/>
                <a:gd name="T58" fmla="*/ 0 h 95"/>
                <a:gd name="T59" fmla="*/ 78 w 78"/>
                <a:gd name="T60" fmla="*/ 95 h 9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8" h="95">
                  <a:moveTo>
                    <a:pt x="72" y="0"/>
                  </a:moveTo>
                  <a:lnTo>
                    <a:pt x="77" y="4"/>
                  </a:lnTo>
                  <a:lnTo>
                    <a:pt x="72" y="9"/>
                  </a:lnTo>
                  <a:lnTo>
                    <a:pt x="77" y="18"/>
                  </a:lnTo>
                  <a:lnTo>
                    <a:pt x="70" y="32"/>
                  </a:lnTo>
                  <a:lnTo>
                    <a:pt x="61" y="41"/>
                  </a:lnTo>
                  <a:lnTo>
                    <a:pt x="63" y="52"/>
                  </a:lnTo>
                  <a:lnTo>
                    <a:pt x="61" y="61"/>
                  </a:lnTo>
                  <a:lnTo>
                    <a:pt x="63" y="71"/>
                  </a:lnTo>
                  <a:lnTo>
                    <a:pt x="49" y="94"/>
                  </a:lnTo>
                  <a:lnTo>
                    <a:pt x="18" y="71"/>
                  </a:lnTo>
                  <a:lnTo>
                    <a:pt x="0" y="59"/>
                  </a:lnTo>
                  <a:lnTo>
                    <a:pt x="9" y="52"/>
                  </a:lnTo>
                  <a:lnTo>
                    <a:pt x="9" y="36"/>
                  </a:lnTo>
                  <a:lnTo>
                    <a:pt x="29" y="22"/>
                  </a:lnTo>
                  <a:lnTo>
                    <a:pt x="40" y="27"/>
                  </a:lnTo>
                  <a:lnTo>
                    <a:pt x="49" y="22"/>
                  </a:lnTo>
                  <a:lnTo>
                    <a:pt x="65" y="11"/>
                  </a:lnTo>
                  <a:lnTo>
                    <a:pt x="72" y="0"/>
                  </a:lnTo>
                </a:path>
              </a:pathLst>
            </a:custGeom>
            <a:grpFill/>
            <a:ln w="12700" cap="rnd">
              <a:solidFill>
                <a:schemeClr val="bg1"/>
              </a:solidFill>
              <a:round/>
              <a:headEnd/>
              <a:tailEnd/>
            </a:ln>
          </p:spPr>
          <p:txBody>
            <a:bodyPr/>
            <a:lstStyle/>
            <a:p>
              <a:pPr>
                <a:defRPr/>
              </a:pPr>
              <a:endParaRPr lang="en-GB"/>
            </a:p>
          </p:txBody>
        </p:sp>
        <p:sp>
          <p:nvSpPr>
            <p:cNvPr id="83" name="Freeform 28"/>
            <p:cNvSpPr>
              <a:spLocks/>
            </p:cNvSpPr>
            <p:nvPr/>
          </p:nvSpPr>
          <p:spPr bwMode="auto">
            <a:xfrm>
              <a:off x="3153" y="2303"/>
              <a:ext cx="38" cy="43"/>
            </a:xfrm>
            <a:custGeom>
              <a:avLst/>
              <a:gdLst>
                <a:gd name="T0" fmla="*/ 0 w 38"/>
                <a:gd name="T1" fmla="*/ 0 h 43"/>
                <a:gd name="T2" fmla="*/ 26 w 38"/>
                <a:gd name="T3" fmla="*/ 7 h 43"/>
                <a:gd name="T4" fmla="*/ 34 w 38"/>
                <a:gd name="T5" fmla="*/ 18 h 43"/>
                <a:gd name="T6" fmla="*/ 37 w 38"/>
                <a:gd name="T7" fmla="*/ 32 h 43"/>
                <a:gd name="T8" fmla="*/ 26 w 38"/>
                <a:gd name="T9" fmla="*/ 42 h 43"/>
                <a:gd name="T10" fmla="*/ 7 w 38"/>
                <a:gd name="T11" fmla="*/ 35 h 43"/>
                <a:gd name="T12" fmla="*/ 2 w 38"/>
                <a:gd name="T13" fmla="*/ 23 h 43"/>
                <a:gd name="T14" fmla="*/ 0 w 38"/>
                <a:gd name="T15" fmla="*/ 0 h 43"/>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43"/>
                <a:gd name="T26" fmla="*/ 38 w 38"/>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43">
                  <a:moveTo>
                    <a:pt x="0" y="0"/>
                  </a:moveTo>
                  <a:lnTo>
                    <a:pt x="26" y="7"/>
                  </a:lnTo>
                  <a:lnTo>
                    <a:pt x="34" y="18"/>
                  </a:lnTo>
                  <a:lnTo>
                    <a:pt x="37" y="32"/>
                  </a:lnTo>
                  <a:lnTo>
                    <a:pt x="26" y="42"/>
                  </a:lnTo>
                  <a:lnTo>
                    <a:pt x="7" y="35"/>
                  </a:lnTo>
                  <a:lnTo>
                    <a:pt x="2" y="23"/>
                  </a:lnTo>
                  <a:lnTo>
                    <a:pt x="0" y="0"/>
                  </a:lnTo>
                </a:path>
              </a:pathLst>
            </a:custGeom>
            <a:grpFill/>
            <a:ln w="12700" cap="rnd">
              <a:solidFill>
                <a:schemeClr val="bg1"/>
              </a:solidFill>
              <a:round/>
              <a:headEnd/>
              <a:tailEnd/>
            </a:ln>
          </p:spPr>
          <p:txBody>
            <a:bodyPr/>
            <a:lstStyle/>
            <a:p>
              <a:pPr>
                <a:defRPr/>
              </a:pPr>
              <a:endParaRPr lang="en-GB"/>
            </a:p>
          </p:txBody>
        </p:sp>
        <p:sp>
          <p:nvSpPr>
            <p:cNvPr id="84" name="Freeform 29"/>
            <p:cNvSpPr>
              <a:spLocks/>
            </p:cNvSpPr>
            <p:nvPr/>
          </p:nvSpPr>
          <p:spPr bwMode="auto">
            <a:xfrm>
              <a:off x="3369" y="2295"/>
              <a:ext cx="36" cy="36"/>
            </a:xfrm>
            <a:custGeom>
              <a:avLst/>
              <a:gdLst>
                <a:gd name="T0" fmla="*/ 13 w 36"/>
                <a:gd name="T1" fmla="*/ 0 h 36"/>
                <a:gd name="T2" fmla="*/ 0 w 36"/>
                <a:gd name="T3" fmla="*/ 7 h 36"/>
                <a:gd name="T4" fmla="*/ 0 w 36"/>
                <a:gd name="T5" fmla="*/ 25 h 36"/>
                <a:gd name="T6" fmla="*/ 26 w 36"/>
                <a:gd name="T7" fmla="*/ 35 h 36"/>
                <a:gd name="T8" fmla="*/ 35 w 36"/>
                <a:gd name="T9" fmla="*/ 20 h 36"/>
                <a:gd name="T10" fmla="*/ 13 w 36"/>
                <a:gd name="T11" fmla="*/ 0 h 36"/>
                <a:gd name="T12" fmla="*/ 0 60000 65536"/>
                <a:gd name="T13" fmla="*/ 0 60000 65536"/>
                <a:gd name="T14" fmla="*/ 0 60000 65536"/>
                <a:gd name="T15" fmla="*/ 0 60000 65536"/>
                <a:gd name="T16" fmla="*/ 0 60000 65536"/>
                <a:gd name="T17" fmla="*/ 0 60000 65536"/>
                <a:gd name="T18" fmla="*/ 0 w 36"/>
                <a:gd name="T19" fmla="*/ 0 h 36"/>
                <a:gd name="T20" fmla="*/ 36 w 36"/>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6" h="36">
                  <a:moveTo>
                    <a:pt x="13" y="0"/>
                  </a:moveTo>
                  <a:lnTo>
                    <a:pt x="0" y="7"/>
                  </a:lnTo>
                  <a:lnTo>
                    <a:pt x="0" y="25"/>
                  </a:lnTo>
                  <a:lnTo>
                    <a:pt x="26" y="35"/>
                  </a:lnTo>
                  <a:lnTo>
                    <a:pt x="35" y="20"/>
                  </a:lnTo>
                  <a:lnTo>
                    <a:pt x="13" y="0"/>
                  </a:lnTo>
                </a:path>
              </a:pathLst>
            </a:custGeom>
            <a:grpFill/>
            <a:ln w="12700" cap="rnd">
              <a:solidFill>
                <a:schemeClr val="bg1"/>
              </a:solidFill>
              <a:round/>
              <a:headEnd/>
              <a:tailEnd/>
            </a:ln>
          </p:spPr>
          <p:txBody>
            <a:bodyPr/>
            <a:lstStyle/>
            <a:p>
              <a:pPr>
                <a:defRPr/>
              </a:pPr>
              <a:endParaRPr lang="en-GB"/>
            </a:p>
          </p:txBody>
        </p:sp>
      </p:grpSp>
      <p:sp>
        <p:nvSpPr>
          <p:cNvPr id="25" name="Freeform 30"/>
          <p:cNvSpPr>
            <a:spLocks/>
          </p:cNvSpPr>
          <p:nvPr/>
        </p:nvSpPr>
        <p:spPr bwMode="auto">
          <a:xfrm>
            <a:off x="4845093" y="3587057"/>
            <a:ext cx="41696" cy="46499"/>
          </a:xfrm>
          <a:custGeom>
            <a:avLst/>
            <a:gdLst>
              <a:gd name="T0" fmla="*/ 2 w 36"/>
              <a:gd name="T1" fmla="*/ 0 h 39"/>
              <a:gd name="T2" fmla="*/ 0 w 36"/>
              <a:gd name="T3" fmla="*/ 4 h 39"/>
              <a:gd name="T4" fmla="*/ 2 w 36"/>
              <a:gd name="T5" fmla="*/ 18 h 39"/>
              <a:gd name="T6" fmla="*/ 16 w 36"/>
              <a:gd name="T7" fmla="*/ 25 h 39"/>
              <a:gd name="T8" fmla="*/ 27 w 36"/>
              <a:gd name="T9" fmla="*/ 16 h 39"/>
              <a:gd name="T10" fmla="*/ 2 w 36"/>
              <a:gd name="T11" fmla="*/ 0 h 39"/>
              <a:gd name="T12" fmla="*/ 0 60000 65536"/>
              <a:gd name="T13" fmla="*/ 0 60000 65536"/>
              <a:gd name="T14" fmla="*/ 0 60000 65536"/>
              <a:gd name="T15" fmla="*/ 0 60000 65536"/>
              <a:gd name="T16" fmla="*/ 0 60000 65536"/>
              <a:gd name="T17" fmla="*/ 0 60000 65536"/>
              <a:gd name="T18" fmla="*/ 0 w 36"/>
              <a:gd name="T19" fmla="*/ 0 h 39"/>
              <a:gd name="T20" fmla="*/ 36 w 36"/>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36" h="39">
                <a:moveTo>
                  <a:pt x="2" y="0"/>
                </a:moveTo>
                <a:lnTo>
                  <a:pt x="0" y="6"/>
                </a:lnTo>
                <a:lnTo>
                  <a:pt x="2" y="27"/>
                </a:lnTo>
                <a:lnTo>
                  <a:pt x="20" y="38"/>
                </a:lnTo>
                <a:lnTo>
                  <a:pt x="35" y="24"/>
                </a:lnTo>
                <a:lnTo>
                  <a:pt x="2" y="0"/>
                </a:lnTo>
              </a:path>
            </a:pathLst>
          </a:custGeom>
          <a:solidFill>
            <a:schemeClr val="accent3"/>
          </a:solidFill>
          <a:ln w="12700" cap="rnd">
            <a:solidFill>
              <a:schemeClr val="bg1"/>
            </a:solidFill>
            <a:round/>
            <a:headEnd/>
            <a:tailEnd/>
          </a:ln>
        </p:spPr>
        <p:txBody>
          <a:bodyPr/>
          <a:lstStyle/>
          <a:p>
            <a:pPr>
              <a:defRPr/>
            </a:pPr>
            <a:endParaRPr lang="en-GB"/>
          </a:p>
        </p:txBody>
      </p:sp>
      <p:sp>
        <p:nvSpPr>
          <p:cNvPr id="26" name="Freeform 31"/>
          <p:cNvSpPr>
            <a:spLocks/>
          </p:cNvSpPr>
          <p:nvPr/>
        </p:nvSpPr>
        <p:spPr bwMode="auto">
          <a:xfrm>
            <a:off x="4278519" y="3502030"/>
            <a:ext cx="668361" cy="899428"/>
          </a:xfrm>
          <a:custGeom>
            <a:avLst/>
            <a:gdLst>
              <a:gd name="T0" fmla="*/ 184 w 573"/>
              <a:gd name="T1" fmla="*/ 11 h 770"/>
              <a:gd name="T2" fmla="*/ 189 w 573"/>
              <a:gd name="T3" fmla="*/ 32 h 770"/>
              <a:gd name="T4" fmla="*/ 185 w 573"/>
              <a:gd name="T5" fmla="*/ 48 h 770"/>
              <a:gd name="T6" fmla="*/ 211 w 573"/>
              <a:gd name="T7" fmla="*/ 72 h 770"/>
              <a:gd name="T8" fmla="*/ 173 w 573"/>
              <a:gd name="T9" fmla="*/ 63 h 770"/>
              <a:gd name="T10" fmla="*/ 145 w 573"/>
              <a:gd name="T11" fmla="*/ 82 h 770"/>
              <a:gd name="T12" fmla="*/ 125 w 573"/>
              <a:gd name="T13" fmla="*/ 67 h 770"/>
              <a:gd name="T14" fmla="*/ 87 w 573"/>
              <a:gd name="T15" fmla="*/ 82 h 770"/>
              <a:gd name="T16" fmla="*/ 94 w 573"/>
              <a:gd name="T17" fmla="*/ 105 h 770"/>
              <a:gd name="T18" fmla="*/ 74 w 573"/>
              <a:gd name="T19" fmla="*/ 118 h 770"/>
              <a:gd name="T20" fmla="*/ 78 w 573"/>
              <a:gd name="T21" fmla="*/ 140 h 770"/>
              <a:gd name="T22" fmla="*/ 51 w 573"/>
              <a:gd name="T23" fmla="*/ 164 h 770"/>
              <a:gd name="T24" fmla="*/ 26 w 573"/>
              <a:gd name="T25" fmla="*/ 182 h 770"/>
              <a:gd name="T26" fmla="*/ 18 w 573"/>
              <a:gd name="T27" fmla="*/ 219 h 770"/>
              <a:gd name="T28" fmla="*/ 14 w 573"/>
              <a:gd name="T29" fmla="*/ 235 h 770"/>
              <a:gd name="T30" fmla="*/ 2 w 573"/>
              <a:gd name="T31" fmla="*/ 267 h 770"/>
              <a:gd name="T32" fmla="*/ 18 w 573"/>
              <a:gd name="T33" fmla="*/ 285 h 770"/>
              <a:gd name="T34" fmla="*/ 0 w 573"/>
              <a:gd name="T35" fmla="*/ 304 h 770"/>
              <a:gd name="T36" fmla="*/ 26 w 573"/>
              <a:gd name="T37" fmla="*/ 328 h 770"/>
              <a:gd name="T38" fmla="*/ 74 w 573"/>
              <a:gd name="T39" fmla="*/ 331 h 770"/>
              <a:gd name="T40" fmla="*/ 81 w 573"/>
              <a:gd name="T41" fmla="*/ 348 h 770"/>
              <a:gd name="T42" fmla="*/ 59 w 573"/>
              <a:gd name="T43" fmla="*/ 371 h 770"/>
              <a:gd name="T44" fmla="*/ 41 w 573"/>
              <a:gd name="T45" fmla="*/ 408 h 770"/>
              <a:gd name="T46" fmla="*/ 66 w 573"/>
              <a:gd name="T47" fmla="*/ 429 h 770"/>
              <a:gd name="T48" fmla="*/ 91 w 573"/>
              <a:gd name="T49" fmla="*/ 421 h 770"/>
              <a:gd name="T50" fmla="*/ 113 w 573"/>
              <a:gd name="T51" fmla="*/ 428 h 770"/>
              <a:gd name="T52" fmla="*/ 135 w 573"/>
              <a:gd name="T53" fmla="*/ 443 h 770"/>
              <a:gd name="T54" fmla="*/ 180 w 573"/>
              <a:gd name="T55" fmla="*/ 448 h 770"/>
              <a:gd name="T56" fmla="*/ 209 w 573"/>
              <a:gd name="T57" fmla="*/ 451 h 770"/>
              <a:gd name="T58" fmla="*/ 252 w 573"/>
              <a:gd name="T59" fmla="*/ 451 h 770"/>
              <a:gd name="T60" fmla="*/ 282 w 573"/>
              <a:gd name="T61" fmla="*/ 448 h 770"/>
              <a:gd name="T62" fmla="*/ 311 w 573"/>
              <a:gd name="T63" fmla="*/ 448 h 770"/>
              <a:gd name="T64" fmla="*/ 348 w 573"/>
              <a:gd name="T65" fmla="*/ 455 h 770"/>
              <a:gd name="T66" fmla="*/ 342 w 573"/>
              <a:gd name="T67" fmla="*/ 435 h 770"/>
              <a:gd name="T68" fmla="*/ 396 w 573"/>
              <a:gd name="T69" fmla="*/ 398 h 770"/>
              <a:gd name="T70" fmla="*/ 367 w 573"/>
              <a:gd name="T71" fmla="*/ 381 h 770"/>
              <a:gd name="T72" fmla="*/ 318 w 573"/>
              <a:gd name="T73" fmla="*/ 342 h 770"/>
              <a:gd name="T74" fmla="*/ 305 w 573"/>
              <a:gd name="T75" fmla="*/ 309 h 770"/>
              <a:gd name="T76" fmla="*/ 321 w 573"/>
              <a:gd name="T77" fmla="*/ 300 h 770"/>
              <a:gd name="T78" fmla="*/ 423 w 573"/>
              <a:gd name="T79" fmla="*/ 267 h 770"/>
              <a:gd name="T80" fmla="*/ 460 w 573"/>
              <a:gd name="T81" fmla="*/ 266 h 770"/>
              <a:gd name="T82" fmla="*/ 468 w 573"/>
              <a:gd name="T83" fmla="*/ 244 h 770"/>
              <a:gd name="T84" fmla="*/ 458 w 573"/>
              <a:gd name="T85" fmla="*/ 200 h 770"/>
              <a:gd name="T86" fmla="*/ 449 w 573"/>
              <a:gd name="T87" fmla="*/ 171 h 770"/>
              <a:gd name="T88" fmla="*/ 438 w 573"/>
              <a:gd name="T89" fmla="*/ 138 h 770"/>
              <a:gd name="T90" fmla="*/ 418 w 573"/>
              <a:gd name="T91" fmla="*/ 86 h 770"/>
              <a:gd name="T92" fmla="*/ 379 w 573"/>
              <a:gd name="T93" fmla="*/ 57 h 770"/>
              <a:gd name="T94" fmla="*/ 346 w 573"/>
              <a:gd name="T95" fmla="*/ 55 h 770"/>
              <a:gd name="T96" fmla="*/ 291 w 573"/>
              <a:gd name="T97" fmla="*/ 70 h 770"/>
              <a:gd name="T98" fmla="*/ 287 w 573"/>
              <a:gd name="T99" fmla="*/ 58 h 770"/>
              <a:gd name="T100" fmla="*/ 260 w 573"/>
              <a:gd name="T101" fmla="*/ 39 h 770"/>
              <a:gd name="T102" fmla="*/ 238 w 573"/>
              <a:gd name="T103" fmla="*/ 11 h 770"/>
              <a:gd name="T104" fmla="*/ 205 w 573"/>
              <a:gd name="T105" fmla="*/ 2 h 7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3"/>
              <a:gd name="T160" fmla="*/ 0 h 770"/>
              <a:gd name="T161" fmla="*/ 573 w 573"/>
              <a:gd name="T162" fmla="*/ 770 h 7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3" h="770">
                <a:moveTo>
                  <a:pt x="236" y="0"/>
                </a:moveTo>
                <a:lnTo>
                  <a:pt x="224" y="9"/>
                </a:lnTo>
                <a:lnTo>
                  <a:pt x="224" y="18"/>
                </a:lnTo>
                <a:lnTo>
                  <a:pt x="226" y="25"/>
                </a:lnTo>
                <a:lnTo>
                  <a:pt x="229" y="36"/>
                </a:lnTo>
                <a:lnTo>
                  <a:pt x="231" y="54"/>
                </a:lnTo>
                <a:lnTo>
                  <a:pt x="224" y="61"/>
                </a:lnTo>
                <a:lnTo>
                  <a:pt x="224" y="70"/>
                </a:lnTo>
                <a:lnTo>
                  <a:pt x="226" y="81"/>
                </a:lnTo>
                <a:lnTo>
                  <a:pt x="242" y="95"/>
                </a:lnTo>
                <a:lnTo>
                  <a:pt x="254" y="97"/>
                </a:lnTo>
                <a:lnTo>
                  <a:pt x="258" y="120"/>
                </a:lnTo>
                <a:lnTo>
                  <a:pt x="233" y="113"/>
                </a:lnTo>
                <a:lnTo>
                  <a:pt x="222" y="102"/>
                </a:lnTo>
                <a:lnTo>
                  <a:pt x="211" y="106"/>
                </a:lnTo>
                <a:lnTo>
                  <a:pt x="192" y="131"/>
                </a:lnTo>
                <a:lnTo>
                  <a:pt x="186" y="138"/>
                </a:lnTo>
                <a:lnTo>
                  <a:pt x="177" y="136"/>
                </a:lnTo>
                <a:lnTo>
                  <a:pt x="174" y="127"/>
                </a:lnTo>
                <a:lnTo>
                  <a:pt x="167" y="118"/>
                </a:lnTo>
                <a:lnTo>
                  <a:pt x="152" y="111"/>
                </a:lnTo>
                <a:lnTo>
                  <a:pt x="127" y="111"/>
                </a:lnTo>
                <a:lnTo>
                  <a:pt x="120" y="122"/>
                </a:lnTo>
                <a:lnTo>
                  <a:pt x="106" y="136"/>
                </a:lnTo>
                <a:lnTo>
                  <a:pt x="118" y="147"/>
                </a:lnTo>
                <a:lnTo>
                  <a:pt x="118" y="166"/>
                </a:lnTo>
                <a:lnTo>
                  <a:pt x="115" y="175"/>
                </a:lnTo>
                <a:lnTo>
                  <a:pt x="111" y="184"/>
                </a:lnTo>
                <a:lnTo>
                  <a:pt x="95" y="195"/>
                </a:lnTo>
                <a:lnTo>
                  <a:pt x="90" y="197"/>
                </a:lnTo>
                <a:lnTo>
                  <a:pt x="93" y="211"/>
                </a:lnTo>
                <a:lnTo>
                  <a:pt x="99" y="222"/>
                </a:lnTo>
                <a:lnTo>
                  <a:pt x="95" y="234"/>
                </a:lnTo>
                <a:lnTo>
                  <a:pt x="86" y="247"/>
                </a:lnTo>
                <a:lnTo>
                  <a:pt x="72" y="263"/>
                </a:lnTo>
                <a:lnTo>
                  <a:pt x="63" y="273"/>
                </a:lnTo>
                <a:lnTo>
                  <a:pt x="49" y="284"/>
                </a:lnTo>
                <a:lnTo>
                  <a:pt x="38" y="288"/>
                </a:lnTo>
                <a:lnTo>
                  <a:pt x="31" y="304"/>
                </a:lnTo>
                <a:lnTo>
                  <a:pt x="29" y="329"/>
                </a:lnTo>
                <a:lnTo>
                  <a:pt x="22" y="343"/>
                </a:lnTo>
                <a:lnTo>
                  <a:pt x="22" y="366"/>
                </a:lnTo>
                <a:lnTo>
                  <a:pt x="13" y="375"/>
                </a:lnTo>
                <a:lnTo>
                  <a:pt x="11" y="382"/>
                </a:lnTo>
                <a:lnTo>
                  <a:pt x="18" y="393"/>
                </a:lnTo>
                <a:lnTo>
                  <a:pt x="22" y="409"/>
                </a:lnTo>
                <a:lnTo>
                  <a:pt x="31" y="423"/>
                </a:lnTo>
                <a:lnTo>
                  <a:pt x="2" y="448"/>
                </a:lnTo>
                <a:lnTo>
                  <a:pt x="9" y="464"/>
                </a:lnTo>
                <a:lnTo>
                  <a:pt x="20" y="473"/>
                </a:lnTo>
                <a:lnTo>
                  <a:pt x="22" y="475"/>
                </a:lnTo>
                <a:lnTo>
                  <a:pt x="22" y="484"/>
                </a:lnTo>
                <a:lnTo>
                  <a:pt x="6" y="495"/>
                </a:lnTo>
                <a:lnTo>
                  <a:pt x="0" y="509"/>
                </a:lnTo>
                <a:lnTo>
                  <a:pt x="6" y="530"/>
                </a:lnTo>
                <a:lnTo>
                  <a:pt x="15" y="541"/>
                </a:lnTo>
                <a:lnTo>
                  <a:pt x="31" y="548"/>
                </a:lnTo>
                <a:lnTo>
                  <a:pt x="52" y="552"/>
                </a:lnTo>
                <a:lnTo>
                  <a:pt x="72" y="552"/>
                </a:lnTo>
                <a:lnTo>
                  <a:pt x="90" y="555"/>
                </a:lnTo>
                <a:lnTo>
                  <a:pt x="102" y="564"/>
                </a:lnTo>
                <a:lnTo>
                  <a:pt x="115" y="575"/>
                </a:lnTo>
                <a:lnTo>
                  <a:pt x="99" y="582"/>
                </a:lnTo>
                <a:lnTo>
                  <a:pt x="88" y="596"/>
                </a:lnTo>
                <a:lnTo>
                  <a:pt x="74" y="607"/>
                </a:lnTo>
                <a:lnTo>
                  <a:pt x="72" y="621"/>
                </a:lnTo>
                <a:lnTo>
                  <a:pt x="65" y="650"/>
                </a:lnTo>
                <a:lnTo>
                  <a:pt x="56" y="671"/>
                </a:lnTo>
                <a:lnTo>
                  <a:pt x="49" y="682"/>
                </a:lnTo>
                <a:lnTo>
                  <a:pt x="65" y="705"/>
                </a:lnTo>
                <a:lnTo>
                  <a:pt x="70" y="712"/>
                </a:lnTo>
                <a:lnTo>
                  <a:pt x="81" y="718"/>
                </a:lnTo>
                <a:lnTo>
                  <a:pt x="90" y="718"/>
                </a:lnTo>
                <a:lnTo>
                  <a:pt x="104" y="712"/>
                </a:lnTo>
                <a:lnTo>
                  <a:pt x="111" y="705"/>
                </a:lnTo>
                <a:lnTo>
                  <a:pt x="113" y="703"/>
                </a:lnTo>
                <a:lnTo>
                  <a:pt x="131" y="705"/>
                </a:lnTo>
                <a:lnTo>
                  <a:pt x="138" y="716"/>
                </a:lnTo>
                <a:lnTo>
                  <a:pt x="145" y="728"/>
                </a:lnTo>
                <a:lnTo>
                  <a:pt x="154" y="739"/>
                </a:lnTo>
                <a:lnTo>
                  <a:pt x="165" y="741"/>
                </a:lnTo>
                <a:lnTo>
                  <a:pt x="190" y="739"/>
                </a:lnTo>
                <a:lnTo>
                  <a:pt x="202" y="737"/>
                </a:lnTo>
                <a:lnTo>
                  <a:pt x="220" y="748"/>
                </a:lnTo>
                <a:lnTo>
                  <a:pt x="231" y="743"/>
                </a:lnTo>
                <a:lnTo>
                  <a:pt x="245" y="746"/>
                </a:lnTo>
                <a:lnTo>
                  <a:pt x="256" y="755"/>
                </a:lnTo>
                <a:lnTo>
                  <a:pt x="276" y="746"/>
                </a:lnTo>
                <a:lnTo>
                  <a:pt x="295" y="746"/>
                </a:lnTo>
                <a:lnTo>
                  <a:pt x="308" y="755"/>
                </a:lnTo>
                <a:lnTo>
                  <a:pt x="320" y="759"/>
                </a:lnTo>
                <a:lnTo>
                  <a:pt x="331" y="750"/>
                </a:lnTo>
                <a:lnTo>
                  <a:pt x="345" y="750"/>
                </a:lnTo>
                <a:lnTo>
                  <a:pt x="365" y="746"/>
                </a:lnTo>
                <a:lnTo>
                  <a:pt x="379" y="755"/>
                </a:lnTo>
                <a:lnTo>
                  <a:pt x="381" y="750"/>
                </a:lnTo>
                <a:lnTo>
                  <a:pt x="397" y="762"/>
                </a:lnTo>
                <a:lnTo>
                  <a:pt x="410" y="769"/>
                </a:lnTo>
                <a:lnTo>
                  <a:pt x="426" y="762"/>
                </a:lnTo>
                <a:lnTo>
                  <a:pt x="429" y="750"/>
                </a:lnTo>
                <a:lnTo>
                  <a:pt x="419" y="737"/>
                </a:lnTo>
                <a:lnTo>
                  <a:pt x="417" y="728"/>
                </a:lnTo>
                <a:lnTo>
                  <a:pt x="410" y="705"/>
                </a:lnTo>
                <a:lnTo>
                  <a:pt x="467" y="666"/>
                </a:lnTo>
                <a:lnTo>
                  <a:pt x="483" y="666"/>
                </a:lnTo>
                <a:lnTo>
                  <a:pt x="485" y="659"/>
                </a:lnTo>
                <a:lnTo>
                  <a:pt x="465" y="652"/>
                </a:lnTo>
                <a:lnTo>
                  <a:pt x="449" y="637"/>
                </a:lnTo>
                <a:lnTo>
                  <a:pt x="413" y="602"/>
                </a:lnTo>
                <a:lnTo>
                  <a:pt x="408" y="577"/>
                </a:lnTo>
                <a:lnTo>
                  <a:pt x="388" y="573"/>
                </a:lnTo>
                <a:lnTo>
                  <a:pt x="385" y="548"/>
                </a:lnTo>
                <a:lnTo>
                  <a:pt x="381" y="527"/>
                </a:lnTo>
                <a:lnTo>
                  <a:pt x="372" y="516"/>
                </a:lnTo>
                <a:lnTo>
                  <a:pt x="376" y="507"/>
                </a:lnTo>
                <a:lnTo>
                  <a:pt x="381" y="502"/>
                </a:lnTo>
                <a:lnTo>
                  <a:pt x="392" y="502"/>
                </a:lnTo>
                <a:lnTo>
                  <a:pt x="429" y="493"/>
                </a:lnTo>
                <a:lnTo>
                  <a:pt x="501" y="455"/>
                </a:lnTo>
                <a:lnTo>
                  <a:pt x="517" y="448"/>
                </a:lnTo>
                <a:lnTo>
                  <a:pt x="533" y="439"/>
                </a:lnTo>
                <a:lnTo>
                  <a:pt x="544" y="452"/>
                </a:lnTo>
                <a:lnTo>
                  <a:pt x="562" y="445"/>
                </a:lnTo>
                <a:lnTo>
                  <a:pt x="567" y="427"/>
                </a:lnTo>
                <a:lnTo>
                  <a:pt x="565" y="418"/>
                </a:lnTo>
                <a:lnTo>
                  <a:pt x="572" y="407"/>
                </a:lnTo>
                <a:lnTo>
                  <a:pt x="562" y="393"/>
                </a:lnTo>
                <a:lnTo>
                  <a:pt x="553" y="370"/>
                </a:lnTo>
                <a:lnTo>
                  <a:pt x="560" y="336"/>
                </a:lnTo>
                <a:lnTo>
                  <a:pt x="549" y="320"/>
                </a:lnTo>
                <a:lnTo>
                  <a:pt x="544" y="302"/>
                </a:lnTo>
                <a:lnTo>
                  <a:pt x="549" y="286"/>
                </a:lnTo>
                <a:lnTo>
                  <a:pt x="547" y="273"/>
                </a:lnTo>
                <a:lnTo>
                  <a:pt x="522" y="247"/>
                </a:lnTo>
                <a:lnTo>
                  <a:pt x="535" y="232"/>
                </a:lnTo>
                <a:lnTo>
                  <a:pt x="535" y="204"/>
                </a:lnTo>
                <a:lnTo>
                  <a:pt x="537" y="172"/>
                </a:lnTo>
                <a:lnTo>
                  <a:pt x="512" y="145"/>
                </a:lnTo>
                <a:lnTo>
                  <a:pt x="499" y="129"/>
                </a:lnTo>
                <a:lnTo>
                  <a:pt x="485" y="113"/>
                </a:lnTo>
                <a:lnTo>
                  <a:pt x="463" y="95"/>
                </a:lnTo>
                <a:lnTo>
                  <a:pt x="447" y="86"/>
                </a:lnTo>
                <a:lnTo>
                  <a:pt x="438" y="84"/>
                </a:lnTo>
                <a:lnTo>
                  <a:pt x="424" y="93"/>
                </a:lnTo>
                <a:lnTo>
                  <a:pt x="413" y="100"/>
                </a:lnTo>
                <a:lnTo>
                  <a:pt x="379" y="125"/>
                </a:lnTo>
                <a:lnTo>
                  <a:pt x="356" y="118"/>
                </a:lnTo>
                <a:lnTo>
                  <a:pt x="347" y="118"/>
                </a:lnTo>
                <a:lnTo>
                  <a:pt x="347" y="109"/>
                </a:lnTo>
                <a:lnTo>
                  <a:pt x="351" y="97"/>
                </a:lnTo>
                <a:lnTo>
                  <a:pt x="356" y="88"/>
                </a:lnTo>
                <a:lnTo>
                  <a:pt x="326" y="68"/>
                </a:lnTo>
                <a:lnTo>
                  <a:pt x="317" y="65"/>
                </a:lnTo>
                <a:lnTo>
                  <a:pt x="301" y="54"/>
                </a:lnTo>
                <a:lnTo>
                  <a:pt x="297" y="31"/>
                </a:lnTo>
                <a:lnTo>
                  <a:pt x="290" y="18"/>
                </a:lnTo>
                <a:lnTo>
                  <a:pt x="279" y="18"/>
                </a:lnTo>
                <a:lnTo>
                  <a:pt x="267" y="4"/>
                </a:lnTo>
                <a:lnTo>
                  <a:pt x="251" y="2"/>
                </a:lnTo>
                <a:lnTo>
                  <a:pt x="236" y="0"/>
                </a:lnTo>
              </a:path>
            </a:pathLst>
          </a:custGeom>
          <a:solidFill>
            <a:schemeClr val="accent3"/>
          </a:solidFill>
          <a:ln w="12700" cap="rnd">
            <a:solidFill>
              <a:schemeClr val="bg1"/>
            </a:solidFill>
            <a:round/>
            <a:headEnd/>
            <a:tailEnd/>
          </a:ln>
        </p:spPr>
        <p:txBody>
          <a:bodyPr/>
          <a:lstStyle/>
          <a:p>
            <a:pPr>
              <a:defRPr/>
            </a:pPr>
            <a:endParaRPr lang="en-GB"/>
          </a:p>
        </p:txBody>
      </p:sp>
      <p:sp>
        <p:nvSpPr>
          <p:cNvPr id="27" name="Freeform 32"/>
          <p:cNvSpPr>
            <a:spLocks/>
          </p:cNvSpPr>
          <p:nvPr/>
        </p:nvSpPr>
        <p:spPr bwMode="auto">
          <a:xfrm>
            <a:off x="4885562" y="3575100"/>
            <a:ext cx="727226" cy="680217"/>
          </a:xfrm>
          <a:custGeom>
            <a:avLst/>
            <a:gdLst>
              <a:gd name="T0" fmla="*/ 10 w 623"/>
              <a:gd name="T1" fmla="*/ 86 h 583"/>
              <a:gd name="T2" fmla="*/ 0 w 623"/>
              <a:gd name="T3" fmla="*/ 111 h 583"/>
              <a:gd name="T4" fmla="*/ 23 w 623"/>
              <a:gd name="T5" fmla="*/ 132 h 583"/>
              <a:gd name="T6" fmla="*/ 18 w 623"/>
              <a:gd name="T7" fmla="*/ 151 h 583"/>
              <a:gd name="T8" fmla="*/ 28 w 623"/>
              <a:gd name="T9" fmla="*/ 166 h 583"/>
              <a:gd name="T10" fmla="*/ 35 w 623"/>
              <a:gd name="T11" fmla="*/ 198 h 583"/>
              <a:gd name="T12" fmla="*/ 37 w 623"/>
              <a:gd name="T13" fmla="*/ 209 h 583"/>
              <a:gd name="T14" fmla="*/ 30 w 623"/>
              <a:gd name="T15" fmla="*/ 221 h 583"/>
              <a:gd name="T16" fmla="*/ 45 w 623"/>
              <a:gd name="T17" fmla="*/ 227 h 583"/>
              <a:gd name="T18" fmla="*/ 60 w 623"/>
              <a:gd name="T19" fmla="*/ 235 h 583"/>
              <a:gd name="T20" fmla="*/ 72 w 623"/>
              <a:gd name="T21" fmla="*/ 253 h 583"/>
              <a:gd name="T22" fmla="*/ 88 w 623"/>
              <a:gd name="T23" fmla="*/ 266 h 583"/>
              <a:gd name="T24" fmla="*/ 117 w 623"/>
              <a:gd name="T25" fmla="*/ 270 h 583"/>
              <a:gd name="T26" fmla="*/ 136 w 623"/>
              <a:gd name="T27" fmla="*/ 270 h 583"/>
              <a:gd name="T28" fmla="*/ 166 w 623"/>
              <a:gd name="T29" fmla="*/ 291 h 583"/>
              <a:gd name="T30" fmla="*/ 202 w 623"/>
              <a:gd name="T31" fmla="*/ 301 h 583"/>
              <a:gd name="T32" fmla="*/ 230 w 623"/>
              <a:gd name="T33" fmla="*/ 298 h 583"/>
              <a:gd name="T34" fmla="*/ 258 w 623"/>
              <a:gd name="T35" fmla="*/ 310 h 583"/>
              <a:gd name="T36" fmla="*/ 271 w 623"/>
              <a:gd name="T37" fmla="*/ 313 h 583"/>
              <a:gd name="T38" fmla="*/ 291 w 623"/>
              <a:gd name="T39" fmla="*/ 320 h 583"/>
              <a:gd name="T40" fmla="*/ 315 w 623"/>
              <a:gd name="T41" fmla="*/ 333 h 583"/>
              <a:gd name="T42" fmla="*/ 333 w 623"/>
              <a:gd name="T43" fmla="*/ 335 h 583"/>
              <a:gd name="T44" fmla="*/ 350 w 623"/>
              <a:gd name="T45" fmla="*/ 327 h 583"/>
              <a:gd name="T46" fmla="*/ 446 w 623"/>
              <a:gd name="T47" fmla="*/ 346 h 583"/>
              <a:gd name="T48" fmla="*/ 451 w 623"/>
              <a:gd name="T49" fmla="*/ 327 h 583"/>
              <a:gd name="T50" fmla="*/ 495 w 623"/>
              <a:gd name="T51" fmla="*/ 270 h 583"/>
              <a:gd name="T52" fmla="*/ 510 w 623"/>
              <a:gd name="T53" fmla="*/ 249 h 583"/>
              <a:gd name="T54" fmla="*/ 492 w 623"/>
              <a:gd name="T55" fmla="*/ 216 h 583"/>
              <a:gd name="T56" fmla="*/ 467 w 623"/>
              <a:gd name="T57" fmla="*/ 192 h 583"/>
              <a:gd name="T58" fmla="*/ 467 w 623"/>
              <a:gd name="T59" fmla="*/ 169 h 583"/>
              <a:gd name="T60" fmla="*/ 465 w 623"/>
              <a:gd name="T61" fmla="*/ 151 h 583"/>
              <a:gd name="T62" fmla="*/ 465 w 623"/>
              <a:gd name="T63" fmla="*/ 140 h 583"/>
              <a:gd name="T64" fmla="*/ 484 w 623"/>
              <a:gd name="T65" fmla="*/ 121 h 583"/>
              <a:gd name="T66" fmla="*/ 475 w 623"/>
              <a:gd name="T67" fmla="*/ 85 h 583"/>
              <a:gd name="T68" fmla="*/ 469 w 623"/>
              <a:gd name="T69" fmla="*/ 61 h 583"/>
              <a:gd name="T70" fmla="*/ 446 w 623"/>
              <a:gd name="T71" fmla="*/ 39 h 583"/>
              <a:gd name="T72" fmla="*/ 385 w 623"/>
              <a:gd name="T73" fmla="*/ 37 h 583"/>
              <a:gd name="T74" fmla="*/ 319 w 623"/>
              <a:gd name="T75" fmla="*/ 33 h 583"/>
              <a:gd name="T76" fmla="*/ 282 w 623"/>
              <a:gd name="T77" fmla="*/ 25 h 583"/>
              <a:gd name="T78" fmla="*/ 261 w 623"/>
              <a:gd name="T79" fmla="*/ 35 h 583"/>
              <a:gd name="T80" fmla="*/ 239 w 623"/>
              <a:gd name="T81" fmla="*/ 24 h 583"/>
              <a:gd name="T82" fmla="*/ 223 w 623"/>
              <a:gd name="T83" fmla="*/ 22 h 583"/>
              <a:gd name="T84" fmla="*/ 202 w 623"/>
              <a:gd name="T85" fmla="*/ 2 h 583"/>
              <a:gd name="T86" fmla="*/ 170 w 623"/>
              <a:gd name="T87" fmla="*/ 4 h 583"/>
              <a:gd name="T88" fmla="*/ 138 w 623"/>
              <a:gd name="T89" fmla="*/ 13 h 583"/>
              <a:gd name="T90" fmla="*/ 91 w 623"/>
              <a:gd name="T91" fmla="*/ 28 h 583"/>
              <a:gd name="T92" fmla="*/ 48 w 623"/>
              <a:gd name="T93" fmla="*/ 41 h 583"/>
              <a:gd name="T94" fmla="*/ 23 w 623"/>
              <a:gd name="T95" fmla="*/ 61 h 58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23"/>
              <a:gd name="T145" fmla="*/ 0 h 583"/>
              <a:gd name="T146" fmla="*/ 623 w 623"/>
              <a:gd name="T147" fmla="*/ 583 h 58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23" h="583">
                <a:moveTo>
                  <a:pt x="15" y="109"/>
                </a:moveTo>
                <a:lnTo>
                  <a:pt x="13" y="145"/>
                </a:lnTo>
                <a:lnTo>
                  <a:pt x="13" y="168"/>
                </a:lnTo>
                <a:lnTo>
                  <a:pt x="0" y="186"/>
                </a:lnTo>
                <a:lnTo>
                  <a:pt x="25" y="213"/>
                </a:lnTo>
                <a:lnTo>
                  <a:pt x="27" y="222"/>
                </a:lnTo>
                <a:lnTo>
                  <a:pt x="22" y="240"/>
                </a:lnTo>
                <a:lnTo>
                  <a:pt x="22" y="254"/>
                </a:lnTo>
                <a:lnTo>
                  <a:pt x="36" y="270"/>
                </a:lnTo>
                <a:lnTo>
                  <a:pt x="34" y="279"/>
                </a:lnTo>
                <a:lnTo>
                  <a:pt x="31" y="311"/>
                </a:lnTo>
                <a:lnTo>
                  <a:pt x="43" y="334"/>
                </a:lnTo>
                <a:lnTo>
                  <a:pt x="50" y="345"/>
                </a:lnTo>
                <a:lnTo>
                  <a:pt x="45" y="352"/>
                </a:lnTo>
                <a:lnTo>
                  <a:pt x="45" y="366"/>
                </a:lnTo>
                <a:lnTo>
                  <a:pt x="38" y="372"/>
                </a:lnTo>
                <a:lnTo>
                  <a:pt x="38" y="379"/>
                </a:lnTo>
                <a:lnTo>
                  <a:pt x="54" y="381"/>
                </a:lnTo>
                <a:lnTo>
                  <a:pt x="68" y="386"/>
                </a:lnTo>
                <a:lnTo>
                  <a:pt x="72" y="395"/>
                </a:lnTo>
                <a:lnTo>
                  <a:pt x="72" y="409"/>
                </a:lnTo>
                <a:lnTo>
                  <a:pt x="88" y="425"/>
                </a:lnTo>
                <a:lnTo>
                  <a:pt x="102" y="431"/>
                </a:lnTo>
                <a:lnTo>
                  <a:pt x="107" y="447"/>
                </a:lnTo>
                <a:lnTo>
                  <a:pt x="125" y="472"/>
                </a:lnTo>
                <a:lnTo>
                  <a:pt x="143" y="456"/>
                </a:lnTo>
                <a:lnTo>
                  <a:pt x="157" y="452"/>
                </a:lnTo>
                <a:lnTo>
                  <a:pt x="166" y="454"/>
                </a:lnTo>
                <a:lnTo>
                  <a:pt x="195" y="486"/>
                </a:lnTo>
                <a:lnTo>
                  <a:pt x="202" y="488"/>
                </a:lnTo>
                <a:lnTo>
                  <a:pt x="239" y="504"/>
                </a:lnTo>
                <a:lnTo>
                  <a:pt x="246" y="506"/>
                </a:lnTo>
                <a:lnTo>
                  <a:pt x="262" y="502"/>
                </a:lnTo>
                <a:lnTo>
                  <a:pt x="280" y="500"/>
                </a:lnTo>
                <a:lnTo>
                  <a:pt x="293" y="506"/>
                </a:lnTo>
                <a:lnTo>
                  <a:pt x="314" y="522"/>
                </a:lnTo>
                <a:lnTo>
                  <a:pt x="321" y="531"/>
                </a:lnTo>
                <a:lnTo>
                  <a:pt x="330" y="525"/>
                </a:lnTo>
                <a:lnTo>
                  <a:pt x="339" y="522"/>
                </a:lnTo>
                <a:lnTo>
                  <a:pt x="355" y="536"/>
                </a:lnTo>
                <a:lnTo>
                  <a:pt x="371" y="550"/>
                </a:lnTo>
                <a:lnTo>
                  <a:pt x="385" y="559"/>
                </a:lnTo>
                <a:lnTo>
                  <a:pt x="400" y="566"/>
                </a:lnTo>
                <a:lnTo>
                  <a:pt x="407" y="563"/>
                </a:lnTo>
                <a:lnTo>
                  <a:pt x="416" y="554"/>
                </a:lnTo>
                <a:lnTo>
                  <a:pt x="428" y="550"/>
                </a:lnTo>
                <a:lnTo>
                  <a:pt x="448" y="556"/>
                </a:lnTo>
                <a:lnTo>
                  <a:pt x="544" y="582"/>
                </a:lnTo>
                <a:lnTo>
                  <a:pt x="558" y="568"/>
                </a:lnTo>
                <a:lnTo>
                  <a:pt x="549" y="550"/>
                </a:lnTo>
                <a:lnTo>
                  <a:pt x="537" y="518"/>
                </a:lnTo>
                <a:lnTo>
                  <a:pt x="603" y="456"/>
                </a:lnTo>
                <a:lnTo>
                  <a:pt x="617" y="443"/>
                </a:lnTo>
                <a:lnTo>
                  <a:pt x="622" y="418"/>
                </a:lnTo>
                <a:lnTo>
                  <a:pt x="610" y="388"/>
                </a:lnTo>
                <a:lnTo>
                  <a:pt x="599" y="363"/>
                </a:lnTo>
                <a:lnTo>
                  <a:pt x="580" y="334"/>
                </a:lnTo>
                <a:lnTo>
                  <a:pt x="569" y="322"/>
                </a:lnTo>
                <a:lnTo>
                  <a:pt x="567" y="304"/>
                </a:lnTo>
                <a:lnTo>
                  <a:pt x="569" y="284"/>
                </a:lnTo>
                <a:lnTo>
                  <a:pt x="574" y="265"/>
                </a:lnTo>
                <a:lnTo>
                  <a:pt x="567" y="254"/>
                </a:lnTo>
                <a:lnTo>
                  <a:pt x="558" y="245"/>
                </a:lnTo>
                <a:lnTo>
                  <a:pt x="567" y="234"/>
                </a:lnTo>
                <a:lnTo>
                  <a:pt x="583" y="209"/>
                </a:lnTo>
                <a:lnTo>
                  <a:pt x="590" y="204"/>
                </a:lnTo>
                <a:lnTo>
                  <a:pt x="585" y="163"/>
                </a:lnTo>
                <a:lnTo>
                  <a:pt x="578" y="143"/>
                </a:lnTo>
                <a:lnTo>
                  <a:pt x="571" y="122"/>
                </a:lnTo>
                <a:lnTo>
                  <a:pt x="571" y="102"/>
                </a:lnTo>
                <a:lnTo>
                  <a:pt x="560" y="84"/>
                </a:lnTo>
                <a:lnTo>
                  <a:pt x="544" y="65"/>
                </a:lnTo>
                <a:lnTo>
                  <a:pt x="526" y="63"/>
                </a:lnTo>
                <a:lnTo>
                  <a:pt x="471" y="63"/>
                </a:lnTo>
                <a:lnTo>
                  <a:pt x="442" y="61"/>
                </a:lnTo>
                <a:lnTo>
                  <a:pt x="389" y="56"/>
                </a:lnTo>
                <a:lnTo>
                  <a:pt x="366" y="45"/>
                </a:lnTo>
                <a:lnTo>
                  <a:pt x="344" y="43"/>
                </a:lnTo>
                <a:lnTo>
                  <a:pt x="332" y="47"/>
                </a:lnTo>
                <a:lnTo>
                  <a:pt x="318" y="59"/>
                </a:lnTo>
                <a:lnTo>
                  <a:pt x="305" y="54"/>
                </a:lnTo>
                <a:lnTo>
                  <a:pt x="291" y="40"/>
                </a:lnTo>
                <a:lnTo>
                  <a:pt x="277" y="40"/>
                </a:lnTo>
                <a:lnTo>
                  <a:pt x="271" y="36"/>
                </a:lnTo>
                <a:lnTo>
                  <a:pt x="266" y="18"/>
                </a:lnTo>
                <a:lnTo>
                  <a:pt x="246" y="2"/>
                </a:lnTo>
                <a:lnTo>
                  <a:pt x="232" y="0"/>
                </a:lnTo>
                <a:lnTo>
                  <a:pt x="207" y="6"/>
                </a:lnTo>
                <a:lnTo>
                  <a:pt x="186" y="13"/>
                </a:lnTo>
                <a:lnTo>
                  <a:pt x="168" y="22"/>
                </a:lnTo>
                <a:lnTo>
                  <a:pt x="141" y="38"/>
                </a:lnTo>
                <a:lnTo>
                  <a:pt x="111" y="47"/>
                </a:lnTo>
                <a:lnTo>
                  <a:pt x="86" y="59"/>
                </a:lnTo>
                <a:lnTo>
                  <a:pt x="59" y="70"/>
                </a:lnTo>
                <a:lnTo>
                  <a:pt x="45" y="88"/>
                </a:lnTo>
                <a:lnTo>
                  <a:pt x="27" y="102"/>
                </a:lnTo>
                <a:lnTo>
                  <a:pt x="15" y="109"/>
                </a:lnTo>
              </a:path>
            </a:pathLst>
          </a:custGeom>
          <a:solidFill>
            <a:schemeClr val="accent3"/>
          </a:solidFill>
          <a:ln w="12700" cap="rnd">
            <a:solidFill>
              <a:schemeClr val="bg1"/>
            </a:solidFill>
            <a:round/>
            <a:headEnd/>
            <a:tailEnd/>
          </a:ln>
        </p:spPr>
        <p:txBody>
          <a:bodyPr/>
          <a:lstStyle/>
          <a:p>
            <a:pPr>
              <a:defRPr/>
            </a:pPr>
            <a:endParaRPr lang="en-GB"/>
          </a:p>
        </p:txBody>
      </p:sp>
      <p:sp>
        <p:nvSpPr>
          <p:cNvPr id="28" name="Freeform 33"/>
          <p:cNvSpPr>
            <a:spLocks/>
          </p:cNvSpPr>
          <p:nvPr/>
        </p:nvSpPr>
        <p:spPr bwMode="auto">
          <a:xfrm>
            <a:off x="5372423" y="3405046"/>
            <a:ext cx="377716" cy="294938"/>
          </a:xfrm>
          <a:custGeom>
            <a:avLst/>
            <a:gdLst>
              <a:gd name="T0" fmla="*/ 2 w 324"/>
              <a:gd name="T1" fmla="*/ 14 h 253"/>
              <a:gd name="T2" fmla="*/ 0 w 324"/>
              <a:gd name="T3" fmla="*/ 20 h 253"/>
              <a:gd name="T4" fmla="*/ 4 w 324"/>
              <a:gd name="T5" fmla="*/ 39 h 253"/>
              <a:gd name="T6" fmla="*/ 16 w 324"/>
              <a:gd name="T7" fmla="*/ 64 h 253"/>
              <a:gd name="T8" fmla="*/ 26 w 324"/>
              <a:gd name="T9" fmla="*/ 71 h 253"/>
              <a:gd name="T10" fmla="*/ 49 w 324"/>
              <a:gd name="T11" fmla="*/ 78 h 253"/>
              <a:gd name="T12" fmla="*/ 59 w 324"/>
              <a:gd name="T13" fmla="*/ 80 h 253"/>
              <a:gd name="T14" fmla="*/ 61 w 324"/>
              <a:gd name="T15" fmla="*/ 89 h 253"/>
              <a:gd name="T16" fmla="*/ 61 w 324"/>
              <a:gd name="T17" fmla="*/ 104 h 253"/>
              <a:gd name="T18" fmla="*/ 85 w 324"/>
              <a:gd name="T19" fmla="*/ 121 h 253"/>
              <a:gd name="T20" fmla="*/ 100 w 324"/>
              <a:gd name="T21" fmla="*/ 126 h 253"/>
              <a:gd name="T22" fmla="*/ 107 w 324"/>
              <a:gd name="T23" fmla="*/ 129 h 253"/>
              <a:gd name="T24" fmla="*/ 127 w 324"/>
              <a:gd name="T25" fmla="*/ 147 h 253"/>
              <a:gd name="T26" fmla="*/ 133 w 324"/>
              <a:gd name="T27" fmla="*/ 143 h 253"/>
              <a:gd name="T28" fmla="*/ 148 w 324"/>
              <a:gd name="T29" fmla="*/ 142 h 253"/>
              <a:gd name="T30" fmla="*/ 164 w 324"/>
              <a:gd name="T31" fmla="*/ 149 h 253"/>
              <a:gd name="T32" fmla="*/ 176 w 324"/>
              <a:gd name="T33" fmla="*/ 146 h 253"/>
              <a:gd name="T34" fmla="*/ 191 w 324"/>
              <a:gd name="T35" fmla="*/ 130 h 253"/>
              <a:gd name="T36" fmla="*/ 204 w 324"/>
              <a:gd name="T37" fmla="*/ 126 h 253"/>
              <a:gd name="T38" fmla="*/ 215 w 324"/>
              <a:gd name="T39" fmla="*/ 129 h 253"/>
              <a:gd name="T40" fmla="*/ 222 w 324"/>
              <a:gd name="T41" fmla="*/ 128 h 253"/>
              <a:gd name="T42" fmla="*/ 224 w 324"/>
              <a:gd name="T43" fmla="*/ 123 h 253"/>
              <a:gd name="T44" fmla="*/ 226 w 324"/>
              <a:gd name="T45" fmla="*/ 94 h 253"/>
              <a:gd name="T46" fmla="*/ 234 w 324"/>
              <a:gd name="T47" fmla="*/ 85 h 253"/>
              <a:gd name="T48" fmla="*/ 234 w 324"/>
              <a:gd name="T49" fmla="*/ 72 h 253"/>
              <a:gd name="T50" fmla="*/ 235 w 324"/>
              <a:gd name="T51" fmla="*/ 68 h 253"/>
              <a:gd name="T52" fmla="*/ 251 w 324"/>
              <a:gd name="T53" fmla="*/ 61 h 253"/>
              <a:gd name="T54" fmla="*/ 264 w 324"/>
              <a:gd name="T55" fmla="*/ 61 h 253"/>
              <a:gd name="T56" fmla="*/ 264 w 324"/>
              <a:gd name="T57" fmla="*/ 47 h 253"/>
              <a:gd name="T58" fmla="*/ 260 w 324"/>
              <a:gd name="T59" fmla="*/ 35 h 253"/>
              <a:gd name="T60" fmla="*/ 251 w 324"/>
              <a:gd name="T61" fmla="*/ 31 h 253"/>
              <a:gd name="T62" fmla="*/ 245 w 324"/>
              <a:gd name="T63" fmla="*/ 32 h 253"/>
              <a:gd name="T64" fmla="*/ 228 w 324"/>
              <a:gd name="T65" fmla="*/ 20 h 253"/>
              <a:gd name="T66" fmla="*/ 218 w 324"/>
              <a:gd name="T67" fmla="*/ 12 h 253"/>
              <a:gd name="T68" fmla="*/ 206 w 324"/>
              <a:gd name="T69" fmla="*/ 12 h 253"/>
              <a:gd name="T70" fmla="*/ 182 w 324"/>
              <a:gd name="T71" fmla="*/ 12 h 253"/>
              <a:gd name="T72" fmla="*/ 178 w 324"/>
              <a:gd name="T73" fmla="*/ 9 h 253"/>
              <a:gd name="T74" fmla="*/ 173 w 324"/>
              <a:gd name="T75" fmla="*/ 2 h 253"/>
              <a:gd name="T76" fmla="*/ 165 w 324"/>
              <a:gd name="T77" fmla="*/ 0 h 253"/>
              <a:gd name="T78" fmla="*/ 144 w 324"/>
              <a:gd name="T79" fmla="*/ 0 h 253"/>
              <a:gd name="T80" fmla="*/ 136 w 324"/>
              <a:gd name="T81" fmla="*/ 7 h 253"/>
              <a:gd name="T82" fmla="*/ 127 w 324"/>
              <a:gd name="T83" fmla="*/ 5 h 253"/>
              <a:gd name="T84" fmla="*/ 115 w 324"/>
              <a:gd name="T85" fmla="*/ 4 h 253"/>
              <a:gd name="T86" fmla="*/ 107 w 324"/>
              <a:gd name="T87" fmla="*/ 4 h 253"/>
              <a:gd name="T88" fmla="*/ 98 w 324"/>
              <a:gd name="T89" fmla="*/ 4 h 253"/>
              <a:gd name="T90" fmla="*/ 91 w 324"/>
              <a:gd name="T91" fmla="*/ 8 h 253"/>
              <a:gd name="T92" fmla="*/ 76 w 324"/>
              <a:gd name="T93" fmla="*/ 4 h 253"/>
              <a:gd name="T94" fmla="*/ 48 w 324"/>
              <a:gd name="T95" fmla="*/ 2 h 253"/>
              <a:gd name="T96" fmla="*/ 42 w 324"/>
              <a:gd name="T97" fmla="*/ 0 h 253"/>
              <a:gd name="T98" fmla="*/ 32 w 324"/>
              <a:gd name="T99" fmla="*/ 4 h 253"/>
              <a:gd name="T100" fmla="*/ 18 w 324"/>
              <a:gd name="T101" fmla="*/ 11 h 253"/>
              <a:gd name="T102" fmla="*/ 2 w 324"/>
              <a:gd name="T103" fmla="*/ 14 h 2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24"/>
              <a:gd name="T157" fmla="*/ 0 h 253"/>
              <a:gd name="T158" fmla="*/ 324 w 324"/>
              <a:gd name="T159" fmla="*/ 253 h 25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24" h="253">
                <a:moveTo>
                  <a:pt x="2" y="24"/>
                </a:moveTo>
                <a:lnTo>
                  <a:pt x="0" y="34"/>
                </a:lnTo>
                <a:lnTo>
                  <a:pt x="4" y="65"/>
                </a:lnTo>
                <a:lnTo>
                  <a:pt x="20" y="108"/>
                </a:lnTo>
                <a:lnTo>
                  <a:pt x="31" y="120"/>
                </a:lnTo>
                <a:lnTo>
                  <a:pt x="61" y="131"/>
                </a:lnTo>
                <a:lnTo>
                  <a:pt x="72" y="136"/>
                </a:lnTo>
                <a:lnTo>
                  <a:pt x="75" y="149"/>
                </a:lnTo>
                <a:lnTo>
                  <a:pt x="75" y="174"/>
                </a:lnTo>
                <a:lnTo>
                  <a:pt x="104" y="204"/>
                </a:lnTo>
                <a:lnTo>
                  <a:pt x="122" y="213"/>
                </a:lnTo>
                <a:lnTo>
                  <a:pt x="131" y="217"/>
                </a:lnTo>
                <a:lnTo>
                  <a:pt x="156" y="247"/>
                </a:lnTo>
                <a:lnTo>
                  <a:pt x="163" y="242"/>
                </a:lnTo>
                <a:lnTo>
                  <a:pt x="181" y="240"/>
                </a:lnTo>
                <a:lnTo>
                  <a:pt x="200" y="252"/>
                </a:lnTo>
                <a:lnTo>
                  <a:pt x="216" y="245"/>
                </a:lnTo>
                <a:lnTo>
                  <a:pt x="234" y="220"/>
                </a:lnTo>
                <a:lnTo>
                  <a:pt x="250" y="213"/>
                </a:lnTo>
                <a:lnTo>
                  <a:pt x="263" y="217"/>
                </a:lnTo>
                <a:lnTo>
                  <a:pt x="272" y="215"/>
                </a:lnTo>
                <a:lnTo>
                  <a:pt x="275" y="206"/>
                </a:lnTo>
                <a:lnTo>
                  <a:pt x="277" y="158"/>
                </a:lnTo>
                <a:lnTo>
                  <a:pt x="286" y="145"/>
                </a:lnTo>
                <a:lnTo>
                  <a:pt x="286" y="122"/>
                </a:lnTo>
                <a:lnTo>
                  <a:pt x="288" y="115"/>
                </a:lnTo>
                <a:lnTo>
                  <a:pt x="307" y="102"/>
                </a:lnTo>
                <a:lnTo>
                  <a:pt x="323" y="102"/>
                </a:lnTo>
                <a:lnTo>
                  <a:pt x="323" y="77"/>
                </a:lnTo>
                <a:lnTo>
                  <a:pt x="318" y="59"/>
                </a:lnTo>
                <a:lnTo>
                  <a:pt x="307" y="52"/>
                </a:lnTo>
                <a:lnTo>
                  <a:pt x="300" y="54"/>
                </a:lnTo>
                <a:lnTo>
                  <a:pt x="279" y="34"/>
                </a:lnTo>
                <a:lnTo>
                  <a:pt x="266" y="20"/>
                </a:lnTo>
                <a:lnTo>
                  <a:pt x="252" y="20"/>
                </a:lnTo>
                <a:lnTo>
                  <a:pt x="222" y="20"/>
                </a:lnTo>
                <a:lnTo>
                  <a:pt x="218" y="15"/>
                </a:lnTo>
                <a:lnTo>
                  <a:pt x="211" y="2"/>
                </a:lnTo>
                <a:lnTo>
                  <a:pt x="202" y="0"/>
                </a:lnTo>
                <a:lnTo>
                  <a:pt x="177" y="0"/>
                </a:lnTo>
                <a:lnTo>
                  <a:pt x="166" y="11"/>
                </a:lnTo>
                <a:lnTo>
                  <a:pt x="156" y="9"/>
                </a:lnTo>
                <a:lnTo>
                  <a:pt x="141" y="6"/>
                </a:lnTo>
                <a:lnTo>
                  <a:pt x="131" y="4"/>
                </a:lnTo>
                <a:lnTo>
                  <a:pt x="120" y="6"/>
                </a:lnTo>
                <a:lnTo>
                  <a:pt x="111" y="13"/>
                </a:lnTo>
                <a:lnTo>
                  <a:pt x="93" y="6"/>
                </a:lnTo>
                <a:lnTo>
                  <a:pt x="59" y="2"/>
                </a:lnTo>
                <a:lnTo>
                  <a:pt x="50" y="0"/>
                </a:lnTo>
                <a:lnTo>
                  <a:pt x="40" y="6"/>
                </a:lnTo>
                <a:lnTo>
                  <a:pt x="22" y="18"/>
                </a:lnTo>
                <a:lnTo>
                  <a:pt x="2" y="24"/>
                </a:lnTo>
              </a:path>
            </a:pathLst>
          </a:custGeom>
          <a:solidFill>
            <a:schemeClr val="accent3"/>
          </a:solidFill>
          <a:ln w="12700" cap="rnd">
            <a:solidFill>
              <a:schemeClr val="bg1"/>
            </a:solidFill>
            <a:round/>
            <a:headEnd/>
            <a:tailEnd/>
          </a:ln>
        </p:spPr>
        <p:txBody>
          <a:bodyPr/>
          <a:lstStyle/>
          <a:p>
            <a:pPr>
              <a:defRPr/>
            </a:pPr>
            <a:endParaRPr lang="en-GB"/>
          </a:p>
        </p:txBody>
      </p:sp>
      <p:sp>
        <p:nvSpPr>
          <p:cNvPr id="29" name="Freeform 34"/>
          <p:cNvSpPr>
            <a:spLocks/>
          </p:cNvSpPr>
          <p:nvPr/>
        </p:nvSpPr>
        <p:spPr bwMode="auto">
          <a:xfrm>
            <a:off x="5419025" y="3090180"/>
            <a:ext cx="57638" cy="47828"/>
          </a:xfrm>
          <a:custGeom>
            <a:avLst/>
            <a:gdLst>
              <a:gd name="T0" fmla="*/ 23 w 49"/>
              <a:gd name="T1" fmla="*/ 0 h 40"/>
              <a:gd name="T2" fmla="*/ 6 w 49"/>
              <a:gd name="T3" fmla="*/ 9 h 40"/>
              <a:gd name="T4" fmla="*/ 0 w 49"/>
              <a:gd name="T5" fmla="*/ 13 h 40"/>
              <a:gd name="T6" fmla="*/ 12 w 49"/>
              <a:gd name="T7" fmla="*/ 17 h 40"/>
              <a:gd name="T8" fmla="*/ 21 w 49"/>
              <a:gd name="T9" fmla="*/ 26 h 40"/>
              <a:gd name="T10" fmla="*/ 32 w 49"/>
              <a:gd name="T11" fmla="*/ 20 h 40"/>
              <a:gd name="T12" fmla="*/ 40 w 49"/>
              <a:gd name="T13" fmla="*/ 13 h 40"/>
              <a:gd name="T14" fmla="*/ 33 w 49"/>
              <a:gd name="T15" fmla="*/ 6 h 40"/>
              <a:gd name="T16" fmla="*/ 23 w 49"/>
              <a:gd name="T17" fmla="*/ 0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40"/>
              <a:gd name="T29" fmla="*/ 49 w 49"/>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40">
                <a:moveTo>
                  <a:pt x="27" y="0"/>
                </a:moveTo>
                <a:lnTo>
                  <a:pt x="6" y="13"/>
                </a:lnTo>
                <a:lnTo>
                  <a:pt x="0" y="21"/>
                </a:lnTo>
                <a:lnTo>
                  <a:pt x="13" y="26"/>
                </a:lnTo>
                <a:lnTo>
                  <a:pt x="25" y="39"/>
                </a:lnTo>
                <a:lnTo>
                  <a:pt x="36" y="30"/>
                </a:lnTo>
                <a:lnTo>
                  <a:pt x="48" y="21"/>
                </a:lnTo>
                <a:lnTo>
                  <a:pt x="38" y="10"/>
                </a:lnTo>
                <a:lnTo>
                  <a:pt x="27" y="0"/>
                </a:lnTo>
              </a:path>
            </a:pathLst>
          </a:custGeom>
          <a:solidFill>
            <a:schemeClr val="accent3"/>
          </a:solidFill>
          <a:ln w="12700" cap="rnd">
            <a:solidFill>
              <a:schemeClr val="bg1"/>
            </a:solidFill>
            <a:round/>
            <a:headEnd/>
            <a:tailEnd/>
          </a:ln>
        </p:spPr>
        <p:txBody>
          <a:bodyPr/>
          <a:lstStyle/>
          <a:p>
            <a:pPr>
              <a:defRPr/>
            </a:pPr>
            <a:endParaRPr lang="en-GB"/>
          </a:p>
        </p:txBody>
      </p:sp>
      <p:sp>
        <p:nvSpPr>
          <p:cNvPr id="30" name="Freeform 35"/>
          <p:cNvSpPr>
            <a:spLocks/>
          </p:cNvSpPr>
          <p:nvPr/>
        </p:nvSpPr>
        <p:spPr bwMode="auto">
          <a:xfrm>
            <a:off x="5403082" y="3144650"/>
            <a:ext cx="83392" cy="89013"/>
          </a:xfrm>
          <a:custGeom>
            <a:avLst/>
            <a:gdLst>
              <a:gd name="T0" fmla="*/ 45 w 73"/>
              <a:gd name="T1" fmla="*/ 0 h 77"/>
              <a:gd name="T2" fmla="*/ 28 w 73"/>
              <a:gd name="T3" fmla="*/ 3 h 77"/>
              <a:gd name="T4" fmla="*/ 20 w 73"/>
              <a:gd name="T5" fmla="*/ 0 h 77"/>
              <a:gd name="T6" fmla="*/ 9 w 73"/>
              <a:gd name="T7" fmla="*/ 10 h 77"/>
              <a:gd name="T8" fmla="*/ 6 w 73"/>
              <a:gd name="T9" fmla="*/ 9 h 77"/>
              <a:gd name="T10" fmla="*/ 0 w 73"/>
              <a:gd name="T11" fmla="*/ 15 h 77"/>
              <a:gd name="T12" fmla="*/ 7 w 73"/>
              <a:gd name="T13" fmla="*/ 20 h 77"/>
              <a:gd name="T14" fmla="*/ 7 w 73"/>
              <a:gd name="T15" fmla="*/ 38 h 77"/>
              <a:gd name="T16" fmla="*/ 11 w 73"/>
              <a:gd name="T17" fmla="*/ 44 h 77"/>
              <a:gd name="T18" fmla="*/ 39 w 73"/>
              <a:gd name="T19" fmla="*/ 20 h 77"/>
              <a:gd name="T20" fmla="*/ 49 w 73"/>
              <a:gd name="T21" fmla="*/ 20 h 77"/>
              <a:gd name="T22" fmla="*/ 54 w 73"/>
              <a:gd name="T23" fmla="*/ 13 h 77"/>
              <a:gd name="T24" fmla="*/ 52 w 73"/>
              <a:gd name="T25" fmla="*/ 10 h 77"/>
              <a:gd name="T26" fmla="*/ 45 w 73"/>
              <a:gd name="T27" fmla="*/ 0 h 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
              <a:gd name="T43" fmla="*/ 0 h 77"/>
              <a:gd name="T44" fmla="*/ 73 w 73"/>
              <a:gd name="T45" fmla="*/ 77 h 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 h="77">
                <a:moveTo>
                  <a:pt x="60" y="0"/>
                </a:moveTo>
                <a:lnTo>
                  <a:pt x="36" y="4"/>
                </a:lnTo>
                <a:lnTo>
                  <a:pt x="27" y="0"/>
                </a:lnTo>
                <a:lnTo>
                  <a:pt x="13" y="18"/>
                </a:lnTo>
                <a:lnTo>
                  <a:pt x="6" y="16"/>
                </a:lnTo>
                <a:lnTo>
                  <a:pt x="0" y="27"/>
                </a:lnTo>
                <a:lnTo>
                  <a:pt x="9" y="34"/>
                </a:lnTo>
                <a:lnTo>
                  <a:pt x="9" y="66"/>
                </a:lnTo>
                <a:lnTo>
                  <a:pt x="15" y="76"/>
                </a:lnTo>
                <a:lnTo>
                  <a:pt x="51" y="34"/>
                </a:lnTo>
                <a:lnTo>
                  <a:pt x="65" y="34"/>
                </a:lnTo>
                <a:lnTo>
                  <a:pt x="72" y="23"/>
                </a:lnTo>
                <a:lnTo>
                  <a:pt x="69" y="18"/>
                </a:lnTo>
                <a:lnTo>
                  <a:pt x="60" y="0"/>
                </a:lnTo>
              </a:path>
            </a:pathLst>
          </a:custGeom>
          <a:solidFill>
            <a:schemeClr val="accent3"/>
          </a:solidFill>
          <a:ln w="12700" cap="rnd">
            <a:solidFill>
              <a:schemeClr val="bg1"/>
            </a:solidFill>
            <a:round/>
            <a:headEnd/>
            <a:tailEnd/>
          </a:ln>
        </p:spPr>
        <p:txBody>
          <a:bodyPr/>
          <a:lstStyle/>
          <a:p>
            <a:pPr>
              <a:defRPr/>
            </a:pPr>
            <a:endParaRPr lang="en-GB"/>
          </a:p>
        </p:txBody>
      </p:sp>
      <p:sp>
        <p:nvSpPr>
          <p:cNvPr id="31" name="Freeform 36"/>
          <p:cNvSpPr>
            <a:spLocks/>
          </p:cNvSpPr>
          <p:nvPr/>
        </p:nvSpPr>
        <p:spPr bwMode="auto">
          <a:xfrm>
            <a:off x="5499964" y="3006481"/>
            <a:ext cx="280834" cy="249767"/>
          </a:xfrm>
          <a:custGeom>
            <a:avLst/>
            <a:gdLst>
              <a:gd name="T0" fmla="*/ 185 w 242"/>
              <a:gd name="T1" fmla="*/ 119 h 214"/>
              <a:gd name="T2" fmla="*/ 184 w 242"/>
              <a:gd name="T3" fmla="*/ 112 h 214"/>
              <a:gd name="T4" fmla="*/ 191 w 242"/>
              <a:gd name="T5" fmla="*/ 105 h 214"/>
              <a:gd name="T6" fmla="*/ 191 w 242"/>
              <a:gd name="T7" fmla="*/ 96 h 214"/>
              <a:gd name="T8" fmla="*/ 176 w 242"/>
              <a:gd name="T9" fmla="*/ 89 h 214"/>
              <a:gd name="T10" fmla="*/ 172 w 242"/>
              <a:gd name="T11" fmla="*/ 85 h 214"/>
              <a:gd name="T12" fmla="*/ 169 w 242"/>
              <a:gd name="T13" fmla="*/ 73 h 214"/>
              <a:gd name="T14" fmla="*/ 160 w 242"/>
              <a:gd name="T15" fmla="*/ 61 h 214"/>
              <a:gd name="T16" fmla="*/ 152 w 242"/>
              <a:gd name="T17" fmla="*/ 53 h 214"/>
              <a:gd name="T18" fmla="*/ 152 w 242"/>
              <a:gd name="T19" fmla="*/ 47 h 214"/>
              <a:gd name="T20" fmla="*/ 158 w 242"/>
              <a:gd name="T21" fmla="*/ 40 h 214"/>
              <a:gd name="T22" fmla="*/ 178 w 242"/>
              <a:gd name="T23" fmla="*/ 41 h 214"/>
              <a:gd name="T24" fmla="*/ 187 w 242"/>
              <a:gd name="T25" fmla="*/ 35 h 214"/>
              <a:gd name="T26" fmla="*/ 193 w 242"/>
              <a:gd name="T27" fmla="*/ 16 h 214"/>
              <a:gd name="T28" fmla="*/ 191 w 242"/>
              <a:gd name="T29" fmla="*/ 9 h 214"/>
              <a:gd name="T30" fmla="*/ 181 w 242"/>
              <a:gd name="T31" fmla="*/ 8 h 214"/>
              <a:gd name="T32" fmla="*/ 162 w 242"/>
              <a:gd name="T33" fmla="*/ 9 h 214"/>
              <a:gd name="T34" fmla="*/ 138 w 242"/>
              <a:gd name="T35" fmla="*/ 9 h 214"/>
              <a:gd name="T36" fmla="*/ 118 w 242"/>
              <a:gd name="T37" fmla="*/ 4 h 214"/>
              <a:gd name="T38" fmla="*/ 105 w 242"/>
              <a:gd name="T39" fmla="*/ 2 h 214"/>
              <a:gd name="T40" fmla="*/ 92 w 242"/>
              <a:gd name="T41" fmla="*/ 0 h 214"/>
              <a:gd name="T42" fmla="*/ 82 w 242"/>
              <a:gd name="T43" fmla="*/ 11 h 214"/>
              <a:gd name="T44" fmla="*/ 69 w 242"/>
              <a:gd name="T45" fmla="*/ 18 h 214"/>
              <a:gd name="T46" fmla="*/ 49 w 242"/>
              <a:gd name="T47" fmla="*/ 17 h 214"/>
              <a:gd name="T48" fmla="*/ 37 w 242"/>
              <a:gd name="T49" fmla="*/ 22 h 214"/>
              <a:gd name="T50" fmla="*/ 18 w 242"/>
              <a:gd name="T51" fmla="*/ 36 h 214"/>
              <a:gd name="T52" fmla="*/ 4 w 242"/>
              <a:gd name="T53" fmla="*/ 47 h 214"/>
              <a:gd name="T54" fmla="*/ 0 w 242"/>
              <a:gd name="T55" fmla="*/ 52 h 214"/>
              <a:gd name="T56" fmla="*/ 9 w 242"/>
              <a:gd name="T57" fmla="*/ 63 h 214"/>
              <a:gd name="T58" fmla="*/ 18 w 242"/>
              <a:gd name="T59" fmla="*/ 78 h 214"/>
              <a:gd name="T60" fmla="*/ 26 w 242"/>
              <a:gd name="T61" fmla="*/ 86 h 214"/>
              <a:gd name="T62" fmla="*/ 37 w 242"/>
              <a:gd name="T63" fmla="*/ 83 h 214"/>
              <a:gd name="T64" fmla="*/ 55 w 242"/>
              <a:gd name="T65" fmla="*/ 79 h 214"/>
              <a:gd name="T66" fmla="*/ 53 w 242"/>
              <a:gd name="T67" fmla="*/ 90 h 214"/>
              <a:gd name="T68" fmla="*/ 47 w 242"/>
              <a:gd name="T69" fmla="*/ 105 h 214"/>
              <a:gd name="T70" fmla="*/ 49 w 242"/>
              <a:gd name="T71" fmla="*/ 108 h 214"/>
              <a:gd name="T72" fmla="*/ 56 w 242"/>
              <a:gd name="T73" fmla="*/ 108 h 214"/>
              <a:gd name="T74" fmla="*/ 69 w 242"/>
              <a:gd name="T75" fmla="*/ 105 h 214"/>
              <a:gd name="T76" fmla="*/ 92 w 242"/>
              <a:gd name="T77" fmla="*/ 108 h 214"/>
              <a:gd name="T78" fmla="*/ 100 w 242"/>
              <a:gd name="T79" fmla="*/ 114 h 214"/>
              <a:gd name="T80" fmla="*/ 115 w 242"/>
              <a:gd name="T81" fmla="*/ 119 h 214"/>
              <a:gd name="T82" fmla="*/ 127 w 242"/>
              <a:gd name="T83" fmla="*/ 127 h 214"/>
              <a:gd name="T84" fmla="*/ 134 w 242"/>
              <a:gd name="T85" fmla="*/ 125 h 214"/>
              <a:gd name="T86" fmla="*/ 150 w 242"/>
              <a:gd name="T87" fmla="*/ 119 h 214"/>
              <a:gd name="T88" fmla="*/ 166 w 242"/>
              <a:gd name="T89" fmla="*/ 119 h 214"/>
              <a:gd name="T90" fmla="*/ 185 w 242"/>
              <a:gd name="T91" fmla="*/ 119 h 21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2"/>
              <a:gd name="T139" fmla="*/ 0 h 214"/>
              <a:gd name="T140" fmla="*/ 242 w 242"/>
              <a:gd name="T141" fmla="*/ 214 h 21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2" h="214">
                <a:moveTo>
                  <a:pt x="231" y="201"/>
                </a:moveTo>
                <a:lnTo>
                  <a:pt x="229" y="188"/>
                </a:lnTo>
                <a:lnTo>
                  <a:pt x="238" y="176"/>
                </a:lnTo>
                <a:lnTo>
                  <a:pt x="238" y="160"/>
                </a:lnTo>
                <a:lnTo>
                  <a:pt x="220" y="149"/>
                </a:lnTo>
                <a:lnTo>
                  <a:pt x="215" y="142"/>
                </a:lnTo>
                <a:lnTo>
                  <a:pt x="211" y="122"/>
                </a:lnTo>
                <a:lnTo>
                  <a:pt x="200" y="104"/>
                </a:lnTo>
                <a:lnTo>
                  <a:pt x="190" y="88"/>
                </a:lnTo>
                <a:lnTo>
                  <a:pt x="190" y="77"/>
                </a:lnTo>
                <a:lnTo>
                  <a:pt x="197" y="67"/>
                </a:lnTo>
                <a:lnTo>
                  <a:pt x="222" y="70"/>
                </a:lnTo>
                <a:lnTo>
                  <a:pt x="234" y="58"/>
                </a:lnTo>
                <a:lnTo>
                  <a:pt x="241" y="27"/>
                </a:lnTo>
                <a:lnTo>
                  <a:pt x="238" y="15"/>
                </a:lnTo>
                <a:lnTo>
                  <a:pt x="225" y="13"/>
                </a:lnTo>
                <a:lnTo>
                  <a:pt x="202" y="15"/>
                </a:lnTo>
                <a:lnTo>
                  <a:pt x="172" y="15"/>
                </a:lnTo>
                <a:lnTo>
                  <a:pt x="147" y="6"/>
                </a:lnTo>
                <a:lnTo>
                  <a:pt x="131" y="2"/>
                </a:lnTo>
                <a:lnTo>
                  <a:pt x="115" y="0"/>
                </a:lnTo>
                <a:lnTo>
                  <a:pt x="102" y="18"/>
                </a:lnTo>
                <a:lnTo>
                  <a:pt x="86" y="31"/>
                </a:lnTo>
                <a:lnTo>
                  <a:pt x="61" y="29"/>
                </a:lnTo>
                <a:lnTo>
                  <a:pt x="45" y="38"/>
                </a:lnTo>
                <a:lnTo>
                  <a:pt x="22" y="61"/>
                </a:lnTo>
                <a:lnTo>
                  <a:pt x="4" y="77"/>
                </a:lnTo>
                <a:lnTo>
                  <a:pt x="0" y="86"/>
                </a:lnTo>
                <a:lnTo>
                  <a:pt x="11" y="106"/>
                </a:lnTo>
                <a:lnTo>
                  <a:pt x="22" y="131"/>
                </a:lnTo>
                <a:lnTo>
                  <a:pt x="34" y="145"/>
                </a:lnTo>
                <a:lnTo>
                  <a:pt x="45" y="140"/>
                </a:lnTo>
                <a:lnTo>
                  <a:pt x="68" y="133"/>
                </a:lnTo>
                <a:lnTo>
                  <a:pt x="65" y="151"/>
                </a:lnTo>
                <a:lnTo>
                  <a:pt x="59" y="176"/>
                </a:lnTo>
                <a:lnTo>
                  <a:pt x="61" y="181"/>
                </a:lnTo>
                <a:lnTo>
                  <a:pt x="70" y="181"/>
                </a:lnTo>
                <a:lnTo>
                  <a:pt x="86" y="176"/>
                </a:lnTo>
                <a:lnTo>
                  <a:pt x="115" y="181"/>
                </a:lnTo>
                <a:lnTo>
                  <a:pt x="125" y="192"/>
                </a:lnTo>
                <a:lnTo>
                  <a:pt x="143" y="199"/>
                </a:lnTo>
                <a:lnTo>
                  <a:pt x="159" y="213"/>
                </a:lnTo>
                <a:lnTo>
                  <a:pt x="168" y="210"/>
                </a:lnTo>
                <a:lnTo>
                  <a:pt x="188" y="201"/>
                </a:lnTo>
                <a:lnTo>
                  <a:pt x="206" y="199"/>
                </a:lnTo>
                <a:lnTo>
                  <a:pt x="231" y="201"/>
                </a:lnTo>
              </a:path>
            </a:pathLst>
          </a:custGeom>
          <a:solidFill>
            <a:schemeClr val="accent3"/>
          </a:solidFill>
          <a:ln w="12700" cap="rnd">
            <a:solidFill>
              <a:schemeClr val="bg1"/>
            </a:solidFill>
            <a:round/>
            <a:headEnd/>
            <a:tailEnd/>
          </a:ln>
        </p:spPr>
        <p:txBody>
          <a:bodyPr/>
          <a:lstStyle/>
          <a:p>
            <a:pPr>
              <a:defRPr/>
            </a:pPr>
            <a:endParaRPr lang="en-GB"/>
          </a:p>
        </p:txBody>
      </p:sp>
      <p:sp>
        <p:nvSpPr>
          <p:cNvPr id="32" name="Freeform 37"/>
          <p:cNvSpPr>
            <a:spLocks/>
          </p:cNvSpPr>
          <p:nvPr/>
        </p:nvSpPr>
        <p:spPr bwMode="auto">
          <a:xfrm>
            <a:off x="5286579" y="2933411"/>
            <a:ext cx="41696" cy="42514"/>
          </a:xfrm>
          <a:custGeom>
            <a:avLst/>
            <a:gdLst>
              <a:gd name="T0" fmla="*/ 24 w 36"/>
              <a:gd name="T1" fmla="*/ 0 h 37"/>
              <a:gd name="T2" fmla="*/ 13 w 36"/>
              <a:gd name="T3" fmla="*/ 4 h 37"/>
              <a:gd name="T4" fmla="*/ 0 w 36"/>
              <a:gd name="T5" fmla="*/ 12 h 37"/>
              <a:gd name="T6" fmla="*/ 2 w 36"/>
              <a:gd name="T7" fmla="*/ 20 h 37"/>
              <a:gd name="T8" fmla="*/ 9 w 36"/>
              <a:gd name="T9" fmla="*/ 20 h 37"/>
              <a:gd name="T10" fmla="*/ 27 w 36"/>
              <a:gd name="T11" fmla="*/ 9 h 37"/>
              <a:gd name="T12" fmla="*/ 24 w 36"/>
              <a:gd name="T13" fmla="*/ 0 h 37"/>
              <a:gd name="T14" fmla="*/ 0 60000 65536"/>
              <a:gd name="T15" fmla="*/ 0 60000 65536"/>
              <a:gd name="T16" fmla="*/ 0 60000 65536"/>
              <a:gd name="T17" fmla="*/ 0 60000 65536"/>
              <a:gd name="T18" fmla="*/ 0 60000 65536"/>
              <a:gd name="T19" fmla="*/ 0 60000 65536"/>
              <a:gd name="T20" fmla="*/ 0 60000 65536"/>
              <a:gd name="T21" fmla="*/ 0 w 36"/>
              <a:gd name="T22" fmla="*/ 0 h 37"/>
              <a:gd name="T23" fmla="*/ 36 w 36"/>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37">
                <a:moveTo>
                  <a:pt x="30" y="0"/>
                </a:moveTo>
                <a:lnTo>
                  <a:pt x="17" y="8"/>
                </a:lnTo>
                <a:lnTo>
                  <a:pt x="0" y="22"/>
                </a:lnTo>
                <a:lnTo>
                  <a:pt x="2" y="36"/>
                </a:lnTo>
                <a:lnTo>
                  <a:pt x="12" y="36"/>
                </a:lnTo>
                <a:lnTo>
                  <a:pt x="35" y="16"/>
                </a:lnTo>
                <a:lnTo>
                  <a:pt x="30" y="0"/>
                </a:lnTo>
              </a:path>
            </a:pathLst>
          </a:custGeom>
          <a:solidFill>
            <a:schemeClr val="accent3"/>
          </a:solidFill>
          <a:ln w="12700" cap="rnd">
            <a:solidFill>
              <a:schemeClr val="bg1"/>
            </a:solidFill>
            <a:round/>
            <a:headEnd/>
            <a:tailEnd/>
          </a:ln>
        </p:spPr>
        <p:txBody>
          <a:bodyPr/>
          <a:lstStyle/>
          <a:p>
            <a:pPr>
              <a:defRPr/>
            </a:pPr>
            <a:endParaRPr lang="en-GB"/>
          </a:p>
        </p:txBody>
      </p:sp>
      <p:sp>
        <p:nvSpPr>
          <p:cNvPr id="33" name="Freeform 38"/>
          <p:cNvSpPr>
            <a:spLocks/>
          </p:cNvSpPr>
          <p:nvPr/>
        </p:nvSpPr>
        <p:spPr bwMode="auto">
          <a:xfrm>
            <a:off x="5322143" y="1822743"/>
            <a:ext cx="573932" cy="1182409"/>
          </a:xfrm>
          <a:custGeom>
            <a:avLst/>
            <a:gdLst>
              <a:gd name="T0" fmla="*/ 110 w 491"/>
              <a:gd name="T1" fmla="*/ 580 h 1014"/>
              <a:gd name="T2" fmla="*/ 86 w 491"/>
              <a:gd name="T3" fmla="*/ 565 h 1014"/>
              <a:gd name="T4" fmla="*/ 53 w 491"/>
              <a:gd name="T5" fmla="*/ 562 h 1014"/>
              <a:gd name="T6" fmla="*/ 53 w 491"/>
              <a:gd name="T7" fmla="*/ 514 h 1014"/>
              <a:gd name="T8" fmla="*/ 41 w 491"/>
              <a:gd name="T9" fmla="*/ 483 h 1014"/>
              <a:gd name="T10" fmla="*/ 37 w 491"/>
              <a:gd name="T11" fmla="*/ 458 h 1014"/>
              <a:gd name="T12" fmla="*/ 29 w 491"/>
              <a:gd name="T13" fmla="*/ 434 h 1014"/>
              <a:gd name="T14" fmla="*/ 48 w 491"/>
              <a:gd name="T15" fmla="*/ 413 h 1014"/>
              <a:gd name="T16" fmla="*/ 58 w 491"/>
              <a:gd name="T17" fmla="*/ 394 h 1014"/>
              <a:gd name="T18" fmla="*/ 99 w 491"/>
              <a:gd name="T19" fmla="*/ 369 h 1014"/>
              <a:gd name="T20" fmla="*/ 127 w 491"/>
              <a:gd name="T21" fmla="*/ 340 h 1014"/>
              <a:gd name="T22" fmla="*/ 148 w 491"/>
              <a:gd name="T23" fmla="*/ 315 h 1014"/>
              <a:gd name="T24" fmla="*/ 165 w 491"/>
              <a:gd name="T25" fmla="*/ 298 h 1014"/>
              <a:gd name="T26" fmla="*/ 166 w 491"/>
              <a:gd name="T27" fmla="*/ 280 h 1014"/>
              <a:gd name="T28" fmla="*/ 161 w 491"/>
              <a:gd name="T29" fmla="*/ 264 h 1014"/>
              <a:gd name="T30" fmla="*/ 140 w 491"/>
              <a:gd name="T31" fmla="*/ 255 h 1014"/>
              <a:gd name="T32" fmla="*/ 110 w 491"/>
              <a:gd name="T33" fmla="*/ 209 h 1014"/>
              <a:gd name="T34" fmla="*/ 112 w 491"/>
              <a:gd name="T35" fmla="*/ 169 h 1014"/>
              <a:gd name="T36" fmla="*/ 99 w 491"/>
              <a:gd name="T37" fmla="*/ 130 h 1014"/>
              <a:gd name="T38" fmla="*/ 74 w 491"/>
              <a:gd name="T39" fmla="*/ 104 h 1014"/>
              <a:gd name="T40" fmla="*/ 29 w 491"/>
              <a:gd name="T41" fmla="*/ 85 h 1014"/>
              <a:gd name="T42" fmla="*/ 10 w 491"/>
              <a:gd name="T43" fmla="*/ 66 h 1014"/>
              <a:gd name="T44" fmla="*/ 14 w 491"/>
              <a:gd name="T45" fmla="*/ 51 h 1014"/>
              <a:gd name="T46" fmla="*/ 45 w 491"/>
              <a:gd name="T47" fmla="*/ 63 h 1014"/>
              <a:gd name="T48" fmla="*/ 99 w 491"/>
              <a:gd name="T49" fmla="*/ 74 h 1014"/>
              <a:gd name="T50" fmla="*/ 120 w 491"/>
              <a:gd name="T51" fmla="*/ 83 h 1014"/>
              <a:gd name="T52" fmla="*/ 148 w 491"/>
              <a:gd name="T53" fmla="*/ 66 h 1014"/>
              <a:gd name="T54" fmla="*/ 165 w 491"/>
              <a:gd name="T55" fmla="*/ 51 h 1014"/>
              <a:gd name="T56" fmla="*/ 161 w 491"/>
              <a:gd name="T57" fmla="*/ 24 h 1014"/>
              <a:gd name="T58" fmla="*/ 189 w 491"/>
              <a:gd name="T59" fmla="*/ 12 h 1014"/>
              <a:gd name="T60" fmla="*/ 224 w 491"/>
              <a:gd name="T61" fmla="*/ 17 h 1014"/>
              <a:gd name="T62" fmla="*/ 224 w 491"/>
              <a:gd name="T63" fmla="*/ 39 h 1014"/>
              <a:gd name="T64" fmla="*/ 194 w 491"/>
              <a:gd name="T65" fmla="*/ 61 h 1014"/>
              <a:gd name="T66" fmla="*/ 228 w 491"/>
              <a:gd name="T67" fmla="*/ 56 h 1014"/>
              <a:gd name="T68" fmla="*/ 232 w 491"/>
              <a:gd name="T69" fmla="*/ 20 h 1014"/>
              <a:gd name="T70" fmla="*/ 253 w 491"/>
              <a:gd name="T71" fmla="*/ 41 h 1014"/>
              <a:gd name="T72" fmla="*/ 247 w 491"/>
              <a:gd name="T73" fmla="*/ 76 h 1014"/>
              <a:gd name="T74" fmla="*/ 273 w 491"/>
              <a:gd name="T75" fmla="*/ 104 h 1014"/>
              <a:gd name="T76" fmla="*/ 290 w 491"/>
              <a:gd name="T77" fmla="*/ 133 h 1014"/>
              <a:gd name="T78" fmla="*/ 294 w 491"/>
              <a:gd name="T79" fmla="*/ 175 h 1014"/>
              <a:gd name="T80" fmla="*/ 322 w 491"/>
              <a:gd name="T81" fmla="*/ 233 h 1014"/>
              <a:gd name="T82" fmla="*/ 331 w 491"/>
              <a:gd name="T83" fmla="*/ 298 h 1014"/>
              <a:gd name="T84" fmla="*/ 345 w 491"/>
              <a:gd name="T85" fmla="*/ 345 h 1014"/>
              <a:gd name="T86" fmla="*/ 385 w 491"/>
              <a:gd name="T87" fmla="*/ 376 h 1014"/>
              <a:gd name="T88" fmla="*/ 404 w 491"/>
              <a:gd name="T89" fmla="*/ 400 h 1014"/>
              <a:gd name="T90" fmla="*/ 383 w 491"/>
              <a:gd name="T91" fmla="*/ 453 h 1014"/>
              <a:gd name="T92" fmla="*/ 373 w 491"/>
              <a:gd name="T93" fmla="*/ 479 h 1014"/>
              <a:gd name="T94" fmla="*/ 352 w 491"/>
              <a:gd name="T95" fmla="*/ 495 h 1014"/>
              <a:gd name="T96" fmla="*/ 301 w 491"/>
              <a:gd name="T97" fmla="*/ 532 h 1014"/>
              <a:gd name="T98" fmla="*/ 276 w 491"/>
              <a:gd name="T99" fmla="*/ 549 h 1014"/>
              <a:gd name="T100" fmla="*/ 247 w 491"/>
              <a:gd name="T101" fmla="*/ 559 h 1014"/>
              <a:gd name="T102" fmla="*/ 198 w 491"/>
              <a:gd name="T103" fmla="*/ 569 h 1014"/>
              <a:gd name="T104" fmla="*/ 151 w 491"/>
              <a:gd name="T105" fmla="*/ 583 h 1014"/>
              <a:gd name="T106" fmla="*/ 112 w 491"/>
              <a:gd name="T107" fmla="*/ 601 h 10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1014"/>
              <a:gd name="T164" fmla="*/ 491 w 491"/>
              <a:gd name="T165" fmla="*/ 1014 h 101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1014">
                <a:moveTo>
                  <a:pt x="136" y="1013"/>
                </a:moveTo>
                <a:lnTo>
                  <a:pt x="133" y="978"/>
                </a:lnTo>
                <a:lnTo>
                  <a:pt x="115" y="963"/>
                </a:lnTo>
                <a:lnTo>
                  <a:pt x="104" y="953"/>
                </a:lnTo>
                <a:lnTo>
                  <a:pt x="83" y="947"/>
                </a:lnTo>
                <a:lnTo>
                  <a:pt x="65" y="947"/>
                </a:lnTo>
                <a:lnTo>
                  <a:pt x="58" y="928"/>
                </a:lnTo>
                <a:lnTo>
                  <a:pt x="65" y="867"/>
                </a:lnTo>
                <a:lnTo>
                  <a:pt x="63" y="831"/>
                </a:lnTo>
                <a:lnTo>
                  <a:pt x="49" y="813"/>
                </a:lnTo>
                <a:lnTo>
                  <a:pt x="40" y="806"/>
                </a:lnTo>
                <a:lnTo>
                  <a:pt x="45" y="772"/>
                </a:lnTo>
                <a:lnTo>
                  <a:pt x="40" y="751"/>
                </a:lnTo>
                <a:lnTo>
                  <a:pt x="34" y="733"/>
                </a:lnTo>
                <a:lnTo>
                  <a:pt x="45" y="697"/>
                </a:lnTo>
                <a:lnTo>
                  <a:pt x="58" y="697"/>
                </a:lnTo>
                <a:lnTo>
                  <a:pt x="65" y="690"/>
                </a:lnTo>
                <a:lnTo>
                  <a:pt x="70" y="663"/>
                </a:lnTo>
                <a:lnTo>
                  <a:pt x="95" y="642"/>
                </a:lnTo>
                <a:lnTo>
                  <a:pt x="120" y="622"/>
                </a:lnTo>
                <a:lnTo>
                  <a:pt x="124" y="597"/>
                </a:lnTo>
                <a:lnTo>
                  <a:pt x="154" y="572"/>
                </a:lnTo>
                <a:lnTo>
                  <a:pt x="183" y="542"/>
                </a:lnTo>
                <a:lnTo>
                  <a:pt x="179" y="531"/>
                </a:lnTo>
                <a:lnTo>
                  <a:pt x="179" y="515"/>
                </a:lnTo>
                <a:lnTo>
                  <a:pt x="199" y="501"/>
                </a:lnTo>
                <a:lnTo>
                  <a:pt x="206" y="497"/>
                </a:lnTo>
                <a:lnTo>
                  <a:pt x="201" y="472"/>
                </a:lnTo>
                <a:lnTo>
                  <a:pt x="201" y="449"/>
                </a:lnTo>
                <a:lnTo>
                  <a:pt x="195" y="445"/>
                </a:lnTo>
                <a:lnTo>
                  <a:pt x="183" y="449"/>
                </a:lnTo>
                <a:lnTo>
                  <a:pt x="170" y="431"/>
                </a:lnTo>
                <a:lnTo>
                  <a:pt x="158" y="386"/>
                </a:lnTo>
                <a:lnTo>
                  <a:pt x="133" y="352"/>
                </a:lnTo>
                <a:lnTo>
                  <a:pt x="140" y="306"/>
                </a:lnTo>
                <a:lnTo>
                  <a:pt x="136" y="286"/>
                </a:lnTo>
                <a:lnTo>
                  <a:pt x="108" y="256"/>
                </a:lnTo>
                <a:lnTo>
                  <a:pt x="120" y="220"/>
                </a:lnTo>
                <a:lnTo>
                  <a:pt x="111" y="199"/>
                </a:lnTo>
                <a:lnTo>
                  <a:pt x="90" y="177"/>
                </a:lnTo>
                <a:lnTo>
                  <a:pt x="79" y="190"/>
                </a:lnTo>
                <a:lnTo>
                  <a:pt x="34" y="145"/>
                </a:lnTo>
                <a:lnTo>
                  <a:pt x="22" y="129"/>
                </a:lnTo>
                <a:lnTo>
                  <a:pt x="13" y="111"/>
                </a:lnTo>
                <a:lnTo>
                  <a:pt x="0" y="104"/>
                </a:lnTo>
                <a:lnTo>
                  <a:pt x="18" y="86"/>
                </a:lnTo>
                <a:lnTo>
                  <a:pt x="40" y="86"/>
                </a:lnTo>
                <a:lnTo>
                  <a:pt x="54" y="106"/>
                </a:lnTo>
                <a:lnTo>
                  <a:pt x="88" y="145"/>
                </a:lnTo>
                <a:lnTo>
                  <a:pt x="120" y="124"/>
                </a:lnTo>
                <a:lnTo>
                  <a:pt x="140" y="129"/>
                </a:lnTo>
                <a:lnTo>
                  <a:pt x="145" y="140"/>
                </a:lnTo>
                <a:lnTo>
                  <a:pt x="170" y="145"/>
                </a:lnTo>
                <a:lnTo>
                  <a:pt x="179" y="111"/>
                </a:lnTo>
                <a:lnTo>
                  <a:pt x="190" y="99"/>
                </a:lnTo>
                <a:lnTo>
                  <a:pt x="199" y="86"/>
                </a:lnTo>
                <a:lnTo>
                  <a:pt x="199" y="74"/>
                </a:lnTo>
                <a:lnTo>
                  <a:pt x="195" y="40"/>
                </a:lnTo>
                <a:lnTo>
                  <a:pt x="215" y="20"/>
                </a:lnTo>
                <a:lnTo>
                  <a:pt x="229" y="20"/>
                </a:lnTo>
                <a:lnTo>
                  <a:pt x="249" y="0"/>
                </a:lnTo>
                <a:lnTo>
                  <a:pt x="272" y="29"/>
                </a:lnTo>
                <a:lnTo>
                  <a:pt x="281" y="40"/>
                </a:lnTo>
                <a:lnTo>
                  <a:pt x="272" y="65"/>
                </a:lnTo>
                <a:lnTo>
                  <a:pt x="254" y="81"/>
                </a:lnTo>
                <a:lnTo>
                  <a:pt x="235" y="104"/>
                </a:lnTo>
                <a:lnTo>
                  <a:pt x="240" y="124"/>
                </a:lnTo>
                <a:lnTo>
                  <a:pt x="276" y="95"/>
                </a:lnTo>
                <a:lnTo>
                  <a:pt x="276" y="70"/>
                </a:lnTo>
                <a:lnTo>
                  <a:pt x="281" y="34"/>
                </a:lnTo>
                <a:lnTo>
                  <a:pt x="294" y="24"/>
                </a:lnTo>
                <a:lnTo>
                  <a:pt x="306" y="70"/>
                </a:lnTo>
                <a:lnTo>
                  <a:pt x="306" y="111"/>
                </a:lnTo>
                <a:lnTo>
                  <a:pt x="299" y="129"/>
                </a:lnTo>
                <a:lnTo>
                  <a:pt x="299" y="154"/>
                </a:lnTo>
                <a:lnTo>
                  <a:pt x="331" y="177"/>
                </a:lnTo>
                <a:lnTo>
                  <a:pt x="331" y="195"/>
                </a:lnTo>
                <a:lnTo>
                  <a:pt x="351" y="224"/>
                </a:lnTo>
                <a:lnTo>
                  <a:pt x="360" y="245"/>
                </a:lnTo>
                <a:lnTo>
                  <a:pt x="356" y="295"/>
                </a:lnTo>
                <a:lnTo>
                  <a:pt x="369" y="349"/>
                </a:lnTo>
                <a:lnTo>
                  <a:pt x="390" y="392"/>
                </a:lnTo>
                <a:lnTo>
                  <a:pt x="385" y="461"/>
                </a:lnTo>
                <a:lnTo>
                  <a:pt x="401" y="501"/>
                </a:lnTo>
                <a:lnTo>
                  <a:pt x="410" y="520"/>
                </a:lnTo>
                <a:lnTo>
                  <a:pt x="419" y="581"/>
                </a:lnTo>
                <a:lnTo>
                  <a:pt x="426" y="606"/>
                </a:lnTo>
                <a:lnTo>
                  <a:pt x="467" y="633"/>
                </a:lnTo>
                <a:lnTo>
                  <a:pt x="490" y="660"/>
                </a:lnTo>
                <a:lnTo>
                  <a:pt x="490" y="676"/>
                </a:lnTo>
                <a:lnTo>
                  <a:pt x="471" y="756"/>
                </a:lnTo>
                <a:lnTo>
                  <a:pt x="465" y="763"/>
                </a:lnTo>
                <a:lnTo>
                  <a:pt x="471" y="779"/>
                </a:lnTo>
                <a:lnTo>
                  <a:pt x="451" y="808"/>
                </a:lnTo>
                <a:lnTo>
                  <a:pt x="426" y="822"/>
                </a:lnTo>
                <a:lnTo>
                  <a:pt x="426" y="835"/>
                </a:lnTo>
                <a:lnTo>
                  <a:pt x="390" y="883"/>
                </a:lnTo>
                <a:lnTo>
                  <a:pt x="365" y="897"/>
                </a:lnTo>
                <a:lnTo>
                  <a:pt x="360" y="924"/>
                </a:lnTo>
                <a:lnTo>
                  <a:pt x="335" y="924"/>
                </a:lnTo>
                <a:lnTo>
                  <a:pt x="324" y="933"/>
                </a:lnTo>
                <a:lnTo>
                  <a:pt x="299" y="942"/>
                </a:lnTo>
                <a:lnTo>
                  <a:pt x="265" y="938"/>
                </a:lnTo>
                <a:lnTo>
                  <a:pt x="240" y="958"/>
                </a:lnTo>
                <a:lnTo>
                  <a:pt x="210" y="976"/>
                </a:lnTo>
                <a:lnTo>
                  <a:pt x="183" y="983"/>
                </a:lnTo>
                <a:lnTo>
                  <a:pt x="161" y="999"/>
                </a:lnTo>
                <a:lnTo>
                  <a:pt x="136" y="1013"/>
                </a:lnTo>
              </a:path>
            </a:pathLst>
          </a:custGeom>
          <a:solidFill>
            <a:schemeClr val="accent3"/>
          </a:solidFill>
          <a:ln w="12700" cap="rnd">
            <a:solidFill>
              <a:schemeClr val="bg1"/>
            </a:solidFill>
            <a:round/>
            <a:headEnd/>
            <a:tailEnd/>
          </a:ln>
        </p:spPr>
        <p:txBody>
          <a:bodyPr/>
          <a:lstStyle/>
          <a:p>
            <a:pPr>
              <a:defRPr/>
            </a:pPr>
            <a:endParaRPr lang="en-GB"/>
          </a:p>
        </p:txBody>
      </p:sp>
      <p:sp>
        <p:nvSpPr>
          <p:cNvPr id="34" name="Freeform 39"/>
          <p:cNvSpPr>
            <a:spLocks/>
          </p:cNvSpPr>
          <p:nvPr/>
        </p:nvSpPr>
        <p:spPr bwMode="auto">
          <a:xfrm>
            <a:off x="4711420" y="4012193"/>
            <a:ext cx="809391" cy="378637"/>
          </a:xfrm>
          <a:custGeom>
            <a:avLst/>
            <a:gdLst>
              <a:gd name="T0" fmla="*/ 89 w 694"/>
              <a:gd name="T1" fmla="*/ 135 h 324"/>
              <a:gd name="T2" fmla="*/ 32 w 694"/>
              <a:gd name="T3" fmla="*/ 100 h 324"/>
              <a:gd name="T4" fmla="*/ 10 w 694"/>
              <a:gd name="T5" fmla="*/ 82 h 324"/>
              <a:gd name="T6" fmla="*/ 6 w 694"/>
              <a:gd name="T7" fmla="*/ 55 h 324"/>
              <a:gd name="T8" fmla="*/ 4 w 694"/>
              <a:gd name="T9" fmla="*/ 39 h 324"/>
              <a:gd name="T10" fmla="*/ 43 w 694"/>
              <a:gd name="T11" fmla="*/ 35 h 324"/>
              <a:gd name="T12" fmla="*/ 132 w 694"/>
              <a:gd name="T13" fmla="*/ 0 h 324"/>
              <a:gd name="T14" fmla="*/ 158 w 694"/>
              <a:gd name="T15" fmla="*/ 4 h 324"/>
              <a:gd name="T16" fmla="*/ 182 w 694"/>
              <a:gd name="T17" fmla="*/ 9 h 324"/>
              <a:gd name="T18" fmla="*/ 208 w 694"/>
              <a:gd name="T19" fmla="*/ 35 h 324"/>
              <a:gd name="T20" fmla="*/ 220 w 694"/>
              <a:gd name="T21" fmla="*/ 54 h 324"/>
              <a:gd name="T22" fmla="*/ 232 w 694"/>
              <a:gd name="T23" fmla="*/ 54 h 324"/>
              <a:gd name="T24" fmla="*/ 258 w 694"/>
              <a:gd name="T25" fmla="*/ 47 h 324"/>
              <a:gd name="T26" fmla="*/ 288 w 694"/>
              <a:gd name="T27" fmla="*/ 67 h 324"/>
              <a:gd name="T28" fmla="*/ 324 w 694"/>
              <a:gd name="T29" fmla="*/ 80 h 324"/>
              <a:gd name="T30" fmla="*/ 359 w 694"/>
              <a:gd name="T31" fmla="*/ 77 h 324"/>
              <a:gd name="T32" fmla="*/ 384 w 694"/>
              <a:gd name="T33" fmla="*/ 95 h 324"/>
              <a:gd name="T34" fmla="*/ 407 w 694"/>
              <a:gd name="T35" fmla="*/ 91 h 324"/>
              <a:gd name="T36" fmla="*/ 446 w 694"/>
              <a:gd name="T37" fmla="*/ 113 h 324"/>
              <a:gd name="T38" fmla="*/ 462 w 694"/>
              <a:gd name="T39" fmla="*/ 106 h 324"/>
              <a:gd name="T40" fmla="*/ 501 w 694"/>
              <a:gd name="T41" fmla="*/ 111 h 324"/>
              <a:gd name="T42" fmla="*/ 567 w 694"/>
              <a:gd name="T43" fmla="*/ 121 h 324"/>
              <a:gd name="T44" fmla="*/ 536 w 694"/>
              <a:gd name="T45" fmla="*/ 145 h 324"/>
              <a:gd name="T46" fmla="*/ 535 w 694"/>
              <a:gd name="T47" fmla="*/ 161 h 324"/>
              <a:gd name="T48" fmla="*/ 508 w 694"/>
              <a:gd name="T49" fmla="*/ 151 h 324"/>
              <a:gd name="T50" fmla="*/ 456 w 694"/>
              <a:gd name="T51" fmla="*/ 157 h 324"/>
              <a:gd name="T52" fmla="*/ 438 w 694"/>
              <a:gd name="T53" fmla="*/ 172 h 324"/>
              <a:gd name="T54" fmla="*/ 409 w 694"/>
              <a:gd name="T55" fmla="*/ 179 h 324"/>
              <a:gd name="T56" fmla="*/ 386 w 694"/>
              <a:gd name="T57" fmla="*/ 172 h 324"/>
              <a:gd name="T58" fmla="*/ 332 w 694"/>
              <a:gd name="T59" fmla="*/ 191 h 324"/>
              <a:gd name="T60" fmla="*/ 288 w 694"/>
              <a:gd name="T61" fmla="*/ 191 h 324"/>
              <a:gd name="T62" fmla="*/ 267 w 694"/>
              <a:gd name="T63" fmla="*/ 182 h 324"/>
              <a:gd name="T64" fmla="*/ 253 w 694"/>
              <a:gd name="T65" fmla="*/ 174 h 324"/>
              <a:gd name="T66" fmla="*/ 243 w 694"/>
              <a:gd name="T67" fmla="*/ 161 h 324"/>
              <a:gd name="T68" fmla="*/ 220 w 694"/>
              <a:gd name="T69" fmla="*/ 137 h 324"/>
              <a:gd name="T70" fmla="*/ 192 w 694"/>
              <a:gd name="T71" fmla="*/ 145 h 324"/>
              <a:gd name="T72" fmla="*/ 148 w 694"/>
              <a:gd name="T73" fmla="*/ 133 h 324"/>
              <a:gd name="T74" fmla="*/ 132 w 694"/>
              <a:gd name="T75" fmla="*/ 144 h 324"/>
              <a:gd name="T76" fmla="*/ 104 w 694"/>
              <a:gd name="T77" fmla="*/ 145 h 32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94"/>
              <a:gd name="T118" fmla="*/ 0 h 324"/>
              <a:gd name="T119" fmla="*/ 694 w 694"/>
              <a:gd name="T120" fmla="*/ 324 h 32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94" h="324">
                <a:moveTo>
                  <a:pt x="111" y="238"/>
                </a:moveTo>
                <a:lnTo>
                  <a:pt x="109" y="225"/>
                </a:lnTo>
                <a:lnTo>
                  <a:pt x="93" y="216"/>
                </a:lnTo>
                <a:lnTo>
                  <a:pt x="40" y="168"/>
                </a:lnTo>
                <a:lnTo>
                  <a:pt x="38" y="141"/>
                </a:lnTo>
                <a:lnTo>
                  <a:pt x="13" y="138"/>
                </a:lnTo>
                <a:lnTo>
                  <a:pt x="15" y="116"/>
                </a:lnTo>
                <a:lnTo>
                  <a:pt x="6" y="93"/>
                </a:lnTo>
                <a:lnTo>
                  <a:pt x="0" y="79"/>
                </a:lnTo>
                <a:lnTo>
                  <a:pt x="4" y="65"/>
                </a:lnTo>
                <a:lnTo>
                  <a:pt x="22" y="65"/>
                </a:lnTo>
                <a:lnTo>
                  <a:pt x="52" y="59"/>
                </a:lnTo>
                <a:lnTo>
                  <a:pt x="143" y="13"/>
                </a:lnTo>
                <a:lnTo>
                  <a:pt x="161" y="0"/>
                </a:lnTo>
                <a:lnTo>
                  <a:pt x="172" y="15"/>
                </a:lnTo>
                <a:lnTo>
                  <a:pt x="193" y="6"/>
                </a:lnTo>
                <a:lnTo>
                  <a:pt x="211" y="9"/>
                </a:lnTo>
                <a:lnTo>
                  <a:pt x="222" y="15"/>
                </a:lnTo>
                <a:lnTo>
                  <a:pt x="222" y="38"/>
                </a:lnTo>
                <a:lnTo>
                  <a:pt x="254" y="59"/>
                </a:lnTo>
                <a:lnTo>
                  <a:pt x="256" y="72"/>
                </a:lnTo>
                <a:lnTo>
                  <a:pt x="268" y="90"/>
                </a:lnTo>
                <a:lnTo>
                  <a:pt x="277" y="97"/>
                </a:lnTo>
                <a:lnTo>
                  <a:pt x="284" y="90"/>
                </a:lnTo>
                <a:lnTo>
                  <a:pt x="306" y="77"/>
                </a:lnTo>
                <a:lnTo>
                  <a:pt x="315" y="79"/>
                </a:lnTo>
                <a:lnTo>
                  <a:pt x="345" y="113"/>
                </a:lnTo>
                <a:lnTo>
                  <a:pt x="352" y="111"/>
                </a:lnTo>
                <a:lnTo>
                  <a:pt x="383" y="129"/>
                </a:lnTo>
                <a:lnTo>
                  <a:pt x="397" y="134"/>
                </a:lnTo>
                <a:lnTo>
                  <a:pt x="418" y="127"/>
                </a:lnTo>
                <a:lnTo>
                  <a:pt x="438" y="127"/>
                </a:lnTo>
                <a:lnTo>
                  <a:pt x="463" y="145"/>
                </a:lnTo>
                <a:lnTo>
                  <a:pt x="470" y="159"/>
                </a:lnTo>
                <a:lnTo>
                  <a:pt x="483" y="147"/>
                </a:lnTo>
                <a:lnTo>
                  <a:pt x="497" y="152"/>
                </a:lnTo>
                <a:lnTo>
                  <a:pt x="520" y="177"/>
                </a:lnTo>
                <a:lnTo>
                  <a:pt x="545" y="188"/>
                </a:lnTo>
                <a:lnTo>
                  <a:pt x="554" y="191"/>
                </a:lnTo>
                <a:lnTo>
                  <a:pt x="565" y="179"/>
                </a:lnTo>
                <a:lnTo>
                  <a:pt x="579" y="175"/>
                </a:lnTo>
                <a:lnTo>
                  <a:pt x="613" y="184"/>
                </a:lnTo>
                <a:lnTo>
                  <a:pt x="656" y="193"/>
                </a:lnTo>
                <a:lnTo>
                  <a:pt x="693" y="204"/>
                </a:lnTo>
                <a:lnTo>
                  <a:pt x="681" y="218"/>
                </a:lnTo>
                <a:lnTo>
                  <a:pt x="656" y="243"/>
                </a:lnTo>
                <a:lnTo>
                  <a:pt x="652" y="250"/>
                </a:lnTo>
                <a:lnTo>
                  <a:pt x="654" y="268"/>
                </a:lnTo>
                <a:lnTo>
                  <a:pt x="636" y="268"/>
                </a:lnTo>
                <a:lnTo>
                  <a:pt x="620" y="254"/>
                </a:lnTo>
                <a:lnTo>
                  <a:pt x="604" y="250"/>
                </a:lnTo>
                <a:lnTo>
                  <a:pt x="558" y="261"/>
                </a:lnTo>
                <a:lnTo>
                  <a:pt x="549" y="270"/>
                </a:lnTo>
                <a:lnTo>
                  <a:pt x="536" y="286"/>
                </a:lnTo>
                <a:lnTo>
                  <a:pt x="513" y="300"/>
                </a:lnTo>
                <a:lnTo>
                  <a:pt x="499" y="300"/>
                </a:lnTo>
                <a:lnTo>
                  <a:pt x="483" y="288"/>
                </a:lnTo>
                <a:lnTo>
                  <a:pt x="472" y="288"/>
                </a:lnTo>
                <a:lnTo>
                  <a:pt x="427" y="309"/>
                </a:lnTo>
                <a:lnTo>
                  <a:pt x="406" y="320"/>
                </a:lnTo>
                <a:lnTo>
                  <a:pt x="388" y="323"/>
                </a:lnTo>
                <a:lnTo>
                  <a:pt x="352" y="320"/>
                </a:lnTo>
                <a:lnTo>
                  <a:pt x="338" y="320"/>
                </a:lnTo>
                <a:lnTo>
                  <a:pt x="327" y="304"/>
                </a:lnTo>
                <a:lnTo>
                  <a:pt x="320" y="297"/>
                </a:lnTo>
                <a:lnTo>
                  <a:pt x="309" y="291"/>
                </a:lnTo>
                <a:lnTo>
                  <a:pt x="302" y="284"/>
                </a:lnTo>
                <a:lnTo>
                  <a:pt x="297" y="268"/>
                </a:lnTo>
                <a:lnTo>
                  <a:pt x="297" y="247"/>
                </a:lnTo>
                <a:lnTo>
                  <a:pt x="268" y="229"/>
                </a:lnTo>
                <a:lnTo>
                  <a:pt x="249" y="238"/>
                </a:lnTo>
                <a:lnTo>
                  <a:pt x="234" y="243"/>
                </a:lnTo>
                <a:lnTo>
                  <a:pt x="222" y="220"/>
                </a:lnTo>
                <a:lnTo>
                  <a:pt x="181" y="222"/>
                </a:lnTo>
                <a:lnTo>
                  <a:pt x="170" y="232"/>
                </a:lnTo>
                <a:lnTo>
                  <a:pt x="161" y="241"/>
                </a:lnTo>
                <a:lnTo>
                  <a:pt x="145" y="241"/>
                </a:lnTo>
                <a:lnTo>
                  <a:pt x="127" y="243"/>
                </a:lnTo>
                <a:lnTo>
                  <a:pt x="111" y="238"/>
                </a:lnTo>
              </a:path>
            </a:pathLst>
          </a:custGeom>
          <a:solidFill>
            <a:schemeClr val="accent3"/>
          </a:solidFill>
          <a:ln w="12700" cap="rnd">
            <a:solidFill>
              <a:schemeClr val="bg1"/>
            </a:solidFill>
            <a:round/>
            <a:headEnd/>
            <a:tailEnd/>
          </a:ln>
        </p:spPr>
        <p:txBody>
          <a:bodyPr/>
          <a:lstStyle/>
          <a:p>
            <a:pPr>
              <a:defRPr/>
            </a:pPr>
            <a:endParaRPr lang="en-GB"/>
          </a:p>
        </p:txBody>
      </p:sp>
      <p:sp>
        <p:nvSpPr>
          <p:cNvPr id="35" name="Freeform 40"/>
          <p:cNvSpPr>
            <a:spLocks/>
          </p:cNvSpPr>
          <p:nvPr/>
        </p:nvSpPr>
        <p:spPr bwMode="auto">
          <a:xfrm>
            <a:off x="4762927" y="4547599"/>
            <a:ext cx="480729" cy="438421"/>
          </a:xfrm>
          <a:custGeom>
            <a:avLst/>
            <a:gdLst>
              <a:gd name="T0" fmla="*/ 9 w 411"/>
              <a:gd name="T1" fmla="*/ 68 h 376"/>
              <a:gd name="T2" fmla="*/ 21 w 411"/>
              <a:gd name="T3" fmla="*/ 85 h 376"/>
              <a:gd name="T4" fmla="*/ 37 w 411"/>
              <a:gd name="T5" fmla="*/ 83 h 376"/>
              <a:gd name="T6" fmla="*/ 52 w 411"/>
              <a:gd name="T7" fmla="*/ 66 h 376"/>
              <a:gd name="T8" fmla="*/ 77 w 411"/>
              <a:gd name="T9" fmla="*/ 75 h 376"/>
              <a:gd name="T10" fmla="*/ 83 w 411"/>
              <a:gd name="T11" fmla="*/ 90 h 376"/>
              <a:gd name="T12" fmla="*/ 93 w 411"/>
              <a:gd name="T13" fmla="*/ 111 h 376"/>
              <a:gd name="T14" fmla="*/ 107 w 411"/>
              <a:gd name="T15" fmla="*/ 125 h 376"/>
              <a:gd name="T16" fmla="*/ 98 w 411"/>
              <a:gd name="T17" fmla="*/ 132 h 376"/>
              <a:gd name="T18" fmla="*/ 151 w 411"/>
              <a:gd name="T19" fmla="*/ 173 h 376"/>
              <a:gd name="T20" fmla="*/ 173 w 411"/>
              <a:gd name="T21" fmla="*/ 175 h 376"/>
              <a:gd name="T22" fmla="*/ 213 w 411"/>
              <a:gd name="T23" fmla="*/ 194 h 376"/>
              <a:gd name="T24" fmla="*/ 222 w 411"/>
              <a:gd name="T25" fmla="*/ 209 h 376"/>
              <a:gd name="T26" fmla="*/ 232 w 411"/>
              <a:gd name="T27" fmla="*/ 207 h 376"/>
              <a:gd name="T28" fmla="*/ 254 w 411"/>
              <a:gd name="T29" fmla="*/ 217 h 376"/>
              <a:gd name="T30" fmla="*/ 263 w 411"/>
              <a:gd name="T31" fmla="*/ 214 h 376"/>
              <a:gd name="T32" fmla="*/ 269 w 411"/>
              <a:gd name="T33" fmla="*/ 201 h 376"/>
              <a:gd name="T34" fmla="*/ 253 w 411"/>
              <a:gd name="T35" fmla="*/ 183 h 376"/>
              <a:gd name="T36" fmla="*/ 213 w 411"/>
              <a:gd name="T37" fmla="*/ 154 h 376"/>
              <a:gd name="T38" fmla="*/ 197 w 411"/>
              <a:gd name="T39" fmla="*/ 152 h 376"/>
              <a:gd name="T40" fmla="*/ 185 w 411"/>
              <a:gd name="T41" fmla="*/ 144 h 376"/>
              <a:gd name="T42" fmla="*/ 173 w 411"/>
              <a:gd name="T43" fmla="*/ 130 h 376"/>
              <a:gd name="T44" fmla="*/ 156 w 411"/>
              <a:gd name="T45" fmla="*/ 111 h 376"/>
              <a:gd name="T46" fmla="*/ 128 w 411"/>
              <a:gd name="T47" fmla="*/ 83 h 376"/>
              <a:gd name="T48" fmla="*/ 143 w 411"/>
              <a:gd name="T49" fmla="*/ 80 h 376"/>
              <a:gd name="T50" fmla="*/ 207 w 411"/>
              <a:gd name="T51" fmla="*/ 68 h 376"/>
              <a:gd name="T52" fmla="*/ 235 w 411"/>
              <a:gd name="T53" fmla="*/ 80 h 376"/>
              <a:gd name="T54" fmla="*/ 248 w 411"/>
              <a:gd name="T55" fmla="*/ 80 h 376"/>
              <a:gd name="T56" fmla="*/ 275 w 411"/>
              <a:gd name="T57" fmla="*/ 82 h 376"/>
              <a:gd name="T58" fmla="*/ 310 w 411"/>
              <a:gd name="T59" fmla="*/ 80 h 376"/>
              <a:gd name="T60" fmla="*/ 333 w 411"/>
              <a:gd name="T61" fmla="*/ 90 h 376"/>
              <a:gd name="T62" fmla="*/ 340 w 411"/>
              <a:gd name="T63" fmla="*/ 75 h 376"/>
              <a:gd name="T64" fmla="*/ 322 w 411"/>
              <a:gd name="T65" fmla="*/ 61 h 376"/>
              <a:gd name="T66" fmla="*/ 320 w 411"/>
              <a:gd name="T67" fmla="*/ 47 h 376"/>
              <a:gd name="T68" fmla="*/ 307 w 411"/>
              <a:gd name="T69" fmla="*/ 36 h 376"/>
              <a:gd name="T70" fmla="*/ 290 w 411"/>
              <a:gd name="T71" fmla="*/ 39 h 376"/>
              <a:gd name="T72" fmla="*/ 273 w 411"/>
              <a:gd name="T73" fmla="*/ 42 h 376"/>
              <a:gd name="T74" fmla="*/ 246 w 411"/>
              <a:gd name="T75" fmla="*/ 28 h 376"/>
              <a:gd name="T76" fmla="*/ 224 w 411"/>
              <a:gd name="T77" fmla="*/ 22 h 376"/>
              <a:gd name="T78" fmla="*/ 185 w 411"/>
              <a:gd name="T79" fmla="*/ 0 h 376"/>
              <a:gd name="T80" fmla="*/ 147 w 411"/>
              <a:gd name="T81" fmla="*/ 16 h 376"/>
              <a:gd name="T82" fmla="*/ 135 w 411"/>
              <a:gd name="T83" fmla="*/ 30 h 376"/>
              <a:gd name="T84" fmla="*/ 75 w 411"/>
              <a:gd name="T85" fmla="*/ 54 h 376"/>
              <a:gd name="T86" fmla="*/ 37 w 411"/>
              <a:gd name="T87" fmla="*/ 54 h 376"/>
              <a:gd name="T88" fmla="*/ 0 w 411"/>
              <a:gd name="T89" fmla="*/ 54 h 3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1"/>
              <a:gd name="T136" fmla="*/ 0 h 376"/>
              <a:gd name="T137" fmla="*/ 411 w 411"/>
              <a:gd name="T138" fmla="*/ 376 h 37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1" h="376">
                <a:moveTo>
                  <a:pt x="0" y="90"/>
                </a:moveTo>
                <a:lnTo>
                  <a:pt x="9" y="115"/>
                </a:lnTo>
                <a:lnTo>
                  <a:pt x="18" y="134"/>
                </a:lnTo>
                <a:lnTo>
                  <a:pt x="25" y="145"/>
                </a:lnTo>
                <a:lnTo>
                  <a:pt x="34" y="147"/>
                </a:lnTo>
                <a:lnTo>
                  <a:pt x="45" y="140"/>
                </a:lnTo>
                <a:lnTo>
                  <a:pt x="52" y="129"/>
                </a:lnTo>
                <a:lnTo>
                  <a:pt x="63" y="111"/>
                </a:lnTo>
                <a:lnTo>
                  <a:pt x="77" y="120"/>
                </a:lnTo>
                <a:lnTo>
                  <a:pt x="93" y="125"/>
                </a:lnTo>
                <a:lnTo>
                  <a:pt x="102" y="131"/>
                </a:lnTo>
                <a:lnTo>
                  <a:pt x="100" y="152"/>
                </a:lnTo>
                <a:lnTo>
                  <a:pt x="100" y="165"/>
                </a:lnTo>
                <a:lnTo>
                  <a:pt x="113" y="188"/>
                </a:lnTo>
                <a:lnTo>
                  <a:pt x="132" y="206"/>
                </a:lnTo>
                <a:lnTo>
                  <a:pt x="129" y="211"/>
                </a:lnTo>
                <a:lnTo>
                  <a:pt x="109" y="211"/>
                </a:lnTo>
                <a:lnTo>
                  <a:pt x="118" y="222"/>
                </a:lnTo>
                <a:lnTo>
                  <a:pt x="175" y="286"/>
                </a:lnTo>
                <a:lnTo>
                  <a:pt x="182" y="290"/>
                </a:lnTo>
                <a:lnTo>
                  <a:pt x="198" y="290"/>
                </a:lnTo>
                <a:lnTo>
                  <a:pt x="209" y="295"/>
                </a:lnTo>
                <a:lnTo>
                  <a:pt x="234" y="306"/>
                </a:lnTo>
                <a:lnTo>
                  <a:pt x="257" y="327"/>
                </a:lnTo>
                <a:lnTo>
                  <a:pt x="261" y="336"/>
                </a:lnTo>
                <a:lnTo>
                  <a:pt x="268" y="352"/>
                </a:lnTo>
                <a:lnTo>
                  <a:pt x="275" y="350"/>
                </a:lnTo>
                <a:lnTo>
                  <a:pt x="280" y="350"/>
                </a:lnTo>
                <a:lnTo>
                  <a:pt x="298" y="356"/>
                </a:lnTo>
                <a:lnTo>
                  <a:pt x="307" y="365"/>
                </a:lnTo>
                <a:lnTo>
                  <a:pt x="316" y="375"/>
                </a:lnTo>
                <a:lnTo>
                  <a:pt x="318" y="361"/>
                </a:lnTo>
                <a:lnTo>
                  <a:pt x="318" y="350"/>
                </a:lnTo>
                <a:lnTo>
                  <a:pt x="325" y="338"/>
                </a:lnTo>
                <a:lnTo>
                  <a:pt x="321" y="327"/>
                </a:lnTo>
                <a:lnTo>
                  <a:pt x="305" y="309"/>
                </a:lnTo>
                <a:lnTo>
                  <a:pt x="275" y="275"/>
                </a:lnTo>
                <a:lnTo>
                  <a:pt x="257" y="261"/>
                </a:lnTo>
                <a:lnTo>
                  <a:pt x="250" y="254"/>
                </a:lnTo>
                <a:lnTo>
                  <a:pt x="239" y="256"/>
                </a:lnTo>
                <a:lnTo>
                  <a:pt x="225" y="243"/>
                </a:lnTo>
                <a:lnTo>
                  <a:pt x="223" y="243"/>
                </a:lnTo>
                <a:lnTo>
                  <a:pt x="214" y="236"/>
                </a:lnTo>
                <a:lnTo>
                  <a:pt x="209" y="220"/>
                </a:lnTo>
                <a:lnTo>
                  <a:pt x="205" y="206"/>
                </a:lnTo>
                <a:lnTo>
                  <a:pt x="189" y="186"/>
                </a:lnTo>
                <a:lnTo>
                  <a:pt x="157" y="150"/>
                </a:lnTo>
                <a:lnTo>
                  <a:pt x="154" y="140"/>
                </a:lnTo>
                <a:lnTo>
                  <a:pt x="157" y="136"/>
                </a:lnTo>
                <a:lnTo>
                  <a:pt x="173" y="134"/>
                </a:lnTo>
                <a:lnTo>
                  <a:pt x="218" y="147"/>
                </a:lnTo>
                <a:lnTo>
                  <a:pt x="250" y="115"/>
                </a:lnTo>
                <a:lnTo>
                  <a:pt x="275" y="136"/>
                </a:lnTo>
                <a:lnTo>
                  <a:pt x="284" y="136"/>
                </a:lnTo>
                <a:lnTo>
                  <a:pt x="291" y="145"/>
                </a:lnTo>
                <a:lnTo>
                  <a:pt x="300" y="136"/>
                </a:lnTo>
                <a:lnTo>
                  <a:pt x="316" y="136"/>
                </a:lnTo>
                <a:lnTo>
                  <a:pt x="332" y="138"/>
                </a:lnTo>
                <a:lnTo>
                  <a:pt x="353" y="129"/>
                </a:lnTo>
                <a:lnTo>
                  <a:pt x="375" y="136"/>
                </a:lnTo>
                <a:lnTo>
                  <a:pt x="387" y="147"/>
                </a:lnTo>
                <a:lnTo>
                  <a:pt x="403" y="152"/>
                </a:lnTo>
                <a:lnTo>
                  <a:pt x="403" y="140"/>
                </a:lnTo>
                <a:lnTo>
                  <a:pt x="410" y="125"/>
                </a:lnTo>
                <a:lnTo>
                  <a:pt x="403" y="115"/>
                </a:lnTo>
                <a:lnTo>
                  <a:pt x="389" y="102"/>
                </a:lnTo>
                <a:lnTo>
                  <a:pt x="387" y="88"/>
                </a:lnTo>
                <a:lnTo>
                  <a:pt x="387" y="77"/>
                </a:lnTo>
                <a:lnTo>
                  <a:pt x="389" y="65"/>
                </a:lnTo>
                <a:lnTo>
                  <a:pt x="371" y="61"/>
                </a:lnTo>
                <a:lnTo>
                  <a:pt x="362" y="59"/>
                </a:lnTo>
                <a:lnTo>
                  <a:pt x="350" y="65"/>
                </a:lnTo>
                <a:lnTo>
                  <a:pt x="339" y="72"/>
                </a:lnTo>
                <a:lnTo>
                  <a:pt x="330" y="72"/>
                </a:lnTo>
                <a:lnTo>
                  <a:pt x="312" y="56"/>
                </a:lnTo>
                <a:lnTo>
                  <a:pt x="298" y="47"/>
                </a:lnTo>
                <a:lnTo>
                  <a:pt x="282" y="50"/>
                </a:lnTo>
                <a:lnTo>
                  <a:pt x="271" y="38"/>
                </a:lnTo>
                <a:lnTo>
                  <a:pt x="236" y="2"/>
                </a:lnTo>
                <a:lnTo>
                  <a:pt x="223" y="0"/>
                </a:lnTo>
                <a:lnTo>
                  <a:pt x="200" y="29"/>
                </a:lnTo>
                <a:lnTo>
                  <a:pt x="177" y="27"/>
                </a:lnTo>
                <a:lnTo>
                  <a:pt x="166" y="38"/>
                </a:lnTo>
                <a:lnTo>
                  <a:pt x="164" y="50"/>
                </a:lnTo>
                <a:lnTo>
                  <a:pt x="118" y="97"/>
                </a:lnTo>
                <a:lnTo>
                  <a:pt x="91" y="90"/>
                </a:lnTo>
                <a:lnTo>
                  <a:pt x="61" y="84"/>
                </a:lnTo>
                <a:lnTo>
                  <a:pt x="45" y="90"/>
                </a:lnTo>
                <a:lnTo>
                  <a:pt x="27" y="97"/>
                </a:lnTo>
                <a:lnTo>
                  <a:pt x="0" y="90"/>
                </a:lnTo>
              </a:path>
            </a:pathLst>
          </a:custGeom>
          <a:solidFill>
            <a:schemeClr val="accent3"/>
          </a:solidFill>
          <a:ln w="12700" cap="rnd">
            <a:solidFill>
              <a:schemeClr val="bg1"/>
            </a:solidFill>
            <a:round/>
            <a:headEnd/>
            <a:tailEnd/>
          </a:ln>
        </p:spPr>
        <p:txBody>
          <a:bodyPr/>
          <a:lstStyle/>
          <a:p>
            <a:pPr>
              <a:defRPr/>
            </a:pPr>
            <a:endParaRPr lang="en-GB"/>
          </a:p>
        </p:txBody>
      </p:sp>
      <p:sp>
        <p:nvSpPr>
          <p:cNvPr id="36" name="Freeform 41"/>
          <p:cNvSpPr>
            <a:spLocks/>
          </p:cNvSpPr>
          <p:nvPr/>
        </p:nvSpPr>
        <p:spPr bwMode="auto">
          <a:xfrm>
            <a:off x="5338085" y="5490869"/>
            <a:ext cx="46601" cy="41185"/>
          </a:xfrm>
          <a:custGeom>
            <a:avLst/>
            <a:gdLst>
              <a:gd name="T0" fmla="*/ 23 w 39"/>
              <a:gd name="T1" fmla="*/ 0 h 36"/>
              <a:gd name="T2" fmla="*/ 34 w 39"/>
              <a:gd name="T3" fmla="*/ 4 h 36"/>
              <a:gd name="T4" fmla="*/ 30 w 39"/>
              <a:gd name="T5" fmla="*/ 13 h 36"/>
              <a:gd name="T6" fmla="*/ 34 w 39"/>
              <a:gd name="T7" fmla="*/ 18 h 36"/>
              <a:gd name="T8" fmla="*/ 23 w 39"/>
              <a:gd name="T9" fmla="*/ 19 h 36"/>
              <a:gd name="T10" fmla="*/ 10 w 39"/>
              <a:gd name="T11" fmla="*/ 18 h 36"/>
              <a:gd name="T12" fmla="*/ 0 w 39"/>
              <a:gd name="T13" fmla="*/ 11 h 36"/>
              <a:gd name="T14" fmla="*/ 23 w 39"/>
              <a:gd name="T15" fmla="*/ 0 h 36"/>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36"/>
              <a:gd name="T26" fmla="*/ 39 w 39"/>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36">
                <a:moveTo>
                  <a:pt x="27" y="0"/>
                </a:moveTo>
                <a:lnTo>
                  <a:pt x="38" y="8"/>
                </a:lnTo>
                <a:lnTo>
                  <a:pt x="34" y="23"/>
                </a:lnTo>
                <a:lnTo>
                  <a:pt x="38" y="32"/>
                </a:lnTo>
                <a:lnTo>
                  <a:pt x="27" y="35"/>
                </a:lnTo>
                <a:lnTo>
                  <a:pt x="10" y="32"/>
                </a:lnTo>
                <a:lnTo>
                  <a:pt x="0" y="20"/>
                </a:lnTo>
                <a:lnTo>
                  <a:pt x="27" y="0"/>
                </a:lnTo>
              </a:path>
            </a:pathLst>
          </a:custGeom>
          <a:solidFill>
            <a:schemeClr val="accent3"/>
          </a:solidFill>
          <a:ln w="12700" cap="rnd">
            <a:solidFill>
              <a:schemeClr val="bg1"/>
            </a:solidFill>
            <a:round/>
            <a:headEnd/>
            <a:tailEnd/>
          </a:ln>
        </p:spPr>
        <p:txBody>
          <a:bodyPr/>
          <a:lstStyle/>
          <a:p>
            <a:pPr>
              <a:defRPr/>
            </a:pPr>
            <a:endParaRPr lang="en-GB"/>
          </a:p>
        </p:txBody>
      </p:sp>
      <p:sp>
        <p:nvSpPr>
          <p:cNvPr id="37" name="Freeform 42"/>
          <p:cNvSpPr>
            <a:spLocks/>
          </p:cNvSpPr>
          <p:nvPr/>
        </p:nvSpPr>
        <p:spPr bwMode="auto">
          <a:xfrm>
            <a:off x="5403082" y="5502826"/>
            <a:ext cx="241591" cy="211239"/>
          </a:xfrm>
          <a:custGeom>
            <a:avLst/>
            <a:gdLst>
              <a:gd name="T0" fmla="*/ 25 w 207"/>
              <a:gd name="T1" fmla="*/ 4 h 181"/>
              <a:gd name="T2" fmla="*/ 14 w 207"/>
              <a:gd name="T3" fmla="*/ 7 h 181"/>
              <a:gd name="T4" fmla="*/ 18 w 207"/>
              <a:gd name="T5" fmla="*/ 13 h 181"/>
              <a:gd name="T6" fmla="*/ 10 w 207"/>
              <a:gd name="T7" fmla="*/ 19 h 181"/>
              <a:gd name="T8" fmla="*/ 4 w 207"/>
              <a:gd name="T9" fmla="*/ 19 h 181"/>
              <a:gd name="T10" fmla="*/ 0 w 207"/>
              <a:gd name="T11" fmla="*/ 22 h 181"/>
              <a:gd name="T12" fmla="*/ 2 w 207"/>
              <a:gd name="T13" fmla="*/ 31 h 181"/>
              <a:gd name="T14" fmla="*/ 29 w 207"/>
              <a:gd name="T15" fmla="*/ 37 h 181"/>
              <a:gd name="T16" fmla="*/ 35 w 207"/>
              <a:gd name="T17" fmla="*/ 54 h 181"/>
              <a:gd name="T18" fmla="*/ 43 w 207"/>
              <a:gd name="T19" fmla="*/ 76 h 181"/>
              <a:gd name="T20" fmla="*/ 54 w 207"/>
              <a:gd name="T21" fmla="*/ 86 h 181"/>
              <a:gd name="T22" fmla="*/ 66 w 207"/>
              <a:gd name="T23" fmla="*/ 79 h 181"/>
              <a:gd name="T24" fmla="*/ 82 w 207"/>
              <a:gd name="T25" fmla="*/ 92 h 181"/>
              <a:gd name="T26" fmla="*/ 98 w 207"/>
              <a:gd name="T27" fmla="*/ 107 h 181"/>
              <a:gd name="T28" fmla="*/ 103 w 207"/>
              <a:gd name="T29" fmla="*/ 97 h 181"/>
              <a:gd name="T30" fmla="*/ 99 w 207"/>
              <a:gd name="T31" fmla="*/ 88 h 181"/>
              <a:gd name="T32" fmla="*/ 105 w 207"/>
              <a:gd name="T33" fmla="*/ 86 h 181"/>
              <a:gd name="T34" fmla="*/ 128 w 207"/>
              <a:gd name="T35" fmla="*/ 98 h 181"/>
              <a:gd name="T36" fmla="*/ 137 w 207"/>
              <a:gd name="T37" fmla="*/ 95 h 181"/>
              <a:gd name="T38" fmla="*/ 139 w 207"/>
              <a:gd name="T39" fmla="*/ 90 h 181"/>
              <a:gd name="T40" fmla="*/ 128 w 207"/>
              <a:gd name="T41" fmla="*/ 73 h 181"/>
              <a:gd name="T42" fmla="*/ 128 w 207"/>
              <a:gd name="T43" fmla="*/ 69 h 181"/>
              <a:gd name="T44" fmla="*/ 116 w 207"/>
              <a:gd name="T45" fmla="*/ 56 h 181"/>
              <a:gd name="T46" fmla="*/ 110 w 207"/>
              <a:gd name="T47" fmla="*/ 46 h 181"/>
              <a:gd name="T48" fmla="*/ 116 w 207"/>
              <a:gd name="T49" fmla="*/ 46 h 181"/>
              <a:gd name="T50" fmla="*/ 128 w 207"/>
              <a:gd name="T51" fmla="*/ 47 h 181"/>
              <a:gd name="T52" fmla="*/ 146 w 207"/>
              <a:gd name="T53" fmla="*/ 57 h 181"/>
              <a:gd name="T54" fmla="*/ 153 w 207"/>
              <a:gd name="T55" fmla="*/ 49 h 181"/>
              <a:gd name="T56" fmla="*/ 167 w 207"/>
              <a:gd name="T57" fmla="*/ 51 h 181"/>
              <a:gd name="T58" fmla="*/ 169 w 207"/>
              <a:gd name="T59" fmla="*/ 47 h 181"/>
              <a:gd name="T60" fmla="*/ 151 w 207"/>
              <a:gd name="T61" fmla="*/ 33 h 181"/>
              <a:gd name="T62" fmla="*/ 139 w 207"/>
              <a:gd name="T63" fmla="*/ 35 h 181"/>
              <a:gd name="T64" fmla="*/ 134 w 207"/>
              <a:gd name="T65" fmla="*/ 29 h 181"/>
              <a:gd name="T66" fmla="*/ 128 w 207"/>
              <a:gd name="T67" fmla="*/ 17 h 181"/>
              <a:gd name="T68" fmla="*/ 120 w 207"/>
              <a:gd name="T69" fmla="*/ 22 h 181"/>
              <a:gd name="T70" fmla="*/ 103 w 207"/>
              <a:gd name="T71" fmla="*/ 17 h 181"/>
              <a:gd name="T72" fmla="*/ 92 w 207"/>
              <a:gd name="T73" fmla="*/ 4 h 181"/>
              <a:gd name="T74" fmla="*/ 70 w 207"/>
              <a:gd name="T75" fmla="*/ 5 h 181"/>
              <a:gd name="T76" fmla="*/ 56 w 207"/>
              <a:gd name="T77" fmla="*/ 7 h 181"/>
              <a:gd name="T78" fmla="*/ 45 w 207"/>
              <a:gd name="T79" fmla="*/ 0 h 181"/>
              <a:gd name="T80" fmla="*/ 37 w 207"/>
              <a:gd name="T81" fmla="*/ 4 h 181"/>
              <a:gd name="T82" fmla="*/ 25 w 207"/>
              <a:gd name="T83" fmla="*/ 4 h 18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7"/>
              <a:gd name="T127" fmla="*/ 0 h 181"/>
              <a:gd name="T128" fmla="*/ 207 w 207"/>
              <a:gd name="T129" fmla="*/ 181 h 18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7" h="181">
                <a:moveTo>
                  <a:pt x="29" y="6"/>
                </a:moveTo>
                <a:lnTo>
                  <a:pt x="18" y="11"/>
                </a:lnTo>
                <a:lnTo>
                  <a:pt x="22" y="22"/>
                </a:lnTo>
                <a:lnTo>
                  <a:pt x="11" y="33"/>
                </a:lnTo>
                <a:lnTo>
                  <a:pt x="4" y="33"/>
                </a:lnTo>
                <a:lnTo>
                  <a:pt x="0" y="38"/>
                </a:lnTo>
                <a:lnTo>
                  <a:pt x="2" y="51"/>
                </a:lnTo>
                <a:lnTo>
                  <a:pt x="36" y="63"/>
                </a:lnTo>
                <a:lnTo>
                  <a:pt x="43" y="90"/>
                </a:lnTo>
                <a:lnTo>
                  <a:pt x="52" y="126"/>
                </a:lnTo>
                <a:lnTo>
                  <a:pt x="66" y="144"/>
                </a:lnTo>
                <a:lnTo>
                  <a:pt x="80" y="132"/>
                </a:lnTo>
                <a:lnTo>
                  <a:pt x="100" y="155"/>
                </a:lnTo>
                <a:lnTo>
                  <a:pt x="119" y="180"/>
                </a:lnTo>
                <a:lnTo>
                  <a:pt x="125" y="162"/>
                </a:lnTo>
                <a:lnTo>
                  <a:pt x="121" y="148"/>
                </a:lnTo>
                <a:lnTo>
                  <a:pt x="128" y="144"/>
                </a:lnTo>
                <a:lnTo>
                  <a:pt x="157" y="166"/>
                </a:lnTo>
                <a:lnTo>
                  <a:pt x="167" y="159"/>
                </a:lnTo>
                <a:lnTo>
                  <a:pt x="169" y="150"/>
                </a:lnTo>
                <a:lnTo>
                  <a:pt x="155" y="123"/>
                </a:lnTo>
                <a:lnTo>
                  <a:pt x="155" y="117"/>
                </a:lnTo>
                <a:lnTo>
                  <a:pt x="141" y="94"/>
                </a:lnTo>
                <a:lnTo>
                  <a:pt x="135" y="76"/>
                </a:lnTo>
                <a:lnTo>
                  <a:pt x="141" y="76"/>
                </a:lnTo>
                <a:lnTo>
                  <a:pt x="157" y="78"/>
                </a:lnTo>
                <a:lnTo>
                  <a:pt x="178" y="96"/>
                </a:lnTo>
                <a:lnTo>
                  <a:pt x="187" y="83"/>
                </a:lnTo>
                <a:lnTo>
                  <a:pt x="203" y="85"/>
                </a:lnTo>
                <a:lnTo>
                  <a:pt x="206" y="81"/>
                </a:lnTo>
                <a:lnTo>
                  <a:pt x="185" y="56"/>
                </a:lnTo>
                <a:lnTo>
                  <a:pt x="169" y="58"/>
                </a:lnTo>
                <a:lnTo>
                  <a:pt x="164" y="49"/>
                </a:lnTo>
                <a:lnTo>
                  <a:pt x="155" y="29"/>
                </a:lnTo>
                <a:lnTo>
                  <a:pt x="146" y="36"/>
                </a:lnTo>
                <a:lnTo>
                  <a:pt x="125" y="29"/>
                </a:lnTo>
                <a:lnTo>
                  <a:pt x="112" y="6"/>
                </a:lnTo>
                <a:lnTo>
                  <a:pt x="86" y="9"/>
                </a:lnTo>
                <a:lnTo>
                  <a:pt x="68" y="11"/>
                </a:lnTo>
                <a:lnTo>
                  <a:pt x="54" y="0"/>
                </a:lnTo>
                <a:lnTo>
                  <a:pt x="45" y="6"/>
                </a:lnTo>
                <a:lnTo>
                  <a:pt x="29" y="6"/>
                </a:lnTo>
              </a:path>
            </a:pathLst>
          </a:custGeom>
          <a:solidFill>
            <a:schemeClr val="accent3"/>
          </a:solidFill>
          <a:ln w="12700" cap="rnd">
            <a:solidFill>
              <a:schemeClr val="bg1"/>
            </a:solidFill>
            <a:round/>
            <a:headEnd/>
            <a:tailEnd/>
          </a:ln>
        </p:spPr>
        <p:txBody>
          <a:bodyPr/>
          <a:lstStyle/>
          <a:p>
            <a:pPr>
              <a:defRPr/>
            </a:pPr>
            <a:endParaRPr lang="en-GB"/>
          </a:p>
        </p:txBody>
      </p:sp>
      <p:sp>
        <p:nvSpPr>
          <p:cNvPr id="38" name="Freeform 43"/>
          <p:cNvSpPr>
            <a:spLocks/>
          </p:cNvSpPr>
          <p:nvPr/>
        </p:nvSpPr>
        <p:spPr bwMode="auto">
          <a:xfrm>
            <a:off x="5322143" y="5069719"/>
            <a:ext cx="565348" cy="508835"/>
          </a:xfrm>
          <a:custGeom>
            <a:avLst/>
            <a:gdLst>
              <a:gd name="T0" fmla="*/ 73 w 483"/>
              <a:gd name="T1" fmla="*/ 69 h 436"/>
              <a:gd name="T2" fmla="*/ 50 w 483"/>
              <a:gd name="T3" fmla="*/ 112 h 436"/>
              <a:gd name="T4" fmla="*/ 42 w 483"/>
              <a:gd name="T5" fmla="*/ 121 h 436"/>
              <a:gd name="T6" fmla="*/ 23 w 483"/>
              <a:gd name="T7" fmla="*/ 134 h 436"/>
              <a:gd name="T8" fmla="*/ 0 w 483"/>
              <a:gd name="T9" fmla="*/ 136 h 436"/>
              <a:gd name="T10" fmla="*/ 29 w 483"/>
              <a:gd name="T11" fmla="*/ 174 h 436"/>
              <a:gd name="T12" fmla="*/ 52 w 483"/>
              <a:gd name="T13" fmla="*/ 174 h 436"/>
              <a:gd name="T14" fmla="*/ 46 w 483"/>
              <a:gd name="T15" fmla="*/ 186 h 436"/>
              <a:gd name="T16" fmla="*/ 52 w 483"/>
              <a:gd name="T17" fmla="*/ 206 h 436"/>
              <a:gd name="T18" fmla="*/ 71 w 483"/>
              <a:gd name="T19" fmla="*/ 220 h 436"/>
              <a:gd name="T20" fmla="*/ 85 w 483"/>
              <a:gd name="T21" fmla="*/ 213 h 436"/>
              <a:gd name="T22" fmla="*/ 100 w 483"/>
              <a:gd name="T23" fmla="*/ 213 h 436"/>
              <a:gd name="T24" fmla="*/ 149 w 483"/>
              <a:gd name="T25" fmla="*/ 217 h 436"/>
              <a:gd name="T26" fmla="*/ 177 w 483"/>
              <a:gd name="T27" fmla="*/ 228 h 436"/>
              <a:gd name="T28" fmla="*/ 191 w 483"/>
              <a:gd name="T29" fmla="*/ 242 h 436"/>
              <a:gd name="T30" fmla="*/ 212 w 483"/>
              <a:gd name="T31" fmla="*/ 236 h 436"/>
              <a:gd name="T32" fmla="*/ 250 w 483"/>
              <a:gd name="T33" fmla="*/ 259 h 436"/>
              <a:gd name="T34" fmla="*/ 258 w 483"/>
              <a:gd name="T35" fmla="*/ 245 h 436"/>
              <a:gd name="T36" fmla="*/ 257 w 483"/>
              <a:gd name="T37" fmla="*/ 226 h 436"/>
              <a:gd name="T38" fmla="*/ 241 w 483"/>
              <a:gd name="T39" fmla="*/ 215 h 436"/>
              <a:gd name="T40" fmla="*/ 200 w 483"/>
              <a:gd name="T41" fmla="*/ 199 h 436"/>
              <a:gd name="T42" fmla="*/ 175 w 483"/>
              <a:gd name="T43" fmla="*/ 192 h 436"/>
              <a:gd name="T44" fmla="*/ 166 w 483"/>
              <a:gd name="T45" fmla="*/ 183 h 436"/>
              <a:gd name="T46" fmla="*/ 181 w 483"/>
              <a:gd name="T47" fmla="*/ 172 h 436"/>
              <a:gd name="T48" fmla="*/ 170 w 483"/>
              <a:gd name="T49" fmla="*/ 159 h 436"/>
              <a:gd name="T50" fmla="*/ 189 w 483"/>
              <a:gd name="T51" fmla="*/ 164 h 436"/>
              <a:gd name="T52" fmla="*/ 200 w 483"/>
              <a:gd name="T53" fmla="*/ 159 h 436"/>
              <a:gd name="T54" fmla="*/ 177 w 483"/>
              <a:gd name="T55" fmla="*/ 135 h 436"/>
              <a:gd name="T56" fmla="*/ 157 w 483"/>
              <a:gd name="T57" fmla="*/ 106 h 436"/>
              <a:gd name="T58" fmla="*/ 155 w 483"/>
              <a:gd name="T59" fmla="*/ 90 h 436"/>
              <a:gd name="T60" fmla="*/ 163 w 483"/>
              <a:gd name="T61" fmla="*/ 79 h 436"/>
              <a:gd name="T62" fmla="*/ 171 w 483"/>
              <a:gd name="T63" fmla="*/ 93 h 436"/>
              <a:gd name="T64" fmla="*/ 177 w 483"/>
              <a:gd name="T65" fmla="*/ 98 h 436"/>
              <a:gd name="T66" fmla="*/ 210 w 483"/>
              <a:gd name="T67" fmla="*/ 118 h 436"/>
              <a:gd name="T68" fmla="*/ 215 w 483"/>
              <a:gd name="T69" fmla="*/ 105 h 436"/>
              <a:gd name="T70" fmla="*/ 239 w 483"/>
              <a:gd name="T71" fmla="*/ 118 h 436"/>
              <a:gd name="T72" fmla="*/ 228 w 483"/>
              <a:gd name="T73" fmla="*/ 101 h 436"/>
              <a:gd name="T74" fmla="*/ 239 w 483"/>
              <a:gd name="T75" fmla="*/ 95 h 436"/>
              <a:gd name="T76" fmla="*/ 267 w 483"/>
              <a:gd name="T77" fmla="*/ 98 h 436"/>
              <a:gd name="T78" fmla="*/ 254 w 483"/>
              <a:gd name="T79" fmla="*/ 86 h 436"/>
              <a:gd name="T80" fmla="*/ 228 w 483"/>
              <a:gd name="T81" fmla="*/ 76 h 436"/>
              <a:gd name="T82" fmla="*/ 230 w 483"/>
              <a:gd name="T83" fmla="*/ 67 h 436"/>
              <a:gd name="T84" fmla="*/ 277 w 483"/>
              <a:gd name="T85" fmla="*/ 58 h 436"/>
              <a:gd name="T86" fmla="*/ 325 w 483"/>
              <a:gd name="T87" fmla="*/ 55 h 436"/>
              <a:gd name="T88" fmla="*/ 350 w 483"/>
              <a:gd name="T89" fmla="*/ 58 h 436"/>
              <a:gd name="T90" fmla="*/ 376 w 483"/>
              <a:gd name="T91" fmla="*/ 52 h 436"/>
              <a:gd name="T92" fmla="*/ 397 w 483"/>
              <a:gd name="T93" fmla="*/ 32 h 436"/>
              <a:gd name="T94" fmla="*/ 397 w 483"/>
              <a:gd name="T95" fmla="*/ 4 h 436"/>
              <a:gd name="T96" fmla="*/ 378 w 483"/>
              <a:gd name="T97" fmla="*/ 0 h 436"/>
              <a:gd name="T98" fmla="*/ 373 w 483"/>
              <a:gd name="T99" fmla="*/ 13 h 436"/>
              <a:gd name="T100" fmla="*/ 360 w 483"/>
              <a:gd name="T101" fmla="*/ 24 h 436"/>
              <a:gd name="T102" fmla="*/ 346 w 483"/>
              <a:gd name="T103" fmla="*/ 31 h 436"/>
              <a:gd name="T104" fmla="*/ 313 w 483"/>
              <a:gd name="T105" fmla="*/ 22 h 436"/>
              <a:gd name="T106" fmla="*/ 284 w 483"/>
              <a:gd name="T107" fmla="*/ 13 h 436"/>
              <a:gd name="T108" fmla="*/ 250 w 483"/>
              <a:gd name="T109" fmla="*/ 31 h 436"/>
              <a:gd name="T110" fmla="*/ 215 w 483"/>
              <a:gd name="T111" fmla="*/ 37 h 436"/>
              <a:gd name="T112" fmla="*/ 189 w 483"/>
              <a:gd name="T113" fmla="*/ 41 h 436"/>
              <a:gd name="T114" fmla="*/ 170 w 483"/>
              <a:gd name="T115" fmla="*/ 53 h 436"/>
              <a:gd name="T116" fmla="*/ 143 w 483"/>
              <a:gd name="T117" fmla="*/ 55 h 436"/>
              <a:gd name="T118" fmla="*/ 116 w 483"/>
              <a:gd name="T119" fmla="*/ 65 h 436"/>
              <a:gd name="T120" fmla="*/ 90 w 483"/>
              <a:gd name="T121" fmla="*/ 65 h 4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3"/>
              <a:gd name="T184" fmla="*/ 0 h 436"/>
              <a:gd name="T185" fmla="*/ 483 w 483"/>
              <a:gd name="T186" fmla="*/ 436 h 4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3" h="436">
                <a:moveTo>
                  <a:pt x="97" y="107"/>
                </a:moveTo>
                <a:lnTo>
                  <a:pt x="88" y="116"/>
                </a:lnTo>
                <a:lnTo>
                  <a:pt x="77" y="152"/>
                </a:lnTo>
                <a:lnTo>
                  <a:pt x="61" y="189"/>
                </a:lnTo>
                <a:lnTo>
                  <a:pt x="56" y="193"/>
                </a:lnTo>
                <a:lnTo>
                  <a:pt x="50" y="204"/>
                </a:lnTo>
                <a:lnTo>
                  <a:pt x="40" y="216"/>
                </a:lnTo>
                <a:lnTo>
                  <a:pt x="27" y="225"/>
                </a:lnTo>
                <a:lnTo>
                  <a:pt x="15" y="230"/>
                </a:lnTo>
                <a:lnTo>
                  <a:pt x="0" y="230"/>
                </a:lnTo>
                <a:lnTo>
                  <a:pt x="20" y="271"/>
                </a:lnTo>
                <a:lnTo>
                  <a:pt x="34" y="291"/>
                </a:lnTo>
                <a:lnTo>
                  <a:pt x="50" y="291"/>
                </a:lnTo>
                <a:lnTo>
                  <a:pt x="63" y="291"/>
                </a:lnTo>
                <a:lnTo>
                  <a:pt x="68" y="302"/>
                </a:lnTo>
                <a:lnTo>
                  <a:pt x="54" y="312"/>
                </a:lnTo>
                <a:lnTo>
                  <a:pt x="54" y="325"/>
                </a:lnTo>
                <a:lnTo>
                  <a:pt x="63" y="346"/>
                </a:lnTo>
                <a:lnTo>
                  <a:pt x="77" y="362"/>
                </a:lnTo>
                <a:lnTo>
                  <a:pt x="86" y="371"/>
                </a:lnTo>
                <a:lnTo>
                  <a:pt x="90" y="357"/>
                </a:lnTo>
                <a:lnTo>
                  <a:pt x="102" y="357"/>
                </a:lnTo>
                <a:lnTo>
                  <a:pt x="115" y="368"/>
                </a:lnTo>
                <a:lnTo>
                  <a:pt x="120" y="357"/>
                </a:lnTo>
                <a:lnTo>
                  <a:pt x="143" y="359"/>
                </a:lnTo>
                <a:lnTo>
                  <a:pt x="179" y="364"/>
                </a:lnTo>
                <a:lnTo>
                  <a:pt x="202" y="373"/>
                </a:lnTo>
                <a:lnTo>
                  <a:pt x="213" y="382"/>
                </a:lnTo>
                <a:lnTo>
                  <a:pt x="225" y="398"/>
                </a:lnTo>
                <a:lnTo>
                  <a:pt x="231" y="407"/>
                </a:lnTo>
                <a:lnTo>
                  <a:pt x="243" y="398"/>
                </a:lnTo>
                <a:lnTo>
                  <a:pt x="256" y="396"/>
                </a:lnTo>
                <a:lnTo>
                  <a:pt x="277" y="412"/>
                </a:lnTo>
                <a:lnTo>
                  <a:pt x="302" y="435"/>
                </a:lnTo>
                <a:lnTo>
                  <a:pt x="309" y="430"/>
                </a:lnTo>
                <a:lnTo>
                  <a:pt x="311" y="412"/>
                </a:lnTo>
                <a:lnTo>
                  <a:pt x="311" y="394"/>
                </a:lnTo>
                <a:lnTo>
                  <a:pt x="309" y="378"/>
                </a:lnTo>
                <a:lnTo>
                  <a:pt x="297" y="357"/>
                </a:lnTo>
                <a:lnTo>
                  <a:pt x="291" y="362"/>
                </a:lnTo>
                <a:lnTo>
                  <a:pt x="270" y="355"/>
                </a:lnTo>
                <a:lnTo>
                  <a:pt x="241" y="332"/>
                </a:lnTo>
                <a:lnTo>
                  <a:pt x="231" y="323"/>
                </a:lnTo>
                <a:lnTo>
                  <a:pt x="211" y="321"/>
                </a:lnTo>
                <a:lnTo>
                  <a:pt x="200" y="314"/>
                </a:lnTo>
                <a:lnTo>
                  <a:pt x="200" y="307"/>
                </a:lnTo>
                <a:lnTo>
                  <a:pt x="213" y="293"/>
                </a:lnTo>
                <a:lnTo>
                  <a:pt x="218" y="289"/>
                </a:lnTo>
                <a:lnTo>
                  <a:pt x="209" y="280"/>
                </a:lnTo>
                <a:lnTo>
                  <a:pt x="204" y="266"/>
                </a:lnTo>
                <a:lnTo>
                  <a:pt x="209" y="259"/>
                </a:lnTo>
                <a:lnTo>
                  <a:pt x="227" y="275"/>
                </a:lnTo>
                <a:lnTo>
                  <a:pt x="241" y="282"/>
                </a:lnTo>
                <a:lnTo>
                  <a:pt x="241" y="268"/>
                </a:lnTo>
                <a:lnTo>
                  <a:pt x="231" y="250"/>
                </a:lnTo>
                <a:lnTo>
                  <a:pt x="213" y="227"/>
                </a:lnTo>
                <a:lnTo>
                  <a:pt x="193" y="195"/>
                </a:lnTo>
                <a:lnTo>
                  <a:pt x="190" y="179"/>
                </a:lnTo>
                <a:lnTo>
                  <a:pt x="188" y="166"/>
                </a:lnTo>
                <a:lnTo>
                  <a:pt x="186" y="150"/>
                </a:lnTo>
                <a:lnTo>
                  <a:pt x="184" y="136"/>
                </a:lnTo>
                <a:lnTo>
                  <a:pt x="197" y="132"/>
                </a:lnTo>
                <a:lnTo>
                  <a:pt x="195" y="141"/>
                </a:lnTo>
                <a:lnTo>
                  <a:pt x="206" y="157"/>
                </a:lnTo>
                <a:lnTo>
                  <a:pt x="215" y="157"/>
                </a:lnTo>
                <a:lnTo>
                  <a:pt x="213" y="166"/>
                </a:lnTo>
                <a:lnTo>
                  <a:pt x="254" y="204"/>
                </a:lnTo>
                <a:lnTo>
                  <a:pt x="254" y="198"/>
                </a:lnTo>
                <a:lnTo>
                  <a:pt x="247" y="179"/>
                </a:lnTo>
                <a:lnTo>
                  <a:pt x="259" y="175"/>
                </a:lnTo>
                <a:lnTo>
                  <a:pt x="277" y="184"/>
                </a:lnTo>
                <a:lnTo>
                  <a:pt x="288" y="198"/>
                </a:lnTo>
                <a:lnTo>
                  <a:pt x="291" y="189"/>
                </a:lnTo>
                <a:lnTo>
                  <a:pt x="275" y="170"/>
                </a:lnTo>
                <a:lnTo>
                  <a:pt x="277" y="163"/>
                </a:lnTo>
                <a:lnTo>
                  <a:pt x="288" y="159"/>
                </a:lnTo>
                <a:lnTo>
                  <a:pt x="316" y="170"/>
                </a:lnTo>
                <a:lnTo>
                  <a:pt x="322" y="166"/>
                </a:lnTo>
                <a:lnTo>
                  <a:pt x="320" y="154"/>
                </a:lnTo>
                <a:lnTo>
                  <a:pt x="306" y="145"/>
                </a:lnTo>
                <a:lnTo>
                  <a:pt x="288" y="136"/>
                </a:lnTo>
                <a:lnTo>
                  <a:pt x="275" y="127"/>
                </a:lnTo>
                <a:lnTo>
                  <a:pt x="272" y="120"/>
                </a:lnTo>
                <a:lnTo>
                  <a:pt x="277" y="111"/>
                </a:lnTo>
                <a:lnTo>
                  <a:pt x="304" y="107"/>
                </a:lnTo>
                <a:lnTo>
                  <a:pt x="334" y="97"/>
                </a:lnTo>
                <a:lnTo>
                  <a:pt x="354" y="100"/>
                </a:lnTo>
                <a:lnTo>
                  <a:pt x="391" y="93"/>
                </a:lnTo>
                <a:lnTo>
                  <a:pt x="397" y="88"/>
                </a:lnTo>
                <a:lnTo>
                  <a:pt x="422" y="97"/>
                </a:lnTo>
                <a:lnTo>
                  <a:pt x="443" y="109"/>
                </a:lnTo>
                <a:lnTo>
                  <a:pt x="454" y="86"/>
                </a:lnTo>
                <a:lnTo>
                  <a:pt x="472" y="61"/>
                </a:lnTo>
                <a:lnTo>
                  <a:pt x="479" y="54"/>
                </a:lnTo>
                <a:lnTo>
                  <a:pt x="482" y="11"/>
                </a:lnTo>
                <a:lnTo>
                  <a:pt x="479" y="6"/>
                </a:lnTo>
                <a:lnTo>
                  <a:pt x="468" y="0"/>
                </a:lnTo>
                <a:lnTo>
                  <a:pt x="456" y="0"/>
                </a:lnTo>
                <a:lnTo>
                  <a:pt x="450" y="6"/>
                </a:lnTo>
                <a:lnTo>
                  <a:pt x="450" y="22"/>
                </a:lnTo>
                <a:lnTo>
                  <a:pt x="452" y="36"/>
                </a:lnTo>
                <a:lnTo>
                  <a:pt x="434" y="40"/>
                </a:lnTo>
                <a:lnTo>
                  <a:pt x="422" y="50"/>
                </a:lnTo>
                <a:lnTo>
                  <a:pt x="416" y="52"/>
                </a:lnTo>
                <a:lnTo>
                  <a:pt x="388" y="45"/>
                </a:lnTo>
                <a:lnTo>
                  <a:pt x="377" y="38"/>
                </a:lnTo>
                <a:lnTo>
                  <a:pt x="363" y="47"/>
                </a:lnTo>
                <a:lnTo>
                  <a:pt x="343" y="22"/>
                </a:lnTo>
                <a:lnTo>
                  <a:pt x="320" y="40"/>
                </a:lnTo>
                <a:lnTo>
                  <a:pt x="302" y="52"/>
                </a:lnTo>
                <a:lnTo>
                  <a:pt x="286" y="59"/>
                </a:lnTo>
                <a:lnTo>
                  <a:pt x="259" y="63"/>
                </a:lnTo>
                <a:lnTo>
                  <a:pt x="241" y="68"/>
                </a:lnTo>
                <a:lnTo>
                  <a:pt x="227" y="68"/>
                </a:lnTo>
                <a:lnTo>
                  <a:pt x="220" y="70"/>
                </a:lnTo>
                <a:lnTo>
                  <a:pt x="204" y="88"/>
                </a:lnTo>
                <a:lnTo>
                  <a:pt x="193" y="88"/>
                </a:lnTo>
                <a:lnTo>
                  <a:pt x="172" y="93"/>
                </a:lnTo>
                <a:lnTo>
                  <a:pt x="152" y="91"/>
                </a:lnTo>
                <a:lnTo>
                  <a:pt x="140" y="109"/>
                </a:lnTo>
                <a:lnTo>
                  <a:pt x="125" y="111"/>
                </a:lnTo>
                <a:lnTo>
                  <a:pt x="109" y="109"/>
                </a:lnTo>
                <a:lnTo>
                  <a:pt x="97" y="107"/>
                </a:lnTo>
              </a:path>
            </a:pathLst>
          </a:custGeom>
          <a:solidFill>
            <a:schemeClr val="accent3"/>
          </a:solidFill>
          <a:ln w="12700" cap="rnd">
            <a:solidFill>
              <a:schemeClr val="bg1"/>
            </a:solidFill>
            <a:round/>
            <a:headEnd/>
            <a:tailEnd/>
          </a:ln>
        </p:spPr>
        <p:txBody>
          <a:bodyPr/>
          <a:lstStyle/>
          <a:p>
            <a:pPr>
              <a:defRPr/>
            </a:pPr>
            <a:endParaRPr lang="en-GB"/>
          </a:p>
        </p:txBody>
      </p:sp>
      <p:sp>
        <p:nvSpPr>
          <p:cNvPr id="39" name="Freeform 44"/>
          <p:cNvSpPr>
            <a:spLocks/>
          </p:cNvSpPr>
          <p:nvPr/>
        </p:nvSpPr>
        <p:spPr bwMode="auto">
          <a:xfrm>
            <a:off x="5604203" y="5417799"/>
            <a:ext cx="137351" cy="114255"/>
          </a:xfrm>
          <a:custGeom>
            <a:avLst/>
            <a:gdLst>
              <a:gd name="T0" fmla="*/ 9 w 118"/>
              <a:gd name="T1" fmla="*/ 0 h 98"/>
              <a:gd name="T2" fmla="*/ 0 w 118"/>
              <a:gd name="T3" fmla="*/ 4 h 98"/>
              <a:gd name="T4" fmla="*/ 9 w 118"/>
              <a:gd name="T5" fmla="*/ 17 h 98"/>
              <a:gd name="T6" fmla="*/ 23 w 118"/>
              <a:gd name="T7" fmla="*/ 19 h 98"/>
              <a:gd name="T8" fmla="*/ 34 w 118"/>
              <a:gd name="T9" fmla="*/ 30 h 98"/>
              <a:gd name="T10" fmla="*/ 45 w 118"/>
              <a:gd name="T11" fmla="*/ 34 h 98"/>
              <a:gd name="T12" fmla="*/ 65 w 118"/>
              <a:gd name="T13" fmla="*/ 46 h 98"/>
              <a:gd name="T14" fmla="*/ 76 w 118"/>
              <a:gd name="T15" fmla="*/ 49 h 98"/>
              <a:gd name="T16" fmla="*/ 91 w 118"/>
              <a:gd name="T17" fmla="*/ 58 h 98"/>
              <a:gd name="T18" fmla="*/ 95 w 118"/>
              <a:gd name="T19" fmla="*/ 54 h 98"/>
              <a:gd name="T20" fmla="*/ 65 w 118"/>
              <a:gd name="T21" fmla="*/ 36 h 98"/>
              <a:gd name="T22" fmla="*/ 63 w 118"/>
              <a:gd name="T23" fmla="*/ 29 h 98"/>
              <a:gd name="T24" fmla="*/ 60 w 118"/>
              <a:gd name="T25" fmla="*/ 22 h 98"/>
              <a:gd name="T26" fmla="*/ 47 w 118"/>
              <a:gd name="T27" fmla="*/ 13 h 98"/>
              <a:gd name="T28" fmla="*/ 44 w 118"/>
              <a:gd name="T29" fmla="*/ 14 h 98"/>
              <a:gd name="T30" fmla="*/ 27 w 118"/>
              <a:gd name="T31" fmla="*/ 5 h 98"/>
              <a:gd name="T32" fmla="*/ 20 w 118"/>
              <a:gd name="T33" fmla="*/ 4 h 98"/>
              <a:gd name="T34" fmla="*/ 9 w 118"/>
              <a:gd name="T35" fmla="*/ 0 h 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8"/>
              <a:gd name="T55" fmla="*/ 0 h 98"/>
              <a:gd name="T56" fmla="*/ 118 w 118"/>
              <a:gd name="T57" fmla="*/ 98 h 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8" h="98">
                <a:moveTo>
                  <a:pt x="9" y="0"/>
                </a:moveTo>
                <a:lnTo>
                  <a:pt x="0" y="6"/>
                </a:lnTo>
                <a:lnTo>
                  <a:pt x="11" y="29"/>
                </a:lnTo>
                <a:lnTo>
                  <a:pt x="27" y="33"/>
                </a:lnTo>
                <a:lnTo>
                  <a:pt x="42" y="51"/>
                </a:lnTo>
                <a:lnTo>
                  <a:pt x="56" y="58"/>
                </a:lnTo>
                <a:lnTo>
                  <a:pt x="81" y="76"/>
                </a:lnTo>
                <a:lnTo>
                  <a:pt x="94" y="83"/>
                </a:lnTo>
                <a:lnTo>
                  <a:pt x="112" y="97"/>
                </a:lnTo>
                <a:lnTo>
                  <a:pt x="117" y="90"/>
                </a:lnTo>
                <a:lnTo>
                  <a:pt x="81" y="60"/>
                </a:lnTo>
                <a:lnTo>
                  <a:pt x="78" y="49"/>
                </a:lnTo>
                <a:lnTo>
                  <a:pt x="74" y="36"/>
                </a:lnTo>
                <a:lnTo>
                  <a:pt x="58" y="22"/>
                </a:lnTo>
                <a:lnTo>
                  <a:pt x="54" y="24"/>
                </a:lnTo>
                <a:lnTo>
                  <a:pt x="33" y="9"/>
                </a:lnTo>
                <a:lnTo>
                  <a:pt x="24" y="4"/>
                </a:lnTo>
                <a:lnTo>
                  <a:pt x="9" y="0"/>
                </a:lnTo>
              </a:path>
            </a:pathLst>
          </a:custGeom>
          <a:solidFill>
            <a:schemeClr val="accent3"/>
          </a:solidFill>
          <a:ln w="12700" cap="rnd">
            <a:solidFill>
              <a:schemeClr val="bg1"/>
            </a:solidFill>
            <a:round/>
            <a:headEnd/>
            <a:tailEnd/>
          </a:ln>
        </p:spPr>
        <p:txBody>
          <a:bodyPr/>
          <a:lstStyle/>
          <a:p>
            <a:pPr>
              <a:defRPr/>
            </a:pPr>
            <a:endParaRPr lang="en-GB"/>
          </a:p>
        </p:txBody>
      </p:sp>
      <p:sp>
        <p:nvSpPr>
          <p:cNvPr id="40" name="Freeform 45"/>
          <p:cNvSpPr>
            <a:spLocks/>
          </p:cNvSpPr>
          <p:nvPr/>
        </p:nvSpPr>
        <p:spPr bwMode="auto">
          <a:xfrm>
            <a:off x="5756271" y="5800421"/>
            <a:ext cx="263665" cy="71742"/>
          </a:xfrm>
          <a:custGeom>
            <a:avLst/>
            <a:gdLst>
              <a:gd name="T0" fmla="*/ 39 w 226"/>
              <a:gd name="T1" fmla="*/ 8 h 62"/>
              <a:gd name="T2" fmla="*/ 51 w 226"/>
              <a:gd name="T3" fmla="*/ 3 h 62"/>
              <a:gd name="T4" fmla="*/ 59 w 226"/>
              <a:gd name="T5" fmla="*/ 8 h 62"/>
              <a:gd name="T6" fmla="*/ 63 w 226"/>
              <a:gd name="T7" fmla="*/ 9 h 62"/>
              <a:gd name="T8" fmla="*/ 74 w 226"/>
              <a:gd name="T9" fmla="*/ 5 h 62"/>
              <a:gd name="T10" fmla="*/ 80 w 226"/>
              <a:gd name="T11" fmla="*/ 3 h 62"/>
              <a:gd name="T12" fmla="*/ 109 w 226"/>
              <a:gd name="T13" fmla="*/ 5 h 62"/>
              <a:gd name="T14" fmla="*/ 138 w 226"/>
              <a:gd name="T15" fmla="*/ 3 h 62"/>
              <a:gd name="T16" fmla="*/ 147 w 226"/>
              <a:gd name="T17" fmla="*/ 10 h 62"/>
              <a:gd name="T18" fmla="*/ 147 w 226"/>
              <a:gd name="T19" fmla="*/ 13 h 62"/>
              <a:gd name="T20" fmla="*/ 167 w 226"/>
              <a:gd name="T21" fmla="*/ 11 h 62"/>
              <a:gd name="T22" fmla="*/ 178 w 226"/>
              <a:gd name="T23" fmla="*/ 13 h 62"/>
              <a:gd name="T24" fmla="*/ 185 w 226"/>
              <a:gd name="T25" fmla="*/ 17 h 62"/>
              <a:gd name="T26" fmla="*/ 178 w 226"/>
              <a:gd name="T27" fmla="*/ 22 h 62"/>
              <a:gd name="T28" fmla="*/ 160 w 226"/>
              <a:gd name="T29" fmla="*/ 22 h 62"/>
              <a:gd name="T30" fmla="*/ 148 w 226"/>
              <a:gd name="T31" fmla="*/ 26 h 62"/>
              <a:gd name="T32" fmla="*/ 127 w 226"/>
              <a:gd name="T33" fmla="*/ 26 h 62"/>
              <a:gd name="T34" fmla="*/ 108 w 226"/>
              <a:gd name="T35" fmla="*/ 32 h 62"/>
              <a:gd name="T36" fmla="*/ 91 w 226"/>
              <a:gd name="T37" fmla="*/ 35 h 62"/>
              <a:gd name="T38" fmla="*/ 76 w 226"/>
              <a:gd name="T39" fmla="*/ 28 h 62"/>
              <a:gd name="T40" fmla="*/ 59 w 226"/>
              <a:gd name="T41" fmla="*/ 22 h 62"/>
              <a:gd name="T42" fmla="*/ 42 w 226"/>
              <a:gd name="T43" fmla="*/ 22 h 62"/>
              <a:gd name="T44" fmla="*/ 16 w 226"/>
              <a:gd name="T45" fmla="*/ 18 h 62"/>
              <a:gd name="T46" fmla="*/ 9 w 226"/>
              <a:gd name="T47" fmla="*/ 13 h 62"/>
              <a:gd name="T48" fmla="*/ 0 w 226"/>
              <a:gd name="T49" fmla="*/ 3 h 62"/>
              <a:gd name="T50" fmla="*/ 4 w 226"/>
              <a:gd name="T51" fmla="*/ 0 h 62"/>
              <a:gd name="T52" fmla="*/ 25 w 226"/>
              <a:gd name="T53" fmla="*/ 3 h 62"/>
              <a:gd name="T54" fmla="*/ 39 w 226"/>
              <a:gd name="T55" fmla="*/ 8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6"/>
              <a:gd name="T85" fmla="*/ 0 h 62"/>
              <a:gd name="T86" fmla="*/ 226 w 2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6" h="62">
                <a:moveTo>
                  <a:pt x="47" y="13"/>
                </a:moveTo>
                <a:lnTo>
                  <a:pt x="63" y="4"/>
                </a:lnTo>
                <a:lnTo>
                  <a:pt x="72" y="13"/>
                </a:lnTo>
                <a:lnTo>
                  <a:pt x="77" y="15"/>
                </a:lnTo>
                <a:lnTo>
                  <a:pt x="90" y="9"/>
                </a:lnTo>
                <a:lnTo>
                  <a:pt x="97" y="4"/>
                </a:lnTo>
                <a:lnTo>
                  <a:pt x="134" y="9"/>
                </a:lnTo>
                <a:lnTo>
                  <a:pt x="168" y="6"/>
                </a:lnTo>
                <a:lnTo>
                  <a:pt x="179" y="18"/>
                </a:lnTo>
                <a:lnTo>
                  <a:pt x="179" y="22"/>
                </a:lnTo>
                <a:lnTo>
                  <a:pt x="204" y="20"/>
                </a:lnTo>
                <a:lnTo>
                  <a:pt x="218" y="22"/>
                </a:lnTo>
                <a:lnTo>
                  <a:pt x="225" y="29"/>
                </a:lnTo>
                <a:lnTo>
                  <a:pt x="218" y="38"/>
                </a:lnTo>
                <a:lnTo>
                  <a:pt x="195" y="38"/>
                </a:lnTo>
                <a:lnTo>
                  <a:pt x="181" y="45"/>
                </a:lnTo>
                <a:lnTo>
                  <a:pt x="156" y="45"/>
                </a:lnTo>
                <a:lnTo>
                  <a:pt x="131" y="56"/>
                </a:lnTo>
                <a:lnTo>
                  <a:pt x="111" y="61"/>
                </a:lnTo>
                <a:lnTo>
                  <a:pt x="93" y="49"/>
                </a:lnTo>
                <a:lnTo>
                  <a:pt x="72" y="38"/>
                </a:lnTo>
                <a:lnTo>
                  <a:pt x="50" y="38"/>
                </a:lnTo>
                <a:lnTo>
                  <a:pt x="20" y="31"/>
                </a:lnTo>
                <a:lnTo>
                  <a:pt x="9" y="22"/>
                </a:lnTo>
                <a:lnTo>
                  <a:pt x="0" y="6"/>
                </a:lnTo>
                <a:lnTo>
                  <a:pt x="4" y="0"/>
                </a:lnTo>
                <a:lnTo>
                  <a:pt x="29" y="4"/>
                </a:lnTo>
                <a:lnTo>
                  <a:pt x="47" y="13"/>
                </a:lnTo>
              </a:path>
            </a:pathLst>
          </a:custGeom>
          <a:solidFill>
            <a:schemeClr val="accent3"/>
          </a:solidFill>
          <a:ln w="12700" cap="rnd">
            <a:solidFill>
              <a:schemeClr val="bg1"/>
            </a:solidFill>
            <a:round/>
            <a:headEnd/>
            <a:tailEnd/>
          </a:ln>
        </p:spPr>
        <p:txBody>
          <a:bodyPr/>
          <a:lstStyle/>
          <a:p>
            <a:pPr>
              <a:defRPr/>
            </a:pPr>
            <a:endParaRPr lang="en-GB"/>
          </a:p>
        </p:txBody>
      </p:sp>
      <p:sp>
        <p:nvSpPr>
          <p:cNvPr id="41" name="Freeform 46"/>
          <p:cNvSpPr>
            <a:spLocks/>
          </p:cNvSpPr>
          <p:nvPr/>
        </p:nvSpPr>
        <p:spPr bwMode="auto">
          <a:xfrm>
            <a:off x="5755044" y="5282287"/>
            <a:ext cx="44149" cy="42514"/>
          </a:xfrm>
          <a:custGeom>
            <a:avLst/>
            <a:gdLst>
              <a:gd name="T0" fmla="*/ 29 w 38"/>
              <a:gd name="T1" fmla="*/ 0 h 37"/>
              <a:gd name="T2" fmla="*/ 10 w 38"/>
              <a:gd name="T3" fmla="*/ 0 h 37"/>
              <a:gd name="T4" fmla="*/ 2 w 38"/>
              <a:gd name="T5" fmla="*/ 3 h 37"/>
              <a:gd name="T6" fmla="*/ 0 w 38"/>
              <a:gd name="T7" fmla="*/ 11 h 37"/>
              <a:gd name="T8" fmla="*/ 0 w 38"/>
              <a:gd name="T9" fmla="*/ 19 h 37"/>
              <a:gd name="T10" fmla="*/ 9 w 38"/>
              <a:gd name="T11" fmla="*/ 20 h 37"/>
              <a:gd name="T12" fmla="*/ 26 w 38"/>
              <a:gd name="T13" fmla="*/ 13 h 37"/>
              <a:gd name="T14" fmla="*/ 29 w 38"/>
              <a:gd name="T15" fmla="*/ 0 h 37"/>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37"/>
              <a:gd name="T26" fmla="*/ 38 w 38"/>
              <a:gd name="T27" fmla="*/ 37 h 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37">
                <a:moveTo>
                  <a:pt x="37" y="0"/>
                </a:moveTo>
                <a:lnTo>
                  <a:pt x="14" y="0"/>
                </a:lnTo>
                <a:lnTo>
                  <a:pt x="2" y="7"/>
                </a:lnTo>
                <a:lnTo>
                  <a:pt x="0" y="20"/>
                </a:lnTo>
                <a:lnTo>
                  <a:pt x="0" y="33"/>
                </a:lnTo>
                <a:lnTo>
                  <a:pt x="12" y="36"/>
                </a:lnTo>
                <a:lnTo>
                  <a:pt x="32" y="23"/>
                </a:lnTo>
                <a:lnTo>
                  <a:pt x="37" y="0"/>
                </a:lnTo>
              </a:path>
            </a:pathLst>
          </a:custGeom>
          <a:solidFill>
            <a:schemeClr val="accent3"/>
          </a:solidFill>
          <a:ln w="12700" cap="rnd">
            <a:solidFill>
              <a:schemeClr val="bg1"/>
            </a:solidFill>
            <a:round/>
            <a:headEnd/>
            <a:tailEnd/>
          </a:ln>
        </p:spPr>
        <p:txBody>
          <a:bodyPr/>
          <a:lstStyle/>
          <a:p>
            <a:pPr>
              <a:defRPr/>
            </a:pPr>
            <a:endParaRPr lang="en-GB"/>
          </a:p>
        </p:txBody>
      </p:sp>
      <p:sp>
        <p:nvSpPr>
          <p:cNvPr id="42" name="Freeform 47"/>
          <p:cNvSpPr>
            <a:spLocks/>
          </p:cNvSpPr>
          <p:nvPr/>
        </p:nvSpPr>
        <p:spPr bwMode="auto">
          <a:xfrm>
            <a:off x="6032200" y="5690152"/>
            <a:ext cx="57638" cy="50485"/>
          </a:xfrm>
          <a:custGeom>
            <a:avLst/>
            <a:gdLst>
              <a:gd name="T0" fmla="*/ 38 w 50"/>
              <a:gd name="T1" fmla="*/ 0 h 43"/>
              <a:gd name="T2" fmla="*/ 38 w 50"/>
              <a:gd name="T3" fmla="*/ 9 h 43"/>
              <a:gd name="T4" fmla="*/ 14 w 50"/>
              <a:gd name="T5" fmla="*/ 21 h 43"/>
              <a:gd name="T6" fmla="*/ 4 w 50"/>
              <a:gd name="T7" fmla="*/ 26 h 43"/>
              <a:gd name="T8" fmla="*/ 0 w 50"/>
              <a:gd name="T9" fmla="*/ 24 h 43"/>
              <a:gd name="T10" fmla="*/ 4 w 50"/>
              <a:gd name="T11" fmla="*/ 14 h 43"/>
              <a:gd name="T12" fmla="*/ 21 w 50"/>
              <a:gd name="T13" fmla="*/ 4 h 43"/>
              <a:gd name="T14" fmla="*/ 38 w 50"/>
              <a:gd name="T15" fmla="*/ 0 h 43"/>
              <a:gd name="T16" fmla="*/ 0 60000 65536"/>
              <a:gd name="T17" fmla="*/ 0 60000 65536"/>
              <a:gd name="T18" fmla="*/ 0 60000 65536"/>
              <a:gd name="T19" fmla="*/ 0 60000 65536"/>
              <a:gd name="T20" fmla="*/ 0 60000 65536"/>
              <a:gd name="T21" fmla="*/ 0 60000 65536"/>
              <a:gd name="T22" fmla="*/ 0 60000 65536"/>
              <a:gd name="T23" fmla="*/ 0 60000 65536"/>
              <a:gd name="T24" fmla="*/ 0 w 50"/>
              <a:gd name="T25" fmla="*/ 0 h 43"/>
              <a:gd name="T26" fmla="*/ 50 w 50"/>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 h="43">
                <a:moveTo>
                  <a:pt x="49" y="0"/>
                </a:moveTo>
                <a:lnTo>
                  <a:pt x="49" y="14"/>
                </a:lnTo>
                <a:lnTo>
                  <a:pt x="18" y="35"/>
                </a:lnTo>
                <a:lnTo>
                  <a:pt x="4" y="42"/>
                </a:lnTo>
                <a:lnTo>
                  <a:pt x="0" y="39"/>
                </a:lnTo>
                <a:lnTo>
                  <a:pt x="4" y="23"/>
                </a:lnTo>
                <a:lnTo>
                  <a:pt x="25" y="7"/>
                </a:lnTo>
                <a:lnTo>
                  <a:pt x="49" y="0"/>
                </a:lnTo>
              </a:path>
            </a:pathLst>
          </a:custGeom>
          <a:solidFill>
            <a:schemeClr val="accent3"/>
          </a:solidFill>
          <a:ln w="12700" cap="rnd">
            <a:solidFill>
              <a:schemeClr val="bg1"/>
            </a:solidFill>
            <a:round/>
            <a:headEnd/>
            <a:tailEnd/>
          </a:ln>
        </p:spPr>
        <p:txBody>
          <a:bodyPr/>
          <a:lstStyle/>
          <a:p>
            <a:pPr>
              <a:defRPr/>
            </a:pPr>
            <a:endParaRPr lang="en-GB"/>
          </a:p>
        </p:txBody>
      </p:sp>
      <p:sp>
        <p:nvSpPr>
          <p:cNvPr id="43" name="Freeform 48"/>
          <p:cNvSpPr>
            <a:spLocks/>
          </p:cNvSpPr>
          <p:nvPr/>
        </p:nvSpPr>
        <p:spPr bwMode="auto">
          <a:xfrm>
            <a:off x="5833531" y="5347386"/>
            <a:ext cx="67449" cy="47828"/>
          </a:xfrm>
          <a:custGeom>
            <a:avLst/>
            <a:gdLst>
              <a:gd name="T0" fmla="*/ 25 w 58"/>
              <a:gd name="T1" fmla="*/ 0 h 41"/>
              <a:gd name="T2" fmla="*/ 46 w 58"/>
              <a:gd name="T3" fmla="*/ 17 h 41"/>
              <a:gd name="T4" fmla="*/ 42 w 58"/>
              <a:gd name="T5" fmla="*/ 21 h 41"/>
              <a:gd name="T6" fmla="*/ 29 w 58"/>
              <a:gd name="T7" fmla="*/ 24 h 41"/>
              <a:gd name="T8" fmla="*/ 28 w 58"/>
              <a:gd name="T9" fmla="*/ 18 h 41"/>
              <a:gd name="T10" fmla="*/ 25 w 58"/>
              <a:gd name="T11" fmla="*/ 16 h 41"/>
              <a:gd name="T12" fmla="*/ 17 w 58"/>
              <a:gd name="T13" fmla="*/ 18 h 41"/>
              <a:gd name="T14" fmla="*/ 9 w 58"/>
              <a:gd name="T15" fmla="*/ 14 h 41"/>
              <a:gd name="T16" fmla="*/ 6 w 58"/>
              <a:gd name="T17" fmla="*/ 10 h 41"/>
              <a:gd name="T18" fmla="*/ 9 w 58"/>
              <a:gd name="T19" fmla="*/ 8 h 41"/>
              <a:gd name="T20" fmla="*/ 2 w 58"/>
              <a:gd name="T21" fmla="*/ 12 h 41"/>
              <a:gd name="T22" fmla="*/ 0 w 58"/>
              <a:gd name="T23" fmla="*/ 8 h 41"/>
              <a:gd name="T24" fmla="*/ 11 w 58"/>
              <a:gd name="T25" fmla="*/ 4 h 41"/>
              <a:gd name="T26" fmla="*/ 25 w 58"/>
              <a:gd name="T27" fmla="*/ 0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8"/>
              <a:gd name="T43" fmla="*/ 0 h 41"/>
              <a:gd name="T44" fmla="*/ 58 w 58"/>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8" h="41">
                <a:moveTo>
                  <a:pt x="30" y="0"/>
                </a:moveTo>
                <a:lnTo>
                  <a:pt x="57" y="28"/>
                </a:lnTo>
                <a:lnTo>
                  <a:pt x="52" y="35"/>
                </a:lnTo>
                <a:lnTo>
                  <a:pt x="37" y="40"/>
                </a:lnTo>
                <a:lnTo>
                  <a:pt x="35" y="31"/>
                </a:lnTo>
                <a:lnTo>
                  <a:pt x="30" y="26"/>
                </a:lnTo>
                <a:lnTo>
                  <a:pt x="21" y="31"/>
                </a:lnTo>
                <a:lnTo>
                  <a:pt x="10" y="24"/>
                </a:lnTo>
                <a:lnTo>
                  <a:pt x="6" y="17"/>
                </a:lnTo>
                <a:lnTo>
                  <a:pt x="13" y="13"/>
                </a:lnTo>
                <a:lnTo>
                  <a:pt x="2" y="20"/>
                </a:lnTo>
                <a:lnTo>
                  <a:pt x="0" y="13"/>
                </a:lnTo>
                <a:lnTo>
                  <a:pt x="15" y="6"/>
                </a:lnTo>
                <a:lnTo>
                  <a:pt x="30" y="0"/>
                </a:lnTo>
              </a:path>
            </a:pathLst>
          </a:custGeom>
          <a:solidFill>
            <a:schemeClr val="accent3"/>
          </a:solidFill>
          <a:ln w="12700" cap="rnd">
            <a:solidFill>
              <a:schemeClr val="bg1"/>
            </a:solidFill>
            <a:round/>
            <a:headEnd/>
            <a:tailEnd/>
          </a:ln>
        </p:spPr>
        <p:txBody>
          <a:bodyPr/>
          <a:lstStyle/>
          <a:p>
            <a:pPr>
              <a:defRPr/>
            </a:pPr>
            <a:endParaRPr lang="en-GB"/>
          </a:p>
        </p:txBody>
      </p:sp>
      <p:sp>
        <p:nvSpPr>
          <p:cNvPr id="44" name="Freeform 49"/>
          <p:cNvSpPr>
            <a:spLocks/>
          </p:cNvSpPr>
          <p:nvPr/>
        </p:nvSpPr>
        <p:spPr bwMode="auto">
          <a:xfrm>
            <a:off x="4322667" y="4898336"/>
            <a:ext cx="88297" cy="159426"/>
          </a:xfrm>
          <a:custGeom>
            <a:avLst/>
            <a:gdLst>
              <a:gd name="T0" fmla="*/ 58 w 77"/>
              <a:gd name="T1" fmla="*/ 0 h 137"/>
              <a:gd name="T2" fmla="*/ 39 w 77"/>
              <a:gd name="T3" fmla="*/ 17 h 137"/>
              <a:gd name="T4" fmla="*/ 18 w 77"/>
              <a:gd name="T5" fmla="*/ 17 h 137"/>
              <a:gd name="T6" fmla="*/ 0 w 77"/>
              <a:gd name="T7" fmla="*/ 26 h 137"/>
              <a:gd name="T8" fmla="*/ 4 w 77"/>
              <a:gd name="T9" fmla="*/ 40 h 137"/>
              <a:gd name="T10" fmla="*/ 4 w 77"/>
              <a:gd name="T11" fmla="*/ 64 h 137"/>
              <a:gd name="T12" fmla="*/ 18 w 77"/>
              <a:gd name="T13" fmla="*/ 80 h 137"/>
              <a:gd name="T14" fmla="*/ 32 w 77"/>
              <a:gd name="T15" fmla="*/ 76 h 137"/>
              <a:gd name="T16" fmla="*/ 35 w 77"/>
              <a:gd name="T17" fmla="*/ 67 h 137"/>
              <a:gd name="T18" fmla="*/ 51 w 77"/>
              <a:gd name="T19" fmla="*/ 44 h 137"/>
              <a:gd name="T20" fmla="*/ 51 w 77"/>
              <a:gd name="T21" fmla="*/ 31 h 137"/>
              <a:gd name="T22" fmla="*/ 58 w 77"/>
              <a:gd name="T23" fmla="*/ 0 h 1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7"/>
              <a:gd name="T37" fmla="*/ 0 h 137"/>
              <a:gd name="T38" fmla="*/ 77 w 77"/>
              <a:gd name="T39" fmla="*/ 137 h 1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7" h="137">
                <a:moveTo>
                  <a:pt x="76" y="0"/>
                </a:moveTo>
                <a:lnTo>
                  <a:pt x="51" y="29"/>
                </a:lnTo>
                <a:lnTo>
                  <a:pt x="22" y="29"/>
                </a:lnTo>
                <a:lnTo>
                  <a:pt x="0" y="45"/>
                </a:lnTo>
                <a:lnTo>
                  <a:pt x="4" y="70"/>
                </a:lnTo>
                <a:lnTo>
                  <a:pt x="4" y="108"/>
                </a:lnTo>
                <a:lnTo>
                  <a:pt x="22" y="136"/>
                </a:lnTo>
                <a:lnTo>
                  <a:pt x="42" y="129"/>
                </a:lnTo>
                <a:lnTo>
                  <a:pt x="46" y="113"/>
                </a:lnTo>
                <a:lnTo>
                  <a:pt x="67" y="74"/>
                </a:lnTo>
                <a:lnTo>
                  <a:pt x="67" y="52"/>
                </a:lnTo>
                <a:lnTo>
                  <a:pt x="76" y="0"/>
                </a:lnTo>
              </a:path>
            </a:pathLst>
          </a:custGeom>
          <a:solidFill>
            <a:schemeClr val="accent3"/>
          </a:solidFill>
          <a:ln w="12700" cap="rnd">
            <a:solidFill>
              <a:schemeClr val="bg1"/>
            </a:solidFill>
            <a:round/>
            <a:headEnd/>
            <a:tailEnd/>
          </a:ln>
        </p:spPr>
        <p:txBody>
          <a:bodyPr/>
          <a:lstStyle/>
          <a:p>
            <a:pPr>
              <a:defRPr/>
            </a:pPr>
            <a:endParaRPr lang="en-GB"/>
          </a:p>
        </p:txBody>
      </p:sp>
      <p:sp>
        <p:nvSpPr>
          <p:cNvPr id="45" name="Freeform 50"/>
          <p:cNvSpPr>
            <a:spLocks/>
          </p:cNvSpPr>
          <p:nvPr/>
        </p:nvSpPr>
        <p:spPr bwMode="auto">
          <a:xfrm>
            <a:off x="3415168" y="3872696"/>
            <a:ext cx="995796" cy="976484"/>
          </a:xfrm>
          <a:custGeom>
            <a:avLst/>
            <a:gdLst>
              <a:gd name="T0" fmla="*/ 10 w 853"/>
              <a:gd name="T1" fmla="*/ 96 h 837"/>
              <a:gd name="T2" fmla="*/ 10 w 853"/>
              <a:gd name="T3" fmla="*/ 116 h 837"/>
              <a:gd name="T4" fmla="*/ 66 w 853"/>
              <a:gd name="T5" fmla="*/ 148 h 837"/>
              <a:gd name="T6" fmla="*/ 111 w 853"/>
              <a:gd name="T7" fmla="*/ 166 h 837"/>
              <a:gd name="T8" fmla="*/ 108 w 853"/>
              <a:gd name="T9" fmla="*/ 193 h 837"/>
              <a:gd name="T10" fmla="*/ 131 w 853"/>
              <a:gd name="T11" fmla="*/ 231 h 837"/>
              <a:gd name="T12" fmla="*/ 145 w 853"/>
              <a:gd name="T13" fmla="*/ 286 h 837"/>
              <a:gd name="T14" fmla="*/ 121 w 853"/>
              <a:gd name="T15" fmla="*/ 286 h 837"/>
              <a:gd name="T16" fmla="*/ 106 w 853"/>
              <a:gd name="T17" fmla="*/ 313 h 837"/>
              <a:gd name="T18" fmla="*/ 89 w 853"/>
              <a:gd name="T19" fmla="*/ 340 h 837"/>
              <a:gd name="T20" fmla="*/ 51 w 853"/>
              <a:gd name="T21" fmla="*/ 389 h 837"/>
              <a:gd name="T22" fmla="*/ 53 w 853"/>
              <a:gd name="T23" fmla="*/ 412 h 837"/>
              <a:gd name="T24" fmla="*/ 147 w 853"/>
              <a:gd name="T25" fmla="*/ 457 h 837"/>
              <a:gd name="T26" fmla="*/ 227 w 853"/>
              <a:gd name="T27" fmla="*/ 484 h 837"/>
              <a:gd name="T28" fmla="*/ 297 w 853"/>
              <a:gd name="T29" fmla="*/ 497 h 837"/>
              <a:gd name="T30" fmla="*/ 322 w 853"/>
              <a:gd name="T31" fmla="*/ 458 h 837"/>
              <a:gd name="T32" fmla="*/ 386 w 853"/>
              <a:gd name="T33" fmla="*/ 443 h 837"/>
              <a:gd name="T34" fmla="*/ 431 w 853"/>
              <a:gd name="T35" fmla="*/ 458 h 837"/>
              <a:gd name="T36" fmla="*/ 494 w 853"/>
              <a:gd name="T37" fmla="*/ 484 h 837"/>
              <a:gd name="T38" fmla="*/ 552 w 853"/>
              <a:gd name="T39" fmla="*/ 474 h 837"/>
              <a:gd name="T40" fmla="*/ 595 w 853"/>
              <a:gd name="T41" fmla="*/ 442 h 837"/>
              <a:gd name="T42" fmla="*/ 569 w 853"/>
              <a:gd name="T43" fmla="*/ 428 h 837"/>
              <a:gd name="T44" fmla="*/ 565 w 853"/>
              <a:gd name="T45" fmla="*/ 382 h 837"/>
              <a:gd name="T46" fmla="*/ 580 w 853"/>
              <a:gd name="T47" fmla="*/ 340 h 837"/>
              <a:gd name="T48" fmla="*/ 580 w 853"/>
              <a:gd name="T49" fmla="*/ 302 h 837"/>
              <a:gd name="T50" fmla="*/ 550 w 853"/>
              <a:gd name="T51" fmla="*/ 304 h 837"/>
              <a:gd name="T52" fmla="*/ 537 w 853"/>
              <a:gd name="T53" fmla="*/ 297 h 837"/>
              <a:gd name="T54" fmla="*/ 569 w 853"/>
              <a:gd name="T55" fmla="*/ 270 h 837"/>
              <a:gd name="T56" fmla="*/ 619 w 853"/>
              <a:gd name="T57" fmla="*/ 235 h 837"/>
              <a:gd name="T58" fmla="*/ 644 w 853"/>
              <a:gd name="T59" fmla="*/ 219 h 837"/>
              <a:gd name="T60" fmla="*/ 663 w 853"/>
              <a:gd name="T61" fmla="*/ 185 h 837"/>
              <a:gd name="T62" fmla="*/ 700 w 853"/>
              <a:gd name="T63" fmla="*/ 155 h 837"/>
              <a:gd name="T64" fmla="*/ 658 w 853"/>
              <a:gd name="T65" fmla="*/ 142 h 837"/>
              <a:gd name="T66" fmla="*/ 610 w 853"/>
              <a:gd name="T67" fmla="*/ 130 h 837"/>
              <a:gd name="T68" fmla="*/ 576 w 853"/>
              <a:gd name="T69" fmla="*/ 108 h 837"/>
              <a:gd name="T70" fmla="*/ 532 w 853"/>
              <a:gd name="T71" fmla="*/ 80 h 837"/>
              <a:gd name="T72" fmla="*/ 493 w 853"/>
              <a:gd name="T73" fmla="*/ 50 h 837"/>
              <a:gd name="T74" fmla="*/ 465 w 853"/>
              <a:gd name="T75" fmla="*/ 20 h 837"/>
              <a:gd name="T76" fmla="*/ 405 w 853"/>
              <a:gd name="T77" fmla="*/ 2 h 837"/>
              <a:gd name="T78" fmla="*/ 380 w 853"/>
              <a:gd name="T79" fmla="*/ 22 h 837"/>
              <a:gd name="T80" fmla="*/ 290 w 853"/>
              <a:gd name="T81" fmla="*/ 58 h 837"/>
              <a:gd name="T82" fmla="*/ 242 w 853"/>
              <a:gd name="T83" fmla="*/ 68 h 837"/>
              <a:gd name="T84" fmla="*/ 200 w 853"/>
              <a:gd name="T85" fmla="*/ 52 h 837"/>
              <a:gd name="T86" fmla="*/ 179 w 853"/>
              <a:gd name="T87" fmla="*/ 37 h 837"/>
              <a:gd name="T88" fmla="*/ 186 w 853"/>
              <a:gd name="T89" fmla="*/ 55 h 837"/>
              <a:gd name="T90" fmla="*/ 179 w 853"/>
              <a:gd name="T91" fmla="*/ 76 h 837"/>
              <a:gd name="T92" fmla="*/ 167 w 853"/>
              <a:gd name="T93" fmla="*/ 91 h 837"/>
              <a:gd name="T94" fmla="*/ 129 w 853"/>
              <a:gd name="T95" fmla="*/ 83 h 837"/>
              <a:gd name="T96" fmla="*/ 85 w 853"/>
              <a:gd name="T97" fmla="*/ 63 h 837"/>
              <a:gd name="T98" fmla="*/ 53 w 853"/>
              <a:gd name="T99" fmla="*/ 71 h 83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3"/>
              <a:gd name="T151" fmla="*/ 0 h 837"/>
              <a:gd name="T152" fmla="*/ 853 w 853"/>
              <a:gd name="T153" fmla="*/ 837 h 83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3" h="837">
                <a:moveTo>
                  <a:pt x="13" y="118"/>
                </a:moveTo>
                <a:lnTo>
                  <a:pt x="22" y="138"/>
                </a:lnTo>
                <a:lnTo>
                  <a:pt x="13" y="156"/>
                </a:lnTo>
                <a:lnTo>
                  <a:pt x="11" y="161"/>
                </a:lnTo>
                <a:lnTo>
                  <a:pt x="0" y="159"/>
                </a:lnTo>
                <a:lnTo>
                  <a:pt x="4" y="168"/>
                </a:lnTo>
                <a:lnTo>
                  <a:pt x="4" y="177"/>
                </a:lnTo>
                <a:lnTo>
                  <a:pt x="13" y="195"/>
                </a:lnTo>
                <a:lnTo>
                  <a:pt x="33" y="188"/>
                </a:lnTo>
                <a:lnTo>
                  <a:pt x="56" y="215"/>
                </a:lnTo>
                <a:lnTo>
                  <a:pt x="67" y="233"/>
                </a:lnTo>
                <a:lnTo>
                  <a:pt x="81" y="247"/>
                </a:lnTo>
                <a:lnTo>
                  <a:pt x="101" y="247"/>
                </a:lnTo>
                <a:lnTo>
                  <a:pt x="108" y="263"/>
                </a:lnTo>
                <a:lnTo>
                  <a:pt x="126" y="277"/>
                </a:lnTo>
                <a:lnTo>
                  <a:pt x="135" y="279"/>
                </a:lnTo>
                <a:lnTo>
                  <a:pt x="138" y="286"/>
                </a:lnTo>
                <a:lnTo>
                  <a:pt x="133" y="302"/>
                </a:lnTo>
                <a:lnTo>
                  <a:pt x="133" y="313"/>
                </a:lnTo>
                <a:lnTo>
                  <a:pt x="131" y="324"/>
                </a:lnTo>
                <a:lnTo>
                  <a:pt x="126" y="347"/>
                </a:lnTo>
                <a:lnTo>
                  <a:pt x="142" y="368"/>
                </a:lnTo>
                <a:lnTo>
                  <a:pt x="160" y="381"/>
                </a:lnTo>
                <a:lnTo>
                  <a:pt x="160" y="390"/>
                </a:lnTo>
                <a:lnTo>
                  <a:pt x="158" y="427"/>
                </a:lnTo>
                <a:lnTo>
                  <a:pt x="154" y="456"/>
                </a:lnTo>
                <a:lnTo>
                  <a:pt x="158" y="467"/>
                </a:lnTo>
                <a:lnTo>
                  <a:pt x="176" y="481"/>
                </a:lnTo>
                <a:lnTo>
                  <a:pt x="176" y="506"/>
                </a:lnTo>
                <a:lnTo>
                  <a:pt x="176" y="522"/>
                </a:lnTo>
                <a:lnTo>
                  <a:pt x="156" y="497"/>
                </a:lnTo>
                <a:lnTo>
                  <a:pt x="147" y="481"/>
                </a:lnTo>
                <a:lnTo>
                  <a:pt x="140" y="486"/>
                </a:lnTo>
                <a:lnTo>
                  <a:pt x="145" y="497"/>
                </a:lnTo>
                <a:lnTo>
                  <a:pt x="138" y="513"/>
                </a:lnTo>
                <a:lnTo>
                  <a:pt x="129" y="527"/>
                </a:lnTo>
                <a:lnTo>
                  <a:pt x="122" y="538"/>
                </a:lnTo>
                <a:lnTo>
                  <a:pt x="131" y="547"/>
                </a:lnTo>
                <a:lnTo>
                  <a:pt x="124" y="558"/>
                </a:lnTo>
                <a:lnTo>
                  <a:pt x="108" y="572"/>
                </a:lnTo>
                <a:lnTo>
                  <a:pt x="106" y="586"/>
                </a:lnTo>
                <a:lnTo>
                  <a:pt x="99" y="599"/>
                </a:lnTo>
                <a:lnTo>
                  <a:pt x="77" y="627"/>
                </a:lnTo>
                <a:lnTo>
                  <a:pt x="63" y="654"/>
                </a:lnTo>
                <a:lnTo>
                  <a:pt x="63" y="658"/>
                </a:lnTo>
                <a:lnTo>
                  <a:pt x="70" y="665"/>
                </a:lnTo>
                <a:lnTo>
                  <a:pt x="61" y="679"/>
                </a:lnTo>
                <a:lnTo>
                  <a:pt x="65" y="692"/>
                </a:lnTo>
                <a:lnTo>
                  <a:pt x="77" y="711"/>
                </a:lnTo>
                <a:lnTo>
                  <a:pt x="131" y="740"/>
                </a:lnTo>
                <a:lnTo>
                  <a:pt x="167" y="772"/>
                </a:lnTo>
                <a:lnTo>
                  <a:pt x="179" y="767"/>
                </a:lnTo>
                <a:lnTo>
                  <a:pt x="199" y="761"/>
                </a:lnTo>
                <a:lnTo>
                  <a:pt x="262" y="788"/>
                </a:lnTo>
                <a:lnTo>
                  <a:pt x="271" y="797"/>
                </a:lnTo>
                <a:lnTo>
                  <a:pt x="276" y="813"/>
                </a:lnTo>
                <a:lnTo>
                  <a:pt x="287" y="820"/>
                </a:lnTo>
                <a:lnTo>
                  <a:pt x="301" y="822"/>
                </a:lnTo>
                <a:lnTo>
                  <a:pt x="324" y="833"/>
                </a:lnTo>
                <a:lnTo>
                  <a:pt x="362" y="836"/>
                </a:lnTo>
                <a:lnTo>
                  <a:pt x="373" y="822"/>
                </a:lnTo>
                <a:lnTo>
                  <a:pt x="376" y="804"/>
                </a:lnTo>
                <a:lnTo>
                  <a:pt x="376" y="786"/>
                </a:lnTo>
                <a:lnTo>
                  <a:pt x="392" y="772"/>
                </a:lnTo>
                <a:lnTo>
                  <a:pt x="423" y="756"/>
                </a:lnTo>
                <a:lnTo>
                  <a:pt x="439" y="754"/>
                </a:lnTo>
                <a:lnTo>
                  <a:pt x="455" y="745"/>
                </a:lnTo>
                <a:lnTo>
                  <a:pt x="469" y="745"/>
                </a:lnTo>
                <a:lnTo>
                  <a:pt x="487" y="756"/>
                </a:lnTo>
                <a:lnTo>
                  <a:pt x="498" y="770"/>
                </a:lnTo>
                <a:lnTo>
                  <a:pt x="514" y="770"/>
                </a:lnTo>
                <a:lnTo>
                  <a:pt x="525" y="772"/>
                </a:lnTo>
                <a:lnTo>
                  <a:pt x="550" y="774"/>
                </a:lnTo>
                <a:lnTo>
                  <a:pt x="566" y="797"/>
                </a:lnTo>
                <a:lnTo>
                  <a:pt x="582" y="806"/>
                </a:lnTo>
                <a:lnTo>
                  <a:pt x="602" y="813"/>
                </a:lnTo>
                <a:lnTo>
                  <a:pt x="620" y="824"/>
                </a:lnTo>
                <a:lnTo>
                  <a:pt x="629" y="826"/>
                </a:lnTo>
                <a:lnTo>
                  <a:pt x="657" y="799"/>
                </a:lnTo>
                <a:lnTo>
                  <a:pt x="672" y="797"/>
                </a:lnTo>
                <a:lnTo>
                  <a:pt x="686" y="786"/>
                </a:lnTo>
                <a:lnTo>
                  <a:pt x="702" y="772"/>
                </a:lnTo>
                <a:lnTo>
                  <a:pt x="727" y="772"/>
                </a:lnTo>
                <a:lnTo>
                  <a:pt x="725" y="742"/>
                </a:lnTo>
                <a:lnTo>
                  <a:pt x="720" y="733"/>
                </a:lnTo>
                <a:lnTo>
                  <a:pt x="709" y="720"/>
                </a:lnTo>
                <a:lnTo>
                  <a:pt x="702" y="722"/>
                </a:lnTo>
                <a:lnTo>
                  <a:pt x="693" y="720"/>
                </a:lnTo>
                <a:lnTo>
                  <a:pt x="686" y="706"/>
                </a:lnTo>
                <a:lnTo>
                  <a:pt x="684" y="679"/>
                </a:lnTo>
                <a:lnTo>
                  <a:pt x="700" y="658"/>
                </a:lnTo>
                <a:lnTo>
                  <a:pt x="688" y="642"/>
                </a:lnTo>
                <a:lnTo>
                  <a:pt x="688" y="636"/>
                </a:lnTo>
                <a:lnTo>
                  <a:pt x="711" y="613"/>
                </a:lnTo>
                <a:lnTo>
                  <a:pt x="711" y="604"/>
                </a:lnTo>
                <a:lnTo>
                  <a:pt x="706" y="572"/>
                </a:lnTo>
                <a:lnTo>
                  <a:pt x="722" y="558"/>
                </a:lnTo>
                <a:lnTo>
                  <a:pt x="709" y="542"/>
                </a:lnTo>
                <a:lnTo>
                  <a:pt x="709" y="529"/>
                </a:lnTo>
                <a:lnTo>
                  <a:pt x="706" y="508"/>
                </a:lnTo>
                <a:lnTo>
                  <a:pt x="702" y="502"/>
                </a:lnTo>
                <a:lnTo>
                  <a:pt x="688" y="502"/>
                </a:lnTo>
                <a:lnTo>
                  <a:pt x="675" y="506"/>
                </a:lnTo>
                <a:lnTo>
                  <a:pt x="670" y="511"/>
                </a:lnTo>
                <a:lnTo>
                  <a:pt x="661" y="517"/>
                </a:lnTo>
                <a:lnTo>
                  <a:pt x="650" y="522"/>
                </a:lnTo>
                <a:lnTo>
                  <a:pt x="645" y="511"/>
                </a:lnTo>
                <a:lnTo>
                  <a:pt x="654" y="499"/>
                </a:lnTo>
                <a:lnTo>
                  <a:pt x="659" y="490"/>
                </a:lnTo>
                <a:lnTo>
                  <a:pt x="659" y="481"/>
                </a:lnTo>
                <a:lnTo>
                  <a:pt x="682" y="458"/>
                </a:lnTo>
                <a:lnTo>
                  <a:pt x="693" y="454"/>
                </a:lnTo>
                <a:lnTo>
                  <a:pt x="695" y="438"/>
                </a:lnTo>
                <a:lnTo>
                  <a:pt x="706" y="422"/>
                </a:lnTo>
                <a:lnTo>
                  <a:pt x="743" y="395"/>
                </a:lnTo>
                <a:lnTo>
                  <a:pt x="754" y="395"/>
                </a:lnTo>
                <a:lnTo>
                  <a:pt x="759" y="386"/>
                </a:lnTo>
                <a:lnTo>
                  <a:pt x="770" y="374"/>
                </a:lnTo>
                <a:lnTo>
                  <a:pt x="779" y="374"/>
                </a:lnTo>
                <a:lnTo>
                  <a:pt x="784" y="368"/>
                </a:lnTo>
                <a:lnTo>
                  <a:pt x="790" y="363"/>
                </a:lnTo>
                <a:lnTo>
                  <a:pt x="799" y="347"/>
                </a:lnTo>
                <a:lnTo>
                  <a:pt x="806" y="324"/>
                </a:lnTo>
                <a:lnTo>
                  <a:pt x="808" y="311"/>
                </a:lnTo>
                <a:lnTo>
                  <a:pt x="808" y="299"/>
                </a:lnTo>
                <a:lnTo>
                  <a:pt x="822" y="281"/>
                </a:lnTo>
                <a:lnTo>
                  <a:pt x="840" y="272"/>
                </a:lnTo>
                <a:lnTo>
                  <a:pt x="852" y="261"/>
                </a:lnTo>
                <a:lnTo>
                  <a:pt x="852" y="256"/>
                </a:lnTo>
                <a:lnTo>
                  <a:pt x="833" y="245"/>
                </a:lnTo>
                <a:lnTo>
                  <a:pt x="827" y="240"/>
                </a:lnTo>
                <a:lnTo>
                  <a:pt x="802" y="238"/>
                </a:lnTo>
                <a:lnTo>
                  <a:pt x="774" y="233"/>
                </a:lnTo>
                <a:lnTo>
                  <a:pt x="763" y="233"/>
                </a:lnTo>
                <a:lnTo>
                  <a:pt x="754" y="229"/>
                </a:lnTo>
                <a:lnTo>
                  <a:pt x="743" y="218"/>
                </a:lnTo>
                <a:lnTo>
                  <a:pt x="734" y="202"/>
                </a:lnTo>
                <a:lnTo>
                  <a:pt x="727" y="190"/>
                </a:lnTo>
                <a:lnTo>
                  <a:pt x="716" y="186"/>
                </a:lnTo>
                <a:lnTo>
                  <a:pt x="702" y="181"/>
                </a:lnTo>
                <a:lnTo>
                  <a:pt x="697" y="179"/>
                </a:lnTo>
                <a:lnTo>
                  <a:pt x="682" y="165"/>
                </a:lnTo>
                <a:lnTo>
                  <a:pt x="659" y="149"/>
                </a:lnTo>
                <a:lnTo>
                  <a:pt x="648" y="134"/>
                </a:lnTo>
                <a:lnTo>
                  <a:pt x="632" y="129"/>
                </a:lnTo>
                <a:lnTo>
                  <a:pt x="625" y="122"/>
                </a:lnTo>
                <a:lnTo>
                  <a:pt x="618" y="106"/>
                </a:lnTo>
                <a:lnTo>
                  <a:pt x="600" y="84"/>
                </a:lnTo>
                <a:lnTo>
                  <a:pt x="595" y="70"/>
                </a:lnTo>
                <a:lnTo>
                  <a:pt x="582" y="56"/>
                </a:lnTo>
                <a:lnTo>
                  <a:pt x="575" y="43"/>
                </a:lnTo>
                <a:lnTo>
                  <a:pt x="566" y="34"/>
                </a:lnTo>
                <a:lnTo>
                  <a:pt x="552" y="22"/>
                </a:lnTo>
                <a:lnTo>
                  <a:pt x="537" y="6"/>
                </a:lnTo>
                <a:lnTo>
                  <a:pt x="525" y="0"/>
                </a:lnTo>
                <a:lnTo>
                  <a:pt x="493" y="2"/>
                </a:lnTo>
                <a:lnTo>
                  <a:pt x="482" y="2"/>
                </a:lnTo>
                <a:lnTo>
                  <a:pt x="464" y="13"/>
                </a:lnTo>
                <a:lnTo>
                  <a:pt x="475" y="24"/>
                </a:lnTo>
                <a:lnTo>
                  <a:pt x="462" y="38"/>
                </a:lnTo>
                <a:lnTo>
                  <a:pt x="432" y="79"/>
                </a:lnTo>
                <a:lnTo>
                  <a:pt x="416" y="86"/>
                </a:lnTo>
                <a:lnTo>
                  <a:pt x="373" y="90"/>
                </a:lnTo>
                <a:lnTo>
                  <a:pt x="353" y="97"/>
                </a:lnTo>
                <a:lnTo>
                  <a:pt x="344" y="106"/>
                </a:lnTo>
                <a:lnTo>
                  <a:pt x="339" y="115"/>
                </a:lnTo>
                <a:lnTo>
                  <a:pt x="321" y="111"/>
                </a:lnTo>
                <a:lnTo>
                  <a:pt x="294" y="115"/>
                </a:lnTo>
                <a:lnTo>
                  <a:pt x="278" y="113"/>
                </a:lnTo>
                <a:lnTo>
                  <a:pt x="265" y="104"/>
                </a:lnTo>
                <a:lnTo>
                  <a:pt x="253" y="90"/>
                </a:lnTo>
                <a:lnTo>
                  <a:pt x="244" y="86"/>
                </a:lnTo>
                <a:lnTo>
                  <a:pt x="251" y="77"/>
                </a:lnTo>
                <a:lnTo>
                  <a:pt x="240" y="65"/>
                </a:lnTo>
                <a:lnTo>
                  <a:pt x="228" y="63"/>
                </a:lnTo>
                <a:lnTo>
                  <a:pt x="219" y="63"/>
                </a:lnTo>
                <a:lnTo>
                  <a:pt x="219" y="65"/>
                </a:lnTo>
                <a:lnTo>
                  <a:pt x="226" y="74"/>
                </a:lnTo>
                <a:lnTo>
                  <a:pt x="222" y="81"/>
                </a:lnTo>
                <a:lnTo>
                  <a:pt x="226" y="93"/>
                </a:lnTo>
                <a:lnTo>
                  <a:pt x="228" y="106"/>
                </a:lnTo>
                <a:lnTo>
                  <a:pt x="228" y="118"/>
                </a:lnTo>
                <a:lnTo>
                  <a:pt x="226" y="120"/>
                </a:lnTo>
                <a:lnTo>
                  <a:pt x="219" y="127"/>
                </a:lnTo>
                <a:lnTo>
                  <a:pt x="217" y="136"/>
                </a:lnTo>
                <a:lnTo>
                  <a:pt x="217" y="147"/>
                </a:lnTo>
                <a:lnTo>
                  <a:pt x="215" y="156"/>
                </a:lnTo>
                <a:lnTo>
                  <a:pt x="203" y="154"/>
                </a:lnTo>
                <a:lnTo>
                  <a:pt x="188" y="145"/>
                </a:lnTo>
                <a:lnTo>
                  <a:pt x="179" y="154"/>
                </a:lnTo>
                <a:lnTo>
                  <a:pt x="165" y="143"/>
                </a:lnTo>
                <a:lnTo>
                  <a:pt x="156" y="140"/>
                </a:lnTo>
                <a:lnTo>
                  <a:pt x="147" y="149"/>
                </a:lnTo>
                <a:lnTo>
                  <a:pt x="138" y="147"/>
                </a:lnTo>
                <a:lnTo>
                  <a:pt x="138" y="140"/>
                </a:lnTo>
                <a:lnTo>
                  <a:pt x="104" y="106"/>
                </a:lnTo>
                <a:lnTo>
                  <a:pt x="95" y="106"/>
                </a:lnTo>
                <a:lnTo>
                  <a:pt x="88" y="111"/>
                </a:lnTo>
                <a:lnTo>
                  <a:pt x="74" y="118"/>
                </a:lnTo>
                <a:lnTo>
                  <a:pt x="65" y="120"/>
                </a:lnTo>
                <a:lnTo>
                  <a:pt x="54" y="109"/>
                </a:lnTo>
                <a:lnTo>
                  <a:pt x="31" y="109"/>
                </a:lnTo>
                <a:lnTo>
                  <a:pt x="13" y="118"/>
                </a:lnTo>
              </a:path>
            </a:pathLst>
          </a:custGeom>
          <a:solidFill>
            <a:schemeClr val="accent3"/>
          </a:solidFill>
          <a:ln w="12700" cap="rnd">
            <a:solidFill>
              <a:schemeClr val="bg1"/>
            </a:solidFill>
            <a:round/>
            <a:headEnd/>
            <a:tailEnd/>
          </a:ln>
        </p:spPr>
        <p:txBody>
          <a:bodyPr/>
          <a:lstStyle/>
          <a:p>
            <a:pPr>
              <a:defRPr/>
            </a:pPr>
            <a:endParaRPr lang="en-GB"/>
          </a:p>
        </p:txBody>
      </p:sp>
      <p:sp>
        <p:nvSpPr>
          <p:cNvPr id="46" name="Freeform 51"/>
          <p:cNvSpPr>
            <a:spLocks/>
          </p:cNvSpPr>
          <p:nvPr/>
        </p:nvSpPr>
        <p:spPr bwMode="auto">
          <a:xfrm>
            <a:off x="5358933" y="3213735"/>
            <a:ext cx="483182" cy="257739"/>
          </a:xfrm>
          <a:custGeom>
            <a:avLst/>
            <a:gdLst>
              <a:gd name="T0" fmla="*/ 83 w 415"/>
              <a:gd name="T1" fmla="*/ 43 h 220"/>
              <a:gd name="T2" fmla="*/ 76 w 415"/>
              <a:gd name="T3" fmla="*/ 26 h 220"/>
              <a:gd name="T4" fmla="*/ 53 w 415"/>
              <a:gd name="T5" fmla="*/ 18 h 220"/>
              <a:gd name="T6" fmla="*/ 28 w 415"/>
              <a:gd name="T7" fmla="*/ 32 h 220"/>
              <a:gd name="T8" fmla="*/ 14 w 415"/>
              <a:gd name="T9" fmla="*/ 61 h 220"/>
              <a:gd name="T10" fmla="*/ 9 w 415"/>
              <a:gd name="T11" fmla="*/ 70 h 220"/>
              <a:gd name="T12" fmla="*/ 0 w 415"/>
              <a:gd name="T13" fmla="*/ 81 h 220"/>
              <a:gd name="T14" fmla="*/ 4 w 415"/>
              <a:gd name="T15" fmla="*/ 102 h 220"/>
              <a:gd name="T16" fmla="*/ 11 w 415"/>
              <a:gd name="T17" fmla="*/ 115 h 220"/>
              <a:gd name="T18" fmla="*/ 44 w 415"/>
              <a:gd name="T19" fmla="*/ 103 h 220"/>
              <a:gd name="T20" fmla="*/ 63 w 415"/>
              <a:gd name="T21" fmla="*/ 102 h 220"/>
              <a:gd name="T22" fmla="*/ 88 w 415"/>
              <a:gd name="T23" fmla="*/ 106 h 220"/>
              <a:gd name="T24" fmla="*/ 115 w 415"/>
              <a:gd name="T25" fmla="*/ 102 h 220"/>
              <a:gd name="T26" fmla="*/ 131 w 415"/>
              <a:gd name="T27" fmla="*/ 105 h 220"/>
              <a:gd name="T28" fmla="*/ 152 w 415"/>
              <a:gd name="T29" fmla="*/ 102 h 220"/>
              <a:gd name="T30" fmla="*/ 178 w 415"/>
              <a:gd name="T31" fmla="*/ 101 h 220"/>
              <a:gd name="T32" fmla="*/ 203 w 415"/>
              <a:gd name="T33" fmla="*/ 114 h 220"/>
              <a:gd name="T34" fmla="*/ 238 w 415"/>
              <a:gd name="T35" fmla="*/ 124 h 220"/>
              <a:gd name="T36" fmla="*/ 258 w 415"/>
              <a:gd name="T37" fmla="*/ 132 h 220"/>
              <a:gd name="T38" fmla="*/ 288 w 415"/>
              <a:gd name="T39" fmla="*/ 126 h 220"/>
              <a:gd name="T40" fmla="*/ 303 w 415"/>
              <a:gd name="T41" fmla="*/ 115 h 220"/>
              <a:gd name="T42" fmla="*/ 329 w 415"/>
              <a:gd name="T43" fmla="*/ 90 h 220"/>
              <a:gd name="T44" fmla="*/ 331 w 415"/>
              <a:gd name="T45" fmla="*/ 62 h 220"/>
              <a:gd name="T46" fmla="*/ 311 w 415"/>
              <a:gd name="T47" fmla="*/ 47 h 220"/>
              <a:gd name="T48" fmla="*/ 296 w 415"/>
              <a:gd name="T49" fmla="*/ 22 h 220"/>
              <a:gd name="T50" fmla="*/ 275 w 415"/>
              <a:gd name="T51" fmla="*/ 13 h 220"/>
              <a:gd name="T52" fmla="*/ 236 w 415"/>
              <a:gd name="T53" fmla="*/ 20 h 220"/>
              <a:gd name="T54" fmla="*/ 214 w 415"/>
              <a:gd name="T55" fmla="*/ 13 h 220"/>
              <a:gd name="T56" fmla="*/ 194 w 415"/>
              <a:gd name="T57" fmla="*/ 4 h 220"/>
              <a:gd name="T58" fmla="*/ 173 w 415"/>
              <a:gd name="T59" fmla="*/ 0 h 220"/>
              <a:gd name="T60" fmla="*/ 151 w 415"/>
              <a:gd name="T61" fmla="*/ 4 h 220"/>
              <a:gd name="T62" fmla="*/ 140 w 415"/>
              <a:gd name="T63" fmla="*/ 13 h 220"/>
              <a:gd name="T64" fmla="*/ 143 w 415"/>
              <a:gd name="T65" fmla="*/ 41 h 220"/>
              <a:gd name="T66" fmla="*/ 131 w 415"/>
              <a:gd name="T67" fmla="*/ 57 h 220"/>
              <a:gd name="T68" fmla="*/ 116 w 415"/>
              <a:gd name="T69" fmla="*/ 57 h 22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5"/>
              <a:gd name="T106" fmla="*/ 0 h 220"/>
              <a:gd name="T107" fmla="*/ 415 w 415"/>
              <a:gd name="T108" fmla="*/ 220 h 22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5" h="220">
                <a:moveTo>
                  <a:pt x="122" y="86"/>
                </a:moveTo>
                <a:lnTo>
                  <a:pt x="102" y="73"/>
                </a:lnTo>
                <a:lnTo>
                  <a:pt x="97" y="59"/>
                </a:lnTo>
                <a:lnTo>
                  <a:pt x="93" y="43"/>
                </a:lnTo>
                <a:lnTo>
                  <a:pt x="81" y="29"/>
                </a:lnTo>
                <a:lnTo>
                  <a:pt x="65" y="29"/>
                </a:lnTo>
                <a:lnTo>
                  <a:pt x="54" y="36"/>
                </a:lnTo>
                <a:lnTo>
                  <a:pt x="36" y="52"/>
                </a:lnTo>
                <a:lnTo>
                  <a:pt x="15" y="91"/>
                </a:lnTo>
                <a:lnTo>
                  <a:pt x="18" y="100"/>
                </a:lnTo>
                <a:lnTo>
                  <a:pt x="18" y="111"/>
                </a:lnTo>
                <a:lnTo>
                  <a:pt x="13" y="116"/>
                </a:lnTo>
                <a:lnTo>
                  <a:pt x="6" y="125"/>
                </a:lnTo>
                <a:lnTo>
                  <a:pt x="0" y="134"/>
                </a:lnTo>
                <a:lnTo>
                  <a:pt x="4" y="143"/>
                </a:lnTo>
                <a:lnTo>
                  <a:pt x="4" y="168"/>
                </a:lnTo>
                <a:lnTo>
                  <a:pt x="6" y="187"/>
                </a:lnTo>
                <a:lnTo>
                  <a:pt x="15" y="189"/>
                </a:lnTo>
                <a:lnTo>
                  <a:pt x="34" y="184"/>
                </a:lnTo>
                <a:lnTo>
                  <a:pt x="54" y="171"/>
                </a:lnTo>
                <a:lnTo>
                  <a:pt x="63" y="164"/>
                </a:lnTo>
                <a:lnTo>
                  <a:pt x="77" y="168"/>
                </a:lnTo>
                <a:lnTo>
                  <a:pt x="95" y="171"/>
                </a:lnTo>
                <a:lnTo>
                  <a:pt x="109" y="175"/>
                </a:lnTo>
                <a:lnTo>
                  <a:pt x="120" y="180"/>
                </a:lnTo>
                <a:lnTo>
                  <a:pt x="141" y="168"/>
                </a:lnTo>
                <a:lnTo>
                  <a:pt x="152" y="168"/>
                </a:lnTo>
                <a:lnTo>
                  <a:pt x="161" y="173"/>
                </a:lnTo>
                <a:lnTo>
                  <a:pt x="175" y="177"/>
                </a:lnTo>
                <a:lnTo>
                  <a:pt x="188" y="168"/>
                </a:lnTo>
                <a:lnTo>
                  <a:pt x="207" y="164"/>
                </a:lnTo>
                <a:lnTo>
                  <a:pt x="220" y="166"/>
                </a:lnTo>
                <a:lnTo>
                  <a:pt x="229" y="184"/>
                </a:lnTo>
                <a:lnTo>
                  <a:pt x="250" y="187"/>
                </a:lnTo>
                <a:lnTo>
                  <a:pt x="275" y="184"/>
                </a:lnTo>
                <a:lnTo>
                  <a:pt x="293" y="205"/>
                </a:lnTo>
                <a:lnTo>
                  <a:pt x="304" y="216"/>
                </a:lnTo>
                <a:lnTo>
                  <a:pt x="318" y="219"/>
                </a:lnTo>
                <a:lnTo>
                  <a:pt x="336" y="212"/>
                </a:lnTo>
                <a:lnTo>
                  <a:pt x="354" y="209"/>
                </a:lnTo>
                <a:lnTo>
                  <a:pt x="366" y="198"/>
                </a:lnTo>
                <a:lnTo>
                  <a:pt x="373" y="189"/>
                </a:lnTo>
                <a:lnTo>
                  <a:pt x="395" y="164"/>
                </a:lnTo>
                <a:lnTo>
                  <a:pt x="407" y="150"/>
                </a:lnTo>
                <a:lnTo>
                  <a:pt x="414" y="132"/>
                </a:lnTo>
                <a:lnTo>
                  <a:pt x="409" y="102"/>
                </a:lnTo>
                <a:lnTo>
                  <a:pt x="400" y="95"/>
                </a:lnTo>
                <a:lnTo>
                  <a:pt x="382" y="77"/>
                </a:lnTo>
                <a:lnTo>
                  <a:pt x="373" y="59"/>
                </a:lnTo>
                <a:lnTo>
                  <a:pt x="366" y="36"/>
                </a:lnTo>
                <a:lnTo>
                  <a:pt x="348" y="22"/>
                </a:lnTo>
                <a:lnTo>
                  <a:pt x="338" y="22"/>
                </a:lnTo>
                <a:lnTo>
                  <a:pt x="304" y="22"/>
                </a:lnTo>
                <a:lnTo>
                  <a:pt x="291" y="34"/>
                </a:lnTo>
                <a:lnTo>
                  <a:pt x="279" y="36"/>
                </a:lnTo>
                <a:lnTo>
                  <a:pt x="263" y="22"/>
                </a:lnTo>
                <a:lnTo>
                  <a:pt x="247" y="15"/>
                </a:lnTo>
                <a:lnTo>
                  <a:pt x="238" y="4"/>
                </a:lnTo>
                <a:lnTo>
                  <a:pt x="232" y="2"/>
                </a:lnTo>
                <a:lnTo>
                  <a:pt x="213" y="0"/>
                </a:lnTo>
                <a:lnTo>
                  <a:pt x="200" y="4"/>
                </a:lnTo>
                <a:lnTo>
                  <a:pt x="186" y="4"/>
                </a:lnTo>
                <a:lnTo>
                  <a:pt x="179" y="11"/>
                </a:lnTo>
                <a:lnTo>
                  <a:pt x="172" y="22"/>
                </a:lnTo>
                <a:lnTo>
                  <a:pt x="172" y="43"/>
                </a:lnTo>
                <a:lnTo>
                  <a:pt x="177" y="68"/>
                </a:lnTo>
                <a:lnTo>
                  <a:pt x="177" y="79"/>
                </a:lnTo>
                <a:lnTo>
                  <a:pt x="161" y="95"/>
                </a:lnTo>
                <a:lnTo>
                  <a:pt x="152" y="104"/>
                </a:lnTo>
                <a:lnTo>
                  <a:pt x="143" y="95"/>
                </a:lnTo>
                <a:lnTo>
                  <a:pt x="122" y="86"/>
                </a:lnTo>
              </a:path>
            </a:pathLst>
          </a:custGeom>
          <a:solidFill>
            <a:schemeClr val="accent3"/>
          </a:solidFill>
          <a:ln w="12700" cap="rnd">
            <a:solidFill>
              <a:schemeClr val="bg1"/>
            </a:solidFill>
            <a:round/>
            <a:headEnd/>
            <a:tailEnd/>
          </a:ln>
        </p:spPr>
        <p:txBody>
          <a:bodyPr/>
          <a:lstStyle/>
          <a:p>
            <a:pPr>
              <a:defRPr/>
            </a:pPr>
            <a:endParaRPr lang="en-GB"/>
          </a:p>
        </p:txBody>
      </p:sp>
      <p:sp>
        <p:nvSpPr>
          <p:cNvPr id="47" name="Freeform 52"/>
          <p:cNvSpPr>
            <a:spLocks/>
          </p:cNvSpPr>
          <p:nvPr/>
        </p:nvSpPr>
        <p:spPr bwMode="auto">
          <a:xfrm>
            <a:off x="3426205" y="2888240"/>
            <a:ext cx="588648" cy="976484"/>
          </a:xfrm>
          <a:custGeom>
            <a:avLst/>
            <a:gdLst>
              <a:gd name="T0" fmla="*/ 134 w 504"/>
              <a:gd name="T1" fmla="*/ 344 h 836"/>
              <a:gd name="T2" fmla="*/ 89 w 504"/>
              <a:gd name="T3" fmla="*/ 368 h 836"/>
              <a:gd name="T4" fmla="*/ 76 w 504"/>
              <a:gd name="T5" fmla="*/ 387 h 836"/>
              <a:gd name="T6" fmla="*/ 104 w 504"/>
              <a:gd name="T7" fmla="*/ 400 h 836"/>
              <a:gd name="T8" fmla="*/ 124 w 504"/>
              <a:gd name="T9" fmla="*/ 406 h 836"/>
              <a:gd name="T10" fmla="*/ 165 w 504"/>
              <a:gd name="T11" fmla="*/ 413 h 836"/>
              <a:gd name="T12" fmla="*/ 139 w 504"/>
              <a:gd name="T13" fmla="*/ 435 h 836"/>
              <a:gd name="T14" fmla="*/ 80 w 504"/>
              <a:gd name="T15" fmla="*/ 423 h 836"/>
              <a:gd name="T16" fmla="*/ 37 w 504"/>
              <a:gd name="T17" fmla="*/ 448 h 836"/>
              <a:gd name="T18" fmla="*/ 2 w 504"/>
              <a:gd name="T19" fmla="*/ 462 h 836"/>
              <a:gd name="T20" fmla="*/ 20 w 504"/>
              <a:gd name="T21" fmla="*/ 472 h 836"/>
              <a:gd name="T22" fmla="*/ 53 w 504"/>
              <a:gd name="T23" fmla="*/ 469 h 836"/>
              <a:gd name="T24" fmla="*/ 100 w 504"/>
              <a:gd name="T25" fmla="*/ 484 h 836"/>
              <a:gd name="T26" fmla="*/ 136 w 504"/>
              <a:gd name="T27" fmla="*/ 461 h 836"/>
              <a:gd name="T28" fmla="*/ 167 w 504"/>
              <a:gd name="T29" fmla="*/ 475 h 836"/>
              <a:gd name="T30" fmla="*/ 210 w 504"/>
              <a:gd name="T31" fmla="*/ 480 h 836"/>
              <a:gd name="T32" fmla="*/ 242 w 504"/>
              <a:gd name="T33" fmla="*/ 477 h 836"/>
              <a:gd name="T34" fmla="*/ 289 w 504"/>
              <a:gd name="T35" fmla="*/ 491 h 836"/>
              <a:gd name="T36" fmla="*/ 326 w 504"/>
              <a:gd name="T37" fmla="*/ 492 h 836"/>
              <a:gd name="T38" fmla="*/ 366 w 504"/>
              <a:gd name="T39" fmla="*/ 484 h 836"/>
              <a:gd name="T40" fmla="*/ 349 w 504"/>
              <a:gd name="T41" fmla="*/ 461 h 836"/>
              <a:gd name="T42" fmla="*/ 350 w 504"/>
              <a:gd name="T43" fmla="*/ 446 h 836"/>
              <a:gd name="T44" fmla="*/ 401 w 504"/>
              <a:gd name="T45" fmla="*/ 423 h 836"/>
              <a:gd name="T46" fmla="*/ 413 w 504"/>
              <a:gd name="T47" fmla="*/ 390 h 836"/>
              <a:gd name="T48" fmla="*/ 377 w 504"/>
              <a:gd name="T49" fmla="*/ 373 h 836"/>
              <a:gd name="T50" fmla="*/ 352 w 504"/>
              <a:gd name="T51" fmla="*/ 371 h 836"/>
              <a:gd name="T52" fmla="*/ 361 w 504"/>
              <a:gd name="T53" fmla="*/ 341 h 836"/>
              <a:gd name="T54" fmla="*/ 361 w 504"/>
              <a:gd name="T55" fmla="*/ 299 h 836"/>
              <a:gd name="T56" fmla="*/ 324 w 504"/>
              <a:gd name="T57" fmla="*/ 250 h 836"/>
              <a:gd name="T58" fmla="*/ 324 w 504"/>
              <a:gd name="T59" fmla="*/ 211 h 836"/>
              <a:gd name="T60" fmla="*/ 311 w 504"/>
              <a:gd name="T61" fmla="*/ 182 h 836"/>
              <a:gd name="T62" fmla="*/ 271 w 504"/>
              <a:gd name="T63" fmla="*/ 165 h 836"/>
              <a:gd name="T64" fmla="*/ 268 w 504"/>
              <a:gd name="T65" fmla="*/ 153 h 836"/>
              <a:gd name="T66" fmla="*/ 302 w 504"/>
              <a:gd name="T67" fmla="*/ 156 h 836"/>
              <a:gd name="T68" fmla="*/ 354 w 504"/>
              <a:gd name="T69" fmla="*/ 110 h 836"/>
              <a:gd name="T70" fmla="*/ 352 w 504"/>
              <a:gd name="T71" fmla="*/ 80 h 836"/>
              <a:gd name="T72" fmla="*/ 302 w 504"/>
              <a:gd name="T73" fmla="*/ 65 h 836"/>
              <a:gd name="T74" fmla="*/ 276 w 504"/>
              <a:gd name="T75" fmla="*/ 67 h 836"/>
              <a:gd name="T76" fmla="*/ 290 w 504"/>
              <a:gd name="T77" fmla="*/ 48 h 836"/>
              <a:gd name="T78" fmla="*/ 345 w 504"/>
              <a:gd name="T79" fmla="*/ 24 h 836"/>
              <a:gd name="T80" fmla="*/ 310 w 504"/>
              <a:gd name="T81" fmla="*/ 8 h 836"/>
              <a:gd name="T82" fmla="*/ 253 w 504"/>
              <a:gd name="T83" fmla="*/ 14 h 836"/>
              <a:gd name="T84" fmla="*/ 229 w 504"/>
              <a:gd name="T85" fmla="*/ 32 h 836"/>
              <a:gd name="T86" fmla="*/ 210 w 504"/>
              <a:gd name="T87" fmla="*/ 55 h 836"/>
              <a:gd name="T88" fmla="*/ 167 w 504"/>
              <a:gd name="T89" fmla="*/ 97 h 836"/>
              <a:gd name="T90" fmla="*/ 195 w 504"/>
              <a:gd name="T91" fmla="*/ 103 h 836"/>
              <a:gd name="T92" fmla="*/ 154 w 504"/>
              <a:gd name="T93" fmla="*/ 153 h 836"/>
              <a:gd name="T94" fmla="*/ 170 w 504"/>
              <a:gd name="T95" fmla="*/ 161 h 836"/>
              <a:gd name="T96" fmla="*/ 193 w 504"/>
              <a:gd name="T97" fmla="*/ 171 h 836"/>
              <a:gd name="T98" fmla="*/ 165 w 504"/>
              <a:gd name="T99" fmla="*/ 201 h 836"/>
              <a:gd name="T100" fmla="*/ 207 w 504"/>
              <a:gd name="T101" fmla="*/ 221 h 836"/>
              <a:gd name="T102" fmla="*/ 230 w 504"/>
              <a:gd name="T103" fmla="*/ 228 h 836"/>
              <a:gd name="T104" fmla="*/ 223 w 504"/>
              <a:gd name="T105" fmla="*/ 271 h 836"/>
              <a:gd name="T106" fmla="*/ 221 w 504"/>
              <a:gd name="T107" fmla="*/ 301 h 836"/>
              <a:gd name="T108" fmla="*/ 202 w 504"/>
              <a:gd name="T109" fmla="*/ 314 h 8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04"/>
              <a:gd name="T166" fmla="*/ 0 h 836"/>
              <a:gd name="T167" fmla="*/ 504 w 504"/>
              <a:gd name="T168" fmla="*/ 836 h 8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04" h="836">
                <a:moveTo>
                  <a:pt x="149" y="535"/>
                </a:moveTo>
                <a:lnTo>
                  <a:pt x="174" y="555"/>
                </a:lnTo>
                <a:lnTo>
                  <a:pt x="163" y="576"/>
                </a:lnTo>
                <a:lnTo>
                  <a:pt x="149" y="594"/>
                </a:lnTo>
                <a:lnTo>
                  <a:pt x="126" y="605"/>
                </a:lnTo>
                <a:lnTo>
                  <a:pt x="108" y="614"/>
                </a:lnTo>
                <a:lnTo>
                  <a:pt x="88" y="617"/>
                </a:lnTo>
                <a:lnTo>
                  <a:pt x="79" y="623"/>
                </a:lnTo>
                <a:lnTo>
                  <a:pt x="92" y="648"/>
                </a:lnTo>
                <a:lnTo>
                  <a:pt x="115" y="648"/>
                </a:lnTo>
                <a:lnTo>
                  <a:pt x="126" y="651"/>
                </a:lnTo>
                <a:lnTo>
                  <a:pt x="126" y="669"/>
                </a:lnTo>
                <a:lnTo>
                  <a:pt x="138" y="669"/>
                </a:lnTo>
                <a:lnTo>
                  <a:pt x="147" y="664"/>
                </a:lnTo>
                <a:lnTo>
                  <a:pt x="151" y="680"/>
                </a:lnTo>
                <a:lnTo>
                  <a:pt x="165" y="696"/>
                </a:lnTo>
                <a:lnTo>
                  <a:pt x="185" y="696"/>
                </a:lnTo>
                <a:lnTo>
                  <a:pt x="201" y="692"/>
                </a:lnTo>
                <a:lnTo>
                  <a:pt x="212" y="696"/>
                </a:lnTo>
                <a:lnTo>
                  <a:pt x="181" y="721"/>
                </a:lnTo>
                <a:lnTo>
                  <a:pt x="169" y="728"/>
                </a:lnTo>
                <a:lnTo>
                  <a:pt x="151" y="721"/>
                </a:lnTo>
                <a:lnTo>
                  <a:pt x="115" y="707"/>
                </a:lnTo>
                <a:lnTo>
                  <a:pt x="97" y="707"/>
                </a:lnTo>
                <a:lnTo>
                  <a:pt x="79" y="721"/>
                </a:lnTo>
                <a:lnTo>
                  <a:pt x="56" y="741"/>
                </a:lnTo>
                <a:lnTo>
                  <a:pt x="45" y="751"/>
                </a:lnTo>
                <a:lnTo>
                  <a:pt x="31" y="755"/>
                </a:lnTo>
                <a:lnTo>
                  <a:pt x="13" y="764"/>
                </a:lnTo>
                <a:lnTo>
                  <a:pt x="2" y="773"/>
                </a:lnTo>
                <a:lnTo>
                  <a:pt x="0" y="780"/>
                </a:lnTo>
                <a:lnTo>
                  <a:pt x="13" y="782"/>
                </a:lnTo>
                <a:lnTo>
                  <a:pt x="24" y="791"/>
                </a:lnTo>
                <a:lnTo>
                  <a:pt x="38" y="798"/>
                </a:lnTo>
                <a:lnTo>
                  <a:pt x="52" y="791"/>
                </a:lnTo>
                <a:lnTo>
                  <a:pt x="65" y="785"/>
                </a:lnTo>
                <a:lnTo>
                  <a:pt x="79" y="787"/>
                </a:lnTo>
                <a:lnTo>
                  <a:pt x="101" y="800"/>
                </a:lnTo>
                <a:lnTo>
                  <a:pt x="122" y="810"/>
                </a:lnTo>
                <a:lnTo>
                  <a:pt x="135" y="800"/>
                </a:lnTo>
                <a:lnTo>
                  <a:pt x="142" y="785"/>
                </a:lnTo>
                <a:lnTo>
                  <a:pt x="165" y="771"/>
                </a:lnTo>
                <a:lnTo>
                  <a:pt x="178" y="771"/>
                </a:lnTo>
                <a:lnTo>
                  <a:pt x="192" y="785"/>
                </a:lnTo>
                <a:lnTo>
                  <a:pt x="203" y="794"/>
                </a:lnTo>
                <a:lnTo>
                  <a:pt x="219" y="794"/>
                </a:lnTo>
                <a:lnTo>
                  <a:pt x="242" y="796"/>
                </a:lnTo>
                <a:lnTo>
                  <a:pt x="256" y="803"/>
                </a:lnTo>
                <a:lnTo>
                  <a:pt x="271" y="791"/>
                </a:lnTo>
                <a:lnTo>
                  <a:pt x="283" y="791"/>
                </a:lnTo>
                <a:lnTo>
                  <a:pt x="294" y="798"/>
                </a:lnTo>
                <a:lnTo>
                  <a:pt x="310" y="814"/>
                </a:lnTo>
                <a:lnTo>
                  <a:pt x="328" y="816"/>
                </a:lnTo>
                <a:lnTo>
                  <a:pt x="351" y="821"/>
                </a:lnTo>
                <a:lnTo>
                  <a:pt x="364" y="830"/>
                </a:lnTo>
                <a:lnTo>
                  <a:pt x="382" y="835"/>
                </a:lnTo>
                <a:lnTo>
                  <a:pt x="396" y="825"/>
                </a:lnTo>
                <a:lnTo>
                  <a:pt x="416" y="814"/>
                </a:lnTo>
                <a:lnTo>
                  <a:pt x="428" y="812"/>
                </a:lnTo>
                <a:lnTo>
                  <a:pt x="444" y="810"/>
                </a:lnTo>
                <a:lnTo>
                  <a:pt x="457" y="796"/>
                </a:lnTo>
                <a:lnTo>
                  <a:pt x="446" y="785"/>
                </a:lnTo>
                <a:lnTo>
                  <a:pt x="423" y="771"/>
                </a:lnTo>
                <a:lnTo>
                  <a:pt x="416" y="764"/>
                </a:lnTo>
                <a:lnTo>
                  <a:pt x="416" y="755"/>
                </a:lnTo>
                <a:lnTo>
                  <a:pt x="425" y="746"/>
                </a:lnTo>
                <a:lnTo>
                  <a:pt x="444" y="744"/>
                </a:lnTo>
                <a:lnTo>
                  <a:pt x="459" y="737"/>
                </a:lnTo>
                <a:lnTo>
                  <a:pt x="487" y="707"/>
                </a:lnTo>
                <a:lnTo>
                  <a:pt x="498" y="694"/>
                </a:lnTo>
                <a:lnTo>
                  <a:pt x="503" y="669"/>
                </a:lnTo>
                <a:lnTo>
                  <a:pt x="503" y="653"/>
                </a:lnTo>
                <a:lnTo>
                  <a:pt x="491" y="644"/>
                </a:lnTo>
                <a:lnTo>
                  <a:pt x="473" y="630"/>
                </a:lnTo>
                <a:lnTo>
                  <a:pt x="459" y="623"/>
                </a:lnTo>
                <a:lnTo>
                  <a:pt x="444" y="626"/>
                </a:lnTo>
                <a:lnTo>
                  <a:pt x="432" y="633"/>
                </a:lnTo>
                <a:lnTo>
                  <a:pt x="428" y="621"/>
                </a:lnTo>
                <a:lnTo>
                  <a:pt x="437" y="605"/>
                </a:lnTo>
                <a:lnTo>
                  <a:pt x="441" y="594"/>
                </a:lnTo>
                <a:lnTo>
                  <a:pt x="439" y="571"/>
                </a:lnTo>
                <a:lnTo>
                  <a:pt x="437" y="540"/>
                </a:lnTo>
                <a:lnTo>
                  <a:pt x="444" y="515"/>
                </a:lnTo>
                <a:lnTo>
                  <a:pt x="439" y="501"/>
                </a:lnTo>
                <a:lnTo>
                  <a:pt x="428" y="481"/>
                </a:lnTo>
                <a:lnTo>
                  <a:pt x="403" y="437"/>
                </a:lnTo>
                <a:lnTo>
                  <a:pt x="394" y="417"/>
                </a:lnTo>
                <a:lnTo>
                  <a:pt x="389" y="392"/>
                </a:lnTo>
                <a:lnTo>
                  <a:pt x="387" y="378"/>
                </a:lnTo>
                <a:lnTo>
                  <a:pt x="394" y="353"/>
                </a:lnTo>
                <a:lnTo>
                  <a:pt x="394" y="335"/>
                </a:lnTo>
                <a:lnTo>
                  <a:pt x="389" y="315"/>
                </a:lnTo>
                <a:lnTo>
                  <a:pt x="378" y="304"/>
                </a:lnTo>
                <a:lnTo>
                  <a:pt x="360" y="285"/>
                </a:lnTo>
                <a:lnTo>
                  <a:pt x="346" y="279"/>
                </a:lnTo>
                <a:lnTo>
                  <a:pt x="330" y="276"/>
                </a:lnTo>
                <a:lnTo>
                  <a:pt x="321" y="274"/>
                </a:lnTo>
                <a:lnTo>
                  <a:pt x="321" y="265"/>
                </a:lnTo>
                <a:lnTo>
                  <a:pt x="326" y="256"/>
                </a:lnTo>
                <a:lnTo>
                  <a:pt x="344" y="254"/>
                </a:lnTo>
                <a:lnTo>
                  <a:pt x="357" y="260"/>
                </a:lnTo>
                <a:lnTo>
                  <a:pt x="367" y="263"/>
                </a:lnTo>
                <a:lnTo>
                  <a:pt x="373" y="251"/>
                </a:lnTo>
                <a:lnTo>
                  <a:pt x="371" y="240"/>
                </a:lnTo>
                <a:lnTo>
                  <a:pt x="432" y="183"/>
                </a:lnTo>
                <a:lnTo>
                  <a:pt x="444" y="172"/>
                </a:lnTo>
                <a:lnTo>
                  <a:pt x="444" y="147"/>
                </a:lnTo>
                <a:lnTo>
                  <a:pt x="428" y="133"/>
                </a:lnTo>
                <a:lnTo>
                  <a:pt x="412" y="131"/>
                </a:lnTo>
                <a:lnTo>
                  <a:pt x="396" y="108"/>
                </a:lnTo>
                <a:lnTo>
                  <a:pt x="367" y="108"/>
                </a:lnTo>
                <a:lnTo>
                  <a:pt x="342" y="113"/>
                </a:lnTo>
                <a:lnTo>
                  <a:pt x="335" y="111"/>
                </a:lnTo>
                <a:lnTo>
                  <a:pt x="328" y="102"/>
                </a:lnTo>
                <a:lnTo>
                  <a:pt x="342" y="93"/>
                </a:lnTo>
                <a:lnTo>
                  <a:pt x="353" y="81"/>
                </a:lnTo>
                <a:lnTo>
                  <a:pt x="378" y="58"/>
                </a:lnTo>
                <a:lnTo>
                  <a:pt x="398" y="56"/>
                </a:lnTo>
                <a:lnTo>
                  <a:pt x="419" y="40"/>
                </a:lnTo>
                <a:lnTo>
                  <a:pt x="437" y="27"/>
                </a:lnTo>
                <a:lnTo>
                  <a:pt x="394" y="15"/>
                </a:lnTo>
                <a:lnTo>
                  <a:pt x="376" y="13"/>
                </a:lnTo>
                <a:lnTo>
                  <a:pt x="355" y="11"/>
                </a:lnTo>
                <a:lnTo>
                  <a:pt x="330" y="0"/>
                </a:lnTo>
                <a:lnTo>
                  <a:pt x="308" y="24"/>
                </a:lnTo>
                <a:lnTo>
                  <a:pt x="310" y="36"/>
                </a:lnTo>
                <a:lnTo>
                  <a:pt x="296" y="40"/>
                </a:lnTo>
                <a:lnTo>
                  <a:pt x="278" y="54"/>
                </a:lnTo>
                <a:lnTo>
                  <a:pt x="258" y="61"/>
                </a:lnTo>
                <a:lnTo>
                  <a:pt x="258" y="79"/>
                </a:lnTo>
                <a:lnTo>
                  <a:pt x="256" y="93"/>
                </a:lnTo>
                <a:lnTo>
                  <a:pt x="240" y="115"/>
                </a:lnTo>
                <a:lnTo>
                  <a:pt x="212" y="145"/>
                </a:lnTo>
                <a:lnTo>
                  <a:pt x="203" y="161"/>
                </a:lnTo>
                <a:lnTo>
                  <a:pt x="208" y="170"/>
                </a:lnTo>
                <a:lnTo>
                  <a:pt x="235" y="167"/>
                </a:lnTo>
                <a:lnTo>
                  <a:pt x="237" y="172"/>
                </a:lnTo>
                <a:lnTo>
                  <a:pt x="237" y="183"/>
                </a:lnTo>
                <a:lnTo>
                  <a:pt x="201" y="231"/>
                </a:lnTo>
                <a:lnTo>
                  <a:pt x="188" y="256"/>
                </a:lnTo>
                <a:lnTo>
                  <a:pt x="178" y="279"/>
                </a:lnTo>
                <a:lnTo>
                  <a:pt x="188" y="290"/>
                </a:lnTo>
                <a:lnTo>
                  <a:pt x="206" y="270"/>
                </a:lnTo>
                <a:lnTo>
                  <a:pt x="222" y="245"/>
                </a:lnTo>
                <a:lnTo>
                  <a:pt x="233" y="251"/>
                </a:lnTo>
                <a:lnTo>
                  <a:pt x="235" y="288"/>
                </a:lnTo>
                <a:lnTo>
                  <a:pt x="237" y="310"/>
                </a:lnTo>
                <a:lnTo>
                  <a:pt x="215" y="322"/>
                </a:lnTo>
                <a:lnTo>
                  <a:pt x="201" y="338"/>
                </a:lnTo>
                <a:lnTo>
                  <a:pt x="197" y="349"/>
                </a:lnTo>
                <a:lnTo>
                  <a:pt x="224" y="374"/>
                </a:lnTo>
                <a:lnTo>
                  <a:pt x="251" y="369"/>
                </a:lnTo>
                <a:lnTo>
                  <a:pt x="256" y="385"/>
                </a:lnTo>
                <a:lnTo>
                  <a:pt x="283" y="367"/>
                </a:lnTo>
                <a:lnTo>
                  <a:pt x="280" y="381"/>
                </a:lnTo>
                <a:lnTo>
                  <a:pt x="258" y="408"/>
                </a:lnTo>
                <a:lnTo>
                  <a:pt x="269" y="437"/>
                </a:lnTo>
                <a:lnTo>
                  <a:pt x="271" y="453"/>
                </a:lnTo>
                <a:lnTo>
                  <a:pt x="294" y="456"/>
                </a:lnTo>
                <a:lnTo>
                  <a:pt x="294" y="469"/>
                </a:lnTo>
                <a:lnTo>
                  <a:pt x="269" y="503"/>
                </a:lnTo>
                <a:lnTo>
                  <a:pt x="258" y="499"/>
                </a:lnTo>
                <a:lnTo>
                  <a:pt x="249" y="508"/>
                </a:lnTo>
                <a:lnTo>
                  <a:pt x="246" y="526"/>
                </a:lnTo>
                <a:lnTo>
                  <a:pt x="219" y="510"/>
                </a:lnTo>
                <a:lnTo>
                  <a:pt x="149" y="535"/>
                </a:lnTo>
              </a:path>
            </a:pathLst>
          </a:custGeom>
          <a:solidFill>
            <a:schemeClr val="accent3"/>
          </a:solidFill>
          <a:ln w="12700" cap="rnd">
            <a:solidFill>
              <a:schemeClr val="bg1"/>
            </a:solidFill>
            <a:round/>
            <a:headEnd/>
            <a:tailEnd/>
          </a:ln>
        </p:spPr>
        <p:txBody>
          <a:bodyPr/>
          <a:lstStyle/>
          <a:p>
            <a:pPr>
              <a:defRPr/>
            </a:pPr>
            <a:endParaRPr lang="en-GB"/>
          </a:p>
        </p:txBody>
      </p:sp>
      <p:sp>
        <p:nvSpPr>
          <p:cNvPr id="48" name="Freeform 53"/>
          <p:cNvSpPr>
            <a:spLocks/>
          </p:cNvSpPr>
          <p:nvPr/>
        </p:nvSpPr>
        <p:spPr bwMode="auto">
          <a:xfrm>
            <a:off x="3637137" y="3359875"/>
            <a:ext cx="49054" cy="45171"/>
          </a:xfrm>
          <a:custGeom>
            <a:avLst/>
            <a:gdLst>
              <a:gd name="T0" fmla="*/ 18 w 42"/>
              <a:gd name="T1" fmla="*/ 0 h 38"/>
              <a:gd name="T2" fmla="*/ 30 w 42"/>
              <a:gd name="T3" fmla="*/ 2 h 38"/>
              <a:gd name="T4" fmla="*/ 33 w 42"/>
              <a:gd name="T5" fmla="*/ 11 h 38"/>
              <a:gd name="T6" fmla="*/ 18 w 42"/>
              <a:gd name="T7" fmla="*/ 20 h 38"/>
              <a:gd name="T8" fmla="*/ 2 w 42"/>
              <a:gd name="T9" fmla="*/ 24 h 38"/>
              <a:gd name="T10" fmla="*/ 0 w 42"/>
              <a:gd name="T11" fmla="*/ 12 h 38"/>
              <a:gd name="T12" fmla="*/ 18 w 42"/>
              <a:gd name="T13" fmla="*/ 0 h 38"/>
              <a:gd name="T14" fmla="*/ 0 60000 65536"/>
              <a:gd name="T15" fmla="*/ 0 60000 65536"/>
              <a:gd name="T16" fmla="*/ 0 60000 65536"/>
              <a:gd name="T17" fmla="*/ 0 60000 65536"/>
              <a:gd name="T18" fmla="*/ 0 60000 65536"/>
              <a:gd name="T19" fmla="*/ 0 60000 65536"/>
              <a:gd name="T20" fmla="*/ 0 60000 65536"/>
              <a:gd name="T21" fmla="*/ 0 w 42"/>
              <a:gd name="T22" fmla="*/ 0 h 38"/>
              <a:gd name="T23" fmla="*/ 42 w 42"/>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38">
                <a:moveTo>
                  <a:pt x="22" y="0"/>
                </a:moveTo>
                <a:lnTo>
                  <a:pt x="38" y="2"/>
                </a:lnTo>
                <a:lnTo>
                  <a:pt x="41" y="17"/>
                </a:lnTo>
                <a:lnTo>
                  <a:pt x="22" y="31"/>
                </a:lnTo>
                <a:lnTo>
                  <a:pt x="2" y="37"/>
                </a:lnTo>
                <a:lnTo>
                  <a:pt x="0" y="19"/>
                </a:lnTo>
                <a:lnTo>
                  <a:pt x="22" y="0"/>
                </a:lnTo>
              </a:path>
            </a:pathLst>
          </a:custGeom>
          <a:solidFill>
            <a:schemeClr val="accent3"/>
          </a:solidFill>
          <a:ln w="12700" cap="rnd">
            <a:solidFill>
              <a:schemeClr val="bg1"/>
            </a:solidFill>
            <a:round/>
            <a:headEnd/>
            <a:tailEnd/>
          </a:ln>
        </p:spPr>
        <p:txBody>
          <a:bodyPr/>
          <a:lstStyle/>
          <a:p>
            <a:pPr>
              <a:defRPr/>
            </a:pPr>
            <a:endParaRPr lang="en-GB"/>
          </a:p>
        </p:txBody>
      </p:sp>
      <p:sp>
        <p:nvSpPr>
          <p:cNvPr id="49" name="Freeform 54"/>
          <p:cNvSpPr>
            <a:spLocks/>
          </p:cNvSpPr>
          <p:nvPr/>
        </p:nvSpPr>
        <p:spPr bwMode="auto">
          <a:xfrm>
            <a:off x="3602800" y="3131365"/>
            <a:ext cx="50280" cy="43842"/>
          </a:xfrm>
          <a:custGeom>
            <a:avLst/>
            <a:gdLst>
              <a:gd name="T0" fmla="*/ 29 w 43"/>
              <a:gd name="T1" fmla="*/ 0 h 38"/>
              <a:gd name="T2" fmla="*/ 34 w 43"/>
              <a:gd name="T3" fmla="*/ 10 h 38"/>
              <a:gd name="T4" fmla="*/ 18 w 43"/>
              <a:gd name="T5" fmla="*/ 17 h 38"/>
              <a:gd name="T6" fmla="*/ 4 w 43"/>
              <a:gd name="T7" fmla="*/ 21 h 38"/>
              <a:gd name="T8" fmla="*/ 0 w 43"/>
              <a:gd name="T9" fmla="*/ 11 h 38"/>
              <a:gd name="T10" fmla="*/ 8 w 43"/>
              <a:gd name="T11" fmla="*/ 3 h 38"/>
              <a:gd name="T12" fmla="*/ 29 w 43"/>
              <a:gd name="T13" fmla="*/ 0 h 38"/>
              <a:gd name="T14" fmla="*/ 0 60000 65536"/>
              <a:gd name="T15" fmla="*/ 0 60000 65536"/>
              <a:gd name="T16" fmla="*/ 0 60000 65536"/>
              <a:gd name="T17" fmla="*/ 0 60000 65536"/>
              <a:gd name="T18" fmla="*/ 0 60000 65536"/>
              <a:gd name="T19" fmla="*/ 0 60000 65536"/>
              <a:gd name="T20" fmla="*/ 0 60000 65536"/>
              <a:gd name="T21" fmla="*/ 0 w 43"/>
              <a:gd name="T22" fmla="*/ 0 h 38"/>
              <a:gd name="T23" fmla="*/ 43 w 43"/>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8">
                <a:moveTo>
                  <a:pt x="35" y="0"/>
                </a:moveTo>
                <a:lnTo>
                  <a:pt x="42" y="17"/>
                </a:lnTo>
                <a:lnTo>
                  <a:pt x="22" y="31"/>
                </a:lnTo>
                <a:lnTo>
                  <a:pt x="4" y="37"/>
                </a:lnTo>
                <a:lnTo>
                  <a:pt x="0" y="19"/>
                </a:lnTo>
                <a:lnTo>
                  <a:pt x="8" y="5"/>
                </a:lnTo>
                <a:lnTo>
                  <a:pt x="35" y="0"/>
                </a:lnTo>
              </a:path>
            </a:pathLst>
          </a:custGeom>
          <a:solidFill>
            <a:schemeClr val="accent3"/>
          </a:solidFill>
          <a:ln w="12700" cap="rnd">
            <a:solidFill>
              <a:schemeClr val="bg1"/>
            </a:solidFill>
            <a:round/>
            <a:headEnd/>
            <a:tailEnd/>
          </a:ln>
        </p:spPr>
        <p:txBody>
          <a:bodyPr/>
          <a:lstStyle/>
          <a:p>
            <a:pPr>
              <a:defRPr/>
            </a:pPr>
            <a:endParaRPr lang="en-GB"/>
          </a:p>
        </p:txBody>
      </p:sp>
      <p:sp>
        <p:nvSpPr>
          <p:cNvPr id="50" name="Freeform 55"/>
          <p:cNvSpPr>
            <a:spLocks/>
          </p:cNvSpPr>
          <p:nvPr/>
        </p:nvSpPr>
        <p:spPr bwMode="auto">
          <a:xfrm>
            <a:off x="3677607" y="2954668"/>
            <a:ext cx="41696" cy="67756"/>
          </a:xfrm>
          <a:custGeom>
            <a:avLst/>
            <a:gdLst>
              <a:gd name="T0" fmla="*/ 10 w 36"/>
              <a:gd name="T1" fmla="*/ 34 h 58"/>
              <a:gd name="T2" fmla="*/ 27 w 36"/>
              <a:gd name="T3" fmla="*/ 26 h 58"/>
              <a:gd name="T4" fmla="*/ 23 w 36"/>
              <a:gd name="T5" fmla="*/ 15 h 58"/>
              <a:gd name="T6" fmla="*/ 17 w 36"/>
              <a:gd name="T7" fmla="*/ 8 h 58"/>
              <a:gd name="T8" fmla="*/ 10 w 36"/>
              <a:gd name="T9" fmla="*/ 0 h 58"/>
              <a:gd name="T10" fmla="*/ 0 w 36"/>
              <a:gd name="T11" fmla="*/ 4 h 58"/>
              <a:gd name="T12" fmla="*/ 7 w 36"/>
              <a:gd name="T13" fmla="*/ 16 h 58"/>
              <a:gd name="T14" fmla="*/ 10 w 36"/>
              <a:gd name="T15" fmla="*/ 34 h 58"/>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58"/>
              <a:gd name="T26" fmla="*/ 36 w 36"/>
              <a:gd name="T27" fmla="*/ 58 h 5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58">
                <a:moveTo>
                  <a:pt x="14" y="57"/>
                </a:moveTo>
                <a:lnTo>
                  <a:pt x="35" y="43"/>
                </a:lnTo>
                <a:lnTo>
                  <a:pt x="28" y="25"/>
                </a:lnTo>
                <a:lnTo>
                  <a:pt x="21" y="13"/>
                </a:lnTo>
                <a:lnTo>
                  <a:pt x="14" y="0"/>
                </a:lnTo>
                <a:lnTo>
                  <a:pt x="0" y="6"/>
                </a:lnTo>
                <a:lnTo>
                  <a:pt x="7" y="27"/>
                </a:lnTo>
                <a:lnTo>
                  <a:pt x="14" y="57"/>
                </a:lnTo>
              </a:path>
            </a:pathLst>
          </a:custGeom>
          <a:solidFill>
            <a:schemeClr val="accent3"/>
          </a:solidFill>
          <a:ln w="12700" cap="rnd">
            <a:solidFill>
              <a:schemeClr val="bg1"/>
            </a:solidFill>
            <a:round/>
            <a:headEnd/>
            <a:tailEnd/>
          </a:ln>
        </p:spPr>
        <p:txBody>
          <a:bodyPr/>
          <a:lstStyle/>
          <a:p>
            <a:pPr>
              <a:defRPr/>
            </a:pPr>
            <a:endParaRPr lang="en-GB"/>
          </a:p>
        </p:txBody>
      </p:sp>
      <p:sp>
        <p:nvSpPr>
          <p:cNvPr id="51" name="Freeform 56"/>
          <p:cNvSpPr>
            <a:spLocks/>
          </p:cNvSpPr>
          <p:nvPr/>
        </p:nvSpPr>
        <p:spPr bwMode="auto">
          <a:xfrm>
            <a:off x="3482617" y="3220378"/>
            <a:ext cx="126314" cy="127541"/>
          </a:xfrm>
          <a:custGeom>
            <a:avLst/>
            <a:gdLst>
              <a:gd name="T0" fmla="*/ 30 w 109"/>
              <a:gd name="T1" fmla="*/ 0 h 109"/>
              <a:gd name="T2" fmla="*/ 51 w 109"/>
              <a:gd name="T3" fmla="*/ 0 h 109"/>
              <a:gd name="T4" fmla="*/ 65 w 109"/>
              <a:gd name="T5" fmla="*/ 4 h 109"/>
              <a:gd name="T6" fmla="*/ 75 w 109"/>
              <a:gd name="T7" fmla="*/ 13 h 109"/>
              <a:gd name="T8" fmla="*/ 84 w 109"/>
              <a:gd name="T9" fmla="*/ 29 h 109"/>
              <a:gd name="T10" fmla="*/ 86 w 109"/>
              <a:gd name="T11" fmla="*/ 44 h 109"/>
              <a:gd name="T12" fmla="*/ 77 w 109"/>
              <a:gd name="T13" fmla="*/ 53 h 109"/>
              <a:gd name="T14" fmla="*/ 73 w 109"/>
              <a:gd name="T15" fmla="*/ 62 h 109"/>
              <a:gd name="T16" fmla="*/ 62 w 109"/>
              <a:gd name="T17" fmla="*/ 65 h 109"/>
              <a:gd name="T18" fmla="*/ 54 w 109"/>
              <a:gd name="T19" fmla="*/ 56 h 109"/>
              <a:gd name="T20" fmla="*/ 44 w 109"/>
              <a:gd name="T21" fmla="*/ 41 h 109"/>
              <a:gd name="T22" fmla="*/ 39 w 109"/>
              <a:gd name="T23" fmla="*/ 35 h 109"/>
              <a:gd name="T24" fmla="*/ 23 w 109"/>
              <a:gd name="T25" fmla="*/ 33 h 109"/>
              <a:gd name="T26" fmla="*/ 0 w 109"/>
              <a:gd name="T27" fmla="*/ 18 h 109"/>
              <a:gd name="T28" fmla="*/ 30 w 109"/>
              <a:gd name="T29" fmla="*/ 0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109"/>
              <a:gd name="T47" fmla="*/ 109 w 109"/>
              <a:gd name="T48" fmla="*/ 109 h 1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109">
                <a:moveTo>
                  <a:pt x="38" y="0"/>
                </a:moveTo>
                <a:lnTo>
                  <a:pt x="63" y="0"/>
                </a:lnTo>
                <a:lnTo>
                  <a:pt x="81" y="4"/>
                </a:lnTo>
                <a:lnTo>
                  <a:pt x="94" y="22"/>
                </a:lnTo>
                <a:lnTo>
                  <a:pt x="105" y="49"/>
                </a:lnTo>
                <a:lnTo>
                  <a:pt x="108" y="74"/>
                </a:lnTo>
                <a:lnTo>
                  <a:pt x="96" y="87"/>
                </a:lnTo>
                <a:lnTo>
                  <a:pt x="92" y="103"/>
                </a:lnTo>
                <a:lnTo>
                  <a:pt x="78" y="108"/>
                </a:lnTo>
                <a:lnTo>
                  <a:pt x="67" y="94"/>
                </a:lnTo>
                <a:lnTo>
                  <a:pt x="56" y="67"/>
                </a:lnTo>
                <a:lnTo>
                  <a:pt x="49" y="58"/>
                </a:lnTo>
                <a:lnTo>
                  <a:pt x="27" y="56"/>
                </a:lnTo>
                <a:lnTo>
                  <a:pt x="0" y="29"/>
                </a:lnTo>
                <a:lnTo>
                  <a:pt x="38" y="0"/>
                </a:lnTo>
              </a:path>
            </a:pathLst>
          </a:custGeom>
          <a:solidFill>
            <a:schemeClr val="accent3"/>
          </a:solidFill>
          <a:ln w="12700" cap="rnd">
            <a:solidFill>
              <a:schemeClr val="bg1"/>
            </a:solidFill>
            <a:round/>
            <a:headEnd/>
            <a:tailEnd/>
          </a:ln>
        </p:spPr>
        <p:txBody>
          <a:bodyPr/>
          <a:lstStyle/>
          <a:p>
            <a:pPr>
              <a:defRPr/>
            </a:pPr>
            <a:endParaRPr lang="en-GB"/>
          </a:p>
        </p:txBody>
      </p:sp>
      <p:sp>
        <p:nvSpPr>
          <p:cNvPr id="52" name="Freeform 57"/>
          <p:cNvSpPr>
            <a:spLocks/>
          </p:cNvSpPr>
          <p:nvPr/>
        </p:nvSpPr>
        <p:spPr bwMode="auto">
          <a:xfrm>
            <a:off x="3669023" y="2876283"/>
            <a:ext cx="67449" cy="50485"/>
          </a:xfrm>
          <a:custGeom>
            <a:avLst/>
            <a:gdLst>
              <a:gd name="T0" fmla="*/ 41 w 58"/>
              <a:gd name="T1" fmla="*/ 0 h 43"/>
              <a:gd name="T2" fmla="*/ 46 w 58"/>
              <a:gd name="T3" fmla="*/ 5 h 43"/>
              <a:gd name="T4" fmla="*/ 27 w 58"/>
              <a:gd name="T5" fmla="*/ 13 h 43"/>
              <a:gd name="T6" fmla="*/ 9 w 58"/>
              <a:gd name="T7" fmla="*/ 26 h 43"/>
              <a:gd name="T8" fmla="*/ 2 w 58"/>
              <a:gd name="T9" fmla="*/ 23 h 43"/>
              <a:gd name="T10" fmla="*/ 0 w 58"/>
              <a:gd name="T11" fmla="*/ 9 h 43"/>
              <a:gd name="T12" fmla="*/ 0 w 58"/>
              <a:gd name="T13" fmla="*/ 4 h 43"/>
              <a:gd name="T14" fmla="*/ 27 w 58"/>
              <a:gd name="T15" fmla="*/ 0 h 43"/>
              <a:gd name="T16" fmla="*/ 41 w 58"/>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8"/>
              <a:gd name="T28" fmla="*/ 0 h 43"/>
              <a:gd name="T29" fmla="*/ 58 w 58"/>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8" h="43">
                <a:moveTo>
                  <a:pt x="50" y="0"/>
                </a:moveTo>
                <a:lnTo>
                  <a:pt x="57" y="9"/>
                </a:lnTo>
                <a:lnTo>
                  <a:pt x="34" y="21"/>
                </a:lnTo>
                <a:lnTo>
                  <a:pt x="13" y="42"/>
                </a:lnTo>
                <a:lnTo>
                  <a:pt x="2" y="37"/>
                </a:lnTo>
                <a:lnTo>
                  <a:pt x="0" y="14"/>
                </a:lnTo>
                <a:lnTo>
                  <a:pt x="0" y="7"/>
                </a:lnTo>
                <a:lnTo>
                  <a:pt x="34" y="0"/>
                </a:lnTo>
                <a:lnTo>
                  <a:pt x="50" y="0"/>
                </a:lnTo>
              </a:path>
            </a:pathLst>
          </a:custGeom>
          <a:solidFill>
            <a:schemeClr val="accent3"/>
          </a:solidFill>
          <a:ln w="12700" cap="rnd">
            <a:solidFill>
              <a:schemeClr val="bg1"/>
            </a:solidFill>
            <a:round/>
            <a:headEnd/>
            <a:tailEnd/>
          </a:ln>
        </p:spPr>
        <p:txBody>
          <a:bodyPr/>
          <a:lstStyle/>
          <a:p>
            <a:pPr>
              <a:defRPr/>
            </a:pPr>
            <a:endParaRPr lang="en-GB"/>
          </a:p>
        </p:txBody>
      </p:sp>
      <p:sp>
        <p:nvSpPr>
          <p:cNvPr id="53" name="Freeform 58"/>
          <p:cNvSpPr>
            <a:spLocks/>
          </p:cNvSpPr>
          <p:nvPr/>
        </p:nvSpPr>
        <p:spPr bwMode="auto">
          <a:xfrm>
            <a:off x="3264327" y="1628775"/>
            <a:ext cx="485635" cy="423807"/>
          </a:xfrm>
          <a:custGeom>
            <a:avLst/>
            <a:gdLst>
              <a:gd name="T0" fmla="*/ 16 w 416"/>
              <a:gd name="T1" fmla="*/ 58 h 363"/>
              <a:gd name="T2" fmla="*/ 41 w 416"/>
              <a:gd name="T3" fmla="*/ 76 h 363"/>
              <a:gd name="T4" fmla="*/ 53 w 416"/>
              <a:gd name="T5" fmla="*/ 105 h 363"/>
              <a:gd name="T6" fmla="*/ 30 w 416"/>
              <a:gd name="T7" fmla="*/ 126 h 363"/>
              <a:gd name="T8" fmla="*/ 0 w 416"/>
              <a:gd name="T9" fmla="*/ 125 h 363"/>
              <a:gd name="T10" fmla="*/ 45 w 416"/>
              <a:gd name="T11" fmla="*/ 154 h 363"/>
              <a:gd name="T12" fmla="*/ 61 w 416"/>
              <a:gd name="T13" fmla="*/ 188 h 363"/>
              <a:gd name="T14" fmla="*/ 104 w 416"/>
              <a:gd name="T15" fmla="*/ 204 h 363"/>
              <a:gd name="T16" fmla="*/ 129 w 416"/>
              <a:gd name="T17" fmla="*/ 212 h 363"/>
              <a:gd name="T18" fmla="*/ 175 w 416"/>
              <a:gd name="T19" fmla="*/ 212 h 363"/>
              <a:gd name="T20" fmla="*/ 212 w 416"/>
              <a:gd name="T21" fmla="*/ 214 h 363"/>
              <a:gd name="T22" fmla="*/ 236 w 416"/>
              <a:gd name="T23" fmla="*/ 204 h 363"/>
              <a:gd name="T24" fmla="*/ 256 w 416"/>
              <a:gd name="T25" fmla="*/ 214 h 363"/>
              <a:gd name="T26" fmla="*/ 279 w 416"/>
              <a:gd name="T27" fmla="*/ 202 h 363"/>
              <a:gd name="T28" fmla="*/ 312 w 416"/>
              <a:gd name="T29" fmla="*/ 193 h 363"/>
              <a:gd name="T30" fmla="*/ 322 w 416"/>
              <a:gd name="T31" fmla="*/ 178 h 363"/>
              <a:gd name="T32" fmla="*/ 341 w 416"/>
              <a:gd name="T33" fmla="*/ 160 h 363"/>
              <a:gd name="T34" fmla="*/ 326 w 416"/>
              <a:gd name="T35" fmla="*/ 146 h 363"/>
              <a:gd name="T36" fmla="*/ 336 w 416"/>
              <a:gd name="T37" fmla="*/ 111 h 363"/>
              <a:gd name="T38" fmla="*/ 317 w 416"/>
              <a:gd name="T39" fmla="*/ 101 h 363"/>
              <a:gd name="T40" fmla="*/ 314 w 416"/>
              <a:gd name="T41" fmla="*/ 96 h 363"/>
              <a:gd name="T42" fmla="*/ 303 w 416"/>
              <a:gd name="T43" fmla="*/ 84 h 363"/>
              <a:gd name="T44" fmla="*/ 277 w 416"/>
              <a:gd name="T45" fmla="*/ 98 h 363"/>
              <a:gd name="T46" fmla="*/ 260 w 416"/>
              <a:gd name="T47" fmla="*/ 92 h 363"/>
              <a:gd name="T48" fmla="*/ 232 w 416"/>
              <a:gd name="T49" fmla="*/ 84 h 363"/>
              <a:gd name="T50" fmla="*/ 217 w 416"/>
              <a:gd name="T51" fmla="*/ 82 h 363"/>
              <a:gd name="T52" fmla="*/ 210 w 416"/>
              <a:gd name="T53" fmla="*/ 73 h 363"/>
              <a:gd name="T54" fmla="*/ 179 w 416"/>
              <a:gd name="T55" fmla="*/ 75 h 363"/>
              <a:gd name="T56" fmla="*/ 175 w 416"/>
              <a:gd name="T57" fmla="*/ 64 h 363"/>
              <a:gd name="T58" fmla="*/ 160 w 416"/>
              <a:gd name="T59" fmla="*/ 69 h 363"/>
              <a:gd name="T60" fmla="*/ 150 w 416"/>
              <a:gd name="T61" fmla="*/ 69 h 363"/>
              <a:gd name="T62" fmla="*/ 129 w 416"/>
              <a:gd name="T63" fmla="*/ 76 h 363"/>
              <a:gd name="T64" fmla="*/ 124 w 416"/>
              <a:gd name="T65" fmla="*/ 54 h 363"/>
              <a:gd name="T66" fmla="*/ 140 w 416"/>
              <a:gd name="T67" fmla="*/ 40 h 363"/>
              <a:gd name="T68" fmla="*/ 140 w 416"/>
              <a:gd name="T69" fmla="*/ 13 h 363"/>
              <a:gd name="T70" fmla="*/ 129 w 416"/>
              <a:gd name="T71" fmla="*/ 0 h 363"/>
              <a:gd name="T72" fmla="*/ 119 w 416"/>
              <a:gd name="T73" fmla="*/ 17 h 363"/>
              <a:gd name="T74" fmla="*/ 106 w 416"/>
              <a:gd name="T75" fmla="*/ 18 h 363"/>
              <a:gd name="T76" fmla="*/ 102 w 416"/>
              <a:gd name="T77" fmla="*/ 4 h 363"/>
              <a:gd name="T78" fmla="*/ 81 w 416"/>
              <a:gd name="T79" fmla="*/ 12 h 363"/>
              <a:gd name="T80" fmla="*/ 80 w 416"/>
              <a:gd name="T81" fmla="*/ 24 h 363"/>
              <a:gd name="T82" fmla="*/ 65 w 416"/>
              <a:gd name="T83" fmla="*/ 16 h 363"/>
              <a:gd name="T84" fmla="*/ 51 w 416"/>
              <a:gd name="T85" fmla="*/ 24 h 363"/>
              <a:gd name="T86" fmla="*/ 72 w 416"/>
              <a:gd name="T87" fmla="*/ 35 h 363"/>
              <a:gd name="T88" fmla="*/ 93 w 416"/>
              <a:gd name="T89" fmla="*/ 47 h 363"/>
              <a:gd name="T90" fmla="*/ 80 w 416"/>
              <a:gd name="T91" fmla="*/ 56 h 363"/>
              <a:gd name="T92" fmla="*/ 87 w 416"/>
              <a:gd name="T93" fmla="*/ 71 h 363"/>
              <a:gd name="T94" fmla="*/ 70 w 416"/>
              <a:gd name="T95" fmla="*/ 76 h 363"/>
              <a:gd name="T96" fmla="*/ 41 w 416"/>
              <a:gd name="T97" fmla="*/ 55 h 36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16"/>
              <a:gd name="T148" fmla="*/ 0 h 363"/>
              <a:gd name="T149" fmla="*/ 416 w 416"/>
              <a:gd name="T150" fmla="*/ 363 h 36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16" h="363">
                <a:moveTo>
                  <a:pt x="31" y="84"/>
                </a:moveTo>
                <a:lnTo>
                  <a:pt x="20" y="97"/>
                </a:lnTo>
                <a:lnTo>
                  <a:pt x="34" y="122"/>
                </a:lnTo>
                <a:lnTo>
                  <a:pt x="49" y="127"/>
                </a:lnTo>
                <a:lnTo>
                  <a:pt x="65" y="138"/>
                </a:lnTo>
                <a:lnTo>
                  <a:pt x="65" y="177"/>
                </a:lnTo>
                <a:lnTo>
                  <a:pt x="52" y="204"/>
                </a:lnTo>
                <a:lnTo>
                  <a:pt x="38" y="211"/>
                </a:lnTo>
                <a:lnTo>
                  <a:pt x="4" y="204"/>
                </a:lnTo>
                <a:lnTo>
                  <a:pt x="0" y="209"/>
                </a:lnTo>
                <a:lnTo>
                  <a:pt x="40" y="250"/>
                </a:lnTo>
                <a:lnTo>
                  <a:pt x="54" y="257"/>
                </a:lnTo>
                <a:lnTo>
                  <a:pt x="61" y="286"/>
                </a:lnTo>
                <a:lnTo>
                  <a:pt x="74" y="316"/>
                </a:lnTo>
                <a:lnTo>
                  <a:pt x="99" y="336"/>
                </a:lnTo>
                <a:lnTo>
                  <a:pt x="126" y="341"/>
                </a:lnTo>
                <a:lnTo>
                  <a:pt x="142" y="355"/>
                </a:lnTo>
                <a:lnTo>
                  <a:pt x="158" y="355"/>
                </a:lnTo>
                <a:lnTo>
                  <a:pt x="176" y="346"/>
                </a:lnTo>
                <a:lnTo>
                  <a:pt x="213" y="355"/>
                </a:lnTo>
                <a:lnTo>
                  <a:pt x="233" y="362"/>
                </a:lnTo>
                <a:lnTo>
                  <a:pt x="258" y="357"/>
                </a:lnTo>
                <a:lnTo>
                  <a:pt x="274" y="355"/>
                </a:lnTo>
                <a:lnTo>
                  <a:pt x="288" y="341"/>
                </a:lnTo>
                <a:lnTo>
                  <a:pt x="299" y="346"/>
                </a:lnTo>
                <a:lnTo>
                  <a:pt x="312" y="357"/>
                </a:lnTo>
                <a:lnTo>
                  <a:pt x="328" y="350"/>
                </a:lnTo>
                <a:lnTo>
                  <a:pt x="340" y="339"/>
                </a:lnTo>
                <a:lnTo>
                  <a:pt x="349" y="330"/>
                </a:lnTo>
                <a:lnTo>
                  <a:pt x="380" y="323"/>
                </a:lnTo>
                <a:lnTo>
                  <a:pt x="387" y="314"/>
                </a:lnTo>
                <a:lnTo>
                  <a:pt x="392" y="298"/>
                </a:lnTo>
                <a:lnTo>
                  <a:pt x="412" y="282"/>
                </a:lnTo>
                <a:lnTo>
                  <a:pt x="415" y="268"/>
                </a:lnTo>
                <a:lnTo>
                  <a:pt x="408" y="259"/>
                </a:lnTo>
                <a:lnTo>
                  <a:pt x="396" y="245"/>
                </a:lnTo>
                <a:lnTo>
                  <a:pt x="394" y="193"/>
                </a:lnTo>
                <a:lnTo>
                  <a:pt x="410" y="186"/>
                </a:lnTo>
                <a:lnTo>
                  <a:pt x="401" y="170"/>
                </a:lnTo>
                <a:lnTo>
                  <a:pt x="387" y="170"/>
                </a:lnTo>
                <a:lnTo>
                  <a:pt x="378" y="170"/>
                </a:lnTo>
                <a:lnTo>
                  <a:pt x="383" y="161"/>
                </a:lnTo>
                <a:lnTo>
                  <a:pt x="378" y="145"/>
                </a:lnTo>
                <a:lnTo>
                  <a:pt x="369" y="141"/>
                </a:lnTo>
                <a:lnTo>
                  <a:pt x="351" y="150"/>
                </a:lnTo>
                <a:lnTo>
                  <a:pt x="337" y="163"/>
                </a:lnTo>
                <a:lnTo>
                  <a:pt x="328" y="161"/>
                </a:lnTo>
                <a:lnTo>
                  <a:pt x="317" y="154"/>
                </a:lnTo>
                <a:lnTo>
                  <a:pt x="301" y="145"/>
                </a:lnTo>
                <a:lnTo>
                  <a:pt x="283" y="141"/>
                </a:lnTo>
                <a:lnTo>
                  <a:pt x="274" y="145"/>
                </a:lnTo>
                <a:lnTo>
                  <a:pt x="265" y="138"/>
                </a:lnTo>
                <a:lnTo>
                  <a:pt x="265" y="125"/>
                </a:lnTo>
                <a:lnTo>
                  <a:pt x="256" y="122"/>
                </a:lnTo>
                <a:lnTo>
                  <a:pt x="238" y="127"/>
                </a:lnTo>
                <a:lnTo>
                  <a:pt x="219" y="125"/>
                </a:lnTo>
                <a:lnTo>
                  <a:pt x="219" y="116"/>
                </a:lnTo>
                <a:lnTo>
                  <a:pt x="213" y="107"/>
                </a:lnTo>
                <a:lnTo>
                  <a:pt x="201" y="104"/>
                </a:lnTo>
                <a:lnTo>
                  <a:pt x="195" y="116"/>
                </a:lnTo>
                <a:lnTo>
                  <a:pt x="190" y="120"/>
                </a:lnTo>
                <a:lnTo>
                  <a:pt x="183" y="116"/>
                </a:lnTo>
                <a:lnTo>
                  <a:pt x="170" y="118"/>
                </a:lnTo>
                <a:lnTo>
                  <a:pt x="158" y="129"/>
                </a:lnTo>
                <a:lnTo>
                  <a:pt x="149" y="120"/>
                </a:lnTo>
                <a:lnTo>
                  <a:pt x="151" y="91"/>
                </a:lnTo>
                <a:lnTo>
                  <a:pt x="161" y="75"/>
                </a:lnTo>
                <a:lnTo>
                  <a:pt x="170" y="66"/>
                </a:lnTo>
                <a:lnTo>
                  <a:pt x="167" y="45"/>
                </a:lnTo>
                <a:lnTo>
                  <a:pt x="170" y="22"/>
                </a:lnTo>
                <a:lnTo>
                  <a:pt x="165" y="0"/>
                </a:lnTo>
                <a:lnTo>
                  <a:pt x="158" y="0"/>
                </a:lnTo>
                <a:lnTo>
                  <a:pt x="149" y="9"/>
                </a:lnTo>
                <a:lnTo>
                  <a:pt x="145" y="29"/>
                </a:lnTo>
                <a:lnTo>
                  <a:pt x="138" y="45"/>
                </a:lnTo>
                <a:lnTo>
                  <a:pt x="129" y="31"/>
                </a:lnTo>
                <a:lnTo>
                  <a:pt x="136" y="15"/>
                </a:lnTo>
                <a:lnTo>
                  <a:pt x="124" y="6"/>
                </a:lnTo>
                <a:lnTo>
                  <a:pt x="106" y="9"/>
                </a:lnTo>
                <a:lnTo>
                  <a:pt x="99" y="20"/>
                </a:lnTo>
                <a:lnTo>
                  <a:pt x="104" y="29"/>
                </a:lnTo>
                <a:lnTo>
                  <a:pt x="97" y="40"/>
                </a:lnTo>
                <a:lnTo>
                  <a:pt x="90" y="36"/>
                </a:lnTo>
                <a:lnTo>
                  <a:pt x="79" y="27"/>
                </a:lnTo>
                <a:lnTo>
                  <a:pt x="70" y="29"/>
                </a:lnTo>
                <a:lnTo>
                  <a:pt x="63" y="40"/>
                </a:lnTo>
                <a:lnTo>
                  <a:pt x="72" y="56"/>
                </a:lnTo>
                <a:lnTo>
                  <a:pt x="88" y="59"/>
                </a:lnTo>
                <a:lnTo>
                  <a:pt x="106" y="77"/>
                </a:lnTo>
                <a:lnTo>
                  <a:pt x="113" y="81"/>
                </a:lnTo>
                <a:lnTo>
                  <a:pt x="113" y="93"/>
                </a:lnTo>
                <a:lnTo>
                  <a:pt x="97" y="95"/>
                </a:lnTo>
                <a:lnTo>
                  <a:pt x="99" y="111"/>
                </a:lnTo>
                <a:lnTo>
                  <a:pt x="106" y="120"/>
                </a:lnTo>
                <a:lnTo>
                  <a:pt x="99" y="129"/>
                </a:lnTo>
                <a:lnTo>
                  <a:pt x="86" y="127"/>
                </a:lnTo>
                <a:lnTo>
                  <a:pt x="65" y="107"/>
                </a:lnTo>
                <a:lnTo>
                  <a:pt x="49" y="93"/>
                </a:lnTo>
                <a:lnTo>
                  <a:pt x="31" y="84"/>
                </a:lnTo>
              </a:path>
            </a:pathLst>
          </a:custGeom>
          <a:solidFill>
            <a:schemeClr val="accent3"/>
          </a:solidFill>
          <a:ln w="12700" cap="rnd">
            <a:solidFill>
              <a:schemeClr val="bg1"/>
            </a:solidFill>
            <a:round/>
            <a:headEnd/>
            <a:tailEnd/>
          </a:ln>
        </p:spPr>
        <p:txBody>
          <a:bodyPr/>
          <a:lstStyle/>
          <a:p>
            <a:pPr>
              <a:defRPr/>
            </a:pPr>
            <a:endParaRPr lang="en-GB"/>
          </a:p>
        </p:txBody>
      </p:sp>
      <p:grpSp>
        <p:nvGrpSpPr>
          <p:cNvPr id="4" name="Group 59"/>
          <p:cNvGrpSpPr>
            <a:grpSpLocks/>
          </p:cNvGrpSpPr>
          <p:nvPr/>
        </p:nvGrpSpPr>
        <p:grpSpPr bwMode="auto">
          <a:xfrm>
            <a:off x="4791133" y="1943641"/>
            <a:ext cx="732131" cy="1543775"/>
            <a:chOff x="3324" y="947"/>
            <a:chExt cx="626" cy="1332"/>
          </a:xfrm>
          <a:solidFill>
            <a:schemeClr val="accent3"/>
          </a:solidFill>
        </p:grpSpPr>
        <p:sp>
          <p:nvSpPr>
            <p:cNvPr id="74" name="Freeform 60"/>
            <p:cNvSpPr>
              <a:spLocks/>
            </p:cNvSpPr>
            <p:nvPr/>
          </p:nvSpPr>
          <p:spPr bwMode="auto">
            <a:xfrm>
              <a:off x="3573" y="2099"/>
              <a:ext cx="42" cy="103"/>
            </a:xfrm>
            <a:custGeom>
              <a:avLst/>
              <a:gdLst>
                <a:gd name="T0" fmla="*/ 41 w 42"/>
                <a:gd name="T1" fmla="*/ 0 h 103"/>
                <a:gd name="T2" fmla="*/ 38 w 42"/>
                <a:gd name="T3" fmla="*/ 34 h 103"/>
                <a:gd name="T4" fmla="*/ 27 w 42"/>
                <a:gd name="T5" fmla="*/ 61 h 103"/>
                <a:gd name="T6" fmla="*/ 6 w 42"/>
                <a:gd name="T7" fmla="*/ 77 h 103"/>
                <a:gd name="T8" fmla="*/ 11 w 42"/>
                <a:gd name="T9" fmla="*/ 95 h 103"/>
                <a:gd name="T10" fmla="*/ 4 w 42"/>
                <a:gd name="T11" fmla="*/ 102 h 103"/>
                <a:gd name="T12" fmla="*/ 0 w 42"/>
                <a:gd name="T13" fmla="*/ 79 h 103"/>
                <a:gd name="T14" fmla="*/ 6 w 42"/>
                <a:gd name="T15" fmla="*/ 63 h 103"/>
                <a:gd name="T16" fmla="*/ 11 w 42"/>
                <a:gd name="T17" fmla="*/ 43 h 103"/>
                <a:gd name="T18" fmla="*/ 41 w 42"/>
                <a:gd name="T19" fmla="*/ 0 h 1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103"/>
                <a:gd name="T32" fmla="*/ 42 w 42"/>
                <a:gd name="T33" fmla="*/ 103 h 10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103">
                  <a:moveTo>
                    <a:pt x="41" y="0"/>
                  </a:moveTo>
                  <a:lnTo>
                    <a:pt x="38" y="34"/>
                  </a:lnTo>
                  <a:lnTo>
                    <a:pt x="27" y="61"/>
                  </a:lnTo>
                  <a:lnTo>
                    <a:pt x="6" y="77"/>
                  </a:lnTo>
                  <a:lnTo>
                    <a:pt x="11" y="95"/>
                  </a:lnTo>
                  <a:lnTo>
                    <a:pt x="4" y="102"/>
                  </a:lnTo>
                  <a:lnTo>
                    <a:pt x="0" y="79"/>
                  </a:lnTo>
                  <a:lnTo>
                    <a:pt x="6" y="63"/>
                  </a:lnTo>
                  <a:lnTo>
                    <a:pt x="11" y="43"/>
                  </a:lnTo>
                  <a:lnTo>
                    <a:pt x="41" y="0"/>
                  </a:lnTo>
                </a:path>
              </a:pathLst>
            </a:custGeom>
            <a:grpFill/>
            <a:ln w="12700" cap="rnd">
              <a:solidFill>
                <a:schemeClr val="bg1"/>
              </a:solidFill>
              <a:round/>
              <a:headEnd/>
              <a:tailEnd/>
            </a:ln>
          </p:spPr>
          <p:txBody>
            <a:bodyPr/>
            <a:lstStyle/>
            <a:p>
              <a:pPr>
                <a:defRPr/>
              </a:pPr>
              <a:endParaRPr lang="en-GB"/>
            </a:p>
          </p:txBody>
        </p:sp>
        <p:sp>
          <p:nvSpPr>
            <p:cNvPr id="75" name="Freeform 61"/>
            <p:cNvSpPr>
              <a:spLocks/>
            </p:cNvSpPr>
            <p:nvPr/>
          </p:nvSpPr>
          <p:spPr bwMode="auto">
            <a:xfrm>
              <a:off x="3666" y="2053"/>
              <a:ext cx="58" cy="81"/>
            </a:xfrm>
            <a:custGeom>
              <a:avLst/>
              <a:gdLst>
                <a:gd name="T0" fmla="*/ 45 w 58"/>
                <a:gd name="T1" fmla="*/ 0 h 81"/>
                <a:gd name="T2" fmla="*/ 57 w 58"/>
                <a:gd name="T3" fmla="*/ 0 h 81"/>
                <a:gd name="T4" fmla="*/ 43 w 58"/>
                <a:gd name="T5" fmla="*/ 15 h 81"/>
                <a:gd name="T6" fmla="*/ 41 w 58"/>
                <a:gd name="T7" fmla="*/ 26 h 81"/>
                <a:gd name="T8" fmla="*/ 45 w 58"/>
                <a:gd name="T9" fmla="*/ 44 h 81"/>
                <a:gd name="T10" fmla="*/ 29 w 58"/>
                <a:gd name="T11" fmla="*/ 60 h 81"/>
                <a:gd name="T12" fmla="*/ 11 w 58"/>
                <a:gd name="T13" fmla="*/ 80 h 81"/>
                <a:gd name="T14" fmla="*/ 6 w 58"/>
                <a:gd name="T15" fmla="*/ 60 h 81"/>
                <a:gd name="T16" fmla="*/ 0 w 58"/>
                <a:gd name="T17" fmla="*/ 53 h 81"/>
                <a:gd name="T18" fmla="*/ 0 w 58"/>
                <a:gd name="T19" fmla="*/ 37 h 81"/>
                <a:gd name="T20" fmla="*/ 18 w 58"/>
                <a:gd name="T21" fmla="*/ 22 h 81"/>
                <a:gd name="T22" fmla="*/ 45 w 58"/>
                <a:gd name="T23" fmla="*/ 0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8"/>
                <a:gd name="T37" fmla="*/ 0 h 81"/>
                <a:gd name="T38" fmla="*/ 58 w 58"/>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8" h="81">
                  <a:moveTo>
                    <a:pt x="45" y="0"/>
                  </a:moveTo>
                  <a:lnTo>
                    <a:pt x="57" y="0"/>
                  </a:lnTo>
                  <a:lnTo>
                    <a:pt x="43" y="15"/>
                  </a:lnTo>
                  <a:lnTo>
                    <a:pt x="41" y="26"/>
                  </a:lnTo>
                  <a:lnTo>
                    <a:pt x="45" y="44"/>
                  </a:lnTo>
                  <a:lnTo>
                    <a:pt x="29" y="60"/>
                  </a:lnTo>
                  <a:lnTo>
                    <a:pt x="11" y="80"/>
                  </a:lnTo>
                  <a:lnTo>
                    <a:pt x="6" y="60"/>
                  </a:lnTo>
                  <a:lnTo>
                    <a:pt x="0" y="53"/>
                  </a:lnTo>
                  <a:lnTo>
                    <a:pt x="0" y="37"/>
                  </a:lnTo>
                  <a:lnTo>
                    <a:pt x="18" y="22"/>
                  </a:lnTo>
                  <a:lnTo>
                    <a:pt x="45" y="0"/>
                  </a:lnTo>
                </a:path>
              </a:pathLst>
            </a:custGeom>
            <a:grpFill/>
            <a:ln w="12700" cap="rnd">
              <a:solidFill>
                <a:schemeClr val="bg1"/>
              </a:solidFill>
              <a:round/>
              <a:headEnd/>
              <a:tailEnd/>
            </a:ln>
          </p:spPr>
          <p:txBody>
            <a:bodyPr/>
            <a:lstStyle/>
            <a:p>
              <a:pPr>
                <a:defRPr/>
              </a:pPr>
              <a:endParaRPr lang="en-GB"/>
            </a:p>
          </p:txBody>
        </p:sp>
        <p:grpSp>
          <p:nvGrpSpPr>
            <p:cNvPr id="24" name="Group 62"/>
            <p:cNvGrpSpPr>
              <a:grpSpLocks/>
            </p:cNvGrpSpPr>
            <p:nvPr/>
          </p:nvGrpSpPr>
          <p:grpSpPr bwMode="auto">
            <a:xfrm>
              <a:off x="3324" y="947"/>
              <a:ext cx="626" cy="1332"/>
              <a:chOff x="3324" y="947"/>
              <a:chExt cx="626" cy="1332"/>
            </a:xfrm>
            <a:grpFill/>
          </p:grpSpPr>
          <p:sp>
            <p:nvSpPr>
              <p:cNvPr id="77" name="Freeform 63"/>
              <p:cNvSpPr>
                <a:spLocks/>
              </p:cNvSpPr>
              <p:nvPr/>
            </p:nvSpPr>
            <p:spPr bwMode="auto">
              <a:xfrm>
                <a:off x="3324" y="947"/>
                <a:ext cx="626" cy="1332"/>
              </a:xfrm>
              <a:custGeom>
                <a:avLst/>
                <a:gdLst>
                  <a:gd name="T0" fmla="*/ 492 w 626"/>
                  <a:gd name="T1" fmla="*/ 24 h 1332"/>
                  <a:gd name="T2" fmla="*/ 577 w 626"/>
                  <a:gd name="T3" fmla="*/ 81 h 1332"/>
                  <a:gd name="T4" fmla="*/ 583 w 626"/>
                  <a:gd name="T5" fmla="*/ 131 h 1332"/>
                  <a:gd name="T6" fmla="*/ 604 w 626"/>
                  <a:gd name="T7" fmla="*/ 177 h 1332"/>
                  <a:gd name="T8" fmla="*/ 599 w 626"/>
                  <a:gd name="T9" fmla="*/ 236 h 1332"/>
                  <a:gd name="T10" fmla="*/ 618 w 626"/>
                  <a:gd name="T11" fmla="*/ 277 h 1332"/>
                  <a:gd name="T12" fmla="*/ 613 w 626"/>
                  <a:gd name="T13" fmla="*/ 311 h 1332"/>
                  <a:gd name="T14" fmla="*/ 538 w 626"/>
                  <a:gd name="T15" fmla="*/ 317 h 1332"/>
                  <a:gd name="T16" fmla="*/ 504 w 626"/>
                  <a:gd name="T17" fmla="*/ 367 h 1332"/>
                  <a:gd name="T18" fmla="*/ 494 w 626"/>
                  <a:gd name="T19" fmla="*/ 406 h 1332"/>
                  <a:gd name="T20" fmla="*/ 499 w 626"/>
                  <a:gd name="T21" fmla="*/ 458 h 1332"/>
                  <a:gd name="T22" fmla="*/ 476 w 626"/>
                  <a:gd name="T23" fmla="*/ 508 h 1332"/>
                  <a:gd name="T24" fmla="*/ 406 w 626"/>
                  <a:gd name="T25" fmla="*/ 551 h 1332"/>
                  <a:gd name="T26" fmla="*/ 378 w 626"/>
                  <a:gd name="T27" fmla="*/ 576 h 1332"/>
                  <a:gd name="T28" fmla="*/ 346 w 626"/>
                  <a:gd name="T29" fmla="*/ 638 h 1332"/>
                  <a:gd name="T30" fmla="*/ 335 w 626"/>
                  <a:gd name="T31" fmla="*/ 688 h 1332"/>
                  <a:gd name="T32" fmla="*/ 305 w 626"/>
                  <a:gd name="T33" fmla="*/ 754 h 1332"/>
                  <a:gd name="T34" fmla="*/ 348 w 626"/>
                  <a:gd name="T35" fmla="*/ 842 h 1332"/>
                  <a:gd name="T36" fmla="*/ 383 w 626"/>
                  <a:gd name="T37" fmla="*/ 908 h 1332"/>
                  <a:gd name="T38" fmla="*/ 346 w 626"/>
                  <a:gd name="T39" fmla="*/ 933 h 1332"/>
                  <a:gd name="T40" fmla="*/ 312 w 626"/>
                  <a:gd name="T41" fmla="*/ 938 h 1332"/>
                  <a:gd name="T42" fmla="*/ 241 w 626"/>
                  <a:gd name="T43" fmla="*/ 942 h 1332"/>
                  <a:gd name="T44" fmla="*/ 307 w 626"/>
                  <a:gd name="T45" fmla="*/ 958 h 1332"/>
                  <a:gd name="T46" fmla="*/ 346 w 626"/>
                  <a:gd name="T47" fmla="*/ 978 h 1332"/>
                  <a:gd name="T48" fmla="*/ 321 w 626"/>
                  <a:gd name="T49" fmla="*/ 994 h 1332"/>
                  <a:gd name="T50" fmla="*/ 278 w 626"/>
                  <a:gd name="T51" fmla="*/ 1033 h 1332"/>
                  <a:gd name="T52" fmla="*/ 266 w 626"/>
                  <a:gd name="T53" fmla="*/ 1069 h 1332"/>
                  <a:gd name="T54" fmla="*/ 250 w 626"/>
                  <a:gd name="T55" fmla="*/ 1156 h 1332"/>
                  <a:gd name="T56" fmla="*/ 230 w 626"/>
                  <a:gd name="T57" fmla="*/ 1215 h 1332"/>
                  <a:gd name="T58" fmla="*/ 177 w 626"/>
                  <a:gd name="T59" fmla="*/ 1260 h 1332"/>
                  <a:gd name="T60" fmla="*/ 130 w 626"/>
                  <a:gd name="T61" fmla="*/ 1276 h 1332"/>
                  <a:gd name="T62" fmla="*/ 120 w 626"/>
                  <a:gd name="T63" fmla="*/ 1319 h 1332"/>
                  <a:gd name="T64" fmla="*/ 70 w 626"/>
                  <a:gd name="T65" fmla="*/ 1331 h 1332"/>
                  <a:gd name="T66" fmla="*/ 50 w 626"/>
                  <a:gd name="T67" fmla="*/ 1310 h 1332"/>
                  <a:gd name="T68" fmla="*/ 29 w 626"/>
                  <a:gd name="T69" fmla="*/ 1235 h 1332"/>
                  <a:gd name="T70" fmla="*/ 45 w 626"/>
                  <a:gd name="T71" fmla="*/ 1219 h 1332"/>
                  <a:gd name="T72" fmla="*/ 50 w 626"/>
                  <a:gd name="T73" fmla="*/ 1194 h 1332"/>
                  <a:gd name="T74" fmla="*/ 29 w 626"/>
                  <a:gd name="T75" fmla="*/ 1126 h 1332"/>
                  <a:gd name="T76" fmla="*/ 11 w 626"/>
                  <a:gd name="T77" fmla="*/ 1074 h 1332"/>
                  <a:gd name="T78" fmla="*/ 0 w 626"/>
                  <a:gd name="T79" fmla="*/ 990 h 1332"/>
                  <a:gd name="T80" fmla="*/ 20 w 626"/>
                  <a:gd name="T81" fmla="*/ 958 h 1332"/>
                  <a:gd name="T82" fmla="*/ 36 w 626"/>
                  <a:gd name="T83" fmla="*/ 874 h 1332"/>
                  <a:gd name="T84" fmla="*/ 79 w 626"/>
                  <a:gd name="T85" fmla="*/ 824 h 1332"/>
                  <a:gd name="T86" fmla="*/ 66 w 626"/>
                  <a:gd name="T87" fmla="*/ 738 h 1332"/>
                  <a:gd name="T88" fmla="*/ 84 w 626"/>
                  <a:gd name="T89" fmla="*/ 697 h 1332"/>
                  <a:gd name="T90" fmla="*/ 75 w 626"/>
                  <a:gd name="T91" fmla="*/ 622 h 1332"/>
                  <a:gd name="T92" fmla="*/ 91 w 626"/>
                  <a:gd name="T93" fmla="*/ 533 h 1332"/>
                  <a:gd name="T94" fmla="*/ 145 w 626"/>
                  <a:gd name="T95" fmla="*/ 476 h 1332"/>
                  <a:gd name="T96" fmla="*/ 196 w 626"/>
                  <a:gd name="T97" fmla="*/ 458 h 1332"/>
                  <a:gd name="T98" fmla="*/ 175 w 626"/>
                  <a:gd name="T99" fmla="*/ 406 h 1332"/>
                  <a:gd name="T100" fmla="*/ 196 w 626"/>
                  <a:gd name="T101" fmla="*/ 361 h 1332"/>
                  <a:gd name="T102" fmla="*/ 207 w 626"/>
                  <a:gd name="T103" fmla="*/ 293 h 1332"/>
                  <a:gd name="T104" fmla="*/ 262 w 626"/>
                  <a:gd name="T105" fmla="*/ 252 h 1332"/>
                  <a:gd name="T106" fmla="*/ 287 w 626"/>
                  <a:gd name="T107" fmla="*/ 199 h 1332"/>
                  <a:gd name="T108" fmla="*/ 328 w 626"/>
                  <a:gd name="T109" fmla="*/ 115 h 1332"/>
                  <a:gd name="T110" fmla="*/ 374 w 626"/>
                  <a:gd name="T111" fmla="*/ 77 h 1332"/>
                  <a:gd name="T112" fmla="*/ 415 w 626"/>
                  <a:gd name="T113" fmla="*/ 47 h 1332"/>
                  <a:gd name="T114" fmla="*/ 467 w 626"/>
                  <a:gd name="T115" fmla="*/ 0 h 13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26"/>
                  <a:gd name="T175" fmla="*/ 0 h 1332"/>
                  <a:gd name="T176" fmla="*/ 626 w 626"/>
                  <a:gd name="T177" fmla="*/ 1332 h 13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lnTo>
                      <a:pt x="472" y="0"/>
                    </a:lnTo>
                  </a:path>
                </a:pathLst>
              </a:custGeom>
              <a:grpFill/>
              <a:ln w="12700" cap="rnd">
                <a:solidFill>
                  <a:schemeClr val="bg1"/>
                </a:solidFill>
                <a:round/>
                <a:headEnd/>
                <a:tailEnd/>
              </a:ln>
            </p:spPr>
            <p:txBody>
              <a:bodyPr/>
              <a:lstStyle/>
              <a:p>
                <a:pPr>
                  <a:defRPr/>
                </a:pPr>
                <a:endParaRPr lang="en-GB"/>
              </a:p>
            </p:txBody>
          </p:sp>
          <p:sp>
            <p:nvSpPr>
              <p:cNvPr id="78" name="Freeform 64"/>
              <p:cNvSpPr>
                <a:spLocks/>
              </p:cNvSpPr>
              <p:nvPr/>
            </p:nvSpPr>
            <p:spPr bwMode="auto">
              <a:xfrm>
                <a:off x="3324" y="947"/>
                <a:ext cx="626" cy="1332"/>
              </a:xfrm>
              <a:custGeom>
                <a:avLst/>
                <a:gdLst>
                  <a:gd name="T0" fmla="*/ 492 w 626"/>
                  <a:gd name="T1" fmla="*/ 24 h 1332"/>
                  <a:gd name="T2" fmla="*/ 577 w 626"/>
                  <a:gd name="T3" fmla="*/ 81 h 1332"/>
                  <a:gd name="T4" fmla="*/ 583 w 626"/>
                  <a:gd name="T5" fmla="*/ 131 h 1332"/>
                  <a:gd name="T6" fmla="*/ 604 w 626"/>
                  <a:gd name="T7" fmla="*/ 177 h 1332"/>
                  <a:gd name="T8" fmla="*/ 599 w 626"/>
                  <a:gd name="T9" fmla="*/ 236 h 1332"/>
                  <a:gd name="T10" fmla="*/ 618 w 626"/>
                  <a:gd name="T11" fmla="*/ 277 h 1332"/>
                  <a:gd name="T12" fmla="*/ 613 w 626"/>
                  <a:gd name="T13" fmla="*/ 311 h 1332"/>
                  <a:gd name="T14" fmla="*/ 538 w 626"/>
                  <a:gd name="T15" fmla="*/ 317 h 1332"/>
                  <a:gd name="T16" fmla="*/ 504 w 626"/>
                  <a:gd name="T17" fmla="*/ 367 h 1332"/>
                  <a:gd name="T18" fmla="*/ 494 w 626"/>
                  <a:gd name="T19" fmla="*/ 406 h 1332"/>
                  <a:gd name="T20" fmla="*/ 499 w 626"/>
                  <a:gd name="T21" fmla="*/ 458 h 1332"/>
                  <a:gd name="T22" fmla="*/ 476 w 626"/>
                  <a:gd name="T23" fmla="*/ 508 h 1332"/>
                  <a:gd name="T24" fmla="*/ 406 w 626"/>
                  <a:gd name="T25" fmla="*/ 551 h 1332"/>
                  <a:gd name="T26" fmla="*/ 378 w 626"/>
                  <a:gd name="T27" fmla="*/ 576 h 1332"/>
                  <a:gd name="T28" fmla="*/ 346 w 626"/>
                  <a:gd name="T29" fmla="*/ 638 h 1332"/>
                  <a:gd name="T30" fmla="*/ 335 w 626"/>
                  <a:gd name="T31" fmla="*/ 688 h 1332"/>
                  <a:gd name="T32" fmla="*/ 305 w 626"/>
                  <a:gd name="T33" fmla="*/ 754 h 1332"/>
                  <a:gd name="T34" fmla="*/ 348 w 626"/>
                  <a:gd name="T35" fmla="*/ 842 h 1332"/>
                  <a:gd name="T36" fmla="*/ 383 w 626"/>
                  <a:gd name="T37" fmla="*/ 908 h 1332"/>
                  <a:gd name="T38" fmla="*/ 346 w 626"/>
                  <a:gd name="T39" fmla="*/ 933 h 1332"/>
                  <a:gd name="T40" fmla="*/ 312 w 626"/>
                  <a:gd name="T41" fmla="*/ 938 h 1332"/>
                  <a:gd name="T42" fmla="*/ 241 w 626"/>
                  <a:gd name="T43" fmla="*/ 942 h 1332"/>
                  <a:gd name="T44" fmla="*/ 307 w 626"/>
                  <a:gd name="T45" fmla="*/ 958 h 1332"/>
                  <a:gd name="T46" fmla="*/ 346 w 626"/>
                  <a:gd name="T47" fmla="*/ 978 h 1332"/>
                  <a:gd name="T48" fmla="*/ 321 w 626"/>
                  <a:gd name="T49" fmla="*/ 994 h 1332"/>
                  <a:gd name="T50" fmla="*/ 278 w 626"/>
                  <a:gd name="T51" fmla="*/ 1033 h 1332"/>
                  <a:gd name="T52" fmla="*/ 266 w 626"/>
                  <a:gd name="T53" fmla="*/ 1069 h 1332"/>
                  <a:gd name="T54" fmla="*/ 250 w 626"/>
                  <a:gd name="T55" fmla="*/ 1156 h 1332"/>
                  <a:gd name="T56" fmla="*/ 230 w 626"/>
                  <a:gd name="T57" fmla="*/ 1215 h 1332"/>
                  <a:gd name="T58" fmla="*/ 177 w 626"/>
                  <a:gd name="T59" fmla="*/ 1260 h 1332"/>
                  <a:gd name="T60" fmla="*/ 130 w 626"/>
                  <a:gd name="T61" fmla="*/ 1276 h 1332"/>
                  <a:gd name="T62" fmla="*/ 120 w 626"/>
                  <a:gd name="T63" fmla="*/ 1319 h 1332"/>
                  <a:gd name="T64" fmla="*/ 70 w 626"/>
                  <a:gd name="T65" fmla="*/ 1331 h 1332"/>
                  <a:gd name="T66" fmla="*/ 50 w 626"/>
                  <a:gd name="T67" fmla="*/ 1310 h 1332"/>
                  <a:gd name="T68" fmla="*/ 29 w 626"/>
                  <a:gd name="T69" fmla="*/ 1235 h 1332"/>
                  <a:gd name="T70" fmla="*/ 45 w 626"/>
                  <a:gd name="T71" fmla="*/ 1219 h 1332"/>
                  <a:gd name="T72" fmla="*/ 50 w 626"/>
                  <a:gd name="T73" fmla="*/ 1194 h 1332"/>
                  <a:gd name="T74" fmla="*/ 29 w 626"/>
                  <a:gd name="T75" fmla="*/ 1126 h 1332"/>
                  <a:gd name="T76" fmla="*/ 11 w 626"/>
                  <a:gd name="T77" fmla="*/ 1074 h 1332"/>
                  <a:gd name="T78" fmla="*/ 0 w 626"/>
                  <a:gd name="T79" fmla="*/ 990 h 1332"/>
                  <a:gd name="T80" fmla="*/ 20 w 626"/>
                  <a:gd name="T81" fmla="*/ 958 h 1332"/>
                  <a:gd name="T82" fmla="*/ 36 w 626"/>
                  <a:gd name="T83" fmla="*/ 874 h 1332"/>
                  <a:gd name="T84" fmla="*/ 79 w 626"/>
                  <a:gd name="T85" fmla="*/ 824 h 1332"/>
                  <a:gd name="T86" fmla="*/ 66 w 626"/>
                  <a:gd name="T87" fmla="*/ 738 h 1332"/>
                  <a:gd name="T88" fmla="*/ 84 w 626"/>
                  <a:gd name="T89" fmla="*/ 697 h 1332"/>
                  <a:gd name="T90" fmla="*/ 75 w 626"/>
                  <a:gd name="T91" fmla="*/ 622 h 1332"/>
                  <a:gd name="T92" fmla="*/ 91 w 626"/>
                  <a:gd name="T93" fmla="*/ 533 h 1332"/>
                  <a:gd name="T94" fmla="*/ 145 w 626"/>
                  <a:gd name="T95" fmla="*/ 476 h 1332"/>
                  <a:gd name="T96" fmla="*/ 196 w 626"/>
                  <a:gd name="T97" fmla="*/ 458 h 1332"/>
                  <a:gd name="T98" fmla="*/ 175 w 626"/>
                  <a:gd name="T99" fmla="*/ 406 h 1332"/>
                  <a:gd name="T100" fmla="*/ 196 w 626"/>
                  <a:gd name="T101" fmla="*/ 361 h 1332"/>
                  <a:gd name="T102" fmla="*/ 207 w 626"/>
                  <a:gd name="T103" fmla="*/ 293 h 1332"/>
                  <a:gd name="T104" fmla="*/ 262 w 626"/>
                  <a:gd name="T105" fmla="*/ 252 h 1332"/>
                  <a:gd name="T106" fmla="*/ 287 w 626"/>
                  <a:gd name="T107" fmla="*/ 199 h 1332"/>
                  <a:gd name="T108" fmla="*/ 328 w 626"/>
                  <a:gd name="T109" fmla="*/ 115 h 1332"/>
                  <a:gd name="T110" fmla="*/ 374 w 626"/>
                  <a:gd name="T111" fmla="*/ 77 h 1332"/>
                  <a:gd name="T112" fmla="*/ 415 w 626"/>
                  <a:gd name="T113" fmla="*/ 47 h 1332"/>
                  <a:gd name="T114" fmla="*/ 467 w 626"/>
                  <a:gd name="T115" fmla="*/ 0 h 13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26"/>
                  <a:gd name="T175" fmla="*/ 0 h 1332"/>
                  <a:gd name="T176" fmla="*/ 626 w 626"/>
                  <a:gd name="T177" fmla="*/ 1332 h 13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path>
                </a:pathLst>
              </a:custGeom>
              <a:grpFill/>
              <a:ln w="12700" cap="rnd">
                <a:solidFill>
                  <a:schemeClr val="bg1"/>
                </a:solidFill>
                <a:round/>
                <a:headEnd type="none" w="sm" len="sm"/>
                <a:tailEnd type="none" w="sm" len="sm"/>
              </a:ln>
            </p:spPr>
            <p:txBody>
              <a:bodyPr/>
              <a:lstStyle/>
              <a:p>
                <a:pPr>
                  <a:defRPr/>
                </a:pPr>
                <a:endParaRPr lang="en-GB"/>
              </a:p>
            </p:txBody>
          </p:sp>
        </p:grpSp>
      </p:grpSp>
      <p:sp>
        <p:nvSpPr>
          <p:cNvPr id="55" name="Freeform 65"/>
          <p:cNvSpPr>
            <a:spLocks/>
          </p:cNvSpPr>
          <p:nvPr/>
        </p:nvSpPr>
        <p:spPr bwMode="auto">
          <a:xfrm>
            <a:off x="4945653" y="4590112"/>
            <a:ext cx="636476" cy="611133"/>
          </a:xfrm>
          <a:custGeom>
            <a:avLst/>
            <a:gdLst>
              <a:gd name="T0" fmla="*/ 224 w 545"/>
              <a:gd name="T1" fmla="*/ 241 h 524"/>
              <a:gd name="T2" fmla="*/ 236 w 545"/>
              <a:gd name="T3" fmla="*/ 218 h 524"/>
              <a:gd name="T4" fmla="*/ 262 w 545"/>
              <a:gd name="T5" fmla="*/ 218 h 524"/>
              <a:gd name="T6" fmla="*/ 280 w 545"/>
              <a:gd name="T7" fmla="*/ 228 h 524"/>
              <a:gd name="T8" fmla="*/ 303 w 545"/>
              <a:gd name="T9" fmla="*/ 235 h 524"/>
              <a:gd name="T10" fmla="*/ 298 w 545"/>
              <a:gd name="T11" fmla="*/ 280 h 524"/>
              <a:gd name="T12" fmla="*/ 316 w 545"/>
              <a:gd name="T13" fmla="*/ 302 h 524"/>
              <a:gd name="T14" fmla="*/ 330 w 545"/>
              <a:gd name="T15" fmla="*/ 306 h 524"/>
              <a:gd name="T16" fmla="*/ 354 w 545"/>
              <a:gd name="T17" fmla="*/ 311 h 524"/>
              <a:gd name="T18" fmla="*/ 389 w 545"/>
              <a:gd name="T19" fmla="*/ 297 h 524"/>
              <a:gd name="T20" fmla="*/ 436 w 545"/>
              <a:gd name="T21" fmla="*/ 295 h 524"/>
              <a:gd name="T22" fmla="*/ 438 w 545"/>
              <a:gd name="T23" fmla="*/ 278 h 524"/>
              <a:gd name="T24" fmla="*/ 427 w 545"/>
              <a:gd name="T25" fmla="*/ 241 h 524"/>
              <a:gd name="T26" fmla="*/ 410 w 545"/>
              <a:gd name="T27" fmla="*/ 230 h 524"/>
              <a:gd name="T28" fmla="*/ 417 w 545"/>
              <a:gd name="T29" fmla="*/ 205 h 524"/>
              <a:gd name="T30" fmla="*/ 436 w 545"/>
              <a:gd name="T31" fmla="*/ 180 h 524"/>
              <a:gd name="T32" fmla="*/ 436 w 545"/>
              <a:gd name="T33" fmla="*/ 155 h 524"/>
              <a:gd name="T34" fmla="*/ 410 w 545"/>
              <a:gd name="T35" fmla="*/ 137 h 524"/>
              <a:gd name="T36" fmla="*/ 420 w 545"/>
              <a:gd name="T37" fmla="*/ 121 h 524"/>
              <a:gd name="T38" fmla="*/ 417 w 545"/>
              <a:gd name="T39" fmla="*/ 111 h 524"/>
              <a:gd name="T40" fmla="*/ 401 w 545"/>
              <a:gd name="T41" fmla="*/ 97 h 524"/>
              <a:gd name="T42" fmla="*/ 389 w 545"/>
              <a:gd name="T43" fmla="*/ 80 h 524"/>
              <a:gd name="T44" fmla="*/ 361 w 545"/>
              <a:gd name="T45" fmla="*/ 87 h 524"/>
              <a:gd name="T46" fmla="*/ 354 w 545"/>
              <a:gd name="T47" fmla="*/ 65 h 524"/>
              <a:gd name="T48" fmla="*/ 328 w 545"/>
              <a:gd name="T49" fmla="*/ 45 h 524"/>
              <a:gd name="T50" fmla="*/ 319 w 545"/>
              <a:gd name="T51" fmla="*/ 25 h 524"/>
              <a:gd name="T52" fmla="*/ 308 w 545"/>
              <a:gd name="T53" fmla="*/ 13 h 524"/>
              <a:gd name="T54" fmla="*/ 296 w 545"/>
              <a:gd name="T55" fmla="*/ 4 h 524"/>
              <a:gd name="T56" fmla="*/ 248 w 545"/>
              <a:gd name="T57" fmla="*/ 4 h 524"/>
              <a:gd name="T58" fmla="*/ 191 w 545"/>
              <a:gd name="T59" fmla="*/ 39 h 524"/>
              <a:gd name="T60" fmla="*/ 205 w 545"/>
              <a:gd name="T61" fmla="*/ 61 h 524"/>
              <a:gd name="T62" fmla="*/ 190 w 545"/>
              <a:gd name="T63" fmla="*/ 67 h 524"/>
              <a:gd name="T64" fmla="*/ 164 w 545"/>
              <a:gd name="T65" fmla="*/ 55 h 524"/>
              <a:gd name="T66" fmla="*/ 121 w 545"/>
              <a:gd name="T67" fmla="*/ 60 h 524"/>
              <a:gd name="T68" fmla="*/ 108 w 545"/>
              <a:gd name="T69" fmla="*/ 60 h 524"/>
              <a:gd name="T70" fmla="*/ 78 w 545"/>
              <a:gd name="T71" fmla="*/ 47 h 524"/>
              <a:gd name="T72" fmla="*/ 16 w 545"/>
              <a:gd name="T73" fmla="*/ 58 h 524"/>
              <a:gd name="T74" fmla="*/ 0 w 545"/>
              <a:gd name="T75" fmla="*/ 67 h 524"/>
              <a:gd name="T76" fmla="*/ 48 w 545"/>
              <a:gd name="T77" fmla="*/ 117 h 524"/>
              <a:gd name="T78" fmla="*/ 82 w 545"/>
              <a:gd name="T79" fmla="*/ 129 h 524"/>
              <a:gd name="T80" fmla="*/ 140 w 545"/>
              <a:gd name="T81" fmla="*/ 180 h 524"/>
              <a:gd name="T82" fmla="*/ 131 w 545"/>
              <a:gd name="T83" fmla="*/ 199 h 5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45"/>
              <a:gd name="T127" fmla="*/ 0 h 524"/>
              <a:gd name="T128" fmla="*/ 545 w 545"/>
              <a:gd name="T129" fmla="*/ 524 h 5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45" h="524">
                <a:moveTo>
                  <a:pt x="262" y="427"/>
                </a:moveTo>
                <a:lnTo>
                  <a:pt x="272" y="407"/>
                </a:lnTo>
                <a:lnTo>
                  <a:pt x="278" y="372"/>
                </a:lnTo>
                <a:lnTo>
                  <a:pt x="287" y="366"/>
                </a:lnTo>
                <a:lnTo>
                  <a:pt x="315" y="370"/>
                </a:lnTo>
                <a:lnTo>
                  <a:pt x="319" y="366"/>
                </a:lnTo>
                <a:lnTo>
                  <a:pt x="333" y="368"/>
                </a:lnTo>
                <a:lnTo>
                  <a:pt x="340" y="384"/>
                </a:lnTo>
                <a:lnTo>
                  <a:pt x="362" y="388"/>
                </a:lnTo>
                <a:lnTo>
                  <a:pt x="369" y="395"/>
                </a:lnTo>
                <a:lnTo>
                  <a:pt x="369" y="457"/>
                </a:lnTo>
                <a:lnTo>
                  <a:pt x="362" y="472"/>
                </a:lnTo>
                <a:lnTo>
                  <a:pt x="371" y="500"/>
                </a:lnTo>
                <a:lnTo>
                  <a:pt x="385" y="509"/>
                </a:lnTo>
                <a:lnTo>
                  <a:pt x="394" y="507"/>
                </a:lnTo>
                <a:lnTo>
                  <a:pt x="401" y="516"/>
                </a:lnTo>
                <a:lnTo>
                  <a:pt x="423" y="520"/>
                </a:lnTo>
                <a:lnTo>
                  <a:pt x="432" y="523"/>
                </a:lnTo>
                <a:lnTo>
                  <a:pt x="460" y="523"/>
                </a:lnTo>
                <a:lnTo>
                  <a:pt x="473" y="500"/>
                </a:lnTo>
                <a:lnTo>
                  <a:pt x="494" y="504"/>
                </a:lnTo>
                <a:lnTo>
                  <a:pt x="530" y="497"/>
                </a:lnTo>
                <a:lnTo>
                  <a:pt x="544" y="477"/>
                </a:lnTo>
                <a:lnTo>
                  <a:pt x="532" y="468"/>
                </a:lnTo>
                <a:lnTo>
                  <a:pt x="532" y="422"/>
                </a:lnTo>
                <a:lnTo>
                  <a:pt x="519" y="407"/>
                </a:lnTo>
                <a:lnTo>
                  <a:pt x="507" y="407"/>
                </a:lnTo>
                <a:lnTo>
                  <a:pt x="500" y="388"/>
                </a:lnTo>
                <a:lnTo>
                  <a:pt x="510" y="370"/>
                </a:lnTo>
                <a:lnTo>
                  <a:pt x="507" y="345"/>
                </a:lnTo>
                <a:lnTo>
                  <a:pt x="505" y="325"/>
                </a:lnTo>
                <a:lnTo>
                  <a:pt x="530" y="302"/>
                </a:lnTo>
                <a:lnTo>
                  <a:pt x="534" y="275"/>
                </a:lnTo>
                <a:lnTo>
                  <a:pt x="530" y="261"/>
                </a:lnTo>
                <a:lnTo>
                  <a:pt x="510" y="259"/>
                </a:lnTo>
                <a:lnTo>
                  <a:pt x="500" y="231"/>
                </a:lnTo>
                <a:lnTo>
                  <a:pt x="500" y="220"/>
                </a:lnTo>
                <a:lnTo>
                  <a:pt x="510" y="204"/>
                </a:lnTo>
                <a:lnTo>
                  <a:pt x="505" y="200"/>
                </a:lnTo>
                <a:lnTo>
                  <a:pt x="507" y="186"/>
                </a:lnTo>
                <a:lnTo>
                  <a:pt x="510" y="177"/>
                </a:lnTo>
                <a:lnTo>
                  <a:pt x="487" y="163"/>
                </a:lnTo>
                <a:lnTo>
                  <a:pt x="487" y="147"/>
                </a:lnTo>
                <a:lnTo>
                  <a:pt x="473" y="134"/>
                </a:lnTo>
                <a:lnTo>
                  <a:pt x="453" y="147"/>
                </a:lnTo>
                <a:lnTo>
                  <a:pt x="439" y="147"/>
                </a:lnTo>
                <a:lnTo>
                  <a:pt x="432" y="134"/>
                </a:lnTo>
                <a:lnTo>
                  <a:pt x="432" y="109"/>
                </a:lnTo>
                <a:lnTo>
                  <a:pt x="421" y="77"/>
                </a:lnTo>
                <a:lnTo>
                  <a:pt x="398" y="75"/>
                </a:lnTo>
                <a:lnTo>
                  <a:pt x="389" y="68"/>
                </a:lnTo>
                <a:lnTo>
                  <a:pt x="389" y="43"/>
                </a:lnTo>
                <a:lnTo>
                  <a:pt x="380" y="27"/>
                </a:lnTo>
                <a:lnTo>
                  <a:pt x="374" y="22"/>
                </a:lnTo>
                <a:lnTo>
                  <a:pt x="369" y="9"/>
                </a:lnTo>
                <a:lnTo>
                  <a:pt x="360" y="4"/>
                </a:lnTo>
                <a:lnTo>
                  <a:pt x="340" y="0"/>
                </a:lnTo>
                <a:lnTo>
                  <a:pt x="301" y="4"/>
                </a:lnTo>
                <a:lnTo>
                  <a:pt x="233" y="31"/>
                </a:lnTo>
                <a:lnTo>
                  <a:pt x="233" y="65"/>
                </a:lnTo>
                <a:lnTo>
                  <a:pt x="253" y="88"/>
                </a:lnTo>
                <a:lnTo>
                  <a:pt x="249" y="104"/>
                </a:lnTo>
                <a:lnTo>
                  <a:pt x="247" y="113"/>
                </a:lnTo>
                <a:lnTo>
                  <a:pt x="231" y="113"/>
                </a:lnTo>
                <a:lnTo>
                  <a:pt x="219" y="102"/>
                </a:lnTo>
                <a:lnTo>
                  <a:pt x="199" y="93"/>
                </a:lnTo>
                <a:lnTo>
                  <a:pt x="176" y="104"/>
                </a:lnTo>
                <a:lnTo>
                  <a:pt x="147" y="100"/>
                </a:lnTo>
                <a:lnTo>
                  <a:pt x="133" y="109"/>
                </a:lnTo>
                <a:lnTo>
                  <a:pt x="131" y="100"/>
                </a:lnTo>
                <a:lnTo>
                  <a:pt x="115" y="100"/>
                </a:lnTo>
                <a:lnTo>
                  <a:pt x="95" y="79"/>
                </a:lnTo>
                <a:lnTo>
                  <a:pt x="63" y="113"/>
                </a:lnTo>
                <a:lnTo>
                  <a:pt x="20" y="97"/>
                </a:lnTo>
                <a:lnTo>
                  <a:pt x="0" y="100"/>
                </a:lnTo>
                <a:lnTo>
                  <a:pt x="0" y="113"/>
                </a:lnTo>
                <a:lnTo>
                  <a:pt x="49" y="165"/>
                </a:lnTo>
                <a:lnTo>
                  <a:pt x="58" y="197"/>
                </a:lnTo>
                <a:lnTo>
                  <a:pt x="81" y="220"/>
                </a:lnTo>
                <a:lnTo>
                  <a:pt x="99" y="218"/>
                </a:lnTo>
                <a:lnTo>
                  <a:pt x="165" y="293"/>
                </a:lnTo>
                <a:lnTo>
                  <a:pt x="170" y="304"/>
                </a:lnTo>
                <a:lnTo>
                  <a:pt x="165" y="311"/>
                </a:lnTo>
                <a:lnTo>
                  <a:pt x="160" y="336"/>
                </a:lnTo>
                <a:lnTo>
                  <a:pt x="262" y="427"/>
                </a:lnTo>
              </a:path>
            </a:pathLst>
          </a:custGeom>
          <a:solidFill>
            <a:schemeClr val="accent3"/>
          </a:solidFill>
          <a:ln w="12700" cap="rnd">
            <a:solidFill>
              <a:schemeClr val="bg1"/>
            </a:solidFill>
            <a:round/>
            <a:headEnd/>
            <a:tailEnd/>
          </a:ln>
        </p:spPr>
        <p:txBody>
          <a:bodyPr/>
          <a:lstStyle/>
          <a:p>
            <a:pPr>
              <a:defRPr/>
            </a:pPr>
            <a:endParaRPr lang="en-GB"/>
          </a:p>
        </p:txBody>
      </p:sp>
      <p:sp>
        <p:nvSpPr>
          <p:cNvPr id="56" name="Freeform 66"/>
          <p:cNvSpPr>
            <a:spLocks/>
          </p:cNvSpPr>
          <p:nvPr/>
        </p:nvSpPr>
        <p:spPr bwMode="auto">
          <a:xfrm>
            <a:off x="4431937" y="1690479"/>
            <a:ext cx="1326911" cy="1452105"/>
          </a:xfrm>
          <a:custGeom>
            <a:avLst/>
            <a:gdLst>
              <a:gd name="T0" fmla="*/ 273 w 1136"/>
              <a:gd name="T1" fmla="*/ 675 h 1245"/>
              <a:gd name="T2" fmla="*/ 311 w 1136"/>
              <a:gd name="T3" fmla="*/ 634 h 1245"/>
              <a:gd name="T4" fmla="*/ 301 w 1136"/>
              <a:gd name="T5" fmla="*/ 576 h 1245"/>
              <a:gd name="T6" fmla="*/ 309 w 1136"/>
              <a:gd name="T7" fmla="*/ 527 h 1245"/>
              <a:gd name="T8" fmla="*/ 323 w 1136"/>
              <a:gd name="T9" fmla="*/ 457 h 1245"/>
              <a:gd name="T10" fmla="*/ 372 w 1136"/>
              <a:gd name="T11" fmla="*/ 412 h 1245"/>
              <a:gd name="T12" fmla="*/ 396 w 1136"/>
              <a:gd name="T13" fmla="*/ 375 h 1245"/>
              <a:gd name="T14" fmla="*/ 412 w 1136"/>
              <a:gd name="T15" fmla="*/ 338 h 1245"/>
              <a:gd name="T16" fmla="*/ 464 w 1136"/>
              <a:gd name="T17" fmla="*/ 276 h 1245"/>
              <a:gd name="T18" fmla="*/ 492 w 1136"/>
              <a:gd name="T19" fmla="*/ 226 h 1245"/>
              <a:gd name="T20" fmla="*/ 557 w 1136"/>
              <a:gd name="T21" fmla="*/ 177 h 1245"/>
              <a:gd name="T22" fmla="*/ 609 w 1136"/>
              <a:gd name="T23" fmla="*/ 161 h 1245"/>
              <a:gd name="T24" fmla="*/ 644 w 1136"/>
              <a:gd name="T25" fmla="*/ 116 h 1245"/>
              <a:gd name="T26" fmla="*/ 724 w 1136"/>
              <a:gd name="T27" fmla="*/ 140 h 1245"/>
              <a:gd name="T28" fmla="*/ 770 w 1136"/>
              <a:gd name="T29" fmla="*/ 148 h 1245"/>
              <a:gd name="T30" fmla="*/ 792 w 1136"/>
              <a:gd name="T31" fmla="*/ 89 h 1245"/>
              <a:gd name="T32" fmla="*/ 861 w 1136"/>
              <a:gd name="T33" fmla="*/ 83 h 1245"/>
              <a:gd name="T34" fmla="*/ 885 w 1136"/>
              <a:gd name="T35" fmla="*/ 106 h 1245"/>
              <a:gd name="T36" fmla="*/ 906 w 1136"/>
              <a:gd name="T37" fmla="*/ 76 h 1245"/>
              <a:gd name="T38" fmla="*/ 930 w 1136"/>
              <a:gd name="T39" fmla="*/ 41 h 1245"/>
              <a:gd name="T40" fmla="*/ 885 w 1136"/>
              <a:gd name="T41" fmla="*/ 13 h 1245"/>
              <a:gd name="T42" fmla="*/ 846 w 1136"/>
              <a:gd name="T43" fmla="*/ 14 h 1245"/>
              <a:gd name="T44" fmla="*/ 822 w 1136"/>
              <a:gd name="T45" fmla="*/ 13 h 1245"/>
              <a:gd name="T46" fmla="*/ 789 w 1136"/>
              <a:gd name="T47" fmla="*/ 29 h 1245"/>
              <a:gd name="T48" fmla="*/ 772 w 1136"/>
              <a:gd name="T49" fmla="*/ 20 h 1245"/>
              <a:gd name="T50" fmla="*/ 721 w 1136"/>
              <a:gd name="T51" fmla="*/ 64 h 1245"/>
              <a:gd name="T52" fmla="*/ 670 w 1136"/>
              <a:gd name="T53" fmla="*/ 76 h 1245"/>
              <a:gd name="T54" fmla="*/ 615 w 1136"/>
              <a:gd name="T55" fmla="*/ 89 h 1245"/>
              <a:gd name="T56" fmla="*/ 550 w 1136"/>
              <a:gd name="T57" fmla="*/ 97 h 1245"/>
              <a:gd name="T58" fmla="*/ 543 w 1136"/>
              <a:gd name="T59" fmla="*/ 136 h 1245"/>
              <a:gd name="T60" fmla="*/ 536 w 1136"/>
              <a:gd name="T61" fmla="*/ 168 h 1245"/>
              <a:gd name="T62" fmla="*/ 482 w 1136"/>
              <a:gd name="T63" fmla="*/ 175 h 1245"/>
              <a:gd name="T64" fmla="*/ 464 w 1136"/>
              <a:gd name="T65" fmla="*/ 202 h 1245"/>
              <a:gd name="T66" fmla="*/ 425 w 1136"/>
              <a:gd name="T67" fmla="*/ 241 h 1245"/>
              <a:gd name="T68" fmla="*/ 384 w 1136"/>
              <a:gd name="T69" fmla="*/ 291 h 1245"/>
              <a:gd name="T70" fmla="*/ 349 w 1136"/>
              <a:gd name="T71" fmla="*/ 340 h 1245"/>
              <a:gd name="T72" fmla="*/ 328 w 1136"/>
              <a:gd name="T73" fmla="*/ 370 h 1245"/>
              <a:gd name="T74" fmla="*/ 262 w 1136"/>
              <a:gd name="T75" fmla="*/ 412 h 1245"/>
              <a:gd name="T76" fmla="*/ 301 w 1136"/>
              <a:gd name="T77" fmla="*/ 416 h 1245"/>
              <a:gd name="T78" fmla="*/ 243 w 1136"/>
              <a:gd name="T79" fmla="*/ 425 h 1245"/>
              <a:gd name="T80" fmla="*/ 189 w 1136"/>
              <a:gd name="T81" fmla="*/ 449 h 1245"/>
              <a:gd name="T82" fmla="*/ 142 w 1136"/>
              <a:gd name="T83" fmla="*/ 450 h 1245"/>
              <a:gd name="T84" fmla="*/ 105 w 1136"/>
              <a:gd name="T85" fmla="*/ 469 h 1245"/>
              <a:gd name="T86" fmla="*/ 80 w 1136"/>
              <a:gd name="T87" fmla="*/ 488 h 1245"/>
              <a:gd name="T88" fmla="*/ 30 w 1136"/>
              <a:gd name="T89" fmla="*/ 511 h 1245"/>
              <a:gd name="T90" fmla="*/ 18 w 1136"/>
              <a:gd name="T91" fmla="*/ 591 h 1245"/>
              <a:gd name="T92" fmla="*/ 37 w 1136"/>
              <a:gd name="T93" fmla="*/ 610 h 1245"/>
              <a:gd name="T94" fmla="*/ 18 w 1136"/>
              <a:gd name="T95" fmla="*/ 647 h 1245"/>
              <a:gd name="T96" fmla="*/ 29 w 1136"/>
              <a:gd name="T97" fmla="*/ 667 h 1245"/>
              <a:gd name="T98" fmla="*/ 0 w 1136"/>
              <a:gd name="T99" fmla="*/ 686 h 1245"/>
              <a:gd name="T100" fmla="*/ 78 w 1136"/>
              <a:gd name="T101" fmla="*/ 739 h 1245"/>
              <a:gd name="T102" fmla="*/ 192 w 1136"/>
              <a:gd name="T103" fmla="*/ 679 h 1245"/>
              <a:gd name="T104" fmla="*/ 234 w 1136"/>
              <a:gd name="T105" fmla="*/ 645 h 1245"/>
              <a:gd name="T106" fmla="*/ 243 w 1136"/>
              <a:gd name="T107" fmla="*/ 695 h 12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36"/>
              <a:gd name="T163" fmla="*/ 0 h 1245"/>
              <a:gd name="T164" fmla="*/ 1136 w 1136"/>
              <a:gd name="T165" fmla="*/ 1245 h 124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lnTo>
                  <a:pt x="304" y="1171"/>
                </a:lnTo>
              </a:path>
            </a:pathLst>
          </a:custGeom>
          <a:solidFill>
            <a:schemeClr val="accent3"/>
          </a:solidFill>
          <a:ln w="12700" cap="rnd">
            <a:solidFill>
              <a:schemeClr val="bg1"/>
            </a:solidFill>
            <a:round/>
            <a:headEnd/>
            <a:tailEnd/>
          </a:ln>
        </p:spPr>
        <p:txBody>
          <a:bodyPr/>
          <a:lstStyle/>
          <a:p>
            <a:pPr>
              <a:defRPr/>
            </a:pPr>
            <a:endParaRPr lang="en-GB"/>
          </a:p>
        </p:txBody>
      </p:sp>
      <p:sp>
        <p:nvSpPr>
          <p:cNvPr id="58" name="Freeform 68"/>
          <p:cNvSpPr>
            <a:spLocks/>
          </p:cNvSpPr>
          <p:nvPr/>
        </p:nvSpPr>
        <p:spPr bwMode="auto">
          <a:xfrm>
            <a:off x="5089136" y="1952941"/>
            <a:ext cx="41696" cy="54471"/>
          </a:xfrm>
          <a:custGeom>
            <a:avLst/>
            <a:gdLst>
              <a:gd name="T0" fmla="*/ 27 w 36"/>
              <a:gd name="T1" fmla="*/ 3 h 47"/>
              <a:gd name="T2" fmla="*/ 24 w 36"/>
              <a:gd name="T3" fmla="*/ 10 h 47"/>
              <a:gd name="T4" fmla="*/ 27 w 36"/>
              <a:gd name="T5" fmla="*/ 23 h 47"/>
              <a:gd name="T6" fmla="*/ 9 w 36"/>
              <a:gd name="T7" fmla="*/ 27 h 47"/>
              <a:gd name="T8" fmla="*/ 0 w 36"/>
              <a:gd name="T9" fmla="*/ 20 h 47"/>
              <a:gd name="T10" fmla="*/ 0 w 36"/>
              <a:gd name="T11" fmla="*/ 10 h 47"/>
              <a:gd name="T12" fmla="*/ 7 w 36"/>
              <a:gd name="T13" fmla="*/ 0 h 47"/>
              <a:gd name="T14" fmla="*/ 27 w 36"/>
              <a:gd name="T15" fmla="*/ 3 h 47"/>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47"/>
              <a:gd name="T26" fmla="*/ 36 w 36"/>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47">
                <a:moveTo>
                  <a:pt x="35" y="6"/>
                </a:moveTo>
                <a:lnTo>
                  <a:pt x="30" y="18"/>
                </a:lnTo>
                <a:lnTo>
                  <a:pt x="35" y="39"/>
                </a:lnTo>
                <a:lnTo>
                  <a:pt x="9" y="46"/>
                </a:lnTo>
                <a:lnTo>
                  <a:pt x="0" y="34"/>
                </a:lnTo>
                <a:lnTo>
                  <a:pt x="0" y="18"/>
                </a:lnTo>
                <a:lnTo>
                  <a:pt x="7" y="0"/>
                </a:lnTo>
                <a:lnTo>
                  <a:pt x="35" y="6"/>
                </a:lnTo>
              </a:path>
            </a:pathLst>
          </a:custGeom>
          <a:solidFill>
            <a:schemeClr val="accent3"/>
          </a:solidFill>
          <a:ln w="12700" cap="rnd">
            <a:solidFill>
              <a:schemeClr val="bg1"/>
            </a:solidFill>
            <a:round/>
            <a:headEnd/>
            <a:tailEnd/>
          </a:ln>
        </p:spPr>
        <p:txBody>
          <a:bodyPr/>
          <a:lstStyle/>
          <a:p>
            <a:pPr>
              <a:defRPr/>
            </a:pPr>
            <a:endParaRPr lang="en-GB"/>
          </a:p>
        </p:txBody>
      </p:sp>
      <p:sp>
        <p:nvSpPr>
          <p:cNvPr id="59" name="Freeform 69"/>
          <p:cNvSpPr>
            <a:spLocks/>
          </p:cNvSpPr>
          <p:nvPr/>
        </p:nvSpPr>
        <p:spPr bwMode="auto">
          <a:xfrm>
            <a:off x="5024140" y="1988812"/>
            <a:ext cx="44149" cy="45171"/>
          </a:xfrm>
          <a:custGeom>
            <a:avLst/>
            <a:gdLst>
              <a:gd name="T0" fmla="*/ 25 w 38"/>
              <a:gd name="T1" fmla="*/ 0 h 38"/>
              <a:gd name="T2" fmla="*/ 29 w 38"/>
              <a:gd name="T3" fmla="*/ 16 h 38"/>
              <a:gd name="T4" fmla="*/ 7 w 38"/>
              <a:gd name="T5" fmla="*/ 24 h 38"/>
              <a:gd name="T6" fmla="*/ 0 w 38"/>
              <a:gd name="T7" fmla="*/ 7 h 38"/>
              <a:gd name="T8" fmla="*/ 25 w 38"/>
              <a:gd name="T9" fmla="*/ 0 h 38"/>
              <a:gd name="T10" fmla="*/ 0 60000 65536"/>
              <a:gd name="T11" fmla="*/ 0 60000 65536"/>
              <a:gd name="T12" fmla="*/ 0 60000 65536"/>
              <a:gd name="T13" fmla="*/ 0 60000 65536"/>
              <a:gd name="T14" fmla="*/ 0 60000 65536"/>
              <a:gd name="T15" fmla="*/ 0 w 38"/>
              <a:gd name="T16" fmla="*/ 0 h 38"/>
              <a:gd name="T17" fmla="*/ 38 w 38"/>
              <a:gd name="T18" fmla="*/ 38 h 38"/>
            </a:gdLst>
            <a:ahLst/>
            <a:cxnLst>
              <a:cxn ang="T10">
                <a:pos x="T0" y="T1"/>
              </a:cxn>
              <a:cxn ang="T11">
                <a:pos x="T2" y="T3"/>
              </a:cxn>
              <a:cxn ang="T12">
                <a:pos x="T4" y="T5"/>
              </a:cxn>
              <a:cxn ang="T13">
                <a:pos x="T6" y="T7"/>
              </a:cxn>
              <a:cxn ang="T14">
                <a:pos x="T8" y="T9"/>
              </a:cxn>
            </a:cxnLst>
            <a:rect l="T15" t="T16" r="T17" b="T18"/>
            <a:pathLst>
              <a:path w="38" h="38">
                <a:moveTo>
                  <a:pt x="31" y="0"/>
                </a:moveTo>
                <a:lnTo>
                  <a:pt x="37" y="25"/>
                </a:lnTo>
                <a:lnTo>
                  <a:pt x="7" y="37"/>
                </a:lnTo>
                <a:lnTo>
                  <a:pt x="0" y="11"/>
                </a:lnTo>
                <a:lnTo>
                  <a:pt x="31" y="0"/>
                </a:lnTo>
              </a:path>
            </a:pathLst>
          </a:custGeom>
          <a:solidFill>
            <a:schemeClr val="accent3"/>
          </a:solidFill>
          <a:ln w="12700" cap="rnd">
            <a:solidFill>
              <a:schemeClr val="bg1"/>
            </a:solidFill>
            <a:round/>
            <a:headEnd/>
            <a:tailEnd/>
          </a:ln>
        </p:spPr>
        <p:txBody>
          <a:bodyPr/>
          <a:lstStyle/>
          <a:p>
            <a:pPr>
              <a:defRPr/>
            </a:pPr>
            <a:endParaRPr lang="en-GB"/>
          </a:p>
        </p:txBody>
      </p:sp>
      <p:sp>
        <p:nvSpPr>
          <p:cNvPr id="60" name="Freeform 70"/>
          <p:cNvSpPr>
            <a:spLocks/>
          </p:cNvSpPr>
          <p:nvPr/>
        </p:nvSpPr>
        <p:spPr bwMode="auto">
          <a:xfrm>
            <a:off x="5037630" y="1929027"/>
            <a:ext cx="44149" cy="41185"/>
          </a:xfrm>
          <a:custGeom>
            <a:avLst/>
            <a:gdLst>
              <a:gd name="T0" fmla="*/ 0 w 39"/>
              <a:gd name="T1" fmla="*/ 12 h 36"/>
              <a:gd name="T2" fmla="*/ 20 w 39"/>
              <a:gd name="T3" fmla="*/ 19 h 36"/>
              <a:gd name="T4" fmla="*/ 28 w 39"/>
              <a:gd name="T5" fmla="*/ 3 h 36"/>
              <a:gd name="T6" fmla="*/ 16 w 39"/>
              <a:gd name="T7" fmla="*/ 0 h 36"/>
              <a:gd name="T8" fmla="*/ 6 w 39"/>
              <a:gd name="T9" fmla="*/ 3 h 36"/>
              <a:gd name="T10" fmla="*/ 0 w 39"/>
              <a:gd name="T11" fmla="*/ 8 h 36"/>
              <a:gd name="T12" fmla="*/ 0 w 39"/>
              <a:gd name="T13" fmla="*/ 12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0" y="22"/>
                </a:moveTo>
                <a:lnTo>
                  <a:pt x="28" y="35"/>
                </a:lnTo>
                <a:lnTo>
                  <a:pt x="38" y="7"/>
                </a:lnTo>
                <a:lnTo>
                  <a:pt x="21" y="0"/>
                </a:lnTo>
                <a:lnTo>
                  <a:pt x="9" y="7"/>
                </a:lnTo>
                <a:lnTo>
                  <a:pt x="0" y="15"/>
                </a:lnTo>
                <a:lnTo>
                  <a:pt x="0" y="22"/>
                </a:lnTo>
              </a:path>
            </a:pathLst>
          </a:custGeom>
          <a:solidFill>
            <a:schemeClr val="accent3"/>
          </a:solidFill>
          <a:ln w="12700" cap="rnd">
            <a:solidFill>
              <a:schemeClr val="bg1"/>
            </a:solidFill>
            <a:round/>
            <a:headEnd/>
            <a:tailEnd/>
          </a:ln>
        </p:spPr>
        <p:txBody>
          <a:bodyPr/>
          <a:lstStyle/>
          <a:p>
            <a:pPr>
              <a:defRPr/>
            </a:pPr>
            <a:endParaRPr lang="en-GB"/>
          </a:p>
        </p:txBody>
      </p:sp>
      <p:sp>
        <p:nvSpPr>
          <p:cNvPr id="61" name="Freeform 71"/>
          <p:cNvSpPr>
            <a:spLocks/>
          </p:cNvSpPr>
          <p:nvPr/>
        </p:nvSpPr>
        <p:spPr bwMode="auto">
          <a:xfrm>
            <a:off x="5089136" y="1898471"/>
            <a:ext cx="41696" cy="43842"/>
          </a:xfrm>
          <a:custGeom>
            <a:avLst/>
            <a:gdLst>
              <a:gd name="T0" fmla="*/ 0 w 36"/>
              <a:gd name="T1" fmla="*/ 21 h 38"/>
              <a:gd name="T2" fmla="*/ 22 w 36"/>
              <a:gd name="T3" fmla="*/ 0 h 38"/>
              <a:gd name="T4" fmla="*/ 27 w 36"/>
              <a:gd name="T5" fmla="*/ 9 h 38"/>
              <a:gd name="T6" fmla="*/ 0 w 36"/>
              <a:gd name="T7" fmla="*/ 21 h 38"/>
              <a:gd name="T8" fmla="*/ 0 60000 65536"/>
              <a:gd name="T9" fmla="*/ 0 60000 65536"/>
              <a:gd name="T10" fmla="*/ 0 60000 65536"/>
              <a:gd name="T11" fmla="*/ 0 60000 65536"/>
              <a:gd name="T12" fmla="*/ 0 w 36"/>
              <a:gd name="T13" fmla="*/ 0 h 38"/>
              <a:gd name="T14" fmla="*/ 36 w 36"/>
              <a:gd name="T15" fmla="*/ 38 h 38"/>
            </a:gdLst>
            <a:ahLst/>
            <a:cxnLst>
              <a:cxn ang="T8">
                <a:pos x="T0" y="T1"/>
              </a:cxn>
              <a:cxn ang="T9">
                <a:pos x="T2" y="T3"/>
              </a:cxn>
              <a:cxn ang="T10">
                <a:pos x="T4" y="T5"/>
              </a:cxn>
              <a:cxn ang="T11">
                <a:pos x="T6" y="T7"/>
              </a:cxn>
            </a:cxnLst>
            <a:rect l="T12" t="T13" r="T14" b="T15"/>
            <a:pathLst>
              <a:path w="36" h="38">
                <a:moveTo>
                  <a:pt x="0" y="37"/>
                </a:moveTo>
                <a:lnTo>
                  <a:pt x="26" y="0"/>
                </a:lnTo>
                <a:lnTo>
                  <a:pt x="35" y="15"/>
                </a:lnTo>
                <a:lnTo>
                  <a:pt x="0" y="37"/>
                </a:lnTo>
              </a:path>
            </a:pathLst>
          </a:custGeom>
          <a:solidFill>
            <a:schemeClr val="accent3"/>
          </a:solidFill>
          <a:ln w="12700" cap="rnd">
            <a:solidFill>
              <a:schemeClr val="bg1"/>
            </a:solidFill>
            <a:round/>
            <a:headEnd/>
            <a:tailEnd/>
          </a:ln>
        </p:spPr>
        <p:txBody>
          <a:bodyPr/>
          <a:lstStyle/>
          <a:p>
            <a:pPr>
              <a:defRPr/>
            </a:pPr>
            <a:endParaRPr lang="en-GB"/>
          </a:p>
        </p:txBody>
      </p:sp>
      <p:sp>
        <p:nvSpPr>
          <p:cNvPr id="62" name="Freeform 72"/>
          <p:cNvSpPr>
            <a:spLocks/>
          </p:cNvSpPr>
          <p:nvPr/>
        </p:nvSpPr>
        <p:spPr bwMode="auto">
          <a:xfrm>
            <a:off x="4972633" y="1999440"/>
            <a:ext cx="46601" cy="43842"/>
          </a:xfrm>
          <a:custGeom>
            <a:avLst/>
            <a:gdLst>
              <a:gd name="T0" fmla="*/ 28 w 38"/>
              <a:gd name="T1" fmla="*/ 0 h 37"/>
              <a:gd name="T2" fmla="*/ 37 w 38"/>
              <a:gd name="T3" fmla="*/ 18 h 37"/>
              <a:gd name="T4" fmla="*/ 0 w 38"/>
              <a:gd name="T5" fmla="*/ 23 h 37"/>
              <a:gd name="T6" fmla="*/ 28 w 38"/>
              <a:gd name="T7" fmla="*/ 0 h 37"/>
              <a:gd name="T8" fmla="*/ 0 60000 65536"/>
              <a:gd name="T9" fmla="*/ 0 60000 65536"/>
              <a:gd name="T10" fmla="*/ 0 60000 65536"/>
              <a:gd name="T11" fmla="*/ 0 60000 65536"/>
              <a:gd name="T12" fmla="*/ 0 w 38"/>
              <a:gd name="T13" fmla="*/ 0 h 37"/>
              <a:gd name="T14" fmla="*/ 38 w 38"/>
              <a:gd name="T15" fmla="*/ 37 h 37"/>
            </a:gdLst>
            <a:ahLst/>
            <a:cxnLst>
              <a:cxn ang="T8">
                <a:pos x="T0" y="T1"/>
              </a:cxn>
              <a:cxn ang="T9">
                <a:pos x="T2" y="T3"/>
              </a:cxn>
              <a:cxn ang="T10">
                <a:pos x="T4" y="T5"/>
              </a:cxn>
              <a:cxn ang="T11">
                <a:pos x="T6" y="T7"/>
              </a:cxn>
            </a:cxnLst>
            <a:rect l="T12" t="T13" r="T14" b="T15"/>
            <a:pathLst>
              <a:path w="38" h="37">
                <a:moveTo>
                  <a:pt x="28" y="0"/>
                </a:moveTo>
                <a:lnTo>
                  <a:pt x="37" y="28"/>
                </a:lnTo>
                <a:lnTo>
                  <a:pt x="0" y="36"/>
                </a:lnTo>
                <a:lnTo>
                  <a:pt x="28" y="0"/>
                </a:lnTo>
              </a:path>
            </a:pathLst>
          </a:custGeom>
          <a:solidFill>
            <a:schemeClr val="accent3"/>
          </a:solidFill>
          <a:ln w="12700" cap="rnd">
            <a:solidFill>
              <a:schemeClr val="bg1"/>
            </a:solidFill>
            <a:round/>
            <a:headEnd/>
            <a:tailEnd/>
          </a:ln>
        </p:spPr>
        <p:txBody>
          <a:bodyPr/>
          <a:lstStyle/>
          <a:p>
            <a:pPr>
              <a:defRPr/>
            </a:pPr>
            <a:endParaRPr lang="en-GB"/>
          </a:p>
        </p:txBody>
      </p:sp>
      <p:sp>
        <p:nvSpPr>
          <p:cNvPr id="63" name="Freeform 73"/>
          <p:cNvSpPr>
            <a:spLocks/>
          </p:cNvSpPr>
          <p:nvPr/>
        </p:nvSpPr>
        <p:spPr bwMode="auto">
          <a:xfrm>
            <a:off x="5225261" y="1836029"/>
            <a:ext cx="45375" cy="42514"/>
          </a:xfrm>
          <a:custGeom>
            <a:avLst/>
            <a:gdLst>
              <a:gd name="T0" fmla="*/ 16 w 38"/>
              <a:gd name="T1" fmla="*/ 0 h 36"/>
              <a:gd name="T2" fmla="*/ 0 w 38"/>
              <a:gd name="T3" fmla="*/ 10 h 36"/>
              <a:gd name="T4" fmla="*/ 19 w 38"/>
              <a:gd name="T5" fmla="*/ 22 h 36"/>
              <a:gd name="T6" fmla="*/ 33 w 38"/>
              <a:gd name="T7" fmla="*/ 10 h 36"/>
              <a:gd name="T8" fmla="*/ 16 w 38"/>
              <a:gd name="T9" fmla="*/ 0 h 36"/>
              <a:gd name="T10" fmla="*/ 0 60000 65536"/>
              <a:gd name="T11" fmla="*/ 0 60000 65536"/>
              <a:gd name="T12" fmla="*/ 0 60000 65536"/>
              <a:gd name="T13" fmla="*/ 0 60000 65536"/>
              <a:gd name="T14" fmla="*/ 0 60000 65536"/>
              <a:gd name="T15" fmla="*/ 0 w 38"/>
              <a:gd name="T16" fmla="*/ 0 h 36"/>
              <a:gd name="T17" fmla="*/ 38 w 38"/>
              <a:gd name="T18" fmla="*/ 36 h 36"/>
            </a:gdLst>
            <a:ahLst/>
            <a:cxnLst>
              <a:cxn ang="T10">
                <a:pos x="T0" y="T1"/>
              </a:cxn>
              <a:cxn ang="T11">
                <a:pos x="T2" y="T3"/>
              </a:cxn>
              <a:cxn ang="T12">
                <a:pos x="T4" y="T5"/>
              </a:cxn>
              <a:cxn ang="T13">
                <a:pos x="T6" y="T7"/>
              </a:cxn>
              <a:cxn ang="T14">
                <a:pos x="T8" y="T9"/>
              </a:cxn>
            </a:cxnLst>
            <a:rect l="T15" t="T16" r="T17" b="T18"/>
            <a:pathLst>
              <a:path w="38" h="36">
                <a:moveTo>
                  <a:pt x="16" y="0"/>
                </a:moveTo>
                <a:lnTo>
                  <a:pt x="0" y="16"/>
                </a:lnTo>
                <a:lnTo>
                  <a:pt x="23" y="35"/>
                </a:lnTo>
                <a:lnTo>
                  <a:pt x="37" y="16"/>
                </a:lnTo>
                <a:lnTo>
                  <a:pt x="16" y="0"/>
                </a:lnTo>
              </a:path>
            </a:pathLst>
          </a:custGeom>
          <a:solidFill>
            <a:schemeClr val="accent3"/>
          </a:solidFill>
          <a:ln w="12700" cap="rnd">
            <a:solidFill>
              <a:schemeClr val="bg1"/>
            </a:solidFill>
            <a:round/>
            <a:headEnd/>
            <a:tailEnd/>
          </a:ln>
        </p:spPr>
        <p:txBody>
          <a:bodyPr/>
          <a:lstStyle/>
          <a:p>
            <a:pPr>
              <a:defRPr/>
            </a:pPr>
            <a:endParaRPr lang="en-GB"/>
          </a:p>
        </p:txBody>
      </p:sp>
      <p:sp>
        <p:nvSpPr>
          <p:cNvPr id="64" name="Freeform 74"/>
          <p:cNvSpPr>
            <a:spLocks/>
          </p:cNvSpPr>
          <p:nvPr/>
        </p:nvSpPr>
        <p:spPr bwMode="auto">
          <a:xfrm>
            <a:off x="5263278" y="1805472"/>
            <a:ext cx="46601" cy="41185"/>
          </a:xfrm>
          <a:custGeom>
            <a:avLst/>
            <a:gdLst>
              <a:gd name="T0" fmla="*/ 0 w 39"/>
              <a:gd name="T1" fmla="*/ 7 h 36"/>
              <a:gd name="T2" fmla="*/ 17 w 39"/>
              <a:gd name="T3" fmla="*/ 19 h 36"/>
              <a:gd name="T4" fmla="*/ 34 w 39"/>
              <a:gd name="T5" fmla="*/ 12 h 36"/>
              <a:gd name="T6" fmla="*/ 19 w 39"/>
              <a:gd name="T7" fmla="*/ 0 h 36"/>
              <a:gd name="T8" fmla="*/ 0 w 39"/>
              <a:gd name="T9" fmla="*/ 7 h 36"/>
              <a:gd name="T10" fmla="*/ 0 60000 65536"/>
              <a:gd name="T11" fmla="*/ 0 60000 65536"/>
              <a:gd name="T12" fmla="*/ 0 60000 65536"/>
              <a:gd name="T13" fmla="*/ 0 60000 65536"/>
              <a:gd name="T14" fmla="*/ 0 60000 65536"/>
              <a:gd name="T15" fmla="*/ 0 w 39"/>
              <a:gd name="T16" fmla="*/ 0 h 36"/>
              <a:gd name="T17" fmla="*/ 39 w 39"/>
              <a:gd name="T18" fmla="*/ 36 h 36"/>
            </a:gdLst>
            <a:ahLst/>
            <a:cxnLst>
              <a:cxn ang="T10">
                <a:pos x="T0" y="T1"/>
              </a:cxn>
              <a:cxn ang="T11">
                <a:pos x="T2" y="T3"/>
              </a:cxn>
              <a:cxn ang="T12">
                <a:pos x="T4" y="T5"/>
              </a:cxn>
              <a:cxn ang="T13">
                <a:pos x="T6" y="T7"/>
              </a:cxn>
              <a:cxn ang="T14">
                <a:pos x="T8" y="T9"/>
              </a:cxn>
            </a:cxnLst>
            <a:rect l="T15" t="T16" r="T17" b="T18"/>
            <a:pathLst>
              <a:path w="39" h="36">
                <a:moveTo>
                  <a:pt x="0" y="13"/>
                </a:moveTo>
                <a:lnTo>
                  <a:pt x="17" y="35"/>
                </a:lnTo>
                <a:lnTo>
                  <a:pt x="38" y="21"/>
                </a:lnTo>
                <a:lnTo>
                  <a:pt x="20" y="0"/>
                </a:lnTo>
                <a:lnTo>
                  <a:pt x="0" y="13"/>
                </a:lnTo>
              </a:path>
            </a:pathLst>
          </a:custGeom>
          <a:solidFill>
            <a:schemeClr val="accent3"/>
          </a:solidFill>
          <a:ln w="12700" cap="rnd">
            <a:solidFill>
              <a:schemeClr val="bg1"/>
            </a:solidFill>
            <a:round/>
            <a:headEnd/>
            <a:tailEnd/>
          </a:ln>
        </p:spPr>
        <p:txBody>
          <a:bodyPr/>
          <a:lstStyle/>
          <a:p>
            <a:pPr>
              <a:defRPr/>
            </a:pPr>
            <a:endParaRPr lang="en-GB"/>
          </a:p>
        </p:txBody>
      </p:sp>
      <p:sp>
        <p:nvSpPr>
          <p:cNvPr id="65" name="Freeform 75"/>
          <p:cNvSpPr>
            <a:spLocks/>
          </p:cNvSpPr>
          <p:nvPr/>
        </p:nvSpPr>
        <p:spPr bwMode="auto">
          <a:xfrm>
            <a:off x="5376102" y="1739045"/>
            <a:ext cx="67449" cy="41185"/>
          </a:xfrm>
          <a:custGeom>
            <a:avLst/>
            <a:gdLst>
              <a:gd name="T0" fmla="*/ 21 w 57"/>
              <a:gd name="T1" fmla="*/ 4 h 36"/>
              <a:gd name="T2" fmla="*/ 31 w 57"/>
              <a:gd name="T3" fmla="*/ 8 h 36"/>
              <a:gd name="T4" fmla="*/ 48 w 57"/>
              <a:gd name="T5" fmla="*/ 0 h 36"/>
              <a:gd name="T6" fmla="*/ 40 w 57"/>
              <a:gd name="T7" fmla="*/ 18 h 36"/>
              <a:gd name="T8" fmla="*/ 21 w 57"/>
              <a:gd name="T9" fmla="*/ 19 h 36"/>
              <a:gd name="T10" fmla="*/ 0 w 57"/>
              <a:gd name="T11" fmla="*/ 7 h 36"/>
              <a:gd name="T12" fmla="*/ 21 w 57"/>
              <a:gd name="T13" fmla="*/ 4 h 36"/>
              <a:gd name="T14" fmla="*/ 0 60000 65536"/>
              <a:gd name="T15" fmla="*/ 0 60000 65536"/>
              <a:gd name="T16" fmla="*/ 0 60000 65536"/>
              <a:gd name="T17" fmla="*/ 0 60000 65536"/>
              <a:gd name="T18" fmla="*/ 0 60000 65536"/>
              <a:gd name="T19" fmla="*/ 0 60000 65536"/>
              <a:gd name="T20" fmla="*/ 0 60000 65536"/>
              <a:gd name="T21" fmla="*/ 0 w 57"/>
              <a:gd name="T22" fmla="*/ 0 h 36"/>
              <a:gd name="T23" fmla="*/ 57 w 5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36">
                <a:moveTo>
                  <a:pt x="25" y="8"/>
                </a:moveTo>
                <a:lnTo>
                  <a:pt x="35" y="15"/>
                </a:lnTo>
                <a:lnTo>
                  <a:pt x="56" y="0"/>
                </a:lnTo>
                <a:lnTo>
                  <a:pt x="46" y="32"/>
                </a:lnTo>
                <a:lnTo>
                  <a:pt x="25" y="35"/>
                </a:lnTo>
                <a:lnTo>
                  <a:pt x="0" y="13"/>
                </a:lnTo>
                <a:lnTo>
                  <a:pt x="25" y="8"/>
                </a:lnTo>
              </a:path>
            </a:pathLst>
          </a:custGeom>
          <a:solidFill>
            <a:schemeClr val="accent3"/>
          </a:solidFill>
          <a:ln w="12700" cap="rnd">
            <a:solidFill>
              <a:schemeClr val="bg1"/>
            </a:solidFill>
            <a:round/>
            <a:headEnd/>
            <a:tailEnd/>
          </a:ln>
        </p:spPr>
        <p:txBody>
          <a:bodyPr/>
          <a:lstStyle/>
          <a:p>
            <a:pPr>
              <a:defRPr/>
            </a:pPr>
            <a:endParaRPr lang="en-GB"/>
          </a:p>
        </p:txBody>
      </p:sp>
      <p:sp>
        <p:nvSpPr>
          <p:cNvPr id="66" name="Freeform 76"/>
          <p:cNvSpPr>
            <a:spLocks/>
          </p:cNvSpPr>
          <p:nvPr/>
        </p:nvSpPr>
        <p:spPr bwMode="auto">
          <a:xfrm>
            <a:off x="5499964" y="1699188"/>
            <a:ext cx="42922" cy="41185"/>
          </a:xfrm>
          <a:custGeom>
            <a:avLst/>
            <a:gdLst>
              <a:gd name="T0" fmla="*/ 14 w 38"/>
              <a:gd name="T1" fmla="*/ 0 h 36"/>
              <a:gd name="T2" fmla="*/ 24 w 38"/>
              <a:gd name="T3" fmla="*/ 6 h 36"/>
              <a:gd name="T4" fmla="*/ 27 w 38"/>
              <a:gd name="T5" fmla="*/ 19 h 36"/>
              <a:gd name="T6" fmla="*/ 0 w 38"/>
              <a:gd name="T7" fmla="*/ 19 h 36"/>
              <a:gd name="T8" fmla="*/ 14 w 38"/>
              <a:gd name="T9" fmla="*/ 0 h 36"/>
              <a:gd name="T10" fmla="*/ 0 60000 65536"/>
              <a:gd name="T11" fmla="*/ 0 60000 65536"/>
              <a:gd name="T12" fmla="*/ 0 60000 65536"/>
              <a:gd name="T13" fmla="*/ 0 60000 65536"/>
              <a:gd name="T14" fmla="*/ 0 60000 65536"/>
              <a:gd name="T15" fmla="*/ 0 w 38"/>
              <a:gd name="T16" fmla="*/ 0 h 36"/>
              <a:gd name="T17" fmla="*/ 38 w 38"/>
              <a:gd name="T18" fmla="*/ 36 h 36"/>
            </a:gdLst>
            <a:ahLst/>
            <a:cxnLst>
              <a:cxn ang="T10">
                <a:pos x="T0" y="T1"/>
              </a:cxn>
              <a:cxn ang="T11">
                <a:pos x="T2" y="T3"/>
              </a:cxn>
              <a:cxn ang="T12">
                <a:pos x="T4" y="T5"/>
              </a:cxn>
              <a:cxn ang="T13">
                <a:pos x="T6" y="T7"/>
              </a:cxn>
              <a:cxn ang="T14">
                <a:pos x="T8" y="T9"/>
              </a:cxn>
            </a:cxnLst>
            <a:rect l="T15" t="T16" r="T17" b="T18"/>
            <a:pathLst>
              <a:path w="38" h="36">
                <a:moveTo>
                  <a:pt x="18" y="0"/>
                </a:moveTo>
                <a:lnTo>
                  <a:pt x="33" y="11"/>
                </a:lnTo>
                <a:lnTo>
                  <a:pt x="37" y="35"/>
                </a:lnTo>
                <a:lnTo>
                  <a:pt x="0" y="35"/>
                </a:lnTo>
                <a:lnTo>
                  <a:pt x="18" y="0"/>
                </a:lnTo>
              </a:path>
            </a:pathLst>
          </a:custGeom>
          <a:solidFill>
            <a:schemeClr val="accent3"/>
          </a:solidFill>
          <a:ln w="12700" cap="rnd">
            <a:solidFill>
              <a:schemeClr val="bg1"/>
            </a:solidFill>
            <a:round/>
            <a:headEnd/>
            <a:tailEnd/>
          </a:ln>
        </p:spPr>
        <p:txBody>
          <a:bodyPr/>
          <a:lstStyle/>
          <a:p>
            <a:pPr>
              <a:defRPr/>
            </a:pPr>
            <a:endParaRPr lang="en-GB"/>
          </a:p>
        </p:txBody>
      </p:sp>
      <p:sp>
        <p:nvSpPr>
          <p:cNvPr id="67" name="Freeform 77"/>
          <p:cNvSpPr>
            <a:spLocks/>
          </p:cNvSpPr>
          <p:nvPr/>
        </p:nvSpPr>
        <p:spPr bwMode="auto">
          <a:xfrm>
            <a:off x="4691799" y="2501632"/>
            <a:ext cx="45375" cy="42514"/>
          </a:xfrm>
          <a:custGeom>
            <a:avLst/>
            <a:gdLst>
              <a:gd name="T0" fmla="*/ 30 w 39"/>
              <a:gd name="T1" fmla="*/ 10 h 37"/>
              <a:gd name="T2" fmla="*/ 8 w 39"/>
              <a:gd name="T3" fmla="*/ 0 h 37"/>
              <a:gd name="T4" fmla="*/ 0 w 39"/>
              <a:gd name="T5" fmla="*/ 9 h 37"/>
              <a:gd name="T6" fmla="*/ 2 w 39"/>
              <a:gd name="T7" fmla="*/ 20 h 37"/>
              <a:gd name="T8" fmla="*/ 30 w 39"/>
              <a:gd name="T9" fmla="*/ 10 h 37"/>
              <a:gd name="T10" fmla="*/ 0 60000 65536"/>
              <a:gd name="T11" fmla="*/ 0 60000 65536"/>
              <a:gd name="T12" fmla="*/ 0 60000 65536"/>
              <a:gd name="T13" fmla="*/ 0 60000 65536"/>
              <a:gd name="T14" fmla="*/ 0 60000 65536"/>
              <a:gd name="T15" fmla="*/ 0 w 39"/>
              <a:gd name="T16" fmla="*/ 0 h 37"/>
              <a:gd name="T17" fmla="*/ 39 w 39"/>
              <a:gd name="T18" fmla="*/ 37 h 37"/>
            </a:gdLst>
            <a:ahLst/>
            <a:cxnLst>
              <a:cxn ang="T10">
                <a:pos x="T0" y="T1"/>
              </a:cxn>
              <a:cxn ang="T11">
                <a:pos x="T2" y="T3"/>
              </a:cxn>
              <a:cxn ang="T12">
                <a:pos x="T4" y="T5"/>
              </a:cxn>
              <a:cxn ang="T13">
                <a:pos x="T6" y="T7"/>
              </a:cxn>
              <a:cxn ang="T14">
                <a:pos x="T8" y="T9"/>
              </a:cxn>
            </a:cxnLst>
            <a:rect l="T15" t="T16" r="T17" b="T18"/>
            <a:pathLst>
              <a:path w="39" h="37">
                <a:moveTo>
                  <a:pt x="38" y="19"/>
                </a:moveTo>
                <a:lnTo>
                  <a:pt x="8" y="0"/>
                </a:lnTo>
                <a:lnTo>
                  <a:pt x="0" y="16"/>
                </a:lnTo>
                <a:lnTo>
                  <a:pt x="2" y="36"/>
                </a:lnTo>
                <a:lnTo>
                  <a:pt x="38" y="19"/>
                </a:lnTo>
              </a:path>
            </a:pathLst>
          </a:custGeom>
          <a:solidFill>
            <a:schemeClr val="accent3"/>
          </a:solidFill>
          <a:ln w="12700" cap="rnd">
            <a:solidFill>
              <a:schemeClr val="bg1"/>
            </a:solidFill>
            <a:round/>
            <a:headEnd/>
            <a:tailEnd/>
          </a:ln>
        </p:spPr>
        <p:txBody>
          <a:bodyPr/>
          <a:lstStyle/>
          <a:p>
            <a:pPr>
              <a:defRPr/>
            </a:pPr>
            <a:endParaRPr lang="en-GB"/>
          </a:p>
        </p:txBody>
      </p:sp>
      <p:sp>
        <p:nvSpPr>
          <p:cNvPr id="68" name="Freeform 78"/>
          <p:cNvSpPr>
            <a:spLocks/>
          </p:cNvSpPr>
          <p:nvPr/>
        </p:nvSpPr>
        <p:spPr bwMode="auto">
          <a:xfrm>
            <a:off x="5046214" y="4153020"/>
            <a:ext cx="468466" cy="235153"/>
          </a:xfrm>
          <a:custGeom>
            <a:avLst/>
            <a:gdLst>
              <a:gd name="T0" fmla="*/ 0 w 401"/>
              <a:gd name="T1" fmla="*/ 73 h 201"/>
              <a:gd name="T2" fmla="*/ 19 w 401"/>
              <a:gd name="T3" fmla="*/ 58 h 201"/>
              <a:gd name="T4" fmla="*/ 33 w 401"/>
              <a:gd name="T5" fmla="*/ 42 h 201"/>
              <a:gd name="T6" fmla="*/ 48 w 401"/>
              <a:gd name="T7" fmla="*/ 26 h 201"/>
              <a:gd name="T8" fmla="*/ 66 w 401"/>
              <a:gd name="T9" fmla="*/ 5 h 201"/>
              <a:gd name="T10" fmla="*/ 78 w 401"/>
              <a:gd name="T11" fmla="*/ 6 h 201"/>
              <a:gd name="T12" fmla="*/ 101 w 401"/>
              <a:gd name="T13" fmla="*/ 8 h 201"/>
              <a:gd name="T14" fmla="*/ 116 w 401"/>
              <a:gd name="T15" fmla="*/ 4 h 201"/>
              <a:gd name="T16" fmla="*/ 153 w 401"/>
              <a:gd name="T17" fmla="*/ 22 h 201"/>
              <a:gd name="T18" fmla="*/ 163 w 401"/>
              <a:gd name="T19" fmla="*/ 17 h 201"/>
              <a:gd name="T20" fmla="*/ 191 w 401"/>
              <a:gd name="T21" fmla="*/ 29 h 201"/>
              <a:gd name="T22" fmla="*/ 212 w 401"/>
              <a:gd name="T23" fmla="*/ 40 h 201"/>
              <a:gd name="T24" fmla="*/ 234 w 401"/>
              <a:gd name="T25" fmla="*/ 35 h 201"/>
              <a:gd name="T26" fmla="*/ 278 w 401"/>
              <a:gd name="T27" fmla="*/ 41 h 201"/>
              <a:gd name="T28" fmla="*/ 299 w 401"/>
              <a:gd name="T29" fmla="*/ 43 h 201"/>
              <a:gd name="T30" fmla="*/ 316 w 401"/>
              <a:gd name="T31" fmla="*/ 48 h 201"/>
              <a:gd name="T32" fmla="*/ 331 w 401"/>
              <a:gd name="T33" fmla="*/ 51 h 201"/>
              <a:gd name="T34" fmla="*/ 314 w 401"/>
              <a:gd name="T35" fmla="*/ 65 h 201"/>
              <a:gd name="T36" fmla="*/ 301 w 401"/>
              <a:gd name="T37" fmla="*/ 77 h 201"/>
              <a:gd name="T38" fmla="*/ 294 w 401"/>
              <a:gd name="T39" fmla="*/ 91 h 201"/>
              <a:gd name="T40" fmla="*/ 271 w 401"/>
              <a:gd name="T41" fmla="*/ 85 h 201"/>
              <a:gd name="T42" fmla="*/ 262 w 401"/>
              <a:gd name="T43" fmla="*/ 79 h 201"/>
              <a:gd name="T44" fmla="*/ 239 w 401"/>
              <a:gd name="T45" fmla="*/ 80 h 201"/>
              <a:gd name="T46" fmla="*/ 219 w 401"/>
              <a:gd name="T47" fmla="*/ 88 h 201"/>
              <a:gd name="T48" fmla="*/ 205 w 401"/>
              <a:gd name="T49" fmla="*/ 95 h 201"/>
              <a:gd name="T50" fmla="*/ 182 w 401"/>
              <a:gd name="T51" fmla="*/ 106 h 201"/>
              <a:gd name="T52" fmla="*/ 161 w 401"/>
              <a:gd name="T53" fmla="*/ 103 h 201"/>
              <a:gd name="T54" fmla="*/ 144 w 401"/>
              <a:gd name="T55" fmla="*/ 103 h 201"/>
              <a:gd name="T56" fmla="*/ 129 w 401"/>
              <a:gd name="T57" fmla="*/ 107 h 201"/>
              <a:gd name="T58" fmla="*/ 113 w 401"/>
              <a:gd name="T59" fmla="*/ 113 h 201"/>
              <a:gd name="T60" fmla="*/ 99 w 401"/>
              <a:gd name="T61" fmla="*/ 116 h 201"/>
              <a:gd name="T62" fmla="*/ 77 w 401"/>
              <a:gd name="T63" fmla="*/ 121 h 201"/>
              <a:gd name="T64" fmla="*/ 53 w 401"/>
              <a:gd name="T65" fmla="*/ 118 h 201"/>
              <a:gd name="T66" fmla="*/ 23 w 401"/>
              <a:gd name="T67" fmla="*/ 108 h 201"/>
              <a:gd name="T68" fmla="*/ 9 w 401"/>
              <a:gd name="T69" fmla="*/ 94 h 201"/>
              <a:gd name="T70" fmla="*/ 0 w 401"/>
              <a:gd name="T71" fmla="*/ 73 h 20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01"/>
              <a:gd name="T109" fmla="*/ 0 h 201"/>
              <a:gd name="T110" fmla="*/ 401 w 401"/>
              <a:gd name="T111" fmla="*/ 201 h 20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01" h="201">
                <a:moveTo>
                  <a:pt x="0" y="121"/>
                </a:moveTo>
                <a:cubicBezTo>
                  <a:pt x="8" y="116"/>
                  <a:pt x="17" y="104"/>
                  <a:pt x="23" y="96"/>
                </a:cubicBezTo>
                <a:cubicBezTo>
                  <a:pt x="25" y="88"/>
                  <a:pt x="35" y="76"/>
                  <a:pt x="41" y="69"/>
                </a:cubicBezTo>
                <a:cubicBezTo>
                  <a:pt x="43" y="59"/>
                  <a:pt x="51" y="48"/>
                  <a:pt x="59" y="42"/>
                </a:cubicBezTo>
                <a:cubicBezTo>
                  <a:pt x="66" y="31"/>
                  <a:pt x="72" y="20"/>
                  <a:pt x="80" y="9"/>
                </a:cubicBezTo>
                <a:cubicBezTo>
                  <a:pt x="82" y="0"/>
                  <a:pt x="88" y="9"/>
                  <a:pt x="95" y="10"/>
                </a:cubicBezTo>
                <a:cubicBezTo>
                  <a:pt x="105" y="15"/>
                  <a:pt x="111" y="13"/>
                  <a:pt x="123" y="12"/>
                </a:cubicBezTo>
                <a:cubicBezTo>
                  <a:pt x="129" y="10"/>
                  <a:pt x="135" y="9"/>
                  <a:pt x="141" y="7"/>
                </a:cubicBezTo>
                <a:cubicBezTo>
                  <a:pt x="167" y="11"/>
                  <a:pt x="167" y="26"/>
                  <a:pt x="186" y="36"/>
                </a:cubicBezTo>
                <a:cubicBezTo>
                  <a:pt x="190" y="30"/>
                  <a:pt x="192" y="31"/>
                  <a:pt x="198" y="28"/>
                </a:cubicBezTo>
                <a:cubicBezTo>
                  <a:pt x="211" y="33"/>
                  <a:pt x="219" y="46"/>
                  <a:pt x="233" y="49"/>
                </a:cubicBezTo>
                <a:cubicBezTo>
                  <a:pt x="242" y="54"/>
                  <a:pt x="250" y="60"/>
                  <a:pt x="258" y="66"/>
                </a:cubicBezTo>
                <a:cubicBezTo>
                  <a:pt x="276" y="63"/>
                  <a:pt x="271" y="63"/>
                  <a:pt x="284" y="58"/>
                </a:cubicBezTo>
                <a:cubicBezTo>
                  <a:pt x="312" y="60"/>
                  <a:pt x="317" y="63"/>
                  <a:pt x="338" y="67"/>
                </a:cubicBezTo>
                <a:cubicBezTo>
                  <a:pt x="346" y="71"/>
                  <a:pt x="355" y="72"/>
                  <a:pt x="363" y="73"/>
                </a:cubicBezTo>
                <a:cubicBezTo>
                  <a:pt x="369" y="76"/>
                  <a:pt x="376" y="78"/>
                  <a:pt x="383" y="79"/>
                </a:cubicBezTo>
                <a:cubicBezTo>
                  <a:pt x="389" y="82"/>
                  <a:pt x="395" y="84"/>
                  <a:pt x="401" y="85"/>
                </a:cubicBezTo>
                <a:cubicBezTo>
                  <a:pt x="396" y="97"/>
                  <a:pt x="392" y="102"/>
                  <a:pt x="381" y="108"/>
                </a:cubicBezTo>
                <a:cubicBezTo>
                  <a:pt x="376" y="115"/>
                  <a:pt x="370" y="120"/>
                  <a:pt x="366" y="129"/>
                </a:cubicBezTo>
                <a:cubicBezTo>
                  <a:pt x="364" y="139"/>
                  <a:pt x="369" y="149"/>
                  <a:pt x="357" y="151"/>
                </a:cubicBezTo>
                <a:cubicBezTo>
                  <a:pt x="338" y="150"/>
                  <a:pt x="343" y="143"/>
                  <a:pt x="330" y="141"/>
                </a:cubicBezTo>
                <a:cubicBezTo>
                  <a:pt x="325" y="137"/>
                  <a:pt x="325" y="133"/>
                  <a:pt x="318" y="132"/>
                </a:cubicBezTo>
                <a:cubicBezTo>
                  <a:pt x="309" y="128"/>
                  <a:pt x="299" y="131"/>
                  <a:pt x="290" y="133"/>
                </a:cubicBezTo>
                <a:cubicBezTo>
                  <a:pt x="281" y="137"/>
                  <a:pt x="274" y="138"/>
                  <a:pt x="266" y="145"/>
                </a:cubicBezTo>
                <a:cubicBezTo>
                  <a:pt x="260" y="151"/>
                  <a:pt x="257" y="156"/>
                  <a:pt x="249" y="159"/>
                </a:cubicBezTo>
                <a:cubicBezTo>
                  <a:pt x="243" y="168"/>
                  <a:pt x="232" y="173"/>
                  <a:pt x="222" y="175"/>
                </a:cubicBezTo>
                <a:cubicBezTo>
                  <a:pt x="213" y="180"/>
                  <a:pt x="204" y="173"/>
                  <a:pt x="195" y="171"/>
                </a:cubicBezTo>
                <a:cubicBezTo>
                  <a:pt x="188" y="165"/>
                  <a:pt x="182" y="170"/>
                  <a:pt x="174" y="172"/>
                </a:cubicBezTo>
                <a:cubicBezTo>
                  <a:pt x="168" y="175"/>
                  <a:pt x="162" y="177"/>
                  <a:pt x="156" y="178"/>
                </a:cubicBezTo>
                <a:cubicBezTo>
                  <a:pt x="151" y="182"/>
                  <a:pt x="144" y="186"/>
                  <a:pt x="138" y="187"/>
                </a:cubicBezTo>
                <a:cubicBezTo>
                  <a:pt x="132" y="190"/>
                  <a:pt x="126" y="192"/>
                  <a:pt x="120" y="193"/>
                </a:cubicBezTo>
                <a:cubicBezTo>
                  <a:pt x="112" y="197"/>
                  <a:pt x="102" y="199"/>
                  <a:pt x="93" y="201"/>
                </a:cubicBezTo>
                <a:cubicBezTo>
                  <a:pt x="69" y="198"/>
                  <a:pt x="78" y="200"/>
                  <a:pt x="65" y="196"/>
                </a:cubicBezTo>
                <a:cubicBezTo>
                  <a:pt x="34" y="200"/>
                  <a:pt x="47" y="193"/>
                  <a:pt x="27" y="181"/>
                </a:cubicBezTo>
                <a:cubicBezTo>
                  <a:pt x="21" y="173"/>
                  <a:pt x="15" y="164"/>
                  <a:pt x="9" y="156"/>
                </a:cubicBezTo>
                <a:cubicBezTo>
                  <a:pt x="7" y="145"/>
                  <a:pt x="6" y="130"/>
                  <a:pt x="0" y="121"/>
                </a:cubicBezTo>
                <a:close/>
              </a:path>
            </a:pathLst>
          </a:custGeom>
          <a:solidFill>
            <a:schemeClr val="accent3"/>
          </a:solidFill>
          <a:ln w="12700">
            <a:solidFill>
              <a:schemeClr val="bg1"/>
            </a:solidFill>
            <a:round/>
            <a:headEnd/>
            <a:tailEnd/>
          </a:ln>
        </p:spPr>
        <p:txBody>
          <a:bodyPr anchor="ctr"/>
          <a:lstStyle/>
          <a:p>
            <a:pPr>
              <a:defRPr/>
            </a:pPr>
            <a:endParaRPr lang="en-GB"/>
          </a:p>
        </p:txBody>
      </p:sp>
      <p:sp>
        <p:nvSpPr>
          <p:cNvPr id="69" name="Freeform 79"/>
          <p:cNvSpPr>
            <a:spLocks/>
          </p:cNvSpPr>
          <p:nvPr/>
        </p:nvSpPr>
        <p:spPr bwMode="auto">
          <a:xfrm>
            <a:off x="5376102" y="5029862"/>
            <a:ext cx="156973" cy="51813"/>
          </a:xfrm>
          <a:custGeom>
            <a:avLst/>
            <a:gdLst>
              <a:gd name="T0" fmla="*/ 0 w 135"/>
              <a:gd name="T1" fmla="*/ 25 h 45"/>
              <a:gd name="T2" fmla="*/ 7 w 135"/>
              <a:gd name="T3" fmla="*/ 16 h 45"/>
              <a:gd name="T4" fmla="*/ 37 w 135"/>
              <a:gd name="T5" fmla="*/ 7 h 45"/>
              <a:gd name="T6" fmla="*/ 56 w 135"/>
              <a:gd name="T7" fmla="*/ 3 h 45"/>
              <a:gd name="T8" fmla="*/ 102 w 135"/>
              <a:gd name="T9" fmla="*/ 3 h 45"/>
              <a:gd name="T10" fmla="*/ 109 w 135"/>
              <a:gd name="T11" fmla="*/ 8 h 45"/>
              <a:gd name="T12" fmla="*/ 0 60000 65536"/>
              <a:gd name="T13" fmla="*/ 0 60000 65536"/>
              <a:gd name="T14" fmla="*/ 0 60000 65536"/>
              <a:gd name="T15" fmla="*/ 0 60000 65536"/>
              <a:gd name="T16" fmla="*/ 0 60000 65536"/>
              <a:gd name="T17" fmla="*/ 0 60000 65536"/>
              <a:gd name="T18" fmla="*/ 0 w 135"/>
              <a:gd name="T19" fmla="*/ 0 h 45"/>
              <a:gd name="T20" fmla="*/ 135 w 135"/>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135" h="45">
                <a:moveTo>
                  <a:pt x="0" y="45"/>
                </a:moveTo>
                <a:cubicBezTo>
                  <a:pt x="4" y="39"/>
                  <a:pt x="5" y="34"/>
                  <a:pt x="7" y="28"/>
                </a:cubicBezTo>
                <a:cubicBezTo>
                  <a:pt x="12" y="16"/>
                  <a:pt x="34" y="14"/>
                  <a:pt x="45" y="12"/>
                </a:cubicBezTo>
                <a:cubicBezTo>
                  <a:pt x="52" y="9"/>
                  <a:pt x="61" y="7"/>
                  <a:pt x="69" y="6"/>
                </a:cubicBezTo>
                <a:cubicBezTo>
                  <a:pt x="88" y="0"/>
                  <a:pt x="108" y="4"/>
                  <a:pt x="127" y="7"/>
                </a:cubicBezTo>
                <a:cubicBezTo>
                  <a:pt x="133" y="13"/>
                  <a:pt x="130" y="11"/>
                  <a:pt x="135" y="13"/>
                </a:cubicBezTo>
              </a:path>
            </a:pathLst>
          </a:custGeom>
          <a:solidFill>
            <a:schemeClr val="accent3"/>
          </a:solidFill>
          <a:ln w="12700">
            <a:solidFill>
              <a:schemeClr val="bg1"/>
            </a:solidFill>
            <a:round/>
            <a:headEnd/>
            <a:tailEnd/>
          </a:ln>
        </p:spPr>
        <p:txBody>
          <a:bodyPr/>
          <a:lstStyle/>
          <a:p>
            <a:pPr>
              <a:defRPr/>
            </a:pPr>
            <a:endParaRPr lang="en-GB"/>
          </a:p>
        </p:txBody>
      </p:sp>
      <p:sp>
        <p:nvSpPr>
          <p:cNvPr id="70" name="Freeform 80"/>
          <p:cNvSpPr>
            <a:spLocks/>
          </p:cNvSpPr>
          <p:nvPr/>
        </p:nvSpPr>
        <p:spPr bwMode="auto">
          <a:xfrm>
            <a:off x="5159038" y="4713668"/>
            <a:ext cx="153294" cy="284310"/>
          </a:xfrm>
          <a:custGeom>
            <a:avLst/>
            <a:gdLst>
              <a:gd name="T0" fmla="*/ 0 w 132"/>
              <a:gd name="T1" fmla="*/ 145 h 244"/>
              <a:gd name="T2" fmla="*/ 8 w 132"/>
              <a:gd name="T3" fmla="*/ 118 h 244"/>
              <a:gd name="T4" fmla="*/ 99 w 132"/>
              <a:gd name="T5" fmla="*/ 85 h 244"/>
              <a:gd name="T6" fmla="*/ 90 w 132"/>
              <a:gd name="T7" fmla="*/ 66 h 244"/>
              <a:gd name="T8" fmla="*/ 87 w 132"/>
              <a:gd name="T9" fmla="*/ 60 h 244"/>
              <a:gd name="T10" fmla="*/ 87 w 132"/>
              <a:gd name="T11" fmla="*/ 50 h 244"/>
              <a:gd name="T12" fmla="*/ 71 w 132"/>
              <a:gd name="T13" fmla="*/ 31 h 244"/>
              <a:gd name="T14" fmla="*/ 71 w 132"/>
              <a:gd name="T15" fmla="*/ 0 h 244"/>
              <a:gd name="T16" fmla="*/ 58 w 132"/>
              <a:gd name="T17" fmla="*/ 4 h 244"/>
              <a:gd name="T18" fmla="*/ 48 w 132"/>
              <a:gd name="T19" fmla="*/ 8 h 2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244"/>
              <a:gd name="T32" fmla="*/ 132 w 132"/>
              <a:gd name="T33" fmla="*/ 244 h 2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244">
                <a:moveTo>
                  <a:pt x="0" y="244"/>
                </a:moveTo>
                <a:cubicBezTo>
                  <a:pt x="4" y="230"/>
                  <a:pt x="3" y="214"/>
                  <a:pt x="8" y="200"/>
                </a:cubicBezTo>
                <a:cubicBezTo>
                  <a:pt x="26" y="153"/>
                  <a:pt x="81" y="149"/>
                  <a:pt x="124" y="144"/>
                </a:cubicBezTo>
                <a:cubicBezTo>
                  <a:pt x="130" y="126"/>
                  <a:pt x="127" y="122"/>
                  <a:pt x="112" y="112"/>
                </a:cubicBezTo>
                <a:cubicBezTo>
                  <a:pt x="111" y="108"/>
                  <a:pt x="107" y="104"/>
                  <a:pt x="108" y="100"/>
                </a:cubicBezTo>
                <a:cubicBezTo>
                  <a:pt x="114" y="82"/>
                  <a:pt x="132" y="92"/>
                  <a:pt x="108" y="84"/>
                </a:cubicBezTo>
                <a:cubicBezTo>
                  <a:pt x="98" y="55"/>
                  <a:pt x="107" y="65"/>
                  <a:pt x="88" y="52"/>
                </a:cubicBezTo>
                <a:cubicBezTo>
                  <a:pt x="93" y="27"/>
                  <a:pt x="98" y="24"/>
                  <a:pt x="88" y="0"/>
                </a:cubicBezTo>
                <a:cubicBezTo>
                  <a:pt x="83" y="1"/>
                  <a:pt x="77" y="2"/>
                  <a:pt x="72" y="4"/>
                </a:cubicBezTo>
                <a:cubicBezTo>
                  <a:pt x="68" y="6"/>
                  <a:pt x="60" y="12"/>
                  <a:pt x="60" y="12"/>
                </a:cubicBezTo>
              </a:path>
            </a:pathLst>
          </a:custGeom>
          <a:solidFill>
            <a:schemeClr val="accent3"/>
          </a:solidFill>
          <a:ln w="12700">
            <a:solidFill>
              <a:schemeClr val="bg1"/>
            </a:solidFill>
            <a:round/>
            <a:headEnd/>
            <a:tailEnd/>
          </a:ln>
        </p:spPr>
        <p:txBody>
          <a:bodyPr/>
          <a:lstStyle/>
          <a:p>
            <a:pPr>
              <a:defRPr/>
            </a:pPr>
            <a:endParaRPr lang="en-GB"/>
          </a:p>
        </p:txBody>
      </p:sp>
      <p:sp>
        <p:nvSpPr>
          <p:cNvPr id="71" name="Freeform 81"/>
          <p:cNvSpPr>
            <a:spLocks/>
          </p:cNvSpPr>
          <p:nvPr/>
        </p:nvSpPr>
        <p:spPr bwMode="auto">
          <a:xfrm>
            <a:off x="5292710" y="4881065"/>
            <a:ext cx="58865" cy="122227"/>
          </a:xfrm>
          <a:custGeom>
            <a:avLst/>
            <a:gdLst>
              <a:gd name="T0" fmla="*/ 20 w 50"/>
              <a:gd name="T1" fmla="*/ 64 h 104"/>
              <a:gd name="T2" fmla="*/ 12 w 50"/>
              <a:gd name="T3" fmla="*/ 17 h 104"/>
              <a:gd name="T4" fmla="*/ 0 w 50"/>
              <a:gd name="T5" fmla="*/ 0 h 104"/>
              <a:gd name="T6" fmla="*/ 0 60000 65536"/>
              <a:gd name="T7" fmla="*/ 0 60000 65536"/>
              <a:gd name="T8" fmla="*/ 0 60000 65536"/>
              <a:gd name="T9" fmla="*/ 0 w 50"/>
              <a:gd name="T10" fmla="*/ 0 h 104"/>
              <a:gd name="T11" fmla="*/ 50 w 50"/>
              <a:gd name="T12" fmla="*/ 104 h 104"/>
            </a:gdLst>
            <a:ahLst/>
            <a:cxnLst>
              <a:cxn ang="T6">
                <a:pos x="T0" y="T1"/>
              </a:cxn>
              <a:cxn ang="T7">
                <a:pos x="T2" y="T3"/>
              </a:cxn>
              <a:cxn ang="T8">
                <a:pos x="T4" y="T5"/>
              </a:cxn>
            </a:cxnLst>
            <a:rect l="T9" t="T10" r="T11" b="T12"/>
            <a:pathLst>
              <a:path w="50" h="104">
                <a:moveTo>
                  <a:pt x="24" y="104"/>
                </a:moveTo>
                <a:cubicBezTo>
                  <a:pt x="50" y="78"/>
                  <a:pt x="34" y="56"/>
                  <a:pt x="16" y="28"/>
                </a:cubicBezTo>
                <a:cubicBezTo>
                  <a:pt x="11" y="20"/>
                  <a:pt x="0" y="10"/>
                  <a:pt x="0" y="0"/>
                </a:cubicBezTo>
              </a:path>
            </a:pathLst>
          </a:custGeom>
          <a:solidFill>
            <a:schemeClr val="accent3"/>
          </a:solidFill>
          <a:ln w="12700">
            <a:solidFill>
              <a:schemeClr val="bg1"/>
            </a:solidFill>
            <a:round/>
            <a:headEnd/>
            <a:tailEnd/>
          </a:ln>
        </p:spPr>
        <p:txBody>
          <a:bodyPr/>
          <a:lstStyle/>
          <a:p>
            <a:pPr>
              <a:defRPr/>
            </a:pPr>
            <a:endParaRPr lang="en-GB"/>
          </a:p>
        </p:txBody>
      </p:sp>
      <p:sp>
        <p:nvSpPr>
          <p:cNvPr id="72" name="Freeform 82"/>
          <p:cNvSpPr>
            <a:spLocks/>
          </p:cNvSpPr>
          <p:nvPr/>
        </p:nvSpPr>
        <p:spPr bwMode="auto">
          <a:xfrm>
            <a:off x="5335633" y="4960778"/>
            <a:ext cx="98108" cy="83699"/>
          </a:xfrm>
          <a:custGeom>
            <a:avLst/>
            <a:gdLst>
              <a:gd name="T0" fmla="*/ 0 w 84"/>
              <a:gd name="T1" fmla="*/ 11 h 72"/>
              <a:gd name="T2" fmla="*/ 32 w 84"/>
              <a:gd name="T3" fmla="*/ 0 h 72"/>
              <a:gd name="T4" fmla="*/ 56 w 84"/>
              <a:gd name="T5" fmla="*/ 28 h 72"/>
              <a:gd name="T6" fmla="*/ 69 w 84"/>
              <a:gd name="T7" fmla="*/ 42 h 72"/>
              <a:gd name="T8" fmla="*/ 0 60000 65536"/>
              <a:gd name="T9" fmla="*/ 0 60000 65536"/>
              <a:gd name="T10" fmla="*/ 0 60000 65536"/>
              <a:gd name="T11" fmla="*/ 0 60000 65536"/>
              <a:gd name="T12" fmla="*/ 0 w 84"/>
              <a:gd name="T13" fmla="*/ 0 h 72"/>
              <a:gd name="T14" fmla="*/ 84 w 84"/>
              <a:gd name="T15" fmla="*/ 72 h 72"/>
            </a:gdLst>
            <a:ahLst/>
            <a:cxnLst>
              <a:cxn ang="T8">
                <a:pos x="T0" y="T1"/>
              </a:cxn>
              <a:cxn ang="T9">
                <a:pos x="T2" y="T3"/>
              </a:cxn>
              <a:cxn ang="T10">
                <a:pos x="T4" y="T5"/>
              </a:cxn>
              <a:cxn ang="T11">
                <a:pos x="T6" y="T7"/>
              </a:cxn>
            </a:cxnLst>
            <a:rect l="T12" t="T13" r="T14" b="T15"/>
            <a:pathLst>
              <a:path w="84" h="72">
                <a:moveTo>
                  <a:pt x="0" y="20"/>
                </a:moveTo>
                <a:cubicBezTo>
                  <a:pt x="13" y="7"/>
                  <a:pt x="23" y="6"/>
                  <a:pt x="40" y="0"/>
                </a:cubicBezTo>
                <a:cubicBezTo>
                  <a:pt x="51" y="17"/>
                  <a:pt x="59" y="31"/>
                  <a:pt x="68" y="48"/>
                </a:cubicBezTo>
                <a:cubicBezTo>
                  <a:pt x="73" y="56"/>
                  <a:pt x="84" y="72"/>
                  <a:pt x="84" y="72"/>
                </a:cubicBezTo>
              </a:path>
            </a:pathLst>
          </a:custGeom>
          <a:solidFill>
            <a:schemeClr val="accent3"/>
          </a:solidFill>
          <a:ln w="12700">
            <a:solidFill>
              <a:schemeClr val="bg1"/>
            </a:solidFill>
            <a:round/>
            <a:headEnd/>
            <a:tailEnd/>
          </a:ln>
        </p:spPr>
        <p:txBody>
          <a:bodyPr/>
          <a:lstStyle/>
          <a:p>
            <a:pPr>
              <a:defRPr/>
            </a:pPr>
            <a:endParaRPr lang="en-GB"/>
          </a:p>
        </p:txBody>
      </p:sp>
      <p:sp>
        <p:nvSpPr>
          <p:cNvPr id="73" name="Oval 83"/>
          <p:cNvSpPr>
            <a:spLocks noChangeArrowheads="1"/>
          </p:cNvSpPr>
          <p:nvPr/>
        </p:nvSpPr>
        <p:spPr bwMode="auto">
          <a:xfrm>
            <a:off x="3563556" y="3951080"/>
            <a:ext cx="104240" cy="53142"/>
          </a:xfrm>
          <a:prstGeom prst="ellipse">
            <a:avLst/>
          </a:prstGeom>
          <a:solidFill>
            <a:schemeClr val="accent3"/>
          </a:solidFill>
          <a:ln w="12700">
            <a:solidFill>
              <a:schemeClr val="bg1"/>
            </a:solidFill>
            <a:round/>
            <a:headEnd/>
            <a:tailEnd/>
          </a:ln>
        </p:spPr>
        <p:txBody>
          <a:bodyPr wrap="none" anchor="ctr"/>
          <a:lstStyle/>
          <a:p>
            <a:pPr algn="ctr">
              <a:defRPr/>
            </a:pPr>
            <a:endParaRPr lang="de-DE"/>
          </a:p>
        </p:txBody>
      </p:sp>
      <p:sp>
        <p:nvSpPr>
          <p:cNvPr id="86"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8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19"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05537" name="Title 1"/>
          <p:cNvSpPr>
            <a:spLocks noGrp="1"/>
          </p:cNvSpPr>
          <p:nvPr>
            <p:ph type="title"/>
            <p:custDataLst>
              <p:tags r:id="rId3"/>
            </p:custDataLst>
          </p:nvPr>
        </p:nvSpPr>
        <p:spPr>
          <a:xfrm>
            <a:off x="414338" y="446038"/>
            <a:ext cx="8330184" cy="333425"/>
          </a:xfrm>
        </p:spPr>
        <p:txBody>
          <a:bodyPr/>
          <a:lstStyle/>
          <a:p>
            <a:r>
              <a:rPr lang="en-GB" altLang="ja-JP"/>
              <a:t>Maps </a:t>
            </a:r>
            <a:r>
              <a:rPr lang="en-US"/>
              <a:t>—</a:t>
            </a:r>
            <a:r>
              <a:rPr lang="en-GB" altLang="ja-JP" smtClean="0"/>
              <a:t> </a:t>
            </a:r>
            <a:r>
              <a:rPr lang="en-GB" altLang="ja-JP"/>
              <a:t>Netherlands</a:t>
            </a:r>
            <a:endParaRPr lang="nl-NL"/>
          </a:p>
        </p:txBody>
      </p:sp>
      <p:sp>
        <p:nvSpPr>
          <p:cNvPr id="50" name="Freeform 4"/>
          <p:cNvSpPr>
            <a:spLocks/>
          </p:cNvSpPr>
          <p:nvPr/>
        </p:nvSpPr>
        <p:spPr bwMode="auto">
          <a:xfrm>
            <a:off x="3805504" y="2404504"/>
            <a:ext cx="793871" cy="1314332"/>
          </a:xfrm>
          <a:custGeom>
            <a:avLst/>
            <a:gdLst>
              <a:gd name="T0" fmla="*/ 27 w 720"/>
              <a:gd name="T1" fmla="*/ 18 h 1208"/>
              <a:gd name="T2" fmla="*/ 21 w 720"/>
              <a:gd name="T3" fmla="*/ 39 h 1208"/>
              <a:gd name="T4" fmla="*/ 15 w 720"/>
              <a:gd name="T5" fmla="*/ 71 h 1208"/>
              <a:gd name="T6" fmla="*/ 6 w 720"/>
              <a:gd name="T7" fmla="*/ 98 h 1208"/>
              <a:gd name="T8" fmla="*/ 0 w 720"/>
              <a:gd name="T9" fmla="*/ 114 h 1208"/>
              <a:gd name="T10" fmla="*/ 8 w 720"/>
              <a:gd name="T11" fmla="*/ 114 h 1208"/>
              <a:gd name="T12" fmla="*/ 13 w 720"/>
              <a:gd name="T13" fmla="*/ 118 h 1208"/>
              <a:gd name="T14" fmla="*/ 7 w 720"/>
              <a:gd name="T15" fmla="*/ 131 h 1208"/>
              <a:gd name="T16" fmla="*/ 16 w 720"/>
              <a:gd name="T17" fmla="*/ 132 h 1208"/>
              <a:gd name="T18" fmla="*/ 27 w 720"/>
              <a:gd name="T19" fmla="*/ 129 h 1208"/>
              <a:gd name="T20" fmla="*/ 37 w 720"/>
              <a:gd name="T21" fmla="*/ 131 h 1208"/>
              <a:gd name="T22" fmla="*/ 45 w 720"/>
              <a:gd name="T23" fmla="*/ 126 h 1208"/>
              <a:gd name="T24" fmla="*/ 52 w 720"/>
              <a:gd name="T25" fmla="*/ 121 h 1208"/>
              <a:gd name="T26" fmla="*/ 62 w 720"/>
              <a:gd name="T27" fmla="*/ 118 h 1208"/>
              <a:gd name="T28" fmla="*/ 69 w 720"/>
              <a:gd name="T29" fmla="*/ 131 h 1208"/>
              <a:gd name="T30" fmla="*/ 82 w 720"/>
              <a:gd name="T31" fmla="*/ 135 h 1208"/>
              <a:gd name="T32" fmla="*/ 82 w 720"/>
              <a:gd name="T33" fmla="*/ 139 h 1208"/>
              <a:gd name="T34" fmla="*/ 88 w 720"/>
              <a:gd name="T35" fmla="*/ 131 h 1208"/>
              <a:gd name="T36" fmla="*/ 96 w 720"/>
              <a:gd name="T37" fmla="*/ 118 h 1208"/>
              <a:gd name="T38" fmla="*/ 88 w 720"/>
              <a:gd name="T39" fmla="*/ 115 h 1208"/>
              <a:gd name="T40" fmla="*/ 81 w 720"/>
              <a:gd name="T41" fmla="*/ 117 h 1208"/>
              <a:gd name="T42" fmla="*/ 74 w 720"/>
              <a:gd name="T43" fmla="*/ 110 h 1208"/>
              <a:gd name="T44" fmla="*/ 57 w 720"/>
              <a:gd name="T45" fmla="*/ 105 h 1208"/>
              <a:gd name="T46" fmla="*/ 69 w 720"/>
              <a:gd name="T47" fmla="*/ 91 h 1208"/>
              <a:gd name="T48" fmla="*/ 71 w 720"/>
              <a:gd name="T49" fmla="*/ 80 h 1208"/>
              <a:gd name="T50" fmla="*/ 68 w 720"/>
              <a:gd name="T51" fmla="*/ 57 h 1208"/>
              <a:gd name="T52" fmla="*/ 78 w 720"/>
              <a:gd name="T53" fmla="*/ 59 h 1208"/>
              <a:gd name="T54" fmla="*/ 91 w 720"/>
              <a:gd name="T55" fmla="*/ 53 h 1208"/>
              <a:gd name="T56" fmla="*/ 94 w 720"/>
              <a:gd name="T57" fmla="*/ 38 h 1208"/>
              <a:gd name="T58" fmla="*/ 82 w 720"/>
              <a:gd name="T59" fmla="*/ 40 h 1208"/>
              <a:gd name="T60" fmla="*/ 76 w 720"/>
              <a:gd name="T61" fmla="*/ 27 h 1208"/>
              <a:gd name="T62" fmla="*/ 68 w 720"/>
              <a:gd name="T63" fmla="*/ 5 h 1208"/>
              <a:gd name="T64" fmla="*/ 56 w 720"/>
              <a:gd name="T65" fmla="*/ 8 h 1208"/>
              <a:gd name="T66" fmla="*/ 47 w 720"/>
              <a:gd name="T67" fmla="*/ 13 h 1208"/>
              <a:gd name="T68" fmla="*/ 36 w 720"/>
              <a:gd name="T69" fmla="*/ 1 h 120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20"/>
              <a:gd name="T106" fmla="*/ 0 h 1208"/>
              <a:gd name="T107" fmla="*/ 720 w 720"/>
              <a:gd name="T108" fmla="*/ 1208 h 120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20" h="1208">
                <a:moveTo>
                  <a:pt x="212" y="0"/>
                </a:moveTo>
                <a:lnTo>
                  <a:pt x="200" y="156"/>
                </a:lnTo>
                <a:lnTo>
                  <a:pt x="168" y="248"/>
                </a:lnTo>
                <a:lnTo>
                  <a:pt x="156" y="340"/>
                </a:lnTo>
                <a:lnTo>
                  <a:pt x="128" y="460"/>
                </a:lnTo>
                <a:lnTo>
                  <a:pt x="112" y="612"/>
                </a:lnTo>
                <a:lnTo>
                  <a:pt x="84" y="720"/>
                </a:lnTo>
                <a:lnTo>
                  <a:pt x="44" y="852"/>
                </a:lnTo>
                <a:lnTo>
                  <a:pt x="4" y="948"/>
                </a:lnTo>
                <a:lnTo>
                  <a:pt x="0" y="984"/>
                </a:lnTo>
                <a:lnTo>
                  <a:pt x="28" y="988"/>
                </a:lnTo>
                <a:lnTo>
                  <a:pt x="64" y="992"/>
                </a:lnTo>
                <a:lnTo>
                  <a:pt x="96" y="988"/>
                </a:lnTo>
                <a:lnTo>
                  <a:pt x="92" y="1028"/>
                </a:lnTo>
                <a:lnTo>
                  <a:pt x="64" y="1096"/>
                </a:lnTo>
                <a:lnTo>
                  <a:pt x="52" y="1132"/>
                </a:lnTo>
                <a:lnTo>
                  <a:pt x="88" y="1136"/>
                </a:lnTo>
                <a:lnTo>
                  <a:pt x="120" y="1148"/>
                </a:lnTo>
                <a:lnTo>
                  <a:pt x="152" y="1124"/>
                </a:lnTo>
                <a:lnTo>
                  <a:pt x="200" y="1120"/>
                </a:lnTo>
                <a:lnTo>
                  <a:pt x="224" y="1156"/>
                </a:lnTo>
                <a:lnTo>
                  <a:pt x="276" y="1136"/>
                </a:lnTo>
                <a:lnTo>
                  <a:pt x="300" y="1120"/>
                </a:lnTo>
                <a:lnTo>
                  <a:pt x="336" y="1096"/>
                </a:lnTo>
                <a:lnTo>
                  <a:pt x="372" y="1088"/>
                </a:lnTo>
                <a:lnTo>
                  <a:pt x="392" y="1048"/>
                </a:lnTo>
                <a:lnTo>
                  <a:pt x="436" y="1044"/>
                </a:lnTo>
                <a:lnTo>
                  <a:pt x="468" y="1028"/>
                </a:lnTo>
                <a:lnTo>
                  <a:pt x="512" y="1104"/>
                </a:lnTo>
                <a:lnTo>
                  <a:pt x="520" y="1132"/>
                </a:lnTo>
                <a:lnTo>
                  <a:pt x="592" y="1140"/>
                </a:lnTo>
                <a:lnTo>
                  <a:pt x="612" y="1168"/>
                </a:lnTo>
                <a:lnTo>
                  <a:pt x="592" y="1200"/>
                </a:lnTo>
                <a:lnTo>
                  <a:pt x="616" y="1208"/>
                </a:lnTo>
                <a:lnTo>
                  <a:pt x="644" y="1184"/>
                </a:lnTo>
                <a:lnTo>
                  <a:pt x="664" y="1136"/>
                </a:lnTo>
                <a:lnTo>
                  <a:pt x="708" y="1048"/>
                </a:lnTo>
                <a:lnTo>
                  <a:pt x="720" y="1020"/>
                </a:lnTo>
                <a:lnTo>
                  <a:pt x="684" y="1016"/>
                </a:lnTo>
                <a:lnTo>
                  <a:pt x="664" y="1000"/>
                </a:lnTo>
                <a:lnTo>
                  <a:pt x="636" y="1016"/>
                </a:lnTo>
                <a:lnTo>
                  <a:pt x="608" y="1012"/>
                </a:lnTo>
                <a:lnTo>
                  <a:pt x="584" y="996"/>
                </a:lnTo>
                <a:lnTo>
                  <a:pt x="552" y="952"/>
                </a:lnTo>
                <a:lnTo>
                  <a:pt x="472" y="960"/>
                </a:lnTo>
                <a:lnTo>
                  <a:pt x="432" y="916"/>
                </a:lnTo>
                <a:lnTo>
                  <a:pt x="548" y="804"/>
                </a:lnTo>
                <a:lnTo>
                  <a:pt x="516" y="792"/>
                </a:lnTo>
                <a:lnTo>
                  <a:pt x="516" y="740"/>
                </a:lnTo>
                <a:lnTo>
                  <a:pt x="528" y="696"/>
                </a:lnTo>
                <a:lnTo>
                  <a:pt x="476" y="520"/>
                </a:lnTo>
                <a:lnTo>
                  <a:pt x="512" y="492"/>
                </a:lnTo>
                <a:lnTo>
                  <a:pt x="552" y="484"/>
                </a:lnTo>
                <a:lnTo>
                  <a:pt x="588" y="512"/>
                </a:lnTo>
                <a:lnTo>
                  <a:pt x="632" y="512"/>
                </a:lnTo>
                <a:lnTo>
                  <a:pt x="680" y="460"/>
                </a:lnTo>
                <a:lnTo>
                  <a:pt x="716" y="396"/>
                </a:lnTo>
                <a:lnTo>
                  <a:pt x="704" y="332"/>
                </a:lnTo>
                <a:lnTo>
                  <a:pt x="644" y="324"/>
                </a:lnTo>
                <a:lnTo>
                  <a:pt x="612" y="352"/>
                </a:lnTo>
                <a:lnTo>
                  <a:pt x="564" y="292"/>
                </a:lnTo>
                <a:lnTo>
                  <a:pt x="568" y="236"/>
                </a:lnTo>
                <a:lnTo>
                  <a:pt x="572" y="176"/>
                </a:lnTo>
                <a:lnTo>
                  <a:pt x="508" y="48"/>
                </a:lnTo>
                <a:lnTo>
                  <a:pt x="456" y="48"/>
                </a:lnTo>
                <a:lnTo>
                  <a:pt x="420" y="72"/>
                </a:lnTo>
                <a:lnTo>
                  <a:pt x="404" y="104"/>
                </a:lnTo>
                <a:lnTo>
                  <a:pt x="348" y="112"/>
                </a:lnTo>
                <a:lnTo>
                  <a:pt x="268" y="60"/>
                </a:lnTo>
                <a:lnTo>
                  <a:pt x="264" y="4"/>
                </a:lnTo>
                <a:lnTo>
                  <a:pt x="212" y="0"/>
                </a:lnTo>
                <a:close/>
              </a:path>
            </a:pathLst>
          </a:custGeom>
          <a:solidFill>
            <a:schemeClr val="accent3"/>
          </a:solidFill>
          <a:ln w="12700">
            <a:solidFill>
              <a:schemeClr val="bg1"/>
            </a:solidFill>
            <a:round/>
            <a:headEnd/>
            <a:tailEnd/>
          </a:ln>
        </p:spPr>
        <p:txBody>
          <a:bodyPr wrap="none" lIns="0" tIns="0" rIns="0" bIns="0" anchor="ctr">
            <a:spAutoFit/>
          </a:bodyPr>
          <a:lstStyle/>
          <a:p>
            <a:endParaRPr lang="en-GB"/>
          </a:p>
        </p:txBody>
      </p:sp>
      <p:sp>
        <p:nvSpPr>
          <p:cNvPr id="51" name="Freeform 5"/>
          <p:cNvSpPr>
            <a:spLocks/>
          </p:cNvSpPr>
          <p:nvPr/>
        </p:nvSpPr>
        <p:spPr bwMode="auto">
          <a:xfrm>
            <a:off x="4035453" y="2047916"/>
            <a:ext cx="186149" cy="291244"/>
          </a:xfrm>
          <a:custGeom>
            <a:avLst/>
            <a:gdLst>
              <a:gd name="T0" fmla="*/ 10 w 168"/>
              <a:gd name="T1" fmla="*/ 7 h 268"/>
              <a:gd name="T2" fmla="*/ 3 w 168"/>
              <a:gd name="T3" fmla="*/ 16 h 268"/>
              <a:gd name="T4" fmla="*/ 1 w 168"/>
              <a:gd name="T5" fmla="*/ 21 h 268"/>
              <a:gd name="T6" fmla="*/ 0 w 168"/>
              <a:gd name="T7" fmla="*/ 31 h 268"/>
              <a:gd name="T8" fmla="*/ 7 w 168"/>
              <a:gd name="T9" fmla="*/ 29 h 268"/>
              <a:gd name="T10" fmla="*/ 13 w 168"/>
              <a:gd name="T11" fmla="*/ 29 h 268"/>
              <a:gd name="T12" fmla="*/ 13 w 168"/>
              <a:gd name="T13" fmla="*/ 24 h 268"/>
              <a:gd name="T14" fmla="*/ 20 w 168"/>
              <a:gd name="T15" fmla="*/ 21 h 268"/>
              <a:gd name="T16" fmla="*/ 21 w 168"/>
              <a:gd name="T17" fmla="*/ 10 h 268"/>
              <a:gd name="T18" fmla="*/ 23 w 168"/>
              <a:gd name="T19" fmla="*/ 7 h 268"/>
              <a:gd name="T20" fmla="*/ 18 w 168"/>
              <a:gd name="T21" fmla="*/ 0 h 268"/>
              <a:gd name="T22" fmla="*/ 13 w 168"/>
              <a:gd name="T23" fmla="*/ 2 h 268"/>
              <a:gd name="T24" fmla="*/ 14 w 168"/>
              <a:gd name="T25" fmla="*/ 6 h 268"/>
              <a:gd name="T26" fmla="*/ 10 w 168"/>
              <a:gd name="T27" fmla="*/ 7 h 2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8"/>
              <a:gd name="T43" fmla="*/ 0 h 268"/>
              <a:gd name="T44" fmla="*/ 168 w 168"/>
              <a:gd name="T45" fmla="*/ 268 h 2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8" h="268">
                <a:moveTo>
                  <a:pt x="76" y="60"/>
                </a:moveTo>
                <a:lnTo>
                  <a:pt x="24" y="136"/>
                </a:lnTo>
                <a:lnTo>
                  <a:pt x="8" y="180"/>
                </a:lnTo>
                <a:lnTo>
                  <a:pt x="0" y="268"/>
                </a:lnTo>
                <a:lnTo>
                  <a:pt x="52" y="252"/>
                </a:lnTo>
                <a:lnTo>
                  <a:pt x="92" y="248"/>
                </a:lnTo>
                <a:lnTo>
                  <a:pt x="96" y="216"/>
                </a:lnTo>
                <a:lnTo>
                  <a:pt x="148" y="180"/>
                </a:lnTo>
                <a:lnTo>
                  <a:pt x="156" y="88"/>
                </a:lnTo>
                <a:lnTo>
                  <a:pt x="168" y="60"/>
                </a:lnTo>
                <a:lnTo>
                  <a:pt x="132" y="0"/>
                </a:lnTo>
                <a:lnTo>
                  <a:pt x="100" y="16"/>
                </a:lnTo>
                <a:lnTo>
                  <a:pt x="104" y="52"/>
                </a:lnTo>
                <a:lnTo>
                  <a:pt x="76" y="60"/>
                </a:lnTo>
                <a:close/>
              </a:path>
            </a:pathLst>
          </a:custGeom>
          <a:solidFill>
            <a:schemeClr val="accent3"/>
          </a:solidFill>
          <a:ln w="12700">
            <a:solidFill>
              <a:schemeClr val="bg1"/>
            </a:solidFill>
            <a:round/>
            <a:headEnd/>
            <a:tailEnd/>
          </a:ln>
        </p:spPr>
        <p:txBody>
          <a:bodyPr wrap="none" lIns="0" tIns="0" rIns="0" bIns="0" anchor="ctr">
            <a:spAutoFit/>
          </a:bodyPr>
          <a:lstStyle/>
          <a:p>
            <a:endParaRPr lang="en-GB"/>
          </a:p>
        </p:txBody>
      </p:sp>
      <p:sp>
        <p:nvSpPr>
          <p:cNvPr id="52" name="Freeform 6"/>
          <p:cNvSpPr>
            <a:spLocks/>
          </p:cNvSpPr>
          <p:nvPr/>
        </p:nvSpPr>
        <p:spPr bwMode="auto">
          <a:xfrm>
            <a:off x="4199702" y="1863088"/>
            <a:ext cx="111324" cy="108283"/>
          </a:xfrm>
          <a:custGeom>
            <a:avLst/>
            <a:gdLst>
              <a:gd name="T0" fmla="*/ 13 w 102"/>
              <a:gd name="T1" fmla="*/ 0 h 99"/>
              <a:gd name="T2" fmla="*/ 10 w 102"/>
              <a:gd name="T3" fmla="*/ 3 h 99"/>
              <a:gd name="T4" fmla="*/ 10 w 102"/>
              <a:gd name="T5" fmla="*/ 5 h 99"/>
              <a:gd name="T6" fmla="*/ 7 w 102"/>
              <a:gd name="T7" fmla="*/ 5 h 99"/>
              <a:gd name="T8" fmla="*/ 4 w 102"/>
              <a:gd name="T9" fmla="*/ 6 h 99"/>
              <a:gd name="T10" fmla="*/ 0 w 102"/>
              <a:gd name="T11" fmla="*/ 11 h 99"/>
              <a:gd name="T12" fmla="*/ 4 w 102"/>
              <a:gd name="T13" fmla="*/ 12 h 99"/>
              <a:gd name="T14" fmla="*/ 7 w 102"/>
              <a:gd name="T15" fmla="*/ 9 h 99"/>
              <a:gd name="T16" fmla="*/ 10 w 102"/>
              <a:gd name="T17" fmla="*/ 8 h 99"/>
              <a:gd name="T18" fmla="*/ 11 w 102"/>
              <a:gd name="T19" fmla="*/ 5 h 99"/>
              <a:gd name="T20" fmla="*/ 13 w 102"/>
              <a:gd name="T21" fmla="*/ 2 h 99"/>
              <a:gd name="T22" fmla="*/ 13 w 102"/>
              <a:gd name="T23" fmla="*/ 0 h 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2"/>
              <a:gd name="T37" fmla="*/ 0 h 99"/>
              <a:gd name="T38" fmla="*/ 102 w 102"/>
              <a:gd name="T39" fmla="*/ 99 h 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2" h="99">
                <a:moveTo>
                  <a:pt x="99" y="0"/>
                </a:moveTo>
                <a:lnTo>
                  <a:pt x="78" y="24"/>
                </a:lnTo>
                <a:lnTo>
                  <a:pt x="75" y="42"/>
                </a:lnTo>
                <a:lnTo>
                  <a:pt x="57" y="45"/>
                </a:lnTo>
                <a:lnTo>
                  <a:pt x="33" y="57"/>
                </a:lnTo>
                <a:lnTo>
                  <a:pt x="0" y="90"/>
                </a:lnTo>
                <a:lnTo>
                  <a:pt x="33" y="99"/>
                </a:lnTo>
                <a:lnTo>
                  <a:pt x="54" y="78"/>
                </a:lnTo>
                <a:lnTo>
                  <a:pt x="81" y="69"/>
                </a:lnTo>
                <a:lnTo>
                  <a:pt x="84" y="42"/>
                </a:lnTo>
                <a:lnTo>
                  <a:pt x="102" y="21"/>
                </a:lnTo>
                <a:lnTo>
                  <a:pt x="99" y="0"/>
                </a:lnTo>
                <a:close/>
              </a:path>
            </a:pathLst>
          </a:custGeom>
          <a:solidFill>
            <a:schemeClr val="accent3"/>
          </a:solidFill>
          <a:ln w="12700">
            <a:solidFill>
              <a:schemeClr val="bg1"/>
            </a:solidFill>
            <a:round/>
            <a:headEnd/>
            <a:tailEnd/>
          </a:ln>
        </p:spPr>
        <p:txBody>
          <a:bodyPr wrap="none" lIns="0" tIns="0" rIns="0" bIns="0" anchor="ctr">
            <a:spAutoFit/>
          </a:bodyPr>
          <a:lstStyle/>
          <a:p>
            <a:endParaRPr lang="en-GB"/>
          </a:p>
        </p:txBody>
      </p:sp>
      <p:sp>
        <p:nvSpPr>
          <p:cNvPr id="53" name="Freeform 7"/>
          <p:cNvSpPr>
            <a:spLocks/>
          </p:cNvSpPr>
          <p:nvPr/>
        </p:nvSpPr>
        <p:spPr bwMode="auto">
          <a:xfrm>
            <a:off x="4323801" y="1827616"/>
            <a:ext cx="76650" cy="41073"/>
          </a:xfrm>
          <a:custGeom>
            <a:avLst/>
            <a:gdLst>
              <a:gd name="T0" fmla="*/ 7 w 69"/>
              <a:gd name="T1" fmla="*/ 0 h 39"/>
              <a:gd name="T2" fmla="*/ 10 w 69"/>
              <a:gd name="T3" fmla="*/ 1 h 39"/>
              <a:gd name="T4" fmla="*/ 6 w 69"/>
              <a:gd name="T5" fmla="*/ 3 h 39"/>
              <a:gd name="T6" fmla="*/ 4 w 69"/>
              <a:gd name="T7" fmla="*/ 3 h 39"/>
              <a:gd name="T8" fmla="*/ 0 w 69"/>
              <a:gd name="T9" fmla="*/ 4 h 39"/>
              <a:gd name="T10" fmla="*/ 2 w 69"/>
              <a:gd name="T11" fmla="*/ 1 h 39"/>
              <a:gd name="T12" fmla="*/ 7 w 69"/>
              <a:gd name="T13" fmla="*/ 0 h 39"/>
              <a:gd name="T14" fmla="*/ 0 60000 65536"/>
              <a:gd name="T15" fmla="*/ 0 60000 65536"/>
              <a:gd name="T16" fmla="*/ 0 60000 65536"/>
              <a:gd name="T17" fmla="*/ 0 60000 65536"/>
              <a:gd name="T18" fmla="*/ 0 60000 65536"/>
              <a:gd name="T19" fmla="*/ 0 60000 65536"/>
              <a:gd name="T20" fmla="*/ 0 60000 65536"/>
              <a:gd name="T21" fmla="*/ 0 w 69"/>
              <a:gd name="T22" fmla="*/ 0 h 39"/>
              <a:gd name="T23" fmla="*/ 69 w 69"/>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39">
                <a:moveTo>
                  <a:pt x="48" y="0"/>
                </a:moveTo>
                <a:lnTo>
                  <a:pt x="69" y="6"/>
                </a:lnTo>
                <a:lnTo>
                  <a:pt x="45" y="24"/>
                </a:lnTo>
                <a:lnTo>
                  <a:pt x="27" y="27"/>
                </a:lnTo>
                <a:lnTo>
                  <a:pt x="0" y="39"/>
                </a:lnTo>
                <a:lnTo>
                  <a:pt x="18" y="9"/>
                </a:lnTo>
                <a:lnTo>
                  <a:pt x="48" y="0"/>
                </a:lnTo>
                <a:close/>
              </a:path>
            </a:pathLst>
          </a:custGeom>
          <a:solidFill>
            <a:schemeClr val="accent3"/>
          </a:solidFill>
          <a:ln w="12700">
            <a:solidFill>
              <a:schemeClr val="bg1"/>
            </a:solidFill>
            <a:round/>
            <a:headEnd/>
            <a:tailEnd/>
          </a:ln>
        </p:spPr>
        <p:txBody>
          <a:bodyPr wrap="none" lIns="0" tIns="0" rIns="0" bIns="0" anchor="ctr">
            <a:spAutoFit/>
          </a:bodyPr>
          <a:lstStyle/>
          <a:p>
            <a:endParaRPr lang="en-GB"/>
          </a:p>
        </p:txBody>
      </p:sp>
      <p:sp>
        <p:nvSpPr>
          <p:cNvPr id="54" name="Freeform 8"/>
          <p:cNvSpPr>
            <a:spLocks/>
          </p:cNvSpPr>
          <p:nvPr/>
        </p:nvSpPr>
        <p:spPr bwMode="auto">
          <a:xfrm>
            <a:off x="4475275" y="1579312"/>
            <a:ext cx="394198" cy="181094"/>
          </a:xfrm>
          <a:custGeom>
            <a:avLst/>
            <a:gdLst>
              <a:gd name="T0" fmla="*/ 0 w 357"/>
              <a:gd name="T1" fmla="*/ 20 h 165"/>
              <a:gd name="T2" fmla="*/ 7 w 357"/>
              <a:gd name="T3" fmla="*/ 18 h 165"/>
              <a:gd name="T4" fmla="*/ 8 w 357"/>
              <a:gd name="T5" fmla="*/ 15 h 165"/>
              <a:gd name="T6" fmla="*/ 13 w 357"/>
              <a:gd name="T7" fmla="*/ 15 h 165"/>
              <a:gd name="T8" fmla="*/ 21 w 357"/>
              <a:gd name="T9" fmla="*/ 13 h 165"/>
              <a:gd name="T10" fmla="*/ 26 w 357"/>
              <a:gd name="T11" fmla="*/ 9 h 165"/>
              <a:gd name="T12" fmla="*/ 36 w 357"/>
              <a:gd name="T13" fmla="*/ 8 h 165"/>
              <a:gd name="T14" fmla="*/ 42 w 357"/>
              <a:gd name="T15" fmla="*/ 4 h 165"/>
              <a:gd name="T16" fmla="*/ 45 w 357"/>
              <a:gd name="T17" fmla="*/ 3 h 165"/>
              <a:gd name="T18" fmla="*/ 48 w 357"/>
              <a:gd name="T19" fmla="*/ 3 h 165"/>
              <a:gd name="T20" fmla="*/ 46 w 357"/>
              <a:gd name="T21" fmla="*/ 0 h 165"/>
              <a:gd name="T22" fmla="*/ 36 w 357"/>
              <a:gd name="T23" fmla="*/ 4 h 165"/>
              <a:gd name="T24" fmla="*/ 29 w 357"/>
              <a:gd name="T25" fmla="*/ 5 h 165"/>
              <a:gd name="T26" fmla="*/ 27 w 357"/>
              <a:gd name="T27" fmla="*/ 7 h 165"/>
              <a:gd name="T28" fmla="*/ 21 w 357"/>
              <a:gd name="T29" fmla="*/ 7 h 165"/>
              <a:gd name="T30" fmla="*/ 15 w 357"/>
              <a:gd name="T31" fmla="*/ 9 h 165"/>
              <a:gd name="T32" fmla="*/ 5 w 357"/>
              <a:gd name="T33" fmla="*/ 12 h 165"/>
              <a:gd name="T34" fmla="*/ 4 w 357"/>
              <a:gd name="T35" fmla="*/ 15 h 165"/>
              <a:gd name="T36" fmla="*/ 1 w 357"/>
              <a:gd name="T37" fmla="*/ 16 h 165"/>
              <a:gd name="T38" fmla="*/ 0 w 357"/>
              <a:gd name="T39" fmla="*/ 20 h 16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57"/>
              <a:gd name="T61" fmla="*/ 0 h 165"/>
              <a:gd name="T62" fmla="*/ 357 w 357"/>
              <a:gd name="T63" fmla="*/ 165 h 16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57" h="165">
                <a:moveTo>
                  <a:pt x="0" y="165"/>
                </a:moveTo>
                <a:lnTo>
                  <a:pt x="51" y="147"/>
                </a:lnTo>
                <a:lnTo>
                  <a:pt x="63" y="120"/>
                </a:lnTo>
                <a:lnTo>
                  <a:pt x="96" y="123"/>
                </a:lnTo>
                <a:lnTo>
                  <a:pt x="156" y="111"/>
                </a:lnTo>
                <a:lnTo>
                  <a:pt x="195" y="81"/>
                </a:lnTo>
                <a:lnTo>
                  <a:pt x="264" y="69"/>
                </a:lnTo>
                <a:lnTo>
                  <a:pt x="315" y="33"/>
                </a:lnTo>
                <a:lnTo>
                  <a:pt x="339" y="24"/>
                </a:lnTo>
                <a:lnTo>
                  <a:pt x="357" y="24"/>
                </a:lnTo>
                <a:lnTo>
                  <a:pt x="345" y="0"/>
                </a:lnTo>
                <a:lnTo>
                  <a:pt x="267" y="33"/>
                </a:lnTo>
                <a:lnTo>
                  <a:pt x="219" y="42"/>
                </a:lnTo>
                <a:lnTo>
                  <a:pt x="201" y="57"/>
                </a:lnTo>
                <a:lnTo>
                  <a:pt x="153" y="60"/>
                </a:lnTo>
                <a:lnTo>
                  <a:pt x="108" y="78"/>
                </a:lnTo>
                <a:lnTo>
                  <a:pt x="36" y="105"/>
                </a:lnTo>
                <a:lnTo>
                  <a:pt x="30" y="126"/>
                </a:lnTo>
                <a:lnTo>
                  <a:pt x="9" y="132"/>
                </a:lnTo>
                <a:lnTo>
                  <a:pt x="0" y="165"/>
                </a:lnTo>
                <a:close/>
              </a:path>
            </a:pathLst>
          </a:custGeom>
          <a:solidFill>
            <a:schemeClr val="accent3"/>
          </a:solidFill>
          <a:ln w="12700">
            <a:solidFill>
              <a:schemeClr val="bg1"/>
            </a:solidFill>
            <a:round/>
            <a:headEnd/>
            <a:tailEnd/>
          </a:ln>
        </p:spPr>
        <p:txBody>
          <a:bodyPr wrap="none" lIns="0" tIns="0" rIns="0" bIns="0" anchor="ctr">
            <a:spAutoFit/>
          </a:bodyPr>
          <a:lstStyle/>
          <a:p>
            <a:endParaRPr lang="en-GB"/>
          </a:p>
        </p:txBody>
      </p:sp>
      <p:sp>
        <p:nvSpPr>
          <p:cNvPr id="55" name="Freeform 9"/>
          <p:cNvSpPr>
            <a:spLocks/>
          </p:cNvSpPr>
          <p:nvPr/>
        </p:nvSpPr>
        <p:spPr bwMode="auto">
          <a:xfrm>
            <a:off x="4944298" y="1555042"/>
            <a:ext cx="333973" cy="61609"/>
          </a:xfrm>
          <a:custGeom>
            <a:avLst/>
            <a:gdLst>
              <a:gd name="T0" fmla="*/ 40 w 303"/>
              <a:gd name="T1" fmla="*/ 0 h 57"/>
              <a:gd name="T2" fmla="*/ 30 w 303"/>
              <a:gd name="T3" fmla="*/ 0 h 57"/>
              <a:gd name="T4" fmla="*/ 24 w 303"/>
              <a:gd name="T5" fmla="*/ 1 h 57"/>
              <a:gd name="T6" fmla="*/ 21 w 303"/>
              <a:gd name="T7" fmla="*/ 1 h 57"/>
              <a:gd name="T8" fmla="*/ 16 w 303"/>
              <a:gd name="T9" fmla="*/ 2 h 57"/>
              <a:gd name="T10" fmla="*/ 6 w 303"/>
              <a:gd name="T11" fmla="*/ 2 h 57"/>
              <a:gd name="T12" fmla="*/ 4 w 303"/>
              <a:gd name="T13" fmla="*/ 1 h 57"/>
              <a:gd name="T14" fmla="*/ 0 w 303"/>
              <a:gd name="T15" fmla="*/ 3 h 57"/>
              <a:gd name="T16" fmla="*/ 1 w 303"/>
              <a:gd name="T17" fmla="*/ 5 h 57"/>
              <a:gd name="T18" fmla="*/ 6 w 303"/>
              <a:gd name="T19" fmla="*/ 6 h 57"/>
              <a:gd name="T20" fmla="*/ 9 w 303"/>
              <a:gd name="T21" fmla="*/ 6 h 57"/>
              <a:gd name="T22" fmla="*/ 12 w 303"/>
              <a:gd name="T23" fmla="*/ 5 h 57"/>
              <a:gd name="T24" fmla="*/ 13 w 303"/>
              <a:gd name="T25" fmla="*/ 3 h 57"/>
              <a:gd name="T26" fmla="*/ 20 w 303"/>
              <a:gd name="T27" fmla="*/ 3 h 57"/>
              <a:gd name="T28" fmla="*/ 31 w 303"/>
              <a:gd name="T29" fmla="*/ 2 h 57"/>
              <a:gd name="T30" fmla="*/ 36 w 303"/>
              <a:gd name="T31" fmla="*/ 1 h 57"/>
              <a:gd name="T32" fmla="*/ 40 w 303"/>
              <a:gd name="T33" fmla="*/ 0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3"/>
              <a:gd name="T52" fmla="*/ 0 h 57"/>
              <a:gd name="T53" fmla="*/ 303 w 303"/>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3" h="57">
                <a:moveTo>
                  <a:pt x="303" y="0"/>
                </a:moveTo>
                <a:lnTo>
                  <a:pt x="225" y="0"/>
                </a:lnTo>
                <a:lnTo>
                  <a:pt x="177" y="9"/>
                </a:lnTo>
                <a:lnTo>
                  <a:pt x="156" y="9"/>
                </a:lnTo>
                <a:lnTo>
                  <a:pt x="120" y="18"/>
                </a:lnTo>
                <a:lnTo>
                  <a:pt x="45" y="15"/>
                </a:lnTo>
                <a:lnTo>
                  <a:pt x="27" y="6"/>
                </a:lnTo>
                <a:lnTo>
                  <a:pt x="0" y="24"/>
                </a:lnTo>
                <a:lnTo>
                  <a:pt x="6" y="48"/>
                </a:lnTo>
                <a:lnTo>
                  <a:pt x="45" y="54"/>
                </a:lnTo>
                <a:lnTo>
                  <a:pt x="69" y="57"/>
                </a:lnTo>
                <a:lnTo>
                  <a:pt x="90" y="48"/>
                </a:lnTo>
                <a:lnTo>
                  <a:pt x="96" y="30"/>
                </a:lnTo>
                <a:lnTo>
                  <a:pt x="147" y="30"/>
                </a:lnTo>
                <a:lnTo>
                  <a:pt x="237" y="18"/>
                </a:lnTo>
                <a:lnTo>
                  <a:pt x="270" y="9"/>
                </a:lnTo>
                <a:lnTo>
                  <a:pt x="303" y="0"/>
                </a:lnTo>
                <a:close/>
              </a:path>
            </a:pathLst>
          </a:custGeom>
          <a:solidFill>
            <a:schemeClr val="accent3"/>
          </a:solidFill>
          <a:ln w="12700">
            <a:solidFill>
              <a:schemeClr val="bg1"/>
            </a:solidFill>
            <a:round/>
            <a:headEnd/>
            <a:tailEnd/>
          </a:ln>
        </p:spPr>
        <p:txBody>
          <a:bodyPr wrap="none" lIns="0" tIns="0" rIns="0" bIns="0" anchor="ctr">
            <a:spAutoFit/>
          </a:bodyPr>
          <a:lstStyle/>
          <a:p>
            <a:endParaRPr lang="en-GB"/>
          </a:p>
        </p:txBody>
      </p:sp>
      <p:sp>
        <p:nvSpPr>
          <p:cNvPr id="56" name="Freeform 10"/>
          <p:cNvSpPr>
            <a:spLocks/>
          </p:cNvSpPr>
          <p:nvPr/>
        </p:nvSpPr>
        <p:spPr bwMode="auto">
          <a:xfrm>
            <a:off x="5449821" y="1482231"/>
            <a:ext cx="193449" cy="82146"/>
          </a:xfrm>
          <a:custGeom>
            <a:avLst/>
            <a:gdLst>
              <a:gd name="T0" fmla="*/ 23 w 177"/>
              <a:gd name="T1" fmla="*/ 0 h 75"/>
              <a:gd name="T2" fmla="*/ 13 w 177"/>
              <a:gd name="T3" fmla="*/ 1 h 75"/>
              <a:gd name="T4" fmla="*/ 9 w 177"/>
              <a:gd name="T5" fmla="*/ 1 h 75"/>
              <a:gd name="T6" fmla="*/ 7 w 177"/>
              <a:gd name="T7" fmla="*/ 3 h 75"/>
              <a:gd name="T8" fmla="*/ 1 w 177"/>
              <a:gd name="T9" fmla="*/ 4 h 75"/>
              <a:gd name="T10" fmla="*/ 0 w 177"/>
              <a:gd name="T11" fmla="*/ 6 h 75"/>
              <a:gd name="T12" fmla="*/ 2 w 177"/>
              <a:gd name="T13" fmla="*/ 9 h 75"/>
              <a:gd name="T14" fmla="*/ 3 w 177"/>
              <a:gd name="T15" fmla="*/ 6 h 75"/>
              <a:gd name="T16" fmla="*/ 11 w 177"/>
              <a:gd name="T17" fmla="*/ 6 h 75"/>
              <a:gd name="T18" fmla="*/ 16 w 177"/>
              <a:gd name="T19" fmla="*/ 3 h 75"/>
              <a:gd name="T20" fmla="*/ 22 w 177"/>
              <a:gd name="T21" fmla="*/ 2 h 75"/>
              <a:gd name="T22" fmla="*/ 23 w 177"/>
              <a:gd name="T23" fmla="*/ 0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7"/>
              <a:gd name="T37" fmla="*/ 0 h 75"/>
              <a:gd name="T38" fmla="*/ 177 w 177"/>
              <a:gd name="T39" fmla="*/ 75 h 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7" h="75">
                <a:moveTo>
                  <a:pt x="177" y="0"/>
                </a:moveTo>
                <a:lnTo>
                  <a:pt x="102" y="9"/>
                </a:lnTo>
                <a:lnTo>
                  <a:pt x="69" y="12"/>
                </a:lnTo>
                <a:lnTo>
                  <a:pt x="51" y="24"/>
                </a:lnTo>
                <a:lnTo>
                  <a:pt x="6" y="33"/>
                </a:lnTo>
                <a:lnTo>
                  <a:pt x="0" y="57"/>
                </a:lnTo>
                <a:lnTo>
                  <a:pt x="15" y="75"/>
                </a:lnTo>
                <a:lnTo>
                  <a:pt x="24" y="51"/>
                </a:lnTo>
                <a:lnTo>
                  <a:pt x="90" y="54"/>
                </a:lnTo>
                <a:lnTo>
                  <a:pt x="123" y="27"/>
                </a:lnTo>
                <a:lnTo>
                  <a:pt x="168" y="21"/>
                </a:lnTo>
                <a:lnTo>
                  <a:pt x="177" y="0"/>
                </a:lnTo>
                <a:close/>
              </a:path>
            </a:pathLst>
          </a:custGeom>
          <a:solidFill>
            <a:schemeClr val="accent3"/>
          </a:solidFill>
          <a:ln w="12700">
            <a:solidFill>
              <a:schemeClr val="bg1"/>
            </a:solidFill>
            <a:round/>
            <a:headEnd/>
            <a:tailEnd/>
          </a:ln>
        </p:spPr>
        <p:txBody>
          <a:bodyPr wrap="none" lIns="0" tIns="0" rIns="0" bIns="0" anchor="ctr">
            <a:spAutoFit/>
          </a:bodyPr>
          <a:lstStyle/>
          <a:p>
            <a:endParaRPr lang="en-GB"/>
          </a:p>
        </p:txBody>
      </p:sp>
      <p:sp>
        <p:nvSpPr>
          <p:cNvPr id="57" name="Freeform 11"/>
          <p:cNvSpPr>
            <a:spLocks/>
          </p:cNvSpPr>
          <p:nvPr/>
        </p:nvSpPr>
        <p:spPr bwMode="auto">
          <a:xfrm>
            <a:off x="5845843" y="1411287"/>
            <a:ext cx="71175" cy="22403"/>
          </a:xfrm>
          <a:custGeom>
            <a:avLst/>
            <a:gdLst>
              <a:gd name="T0" fmla="*/ 5 w 66"/>
              <a:gd name="T1" fmla="*/ 0 h 21"/>
              <a:gd name="T2" fmla="*/ 0 w 66"/>
              <a:gd name="T3" fmla="*/ 2 h 21"/>
              <a:gd name="T4" fmla="*/ 5 w 66"/>
              <a:gd name="T5" fmla="*/ 2 h 21"/>
              <a:gd name="T6" fmla="*/ 8 w 66"/>
              <a:gd name="T7" fmla="*/ 1 h 21"/>
              <a:gd name="T8" fmla="*/ 5 w 66"/>
              <a:gd name="T9" fmla="*/ 0 h 21"/>
              <a:gd name="T10" fmla="*/ 0 60000 65536"/>
              <a:gd name="T11" fmla="*/ 0 60000 65536"/>
              <a:gd name="T12" fmla="*/ 0 60000 65536"/>
              <a:gd name="T13" fmla="*/ 0 60000 65536"/>
              <a:gd name="T14" fmla="*/ 0 60000 65536"/>
              <a:gd name="T15" fmla="*/ 0 w 66"/>
              <a:gd name="T16" fmla="*/ 0 h 21"/>
              <a:gd name="T17" fmla="*/ 66 w 66"/>
              <a:gd name="T18" fmla="*/ 21 h 21"/>
            </a:gdLst>
            <a:ahLst/>
            <a:cxnLst>
              <a:cxn ang="T10">
                <a:pos x="T0" y="T1"/>
              </a:cxn>
              <a:cxn ang="T11">
                <a:pos x="T2" y="T3"/>
              </a:cxn>
              <a:cxn ang="T12">
                <a:pos x="T4" y="T5"/>
              </a:cxn>
              <a:cxn ang="T13">
                <a:pos x="T6" y="T7"/>
              </a:cxn>
              <a:cxn ang="T14">
                <a:pos x="T8" y="T9"/>
              </a:cxn>
            </a:cxnLst>
            <a:rect l="T15" t="T16" r="T17" b="T18"/>
            <a:pathLst>
              <a:path w="66" h="21">
                <a:moveTo>
                  <a:pt x="42" y="0"/>
                </a:moveTo>
                <a:lnTo>
                  <a:pt x="0" y="15"/>
                </a:lnTo>
                <a:lnTo>
                  <a:pt x="45" y="21"/>
                </a:lnTo>
                <a:lnTo>
                  <a:pt x="66" y="6"/>
                </a:lnTo>
                <a:lnTo>
                  <a:pt x="42" y="0"/>
                </a:lnTo>
                <a:close/>
              </a:path>
            </a:pathLst>
          </a:custGeom>
          <a:solidFill>
            <a:schemeClr val="accent3"/>
          </a:solidFill>
          <a:ln w="12700">
            <a:solidFill>
              <a:schemeClr val="bg1"/>
            </a:solidFill>
            <a:round/>
            <a:headEnd/>
            <a:tailEnd/>
          </a:ln>
        </p:spPr>
        <p:txBody>
          <a:bodyPr wrap="none" lIns="0" tIns="0" rIns="0" bIns="0" anchor="ctr">
            <a:spAutoFit/>
          </a:bodyPr>
          <a:lstStyle/>
          <a:p>
            <a:endParaRPr lang="en-GB"/>
          </a:p>
        </p:txBody>
      </p:sp>
      <p:sp>
        <p:nvSpPr>
          <p:cNvPr id="58" name="Freeform 12"/>
          <p:cNvSpPr>
            <a:spLocks/>
          </p:cNvSpPr>
          <p:nvPr/>
        </p:nvSpPr>
        <p:spPr bwMode="auto">
          <a:xfrm>
            <a:off x="4681499" y="1655857"/>
            <a:ext cx="1065795" cy="993217"/>
          </a:xfrm>
          <a:custGeom>
            <a:avLst/>
            <a:gdLst>
              <a:gd name="T0" fmla="*/ 90 w 969"/>
              <a:gd name="T1" fmla="*/ 0 h 912"/>
              <a:gd name="T2" fmla="*/ 74 w 969"/>
              <a:gd name="T3" fmla="*/ 1 h 912"/>
              <a:gd name="T4" fmla="*/ 62 w 969"/>
              <a:gd name="T5" fmla="*/ 5 h 912"/>
              <a:gd name="T6" fmla="*/ 40 w 969"/>
              <a:gd name="T7" fmla="*/ 14 h 912"/>
              <a:gd name="T8" fmla="*/ 26 w 969"/>
              <a:gd name="T9" fmla="*/ 20 h 912"/>
              <a:gd name="T10" fmla="*/ 18 w 969"/>
              <a:gd name="T11" fmla="*/ 28 h 912"/>
              <a:gd name="T12" fmla="*/ 8 w 969"/>
              <a:gd name="T13" fmla="*/ 41 h 912"/>
              <a:gd name="T14" fmla="*/ 2 w 969"/>
              <a:gd name="T15" fmla="*/ 54 h 912"/>
              <a:gd name="T16" fmla="*/ 4 w 969"/>
              <a:gd name="T17" fmla="*/ 66 h 912"/>
              <a:gd name="T18" fmla="*/ 7 w 969"/>
              <a:gd name="T19" fmla="*/ 82 h 912"/>
              <a:gd name="T20" fmla="*/ 5 w 969"/>
              <a:gd name="T21" fmla="*/ 86 h 912"/>
              <a:gd name="T22" fmla="*/ 0 w 969"/>
              <a:gd name="T23" fmla="*/ 92 h 912"/>
              <a:gd name="T24" fmla="*/ 4 w 969"/>
              <a:gd name="T25" fmla="*/ 96 h 912"/>
              <a:gd name="T26" fmla="*/ 11 w 969"/>
              <a:gd name="T27" fmla="*/ 97 h 912"/>
              <a:gd name="T28" fmla="*/ 28 w 969"/>
              <a:gd name="T29" fmla="*/ 100 h 912"/>
              <a:gd name="T30" fmla="*/ 32 w 969"/>
              <a:gd name="T31" fmla="*/ 98 h 912"/>
              <a:gd name="T32" fmla="*/ 36 w 969"/>
              <a:gd name="T33" fmla="*/ 99 h 912"/>
              <a:gd name="T34" fmla="*/ 52 w 969"/>
              <a:gd name="T35" fmla="*/ 103 h 912"/>
              <a:gd name="T36" fmla="*/ 61 w 969"/>
              <a:gd name="T37" fmla="*/ 106 h 912"/>
              <a:gd name="T38" fmla="*/ 69 w 969"/>
              <a:gd name="T39" fmla="*/ 100 h 912"/>
              <a:gd name="T40" fmla="*/ 80 w 969"/>
              <a:gd name="T41" fmla="*/ 103 h 912"/>
              <a:gd name="T42" fmla="*/ 86 w 969"/>
              <a:gd name="T43" fmla="*/ 99 h 912"/>
              <a:gd name="T44" fmla="*/ 96 w 969"/>
              <a:gd name="T45" fmla="*/ 93 h 912"/>
              <a:gd name="T46" fmla="*/ 107 w 969"/>
              <a:gd name="T47" fmla="*/ 82 h 912"/>
              <a:gd name="T48" fmla="*/ 119 w 969"/>
              <a:gd name="T49" fmla="*/ 86 h 912"/>
              <a:gd name="T50" fmla="*/ 128 w 969"/>
              <a:gd name="T51" fmla="*/ 76 h 912"/>
              <a:gd name="T52" fmla="*/ 121 w 969"/>
              <a:gd name="T53" fmla="*/ 68 h 912"/>
              <a:gd name="T54" fmla="*/ 116 w 969"/>
              <a:gd name="T55" fmla="*/ 58 h 912"/>
              <a:gd name="T56" fmla="*/ 114 w 969"/>
              <a:gd name="T57" fmla="*/ 53 h 912"/>
              <a:gd name="T58" fmla="*/ 105 w 969"/>
              <a:gd name="T59" fmla="*/ 52 h 912"/>
              <a:gd name="T60" fmla="*/ 98 w 969"/>
              <a:gd name="T61" fmla="*/ 47 h 912"/>
              <a:gd name="T62" fmla="*/ 102 w 969"/>
              <a:gd name="T63" fmla="*/ 34 h 912"/>
              <a:gd name="T64" fmla="*/ 102 w 969"/>
              <a:gd name="T65" fmla="*/ 29 h 912"/>
              <a:gd name="T66" fmla="*/ 105 w 969"/>
              <a:gd name="T67" fmla="*/ 23 h 912"/>
              <a:gd name="T68" fmla="*/ 110 w 969"/>
              <a:gd name="T69" fmla="*/ 13 h 912"/>
              <a:gd name="T70" fmla="*/ 105 w 969"/>
              <a:gd name="T71" fmla="*/ 11 h 912"/>
              <a:gd name="T72" fmla="*/ 102 w 969"/>
              <a:gd name="T73" fmla="*/ 12 h 912"/>
              <a:gd name="T74" fmla="*/ 93 w 969"/>
              <a:gd name="T75" fmla="*/ 11 h 912"/>
              <a:gd name="T76" fmla="*/ 94 w 969"/>
              <a:gd name="T77" fmla="*/ 2 h 9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69"/>
              <a:gd name="T118" fmla="*/ 0 h 912"/>
              <a:gd name="T119" fmla="*/ 969 w 969"/>
              <a:gd name="T120" fmla="*/ 912 h 91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69" h="912">
                <a:moveTo>
                  <a:pt x="714" y="18"/>
                </a:moveTo>
                <a:lnTo>
                  <a:pt x="684" y="0"/>
                </a:lnTo>
                <a:lnTo>
                  <a:pt x="657" y="15"/>
                </a:lnTo>
                <a:lnTo>
                  <a:pt x="558" y="12"/>
                </a:lnTo>
                <a:lnTo>
                  <a:pt x="519" y="33"/>
                </a:lnTo>
                <a:lnTo>
                  <a:pt x="471" y="42"/>
                </a:lnTo>
                <a:lnTo>
                  <a:pt x="405" y="78"/>
                </a:lnTo>
                <a:lnTo>
                  <a:pt x="300" y="120"/>
                </a:lnTo>
                <a:lnTo>
                  <a:pt x="243" y="159"/>
                </a:lnTo>
                <a:lnTo>
                  <a:pt x="198" y="177"/>
                </a:lnTo>
                <a:lnTo>
                  <a:pt x="171" y="222"/>
                </a:lnTo>
                <a:lnTo>
                  <a:pt x="138" y="240"/>
                </a:lnTo>
                <a:lnTo>
                  <a:pt x="93" y="276"/>
                </a:lnTo>
                <a:lnTo>
                  <a:pt x="60" y="351"/>
                </a:lnTo>
                <a:lnTo>
                  <a:pt x="42" y="438"/>
                </a:lnTo>
                <a:lnTo>
                  <a:pt x="18" y="462"/>
                </a:lnTo>
                <a:lnTo>
                  <a:pt x="33" y="492"/>
                </a:lnTo>
                <a:lnTo>
                  <a:pt x="33" y="570"/>
                </a:lnTo>
                <a:lnTo>
                  <a:pt x="57" y="594"/>
                </a:lnTo>
                <a:lnTo>
                  <a:pt x="51" y="705"/>
                </a:lnTo>
                <a:lnTo>
                  <a:pt x="39" y="723"/>
                </a:lnTo>
                <a:lnTo>
                  <a:pt x="39" y="747"/>
                </a:lnTo>
                <a:lnTo>
                  <a:pt x="54" y="759"/>
                </a:lnTo>
                <a:lnTo>
                  <a:pt x="0" y="795"/>
                </a:lnTo>
                <a:lnTo>
                  <a:pt x="12" y="828"/>
                </a:lnTo>
                <a:lnTo>
                  <a:pt x="33" y="828"/>
                </a:lnTo>
                <a:lnTo>
                  <a:pt x="66" y="864"/>
                </a:lnTo>
                <a:lnTo>
                  <a:pt x="84" y="837"/>
                </a:lnTo>
                <a:lnTo>
                  <a:pt x="180" y="876"/>
                </a:lnTo>
                <a:lnTo>
                  <a:pt x="216" y="864"/>
                </a:lnTo>
                <a:lnTo>
                  <a:pt x="216" y="843"/>
                </a:lnTo>
                <a:lnTo>
                  <a:pt x="243" y="846"/>
                </a:lnTo>
                <a:lnTo>
                  <a:pt x="261" y="834"/>
                </a:lnTo>
                <a:lnTo>
                  <a:pt x="273" y="852"/>
                </a:lnTo>
                <a:lnTo>
                  <a:pt x="372" y="855"/>
                </a:lnTo>
                <a:lnTo>
                  <a:pt x="396" y="891"/>
                </a:lnTo>
                <a:lnTo>
                  <a:pt x="426" y="900"/>
                </a:lnTo>
                <a:lnTo>
                  <a:pt x="468" y="912"/>
                </a:lnTo>
                <a:lnTo>
                  <a:pt x="495" y="900"/>
                </a:lnTo>
                <a:lnTo>
                  <a:pt x="525" y="867"/>
                </a:lnTo>
                <a:lnTo>
                  <a:pt x="558" y="861"/>
                </a:lnTo>
                <a:lnTo>
                  <a:pt x="606" y="891"/>
                </a:lnTo>
                <a:lnTo>
                  <a:pt x="639" y="879"/>
                </a:lnTo>
                <a:lnTo>
                  <a:pt x="648" y="852"/>
                </a:lnTo>
                <a:lnTo>
                  <a:pt x="702" y="834"/>
                </a:lnTo>
                <a:lnTo>
                  <a:pt x="732" y="804"/>
                </a:lnTo>
                <a:lnTo>
                  <a:pt x="810" y="732"/>
                </a:lnTo>
                <a:lnTo>
                  <a:pt x="813" y="711"/>
                </a:lnTo>
                <a:lnTo>
                  <a:pt x="861" y="717"/>
                </a:lnTo>
                <a:lnTo>
                  <a:pt x="903" y="744"/>
                </a:lnTo>
                <a:lnTo>
                  <a:pt x="948" y="711"/>
                </a:lnTo>
                <a:lnTo>
                  <a:pt x="969" y="654"/>
                </a:lnTo>
                <a:lnTo>
                  <a:pt x="933" y="609"/>
                </a:lnTo>
                <a:lnTo>
                  <a:pt x="918" y="582"/>
                </a:lnTo>
                <a:lnTo>
                  <a:pt x="918" y="528"/>
                </a:lnTo>
                <a:lnTo>
                  <a:pt x="885" y="504"/>
                </a:lnTo>
                <a:lnTo>
                  <a:pt x="861" y="492"/>
                </a:lnTo>
                <a:lnTo>
                  <a:pt x="864" y="459"/>
                </a:lnTo>
                <a:lnTo>
                  <a:pt x="840" y="447"/>
                </a:lnTo>
                <a:lnTo>
                  <a:pt x="801" y="447"/>
                </a:lnTo>
                <a:lnTo>
                  <a:pt x="756" y="435"/>
                </a:lnTo>
                <a:lnTo>
                  <a:pt x="747" y="402"/>
                </a:lnTo>
                <a:lnTo>
                  <a:pt x="750" y="348"/>
                </a:lnTo>
                <a:lnTo>
                  <a:pt x="774" y="294"/>
                </a:lnTo>
                <a:lnTo>
                  <a:pt x="789" y="282"/>
                </a:lnTo>
                <a:lnTo>
                  <a:pt x="777" y="252"/>
                </a:lnTo>
                <a:lnTo>
                  <a:pt x="792" y="228"/>
                </a:lnTo>
                <a:lnTo>
                  <a:pt x="801" y="195"/>
                </a:lnTo>
                <a:lnTo>
                  <a:pt x="849" y="150"/>
                </a:lnTo>
                <a:lnTo>
                  <a:pt x="834" y="117"/>
                </a:lnTo>
                <a:lnTo>
                  <a:pt x="828" y="96"/>
                </a:lnTo>
                <a:lnTo>
                  <a:pt x="795" y="93"/>
                </a:lnTo>
                <a:lnTo>
                  <a:pt x="789" y="123"/>
                </a:lnTo>
                <a:lnTo>
                  <a:pt x="774" y="105"/>
                </a:lnTo>
                <a:lnTo>
                  <a:pt x="729" y="111"/>
                </a:lnTo>
                <a:lnTo>
                  <a:pt x="705" y="90"/>
                </a:lnTo>
                <a:lnTo>
                  <a:pt x="717" y="54"/>
                </a:lnTo>
                <a:lnTo>
                  <a:pt x="714" y="18"/>
                </a:lnTo>
                <a:close/>
              </a:path>
            </a:pathLst>
          </a:custGeom>
          <a:solidFill>
            <a:schemeClr val="accent3"/>
          </a:solidFill>
          <a:ln w="12700">
            <a:solidFill>
              <a:schemeClr val="bg1"/>
            </a:solidFill>
            <a:round/>
            <a:headEnd/>
            <a:tailEnd/>
          </a:ln>
        </p:spPr>
        <p:txBody>
          <a:bodyPr wrap="none" lIns="0" tIns="0" rIns="0" bIns="0" anchor="ctr">
            <a:spAutoFit/>
          </a:bodyPr>
          <a:lstStyle/>
          <a:p>
            <a:endParaRPr lang="en-GB"/>
          </a:p>
        </p:txBody>
      </p:sp>
      <p:sp>
        <p:nvSpPr>
          <p:cNvPr id="59" name="Line 13"/>
          <p:cNvSpPr>
            <a:spLocks noChangeShapeType="1"/>
          </p:cNvSpPr>
          <p:nvPr/>
        </p:nvSpPr>
        <p:spPr bwMode="auto">
          <a:xfrm flipV="1">
            <a:off x="4373076" y="2189804"/>
            <a:ext cx="317548" cy="259506"/>
          </a:xfrm>
          <a:prstGeom prst="line">
            <a:avLst/>
          </a:prstGeom>
          <a:solidFill>
            <a:schemeClr val="accent3"/>
          </a:solidFill>
          <a:ln w="12700">
            <a:solidFill>
              <a:schemeClr val="bg1"/>
            </a:solidFill>
            <a:round/>
            <a:headEnd/>
            <a:tailEnd/>
          </a:ln>
        </p:spPr>
        <p:txBody>
          <a:bodyPr wrap="none" lIns="0" tIns="0" rIns="0" bIns="0" anchor="ctr">
            <a:spAutoFit/>
          </a:bodyPr>
          <a:lstStyle/>
          <a:p>
            <a:endParaRPr lang="en-GB"/>
          </a:p>
        </p:txBody>
      </p:sp>
      <p:sp>
        <p:nvSpPr>
          <p:cNvPr id="60" name="Freeform 14"/>
          <p:cNvSpPr>
            <a:spLocks/>
          </p:cNvSpPr>
          <p:nvPr/>
        </p:nvSpPr>
        <p:spPr bwMode="auto">
          <a:xfrm>
            <a:off x="4400451" y="3231562"/>
            <a:ext cx="32850" cy="33605"/>
          </a:xfrm>
          <a:custGeom>
            <a:avLst/>
            <a:gdLst>
              <a:gd name="T0" fmla="*/ 4 w 30"/>
              <a:gd name="T1" fmla="*/ 0 h 30"/>
              <a:gd name="T2" fmla="*/ 4 w 30"/>
              <a:gd name="T3" fmla="*/ 4 h 30"/>
              <a:gd name="T4" fmla="*/ 0 w 30"/>
              <a:gd name="T5" fmla="*/ 2 h 30"/>
              <a:gd name="T6" fmla="*/ 4 w 30"/>
              <a:gd name="T7" fmla="*/ 0 h 30"/>
              <a:gd name="T8" fmla="*/ 0 60000 65536"/>
              <a:gd name="T9" fmla="*/ 0 60000 65536"/>
              <a:gd name="T10" fmla="*/ 0 60000 65536"/>
              <a:gd name="T11" fmla="*/ 0 60000 65536"/>
              <a:gd name="T12" fmla="*/ 0 w 30"/>
              <a:gd name="T13" fmla="*/ 0 h 30"/>
              <a:gd name="T14" fmla="*/ 30 w 30"/>
              <a:gd name="T15" fmla="*/ 30 h 30"/>
            </a:gdLst>
            <a:ahLst/>
            <a:cxnLst>
              <a:cxn ang="T8">
                <a:pos x="T0" y="T1"/>
              </a:cxn>
              <a:cxn ang="T9">
                <a:pos x="T2" y="T3"/>
              </a:cxn>
              <a:cxn ang="T10">
                <a:pos x="T4" y="T5"/>
              </a:cxn>
              <a:cxn ang="T11">
                <a:pos x="T6" y="T7"/>
              </a:cxn>
            </a:cxnLst>
            <a:rect l="T12" t="T13" r="T14" b="T15"/>
            <a:pathLst>
              <a:path w="30" h="30">
                <a:moveTo>
                  <a:pt x="27" y="0"/>
                </a:moveTo>
                <a:lnTo>
                  <a:pt x="30" y="30"/>
                </a:lnTo>
                <a:lnTo>
                  <a:pt x="0" y="18"/>
                </a:lnTo>
                <a:lnTo>
                  <a:pt x="27" y="0"/>
                </a:lnTo>
                <a:close/>
              </a:path>
            </a:pathLst>
          </a:custGeom>
          <a:solidFill>
            <a:schemeClr val="accent3"/>
          </a:solidFill>
          <a:ln w="12700">
            <a:solidFill>
              <a:schemeClr val="bg1"/>
            </a:solidFill>
            <a:round/>
            <a:headEnd/>
            <a:tailEnd/>
          </a:ln>
        </p:spPr>
        <p:txBody>
          <a:bodyPr wrap="none" lIns="0" tIns="0" rIns="0" bIns="0" anchor="ctr">
            <a:spAutoFit/>
          </a:bodyPr>
          <a:lstStyle/>
          <a:p>
            <a:endParaRPr lang="en-GB"/>
          </a:p>
        </p:txBody>
      </p:sp>
      <p:sp>
        <p:nvSpPr>
          <p:cNvPr id="61" name="Freeform 15"/>
          <p:cNvSpPr>
            <a:spLocks/>
          </p:cNvSpPr>
          <p:nvPr/>
        </p:nvSpPr>
        <p:spPr bwMode="auto">
          <a:xfrm>
            <a:off x="4462501" y="3048601"/>
            <a:ext cx="720871" cy="552617"/>
          </a:xfrm>
          <a:custGeom>
            <a:avLst/>
            <a:gdLst>
              <a:gd name="T0" fmla="*/ 0 w 657"/>
              <a:gd name="T1" fmla="*/ 39 h 507"/>
              <a:gd name="T2" fmla="*/ 3 w 657"/>
              <a:gd name="T3" fmla="*/ 47 h 507"/>
              <a:gd name="T4" fmla="*/ 6 w 657"/>
              <a:gd name="T5" fmla="*/ 46 h 507"/>
              <a:gd name="T6" fmla="*/ 11 w 657"/>
              <a:gd name="T7" fmla="*/ 44 h 507"/>
              <a:gd name="T8" fmla="*/ 13 w 657"/>
              <a:gd name="T9" fmla="*/ 46 h 507"/>
              <a:gd name="T10" fmla="*/ 22 w 657"/>
              <a:gd name="T11" fmla="*/ 50 h 507"/>
              <a:gd name="T12" fmla="*/ 24 w 657"/>
              <a:gd name="T13" fmla="*/ 53 h 507"/>
              <a:gd name="T14" fmla="*/ 28 w 657"/>
              <a:gd name="T15" fmla="*/ 55 h 507"/>
              <a:gd name="T16" fmla="*/ 35 w 657"/>
              <a:gd name="T17" fmla="*/ 59 h 507"/>
              <a:gd name="T18" fmla="*/ 37 w 657"/>
              <a:gd name="T19" fmla="*/ 58 h 507"/>
              <a:gd name="T20" fmla="*/ 45 w 657"/>
              <a:gd name="T21" fmla="*/ 58 h 507"/>
              <a:gd name="T22" fmla="*/ 47 w 657"/>
              <a:gd name="T23" fmla="*/ 56 h 507"/>
              <a:gd name="T24" fmla="*/ 51 w 657"/>
              <a:gd name="T25" fmla="*/ 51 h 507"/>
              <a:gd name="T26" fmla="*/ 51 w 657"/>
              <a:gd name="T27" fmla="*/ 48 h 507"/>
              <a:gd name="T28" fmla="*/ 49 w 657"/>
              <a:gd name="T29" fmla="*/ 44 h 507"/>
              <a:gd name="T30" fmla="*/ 52 w 657"/>
              <a:gd name="T31" fmla="*/ 42 h 507"/>
              <a:gd name="T32" fmla="*/ 54 w 657"/>
              <a:gd name="T33" fmla="*/ 40 h 507"/>
              <a:gd name="T34" fmla="*/ 58 w 657"/>
              <a:gd name="T35" fmla="*/ 40 h 507"/>
              <a:gd name="T36" fmla="*/ 64 w 657"/>
              <a:gd name="T37" fmla="*/ 34 h 507"/>
              <a:gd name="T38" fmla="*/ 64 w 657"/>
              <a:gd name="T39" fmla="*/ 32 h 507"/>
              <a:gd name="T40" fmla="*/ 78 w 657"/>
              <a:gd name="T41" fmla="*/ 27 h 507"/>
              <a:gd name="T42" fmla="*/ 85 w 657"/>
              <a:gd name="T43" fmla="*/ 13 h 507"/>
              <a:gd name="T44" fmla="*/ 85 w 657"/>
              <a:gd name="T45" fmla="*/ 8 h 507"/>
              <a:gd name="T46" fmla="*/ 83 w 657"/>
              <a:gd name="T47" fmla="*/ 5 h 507"/>
              <a:gd name="T48" fmla="*/ 70 w 657"/>
              <a:gd name="T49" fmla="*/ 3 h 507"/>
              <a:gd name="T50" fmla="*/ 67 w 657"/>
              <a:gd name="T51" fmla="*/ 1 h 507"/>
              <a:gd name="T52" fmla="*/ 60 w 657"/>
              <a:gd name="T53" fmla="*/ 0 h 507"/>
              <a:gd name="T54" fmla="*/ 56 w 657"/>
              <a:gd name="T55" fmla="*/ 2 h 507"/>
              <a:gd name="T56" fmla="*/ 51 w 657"/>
              <a:gd name="T57" fmla="*/ 3 h 507"/>
              <a:gd name="T58" fmla="*/ 46 w 657"/>
              <a:gd name="T59" fmla="*/ 9 h 507"/>
              <a:gd name="T60" fmla="*/ 42 w 657"/>
              <a:gd name="T61" fmla="*/ 9 h 507"/>
              <a:gd name="T62" fmla="*/ 40 w 657"/>
              <a:gd name="T63" fmla="*/ 13 h 507"/>
              <a:gd name="T64" fmla="*/ 39 w 657"/>
              <a:gd name="T65" fmla="*/ 15 h 507"/>
              <a:gd name="T66" fmla="*/ 35 w 657"/>
              <a:gd name="T67" fmla="*/ 19 h 507"/>
              <a:gd name="T68" fmla="*/ 29 w 657"/>
              <a:gd name="T69" fmla="*/ 22 h 507"/>
              <a:gd name="T70" fmla="*/ 12 w 657"/>
              <a:gd name="T71" fmla="*/ 30 h 507"/>
              <a:gd name="T72" fmla="*/ 4 w 657"/>
              <a:gd name="T73" fmla="*/ 36 h 507"/>
              <a:gd name="T74" fmla="*/ 0 w 657"/>
              <a:gd name="T75" fmla="*/ 39 h 5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57"/>
              <a:gd name="T115" fmla="*/ 0 h 507"/>
              <a:gd name="T116" fmla="*/ 657 w 657"/>
              <a:gd name="T117" fmla="*/ 507 h 5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57" h="507">
                <a:moveTo>
                  <a:pt x="0" y="333"/>
                </a:moveTo>
                <a:lnTo>
                  <a:pt x="24" y="405"/>
                </a:lnTo>
                <a:lnTo>
                  <a:pt x="48" y="396"/>
                </a:lnTo>
                <a:lnTo>
                  <a:pt x="84" y="381"/>
                </a:lnTo>
                <a:lnTo>
                  <a:pt x="102" y="396"/>
                </a:lnTo>
                <a:lnTo>
                  <a:pt x="171" y="432"/>
                </a:lnTo>
                <a:lnTo>
                  <a:pt x="186" y="453"/>
                </a:lnTo>
                <a:lnTo>
                  <a:pt x="213" y="480"/>
                </a:lnTo>
                <a:lnTo>
                  <a:pt x="264" y="507"/>
                </a:lnTo>
                <a:lnTo>
                  <a:pt x="285" y="501"/>
                </a:lnTo>
                <a:lnTo>
                  <a:pt x="342" y="495"/>
                </a:lnTo>
                <a:lnTo>
                  <a:pt x="360" y="483"/>
                </a:lnTo>
                <a:lnTo>
                  <a:pt x="384" y="444"/>
                </a:lnTo>
                <a:lnTo>
                  <a:pt x="390" y="414"/>
                </a:lnTo>
                <a:lnTo>
                  <a:pt x="375" y="381"/>
                </a:lnTo>
                <a:lnTo>
                  <a:pt x="399" y="360"/>
                </a:lnTo>
                <a:lnTo>
                  <a:pt x="411" y="342"/>
                </a:lnTo>
                <a:lnTo>
                  <a:pt x="447" y="339"/>
                </a:lnTo>
                <a:lnTo>
                  <a:pt x="486" y="294"/>
                </a:lnTo>
                <a:lnTo>
                  <a:pt x="492" y="276"/>
                </a:lnTo>
                <a:lnTo>
                  <a:pt x="600" y="237"/>
                </a:lnTo>
                <a:lnTo>
                  <a:pt x="657" y="108"/>
                </a:lnTo>
                <a:lnTo>
                  <a:pt x="657" y="63"/>
                </a:lnTo>
                <a:lnTo>
                  <a:pt x="636" y="42"/>
                </a:lnTo>
                <a:lnTo>
                  <a:pt x="540" y="24"/>
                </a:lnTo>
                <a:lnTo>
                  <a:pt x="510" y="9"/>
                </a:lnTo>
                <a:lnTo>
                  <a:pt x="459" y="0"/>
                </a:lnTo>
                <a:lnTo>
                  <a:pt x="429" y="21"/>
                </a:lnTo>
                <a:lnTo>
                  <a:pt x="390" y="24"/>
                </a:lnTo>
                <a:lnTo>
                  <a:pt x="348" y="75"/>
                </a:lnTo>
                <a:lnTo>
                  <a:pt x="324" y="81"/>
                </a:lnTo>
                <a:lnTo>
                  <a:pt x="306" y="111"/>
                </a:lnTo>
                <a:lnTo>
                  <a:pt x="300" y="132"/>
                </a:lnTo>
                <a:lnTo>
                  <a:pt x="267" y="168"/>
                </a:lnTo>
                <a:lnTo>
                  <a:pt x="225" y="186"/>
                </a:lnTo>
                <a:lnTo>
                  <a:pt x="93" y="261"/>
                </a:lnTo>
                <a:lnTo>
                  <a:pt x="30" y="306"/>
                </a:lnTo>
                <a:lnTo>
                  <a:pt x="0" y="333"/>
                </a:lnTo>
                <a:close/>
              </a:path>
            </a:pathLst>
          </a:custGeom>
          <a:solidFill>
            <a:schemeClr val="accent3"/>
          </a:solidFill>
          <a:ln w="12700">
            <a:solidFill>
              <a:schemeClr val="bg1"/>
            </a:solidFill>
            <a:round/>
            <a:headEnd/>
            <a:tailEnd/>
          </a:ln>
        </p:spPr>
        <p:txBody>
          <a:bodyPr wrap="none" lIns="0" tIns="0" rIns="0" bIns="0" anchor="ctr">
            <a:spAutoFit/>
          </a:bodyPr>
          <a:lstStyle/>
          <a:p>
            <a:endParaRPr lang="en-GB"/>
          </a:p>
        </p:txBody>
      </p:sp>
      <p:sp>
        <p:nvSpPr>
          <p:cNvPr id="62" name="Freeform 16"/>
          <p:cNvSpPr>
            <a:spLocks/>
          </p:cNvSpPr>
          <p:nvPr/>
        </p:nvSpPr>
        <p:spPr bwMode="auto">
          <a:xfrm>
            <a:off x="4944298" y="2628537"/>
            <a:ext cx="394198" cy="378991"/>
          </a:xfrm>
          <a:custGeom>
            <a:avLst/>
            <a:gdLst>
              <a:gd name="T0" fmla="*/ 13 w 360"/>
              <a:gd name="T1" fmla="*/ 2 h 348"/>
              <a:gd name="T2" fmla="*/ 7 w 360"/>
              <a:gd name="T3" fmla="*/ 2 h 348"/>
              <a:gd name="T4" fmla="*/ 6 w 360"/>
              <a:gd name="T5" fmla="*/ 6 h 348"/>
              <a:gd name="T6" fmla="*/ 3 w 360"/>
              <a:gd name="T7" fmla="*/ 10 h 348"/>
              <a:gd name="T8" fmla="*/ 1 w 360"/>
              <a:gd name="T9" fmla="*/ 13 h 348"/>
              <a:gd name="T10" fmla="*/ 0 w 360"/>
              <a:gd name="T11" fmla="*/ 30 h 348"/>
              <a:gd name="T12" fmla="*/ 6 w 360"/>
              <a:gd name="T13" fmla="*/ 39 h 348"/>
              <a:gd name="T14" fmla="*/ 10 w 360"/>
              <a:gd name="T15" fmla="*/ 40 h 348"/>
              <a:gd name="T16" fmla="*/ 14 w 360"/>
              <a:gd name="T17" fmla="*/ 40 h 348"/>
              <a:gd name="T18" fmla="*/ 34 w 360"/>
              <a:gd name="T19" fmla="*/ 39 h 348"/>
              <a:gd name="T20" fmla="*/ 43 w 360"/>
              <a:gd name="T21" fmla="*/ 36 h 348"/>
              <a:gd name="T22" fmla="*/ 47 w 360"/>
              <a:gd name="T23" fmla="*/ 34 h 348"/>
              <a:gd name="T24" fmla="*/ 45 w 360"/>
              <a:gd name="T25" fmla="*/ 30 h 348"/>
              <a:gd name="T26" fmla="*/ 42 w 360"/>
              <a:gd name="T27" fmla="*/ 28 h 348"/>
              <a:gd name="T28" fmla="*/ 44 w 360"/>
              <a:gd name="T29" fmla="*/ 26 h 348"/>
              <a:gd name="T30" fmla="*/ 43 w 360"/>
              <a:gd name="T31" fmla="*/ 20 h 348"/>
              <a:gd name="T32" fmla="*/ 40 w 360"/>
              <a:gd name="T33" fmla="*/ 17 h 348"/>
              <a:gd name="T34" fmla="*/ 31 w 360"/>
              <a:gd name="T35" fmla="*/ 11 h 348"/>
              <a:gd name="T36" fmla="*/ 25 w 360"/>
              <a:gd name="T37" fmla="*/ 9 h 348"/>
              <a:gd name="T38" fmla="*/ 22 w 360"/>
              <a:gd name="T39" fmla="*/ 3 h 348"/>
              <a:gd name="T40" fmla="*/ 19 w 360"/>
              <a:gd name="T41" fmla="*/ 0 h 348"/>
              <a:gd name="T42" fmla="*/ 13 w 360"/>
              <a:gd name="T43" fmla="*/ 2 h 34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60"/>
              <a:gd name="T67" fmla="*/ 0 h 348"/>
              <a:gd name="T68" fmla="*/ 360 w 360"/>
              <a:gd name="T69" fmla="*/ 348 h 34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60" h="348">
                <a:moveTo>
                  <a:pt x="102" y="15"/>
                </a:moveTo>
                <a:lnTo>
                  <a:pt x="54" y="18"/>
                </a:lnTo>
                <a:lnTo>
                  <a:pt x="45" y="57"/>
                </a:lnTo>
                <a:lnTo>
                  <a:pt x="21" y="84"/>
                </a:lnTo>
                <a:lnTo>
                  <a:pt x="9" y="114"/>
                </a:lnTo>
                <a:lnTo>
                  <a:pt x="0" y="261"/>
                </a:lnTo>
                <a:lnTo>
                  <a:pt x="48" y="336"/>
                </a:lnTo>
                <a:lnTo>
                  <a:pt x="72" y="348"/>
                </a:lnTo>
                <a:lnTo>
                  <a:pt x="111" y="345"/>
                </a:lnTo>
                <a:lnTo>
                  <a:pt x="264" y="330"/>
                </a:lnTo>
                <a:lnTo>
                  <a:pt x="327" y="309"/>
                </a:lnTo>
                <a:lnTo>
                  <a:pt x="360" y="291"/>
                </a:lnTo>
                <a:lnTo>
                  <a:pt x="348" y="255"/>
                </a:lnTo>
                <a:lnTo>
                  <a:pt x="321" y="243"/>
                </a:lnTo>
                <a:lnTo>
                  <a:pt x="336" y="225"/>
                </a:lnTo>
                <a:lnTo>
                  <a:pt x="327" y="171"/>
                </a:lnTo>
                <a:lnTo>
                  <a:pt x="312" y="147"/>
                </a:lnTo>
                <a:lnTo>
                  <a:pt x="237" y="96"/>
                </a:lnTo>
                <a:lnTo>
                  <a:pt x="189" y="72"/>
                </a:lnTo>
                <a:lnTo>
                  <a:pt x="168" y="24"/>
                </a:lnTo>
                <a:lnTo>
                  <a:pt x="144" y="0"/>
                </a:lnTo>
                <a:lnTo>
                  <a:pt x="102" y="15"/>
                </a:lnTo>
                <a:close/>
              </a:path>
            </a:pathLst>
          </a:custGeom>
          <a:solidFill>
            <a:schemeClr val="accent3"/>
          </a:solidFill>
          <a:ln w="12700">
            <a:solidFill>
              <a:schemeClr val="bg1"/>
            </a:solidFill>
            <a:round/>
            <a:headEnd/>
            <a:tailEnd/>
          </a:ln>
        </p:spPr>
        <p:txBody>
          <a:bodyPr wrap="none" lIns="0" tIns="0" rIns="0" bIns="0" anchor="ctr">
            <a:spAutoFit/>
          </a:bodyPr>
          <a:lstStyle/>
          <a:p>
            <a:endParaRPr lang="en-GB"/>
          </a:p>
        </p:txBody>
      </p:sp>
      <p:sp>
        <p:nvSpPr>
          <p:cNvPr id="63" name="Freeform 17"/>
          <p:cNvSpPr>
            <a:spLocks/>
          </p:cNvSpPr>
          <p:nvPr/>
        </p:nvSpPr>
        <p:spPr bwMode="auto">
          <a:xfrm>
            <a:off x="4947948" y="4368533"/>
            <a:ext cx="640572" cy="1702657"/>
          </a:xfrm>
          <a:custGeom>
            <a:avLst/>
            <a:gdLst>
              <a:gd name="T0" fmla="*/ 45 w 582"/>
              <a:gd name="T1" fmla="*/ 5 h 1563"/>
              <a:gd name="T2" fmla="*/ 34 w 582"/>
              <a:gd name="T3" fmla="*/ 0 h 1563"/>
              <a:gd name="T4" fmla="*/ 37 w 582"/>
              <a:gd name="T5" fmla="*/ 8 h 1563"/>
              <a:gd name="T6" fmla="*/ 45 w 582"/>
              <a:gd name="T7" fmla="*/ 12 h 1563"/>
              <a:gd name="T8" fmla="*/ 52 w 582"/>
              <a:gd name="T9" fmla="*/ 26 h 1563"/>
              <a:gd name="T10" fmla="*/ 53 w 582"/>
              <a:gd name="T11" fmla="*/ 39 h 1563"/>
              <a:gd name="T12" fmla="*/ 41 w 582"/>
              <a:gd name="T13" fmla="*/ 40 h 1563"/>
              <a:gd name="T14" fmla="*/ 31 w 582"/>
              <a:gd name="T15" fmla="*/ 40 h 1563"/>
              <a:gd name="T16" fmla="*/ 34 w 582"/>
              <a:gd name="T17" fmla="*/ 54 h 1563"/>
              <a:gd name="T18" fmla="*/ 40 w 582"/>
              <a:gd name="T19" fmla="*/ 66 h 1563"/>
              <a:gd name="T20" fmla="*/ 33 w 582"/>
              <a:gd name="T21" fmla="*/ 76 h 1563"/>
              <a:gd name="T22" fmla="*/ 13 w 582"/>
              <a:gd name="T23" fmla="*/ 81 h 1563"/>
              <a:gd name="T24" fmla="*/ 3 w 582"/>
              <a:gd name="T25" fmla="*/ 93 h 1563"/>
              <a:gd name="T26" fmla="*/ 0 w 582"/>
              <a:gd name="T27" fmla="*/ 100 h 1563"/>
              <a:gd name="T28" fmla="*/ 8 w 582"/>
              <a:gd name="T29" fmla="*/ 102 h 1563"/>
              <a:gd name="T30" fmla="*/ 22 w 582"/>
              <a:gd name="T31" fmla="*/ 103 h 1563"/>
              <a:gd name="T32" fmla="*/ 27 w 582"/>
              <a:gd name="T33" fmla="*/ 107 h 1563"/>
              <a:gd name="T34" fmla="*/ 31 w 582"/>
              <a:gd name="T35" fmla="*/ 113 h 1563"/>
              <a:gd name="T36" fmla="*/ 30 w 582"/>
              <a:gd name="T37" fmla="*/ 121 h 1563"/>
              <a:gd name="T38" fmla="*/ 28 w 582"/>
              <a:gd name="T39" fmla="*/ 128 h 1563"/>
              <a:gd name="T40" fmla="*/ 22 w 582"/>
              <a:gd name="T41" fmla="*/ 132 h 1563"/>
              <a:gd name="T42" fmla="*/ 18 w 582"/>
              <a:gd name="T43" fmla="*/ 142 h 1563"/>
              <a:gd name="T44" fmla="*/ 21 w 582"/>
              <a:gd name="T45" fmla="*/ 146 h 1563"/>
              <a:gd name="T46" fmla="*/ 7 w 582"/>
              <a:gd name="T47" fmla="*/ 162 h 1563"/>
              <a:gd name="T48" fmla="*/ 14 w 582"/>
              <a:gd name="T49" fmla="*/ 170 h 1563"/>
              <a:gd name="T50" fmla="*/ 17 w 582"/>
              <a:gd name="T51" fmla="*/ 179 h 1563"/>
              <a:gd name="T52" fmla="*/ 25 w 582"/>
              <a:gd name="T53" fmla="*/ 177 h 1563"/>
              <a:gd name="T54" fmla="*/ 34 w 582"/>
              <a:gd name="T55" fmla="*/ 179 h 1563"/>
              <a:gd name="T56" fmla="*/ 39 w 582"/>
              <a:gd name="T57" fmla="*/ 180 h 1563"/>
              <a:gd name="T58" fmla="*/ 49 w 582"/>
              <a:gd name="T59" fmla="*/ 179 h 1563"/>
              <a:gd name="T60" fmla="*/ 54 w 582"/>
              <a:gd name="T61" fmla="*/ 178 h 1563"/>
              <a:gd name="T62" fmla="*/ 48 w 582"/>
              <a:gd name="T63" fmla="*/ 170 h 1563"/>
              <a:gd name="T64" fmla="*/ 52 w 582"/>
              <a:gd name="T65" fmla="*/ 162 h 1563"/>
              <a:gd name="T66" fmla="*/ 62 w 582"/>
              <a:gd name="T67" fmla="*/ 160 h 1563"/>
              <a:gd name="T68" fmla="*/ 59 w 582"/>
              <a:gd name="T69" fmla="*/ 155 h 1563"/>
              <a:gd name="T70" fmla="*/ 57 w 582"/>
              <a:gd name="T71" fmla="*/ 151 h 1563"/>
              <a:gd name="T72" fmla="*/ 52 w 582"/>
              <a:gd name="T73" fmla="*/ 143 h 1563"/>
              <a:gd name="T74" fmla="*/ 46 w 582"/>
              <a:gd name="T75" fmla="*/ 141 h 1563"/>
              <a:gd name="T76" fmla="*/ 41 w 582"/>
              <a:gd name="T77" fmla="*/ 142 h 1563"/>
              <a:gd name="T78" fmla="*/ 36 w 582"/>
              <a:gd name="T79" fmla="*/ 137 h 1563"/>
              <a:gd name="T80" fmla="*/ 33 w 582"/>
              <a:gd name="T81" fmla="*/ 127 h 1563"/>
              <a:gd name="T82" fmla="*/ 37 w 582"/>
              <a:gd name="T83" fmla="*/ 125 h 1563"/>
              <a:gd name="T84" fmla="*/ 42 w 582"/>
              <a:gd name="T85" fmla="*/ 128 h 1563"/>
              <a:gd name="T86" fmla="*/ 47 w 582"/>
              <a:gd name="T87" fmla="*/ 127 h 1563"/>
              <a:gd name="T88" fmla="*/ 53 w 582"/>
              <a:gd name="T89" fmla="*/ 122 h 1563"/>
              <a:gd name="T90" fmla="*/ 57 w 582"/>
              <a:gd name="T91" fmla="*/ 114 h 1563"/>
              <a:gd name="T92" fmla="*/ 61 w 582"/>
              <a:gd name="T93" fmla="*/ 113 h 1563"/>
              <a:gd name="T94" fmla="*/ 71 w 582"/>
              <a:gd name="T95" fmla="*/ 108 h 1563"/>
              <a:gd name="T96" fmla="*/ 66 w 582"/>
              <a:gd name="T97" fmla="*/ 104 h 1563"/>
              <a:gd name="T98" fmla="*/ 60 w 582"/>
              <a:gd name="T99" fmla="*/ 105 h 1563"/>
              <a:gd name="T100" fmla="*/ 59 w 582"/>
              <a:gd name="T101" fmla="*/ 96 h 1563"/>
              <a:gd name="T102" fmla="*/ 71 w 582"/>
              <a:gd name="T103" fmla="*/ 78 h 1563"/>
              <a:gd name="T104" fmla="*/ 77 w 582"/>
              <a:gd name="T105" fmla="*/ 66 h 1563"/>
              <a:gd name="T106" fmla="*/ 77 w 582"/>
              <a:gd name="T107" fmla="*/ 58 h 1563"/>
              <a:gd name="T108" fmla="*/ 74 w 582"/>
              <a:gd name="T109" fmla="*/ 48 h 1563"/>
              <a:gd name="T110" fmla="*/ 68 w 582"/>
              <a:gd name="T111" fmla="*/ 37 h 1563"/>
              <a:gd name="T112" fmla="*/ 59 w 582"/>
              <a:gd name="T113" fmla="*/ 29 h 1563"/>
              <a:gd name="T114" fmla="*/ 63 w 582"/>
              <a:gd name="T115" fmla="*/ 20 h 1563"/>
              <a:gd name="T116" fmla="*/ 52 w 582"/>
              <a:gd name="T117" fmla="*/ 11 h 15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82"/>
              <a:gd name="T178" fmla="*/ 0 h 1563"/>
              <a:gd name="T179" fmla="*/ 582 w 582"/>
              <a:gd name="T180" fmla="*/ 1563 h 15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82" h="1563">
                <a:moveTo>
                  <a:pt x="390" y="87"/>
                </a:moveTo>
                <a:lnTo>
                  <a:pt x="345" y="48"/>
                </a:lnTo>
                <a:lnTo>
                  <a:pt x="294" y="42"/>
                </a:lnTo>
                <a:lnTo>
                  <a:pt x="261" y="0"/>
                </a:lnTo>
                <a:lnTo>
                  <a:pt x="240" y="15"/>
                </a:lnTo>
                <a:lnTo>
                  <a:pt x="279" y="69"/>
                </a:lnTo>
                <a:lnTo>
                  <a:pt x="303" y="84"/>
                </a:lnTo>
                <a:lnTo>
                  <a:pt x="342" y="105"/>
                </a:lnTo>
                <a:lnTo>
                  <a:pt x="339" y="156"/>
                </a:lnTo>
                <a:lnTo>
                  <a:pt x="393" y="219"/>
                </a:lnTo>
                <a:lnTo>
                  <a:pt x="420" y="315"/>
                </a:lnTo>
                <a:lnTo>
                  <a:pt x="402" y="336"/>
                </a:lnTo>
                <a:lnTo>
                  <a:pt x="375" y="318"/>
                </a:lnTo>
                <a:lnTo>
                  <a:pt x="309" y="339"/>
                </a:lnTo>
                <a:lnTo>
                  <a:pt x="258" y="342"/>
                </a:lnTo>
                <a:lnTo>
                  <a:pt x="234" y="339"/>
                </a:lnTo>
                <a:lnTo>
                  <a:pt x="240" y="411"/>
                </a:lnTo>
                <a:lnTo>
                  <a:pt x="261" y="471"/>
                </a:lnTo>
                <a:lnTo>
                  <a:pt x="267" y="513"/>
                </a:lnTo>
                <a:lnTo>
                  <a:pt x="303" y="570"/>
                </a:lnTo>
                <a:lnTo>
                  <a:pt x="309" y="600"/>
                </a:lnTo>
                <a:lnTo>
                  <a:pt x="243" y="660"/>
                </a:lnTo>
                <a:lnTo>
                  <a:pt x="180" y="681"/>
                </a:lnTo>
                <a:lnTo>
                  <a:pt x="96" y="702"/>
                </a:lnTo>
                <a:lnTo>
                  <a:pt x="54" y="744"/>
                </a:lnTo>
                <a:lnTo>
                  <a:pt x="21" y="807"/>
                </a:lnTo>
                <a:lnTo>
                  <a:pt x="21" y="846"/>
                </a:lnTo>
                <a:lnTo>
                  <a:pt x="0" y="861"/>
                </a:lnTo>
                <a:lnTo>
                  <a:pt x="39" y="879"/>
                </a:lnTo>
                <a:lnTo>
                  <a:pt x="57" y="882"/>
                </a:lnTo>
                <a:lnTo>
                  <a:pt x="75" y="897"/>
                </a:lnTo>
                <a:lnTo>
                  <a:pt x="171" y="891"/>
                </a:lnTo>
                <a:lnTo>
                  <a:pt x="180" y="936"/>
                </a:lnTo>
                <a:lnTo>
                  <a:pt x="204" y="927"/>
                </a:lnTo>
                <a:lnTo>
                  <a:pt x="225" y="933"/>
                </a:lnTo>
                <a:lnTo>
                  <a:pt x="240" y="975"/>
                </a:lnTo>
                <a:lnTo>
                  <a:pt x="225" y="1008"/>
                </a:lnTo>
                <a:lnTo>
                  <a:pt x="225" y="1041"/>
                </a:lnTo>
                <a:lnTo>
                  <a:pt x="207" y="1044"/>
                </a:lnTo>
                <a:lnTo>
                  <a:pt x="210" y="1101"/>
                </a:lnTo>
                <a:lnTo>
                  <a:pt x="168" y="1092"/>
                </a:lnTo>
                <a:lnTo>
                  <a:pt x="165" y="1137"/>
                </a:lnTo>
                <a:lnTo>
                  <a:pt x="186" y="1161"/>
                </a:lnTo>
                <a:lnTo>
                  <a:pt x="138" y="1230"/>
                </a:lnTo>
                <a:lnTo>
                  <a:pt x="135" y="1254"/>
                </a:lnTo>
                <a:lnTo>
                  <a:pt x="159" y="1266"/>
                </a:lnTo>
                <a:lnTo>
                  <a:pt x="78" y="1359"/>
                </a:lnTo>
                <a:lnTo>
                  <a:pt x="51" y="1398"/>
                </a:lnTo>
                <a:lnTo>
                  <a:pt x="72" y="1470"/>
                </a:lnTo>
                <a:lnTo>
                  <a:pt x="105" y="1473"/>
                </a:lnTo>
                <a:lnTo>
                  <a:pt x="108" y="1530"/>
                </a:lnTo>
                <a:lnTo>
                  <a:pt x="132" y="1545"/>
                </a:lnTo>
                <a:lnTo>
                  <a:pt x="156" y="1518"/>
                </a:lnTo>
                <a:lnTo>
                  <a:pt x="192" y="1530"/>
                </a:lnTo>
                <a:lnTo>
                  <a:pt x="216" y="1548"/>
                </a:lnTo>
                <a:lnTo>
                  <a:pt x="258" y="1542"/>
                </a:lnTo>
                <a:lnTo>
                  <a:pt x="279" y="1527"/>
                </a:lnTo>
                <a:lnTo>
                  <a:pt x="297" y="1557"/>
                </a:lnTo>
                <a:lnTo>
                  <a:pt x="321" y="1539"/>
                </a:lnTo>
                <a:lnTo>
                  <a:pt x="372" y="1545"/>
                </a:lnTo>
                <a:lnTo>
                  <a:pt x="393" y="1563"/>
                </a:lnTo>
                <a:lnTo>
                  <a:pt x="408" y="1533"/>
                </a:lnTo>
                <a:lnTo>
                  <a:pt x="393" y="1500"/>
                </a:lnTo>
                <a:lnTo>
                  <a:pt x="360" y="1467"/>
                </a:lnTo>
                <a:lnTo>
                  <a:pt x="399" y="1461"/>
                </a:lnTo>
                <a:lnTo>
                  <a:pt x="399" y="1401"/>
                </a:lnTo>
                <a:lnTo>
                  <a:pt x="420" y="1392"/>
                </a:lnTo>
                <a:lnTo>
                  <a:pt x="465" y="1386"/>
                </a:lnTo>
                <a:lnTo>
                  <a:pt x="468" y="1350"/>
                </a:lnTo>
                <a:lnTo>
                  <a:pt x="444" y="1335"/>
                </a:lnTo>
                <a:lnTo>
                  <a:pt x="468" y="1296"/>
                </a:lnTo>
                <a:lnTo>
                  <a:pt x="435" y="1299"/>
                </a:lnTo>
                <a:lnTo>
                  <a:pt x="393" y="1281"/>
                </a:lnTo>
                <a:lnTo>
                  <a:pt x="393" y="1233"/>
                </a:lnTo>
                <a:lnTo>
                  <a:pt x="390" y="1212"/>
                </a:lnTo>
                <a:lnTo>
                  <a:pt x="354" y="1215"/>
                </a:lnTo>
                <a:lnTo>
                  <a:pt x="309" y="1209"/>
                </a:lnTo>
                <a:lnTo>
                  <a:pt x="309" y="1230"/>
                </a:lnTo>
                <a:lnTo>
                  <a:pt x="279" y="1221"/>
                </a:lnTo>
                <a:lnTo>
                  <a:pt x="273" y="1182"/>
                </a:lnTo>
                <a:lnTo>
                  <a:pt x="288" y="1170"/>
                </a:lnTo>
                <a:lnTo>
                  <a:pt x="243" y="1095"/>
                </a:lnTo>
                <a:lnTo>
                  <a:pt x="282" y="1092"/>
                </a:lnTo>
                <a:lnTo>
                  <a:pt x="282" y="1074"/>
                </a:lnTo>
                <a:lnTo>
                  <a:pt x="309" y="1074"/>
                </a:lnTo>
                <a:lnTo>
                  <a:pt x="318" y="1107"/>
                </a:lnTo>
                <a:lnTo>
                  <a:pt x="339" y="1110"/>
                </a:lnTo>
                <a:lnTo>
                  <a:pt x="357" y="1092"/>
                </a:lnTo>
                <a:lnTo>
                  <a:pt x="357" y="1065"/>
                </a:lnTo>
                <a:lnTo>
                  <a:pt x="402" y="1050"/>
                </a:lnTo>
                <a:lnTo>
                  <a:pt x="441" y="1005"/>
                </a:lnTo>
                <a:lnTo>
                  <a:pt x="435" y="987"/>
                </a:lnTo>
                <a:lnTo>
                  <a:pt x="456" y="993"/>
                </a:lnTo>
                <a:lnTo>
                  <a:pt x="462" y="972"/>
                </a:lnTo>
                <a:lnTo>
                  <a:pt x="486" y="975"/>
                </a:lnTo>
                <a:lnTo>
                  <a:pt x="534" y="933"/>
                </a:lnTo>
                <a:lnTo>
                  <a:pt x="513" y="921"/>
                </a:lnTo>
                <a:lnTo>
                  <a:pt x="501" y="900"/>
                </a:lnTo>
                <a:lnTo>
                  <a:pt x="480" y="930"/>
                </a:lnTo>
                <a:lnTo>
                  <a:pt x="456" y="903"/>
                </a:lnTo>
                <a:lnTo>
                  <a:pt x="438" y="900"/>
                </a:lnTo>
                <a:lnTo>
                  <a:pt x="444" y="831"/>
                </a:lnTo>
                <a:lnTo>
                  <a:pt x="495" y="753"/>
                </a:lnTo>
                <a:lnTo>
                  <a:pt x="537" y="675"/>
                </a:lnTo>
                <a:lnTo>
                  <a:pt x="582" y="633"/>
                </a:lnTo>
                <a:lnTo>
                  <a:pt x="579" y="570"/>
                </a:lnTo>
                <a:lnTo>
                  <a:pt x="567" y="531"/>
                </a:lnTo>
                <a:lnTo>
                  <a:pt x="582" y="498"/>
                </a:lnTo>
                <a:lnTo>
                  <a:pt x="570" y="429"/>
                </a:lnTo>
                <a:lnTo>
                  <a:pt x="558" y="411"/>
                </a:lnTo>
                <a:lnTo>
                  <a:pt x="564" y="366"/>
                </a:lnTo>
                <a:lnTo>
                  <a:pt x="516" y="318"/>
                </a:lnTo>
                <a:lnTo>
                  <a:pt x="489" y="279"/>
                </a:lnTo>
                <a:lnTo>
                  <a:pt x="447" y="249"/>
                </a:lnTo>
                <a:lnTo>
                  <a:pt x="471" y="213"/>
                </a:lnTo>
                <a:lnTo>
                  <a:pt x="474" y="177"/>
                </a:lnTo>
                <a:lnTo>
                  <a:pt x="387" y="144"/>
                </a:lnTo>
                <a:lnTo>
                  <a:pt x="390" y="87"/>
                </a:lnTo>
                <a:close/>
              </a:path>
            </a:pathLst>
          </a:custGeom>
          <a:solidFill>
            <a:schemeClr val="accent3"/>
          </a:solidFill>
          <a:ln w="12700">
            <a:solidFill>
              <a:schemeClr val="bg1"/>
            </a:solidFill>
            <a:round/>
            <a:headEnd/>
            <a:tailEnd/>
          </a:ln>
        </p:spPr>
        <p:txBody>
          <a:bodyPr wrap="none" lIns="0" tIns="0" rIns="0" bIns="0" anchor="ctr">
            <a:spAutoFit/>
          </a:bodyPr>
          <a:lstStyle/>
          <a:p>
            <a:endParaRPr lang="en-GB"/>
          </a:p>
        </p:txBody>
      </p:sp>
      <p:sp>
        <p:nvSpPr>
          <p:cNvPr id="64" name="Freeform 18"/>
          <p:cNvSpPr>
            <a:spLocks/>
          </p:cNvSpPr>
          <p:nvPr/>
        </p:nvSpPr>
        <p:spPr bwMode="auto">
          <a:xfrm>
            <a:off x="5491795" y="1553175"/>
            <a:ext cx="1036595" cy="1024955"/>
          </a:xfrm>
          <a:custGeom>
            <a:avLst/>
            <a:gdLst>
              <a:gd name="T0" fmla="*/ 112 w 942"/>
              <a:gd name="T1" fmla="*/ 105 h 942"/>
              <a:gd name="T2" fmla="*/ 123 w 942"/>
              <a:gd name="T3" fmla="*/ 81 h 942"/>
              <a:gd name="T4" fmla="*/ 123 w 942"/>
              <a:gd name="T5" fmla="*/ 72 h 942"/>
              <a:gd name="T6" fmla="*/ 119 w 942"/>
              <a:gd name="T7" fmla="*/ 55 h 942"/>
              <a:gd name="T8" fmla="*/ 124 w 942"/>
              <a:gd name="T9" fmla="*/ 45 h 942"/>
              <a:gd name="T10" fmla="*/ 122 w 942"/>
              <a:gd name="T11" fmla="*/ 38 h 942"/>
              <a:gd name="T12" fmla="*/ 110 w 942"/>
              <a:gd name="T13" fmla="*/ 36 h 942"/>
              <a:gd name="T14" fmla="*/ 106 w 942"/>
              <a:gd name="T15" fmla="*/ 33 h 942"/>
              <a:gd name="T16" fmla="*/ 106 w 942"/>
              <a:gd name="T17" fmla="*/ 28 h 942"/>
              <a:gd name="T18" fmla="*/ 88 w 942"/>
              <a:gd name="T19" fmla="*/ 22 h 942"/>
              <a:gd name="T20" fmla="*/ 82 w 942"/>
              <a:gd name="T21" fmla="*/ 7 h 942"/>
              <a:gd name="T22" fmla="*/ 70 w 942"/>
              <a:gd name="T23" fmla="*/ 1 h 942"/>
              <a:gd name="T24" fmla="*/ 55 w 942"/>
              <a:gd name="T25" fmla="*/ 3 h 942"/>
              <a:gd name="T26" fmla="*/ 34 w 942"/>
              <a:gd name="T27" fmla="*/ 8 h 942"/>
              <a:gd name="T28" fmla="*/ 17 w 942"/>
              <a:gd name="T29" fmla="*/ 13 h 942"/>
              <a:gd name="T30" fmla="*/ 12 w 942"/>
              <a:gd name="T31" fmla="*/ 14 h 942"/>
              <a:gd name="T32" fmla="*/ 5 w 942"/>
              <a:gd name="T33" fmla="*/ 12 h 942"/>
              <a:gd name="T34" fmla="*/ 4 w 942"/>
              <a:gd name="T35" fmla="*/ 13 h 942"/>
              <a:gd name="T36" fmla="*/ 2 w 942"/>
              <a:gd name="T37" fmla="*/ 16 h 942"/>
              <a:gd name="T38" fmla="*/ 6 w 942"/>
              <a:gd name="T39" fmla="*/ 20 h 942"/>
              <a:gd name="T40" fmla="*/ 10 w 942"/>
              <a:gd name="T41" fmla="*/ 23 h 942"/>
              <a:gd name="T42" fmla="*/ 7 w 942"/>
              <a:gd name="T43" fmla="*/ 33 h 942"/>
              <a:gd name="T44" fmla="*/ 4 w 942"/>
              <a:gd name="T45" fmla="*/ 40 h 942"/>
              <a:gd name="T46" fmla="*/ 4 w 942"/>
              <a:gd name="T47" fmla="*/ 44 h 942"/>
              <a:gd name="T48" fmla="*/ 1 w 942"/>
              <a:gd name="T49" fmla="*/ 58 h 942"/>
              <a:gd name="T50" fmla="*/ 6 w 942"/>
              <a:gd name="T51" fmla="*/ 62 h 942"/>
              <a:gd name="T52" fmla="*/ 15 w 942"/>
              <a:gd name="T53" fmla="*/ 64 h 942"/>
              <a:gd name="T54" fmla="*/ 22 w 942"/>
              <a:gd name="T55" fmla="*/ 64 h 942"/>
              <a:gd name="T56" fmla="*/ 25 w 942"/>
              <a:gd name="T57" fmla="*/ 53 h 942"/>
              <a:gd name="T58" fmla="*/ 33 w 942"/>
              <a:gd name="T59" fmla="*/ 46 h 942"/>
              <a:gd name="T60" fmla="*/ 41 w 942"/>
              <a:gd name="T61" fmla="*/ 48 h 942"/>
              <a:gd name="T62" fmla="*/ 47 w 942"/>
              <a:gd name="T63" fmla="*/ 52 h 942"/>
              <a:gd name="T64" fmla="*/ 54 w 942"/>
              <a:gd name="T65" fmla="*/ 57 h 942"/>
              <a:gd name="T66" fmla="*/ 55 w 942"/>
              <a:gd name="T67" fmla="*/ 61 h 942"/>
              <a:gd name="T68" fmla="*/ 66 w 942"/>
              <a:gd name="T69" fmla="*/ 62 h 942"/>
              <a:gd name="T70" fmla="*/ 71 w 942"/>
              <a:gd name="T71" fmla="*/ 61 h 942"/>
              <a:gd name="T72" fmla="*/ 96 w 942"/>
              <a:gd name="T73" fmla="*/ 84 h 942"/>
              <a:gd name="T74" fmla="*/ 104 w 942"/>
              <a:gd name="T75" fmla="*/ 92 h 942"/>
              <a:gd name="T76" fmla="*/ 106 w 942"/>
              <a:gd name="T77" fmla="*/ 95 h 942"/>
              <a:gd name="T78" fmla="*/ 104 w 942"/>
              <a:gd name="T79" fmla="*/ 100 h 942"/>
              <a:gd name="T80" fmla="*/ 109 w 942"/>
              <a:gd name="T81" fmla="*/ 102 h 942"/>
              <a:gd name="T82" fmla="*/ 111 w 942"/>
              <a:gd name="T83" fmla="*/ 108 h 94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42"/>
              <a:gd name="T127" fmla="*/ 0 h 942"/>
              <a:gd name="T128" fmla="*/ 942 w 942"/>
              <a:gd name="T129" fmla="*/ 942 h 94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42" h="942">
                <a:moveTo>
                  <a:pt x="838" y="942"/>
                </a:moveTo>
                <a:lnTo>
                  <a:pt x="848" y="908"/>
                </a:lnTo>
                <a:lnTo>
                  <a:pt x="926" y="746"/>
                </a:lnTo>
                <a:lnTo>
                  <a:pt x="932" y="704"/>
                </a:lnTo>
                <a:lnTo>
                  <a:pt x="938" y="630"/>
                </a:lnTo>
                <a:lnTo>
                  <a:pt x="928" y="622"/>
                </a:lnTo>
                <a:lnTo>
                  <a:pt x="930" y="504"/>
                </a:lnTo>
                <a:lnTo>
                  <a:pt x="902" y="474"/>
                </a:lnTo>
                <a:lnTo>
                  <a:pt x="930" y="408"/>
                </a:lnTo>
                <a:lnTo>
                  <a:pt x="942" y="388"/>
                </a:lnTo>
                <a:lnTo>
                  <a:pt x="928" y="350"/>
                </a:lnTo>
                <a:lnTo>
                  <a:pt x="922" y="332"/>
                </a:lnTo>
                <a:lnTo>
                  <a:pt x="876" y="316"/>
                </a:lnTo>
                <a:lnTo>
                  <a:pt x="836" y="312"/>
                </a:lnTo>
                <a:lnTo>
                  <a:pt x="816" y="290"/>
                </a:lnTo>
                <a:lnTo>
                  <a:pt x="802" y="282"/>
                </a:lnTo>
                <a:lnTo>
                  <a:pt x="820" y="258"/>
                </a:lnTo>
                <a:lnTo>
                  <a:pt x="800" y="242"/>
                </a:lnTo>
                <a:lnTo>
                  <a:pt x="714" y="204"/>
                </a:lnTo>
                <a:lnTo>
                  <a:pt x="666" y="188"/>
                </a:lnTo>
                <a:lnTo>
                  <a:pt x="642" y="142"/>
                </a:lnTo>
                <a:lnTo>
                  <a:pt x="618" y="62"/>
                </a:lnTo>
                <a:lnTo>
                  <a:pt x="594" y="28"/>
                </a:lnTo>
                <a:lnTo>
                  <a:pt x="530" y="12"/>
                </a:lnTo>
                <a:lnTo>
                  <a:pt x="482" y="0"/>
                </a:lnTo>
                <a:lnTo>
                  <a:pt x="422" y="24"/>
                </a:lnTo>
                <a:lnTo>
                  <a:pt x="336" y="50"/>
                </a:lnTo>
                <a:lnTo>
                  <a:pt x="262" y="66"/>
                </a:lnTo>
                <a:lnTo>
                  <a:pt x="192" y="84"/>
                </a:lnTo>
                <a:lnTo>
                  <a:pt x="128" y="112"/>
                </a:lnTo>
                <a:lnTo>
                  <a:pt x="116" y="126"/>
                </a:lnTo>
                <a:lnTo>
                  <a:pt x="92" y="122"/>
                </a:lnTo>
                <a:lnTo>
                  <a:pt x="92" y="96"/>
                </a:lnTo>
                <a:lnTo>
                  <a:pt x="42" y="102"/>
                </a:lnTo>
                <a:lnTo>
                  <a:pt x="32" y="92"/>
                </a:lnTo>
                <a:lnTo>
                  <a:pt x="32" y="118"/>
                </a:lnTo>
                <a:lnTo>
                  <a:pt x="42" y="140"/>
                </a:lnTo>
                <a:lnTo>
                  <a:pt x="16" y="136"/>
                </a:lnTo>
                <a:lnTo>
                  <a:pt x="14" y="150"/>
                </a:lnTo>
                <a:lnTo>
                  <a:pt x="46" y="176"/>
                </a:lnTo>
                <a:lnTo>
                  <a:pt x="92" y="180"/>
                </a:lnTo>
                <a:lnTo>
                  <a:pt x="80" y="200"/>
                </a:lnTo>
                <a:lnTo>
                  <a:pt x="102" y="242"/>
                </a:lnTo>
                <a:lnTo>
                  <a:pt x="54" y="288"/>
                </a:lnTo>
                <a:lnTo>
                  <a:pt x="44" y="326"/>
                </a:lnTo>
                <a:lnTo>
                  <a:pt x="30" y="344"/>
                </a:lnTo>
                <a:lnTo>
                  <a:pt x="42" y="378"/>
                </a:lnTo>
                <a:lnTo>
                  <a:pt x="28" y="386"/>
                </a:lnTo>
                <a:lnTo>
                  <a:pt x="0" y="442"/>
                </a:lnTo>
                <a:lnTo>
                  <a:pt x="2" y="502"/>
                </a:lnTo>
                <a:lnTo>
                  <a:pt x="6" y="530"/>
                </a:lnTo>
                <a:lnTo>
                  <a:pt x="48" y="540"/>
                </a:lnTo>
                <a:lnTo>
                  <a:pt x="90" y="542"/>
                </a:lnTo>
                <a:lnTo>
                  <a:pt x="116" y="554"/>
                </a:lnTo>
                <a:lnTo>
                  <a:pt x="156" y="560"/>
                </a:lnTo>
                <a:lnTo>
                  <a:pt x="166" y="554"/>
                </a:lnTo>
                <a:lnTo>
                  <a:pt x="168" y="510"/>
                </a:lnTo>
                <a:lnTo>
                  <a:pt x="188" y="460"/>
                </a:lnTo>
                <a:lnTo>
                  <a:pt x="214" y="424"/>
                </a:lnTo>
                <a:lnTo>
                  <a:pt x="252" y="398"/>
                </a:lnTo>
                <a:lnTo>
                  <a:pt x="302" y="404"/>
                </a:lnTo>
                <a:lnTo>
                  <a:pt x="308" y="416"/>
                </a:lnTo>
                <a:lnTo>
                  <a:pt x="342" y="416"/>
                </a:lnTo>
                <a:lnTo>
                  <a:pt x="356" y="452"/>
                </a:lnTo>
                <a:lnTo>
                  <a:pt x="390" y="480"/>
                </a:lnTo>
                <a:lnTo>
                  <a:pt x="408" y="488"/>
                </a:lnTo>
                <a:lnTo>
                  <a:pt x="416" y="508"/>
                </a:lnTo>
                <a:lnTo>
                  <a:pt x="420" y="526"/>
                </a:lnTo>
                <a:lnTo>
                  <a:pt x="474" y="528"/>
                </a:lnTo>
                <a:lnTo>
                  <a:pt x="502" y="538"/>
                </a:lnTo>
                <a:lnTo>
                  <a:pt x="510" y="522"/>
                </a:lnTo>
                <a:lnTo>
                  <a:pt x="532" y="526"/>
                </a:lnTo>
                <a:lnTo>
                  <a:pt x="718" y="712"/>
                </a:lnTo>
                <a:lnTo>
                  <a:pt x="724" y="728"/>
                </a:lnTo>
                <a:lnTo>
                  <a:pt x="756" y="762"/>
                </a:lnTo>
                <a:lnTo>
                  <a:pt x="786" y="792"/>
                </a:lnTo>
                <a:lnTo>
                  <a:pt x="790" y="810"/>
                </a:lnTo>
                <a:lnTo>
                  <a:pt x="802" y="824"/>
                </a:lnTo>
                <a:lnTo>
                  <a:pt x="802" y="854"/>
                </a:lnTo>
                <a:lnTo>
                  <a:pt x="790" y="862"/>
                </a:lnTo>
                <a:lnTo>
                  <a:pt x="796" y="880"/>
                </a:lnTo>
                <a:lnTo>
                  <a:pt x="822" y="886"/>
                </a:lnTo>
                <a:lnTo>
                  <a:pt x="836" y="898"/>
                </a:lnTo>
                <a:lnTo>
                  <a:pt x="838" y="942"/>
                </a:lnTo>
                <a:close/>
              </a:path>
            </a:pathLst>
          </a:custGeom>
          <a:solidFill>
            <a:schemeClr val="accent3"/>
          </a:solidFill>
          <a:ln w="12700">
            <a:solidFill>
              <a:schemeClr val="bg1"/>
            </a:solidFill>
            <a:round/>
            <a:headEnd/>
            <a:tailEnd/>
          </a:ln>
        </p:spPr>
        <p:txBody>
          <a:bodyPr wrap="none" lIns="0" tIns="0" rIns="0" bIns="0" anchor="ctr">
            <a:spAutoFit/>
          </a:bodyPr>
          <a:lstStyle/>
          <a:p>
            <a:endParaRPr lang="en-GB"/>
          </a:p>
        </p:txBody>
      </p:sp>
      <p:sp>
        <p:nvSpPr>
          <p:cNvPr id="65" name="Freeform 19"/>
          <p:cNvSpPr>
            <a:spLocks/>
          </p:cNvSpPr>
          <p:nvPr/>
        </p:nvSpPr>
        <p:spPr bwMode="auto">
          <a:xfrm>
            <a:off x="3400356" y="3476132"/>
            <a:ext cx="844971" cy="690771"/>
          </a:xfrm>
          <a:custGeom>
            <a:avLst/>
            <a:gdLst>
              <a:gd name="T0" fmla="*/ 4 w 771"/>
              <a:gd name="T1" fmla="*/ 61 h 635"/>
              <a:gd name="T2" fmla="*/ 8 w 771"/>
              <a:gd name="T3" fmla="*/ 64 h 635"/>
              <a:gd name="T4" fmla="*/ 25 w 771"/>
              <a:gd name="T5" fmla="*/ 73 h 635"/>
              <a:gd name="T6" fmla="*/ 32 w 771"/>
              <a:gd name="T7" fmla="*/ 71 h 635"/>
              <a:gd name="T8" fmla="*/ 41 w 771"/>
              <a:gd name="T9" fmla="*/ 68 h 635"/>
              <a:gd name="T10" fmla="*/ 48 w 771"/>
              <a:gd name="T11" fmla="*/ 66 h 635"/>
              <a:gd name="T12" fmla="*/ 56 w 771"/>
              <a:gd name="T13" fmla="*/ 65 h 635"/>
              <a:gd name="T14" fmla="*/ 61 w 771"/>
              <a:gd name="T15" fmla="*/ 67 h 635"/>
              <a:gd name="T16" fmla="*/ 83 w 771"/>
              <a:gd name="T17" fmla="*/ 65 h 635"/>
              <a:gd name="T18" fmla="*/ 89 w 771"/>
              <a:gd name="T19" fmla="*/ 64 h 635"/>
              <a:gd name="T20" fmla="*/ 91 w 771"/>
              <a:gd name="T21" fmla="*/ 59 h 635"/>
              <a:gd name="T22" fmla="*/ 89 w 771"/>
              <a:gd name="T23" fmla="*/ 55 h 635"/>
              <a:gd name="T24" fmla="*/ 92 w 771"/>
              <a:gd name="T25" fmla="*/ 53 h 635"/>
              <a:gd name="T26" fmla="*/ 94 w 771"/>
              <a:gd name="T27" fmla="*/ 45 h 635"/>
              <a:gd name="T28" fmla="*/ 94 w 771"/>
              <a:gd name="T29" fmla="*/ 44 h 635"/>
              <a:gd name="T30" fmla="*/ 100 w 771"/>
              <a:gd name="T31" fmla="*/ 40 h 635"/>
              <a:gd name="T32" fmla="*/ 96 w 771"/>
              <a:gd name="T33" fmla="*/ 38 h 635"/>
              <a:gd name="T34" fmla="*/ 90 w 771"/>
              <a:gd name="T35" fmla="*/ 40 h 635"/>
              <a:gd name="T36" fmla="*/ 83 w 771"/>
              <a:gd name="T37" fmla="*/ 37 h 635"/>
              <a:gd name="T38" fmla="*/ 86 w 771"/>
              <a:gd name="T39" fmla="*/ 35 h 635"/>
              <a:gd name="T40" fmla="*/ 87 w 771"/>
              <a:gd name="T41" fmla="*/ 30 h 635"/>
              <a:gd name="T42" fmla="*/ 93 w 771"/>
              <a:gd name="T43" fmla="*/ 31 h 635"/>
              <a:gd name="T44" fmla="*/ 91 w 771"/>
              <a:gd name="T45" fmla="*/ 28 h 635"/>
              <a:gd name="T46" fmla="*/ 87 w 771"/>
              <a:gd name="T47" fmla="*/ 22 h 635"/>
              <a:gd name="T48" fmla="*/ 85 w 771"/>
              <a:gd name="T49" fmla="*/ 17 h 635"/>
              <a:gd name="T50" fmla="*/ 74 w 771"/>
              <a:gd name="T51" fmla="*/ 16 h 635"/>
              <a:gd name="T52" fmla="*/ 64 w 771"/>
              <a:gd name="T53" fmla="*/ 19 h 635"/>
              <a:gd name="T54" fmla="*/ 55 w 771"/>
              <a:gd name="T55" fmla="*/ 17 h 635"/>
              <a:gd name="T56" fmla="*/ 61 w 771"/>
              <a:gd name="T57" fmla="*/ 1 h 635"/>
              <a:gd name="T58" fmla="*/ 48 w 771"/>
              <a:gd name="T59" fmla="*/ 0 h 635"/>
              <a:gd name="T60" fmla="*/ 42 w 771"/>
              <a:gd name="T61" fmla="*/ 10 h 635"/>
              <a:gd name="T62" fmla="*/ 35 w 771"/>
              <a:gd name="T63" fmla="*/ 20 h 635"/>
              <a:gd name="T64" fmla="*/ 26 w 771"/>
              <a:gd name="T65" fmla="*/ 31 h 635"/>
              <a:gd name="T66" fmla="*/ 20 w 771"/>
              <a:gd name="T67" fmla="*/ 40 h 635"/>
              <a:gd name="T68" fmla="*/ 13 w 771"/>
              <a:gd name="T69" fmla="*/ 45 h 635"/>
              <a:gd name="T70" fmla="*/ 8 w 771"/>
              <a:gd name="T71" fmla="*/ 51 h 635"/>
              <a:gd name="T72" fmla="*/ 0 w 771"/>
              <a:gd name="T73" fmla="*/ 57 h 63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71"/>
              <a:gd name="T112" fmla="*/ 0 h 635"/>
              <a:gd name="T113" fmla="*/ 771 w 771"/>
              <a:gd name="T114" fmla="*/ 635 h 63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71" h="635">
                <a:moveTo>
                  <a:pt x="0" y="492"/>
                </a:moveTo>
                <a:lnTo>
                  <a:pt x="27" y="528"/>
                </a:lnTo>
                <a:lnTo>
                  <a:pt x="61" y="530"/>
                </a:lnTo>
                <a:lnTo>
                  <a:pt x="60" y="552"/>
                </a:lnTo>
                <a:lnTo>
                  <a:pt x="130" y="606"/>
                </a:lnTo>
                <a:lnTo>
                  <a:pt x="195" y="632"/>
                </a:lnTo>
                <a:lnTo>
                  <a:pt x="231" y="635"/>
                </a:lnTo>
                <a:lnTo>
                  <a:pt x="249" y="620"/>
                </a:lnTo>
                <a:lnTo>
                  <a:pt x="274" y="612"/>
                </a:lnTo>
                <a:lnTo>
                  <a:pt x="318" y="588"/>
                </a:lnTo>
                <a:lnTo>
                  <a:pt x="360" y="588"/>
                </a:lnTo>
                <a:lnTo>
                  <a:pt x="372" y="575"/>
                </a:lnTo>
                <a:lnTo>
                  <a:pt x="409" y="573"/>
                </a:lnTo>
                <a:lnTo>
                  <a:pt x="433" y="564"/>
                </a:lnTo>
                <a:lnTo>
                  <a:pt x="457" y="570"/>
                </a:lnTo>
                <a:lnTo>
                  <a:pt x="466" y="581"/>
                </a:lnTo>
                <a:lnTo>
                  <a:pt x="636" y="579"/>
                </a:lnTo>
                <a:lnTo>
                  <a:pt x="642" y="566"/>
                </a:lnTo>
                <a:lnTo>
                  <a:pt x="700" y="569"/>
                </a:lnTo>
                <a:lnTo>
                  <a:pt x="688" y="557"/>
                </a:lnTo>
                <a:lnTo>
                  <a:pt x="693" y="545"/>
                </a:lnTo>
                <a:lnTo>
                  <a:pt x="697" y="515"/>
                </a:lnTo>
                <a:lnTo>
                  <a:pt x="664" y="489"/>
                </a:lnTo>
                <a:lnTo>
                  <a:pt x="681" y="477"/>
                </a:lnTo>
                <a:lnTo>
                  <a:pt x="694" y="465"/>
                </a:lnTo>
                <a:lnTo>
                  <a:pt x="711" y="459"/>
                </a:lnTo>
                <a:lnTo>
                  <a:pt x="720" y="434"/>
                </a:lnTo>
                <a:lnTo>
                  <a:pt x="718" y="395"/>
                </a:lnTo>
                <a:lnTo>
                  <a:pt x="706" y="375"/>
                </a:lnTo>
                <a:lnTo>
                  <a:pt x="727" y="378"/>
                </a:lnTo>
                <a:lnTo>
                  <a:pt x="736" y="359"/>
                </a:lnTo>
                <a:lnTo>
                  <a:pt x="765" y="351"/>
                </a:lnTo>
                <a:lnTo>
                  <a:pt x="771" y="336"/>
                </a:lnTo>
                <a:lnTo>
                  <a:pt x="741" y="333"/>
                </a:lnTo>
                <a:lnTo>
                  <a:pt x="727" y="345"/>
                </a:lnTo>
                <a:lnTo>
                  <a:pt x="694" y="344"/>
                </a:lnTo>
                <a:lnTo>
                  <a:pt x="669" y="315"/>
                </a:lnTo>
                <a:lnTo>
                  <a:pt x="643" y="318"/>
                </a:lnTo>
                <a:lnTo>
                  <a:pt x="645" y="306"/>
                </a:lnTo>
                <a:lnTo>
                  <a:pt x="660" y="302"/>
                </a:lnTo>
                <a:lnTo>
                  <a:pt x="661" y="270"/>
                </a:lnTo>
                <a:lnTo>
                  <a:pt x="670" y="260"/>
                </a:lnTo>
                <a:lnTo>
                  <a:pt x="685" y="275"/>
                </a:lnTo>
                <a:lnTo>
                  <a:pt x="714" y="273"/>
                </a:lnTo>
                <a:lnTo>
                  <a:pt x="712" y="252"/>
                </a:lnTo>
                <a:lnTo>
                  <a:pt x="700" y="242"/>
                </a:lnTo>
                <a:lnTo>
                  <a:pt x="697" y="213"/>
                </a:lnTo>
                <a:lnTo>
                  <a:pt x="669" y="185"/>
                </a:lnTo>
                <a:lnTo>
                  <a:pt x="663" y="140"/>
                </a:lnTo>
                <a:lnTo>
                  <a:pt x="648" y="152"/>
                </a:lnTo>
                <a:lnTo>
                  <a:pt x="598" y="170"/>
                </a:lnTo>
                <a:lnTo>
                  <a:pt x="573" y="137"/>
                </a:lnTo>
                <a:lnTo>
                  <a:pt x="525" y="138"/>
                </a:lnTo>
                <a:lnTo>
                  <a:pt x="493" y="161"/>
                </a:lnTo>
                <a:lnTo>
                  <a:pt x="460" y="150"/>
                </a:lnTo>
                <a:lnTo>
                  <a:pt x="424" y="146"/>
                </a:lnTo>
                <a:lnTo>
                  <a:pt x="465" y="36"/>
                </a:lnTo>
                <a:lnTo>
                  <a:pt x="468" y="2"/>
                </a:lnTo>
                <a:lnTo>
                  <a:pt x="433" y="5"/>
                </a:lnTo>
                <a:lnTo>
                  <a:pt x="369" y="0"/>
                </a:lnTo>
                <a:lnTo>
                  <a:pt x="345" y="45"/>
                </a:lnTo>
                <a:lnTo>
                  <a:pt x="325" y="84"/>
                </a:lnTo>
                <a:lnTo>
                  <a:pt x="297" y="128"/>
                </a:lnTo>
                <a:lnTo>
                  <a:pt x="273" y="176"/>
                </a:lnTo>
                <a:lnTo>
                  <a:pt x="243" y="213"/>
                </a:lnTo>
                <a:lnTo>
                  <a:pt x="204" y="275"/>
                </a:lnTo>
                <a:lnTo>
                  <a:pt x="159" y="317"/>
                </a:lnTo>
                <a:lnTo>
                  <a:pt x="151" y="341"/>
                </a:lnTo>
                <a:lnTo>
                  <a:pt x="124" y="360"/>
                </a:lnTo>
                <a:lnTo>
                  <a:pt x="102" y="390"/>
                </a:lnTo>
                <a:lnTo>
                  <a:pt x="67" y="423"/>
                </a:lnTo>
                <a:lnTo>
                  <a:pt x="58" y="444"/>
                </a:lnTo>
                <a:lnTo>
                  <a:pt x="21" y="477"/>
                </a:lnTo>
                <a:lnTo>
                  <a:pt x="0" y="492"/>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66" name="Freeform 20"/>
          <p:cNvSpPr>
            <a:spLocks/>
          </p:cNvSpPr>
          <p:nvPr/>
        </p:nvSpPr>
        <p:spPr bwMode="auto">
          <a:xfrm>
            <a:off x="4102977" y="3517205"/>
            <a:ext cx="844971" cy="586222"/>
          </a:xfrm>
          <a:custGeom>
            <a:avLst/>
            <a:gdLst>
              <a:gd name="T0" fmla="*/ 64 w 768"/>
              <a:gd name="T1" fmla="*/ 5 h 540"/>
              <a:gd name="T2" fmla="*/ 74 w 768"/>
              <a:gd name="T3" fmla="*/ 9 h 540"/>
              <a:gd name="T4" fmla="*/ 78 w 768"/>
              <a:gd name="T5" fmla="*/ 20 h 540"/>
              <a:gd name="T6" fmla="*/ 82 w 768"/>
              <a:gd name="T7" fmla="*/ 24 h 540"/>
              <a:gd name="T8" fmla="*/ 85 w 768"/>
              <a:gd name="T9" fmla="*/ 24 h 540"/>
              <a:gd name="T10" fmla="*/ 84 w 768"/>
              <a:gd name="T11" fmla="*/ 31 h 540"/>
              <a:gd name="T12" fmla="*/ 86 w 768"/>
              <a:gd name="T13" fmla="*/ 40 h 540"/>
              <a:gd name="T14" fmla="*/ 92 w 768"/>
              <a:gd name="T15" fmla="*/ 36 h 540"/>
              <a:gd name="T16" fmla="*/ 94 w 768"/>
              <a:gd name="T17" fmla="*/ 45 h 540"/>
              <a:gd name="T18" fmla="*/ 101 w 768"/>
              <a:gd name="T19" fmla="*/ 53 h 540"/>
              <a:gd name="T20" fmla="*/ 94 w 768"/>
              <a:gd name="T21" fmla="*/ 56 h 540"/>
              <a:gd name="T22" fmla="*/ 82 w 768"/>
              <a:gd name="T23" fmla="*/ 53 h 540"/>
              <a:gd name="T24" fmla="*/ 75 w 768"/>
              <a:gd name="T25" fmla="*/ 56 h 540"/>
              <a:gd name="T26" fmla="*/ 66 w 768"/>
              <a:gd name="T27" fmla="*/ 58 h 540"/>
              <a:gd name="T28" fmla="*/ 59 w 768"/>
              <a:gd name="T29" fmla="*/ 56 h 540"/>
              <a:gd name="T30" fmla="*/ 55 w 768"/>
              <a:gd name="T31" fmla="*/ 53 h 540"/>
              <a:gd name="T32" fmla="*/ 46 w 768"/>
              <a:gd name="T33" fmla="*/ 56 h 540"/>
              <a:gd name="T34" fmla="*/ 37 w 768"/>
              <a:gd name="T35" fmla="*/ 51 h 540"/>
              <a:gd name="T36" fmla="*/ 28 w 768"/>
              <a:gd name="T37" fmla="*/ 55 h 540"/>
              <a:gd name="T38" fmla="*/ 17 w 768"/>
              <a:gd name="T39" fmla="*/ 57 h 540"/>
              <a:gd name="T40" fmla="*/ 10 w 768"/>
              <a:gd name="T41" fmla="*/ 60 h 540"/>
              <a:gd name="T42" fmla="*/ 7 w 768"/>
              <a:gd name="T43" fmla="*/ 61 h 540"/>
              <a:gd name="T44" fmla="*/ 7 w 768"/>
              <a:gd name="T45" fmla="*/ 54 h 540"/>
              <a:gd name="T46" fmla="*/ 5 w 768"/>
              <a:gd name="T47" fmla="*/ 49 h 540"/>
              <a:gd name="T48" fmla="*/ 9 w 768"/>
              <a:gd name="T49" fmla="*/ 48 h 540"/>
              <a:gd name="T50" fmla="*/ 10 w 768"/>
              <a:gd name="T51" fmla="*/ 42 h 540"/>
              <a:gd name="T52" fmla="*/ 11 w 768"/>
              <a:gd name="T53" fmla="*/ 39 h 540"/>
              <a:gd name="T54" fmla="*/ 16 w 768"/>
              <a:gd name="T55" fmla="*/ 35 h 540"/>
              <a:gd name="T56" fmla="*/ 13 w 768"/>
              <a:gd name="T57" fmla="*/ 34 h 540"/>
              <a:gd name="T58" fmla="*/ 6 w 768"/>
              <a:gd name="T59" fmla="*/ 35 h 540"/>
              <a:gd name="T60" fmla="*/ 0 w 768"/>
              <a:gd name="T61" fmla="*/ 32 h 540"/>
              <a:gd name="T62" fmla="*/ 2 w 768"/>
              <a:gd name="T63" fmla="*/ 30 h 540"/>
              <a:gd name="T64" fmla="*/ 3 w 768"/>
              <a:gd name="T65" fmla="*/ 26 h 540"/>
              <a:gd name="T66" fmla="*/ 9 w 768"/>
              <a:gd name="T67" fmla="*/ 27 h 540"/>
              <a:gd name="T68" fmla="*/ 8 w 768"/>
              <a:gd name="T69" fmla="*/ 24 h 540"/>
              <a:gd name="T70" fmla="*/ 3 w 768"/>
              <a:gd name="T71" fmla="*/ 16 h 540"/>
              <a:gd name="T72" fmla="*/ 8 w 768"/>
              <a:gd name="T73" fmla="*/ 9 h 540"/>
              <a:gd name="T74" fmla="*/ 16 w 768"/>
              <a:gd name="T75" fmla="*/ 3 h 540"/>
              <a:gd name="T76" fmla="*/ 26 w 768"/>
              <a:gd name="T77" fmla="*/ 1 h 540"/>
              <a:gd name="T78" fmla="*/ 33 w 768"/>
              <a:gd name="T79" fmla="*/ 13 h 540"/>
              <a:gd name="T80" fmla="*/ 43 w 768"/>
              <a:gd name="T81" fmla="*/ 14 h 540"/>
              <a:gd name="T82" fmla="*/ 43 w 768"/>
              <a:gd name="T83" fmla="*/ 20 h 540"/>
              <a:gd name="T84" fmla="*/ 48 w 768"/>
              <a:gd name="T85" fmla="*/ 20 h 540"/>
              <a:gd name="T86" fmla="*/ 59 w 768"/>
              <a:gd name="T87" fmla="*/ 0 h 54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68"/>
              <a:gd name="T133" fmla="*/ 0 h 540"/>
              <a:gd name="T134" fmla="*/ 768 w 768"/>
              <a:gd name="T135" fmla="*/ 540 h 54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68" h="540">
                <a:moveTo>
                  <a:pt x="447" y="0"/>
                </a:moveTo>
                <a:lnTo>
                  <a:pt x="483" y="38"/>
                </a:lnTo>
                <a:lnTo>
                  <a:pt x="525" y="48"/>
                </a:lnTo>
                <a:lnTo>
                  <a:pt x="556" y="74"/>
                </a:lnTo>
                <a:lnTo>
                  <a:pt x="556" y="132"/>
                </a:lnTo>
                <a:lnTo>
                  <a:pt x="595" y="173"/>
                </a:lnTo>
                <a:lnTo>
                  <a:pt x="594" y="198"/>
                </a:lnTo>
                <a:lnTo>
                  <a:pt x="619" y="206"/>
                </a:lnTo>
                <a:lnTo>
                  <a:pt x="634" y="216"/>
                </a:lnTo>
                <a:lnTo>
                  <a:pt x="643" y="209"/>
                </a:lnTo>
                <a:lnTo>
                  <a:pt x="649" y="248"/>
                </a:lnTo>
                <a:lnTo>
                  <a:pt x="639" y="276"/>
                </a:lnTo>
                <a:lnTo>
                  <a:pt x="628" y="320"/>
                </a:lnTo>
                <a:lnTo>
                  <a:pt x="648" y="351"/>
                </a:lnTo>
                <a:lnTo>
                  <a:pt x="685" y="341"/>
                </a:lnTo>
                <a:lnTo>
                  <a:pt x="700" y="315"/>
                </a:lnTo>
                <a:lnTo>
                  <a:pt x="715" y="321"/>
                </a:lnTo>
                <a:lnTo>
                  <a:pt x="714" y="398"/>
                </a:lnTo>
                <a:lnTo>
                  <a:pt x="753" y="461"/>
                </a:lnTo>
                <a:lnTo>
                  <a:pt x="768" y="470"/>
                </a:lnTo>
                <a:lnTo>
                  <a:pt x="768" y="519"/>
                </a:lnTo>
                <a:lnTo>
                  <a:pt x="711" y="494"/>
                </a:lnTo>
                <a:lnTo>
                  <a:pt x="669" y="477"/>
                </a:lnTo>
                <a:lnTo>
                  <a:pt x="622" y="468"/>
                </a:lnTo>
                <a:lnTo>
                  <a:pt x="612" y="459"/>
                </a:lnTo>
                <a:lnTo>
                  <a:pt x="570" y="489"/>
                </a:lnTo>
                <a:lnTo>
                  <a:pt x="541" y="483"/>
                </a:lnTo>
                <a:lnTo>
                  <a:pt x="498" y="506"/>
                </a:lnTo>
                <a:lnTo>
                  <a:pt x="462" y="497"/>
                </a:lnTo>
                <a:lnTo>
                  <a:pt x="447" y="491"/>
                </a:lnTo>
                <a:lnTo>
                  <a:pt x="433" y="491"/>
                </a:lnTo>
                <a:lnTo>
                  <a:pt x="415" y="471"/>
                </a:lnTo>
                <a:lnTo>
                  <a:pt x="381" y="497"/>
                </a:lnTo>
                <a:lnTo>
                  <a:pt x="348" y="494"/>
                </a:lnTo>
                <a:lnTo>
                  <a:pt x="315" y="453"/>
                </a:lnTo>
                <a:lnTo>
                  <a:pt x="277" y="441"/>
                </a:lnTo>
                <a:lnTo>
                  <a:pt x="243" y="461"/>
                </a:lnTo>
                <a:lnTo>
                  <a:pt x="210" y="482"/>
                </a:lnTo>
                <a:lnTo>
                  <a:pt x="190" y="480"/>
                </a:lnTo>
                <a:lnTo>
                  <a:pt x="127" y="498"/>
                </a:lnTo>
                <a:lnTo>
                  <a:pt x="117" y="521"/>
                </a:lnTo>
                <a:lnTo>
                  <a:pt x="76" y="522"/>
                </a:lnTo>
                <a:lnTo>
                  <a:pt x="73" y="540"/>
                </a:lnTo>
                <a:lnTo>
                  <a:pt x="55" y="531"/>
                </a:lnTo>
                <a:lnTo>
                  <a:pt x="45" y="519"/>
                </a:lnTo>
                <a:lnTo>
                  <a:pt x="51" y="474"/>
                </a:lnTo>
                <a:lnTo>
                  <a:pt x="21" y="450"/>
                </a:lnTo>
                <a:lnTo>
                  <a:pt x="42" y="434"/>
                </a:lnTo>
                <a:lnTo>
                  <a:pt x="52" y="426"/>
                </a:lnTo>
                <a:lnTo>
                  <a:pt x="70" y="417"/>
                </a:lnTo>
                <a:lnTo>
                  <a:pt x="79" y="393"/>
                </a:lnTo>
                <a:lnTo>
                  <a:pt x="75" y="363"/>
                </a:lnTo>
                <a:lnTo>
                  <a:pt x="61" y="338"/>
                </a:lnTo>
                <a:lnTo>
                  <a:pt x="85" y="339"/>
                </a:lnTo>
                <a:lnTo>
                  <a:pt x="96" y="320"/>
                </a:lnTo>
                <a:lnTo>
                  <a:pt x="124" y="311"/>
                </a:lnTo>
                <a:lnTo>
                  <a:pt x="126" y="297"/>
                </a:lnTo>
                <a:lnTo>
                  <a:pt x="99" y="296"/>
                </a:lnTo>
                <a:lnTo>
                  <a:pt x="87" y="306"/>
                </a:lnTo>
                <a:lnTo>
                  <a:pt x="48" y="308"/>
                </a:lnTo>
                <a:lnTo>
                  <a:pt x="27" y="279"/>
                </a:lnTo>
                <a:lnTo>
                  <a:pt x="0" y="281"/>
                </a:lnTo>
                <a:lnTo>
                  <a:pt x="3" y="267"/>
                </a:lnTo>
                <a:lnTo>
                  <a:pt x="18" y="263"/>
                </a:lnTo>
                <a:lnTo>
                  <a:pt x="16" y="230"/>
                </a:lnTo>
                <a:lnTo>
                  <a:pt x="25" y="222"/>
                </a:lnTo>
                <a:lnTo>
                  <a:pt x="43" y="240"/>
                </a:lnTo>
                <a:lnTo>
                  <a:pt x="70" y="236"/>
                </a:lnTo>
                <a:lnTo>
                  <a:pt x="69" y="215"/>
                </a:lnTo>
                <a:lnTo>
                  <a:pt x="58" y="206"/>
                </a:lnTo>
                <a:lnTo>
                  <a:pt x="52" y="176"/>
                </a:lnTo>
                <a:lnTo>
                  <a:pt x="24" y="144"/>
                </a:lnTo>
                <a:lnTo>
                  <a:pt x="25" y="101"/>
                </a:lnTo>
                <a:lnTo>
                  <a:pt x="67" y="75"/>
                </a:lnTo>
                <a:lnTo>
                  <a:pt x="100" y="66"/>
                </a:lnTo>
                <a:lnTo>
                  <a:pt x="123" y="29"/>
                </a:lnTo>
                <a:lnTo>
                  <a:pt x="160" y="24"/>
                </a:lnTo>
                <a:lnTo>
                  <a:pt x="195" y="8"/>
                </a:lnTo>
                <a:lnTo>
                  <a:pt x="228" y="60"/>
                </a:lnTo>
                <a:lnTo>
                  <a:pt x="250" y="110"/>
                </a:lnTo>
                <a:lnTo>
                  <a:pt x="288" y="117"/>
                </a:lnTo>
                <a:lnTo>
                  <a:pt x="322" y="120"/>
                </a:lnTo>
                <a:lnTo>
                  <a:pt x="340" y="149"/>
                </a:lnTo>
                <a:lnTo>
                  <a:pt x="325" y="179"/>
                </a:lnTo>
                <a:lnTo>
                  <a:pt x="342" y="188"/>
                </a:lnTo>
                <a:lnTo>
                  <a:pt x="366" y="170"/>
                </a:lnTo>
                <a:lnTo>
                  <a:pt x="376" y="159"/>
                </a:lnTo>
                <a:lnTo>
                  <a:pt x="447" y="0"/>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67" name="Freeform 21"/>
          <p:cNvSpPr>
            <a:spLocks/>
          </p:cNvSpPr>
          <p:nvPr/>
        </p:nvSpPr>
        <p:spPr bwMode="auto">
          <a:xfrm>
            <a:off x="5447996" y="1984440"/>
            <a:ext cx="967245" cy="982015"/>
          </a:xfrm>
          <a:custGeom>
            <a:avLst/>
            <a:gdLst>
              <a:gd name="T0" fmla="*/ 111 w 880"/>
              <a:gd name="T1" fmla="*/ 99 h 902"/>
              <a:gd name="T2" fmla="*/ 107 w 880"/>
              <a:gd name="T3" fmla="*/ 97 h 902"/>
              <a:gd name="T4" fmla="*/ 100 w 880"/>
              <a:gd name="T5" fmla="*/ 99 h 902"/>
              <a:gd name="T6" fmla="*/ 96 w 880"/>
              <a:gd name="T7" fmla="*/ 96 h 902"/>
              <a:gd name="T8" fmla="*/ 78 w 880"/>
              <a:gd name="T9" fmla="*/ 99 h 902"/>
              <a:gd name="T10" fmla="*/ 69 w 880"/>
              <a:gd name="T11" fmla="*/ 96 h 902"/>
              <a:gd name="T12" fmla="*/ 51 w 880"/>
              <a:gd name="T13" fmla="*/ 95 h 902"/>
              <a:gd name="T14" fmla="*/ 49 w 880"/>
              <a:gd name="T15" fmla="*/ 104 h 902"/>
              <a:gd name="T16" fmla="*/ 43 w 880"/>
              <a:gd name="T17" fmla="*/ 101 h 902"/>
              <a:gd name="T18" fmla="*/ 39 w 880"/>
              <a:gd name="T19" fmla="*/ 102 h 902"/>
              <a:gd name="T20" fmla="*/ 34 w 880"/>
              <a:gd name="T21" fmla="*/ 104 h 902"/>
              <a:gd name="T22" fmla="*/ 30 w 880"/>
              <a:gd name="T23" fmla="*/ 99 h 902"/>
              <a:gd name="T24" fmla="*/ 20 w 880"/>
              <a:gd name="T25" fmla="*/ 95 h 902"/>
              <a:gd name="T26" fmla="*/ 14 w 880"/>
              <a:gd name="T27" fmla="*/ 93 h 902"/>
              <a:gd name="T28" fmla="*/ 5 w 880"/>
              <a:gd name="T29" fmla="*/ 87 h 902"/>
              <a:gd name="T30" fmla="*/ 4 w 880"/>
              <a:gd name="T31" fmla="*/ 82 h 902"/>
              <a:gd name="T32" fmla="*/ 5 w 880"/>
              <a:gd name="T33" fmla="*/ 80 h 902"/>
              <a:gd name="T34" fmla="*/ 11 w 880"/>
              <a:gd name="T35" fmla="*/ 72 h 902"/>
              <a:gd name="T36" fmla="*/ 6 w 880"/>
              <a:gd name="T37" fmla="*/ 68 h 902"/>
              <a:gd name="T38" fmla="*/ 0 w 880"/>
              <a:gd name="T39" fmla="*/ 62 h 902"/>
              <a:gd name="T40" fmla="*/ 16 w 880"/>
              <a:gd name="T41" fmla="*/ 47 h 902"/>
              <a:gd name="T42" fmla="*/ 27 w 880"/>
              <a:gd name="T43" fmla="*/ 51 h 902"/>
              <a:gd name="T44" fmla="*/ 36 w 880"/>
              <a:gd name="T45" fmla="*/ 41 h 902"/>
              <a:gd name="T46" fmla="*/ 29 w 880"/>
              <a:gd name="T47" fmla="*/ 33 h 902"/>
              <a:gd name="T48" fmla="*/ 24 w 880"/>
              <a:gd name="T49" fmla="*/ 23 h 902"/>
              <a:gd name="T50" fmla="*/ 22 w 880"/>
              <a:gd name="T51" fmla="*/ 18 h 902"/>
              <a:gd name="T52" fmla="*/ 27 w 880"/>
              <a:gd name="T53" fmla="*/ 18 h 902"/>
              <a:gd name="T54" fmla="*/ 30 w 880"/>
              <a:gd name="T55" fmla="*/ 8 h 902"/>
              <a:gd name="T56" fmla="*/ 39 w 880"/>
              <a:gd name="T57" fmla="*/ 0 h 902"/>
              <a:gd name="T58" fmla="*/ 46 w 880"/>
              <a:gd name="T59" fmla="*/ 2 h 902"/>
              <a:gd name="T60" fmla="*/ 52 w 880"/>
              <a:gd name="T61" fmla="*/ 6 h 902"/>
              <a:gd name="T62" fmla="*/ 60 w 880"/>
              <a:gd name="T63" fmla="*/ 10 h 902"/>
              <a:gd name="T64" fmla="*/ 64 w 880"/>
              <a:gd name="T65" fmla="*/ 15 h 902"/>
              <a:gd name="T66" fmla="*/ 72 w 880"/>
              <a:gd name="T67" fmla="*/ 16 h 902"/>
              <a:gd name="T68" fmla="*/ 76 w 880"/>
              <a:gd name="T69" fmla="*/ 15 h 902"/>
              <a:gd name="T70" fmla="*/ 101 w 880"/>
              <a:gd name="T71" fmla="*/ 38 h 902"/>
              <a:gd name="T72" fmla="*/ 110 w 880"/>
              <a:gd name="T73" fmla="*/ 48 h 902"/>
              <a:gd name="T74" fmla="*/ 111 w 880"/>
              <a:gd name="T75" fmla="*/ 52 h 902"/>
              <a:gd name="T76" fmla="*/ 111 w 880"/>
              <a:gd name="T77" fmla="*/ 56 h 902"/>
              <a:gd name="T78" fmla="*/ 116 w 880"/>
              <a:gd name="T79" fmla="*/ 58 h 902"/>
              <a:gd name="T80" fmla="*/ 115 w 880"/>
              <a:gd name="T81" fmla="*/ 68 h 902"/>
              <a:gd name="T82" fmla="*/ 113 w 880"/>
              <a:gd name="T83" fmla="*/ 87 h 90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80"/>
              <a:gd name="T127" fmla="*/ 0 h 902"/>
              <a:gd name="T128" fmla="*/ 880 w 880"/>
              <a:gd name="T129" fmla="*/ 902 h 90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80" h="902">
                <a:moveTo>
                  <a:pt x="862" y="837"/>
                </a:moveTo>
                <a:lnTo>
                  <a:pt x="845" y="857"/>
                </a:lnTo>
                <a:lnTo>
                  <a:pt x="820" y="853"/>
                </a:lnTo>
                <a:lnTo>
                  <a:pt x="814" y="842"/>
                </a:lnTo>
                <a:lnTo>
                  <a:pt x="772" y="845"/>
                </a:lnTo>
                <a:lnTo>
                  <a:pt x="762" y="855"/>
                </a:lnTo>
                <a:lnTo>
                  <a:pt x="742" y="853"/>
                </a:lnTo>
                <a:lnTo>
                  <a:pt x="729" y="830"/>
                </a:lnTo>
                <a:lnTo>
                  <a:pt x="605" y="835"/>
                </a:lnTo>
                <a:lnTo>
                  <a:pt x="594" y="850"/>
                </a:lnTo>
                <a:lnTo>
                  <a:pt x="560" y="842"/>
                </a:lnTo>
                <a:lnTo>
                  <a:pt x="525" y="830"/>
                </a:lnTo>
                <a:lnTo>
                  <a:pt x="505" y="820"/>
                </a:lnTo>
                <a:lnTo>
                  <a:pt x="389" y="822"/>
                </a:lnTo>
                <a:lnTo>
                  <a:pt x="369" y="842"/>
                </a:lnTo>
                <a:lnTo>
                  <a:pt x="369" y="902"/>
                </a:lnTo>
                <a:lnTo>
                  <a:pt x="344" y="897"/>
                </a:lnTo>
                <a:lnTo>
                  <a:pt x="329" y="880"/>
                </a:lnTo>
                <a:lnTo>
                  <a:pt x="315" y="898"/>
                </a:lnTo>
                <a:lnTo>
                  <a:pt x="294" y="882"/>
                </a:lnTo>
                <a:lnTo>
                  <a:pt x="279" y="898"/>
                </a:lnTo>
                <a:lnTo>
                  <a:pt x="255" y="900"/>
                </a:lnTo>
                <a:lnTo>
                  <a:pt x="247" y="875"/>
                </a:lnTo>
                <a:lnTo>
                  <a:pt x="225" y="850"/>
                </a:lnTo>
                <a:lnTo>
                  <a:pt x="212" y="822"/>
                </a:lnTo>
                <a:lnTo>
                  <a:pt x="150" y="822"/>
                </a:lnTo>
                <a:lnTo>
                  <a:pt x="132" y="812"/>
                </a:lnTo>
                <a:lnTo>
                  <a:pt x="105" y="800"/>
                </a:lnTo>
                <a:lnTo>
                  <a:pt x="62" y="802"/>
                </a:lnTo>
                <a:lnTo>
                  <a:pt x="35" y="757"/>
                </a:lnTo>
                <a:lnTo>
                  <a:pt x="27" y="730"/>
                </a:lnTo>
                <a:lnTo>
                  <a:pt x="29" y="708"/>
                </a:lnTo>
                <a:lnTo>
                  <a:pt x="19" y="698"/>
                </a:lnTo>
                <a:lnTo>
                  <a:pt x="35" y="693"/>
                </a:lnTo>
                <a:lnTo>
                  <a:pt x="79" y="653"/>
                </a:lnTo>
                <a:lnTo>
                  <a:pt x="84" y="627"/>
                </a:lnTo>
                <a:lnTo>
                  <a:pt x="64" y="603"/>
                </a:lnTo>
                <a:lnTo>
                  <a:pt x="47" y="585"/>
                </a:lnTo>
                <a:lnTo>
                  <a:pt x="19" y="547"/>
                </a:lnTo>
                <a:lnTo>
                  <a:pt x="0" y="534"/>
                </a:lnTo>
                <a:lnTo>
                  <a:pt x="114" y="432"/>
                </a:lnTo>
                <a:lnTo>
                  <a:pt x="119" y="407"/>
                </a:lnTo>
                <a:lnTo>
                  <a:pt x="162" y="415"/>
                </a:lnTo>
                <a:lnTo>
                  <a:pt x="205" y="443"/>
                </a:lnTo>
                <a:lnTo>
                  <a:pt x="250" y="408"/>
                </a:lnTo>
                <a:lnTo>
                  <a:pt x="272" y="357"/>
                </a:lnTo>
                <a:lnTo>
                  <a:pt x="235" y="307"/>
                </a:lnTo>
                <a:lnTo>
                  <a:pt x="220" y="283"/>
                </a:lnTo>
                <a:lnTo>
                  <a:pt x="220" y="225"/>
                </a:lnTo>
                <a:lnTo>
                  <a:pt x="182" y="198"/>
                </a:lnTo>
                <a:lnTo>
                  <a:pt x="159" y="192"/>
                </a:lnTo>
                <a:lnTo>
                  <a:pt x="165" y="158"/>
                </a:lnTo>
                <a:lnTo>
                  <a:pt x="195" y="163"/>
                </a:lnTo>
                <a:lnTo>
                  <a:pt x="207" y="158"/>
                </a:lnTo>
                <a:lnTo>
                  <a:pt x="210" y="125"/>
                </a:lnTo>
                <a:lnTo>
                  <a:pt x="229" y="68"/>
                </a:lnTo>
                <a:lnTo>
                  <a:pt x="252" y="33"/>
                </a:lnTo>
                <a:lnTo>
                  <a:pt x="295" y="0"/>
                </a:lnTo>
                <a:lnTo>
                  <a:pt x="344" y="8"/>
                </a:lnTo>
                <a:lnTo>
                  <a:pt x="350" y="20"/>
                </a:lnTo>
                <a:lnTo>
                  <a:pt x="384" y="18"/>
                </a:lnTo>
                <a:lnTo>
                  <a:pt x="400" y="57"/>
                </a:lnTo>
                <a:lnTo>
                  <a:pt x="424" y="77"/>
                </a:lnTo>
                <a:lnTo>
                  <a:pt x="452" y="92"/>
                </a:lnTo>
                <a:lnTo>
                  <a:pt x="464" y="127"/>
                </a:lnTo>
                <a:lnTo>
                  <a:pt x="485" y="132"/>
                </a:lnTo>
                <a:lnTo>
                  <a:pt x="514" y="130"/>
                </a:lnTo>
                <a:lnTo>
                  <a:pt x="545" y="143"/>
                </a:lnTo>
                <a:lnTo>
                  <a:pt x="554" y="127"/>
                </a:lnTo>
                <a:lnTo>
                  <a:pt x="579" y="129"/>
                </a:lnTo>
                <a:lnTo>
                  <a:pt x="763" y="318"/>
                </a:lnTo>
                <a:lnTo>
                  <a:pt x="767" y="335"/>
                </a:lnTo>
                <a:lnTo>
                  <a:pt x="829" y="397"/>
                </a:lnTo>
                <a:lnTo>
                  <a:pt x="832" y="412"/>
                </a:lnTo>
                <a:lnTo>
                  <a:pt x="845" y="428"/>
                </a:lnTo>
                <a:lnTo>
                  <a:pt x="844" y="457"/>
                </a:lnTo>
                <a:lnTo>
                  <a:pt x="832" y="467"/>
                </a:lnTo>
                <a:lnTo>
                  <a:pt x="840" y="483"/>
                </a:lnTo>
                <a:lnTo>
                  <a:pt x="864" y="492"/>
                </a:lnTo>
                <a:lnTo>
                  <a:pt x="877" y="503"/>
                </a:lnTo>
                <a:lnTo>
                  <a:pt x="880" y="555"/>
                </a:lnTo>
                <a:lnTo>
                  <a:pt x="875" y="590"/>
                </a:lnTo>
                <a:lnTo>
                  <a:pt x="872" y="753"/>
                </a:lnTo>
                <a:lnTo>
                  <a:pt x="860" y="758"/>
                </a:lnTo>
                <a:lnTo>
                  <a:pt x="862" y="837"/>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68" name="Freeform 22"/>
          <p:cNvSpPr>
            <a:spLocks/>
          </p:cNvSpPr>
          <p:nvPr/>
        </p:nvSpPr>
        <p:spPr bwMode="auto">
          <a:xfrm>
            <a:off x="2615610" y="4975291"/>
            <a:ext cx="892420" cy="337918"/>
          </a:xfrm>
          <a:custGeom>
            <a:avLst/>
            <a:gdLst>
              <a:gd name="T0" fmla="*/ 47 w 813"/>
              <a:gd name="T1" fmla="*/ 10 h 312"/>
              <a:gd name="T2" fmla="*/ 44 w 813"/>
              <a:gd name="T3" fmla="*/ 8 h 312"/>
              <a:gd name="T4" fmla="*/ 35 w 813"/>
              <a:gd name="T5" fmla="*/ 5 h 312"/>
              <a:gd name="T6" fmla="*/ 29 w 813"/>
              <a:gd name="T7" fmla="*/ 3 h 312"/>
              <a:gd name="T8" fmla="*/ 24 w 813"/>
              <a:gd name="T9" fmla="*/ 1 h 312"/>
              <a:gd name="T10" fmla="*/ 15 w 813"/>
              <a:gd name="T11" fmla="*/ 0 h 312"/>
              <a:gd name="T12" fmla="*/ 11 w 813"/>
              <a:gd name="T13" fmla="*/ 1 h 312"/>
              <a:gd name="T14" fmla="*/ 5 w 813"/>
              <a:gd name="T15" fmla="*/ 3 h 312"/>
              <a:gd name="T16" fmla="*/ 1 w 813"/>
              <a:gd name="T17" fmla="*/ 8 h 312"/>
              <a:gd name="T18" fmla="*/ 4 w 813"/>
              <a:gd name="T19" fmla="*/ 12 h 312"/>
              <a:gd name="T20" fmla="*/ 1 w 813"/>
              <a:gd name="T21" fmla="*/ 17 h 312"/>
              <a:gd name="T22" fmla="*/ 5 w 813"/>
              <a:gd name="T23" fmla="*/ 24 h 312"/>
              <a:gd name="T24" fmla="*/ 8 w 813"/>
              <a:gd name="T25" fmla="*/ 27 h 312"/>
              <a:gd name="T26" fmla="*/ 14 w 813"/>
              <a:gd name="T27" fmla="*/ 26 h 312"/>
              <a:gd name="T28" fmla="*/ 19 w 813"/>
              <a:gd name="T29" fmla="*/ 20 h 312"/>
              <a:gd name="T30" fmla="*/ 26 w 813"/>
              <a:gd name="T31" fmla="*/ 19 h 312"/>
              <a:gd name="T32" fmla="*/ 32 w 813"/>
              <a:gd name="T33" fmla="*/ 18 h 312"/>
              <a:gd name="T34" fmla="*/ 42 w 813"/>
              <a:gd name="T35" fmla="*/ 21 h 312"/>
              <a:gd name="T36" fmla="*/ 50 w 813"/>
              <a:gd name="T37" fmla="*/ 26 h 312"/>
              <a:gd name="T38" fmla="*/ 54 w 813"/>
              <a:gd name="T39" fmla="*/ 28 h 312"/>
              <a:gd name="T40" fmla="*/ 52 w 813"/>
              <a:gd name="T41" fmla="*/ 31 h 312"/>
              <a:gd name="T42" fmla="*/ 57 w 813"/>
              <a:gd name="T43" fmla="*/ 34 h 312"/>
              <a:gd name="T44" fmla="*/ 67 w 813"/>
              <a:gd name="T45" fmla="*/ 35 h 312"/>
              <a:gd name="T46" fmla="*/ 73 w 813"/>
              <a:gd name="T47" fmla="*/ 32 h 312"/>
              <a:gd name="T48" fmla="*/ 81 w 813"/>
              <a:gd name="T49" fmla="*/ 28 h 312"/>
              <a:gd name="T50" fmla="*/ 94 w 813"/>
              <a:gd name="T51" fmla="*/ 23 h 312"/>
              <a:gd name="T52" fmla="*/ 99 w 813"/>
              <a:gd name="T53" fmla="*/ 19 h 312"/>
              <a:gd name="T54" fmla="*/ 106 w 813"/>
              <a:gd name="T55" fmla="*/ 12 h 312"/>
              <a:gd name="T56" fmla="*/ 103 w 813"/>
              <a:gd name="T57" fmla="*/ 8 h 312"/>
              <a:gd name="T58" fmla="*/ 98 w 813"/>
              <a:gd name="T59" fmla="*/ 12 h 312"/>
              <a:gd name="T60" fmla="*/ 94 w 813"/>
              <a:gd name="T61" fmla="*/ 9 h 312"/>
              <a:gd name="T62" fmla="*/ 91 w 813"/>
              <a:gd name="T63" fmla="*/ 11 h 312"/>
              <a:gd name="T64" fmla="*/ 88 w 813"/>
              <a:gd name="T65" fmla="*/ 9 h 312"/>
              <a:gd name="T66" fmla="*/ 84 w 813"/>
              <a:gd name="T67" fmla="*/ 8 h 312"/>
              <a:gd name="T68" fmla="*/ 81 w 813"/>
              <a:gd name="T69" fmla="*/ 5 h 312"/>
              <a:gd name="T70" fmla="*/ 76 w 813"/>
              <a:gd name="T71" fmla="*/ 3 h 312"/>
              <a:gd name="T72" fmla="*/ 75 w 813"/>
              <a:gd name="T73" fmla="*/ 6 h 312"/>
              <a:gd name="T74" fmla="*/ 72 w 813"/>
              <a:gd name="T75" fmla="*/ 9 h 312"/>
              <a:gd name="T76" fmla="*/ 69 w 813"/>
              <a:gd name="T77" fmla="*/ 11 h 312"/>
              <a:gd name="T78" fmla="*/ 60 w 813"/>
              <a:gd name="T79" fmla="*/ 13 h 312"/>
              <a:gd name="T80" fmla="*/ 56 w 813"/>
              <a:gd name="T81" fmla="*/ 12 h 312"/>
              <a:gd name="T82" fmla="*/ 52 w 813"/>
              <a:gd name="T83" fmla="*/ 13 h 31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13"/>
              <a:gd name="T127" fmla="*/ 0 h 312"/>
              <a:gd name="T128" fmla="*/ 813 w 813"/>
              <a:gd name="T129" fmla="*/ 312 h 31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13" h="312">
                <a:moveTo>
                  <a:pt x="368" y="115"/>
                </a:moveTo>
                <a:lnTo>
                  <a:pt x="356" y="92"/>
                </a:lnTo>
                <a:lnTo>
                  <a:pt x="343" y="78"/>
                </a:lnTo>
                <a:lnTo>
                  <a:pt x="336" y="68"/>
                </a:lnTo>
                <a:lnTo>
                  <a:pt x="298" y="53"/>
                </a:lnTo>
                <a:lnTo>
                  <a:pt x="268" y="38"/>
                </a:lnTo>
                <a:lnTo>
                  <a:pt x="238" y="28"/>
                </a:lnTo>
                <a:lnTo>
                  <a:pt x="221" y="30"/>
                </a:lnTo>
                <a:lnTo>
                  <a:pt x="201" y="10"/>
                </a:lnTo>
                <a:lnTo>
                  <a:pt x="186" y="7"/>
                </a:lnTo>
                <a:lnTo>
                  <a:pt x="176" y="0"/>
                </a:lnTo>
                <a:lnTo>
                  <a:pt x="113" y="0"/>
                </a:lnTo>
                <a:lnTo>
                  <a:pt x="110" y="10"/>
                </a:lnTo>
                <a:lnTo>
                  <a:pt x="83" y="8"/>
                </a:lnTo>
                <a:lnTo>
                  <a:pt x="66" y="32"/>
                </a:lnTo>
                <a:lnTo>
                  <a:pt x="36" y="32"/>
                </a:lnTo>
                <a:lnTo>
                  <a:pt x="25" y="45"/>
                </a:lnTo>
                <a:lnTo>
                  <a:pt x="8" y="68"/>
                </a:lnTo>
                <a:lnTo>
                  <a:pt x="15" y="102"/>
                </a:lnTo>
                <a:lnTo>
                  <a:pt x="26" y="108"/>
                </a:lnTo>
                <a:lnTo>
                  <a:pt x="0" y="120"/>
                </a:lnTo>
                <a:lnTo>
                  <a:pt x="5" y="153"/>
                </a:lnTo>
                <a:lnTo>
                  <a:pt x="15" y="167"/>
                </a:lnTo>
                <a:lnTo>
                  <a:pt x="36" y="207"/>
                </a:lnTo>
                <a:lnTo>
                  <a:pt x="41" y="220"/>
                </a:lnTo>
                <a:lnTo>
                  <a:pt x="63" y="237"/>
                </a:lnTo>
                <a:lnTo>
                  <a:pt x="91" y="242"/>
                </a:lnTo>
                <a:lnTo>
                  <a:pt x="111" y="232"/>
                </a:lnTo>
                <a:lnTo>
                  <a:pt x="141" y="232"/>
                </a:lnTo>
                <a:lnTo>
                  <a:pt x="140" y="178"/>
                </a:lnTo>
                <a:lnTo>
                  <a:pt x="163" y="165"/>
                </a:lnTo>
                <a:lnTo>
                  <a:pt x="203" y="170"/>
                </a:lnTo>
                <a:lnTo>
                  <a:pt x="223" y="155"/>
                </a:lnTo>
                <a:lnTo>
                  <a:pt x="246" y="157"/>
                </a:lnTo>
                <a:lnTo>
                  <a:pt x="253" y="170"/>
                </a:lnTo>
                <a:lnTo>
                  <a:pt x="315" y="190"/>
                </a:lnTo>
                <a:lnTo>
                  <a:pt x="373" y="207"/>
                </a:lnTo>
                <a:lnTo>
                  <a:pt x="381" y="222"/>
                </a:lnTo>
                <a:lnTo>
                  <a:pt x="408" y="227"/>
                </a:lnTo>
                <a:lnTo>
                  <a:pt x="410" y="252"/>
                </a:lnTo>
                <a:lnTo>
                  <a:pt x="396" y="263"/>
                </a:lnTo>
                <a:lnTo>
                  <a:pt x="401" y="278"/>
                </a:lnTo>
                <a:lnTo>
                  <a:pt x="410" y="287"/>
                </a:lnTo>
                <a:lnTo>
                  <a:pt x="435" y="298"/>
                </a:lnTo>
                <a:lnTo>
                  <a:pt x="490" y="298"/>
                </a:lnTo>
                <a:lnTo>
                  <a:pt x="511" y="312"/>
                </a:lnTo>
                <a:lnTo>
                  <a:pt x="533" y="292"/>
                </a:lnTo>
                <a:lnTo>
                  <a:pt x="561" y="282"/>
                </a:lnTo>
                <a:lnTo>
                  <a:pt x="590" y="272"/>
                </a:lnTo>
                <a:lnTo>
                  <a:pt x="616" y="247"/>
                </a:lnTo>
                <a:lnTo>
                  <a:pt x="675" y="243"/>
                </a:lnTo>
                <a:lnTo>
                  <a:pt x="715" y="205"/>
                </a:lnTo>
                <a:lnTo>
                  <a:pt x="748" y="188"/>
                </a:lnTo>
                <a:lnTo>
                  <a:pt x="753" y="165"/>
                </a:lnTo>
                <a:lnTo>
                  <a:pt x="770" y="160"/>
                </a:lnTo>
                <a:lnTo>
                  <a:pt x="811" y="110"/>
                </a:lnTo>
                <a:lnTo>
                  <a:pt x="813" y="82"/>
                </a:lnTo>
                <a:lnTo>
                  <a:pt x="791" y="72"/>
                </a:lnTo>
                <a:lnTo>
                  <a:pt x="791" y="105"/>
                </a:lnTo>
                <a:lnTo>
                  <a:pt x="750" y="107"/>
                </a:lnTo>
                <a:lnTo>
                  <a:pt x="743" y="80"/>
                </a:lnTo>
                <a:lnTo>
                  <a:pt x="721" y="82"/>
                </a:lnTo>
                <a:lnTo>
                  <a:pt x="715" y="102"/>
                </a:lnTo>
                <a:lnTo>
                  <a:pt x="696" y="95"/>
                </a:lnTo>
                <a:lnTo>
                  <a:pt x="678" y="82"/>
                </a:lnTo>
                <a:lnTo>
                  <a:pt x="668" y="83"/>
                </a:lnTo>
                <a:lnTo>
                  <a:pt x="650" y="75"/>
                </a:lnTo>
                <a:lnTo>
                  <a:pt x="638" y="70"/>
                </a:lnTo>
                <a:lnTo>
                  <a:pt x="640" y="55"/>
                </a:lnTo>
                <a:lnTo>
                  <a:pt x="620" y="38"/>
                </a:lnTo>
                <a:lnTo>
                  <a:pt x="611" y="18"/>
                </a:lnTo>
                <a:lnTo>
                  <a:pt x="581" y="22"/>
                </a:lnTo>
                <a:lnTo>
                  <a:pt x="580" y="43"/>
                </a:lnTo>
                <a:lnTo>
                  <a:pt x="571" y="53"/>
                </a:lnTo>
                <a:lnTo>
                  <a:pt x="573" y="72"/>
                </a:lnTo>
                <a:lnTo>
                  <a:pt x="553" y="80"/>
                </a:lnTo>
                <a:lnTo>
                  <a:pt x="535" y="82"/>
                </a:lnTo>
                <a:lnTo>
                  <a:pt x="528" y="98"/>
                </a:lnTo>
                <a:lnTo>
                  <a:pt x="473" y="100"/>
                </a:lnTo>
                <a:lnTo>
                  <a:pt x="460" y="113"/>
                </a:lnTo>
                <a:lnTo>
                  <a:pt x="438" y="117"/>
                </a:lnTo>
                <a:lnTo>
                  <a:pt x="426" y="102"/>
                </a:lnTo>
                <a:lnTo>
                  <a:pt x="413" y="92"/>
                </a:lnTo>
                <a:lnTo>
                  <a:pt x="398" y="115"/>
                </a:lnTo>
                <a:lnTo>
                  <a:pt x="368" y="115"/>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69" name="Freeform 23"/>
          <p:cNvSpPr>
            <a:spLocks/>
          </p:cNvSpPr>
          <p:nvPr/>
        </p:nvSpPr>
        <p:spPr bwMode="auto">
          <a:xfrm>
            <a:off x="2701385" y="4646708"/>
            <a:ext cx="863221" cy="388325"/>
          </a:xfrm>
          <a:custGeom>
            <a:avLst/>
            <a:gdLst>
              <a:gd name="T0" fmla="*/ 96 w 785"/>
              <a:gd name="T1" fmla="*/ 30 h 355"/>
              <a:gd name="T2" fmla="*/ 81 w 785"/>
              <a:gd name="T3" fmla="*/ 25 h 355"/>
              <a:gd name="T4" fmla="*/ 75 w 785"/>
              <a:gd name="T5" fmla="*/ 19 h 355"/>
              <a:gd name="T6" fmla="*/ 67 w 785"/>
              <a:gd name="T7" fmla="*/ 15 h 355"/>
              <a:gd name="T8" fmla="*/ 61 w 785"/>
              <a:gd name="T9" fmla="*/ 13 h 355"/>
              <a:gd name="T10" fmla="*/ 42 w 785"/>
              <a:gd name="T11" fmla="*/ 13 h 355"/>
              <a:gd name="T12" fmla="*/ 31 w 785"/>
              <a:gd name="T13" fmla="*/ 13 h 355"/>
              <a:gd name="T14" fmla="*/ 28 w 785"/>
              <a:gd name="T15" fmla="*/ 9 h 355"/>
              <a:gd name="T16" fmla="*/ 27 w 785"/>
              <a:gd name="T17" fmla="*/ 5 h 355"/>
              <a:gd name="T18" fmla="*/ 34 w 785"/>
              <a:gd name="T19" fmla="*/ 8 h 355"/>
              <a:gd name="T20" fmla="*/ 43 w 785"/>
              <a:gd name="T21" fmla="*/ 9 h 355"/>
              <a:gd name="T22" fmla="*/ 52 w 785"/>
              <a:gd name="T23" fmla="*/ 8 h 355"/>
              <a:gd name="T24" fmla="*/ 56 w 785"/>
              <a:gd name="T25" fmla="*/ 7 h 355"/>
              <a:gd name="T26" fmla="*/ 49 w 785"/>
              <a:gd name="T27" fmla="*/ 0 h 355"/>
              <a:gd name="T28" fmla="*/ 43 w 785"/>
              <a:gd name="T29" fmla="*/ 1 h 355"/>
              <a:gd name="T30" fmla="*/ 38 w 785"/>
              <a:gd name="T31" fmla="*/ 5 h 355"/>
              <a:gd name="T32" fmla="*/ 22 w 785"/>
              <a:gd name="T33" fmla="*/ 3 h 355"/>
              <a:gd name="T34" fmla="*/ 17 w 785"/>
              <a:gd name="T35" fmla="*/ 2 h 355"/>
              <a:gd name="T36" fmla="*/ 12 w 785"/>
              <a:gd name="T37" fmla="*/ 5 h 355"/>
              <a:gd name="T38" fmla="*/ 0 w 785"/>
              <a:gd name="T39" fmla="*/ 12 h 355"/>
              <a:gd name="T40" fmla="*/ 6 w 785"/>
              <a:gd name="T41" fmla="*/ 19 h 355"/>
              <a:gd name="T42" fmla="*/ 11 w 785"/>
              <a:gd name="T43" fmla="*/ 24 h 355"/>
              <a:gd name="T44" fmla="*/ 14 w 785"/>
              <a:gd name="T45" fmla="*/ 28 h 355"/>
              <a:gd name="T46" fmla="*/ 20 w 785"/>
              <a:gd name="T47" fmla="*/ 29 h 355"/>
              <a:gd name="T48" fmla="*/ 30 w 785"/>
              <a:gd name="T49" fmla="*/ 25 h 355"/>
              <a:gd name="T50" fmla="*/ 33 w 785"/>
              <a:gd name="T51" fmla="*/ 32 h 355"/>
              <a:gd name="T52" fmla="*/ 39 w 785"/>
              <a:gd name="T53" fmla="*/ 33 h 355"/>
              <a:gd name="T54" fmla="*/ 40 w 785"/>
              <a:gd name="T55" fmla="*/ 36 h 355"/>
              <a:gd name="T56" fmla="*/ 46 w 785"/>
              <a:gd name="T57" fmla="*/ 38 h 355"/>
              <a:gd name="T58" fmla="*/ 52 w 785"/>
              <a:gd name="T59" fmla="*/ 39 h 355"/>
              <a:gd name="T60" fmla="*/ 57 w 785"/>
              <a:gd name="T61" fmla="*/ 37 h 355"/>
              <a:gd name="T62" fmla="*/ 58 w 785"/>
              <a:gd name="T63" fmla="*/ 33 h 355"/>
              <a:gd name="T64" fmla="*/ 62 w 785"/>
              <a:gd name="T65" fmla="*/ 27 h 355"/>
              <a:gd name="T66" fmla="*/ 67 w 785"/>
              <a:gd name="T67" fmla="*/ 28 h 355"/>
              <a:gd name="T68" fmla="*/ 78 w 785"/>
              <a:gd name="T69" fmla="*/ 35 h 355"/>
              <a:gd name="T70" fmla="*/ 86 w 785"/>
              <a:gd name="T71" fmla="*/ 37 h 355"/>
              <a:gd name="T72" fmla="*/ 92 w 785"/>
              <a:gd name="T73" fmla="*/ 36 h 355"/>
              <a:gd name="T74" fmla="*/ 98 w 785"/>
              <a:gd name="T75" fmla="*/ 35 h 355"/>
              <a:gd name="T76" fmla="*/ 100 w 785"/>
              <a:gd name="T77" fmla="*/ 39 h 355"/>
              <a:gd name="T78" fmla="*/ 102 w 785"/>
              <a:gd name="T79" fmla="*/ 42 h 355"/>
              <a:gd name="T80" fmla="*/ 102 w 785"/>
              <a:gd name="T81" fmla="*/ 35 h 355"/>
              <a:gd name="T82" fmla="*/ 101 w 785"/>
              <a:gd name="T83" fmla="*/ 31 h 35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85"/>
              <a:gd name="T127" fmla="*/ 0 h 355"/>
              <a:gd name="T128" fmla="*/ 785 w 785"/>
              <a:gd name="T129" fmla="*/ 355 h 35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85" h="355">
                <a:moveTo>
                  <a:pt x="740" y="258"/>
                </a:moveTo>
                <a:cubicBezTo>
                  <a:pt x="737" y="258"/>
                  <a:pt x="733" y="258"/>
                  <a:pt x="730" y="258"/>
                </a:cubicBezTo>
                <a:lnTo>
                  <a:pt x="635" y="252"/>
                </a:lnTo>
                <a:lnTo>
                  <a:pt x="615" y="207"/>
                </a:lnTo>
                <a:lnTo>
                  <a:pt x="580" y="180"/>
                </a:lnTo>
                <a:lnTo>
                  <a:pt x="568" y="163"/>
                </a:lnTo>
                <a:lnTo>
                  <a:pt x="527" y="138"/>
                </a:lnTo>
                <a:lnTo>
                  <a:pt x="507" y="130"/>
                </a:lnTo>
                <a:lnTo>
                  <a:pt x="492" y="118"/>
                </a:lnTo>
                <a:lnTo>
                  <a:pt x="462" y="117"/>
                </a:lnTo>
                <a:lnTo>
                  <a:pt x="440" y="97"/>
                </a:lnTo>
                <a:lnTo>
                  <a:pt x="323" y="112"/>
                </a:lnTo>
                <a:lnTo>
                  <a:pt x="272" y="133"/>
                </a:lnTo>
                <a:lnTo>
                  <a:pt x="237" y="112"/>
                </a:lnTo>
                <a:lnTo>
                  <a:pt x="225" y="102"/>
                </a:lnTo>
                <a:lnTo>
                  <a:pt x="210" y="80"/>
                </a:lnTo>
                <a:lnTo>
                  <a:pt x="193" y="72"/>
                </a:lnTo>
                <a:lnTo>
                  <a:pt x="203" y="43"/>
                </a:lnTo>
                <a:lnTo>
                  <a:pt x="233" y="43"/>
                </a:lnTo>
                <a:lnTo>
                  <a:pt x="263" y="68"/>
                </a:lnTo>
                <a:lnTo>
                  <a:pt x="273" y="85"/>
                </a:lnTo>
                <a:lnTo>
                  <a:pt x="327" y="80"/>
                </a:lnTo>
                <a:lnTo>
                  <a:pt x="343" y="72"/>
                </a:lnTo>
                <a:lnTo>
                  <a:pt x="393" y="70"/>
                </a:lnTo>
                <a:lnTo>
                  <a:pt x="398" y="60"/>
                </a:lnTo>
                <a:lnTo>
                  <a:pt x="423" y="60"/>
                </a:lnTo>
                <a:lnTo>
                  <a:pt x="415" y="2"/>
                </a:lnTo>
                <a:lnTo>
                  <a:pt x="373" y="0"/>
                </a:lnTo>
                <a:lnTo>
                  <a:pt x="353" y="13"/>
                </a:lnTo>
                <a:lnTo>
                  <a:pt x="328" y="12"/>
                </a:lnTo>
                <a:lnTo>
                  <a:pt x="302" y="33"/>
                </a:lnTo>
                <a:lnTo>
                  <a:pt x="290" y="37"/>
                </a:lnTo>
                <a:lnTo>
                  <a:pt x="277" y="22"/>
                </a:lnTo>
                <a:lnTo>
                  <a:pt x="170" y="25"/>
                </a:lnTo>
                <a:lnTo>
                  <a:pt x="137" y="30"/>
                </a:lnTo>
                <a:lnTo>
                  <a:pt x="127" y="20"/>
                </a:lnTo>
                <a:lnTo>
                  <a:pt x="98" y="23"/>
                </a:lnTo>
                <a:lnTo>
                  <a:pt x="92" y="42"/>
                </a:lnTo>
                <a:lnTo>
                  <a:pt x="60" y="47"/>
                </a:lnTo>
                <a:lnTo>
                  <a:pt x="0" y="102"/>
                </a:lnTo>
                <a:lnTo>
                  <a:pt x="17" y="147"/>
                </a:lnTo>
                <a:lnTo>
                  <a:pt x="47" y="162"/>
                </a:lnTo>
                <a:lnTo>
                  <a:pt x="57" y="180"/>
                </a:lnTo>
                <a:lnTo>
                  <a:pt x="83" y="203"/>
                </a:lnTo>
                <a:lnTo>
                  <a:pt x="87" y="225"/>
                </a:lnTo>
                <a:lnTo>
                  <a:pt x="110" y="233"/>
                </a:lnTo>
                <a:lnTo>
                  <a:pt x="135" y="232"/>
                </a:lnTo>
                <a:lnTo>
                  <a:pt x="148" y="243"/>
                </a:lnTo>
                <a:lnTo>
                  <a:pt x="193" y="235"/>
                </a:lnTo>
                <a:lnTo>
                  <a:pt x="222" y="212"/>
                </a:lnTo>
                <a:lnTo>
                  <a:pt x="238" y="225"/>
                </a:lnTo>
                <a:lnTo>
                  <a:pt x="248" y="275"/>
                </a:lnTo>
                <a:lnTo>
                  <a:pt x="287" y="302"/>
                </a:lnTo>
                <a:lnTo>
                  <a:pt x="298" y="283"/>
                </a:lnTo>
                <a:lnTo>
                  <a:pt x="307" y="288"/>
                </a:lnTo>
                <a:lnTo>
                  <a:pt x="305" y="307"/>
                </a:lnTo>
                <a:lnTo>
                  <a:pt x="320" y="318"/>
                </a:lnTo>
                <a:lnTo>
                  <a:pt x="350" y="323"/>
                </a:lnTo>
                <a:lnTo>
                  <a:pt x="357" y="332"/>
                </a:lnTo>
                <a:lnTo>
                  <a:pt x="395" y="328"/>
                </a:lnTo>
                <a:lnTo>
                  <a:pt x="392" y="318"/>
                </a:lnTo>
                <a:lnTo>
                  <a:pt x="432" y="317"/>
                </a:lnTo>
                <a:lnTo>
                  <a:pt x="438" y="295"/>
                </a:lnTo>
                <a:lnTo>
                  <a:pt x="445" y="283"/>
                </a:lnTo>
                <a:lnTo>
                  <a:pt x="450" y="233"/>
                </a:lnTo>
                <a:lnTo>
                  <a:pt x="472" y="228"/>
                </a:lnTo>
                <a:lnTo>
                  <a:pt x="485" y="218"/>
                </a:lnTo>
                <a:lnTo>
                  <a:pt x="513" y="232"/>
                </a:lnTo>
                <a:lnTo>
                  <a:pt x="570" y="268"/>
                </a:lnTo>
                <a:lnTo>
                  <a:pt x="592" y="300"/>
                </a:lnTo>
                <a:lnTo>
                  <a:pt x="627" y="297"/>
                </a:lnTo>
                <a:lnTo>
                  <a:pt x="652" y="320"/>
                </a:lnTo>
                <a:lnTo>
                  <a:pt x="682" y="318"/>
                </a:lnTo>
                <a:lnTo>
                  <a:pt x="697" y="307"/>
                </a:lnTo>
                <a:lnTo>
                  <a:pt x="723" y="307"/>
                </a:lnTo>
                <a:lnTo>
                  <a:pt x="740" y="297"/>
                </a:lnTo>
                <a:lnTo>
                  <a:pt x="752" y="300"/>
                </a:lnTo>
                <a:lnTo>
                  <a:pt x="760" y="332"/>
                </a:lnTo>
                <a:lnTo>
                  <a:pt x="768" y="342"/>
                </a:lnTo>
                <a:lnTo>
                  <a:pt x="772" y="355"/>
                </a:lnTo>
                <a:lnTo>
                  <a:pt x="778" y="332"/>
                </a:lnTo>
                <a:lnTo>
                  <a:pt x="777" y="297"/>
                </a:lnTo>
                <a:lnTo>
                  <a:pt x="785" y="285"/>
                </a:lnTo>
                <a:lnTo>
                  <a:pt x="768" y="263"/>
                </a:lnTo>
                <a:lnTo>
                  <a:pt x="740" y="258"/>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70" name="Freeform 24"/>
          <p:cNvSpPr>
            <a:spLocks/>
          </p:cNvSpPr>
          <p:nvPr/>
        </p:nvSpPr>
        <p:spPr bwMode="auto">
          <a:xfrm>
            <a:off x="2978783" y="4439477"/>
            <a:ext cx="423398" cy="199763"/>
          </a:xfrm>
          <a:custGeom>
            <a:avLst/>
            <a:gdLst>
              <a:gd name="T0" fmla="*/ 33 w 385"/>
              <a:gd name="T1" fmla="*/ 2 h 185"/>
              <a:gd name="T2" fmla="*/ 24 w 385"/>
              <a:gd name="T3" fmla="*/ 1 h 185"/>
              <a:gd name="T4" fmla="*/ 21 w 385"/>
              <a:gd name="T5" fmla="*/ 0 h 185"/>
              <a:gd name="T6" fmla="*/ 10 w 385"/>
              <a:gd name="T7" fmla="*/ 1 h 185"/>
              <a:gd name="T8" fmla="*/ 6 w 385"/>
              <a:gd name="T9" fmla="*/ 2 h 185"/>
              <a:gd name="T10" fmla="*/ 2 w 385"/>
              <a:gd name="T11" fmla="*/ 3 h 185"/>
              <a:gd name="T12" fmla="*/ 0 w 385"/>
              <a:gd name="T13" fmla="*/ 4 h 185"/>
              <a:gd name="T14" fmla="*/ 0 w 385"/>
              <a:gd name="T15" fmla="*/ 6 h 185"/>
              <a:gd name="T16" fmla="*/ 1 w 385"/>
              <a:gd name="T17" fmla="*/ 8 h 185"/>
              <a:gd name="T18" fmla="*/ 4 w 385"/>
              <a:gd name="T19" fmla="*/ 9 h 185"/>
              <a:gd name="T20" fmla="*/ 6 w 385"/>
              <a:gd name="T21" fmla="*/ 10 h 185"/>
              <a:gd name="T22" fmla="*/ 8 w 385"/>
              <a:gd name="T23" fmla="*/ 8 h 185"/>
              <a:gd name="T24" fmla="*/ 21 w 385"/>
              <a:gd name="T25" fmla="*/ 8 h 185"/>
              <a:gd name="T26" fmla="*/ 22 w 385"/>
              <a:gd name="T27" fmla="*/ 10 h 185"/>
              <a:gd name="T28" fmla="*/ 24 w 385"/>
              <a:gd name="T29" fmla="*/ 10 h 185"/>
              <a:gd name="T30" fmla="*/ 25 w 385"/>
              <a:gd name="T31" fmla="*/ 13 h 185"/>
              <a:gd name="T32" fmla="*/ 27 w 385"/>
              <a:gd name="T33" fmla="*/ 15 h 185"/>
              <a:gd name="T34" fmla="*/ 27 w 385"/>
              <a:gd name="T35" fmla="*/ 16 h 185"/>
              <a:gd name="T36" fmla="*/ 32 w 385"/>
              <a:gd name="T37" fmla="*/ 16 h 185"/>
              <a:gd name="T38" fmla="*/ 35 w 385"/>
              <a:gd name="T39" fmla="*/ 18 h 185"/>
              <a:gd name="T40" fmla="*/ 37 w 385"/>
              <a:gd name="T41" fmla="*/ 21 h 185"/>
              <a:gd name="T42" fmla="*/ 40 w 385"/>
              <a:gd name="T43" fmla="*/ 20 h 185"/>
              <a:gd name="T44" fmla="*/ 40 w 385"/>
              <a:gd name="T45" fmla="*/ 18 h 185"/>
              <a:gd name="T46" fmla="*/ 47 w 385"/>
              <a:gd name="T47" fmla="*/ 18 h 185"/>
              <a:gd name="T48" fmla="*/ 49 w 385"/>
              <a:gd name="T49" fmla="*/ 16 h 185"/>
              <a:gd name="T50" fmla="*/ 49 w 385"/>
              <a:gd name="T51" fmla="*/ 14 h 185"/>
              <a:gd name="T52" fmla="*/ 51 w 385"/>
              <a:gd name="T53" fmla="*/ 14 h 185"/>
              <a:gd name="T54" fmla="*/ 48 w 385"/>
              <a:gd name="T55" fmla="*/ 12 h 185"/>
              <a:gd name="T56" fmla="*/ 48 w 385"/>
              <a:gd name="T57" fmla="*/ 10 h 185"/>
              <a:gd name="T58" fmla="*/ 41 w 385"/>
              <a:gd name="T59" fmla="*/ 10 h 185"/>
              <a:gd name="T60" fmla="*/ 40 w 385"/>
              <a:gd name="T61" fmla="*/ 7 h 185"/>
              <a:gd name="T62" fmla="*/ 37 w 385"/>
              <a:gd name="T63" fmla="*/ 5 h 185"/>
              <a:gd name="T64" fmla="*/ 34 w 385"/>
              <a:gd name="T65" fmla="*/ 5 h 185"/>
              <a:gd name="T66" fmla="*/ 34 w 385"/>
              <a:gd name="T67" fmla="*/ 3 h 185"/>
              <a:gd name="T68" fmla="*/ 33 w 385"/>
              <a:gd name="T69" fmla="*/ 2 h 18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5"/>
              <a:gd name="T106" fmla="*/ 0 h 185"/>
              <a:gd name="T107" fmla="*/ 385 w 385"/>
              <a:gd name="T108" fmla="*/ 185 h 18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5" h="185">
                <a:moveTo>
                  <a:pt x="245" y="14"/>
                </a:moveTo>
                <a:lnTo>
                  <a:pt x="184" y="9"/>
                </a:lnTo>
                <a:lnTo>
                  <a:pt x="159" y="0"/>
                </a:lnTo>
                <a:lnTo>
                  <a:pt x="74" y="2"/>
                </a:lnTo>
                <a:lnTo>
                  <a:pt x="45" y="15"/>
                </a:lnTo>
                <a:lnTo>
                  <a:pt x="20" y="25"/>
                </a:lnTo>
                <a:lnTo>
                  <a:pt x="0" y="34"/>
                </a:lnTo>
                <a:lnTo>
                  <a:pt x="0" y="50"/>
                </a:lnTo>
                <a:lnTo>
                  <a:pt x="5" y="72"/>
                </a:lnTo>
                <a:lnTo>
                  <a:pt x="29" y="79"/>
                </a:lnTo>
                <a:lnTo>
                  <a:pt x="45" y="89"/>
                </a:lnTo>
                <a:lnTo>
                  <a:pt x="64" y="74"/>
                </a:lnTo>
                <a:lnTo>
                  <a:pt x="160" y="75"/>
                </a:lnTo>
                <a:lnTo>
                  <a:pt x="170" y="89"/>
                </a:lnTo>
                <a:lnTo>
                  <a:pt x="185" y="92"/>
                </a:lnTo>
                <a:lnTo>
                  <a:pt x="187" y="117"/>
                </a:lnTo>
                <a:lnTo>
                  <a:pt x="204" y="134"/>
                </a:lnTo>
                <a:lnTo>
                  <a:pt x="200" y="145"/>
                </a:lnTo>
                <a:lnTo>
                  <a:pt x="242" y="147"/>
                </a:lnTo>
                <a:lnTo>
                  <a:pt x="264" y="162"/>
                </a:lnTo>
                <a:lnTo>
                  <a:pt x="282" y="185"/>
                </a:lnTo>
                <a:lnTo>
                  <a:pt x="300" y="175"/>
                </a:lnTo>
                <a:lnTo>
                  <a:pt x="304" y="157"/>
                </a:lnTo>
                <a:lnTo>
                  <a:pt x="355" y="159"/>
                </a:lnTo>
                <a:lnTo>
                  <a:pt x="374" y="140"/>
                </a:lnTo>
                <a:lnTo>
                  <a:pt x="374" y="127"/>
                </a:lnTo>
                <a:lnTo>
                  <a:pt x="385" y="124"/>
                </a:lnTo>
                <a:lnTo>
                  <a:pt x="365" y="107"/>
                </a:lnTo>
                <a:lnTo>
                  <a:pt x="362" y="87"/>
                </a:lnTo>
                <a:lnTo>
                  <a:pt x="310" y="87"/>
                </a:lnTo>
                <a:lnTo>
                  <a:pt x="304" y="62"/>
                </a:lnTo>
                <a:lnTo>
                  <a:pt x="277" y="44"/>
                </a:lnTo>
                <a:lnTo>
                  <a:pt x="260" y="44"/>
                </a:lnTo>
                <a:lnTo>
                  <a:pt x="260" y="24"/>
                </a:lnTo>
                <a:lnTo>
                  <a:pt x="245" y="14"/>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71" name="Freeform 25"/>
          <p:cNvSpPr>
            <a:spLocks/>
          </p:cNvSpPr>
          <p:nvPr/>
        </p:nvSpPr>
        <p:spPr bwMode="auto">
          <a:xfrm>
            <a:off x="3153982" y="4275186"/>
            <a:ext cx="483623" cy="278175"/>
          </a:xfrm>
          <a:custGeom>
            <a:avLst/>
            <a:gdLst>
              <a:gd name="T0" fmla="*/ 0 w 441"/>
              <a:gd name="T1" fmla="*/ 7 h 256"/>
              <a:gd name="T2" fmla="*/ 8 w 441"/>
              <a:gd name="T3" fmla="*/ 8 h 256"/>
              <a:gd name="T4" fmla="*/ 10 w 441"/>
              <a:gd name="T5" fmla="*/ 5 h 256"/>
              <a:gd name="T6" fmla="*/ 17 w 441"/>
              <a:gd name="T7" fmla="*/ 5 h 256"/>
              <a:gd name="T8" fmla="*/ 17 w 441"/>
              <a:gd name="T9" fmla="*/ 8 h 256"/>
              <a:gd name="T10" fmla="*/ 20 w 441"/>
              <a:gd name="T11" fmla="*/ 10 h 256"/>
              <a:gd name="T12" fmla="*/ 20 w 441"/>
              <a:gd name="T13" fmla="*/ 14 h 256"/>
              <a:gd name="T14" fmla="*/ 22 w 441"/>
              <a:gd name="T15" fmla="*/ 16 h 256"/>
              <a:gd name="T16" fmla="*/ 22 w 441"/>
              <a:gd name="T17" fmla="*/ 17 h 256"/>
              <a:gd name="T18" fmla="*/ 23 w 441"/>
              <a:gd name="T19" fmla="*/ 17 h 256"/>
              <a:gd name="T20" fmla="*/ 24 w 441"/>
              <a:gd name="T21" fmla="*/ 20 h 256"/>
              <a:gd name="T22" fmla="*/ 28 w 441"/>
              <a:gd name="T23" fmla="*/ 20 h 256"/>
              <a:gd name="T24" fmla="*/ 31 w 441"/>
              <a:gd name="T25" fmla="*/ 21 h 256"/>
              <a:gd name="T26" fmla="*/ 35 w 441"/>
              <a:gd name="T27" fmla="*/ 21 h 256"/>
              <a:gd name="T28" fmla="*/ 40 w 441"/>
              <a:gd name="T29" fmla="*/ 23 h 256"/>
              <a:gd name="T30" fmla="*/ 47 w 441"/>
              <a:gd name="T31" fmla="*/ 28 h 256"/>
              <a:gd name="T32" fmla="*/ 51 w 441"/>
              <a:gd name="T33" fmla="*/ 29 h 256"/>
              <a:gd name="T34" fmla="*/ 53 w 441"/>
              <a:gd name="T35" fmla="*/ 30 h 256"/>
              <a:gd name="T36" fmla="*/ 55 w 441"/>
              <a:gd name="T37" fmla="*/ 27 h 256"/>
              <a:gd name="T38" fmla="*/ 58 w 441"/>
              <a:gd name="T39" fmla="*/ 26 h 256"/>
              <a:gd name="T40" fmla="*/ 58 w 441"/>
              <a:gd name="T41" fmla="*/ 23 h 256"/>
              <a:gd name="T42" fmla="*/ 52 w 441"/>
              <a:gd name="T43" fmla="*/ 19 h 256"/>
              <a:gd name="T44" fmla="*/ 50 w 441"/>
              <a:gd name="T45" fmla="*/ 17 h 256"/>
              <a:gd name="T46" fmla="*/ 48 w 441"/>
              <a:gd name="T47" fmla="*/ 17 h 256"/>
              <a:gd name="T48" fmla="*/ 41 w 441"/>
              <a:gd name="T49" fmla="*/ 12 h 256"/>
              <a:gd name="T50" fmla="*/ 37 w 441"/>
              <a:gd name="T51" fmla="*/ 10 h 256"/>
              <a:gd name="T52" fmla="*/ 34 w 441"/>
              <a:gd name="T53" fmla="*/ 8 h 256"/>
              <a:gd name="T54" fmla="*/ 29 w 441"/>
              <a:gd name="T55" fmla="*/ 8 h 256"/>
              <a:gd name="T56" fmla="*/ 26 w 441"/>
              <a:gd name="T57" fmla="*/ 4 h 256"/>
              <a:gd name="T58" fmla="*/ 19 w 441"/>
              <a:gd name="T59" fmla="*/ 3 h 256"/>
              <a:gd name="T60" fmla="*/ 19 w 441"/>
              <a:gd name="T61" fmla="*/ 0 h 256"/>
              <a:gd name="T62" fmla="*/ 7 w 441"/>
              <a:gd name="T63" fmla="*/ 1 h 256"/>
              <a:gd name="T64" fmla="*/ 4 w 441"/>
              <a:gd name="T65" fmla="*/ 3 h 256"/>
              <a:gd name="T66" fmla="*/ 0 w 441"/>
              <a:gd name="T67" fmla="*/ 5 h 256"/>
              <a:gd name="T68" fmla="*/ 0 w 441"/>
              <a:gd name="T69" fmla="*/ 7 h 2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1"/>
              <a:gd name="T106" fmla="*/ 0 h 256"/>
              <a:gd name="T107" fmla="*/ 441 w 441"/>
              <a:gd name="T108" fmla="*/ 256 h 2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1" h="256">
                <a:moveTo>
                  <a:pt x="0" y="58"/>
                </a:moveTo>
                <a:lnTo>
                  <a:pt x="66" y="63"/>
                </a:lnTo>
                <a:lnTo>
                  <a:pt x="76" y="43"/>
                </a:lnTo>
                <a:lnTo>
                  <a:pt x="136" y="46"/>
                </a:lnTo>
                <a:lnTo>
                  <a:pt x="126" y="63"/>
                </a:lnTo>
                <a:lnTo>
                  <a:pt x="153" y="93"/>
                </a:lnTo>
                <a:lnTo>
                  <a:pt x="155" y="120"/>
                </a:lnTo>
                <a:lnTo>
                  <a:pt x="168" y="135"/>
                </a:lnTo>
                <a:lnTo>
                  <a:pt x="170" y="145"/>
                </a:lnTo>
                <a:lnTo>
                  <a:pt x="180" y="151"/>
                </a:lnTo>
                <a:lnTo>
                  <a:pt x="185" y="170"/>
                </a:lnTo>
                <a:lnTo>
                  <a:pt x="218" y="171"/>
                </a:lnTo>
                <a:lnTo>
                  <a:pt x="238" y="183"/>
                </a:lnTo>
                <a:lnTo>
                  <a:pt x="270" y="180"/>
                </a:lnTo>
                <a:lnTo>
                  <a:pt x="311" y="205"/>
                </a:lnTo>
                <a:lnTo>
                  <a:pt x="358" y="243"/>
                </a:lnTo>
                <a:lnTo>
                  <a:pt x="390" y="250"/>
                </a:lnTo>
                <a:lnTo>
                  <a:pt x="406" y="256"/>
                </a:lnTo>
                <a:lnTo>
                  <a:pt x="423" y="238"/>
                </a:lnTo>
                <a:lnTo>
                  <a:pt x="440" y="231"/>
                </a:lnTo>
                <a:lnTo>
                  <a:pt x="441" y="198"/>
                </a:lnTo>
                <a:lnTo>
                  <a:pt x="396" y="168"/>
                </a:lnTo>
                <a:lnTo>
                  <a:pt x="386" y="153"/>
                </a:lnTo>
                <a:lnTo>
                  <a:pt x="368" y="145"/>
                </a:lnTo>
                <a:lnTo>
                  <a:pt x="315" y="101"/>
                </a:lnTo>
                <a:lnTo>
                  <a:pt x="283" y="90"/>
                </a:lnTo>
                <a:lnTo>
                  <a:pt x="258" y="65"/>
                </a:lnTo>
                <a:lnTo>
                  <a:pt x="223" y="71"/>
                </a:lnTo>
                <a:lnTo>
                  <a:pt x="201" y="35"/>
                </a:lnTo>
                <a:lnTo>
                  <a:pt x="148" y="25"/>
                </a:lnTo>
                <a:lnTo>
                  <a:pt x="145" y="0"/>
                </a:lnTo>
                <a:lnTo>
                  <a:pt x="53" y="3"/>
                </a:lnTo>
                <a:lnTo>
                  <a:pt x="28" y="26"/>
                </a:lnTo>
                <a:lnTo>
                  <a:pt x="0" y="40"/>
                </a:lnTo>
                <a:lnTo>
                  <a:pt x="0" y="58"/>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72" name="Line 26"/>
          <p:cNvSpPr>
            <a:spLocks noChangeShapeType="1"/>
          </p:cNvSpPr>
          <p:nvPr/>
        </p:nvSpPr>
        <p:spPr bwMode="auto">
          <a:xfrm flipV="1">
            <a:off x="2945933" y="4544026"/>
            <a:ext cx="49275" cy="106416"/>
          </a:xfrm>
          <a:prstGeom prst="line">
            <a:avLst/>
          </a:pr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73" name="Line 27"/>
          <p:cNvSpPr>
            <a:spLocks noChangeShapeType="1"/>
          </p:cNvSpPr>
          <p:nvPr/>
        </p:nvSpPr>
        <p:spPr bwMode="auto">
          <a:xfrm flipV="1">
            <a:off x="3093758" y="4351731"/>
            <a:ext cx="63875" cy="72811"/>
          </a:xfrm>
          <a:prstGeom prst="line">
            <a:avLst/>
          </a:pr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74" name="Line 28"/>
          <p:cNvSpPr>
            <a:spLocks noChangeShapeType="1"/>
          </p:cNvSpPr>
          <p:nvPr/>
        </p:nvSpPr>
        <p:spPr bwMode="auto">
          <a:xfrm flipV="1">
            <a:off x="3172232" y="4613103"/>
            <a:ext cx="43800" cy="35472"/>
          </a:xfrm>
          <a:prstGeom prst="line">
            <a:avLst/>
          </a:pr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75" name="Freeform 29"/>
          <p:cNvSpPr>
            <a:spLocks/>
          </p:cNvSpPr>
          <p:nvPr/>
        </p:nvSpPr>
        <p:spPr bwMode="auto">
          <a:xfrm>
            <a:off x="3281732" y="4415207"/>
            <a:ext cx="36500" cy="56008"/>
          </a:xfrm>
          <a:custGeom>
            <a:avLst/>
            <a:gdLst>
              <a:gd name="T0" fmla="*/ 0 w 36"/>
              <a:gd name="T1" fmla="*/ 0 h 49"/>
              <a:gd name="T2" fmla="*/ 1 w 36"/>
              <a:gd name="T3" fmla="*/ 5 h 49"/>
              <a:gd name="T4" fmla="*/ 2 w 36"/>
              <a:gd name="T5" fmla="*/ 6 h 49"/>
              <a:gd name="T6" fmla="*/ 3 w 36"/>
              <a:gd name="T7" fmla="*/ 7 h 49"/>
              <a:gd name="T8" fmla="*/ 3 w 36"/>
              <a:gd name="T9" fmla="*/ 5 h 49"/>
              <a:gd name="T10" fmla="*/ 2 w 36"/>
              <a:gd name="T11" fmla="*/ 2 h 49"/>
              <a:gd name="T12" fmla="*/ 2 w 36"/>
              <a:gd name="T13" fmla="*/ 1 h 49"/>
              <a:gd name="T14" fmla="*/ 0 w 36"/>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49"/>
              <a:gd name="T26" fmla="*/ 36 w 36"/>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49">
                <a:moveTo>
                  <a:pt x="0" y="0"/>
                </a:moveTo>
                <a:lnTo>
                  <a:pt x="3" y="34"/>
                </a:lnTo>
                <a:lnTo>
                  <a:pt x="23" y="37"/>
                </a:lnTo>
                <a:lnTo>
                  <a:pt x="31" y="49"/>
                </a:lnTo>
                <a:lnTo>
                  <a:pt x="36" y="35"/>
                </a:lnTo>
                <a:lnTo>
                  <a:pt x="23" y="17"/>
                </a:lnTo>
                <a:lnTo>
                  <a:pt x="18" y="2"/>
                </a:lnTo>
                <a:lnTo>
                  <a:pt x="0" y="0"/>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76" name="Freeform 30"/>
          <p:cNvSpPr>
            <a:spLocks/>
          </p:cNvSpPr>
          <p:nvPr/>
        </p:nvSpPr>
        <p:spPr bwMode="auto">
          <a:xfrm>
            <a:off x="3422256" y="4579498"/>
            <a:ext cx="52925" cy="46674"/>
          </a:xfrm>
          <a:custGeom>
            <a:avLst/>
            <a:gdLst>
              <a:gd name="T0" fmla="*/ 0 w 50"/>
              <a:gd name="T1" fmla="*/ 1 h 42"/>
              <a:gd name="T2" fmla="*/ 2 w 50"/>
              <a:gd name="T3" fmla="*/ 5 h 42"/>
              <a:gd name="T4" fmla="*/ 6 w 50"/>
              <a:gd name="T5" fmla="*/ 5 h 42"/>
              <a:gd name="T6" fmla="*/ 6 w 50"/>
              <a:gd name="T7" fmla="*/ 3 h 42"/>
              <a:gd name="T8" fmla="*/ 3 w 50"/>
              <a:gd name="T9" fmla="*/ 2 h 42"/>
              <a:gd name="T10" fmla="*/ 3 w 50"/>
              <a:gd name="T11" fmla="*/ 0 h 42"/>
              <a:gd name="T12" fmla="*/ 0 w 50"/>
              <a:gd name="T13" fmla="*/ 1 h 42"/>
              <a:gd name="T14" fmla="*/ 0 60000 65536"/>
              <a:gd name="T15" fmla="*/ 0 60000 65536"/>
              <a:gd name="T16" fmla="*/ 0 60000 65536"/>
              <a:gd name="T17" fmla="*/ 0 60000 65536"/>
              <a:gd name="T18" fmla="*/ 0 60000 65536"/>
              <a:gd name="T19" fmla="*/ 0 60000 65536"/>
              <a:gd name="T20" fmla="*/ 0 60000 65536"/>
              <a:gd name="T21" fmla="*/ 0 w 50"/>
              <a:gd name="T22" fmla="*/ 0 h 42"/>
              <a:gd name="T23" fmla="*/ 50 w 50"/>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42">
                <a:moveTo>
                  <a:pt x="0" y="10"/>
                </a:moveTo>
                <a:lnTo>
                  <a:pt x="13" y="42"/>
                </a:lnTo>
                <a:lnTo>
                  <a:pt x="50" y="40"/>
                </a:lnTo>
                <a:lnTo>
                  <a:pt x="50" y="25"/>
                </a:lnTo>
                <a:lnTo>
                  <a:pt x="27" y="17"/>
                </a:lnTo>
                <a:lnTo>
                  <a:pt x="23" y="0"/>
                </a:lnTo>
                <a:lnTo>
                  <a:pt x="0" y="10"/>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77" name="Freeform 31"/>
          <p:cNvSpPr>
            <a:spLocks/>
          </p:cNvSpPr>
          <p:nvPr/>
        </p:nvSpPr>
        <p:spPr bwMode="auto">
          <a:xfrm>
            <a:off x="3613880" y="4418941"/>
            <a:ext cx="47450" cy="37339"/>
          </a:xfrm>
          <a:custGeom>
            <a:avLst/>
            <a:gdLst>
              <a:gd name="T0" fmla="*/ 0 w 43"/>
              <a:gd name="T1" fmla="*/ 0 h 35"/>
              <a:gd name="T2" fmla="*/ 1 w 43"/>
              <a:gd name="T3" fmla="*/ 3 h 35"/>
              <a:gd name="T4" fmla="*/ 2 w 43"/>
              <a:gd name="T5" fmla="*/ 3 h 35"/>
              <a:gd name="T6" fmla="*/ 5 w 43"/>
              <a:gd name="T7" fmla="*/ 3 h 35"/>
              <a:gd name="T8" fmla="*/ 6 w 43"/>
              <a:gd name="T9" fmla="*/ 1 h 35"/>
              <a:gd name="T10" fmla="*/ 3 w 43"/>
              <a:gd name="T11" fmla="*/ 1 h 35"/>
              <a:gd name="T12" fmla="*/ 0 w 43"/>
              <a:gd name="T13" fmla="*/ 0 h 35"/>
              <a:gd name="T14" fmla="*/ 0 60000 65536"/>
              <a:gd name="T15" fmla="*/ 0 60000 65536"/>
              <a:gd name="T16" fmla="*/ 0 60000 65536"/>
              <a:gd name="T17" fmla="*/ 0 60000 65536"/>
              <a:gd name="T18" fmla="*/ 0 60000 65536"/>
              <a:gd name="T19" fmla="*/ 0 60000 65536"/>
              <a:gd name="T20" fmla="*/ 0 60000 65536"/>
              <a:gd name="T21" fmla="*/ 0 w 43"/>
              <a:gd name="T22" fmla="*/ 0 h 35"/>
              <a:gd name="T23" fmla="*/ 43 w 43"/>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5">
                <a:moveTo>
                  <a:pt x="0" y="0"/>
                </a:moveTo>
                <a:lnTo>
                  <a:pt x="12" y="27"/>
                </a:lnTo>
                <a:lnTo>
                  <a:pt x="18" y="35"/>
                </a:lnTo>
                <a:lnTo>
                  <a:pt x="42" y="25"/>
                </a:lnTo>
                <a:lnTo>
                  <a:pt x="43" y="12"/>
                </a:lnTo>
                <a:lnTo>
                  <a:pt x="22" y="8"/>
                </a:lnTo>
                <a:lnTo>
                  <a:pt x="0" y="0"/>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78" name="Freeform 32"/>
          <p:cNvSpPr>
            <a:spLocks/>
          </p:cNvSpPr>
          <p:nvPr/>
        </p:nvSpPr>
        <p:spPr bwMode="auto">
          <a:xfrm>
            <a:off x="3305456" y="4036216"/>
            <a:ext cx="344923" cy="291244"/>
          </a:xfrm>
          <a:custGeom>
            <a:avLst/>
            <a:gdLst>
              <a:gd name="T0" fmla="*/ 1 w 312"/>
              <a:gd name="T1" fmla="*/ 1 h 265"/>
              <a:gd name="T2" fmla="*/ 0 w 312"/>
              <a:gd name="T3" fmla="*/ 5 h 265"/>
              <a:gd name="T4" fmla="*/ 1 w 312"/>
              <a:gd name="T5" fmla="*/ 6 h 265"/>
              <a:gd name="T6" fmla="*/ 2 w 312"/>
              <a:gd name="T7" fmla="*/ 11 h 265"/>
              <a:gd name="T8" fmla="*/ 5 w 312"/>
              <a:gd name="T9" fmla="*/ 14 h 265"/>
              <a:gd name="T10" fmla="*/ 5 w 312"/>
              <a:gd name="T11" fmla="*/ 19 h 265"/>
              <a:gd name="T12" fmla="*/ 7 w 312"/>
              <a:gd name="T13" fmla="*/ 22 h 265"/>
              <a:gd name="T14" fmla="*/ 8 w 312"/>
              <a:gd name="T15" fmla="*/ 24 h 265"/>
              <a:gd name="T16" fmla="*/ 9 w 312"/>
              <a:gd name="T17" fmla="*/ 24 h 265"/>
              <a:gd name="T18" fmla="*/ 13 w 312"/>
              <a:gd name="T19" fmla="*/ 26 h 265"/>
              <a:gd name="T20" fmla="*/ 16 w 312"/>
              <a:gd name="T21" fmla="*/ 26 h 265"/>
              <a:gd name="T22" fmla="*/ 19 w 312"/>
              <a:gd name="T23" fmla="*/ 28 h 265"/>
              <a:gd name="T24" fmla="*/ 22 w 312"/>
              <a:gd name="T25" fmla="*/ 28 h 265"/>
              <a:gd name="T26" fmla="*/ 24 w 312"/>
              <a:gd name="T27" fmla="*/ 30 h 265"/>
              <a:gd name="T28" fmla="*/ 27 w 312"/>
              <a:gd name="T29" fmla="*/ 30 h 265"/>
              <a:gd name="T30" fmla="*/ 30 w 312"/>
              <a:gd name="T31" fmla="*/ 32 h 265"/>
              <a:gd name="T32" fmla="*/ 31 w 312"/>
              <a:gd name="T33" fmla="*/ 31 h 265"/>
              <a:gd name="T34" fmla="*/ 32 w 312"/>
              <a:gd name="T35" fmla="*/ 29 h 265"/>
              <a:gd name="T36" fmla="*/ 35 w 312"/>
              <a:gd name="T37" fmla="*/ 28 h 265"/>
              <a:gd name="T38" fmla="*/ 39 w 312"/>
              <a:gd name="T39" fmla="*/ 26 h 265"/>
              <a:gd name="T40" fmla="*/ 41 w 312"/>
              <a:gd name="T41" fmla="*/ 26 h 265"/>
              <a:gd name="T42" fmla="*/ 41 w 312"/>
              <a:gd name="T43" fmla="*/ 24 h 265"/>
              <a:gd name="T44" fmla="*/ 42 w 312"/>
              <a:gd name="T45" fmla="*/ 22 h 265"/>
              <a:gd name="T46" fmla="*/ 37 w 312"/>
              <a:gd name="T47" fmla="*/ 22 h 265"/>
              <a:gd name="T48" fmla="*/ 33 w 312"/>
              <a:gd name="T49" fmla="*/ 21 h 265"/>
              <a:gd name="T50" fmla="*/ 32 w 312"/>
              <a:gd name="T51" fmla="*/ 19 h 265"/>
              <a:gd name="T52" fmla="*/ 28 w 312"/>
              <a:gd name="T53" fmla="*/ 19 h 265"/>
              <a:gd name="T54" fmla="*/ 28 w 312"/>
              <a:gd name="T55" fmla="*/ 17 h 265"/>
              <a:gd name="T56" fmla="*/ 23 w 312"/>
              <a:gd name="T57" fmla="*/ 14 h 265"/>
              <a:gd name="T58" fmla="*/ 19 w 312"/>
              <a:gd name="T59" fmla="*/ 12 h 265"/>
              <a:gd name="T60" fmla="*/ 18 w 312"/>
              <a:gd name="T61" fmla="*/ 11 h 265"/>
              <a:gd name="T62" fmla="*/ 13 w 312"/>
              <a:gd name="T63" fmla="*/ 11 h 265"/>
              <a:gd name="T64" fmla="*/ 11 w 312"/>
              <a:gd name="T65" fmla="*/ 9 h 265"/>
              <a:gd name="T66" fmla="*/ 11 w 312"/>
              <a:gd name="T67" fmla="*/ 5 h 265"/>
              <a:gd name="T68" fmla="*/ 9 w 312"/>
              <a:gd name="T69" fmla="*/ 5 h 265"/>
              <a:gd name="T70" fmla="*/ 8 w 312"/>
              <a:gd name="T71" fmla="*/ 4 h 265"/>
              <a:gd name="T72" fmla="*/ 7 w 312"/>
              <a:gd name="T73" fmla="*/ 5 h 265"/>
              <a:gd name="T74" fmla="*/ 5 w 312"/>
              <a:gd name="T75" fmla="*/ 5 h 265"/>
              <a:gd name="T76" fmla="*/ 4 w 312"/>
              <a:gd name="T77" fmla="*/ 0 h 265"/>
              <a:gd name="T78" fmla="*/ 1 w 312"/>
              <a:gd name="T79" fmla="*/ 1 h 26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12"/>
              <a:gd name="T121" fmla="*/ 0 h 265"/>
              <a:gd name="T122" fmla="*/ 312 w 312"/>
              <a:gd name="T123" fmla="*/ 265 h 26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12" h="265">
                <a:moveTo>
                  <a:pt x="3" y="3"/>
                </a:moveTo>
                <a:lnTo>
                  <a:pt x="0" y="48"/>
                </a:lnTo>
                <a:lnTo>
                  <a:pt x="10" y="55"/>
                </a:lnTo>
                <a:lnTo>
                  <a:pt x="15" y="87"/>
                </a:lnTo>
                <a:lnTo>
                  <a:pt x="37" y="112"/>
                </a:lnTo>
                <a:lnTo>
                  <a:pt x="38" y="162"/>
                </a:lnTo>
                <a:lnTo>
                  <a:pt x="53" y="183"/>
                </a:lnTo>
                <a:lnTo>
                  <a:pt x="60" y="195"/>
                </a:lnTo>
                <a:lnTo>
                  <a:pt x="70" y="195"/>
                </a:lnTo>
                <a:lnTo>
                  <a:pt x="95" y="222"/>
                </a:lnTo>
                <a:lnTo>
                  <a:pt x="120" y="223"/>
                </a:lnTo>
                <a:lnTo>
                  <a:pt x="140" y="233"/>
                </a:lnTo>
                <a:lnTo>
                  <a:pt x="163" y="232"/>
                </a:lnTo>
                <a:lnTo>
                  <a:pt x="177" y="248"/>
                </a:lnTo>
                <a:lnTo>
                  <a:pt x="197" y="248"/>
                </a:lnTo>
                <a:lnTo>
                  <a:pt x="220" y="265"/>
                </a:lnTo>
                <a:lnTo>
                  <a:pt x="233" y="255"/>
                </a:lnTo>
                <a:lnTo>
                  <a:pt x="240" y="245"/>
                </a:lnTo>
                <a:lnTo>
                  <a:pt x="262" y="238"/>
                </a:lnTo>
                <a:lnTo>
                  <a:pt x="285" y="218"/>
                </a:lnTo>
                <a:lnTo>
                  <a:pt x="302" y="215"/>
                </a:lnTo>
                <a:lnTo>
                  <a:pt x="307" y="200"/>
                </a:lnTo>
                <a:lnTo>
                  <a:pt x="312" y="185"/>
                </a:lnTo>
                <a:lnTo>
                  <a:pt x="273" y="182"/>
                </a:lnTo>
                <a:lnTo>
                  <a:pt x="247" y="170"/>
                </a:lnTo>
                <a:lnTo>
                  <a:pt x="237" y="160"/>
                </a:lnTo>
                <a:lnTo>
                  <a:pt x="213" y="155"/>
                </a:lnTo>
                <a:lnTo>
                  <a:pt x="213" y="145"/>
                </a:lnTo>
                <a:lnTo>
                  <a:pt x="170" y="113"/>
                </a:lnTo>
                <a:lnTo>
                  <a:pt x="145" y="103"/>
                </a:lnTo>
                <a:lnTo>
                  <a:pt x="135" y="88"/>
                </a:lnTo>
                <a:lnTo>
                  <a:pt x="98" y="88"/>
                </a:lnTo>
                <a:lnTo>
                  <a:pt x="82" y="72"/>
                </a:lnTo>
                <a:lnTo>
                  <a:pt x="82" y="47"/>
                </a:lnTo>
                <a:lnTo>
                  <a:pt x="65" y="42"/>
                </a:lnTo>
                <a:lnTo>
                  <a:pt x="60" y="33"/>
                </a:lnTo>
                <a:lnTo>
                  <a:pt x="50" y="48"/>
                </a:lnTo>
                <a:lnTo>
                  <a:pt x="37" y="38"/>
                </a:lnTo>
                <a:lnTo>
                  <a:pt x="27" y="0"/>
                </a:lnTo>
                <a:lnTo>
                  <a:pt x="3" y="3"/>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79" name="Freeform 33"/>
          <p:cNvSpPr>
            <a:spLocks/>
          </p:cNvSpPr>
          <p:nvPr/>
        </p:nvSpPr>
        <p:spPr bwMode="auto">
          <a:xfrm>
            <a:off x="3623005" y="4138898"/>
            <a:ext cx="302948" cy="153090"/>
          </a:xfrm>
          <a:custGeom>
            <a:avLst/>
            <a:gdLst>
              <a:gd name="T0" fmla="*/ 0 w 277"/>
              <a:gd name="T1" fmla="*/ 8 h 142"/>
              <a:gd name="T2" fmla="*/ 6 w 277"/>
              <a:gd name="T3" fmla="*/ 8 h 142"/>
              <a:gd name="T4" fmla="*/ 6 w 277"/>
              <a:gd name="T5" fmla="*/ 10 h 142"/>
              <a:gd name="T6" fmla="*/ 8 w 277"/>
              <a:gd name="T7" fmla="*/ 12 h 142"/>
              <a:gd name="T8" fmla="*/ 15 w 277"/>
              <a:gd name="T9" fmla="*/ 11 h 142"/>
              <a:gd name="T10" fmla="*/ 20 w 277"/>
              <a:gd name="T11" fmla="*/ 13 h 142"/>
              <a:gd name="T12" fmla="*/ 31 w 277"/>
              <a:gd name="T13" fmla="*/ 13 h 142"/>
              <a:gd name="T14" fmla="*/ 35 w 277"/>
              <a:gd name="T15" fmla="*/ 16 h 142"/>
              <a:gd name="T16" fmla="*/ 35 w 277"/>
              <a:gd name="T17" fmla="*/ 12 h 142"/>
              <a:gd name="T18" fmla="*/ 34 w 277"/>
              <a:gd name="T19" fmla="*/ 9 h 142"/>
              <a:gd name="T20" fmla="*/ 30 w 277"/>
              <a:gd name="T21" fmla="*/ 6 h 142"/>
              <a:gd name="T22" fmla="*/ 29 w 277"/>
              <a:gd name="T23" fmla="*/ 5 h 142"/>
              <a:gd name="T24" fmla="*/ 24 w 277"/>
              <a:gd name="T25" fmla="*/ 0 h 142"/>
              <a:gd name="T26" fmla="*/ 22 w 277"/>
              <a:gd name="T27" fmla="*/ 0 h 142"/>
              <a:gd name="T28" fmla="*/ 22 w 277"/>
              <a:gd name="T29" fmla="*/ 1 h 142"/>
              <a:gd name="T30" fmla="*/ 19 w 277"/>
              <a:gd name="T31" fmla="*/ 2 h 142"/>
              <a:gd name="T32" fmla="*/ 18 w 277"/>
              <a:gd name="T33" fmla="*/ 3 h 142"/>
              <a:gd name="T34" fmla="*/ 13 w 277"/>
              <a:gd name="T35" fmla="*/ 3 h 142"/>
              <a:gd name="T36" fmla="*/ 10 w 277"/>
              <a:gd name="T37" fmla="*/ 5 h 142"/>
              <a:gd name="T38" fmla="*/ 5 w 277"/>
              <a:gd name="T39" fmla="*/ 5 h 142"/>
              <a:gd name="T40" fmla="*/ 4 w 277"/>
              <a:gd name="T41" fmla="*/ 6 h 142"/>
              <a:gd name="T42" fmla="*/ 2 w 277"/>
              <a:gd name="T43" fmla="*/ 6 h 142"/>
              <a:gd name="T44" fmla="*/ 1 w 277"/>
              <a:gd name="T45" fmla="*/ 7 h 142"/>
              <a:gd name="T46" fmla="*/ 0 w 277"/>
              <a:gd name="T47" fmla="*/ 8 h 14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7"/>
              <a:gd name="T73" fmla="*/ 0 h 142"/>
              <a:gd name="T74" fmla="*/ 277 w 277"/>
              <a:gd name="T75" fmla="*/ 142 h 14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7" h="142">
                <a:moveTo>
                  <a:pt x="0" y="69"/>
                </a:moveTo>
                <a:lnTo>
                  <a:pt x="44" y="70"/>
                </a:lnTo>
                <a:lnTo>
                  <a:pt x="47" y="89"/>
                </a:lnTo>
                <a:lnTo>
                  <a:pt x="67" y="104"/>
                </a:lnTo>
                <a:lnTo>
                  <a:pt x="115" y="100"/>
                </a:lnTo>
                <a:lnTo>
                  <a:pt x="155" y="119"/>
                </a:lnTo>
                <a:lnTo>
                  <a:pt x="244" y="122"/>
                </a:lnTo>
                <a:lnTo>
                  <a:pt x="277" y="142"/>
                </a:lnTo>
                <a:lnTo>
                  <a:pt x="274" y="102"/>
                </a:lnTo>
                <a:lnTo>
                  <a:pt x="262" y="85"/>
                </a:lnTo>
                <a:lnTo>
                  <a:pt x="234" y="54"/>
                </a:lnTo>
                <a:lnTo>
                  <a:pt x="227" y="40"/>
                </a:lnTo>
                <a:lnTo>
                  <a:pt x="185" y="0"/>
                </a:lnTo>
                <a:lnTo>
                  <a:pt x="172" y="0"/>
                </a:lnTo>
                <a:lnTo>
                  <a:pt x="167" y="9"/>
                </a:lnTo>
                <a:lnTo>
                  <a:pt x="147" y="15"/>
                </a:lnTo>
                <a:lnTo>
                  <a:pt x="139" y="22"/>
                </a:lnTo>
                <a:lnTo>
                  <a:pt x="100" y="27"/>
                </a:lnTo>
                <a:lnTo>
                  <a:pt x="82" y="47"/>
                </a:lnTo>
                <a:lnTo>
                  <a:pt x="37" y="44"/>
                </a:lnTo>
                <a:lnTo>
                  <a:pt x="27" y="54"/>
                </a:lnTo>
                <a:lnTo>
                  <a:pt x="15" y="52"/>
                </a:lnTo>
                <a:lnTo>
                  <a:pt x="7" y="60"/>
                </a:lnTo>
                <a:lnTo>
                  <a:pt x="0" y="69"/>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80" name="Freeform 34"/>
          <p:cNvSpPr>
            <a:spLocks/>
          </p:cNvSpPr>
          <p:nvPr/>
        </p:nvSpPr>
        <p:spPr bwMode="auto">
          <a:xfrm>
            <a:off x="3577380" y="4278920"/>
            <a:ext cx="348573" cy="197897"/>
          </a:xfrm>
          <a:custGeom>
            <a:avLst/>
            <a:gdLst>
              <a:gd name="T0" fmla="*/ 0 w 318"/>
              <a:gd name="T1" fmla="*/ 6 h 183"/>
              <a:gd name="T2" fmla="*/ 10 w 318"/>
              <a:gd name="T3" fmla="*/ 1 h 183"/>
              <a:gd name="T4" fmla="*/ 22 w 318"/>
              <a:gd name="T5" fmla="*/ 0 h 183"/>
              <a:gd name="T6" fmla="*/ 23 w 318"/>
              <a:gd name="T7" fmla="*/ 2 h 183"/>
              <a:gd name="T8" fmla="*/ 34 w 318"/>
              <a:gd name="T9" fmla="*/ 2 h 183"/>
              <a:gd name="T10" fmla="*/ 40 w 318"/>
              <a:gd name="T11" fmla="*/ 5 h 183"/>
              <a:gd name="T12" fmla="*/ 41 w 318"/>
              <a:gd name="T13" fmla="*/ 10 h 183"/>
              <a:gd name="T14" fmla="*/ 40 w 318"/>
              <a:gd name="T15" fmla="*/ 16 h 183"/>
              <a:gd name="T16" fmla="*/ 37 w 318"/>
              <a:gd name="T17" fmla="*/ 17 h 183"/>
              <a:gd name="T18" fmla="*/ 36 w 318"/>
              <a:gd name="T19" fmla="*/ 19 h 183"/>
              <a:gd name="T20" fmla="*/ 33 w 318"/>
              <a:gd name="T21" fmla="*/ 20 h 183"/>
              <a:gd name="T22" fmla="*/ 30 w 318"/>
              <a:gd name="T23" fmla="*/ 20 h 183"/>
              <a:gd name="T24" fmla="*/ 26 w 318"/>
              <a:gd name="T25" fmla="*/ 19 h 183"/>
              <a:gd name="T26" fmla="*/ 18 w 318"/>
              <a:gd name="T27" fmla="*/ 19 h 183"/>
              <a:gd name="T28" fmla="*/ 13 w 318"/>
              <a:gd name="T29" fmla="*/ 15 h 183"/>
              <a:gd name="T30" fmla="*/ 11 w 318"/>
              <a:gd name="T31" fmla="*/ 13 h 183"/>
              <a:gd name="T32" fmla="*/ 9 w 318"/>
              <a:gd name="T33" fmla="*/ 12 h 183"/>
              <a:gd name="T34" fmla="*/ 4 w 318"/>
              <a:gd name="T35" fmla="*/ 9 h 183"/>
              <a:gd name="T36" fmla="*/ 1 w 318"/>
              <a:gd name="T37" fmla="*/ 9 h 183"/>
              <a:gd name="T38" fmla="*/ 0 w 318"/>
              <a:gd name="T39" fmla="*/ 6 h 18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8"/>
              <a:gd name="T61" fmla="*/ 0 h 183"/>
              <a:gd name="T62" fmla="*/ 318 w 318"/>
              <a:gd name="T63" fmla="*/ 183 h 18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8" h="183">
                <a:moveTo>
                  <a:pt x="0" y="56"/>
                </a:moveTo>
                <a:lnTo>
                  <a:pt x="76" y="5"/>
                </a:lnTo>
                <a:lnTo>
                  <a:pt x="168" y="0"/>
                </a:lnTo>
                <a:lnTo>
                  <a:pt x="181" y="16"/>
                </a:lnTo>
                <a:lnTo>
                  <a:pt x="263" y="13"/>
                </a:lnTo>
                <a:lnTo>
                  <a:pt x="305" y="43"/>
                </a:lnTo>
                <a:lnTo>
                  <a:pt x="318" y="93"/>
                </a:lnTo>
                <a:lnTo>
                  <a:pt x="311" y="140"/>
                </a:lnTo>
                <a:lnTo>
                  <a:pt x="283" y="155"/>
                </a:lnTo>
                <a:lnTo>
                  <a:pt x="276" y="168"/>
                </a:lnTo>
                <a:lnTo>
                  <a:pt x="253" y="173"/>
                </a:lnTo>
                <a:lnTo>
                  <a:pt x="233" y="183"/>
                </a:lnTo>
                <a:lnTo>
                  <a:pt x="203" y="165"/>
                </a:lnTo>
                <a:lnTo>
                  <a:pt x="138" y="165"/>
                </a:lnTo>
                <a:lnTo>
                  <a:pt x="101" y="135"/>
                </a:lnTo>
                <a:lnTo>
                  <a:pt x="90" y="115"/>
                </a:lnTo>
                <a:lnTo>
                  <a:pt x="68" y="111"/>
                </a:lnTo>
                <a:lnTo>
                  <a:pt x="26" y="83"/>
                </a:lnTo>
                <a:lnTo>
                  <a:pt x="8" y="83"/>
                </a:lnTo>
                <a:lnTo>
                  <a:pt x="0" y="56"/>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81" name="Freeform 35"/>
          <p:cNvSpPr>
            <a:spLocks/>
          </p:cNvSpPr>
          <p:nvPr/>
        </p:nvSpPr>
        <p:spPr bwMode="auto">
          <a:xfrm>
            <a:off x="3303631" y="4657910"/>
            <a:ext cx="213524" cy="166158"/>
          </a:xfrm>
          <a:custGeom>
            <a:avLst/>
            <a:gdLst>
              <a:gd name="T0" fmla="*/ 13 w 195"/>
              <a:gd name="T1" fmla="*/ 1 h 152"/>
              <a:gd name="T2" fmla="*/ 12 w 195"/>
              <a:gd name="T3" fmla="*/ 0 h 152"/>
              <a:gd name="T4" fmla="*/ 7 w 195"/>
              <a:gd name="T5" fmla="*/ 1 h 152"/>
              <a:gd name="T6" fmla="*/ 4 w 195"/>
              <a:gd name="T7" fmla="*/ 1 h 152"/>
              <a:gd name="T8" fmla="*/ 2 w 195"/>
              <a:gd name="T9" fmla="*/ 1 h 152"/>
              <a:gd name="T10" fmla="*/ 0 w 195"/>
              <a:gd name="T11" fmla="*/ 4 h 152"/>
              <a:gd name="T12" fmla="*/ 3 w 195"/>
              <a:gd name="T13" fmla="*/ 6 h 152"/>
              <a:gd name="T14" fmla="*/ 6 w 195"/>
              <a:gd name="T15" fmla="*/ 6 h 152"/>
              <a:gd name="T16" fmla="*/ 5 w 195"/>
              <a:gd name="T17" fmla="*/ 9 h 152"/>
              <a:gd name="T18" fmla="*/ 8 w 195"/>
              <a:gd name="T19" fmla="*/ 11 h 152"/>
              <a:gd name="T20" fmla="*/ 8 w 195"/>
              <a:gd name="T21" fmla="*/ 13 h 152"/>
              <a:gd name="T22" fmla="*/ 17 w 195"/>
              <a:gd name="T23" fmla="*/ 14 h 152"/>
              <a:gd name="T24" fmla="*/ 19 w 195"/>
              <a:gd name="T25" fmla="*/ 16 h 152"/>
              <a:gd name="T26" fmla="*/ 21 w 195"/>
              <a:gd name="T27" fmla="*/ 15 h 152"/>
              <a:gd name="T28" fmla="*/ 22 w 195"/>
              <a:gd name="T29" fmla="*/ 18 h 152"/>
              <a:gd name="T30" fmla="*/ 25 w 195"/>
              <a:gd name="T31" fmla="*/ 17 h 152"/>
              <a:gd name="T32" fmla="*/ 25 w 195"/>
              <a:gd name="T33" fmla="*/ 9 h 152"/>
              <a:gd name="T34" fmla="*/ 21 w 195"/>
              <a:gd name="T35" fmla="*/ 4 h 152"/>
              <a:gd name="T36" fmla="*/ 19 w 195"/>
              <a:gd name="T37" fmla="*/ 2 h 152"/>
              <a:gd name="T38" fmla="*/ 13 w 195"/>
              <a:gd name="T39" fmla="*/ 1 h 1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5"/>
              <a:gd name="T61" fmla="*/ 0 h 152"/>
              <a:gd name="T62" fmla="*/ 195 w 195"/>
              <a:gd name="T63" fmla="*/ 152 h 1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5" h="152">
                <a:moveTo>
                  <a:pt x="103" y="12"/>
                </a:moveTo>
                <a:lnTo>
                  <a:pt x="93" y="0"/>
                </a:lnTo>
                <a:lnTo>
                  <a:pt x="50" y="2"/>
                </a:lnTo>
                <a:lnTo>
                  <a:pt x="31" y="12"/>
                </a:lnTo>
                <a:lnTo>
                  <a:pt x="15" y="7"/>
                </a:lnTo>
                <a:lnTo>
                  <a:pt x="0" y="30"/>
                </a:lnTo>
                <a:lnTo>
                  <a:pt x="23" y="52"/>
                </a:lnTo>
                <a:lnTo>
                  <a:pt x="43" y="50"/>
                </a:lnTo>
                <a:lnTo>
                  <a:pt x="40" y="73"/>
                </a:lnTo>
                <a:lnTo>
                  <a:pt x="65" y="97"/>
                </a:lnTo>
                <a:lnTo>
                  <a:pt x="65" y="117"/>
                </a:lnTo>
                <a:lnTo>
                  <a:pt x="131" y="120"/>
                </a:lnTo>
                <a:lnTo>
                  <a:pt x="148" y="135"/>
                </a:lnTo>
                <a:lnTo>
                  <a:pt x="165" y="132"/>
                </a:lnTo>
                <a:lnTo>
                  <a:pt x="171" y="152"/>
                </a:lnTo>
                <a:lnTo>
                  <a:pt x="195" y="143"/>
                </a:lnTo>
                <a:lnTo>
                  <a:pt x="190" y="73"/>
                </a:lnTo>
                <a:lnTo>
                  <a:pt x="160" y="33"/>
                </a:lnTo>
                <a:lnTo>
                  <a:pt x="150" y="15"/>
                </a:lnTo>
                <a:lnTo>
                  <a:pt x="103" y="12"/>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82" name="Freeform 36"/>
          <p:cNvSpPr>
            <a:spLocks/>
          </p:cNvSpPr>
          <p:nvPr/>
        </p:nvSpPr>
        <p:spPr bwMode="auto">
          <a:xfrm>
            <a:off x="3929603" y="4245315"/>
            <a:ext cx="262799" cy="209098"/>
          </a:xfrm>
          <a:custGeom>
            <a:avLst/>
            <a:gdLst>
              <a:gd name="T0" fmla="*/ 2 w 240"/>
              <a:gd name="T1" fmla="*/ 6 h 192"/>
              <a:gd name="T2" fmla="*/ 3 w 240"/>
              <a:gd name="T3" fmla="*/ 13 h 192"/>
              <a:gd name="T4" fmla="*/ 5 w 240"/>
              <a:gd name="T5" fmla="*/ 16 h 192"/>
              <a:gd name="T6" fmla="*/ 2 w 240"/>
              <a:gd name="T7" fmla="*/ 19 h 192"/>
              <a:gd name="T8" fmla="*/ 0 w 240"/>
              <a:gd name="T9" fmla="*/ 21 h 192"/>
              <a:gd name="T10" fmla="*/ 1 w 240"/>
              <a:gd name="T11" fmla="*/ 22 h 192"/>
              <a:gd name="T12" fmla="*/ 5 w 240"/>
              <a:gd name="T13" fmla="*/ 19 h 192"/>
              <a:gd name="T14" fmla="*/ 5 w 240"/>
              <a:gd name="T15" fmla="*/ 18 h 192"/>
              <a:gd name="T16" fmla="*/ 7 w 240"/>
              <a:gd name="T17" fmla="*/ 17 h 192"/>
              <a:gd name="T18" fmla="*/ 8 w 240"/>
              <a:gd name="T19" fmla="*/ 21 h 192"/>
              <a:gd name="T20" fmla="*/ 11 w 240"/>
              <a:gd name="T21" fmla="*/ 18 h 192"/>
              <a:gd name="T22" fmla="*/ 13 w 240"/>
              <a:gd name="T23" fmla="*/ 17 h 192"/>
              <a:gd name="T24" fmla="*/ 15 w 240"/>
              <a:gd name="T25" fmla="*/ 14 h 192"/>
              <a:gd name="T26" fmla="*/ 17 w 240"/>
              <a:gd name="T27" fmla="*/ 13 h 192"/>
              <a:gd name="T28" fmla="*/ 19 w 240"/>
              <a:gd name="T29" fmla="*/ 9 h 192"/>
              <a:gd name="T30" fmla="*/ 21 w 240"/>
              <a:gd name="T31" fmla="*/ 9 h 192"/>
              <a:gd name="T32" fmla="*/ 24 w 240"/>
              <a:gd name="T33" fmla="*/ 9 h 192"/>
              <a:gd name="T34" fmla="*/ 26 w 240"/>
              <a:gd name="T35" fmla="*/ 8 h 192"/>
              <a:gd name="T36" fmla="*/ 29 w 240"/>
              <a:gd name="T37" fmla="*/ 6 h 192"/>
              <a:gd name="T38" fmla="*/ 31 w 240"/>
              <a:gd name="T39" fmla="*/ 6 h 192"/>
              <a:gd name="T40" fmla="*/ 31 w 240"/>
              <a:gd name="T41" fmla="*/ 5 h 192"/>
              <a:gd name="T42" fmla="*/ 26 w 240"/>
              <a:gd name="T43" fmla="*/ 3 h 192"/>
              <a:gd name="T44" fmla="*/ 23 w 240"/>
              <a:gd name="T45" fmla="*/ 2 h 192"/>
              <a:gd name="T46" fmla="*/ 21 w 240"/>
              <a:gd name="T47" fmla="*/ 3 h 192"/>
              <a:gd name="T48" fmla="*/ 18 w 240"/>
              <a:gd name="T49" fmla="*/ 0 h 192"/>
              <a:gd name="T50" fmla="*/ 15 w 240"/>
              <a:gd name="T51" fmla="*/ 1 h 192"/>
              <a:gd name="T52" fmla="*/ 8 w 240"/>
              <a:gd name="T53" fmla="*/ 1 h 192"/>
              <a:gd name="T54" fmla="*/ 4 w 240"/>
              <a:gd name="T55" fmla="*/ 3 h 192"/>
              <a:gd name="T56" fmla="*/ 2 w 240"/>
              <a:gd name="T57" fmla="*/ 6 h 19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0"/>
              <a:gd name="T88" fmla="*/ 0 h 192"/>
              <a:gd name="T89" fmla="*/ 240 w 240"/>
              <a:gd name="T90" fmla="*/ 192 h 19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0" h="192">
                <a:moveTo>
                  <a:pt x="15" y="53"/>
                </a:moveTo>
                <a:lnTo>
                  <a:pt x="23" y="118"/>
                </a:lnTo>
                <a:lnTo>
                  <a:pt x="36" y="137"/>
                </a:lnTo>
                <a:lnTo>
                  <a:pt x="20" y="168"/>
                </a:lnTo>
                <a:lnTo>
                  <a:pt x="0" y="182"/>
                </a:lnTo>
                <a:lnTo>
                  <a:pt x="10" y="192"/>
                </a:lnTo>
                <a:lnTo>
                  <a:pt x="35" y="165"/>
                </a:lnTo>
                <a:lnTo>
                  <a:pt x="38" y="155"/>
                </a:lnTo>
                <a:lnTo>
                  <a:pt x="53" y="147"/>
                </a:lnTo>
                <a:lnTo>
                  <a:pt x="60" y="183"/>
                </a:lnTo>
                <a:lnTo>
                  <a:pt x="83" y="157"/>
                </a:lnTo>
                <a:lnTo>
                  <a:pt x="98" y="153"/>
                </a:lnTo>
                <a:lnTo>
                  <a:pt x="116" y="122"/>
                </a:lnTo>
                <a:lnTo>
                  <a:pt x="131" y="113"/>
                </a:lnTo>
                <a:lnTo>
                  <a:pt x="141" y="83"/>
                </a:lnTo>
                <a:lnTo>
                  <a:pt x="161" y="83"/>
                </a:lnTo>
                <a:lnTo>
                  <a:pt x="186" y="72"/>
                </a:lnTo>
                <a:lnTo>
                  <a:pt x="203" y="68"/>
                </a:lnTo>
                <a:lnTo>
                  <a:pt x="226" y="57"/>
                </a:lnTo>
                <a:lnTo>
                  <a:pt x="240" y="55"/>
                </a:lnTo>
                <a:lnTo>
                  <a:pt x="238" y="37"/>
                </a:lnTo>
                <a:lnTo>
                  <a:pt x="206" y="27"/>
                </a:lnTo>
                <a:lnTo>
                  <a:pt x="176" y="13"/>
                </a:lnTo>
                <a:lnTo>
                  <a:pt x="165" y="23"/>
                </a:lnTo>
                <a:lnTo>
                  <a:pt x="138" y="0"/>
                </a:lnTo>
                <a:lnTo>
                  <a:pt x="115" y="5"/>
                </a:lnTo>
                <a:lnTo>
                  <a:pt x="61" y="10"/>
                </a:lnTo>
                <a:lnTo>
                  <a:pt x="26" y="28"/>
                </a:lnTo>
                <a:lnTo>
                  <a:pt x="15" y="53"/>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83" name="Line 37"/>
          <p:cNvSpPr>
            <a:spLocks noChangeShapeType="1"/>
          </p:cNvSpPr>
          <p:nvPr/>
        </p:nvSpPr>
        <p:spPr bwMode="auto">
          <a:xfrm>
            <a:off x="4601200" y="2865640"/>
            <a:ext cx="178849" cy="222167"/>
          </a:xfrm>
          <a:prstGeom prst="line">
            <a:avLst/>
          </a:pr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84" name="Freeform 38"/>
          <p:cNvSpPr>
            <a:spLocks/>
          </p:cNvSpPr>
          <p:nvPr/>
        </p:nvSpPr>
        <p:spPr bwMode="auto">
          <a:xfrm>
            <a:off x="5108547" y="2568795"/>
            <a:ext cx="1323118" cy="1220984"/>
          </a:xfrm>
          <a:custGeom>
            <a:avLst/>
            <a:gdLst>
              <a:gd name="T0" fmla="*/ 151 w 1205"/>
              <a:gd name="T1" fmla="*/ 75 h 1123"/>
              <a:gd name="T2" fmla="*/ 156 w 1205"/>
              <a:gd name="T3" fmla="*/ 89 h 1123"/>
              <a:gd name="T4" fmla="*/ 154 w 1205"/>
              <a:gd name="T5" fmla="*/ 101 h 1123"/>
              <a:gd name="T6" fmla="*/ 154 w 1205"/>
              <a:gd name="T7" fmla="*/ 109 h 1123"/>
              <a:gd name="T8" fmla="*/ 142 w 1205"/>
              <a:gd name="T9" fmla="*/ 118 h 1123"/>
              <a:gd name="T10" fmla="*/ 132 w 1205"/>
              <a:gd name="T11" fmla="*/ 128 h 1123"/>
              <a:gd name="T12" fmla="*/ 116 w 1205"/>
              <a:gd name="T13" fmla="*/ 129 h 1123"/>
              <a:gd name="T14" fmla="*/ 108 w 1205"/>
              <a:gd name="T15" fmla="*/ 119 h 1123"/>
              <a:gd name="T16" fmla="*/ 101 w 1205"/>
              <a:gd name="T17" fmla="*/ 118 h 1123"/>
              <a:gd name="T18" fmla="*/ 81 w 1205"/>
              <a:gd name="T19" fmla="*/ 108 h 1123"/>
              <a:gd name="T20" fmla="*/ 49 w 1205"/>
              <a:gd name="T21" fmla="*/ 110 h 1123"/>
              <a:gd name="T22" fmla="*/ 42 w 1205"/>
              <a:gd name="T23" fmla="*/ 102 h 1123"/>
              <a:gd name="T24" fmla="*/ 38 w 1205"/>
              <a:gd name="T25" fmla="*/ 97 h 1123"/>
              <a:gd name="T26" fmla="*/ 44 w 1205"/>
              <a:gd name="T27" fmla="*/ 76 h 1123"/>
              <a:gd name="T28" fmla="*/ 38 w 1205"/>
              <a:gd name="T29" fmla="*/ 68 h 1123"/>
              <a:gd name="T30" fmla="*/ 29 w 1205"/>
              <a:gd name="T31" fmla="*/ 63 h 1123"/>
              <a:gd name="T32" fmla="*/ 18 w 1205"/>
              <a:gd name="T33" fmla="*/ 66 h 1123"/>
              <a:gd name="T34" fmla="*/ 8 w 1205"/>
              <a:gd name="T35" fmla="*/ 46 h 1123"/>
              <a:gd name="T36" fmla="*/ 25 w 1205"/>
              <a:gd name="T37" fmla="*/ 43 h 1123"/>
              <a:gd name="T38" fmla="*/ 27 w 1205"/>
              <a:gd name="T39" fmla="*/ 38 h 1123"/>
              <a:gd name="T40" fmla="*/ 22 w 1205"/>
              <a:gd name="T41" fmla="*/ 33 h 1123"/>
              <a:gd name="T42" fmla="*/ 20 w 1205"/>
              <a:gd name="T43" fmla="*/ 25 h 1123"/>
              <a:gd name="T44" fmla="*/ 7 w 1205"/>
              <a:gd name="T45" fmla="*/ 14 h 1123"/>
              <a:gd name="T46" fmla="*/ 1 w 1205"/>
              <a:gd name="T47" fmla="*/ 6 h 1123"/>
              <a:gd name="T48" fmla="*/ 14 w 1205"/>
              <a:gd name="T49" fmla="*/ 8 h 1123"/>
              <a:gd name="T50" fmla="*/ 28 w 1205"/>
              <a:gd name="T51" fmla="*/ 6 h 1123"/>
              <a:gd name="T52" fmla="*/ 40 w 1205"/>
              <a:gd name="T53" fmla="*/ 0 h 1123"/>
              <a:gd name="T54" fmla="*/ 51 w 1205"/>
              <a:gd name="T55" fmla="*/ 10 h 1123"/>
              <a:gd name="T56" fmla="*/ 45 w 1205"/>
              <a:gd name="T57" fmla="*/ 18 h 1123"/>
              <a:gd name="T58" fmla="*/ 45 w 1205"/>
              <a:gd name="T59" fmla="*/ 24 h 1123"/>
              <a:gd name="T60" fmla="*/ 60 w 1205"/>
              <a:gd name="T61" fmla="*/ 33 h 1123"/>
              <a:gd name="T62" fmla="*/ 73 w 1205"/>
              <a:gd name="T63" fmla="*/ 38 h 1123"/>
              <a:gd name="T64" fmla="*/ 79 w 1205"/>
              <a:gd name="T65" fmla="*/ 40 h 1123"/>
              <a:gd name="T66" fmla="*/ 86 w 1205"/>
              <a:gd name="T67" fmla="*/ 42 h 1123"/>
              <a:gd name="T68" fmla="*/ 91 w 1205"/>
              <a:gd name="T69" fmla="*/ 33 h 1123"/>
              <a:gd name="T70" fmla="*/ 113 w 1205"/>
              <a:gd name="T71" fmla="*/ 38 h 1123"/>
              <a:gd name="T72" fmla="*/ 117 w 1205"/>
              <a:gd name="T73" fmla="*/ 48 h 1123"/>
              <a:gd name="T74" fmla="*/ 114 w 1205"/>
              <a:gd name="T75" fmla="*/ 52 h 1123"/>
              <a:gd name="T76" fmla="*/ 113 w 1205"/>
              <a:gd name="T77" fmla="*/ 59 h 1123"/>
              <a:gd name="T78" fmla="*/ 113 w 1205"/>
              <a:gd name="T79" fmla="*/ 66 h 1123"/>
              <a:gd name="T80" fmla="*/ 120 w 1205"/>
              <a:gd name="T81" fmla="*/ 70 h 1123"/>
              <a:gd name="T82" fmla="*/ 135 w 1205"/>
              <a:gd name="T83" fmla="*/ 72 h 1123"/>
              <a:gd name="T84" fmla="*/ 147 w 1205"/>
              <a:gd name="T85" fmla="*/ 68 h 11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05"/>
              <a:gd name="T130" fmla="*/ 0 h 1123"/>
              <a:gd name="T131" fmla="*/ 1205 w 1205"/>
              <a:gd name="T132" fmla="*/ 1123 h 11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05" h="1123">
                <a:moveTo>
                  <a:pt x="1123" y="585"/>
                </a:moveTo>
                <a:lnTo>
                  <a:pt x="1151" y="618"/>
                </a:lnTo>
                <a:lnTo>
                  <a:pt x="1151" y="650"/>
                </a:lnTo>
                <a:lnTo>
                  <a:pt x="1203" y="712"/>
                </a:lnTo>
                <a:lnTo>
                  <a:pt x="1205" y="761"/>
                </a:lnTo>
                <a:lnTo>
                  <a:pt x="1190" y="772"/>
                </a:lnTo>
                <a:lnTo>
                  <a:pt x="1181" y="817"/>
                </a:lnTo>
                <a:lnTo>
                  <a:pt x="1173" y="840"/>
                </a:lnTo>
                <a:lnTo>
                  <a:pt x="1177" y="875"/>
                </a:lnTo>
                <a:lnTo>
                  <a:pt x="1194" y="918"/>
                </a:lnTo>
                <a:lnTo>
                  <a:pt x="1188" y="937"/>
                </a:lnTo>
                <a:lnTo>
                  <a:pt x="1175" y="948"/>
                </a:lnTo>
                <a:lnTo>
                  <a:pt x="1138" y="943"/>
                </a:lnTo>
                <a:lnTo>
                  <a:pt x="1102" y="1008"/>
                </a:lnTo>
                <a:lnTo>
                  <a:pt x="1087" y="1029"/>
                </a:lnTo>
                <a:lnTo>
                  <a:pt x="1048" y="1038"/>
                </a:lnTo>
                <a:lnTo>
                  <a:pt x="1042" y="1076"/>
                </a:lnTo>
                <a:lnTo>
                  <a:pt x="1005" y="1108"/>
                </a:lnTo>
                <a:lnTo>
                  <a:pt x="963" y="1111"/>
                </a:lnTo>
                <a:lnTo>
                  <a:pt x="948" y="1123"/>
                </a:lnTo>
                <a:lnTo>
                  <a:pt x="881" y="1117"/>
                </a:lnTo>
                <a:lnTo>
                  <a:pt x="847" y="1093"/>
                </a:lnTo>
                <a:lnTo>
                  <a:pt x="840" y="1033"/>
                </a:lnTo>
                <a:lnTo>
                  <a:pt x="823" y="1033"/>
                </a:lnTo>
                <a:lnTo>
                  <a:pt x="808" y="1048"/>
                </a:lnTo>
                <a:lnTo>
                  <a:pt x="789" y="1042"/>
                </a:lnTo>
                <a:lnTo>
                  <a:pt x="774" y="1025"/>
                </a:lnTo>
                <a:lnTo>
                  <a:pt x="667" y="1021"/>
                </a:lnTo>
                <a:lnTo>
                  <a:pt x="615" y="956"/>
                </a:lnTo>
                <a:lnTo>
                  <a:pt x="615" y="935"/>
                </a:lnTo>
                <a:lnTo>
                  <a:pt x="536" y="937"/>
                </a:lnTo>
                <a:lnTo>
                  <a:pt x="515" y="956"/>
                </a:lnTo>
                <a:lnTo>
                  <a:pt x="371" y="958"/>
                </a:lnTo>
                <a:lnTo>
                  <a:pt x="350" y="920"/>
                </a:lnTo>
                <a:lnTo>
                  <a:pt x="348" y="896"/>
                </a:lnTo>
                <a:lnTo>
                  <a:pt x="322" y="890"/>
                </a:lnTo>
                <a:lnTo>
                  <a:pt x="326" y="866"/>
                </a:lnTo>
                <a:lnTo>
                  <a:pt x="305" y="849"/>
                </a:lnTo>
                <a:lnTo>
                  <a:pt x="288" y="843"/>
                </a:lnTo>
                <a:lnTo>
                  <a:pt x="285" y="800"/>
                </a:lnTo>
                <a:lnTo>
                  <a:pt x="335" y="733"/>
                </a:lnTo>
                <a:lnTo>
                  <a:pt x="337" y="665"/>
                </a:lnTo>
                <a:lnTo>
                  <a:pt x="318" y="624"/>
                </a:lnTo>
                <a:lnTo>
                  <a:pt x="309" y="596"/>
                </a:lnTo>
                <a:lnTo>
                  <a:pt x="288" y="588"/>
                </a:lnTo>
                <a:lnTo>
                  <a:pt x="279" y="562"/>
                </a:lnTo>
                <a:lnTo>
                  <a:pt x="258" y="547"/>
                </a:lnTo>
                <a:lnTo>
                  <a:pt x="221" y="553"/>
                </a:lnTo>
                <a:lnTo>
                  <a:pt x="193" y="568"/>
                </a:lnTo>
                <a:lnTo>
                  <a:pt x="161" y="579"/>
                </a:lnTo>
                <a:lnTo>
                  <a:pt x="138" y="573"/>
                </a:lnTo>
                <a:lnTo>
                  <a:pt x="92" y="493"/>
                </a:lnTo>
                <a:lnTo>
                  <a:pt x="58" y="448"/>
                </a:lnTo>
                <a:lnTo>
                  <a:pt x="65" y="401"/>
                </a:lnTo>
                <a:lnTo>
                  <a:pt x="110" y="380"/>
                </a:lnTo>
                <a:lnTo>
                  <a:pt x="125" y="390"/>
                </a:lnTo>
                <a:lnTo>
                  <a:pt x="191" y="369"/>
                </a:lnTo>
                <a:lnTo>
                  <a:pt x="232" y="343"/>
                </a:lnTo>
                <a:lnTo>
                  <a:pt x="223" y="328"/>
                </a:lnTo>
                <a:lnTo>
                  <a:pt x="208" y="328"/>
                </a:lnTo>
                <a:lnTo>
                  <a:pt x="204" y="307"/>
                </a:lnTo>
                <a:lnTo>
                  <a:pt x="178" y="298"/>
                </a:lnTo>
                <a:lnTo>
                  <a:pt x="172" y="283"/>
                </a:lnTo>
                <a:lnTo>
                  <a:pt x="148" y="275"/>
                </a:lnTo>
                <a:lnTo>
                  <a:pt x="161" y="258"/>
                </a:lnTo>
                <a:lnTo>
                  <a:pt x="157" y="215"/>
                </a:lnTo>
                <a:lnTo>
                  <a:pt x="150" y="193"/>
                </a:lnTo>
                <a:lnTo>
                  <a:pt x="123" y="168"/>
                </a:lnTo>
                <a:lnTo>
                  <a:pt x="50" y="120"/>
                </a:lnTo>
                <a:lnTo>
                  <a:pt x="17" y="103"/>
                </a:lnTo>
                <a:lnTo>
                  <a:pt x="0" y="63"/>
                </a:lnTo>
                <a:lnTo>
                  <a:pt x="9" y="52"/>
                </a:lnTo>
                <a:lnTo>
                  <a:pt x="56" y="67"/>
                </a:lnTo>
                <a:lnTo>
                  <a:pt x="77" y="73"/>
                </a:lnTo>
                <a:lnTo>
                  <a:pt x="108" y="63"/>
                </a:lnTo>
                <a:lnTo>
                  <a:pt x="140" y="28"/>
                </a:lnTo>
                <a:lnTo>
                  <a:pt x="174" y="24"/>
                </a:lnTo>
                <a:lnTo>
                  <a:pt x="215" y="52"/>
                </a:lnTo>
                <a:lnTo>
                  <a:pt x="251" y="41"/>
                </a:lnTo>
                <a:lnTo>
                  <a:pt x="264" y="15"/>
                </a:lnTo>
                <a:lnTo>
                  <a:pt x="307" y="0"/>
                </a:lnTo>
                <a:lnTo>
                  <a:pt x="335" y="20"/>
                </a:lnTo>
                <a:lnTo>
                  <a:pt x="360" y="52"/>
                </a:lnTo>
                <a:lnTo>
                  <a:pt x="390" y="86"/>
                </a:lnTo>
                <a:lnTo>
                  <a:pt x="386" y="114"/>
                </a:lnTo>
                <a:lnTo>
                  <a:pt x="352" y="144"/>
                </a:lnTo>
                <a:lnTo>
                  <a:pt x="339" y="157"/>
                </a:lnTo>
                <a:lnTo>
                  <a:pt x="324" y="161"/>
                </a:lnTo>
                <a:lnTo>
                  <a:pt x="341" y="178"/>
                </a:lnTo>
                <a:lnTo>
                  <a:pt x="341" y="210"/>
                </a:lnTo>
                <a:lnTo>
                  <a:pt x="373" y="268"/>
                </a:lnTo>
                <a:lnTo>
                  <a:pt x="414" y="264"/>
                </a:lnTo>
                <a:lnTo>
                  <a:pt x="459" y="288"/>
                </a:lnTo>
                <a:lnTo>
                  <a:pt x="521" y="288"/>
                </a:lnTo>
                <a:lnTo>
                  <a:pt x="540" y="324"/>
                </a:lnTo>
                <a:lnTo>
                  <a:pt x="555" y="337"/>
                </a:lnTo>
                <a:lnTo>
                  <a:pt x="566" y="365"/>
                </a:lnTo>
                <a:lnTo>
                  <a:pt x="590" y="365"/>
                </a:lnTo>
                <a:lnTo>
                  <a:pt x="605" y="348"/>
                </a:lnTo>
                <a:lnTo>
                  <a:pt x="620" y="360"/>
                </a:lnTo>
                <a:lnTo>
                  <a:pt x="639" y="348"/>
                </a:lnTo>
                <a:lnTo>
                  <a:pt x="658" y="363"/>
                </a:lnTo>
                <a:lnTo>
                  <a:pt x="675" y="365"/>
                </a:lnTo>
                <a:lnTo>
                  <a:pt x="675" y="307"/>
                </a:lnTo>
                <a:lnTo>
                  <a:pt x="699" y="285"/>
                </a:lnTo>
                <a:lnTo>
                  <a:pt x="817" y="283"/>
                </a:lnTo>
                <a:lnTo>
                  <a:pt x="866" y="307"/>
                </a:lnTo>
                <a:lnTo>
                  <a:pt x="864" y="330"/>
                </a:lnTo>
                <a:lnTo>
                  <a:pt x="873" y="373"/>
                </a:lnTo>
                <a:lnTo>
                  <a:pt x="870" y="403"/>
                </a:lnTo>
                <a:lnTo>
                  <a:pt x="892" y="412"/>
                </a:lnTo>
                <a:lnTo>
                  <a:pt x="905" y="435"/>
                </a:lnTo>
                <a:lnTo>
                  <a:pt x="877" y="444"/>
                </a:lnTo>
                <a:lnTo>
                  <a:pt x="868" y="457"/>
                </a:lnTo>
                <a:lnTo>
                  <a:pt x="838" y="457"/>
                </a:lnTo>
                <a:lnTo>
                  <a:pt x="838" y="491"/>
                </a:lnTo>
                <a:lnTo>
                  <a:pt x="862" y="515"/>
                </a:lnTo>
                <a:lnTo>
                  <a:pt x="862" y="538"/>
                </a:lnTo>
                <a:lnTo>
                  <a:pt x="851" y="551"/>
                </a:lnTo>
                <a:lnTo>
                  <a:pt x="866" y="577"/>
                </a:lnTo>
                <a:lnTo>
                  <a:pt x="894" y="573"/>
                </a:lnTo>
                <a:lnTo>
                  <a:pt x="900" y="590"/>
                </a:lnTo>
                <a:lnTo>
                  <a:pt x="913" y="607"/>
                </a:lnTo>
                <a:lnTo>
                  <a:pt x="963" y="609"/>
                </a:lnTo>
                <a:lnTo>
                  <a:pt x="1005" y="613"/>
                </a:lnTo>
                <a:lnTo>
                  <a:pt x="1033" y="626"/>
                </a:lnTo>
                <a:lnTo>
                  <a:pt x="1093" y="630"/>
                </a:lnTo>
                <a:lnTo>
                  <a:pt x="1113" y="607"/>
                </a:lnTo>
                <a:lnTo>
                  <a:pt x="1123" y="585"/>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85" name="Freeform 39"/>
          <p:cNvSpPr>
            <a:spLocks/>
          </p:cNvSpPr>
          <p:nvPr/>
        </p:nvSpPr>
        <p:spPr bwMode="auto">
          <a:xfrm>
            <a:off x="4338401" y="3089674"/>
            <a:ext cx="1872440" cy="1336735"/>
          </a:xfrm>
          <a:custGeom>
            <a:avLst/>
            <a:gdLst>
              <a:gd name="T0" fmla="*/ 92 w 1706"/>
              <a:gd name="T1" fmla="*/ 22 h 1229"/>
              <a:gd name="T2" fmla="*/ 81 w 1706"/>
              <a:gd name="T3" fmla="*/ 26 h 1229"/>
              <a:gd name="T4" fmla="*/ 66 w 1706"/>
              <a:gd name="T5" fmla="*/ 46 h 1229"/>
              <a:gd name="T6" fmla="*/ 45 w 1706"/>
              <a:gd name="T7" fmla="*/ 55 h 1229"/>
              <a:gd name="T8" fmla="*/ 50 w 1706"/>
              <a:gd name="T9" fmla="*/ 65 h 1229"/>
              <a:gd name="T10" fmla="*/ 57 w 1706"/>
              <a:gd name="T11" fmla="*/ 73 h 1229"/>
              <a:gd name="T12" fmla="*/ 61 w 1706"/>
              <a:gd name="T13" fmla="*/ 84 h 1229"/>
              <a:gd name="T14" fmla="*/ 66 w 1706"/>
              <a:gd name="T15" fmla="*/ 91 h 1229"/>
              <a:gd name="T16" fmla="*/ 72 w 1706"/>
              <a:gd name="T17" fmla="*/ 105 h 1229"/>
              <a:gd name="T18" fmla="*/ 54 w 1706"/>
              <a:gd name="T19" fmla="*/ 100 h 1229"/>
              <a:gd name="T20" fmla="*/ 43 w 1706"/>
              <a:gd name="T21" fmla="*/ 101 h 1229"/>
              <a:gd name="T22" fmla="*/ 29 w 1706"/>
              <a:gd name="T23" fmla="*/ 101 h 1229"/>
              <a:gd name="T24" fmla="*/ 20 w 1706"/>
              <a:gd name="T25" fmla="*/ 105 h 1229"/>
              <a:gd name="T26" fmla="*/ 13 w 1706"/>
              <a:gd name="T27" fmla="*/ 119 h 1229"/>
              <a:gd name="T28" fmla="*/ 2 w 1706"/>
              <a:gd name="T29" fmla="*/ 124 h 1229"/>
              <a:gd name="T30" fmla="*/ 5 w 1706"/>
              <a:gd name="T31" fmla="*/ 133 h 1229"/>
              <a:gd name="T32" fmla="*/ 12 w 1706"/>
              <a:gd name="T33" fmla="*/ 135 h 1229"/>
              <a:gd name="T34" fmla="*/ 33 w 1706"/>
              <a:gd name="T35" fmla="*/ 142 h 1229"/>
              <a:gd name="T36" fmla="*/ 47 w 1706"/>
              <a:gd name="T37" fmla="*/ 129 h 1229"/>
              <a:gd name="T38" fmla="*/ 58 w 1706"/>
              <a:gd name="T39" fmla="*/ 125 h 1229"/>
              <a:gd name="T40" fmla="*/ 66 w 1706"/>
              <a:gd name="T41" fmla="*/ 126 h 1229"/>
              <a:gd name="T42" fmla="*/ 78 w 1706"/>
              <a:gd name="T43" fmla="*/ 129 h 1229"/>
              <a:gd name="T44" fmla="*/ 95 w 1706"/>
              <a:gd name="T45" fmla="*/ 139 h 1229"/>
              <a:gd name="T46" fmla="*/ 106 w 1706"/>
              <a:gd name="T47" fmla="*/ 136 h 1229"/>
              <a:gd name="T48" fmla="*/ 117 w 1706"/>
              <a:gd name="T49" fmla="*/ 131 h 1229"/>
              <a:gd name="T50" fmla="*/ 124 w 1706"/>
              <a:gd name="T51" fmla="*/ 122 h 1229"/>
              <a:gd name="T52" fmla="*/ 131 w 1706"/>
              <a:gd name="T53" fmla="*/ 119 h 1229"/>
              <a:gd name="T54" fmla="*/ 138 w 1706"/>
              <a:gd name="T55" fmla="*/ 117 h 1229"/>
              <a:gd name="T56" fmla="*/ 138 w 1706"/>
              <a:gd name="T57" fmla="*/ 111 h 1229"/>
              <a:gd name="T58" fmla="*/ 158 w 1706"/>
              <a:gd name="T59" fmla="*/ 118 h 1229"/>
              <a:gd name="T60" fmla="*/ 168 w 1706"/>
              <a:gd name="T61" fmla="*/ 124 h 1229"/>
              <a:gd name="T62" fmla="*/ 167 w 1706"/>
              <a:gd name="T63" fmla="*/ 119 h 1229"/>
              <a:gd name="T64" fmla="*/ 178 w 1706"/>
              <a:gd name="T65" fmla="*/ 118 h 1229"/>
              <a:gd name="T66" fmla="*/ 186 w 1706"/>
              <a:gd name="T67" fmla="*/ 117 h 1229"/>
              <a:gd name="T68" fmla="*/ 197 w 1706"/>
              <a:gd name="T69" fmla="*/ 112 h 1229"/>
              <a:gd name="T70" fmla="*/ 207 w 1706"/>
              <a:gd name="T71" fmla="*/ 111 h 1229"/>
              <a:gd name="T72" fmla="*/ 218 w 1706"/>
              <a:gd name="T73" fmla="*/ 101 h 1229"/>
              <a:gd name="T74" fmla="*/ 221 w 1706"/>
              <a:gd name="T75" fmla="*/ 97 h 1229"/>
              <a:gd name="T76" fmla="*/ 220 w 1706"/>
              <a:gd name="T77" fmla="*/ 94 h 1229"/>
              <a:gd name="T78" fmla="*/ 207 w 1706"/>
              <a:gd name="T79" fmla="*/ 88 h 1229"/>
              <a:gd name="T80" fmla="*/ 211 w 1706"/>
              <a:gd name="T81" fmla="*/ 80 h 1229"/>
              <a:gd name="T82" fmla="*/ 209 w 1706"/>
              <a:gd name="T83" fmla="*/ 73 h 1229"/>
              <a:gd name="T84" fmla="*/ 200 w 1706"/>
              <a:gd name="T85" fmla="*/ 64 h 1229"/>
              <a:gd name="T86" fmla="*/ 192 w 1706"/>
              <a:gd name="T87" fmla="*/ 63 h 1229"/>
              <a:gd name="T88" fmla="*/ 171 w 1706"/>
              <a:gd name="T89" fmla="*/ 52 h 1229"/>
              <a:gd name="T90" fmla="*/ 140 w 1706"/>
              <a:gd name="T91" fmla="*/ 55 h 1229"/>
              <a:gd name="T92" fmla="*/ 134 w 1706"/>
              <a:gd name="T93" fmla="*/ 47 h 1229"/>
              <a:gd name="T94" fmla="*/ 129 w 1706"/>
              <a:gd name="T95" fmla="*/ 41 h 1229"/>
              <a:gd name="T96" fmla="*/ 136 w 1706"/>
              <a:gd name="T97" fmla="*/ 21 h 1229"/>
              <a:gd name="T98" fmla="*/ 130 w 1706"/>
              <a:gd name="T99" fmla="*/ 13 h 1229"/>
              <a:gd name="T100" fmla="*/ 120 w 1706"/>
              <a:gd name="T101" fmla="*/ 9 h 1229"/>
              <a:gd name="T102" fmla="*/ 110 w 1706"/>
              <a:gd name="T103" fmla="*/ 11 h 12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06"/>
              <a:gd name="T157" fmla="*/ 0 h 1229"/>
              <a:gd name="T158" fmla="*/ 1706 w 1706"/>
              <a:gd name="T159" fmla="*/ 1229 h 122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06" h="1229">
                <a:moveTo>
                  <a:pt x="780" y="0"/>
                </a:moveTo>
                <a:lnTo>
                  <a:pt x="733" y="165"/>
                </a:lnTo>
                <a:lnTo>
                  <a:pt x="704" y="191"/>
                </a:lnTo>
                <a:lnTo>
                  <a:pt x="693" y="203"/>
                </a:lnTo>
                <a:lnTo>
                  <a:pt x="657" y="223"/>
                </a:lnTo>
                <a:lnTo>
                  <a:pt x="620" y="229"/>
                </a:lnTo>
                <a:lnTo>
                  <a:pt x="562" y="298"/>
                </a:lnTo>
                <a:lnTo>
                  <a:pt x="517" y="343"/>
                </a:lnTo>
                <a:lnTo>
                  <a:pt x="500" y="400"/>
                </a:lnTo>
                <a:lnTo>
                  <a:pt x="480" y="443"/>
                </a:lnTo>
                <a:lnTo>
                  <a:pt x="369" y="474"/>
                </a:lnTo>
                <a:lnTo>
                  <a:pt x="342" y="474"/>
                </a:lnTo>
                <a:lnTo>
                  <a:pt x="342" y="518"/>
                </a:lnTo>
                <a:lnTo>
                  <a:pt x="373" y="554"/>
                </a:lnTo>
                <a:lnTo>
                  <a:pt x="382" y="567"/>
                </a:lnTo>
                <a:lnTo>
                  <a:pt x="382" y="589"/>
                </a:lnTo>
                <a:lnTo>
                  <a:pt x="422" y="605"/>
                </a:lnTo>
                <a:lnTo>
                  <a:pt x="437" y="634"/>
                </a:lnTo>
                <a:lnTo>
                  <a:pt x="415" y="709"/>
                </a:lnTo>
                <a:lnTo>
                  <a:pt x="433" y="738"/>
                </a:lnTo>
                <a:lnTo>
                  <a:pt x="471" y="734"/>
                </a:lnTo>
                <a:lnTo>
                  <a:pt x="491" y="709"/>
                </a:lnTo>
                <a:lnTo>
                  <a:pt x="499" y="713"/>
                </a:lnTo>
                <a:lnTo>
                  <a:pt x="502" y="791"/>
                </a:lnTo>
                <a:lnTo>
                  <a:pt x="537" y="845"/>
                </a:lnTo>
                <a:lnTo>
                  <a:pt x="553" y="860"/>
                </a:lnTo>
                <a:lnTo>
                  <a:pt x="553" y="909"/>
                </a:lnTo>
                <a:lnTo>
                  <a:pt x="484" y="880"/>
                </a:lnTo>
                <a:lnTo>
                  <a:pt x="444" y="867"/>
                </a:lnTo>
                <a:lnTo>
                  <a:pt x="409" y="863"/>
                </a:lnTo>
                <a:lnTo>
                  <a:pt x="400" y="851"/>
                </a:lnTo>
                <a:lnTo>
                  <a:pt x="360" y="878"/>
                </a:lnTo>
                <a:lnTo>
                  <a:pt x="329" y="876"/>
                </a:lnTo>
                <a:lnTo>
                  <a:pt x="286" y="898"/>
                </a:lnTo>
                <a:lnTo>
                  <a:pt x="231" y="883"/>
                </a:lnTo>
                <a:lnTo>
                  <a:pt x="217" y="880"/>
                </a:lnTo>
                <a:lnTo>
                  <a:pt x="202" y="863"/>
                </a:lnTo>
                <a:lnTo>
                  <a:pt x="175" y="885"/>
                </a:lnTo>
                <a:lnTo>
                  <a:pt x="155" y="909"/>
                </a:lnTo>
                <a:lnTo>
                  <a:pt x="131" y="949"/>
                </a:lnTo>
                <a:lnTo>
                  <a:pt x="97" y="996"/>
                </a:lnTo>
                <a:lnTo>
                  <a:pt x="100" y="1031"/>
                </a:lnTo>
                <a:lnTo>
                  <a:pt x="80" y="1038"/>
                </a:lnTo>
                <a:lnTo>
                  <a:pt x="60" y="1058"/>
                </a:lnTo>
                <a:lnTo>
                  <a:pt x="13" y="1071"/>
                </a:lnTo>
                <a:lnTo>
                  <a:pt x="0" y="1076"/>
                </a:lnTo>
                <a:lnTo>
                  <a:pt x="2" y="1131"/>
                </a:lnTo>
                <a:lnTo>
                  <a:pt x="37" y="1154"/>
                </a:lnTo>
                <a:lnTo>
                  <a:pt x="51" y="1174"/>
                </a:lnTo>
                <a:lnTo>
                  <a:pt x="71" y="1174"/>
                </a:lnTo>
                <a:lnTo>
                  <a:pt x="94" y="1166"/>
                </a:lnTo>
                <a:lnTo>
                  <a:pt x="120" y="1187"/>
                </a:lnTo>
                <a:lnTo>
                  <a:pt x="122" y="1227"/>
                </a:lnTo>
                <a:lnTo>
                  <a:pt x="253" y="1229"/>
                </a:lnTo>
                <a:lnTo>
                  <a:pt x="271" y="1216"/>
                </a:lnTo>
                <a:lnTo>
                  <a:pt x="309" y="1216"/>
                </a:lnTo>
                <a:lnTo>
                  <a:pt x="357" y="1116"/>
                </a:lnTo>
                <a:lnTo>
                  <a:pt x="397" y="1114"/>
                </a:lnTo>
                <a:lnTo>
                  <a:pt x="426" y="1103"/>
                </a:lnTo>
                <a:lnTo>
                  <a:pt x="446" y="1087"/>
                </a:lnTo>
                <a:lnTo>
                  <a:pt x="477" y="1096"/>
                </a:lnTo>
                <a:lnTo>
                  <a:pt x="489" y="1109"/>
                </a:lnTo>
                <a:lnTo>
                  <a:pt x="506" y="1091"/>
                </a:lnTo>
                <a:lnTo>
                  <a:pt x="533" y="1087"/>
                </a:lnTo>
                <a:lnTo>
                  <a:pt x="562" y="1105"/>
                </a:lnTo>
                <a:lnTo>
                  <a:pt x="597" y="1123"/>
                </a:lnTo>
                <a:lnTo>
                  <a:pt x="624" y="1140"/>
                </a:lnTo>
                <a:lnTo>
                  <a:pt x="706" y="1196"/>
                </a:lnTo>
                <a:lnTo>
                  <a:pt x="729" y="1205"/>
                </a:lnTo>
                <a:lnTo>
                  <a:pt x="746" y="1196"/>
                </a:lnTo>
                <a:lnTo>
                  <a:pt x="795" y="1191"/>
                </a:lnTo>
                <a:lnTo>
                  <a:pt x="813" y="1178"/>
                </a:lnTo>
                <a:lnTo>
                  <a:pt x="855" y="1218"/>
                </a:lnTo>
                <a:lnTo>
                  <a:pt x="897" y="1220"/>
                </a:lnTo>
                <a:lnTo>
                  <a:pt x="895" y="1138"/>
                </a:lnTo>
                <a:lnTo>
                  <a:pt x="862" y="1089"/>
                </a:lnTo>
                <a:lnTo>
                  <a:pt x="937" y="1074"/>
                </a:lnTo>
                <a:lnTo>
                  <a:pt x="951" y="1056"/>
                </a:lnTo>
                <a:lnTo>
                  <a:pt x="973" y="1058"/>
                </a:lnTo>
                <a:lnTo>
                  <a:pt x="977" y="1034"/>
                </a:lnTo>
                <a:lnTo>
                  <a:pt x="995" y="1036"/>
                </a:lnTo>
                <a:lnTo>
                  <a:pt x="1055" y="1069"/>
                </a:lnTo>
                <a:lnTo>
                  <a:pt x="1075" y="1045"/>
                </a:lnTo>
                <a:lnTo>
                  <a:pt x="1053" y="1018"/>
                </a:lnTo>
                <a:lnTo>
                  <a:pt x="1020" y="1000"/>
                </a:lnTo>
                <a:lnTo>
                  <a:pt x="1026" y="978"/>
                </a:lnTo>
                <a:lnTo>
                  <a:pt x="1057" y="967"/>
                </a:lnTo>
                <a:lnTo>
                  <a:pt x="1093" y="976"/>
                </a:lnTo>
                <a:lnTo>
                  <a:pt x="1120" y="1011"/>
                </a:lnTo>
                <a:lnTo>
                  <a:pt x="1209" y="1020"/>
                </a:lnTo>
                <a:lnTo>
                  <a:pt x="1220" y="1054"/>
                </a:lnTo>
                <a:lnTo>
                  <a:pt x="1271" y="1065"/>
                </a:lnTo>
                <a:lnTo>
                  <a:pt x="1286" y="1076"/>
                </a:lnTo>
                <a:lnTo>
                  <a:pt x="1302" y="1060"/>
                </a:lnTo>
                <a:lnTo>
                  <a:pt x="1293" y="1045"/>
                </a:lnTo>
                <a:lnTo>
                  <a:pt x="1277" y="1036"/>
                </a:lnTo>
                <a:lnTo>
                  <a:pt x="1286" y="1016"/>
                </a:lnTo>
                <a:lnTo>
                  <a:pt x="1329" y="1018"/>
                </a:lnTo>
                <a:lnTo>
                  <a:pt x="1364" y="1029"/>
                </a:lnTo>
                <a:lnTo>
                  <a:pt x="1373" y="1045"/>
                </a:lnTo>
                <a:lnTo>
                  <a:pt x="1404" y="1014"/>
                </a:lnTo>
                <a:lnTo>
                  <a:pt x="1420" y="1014"/>
                </a:lnTo>
                <a:lnTo>
                  <a:pt x="1422" y="994"/>
                </a:lnTo>
                <a:lnTo>
                  <a:pt x="1460" y="989"/>
                </a:lnTo>
                <a:lnTo>
                  <a:pt x="1504" y="969"/>
                </a:lnTo>
                <a:lnTo>
                  <a:pt x="1549" y="938"/>
                </a:lnTo>
                <a:lnTo>
                  <a:pt x="1586" y="943"/>
                </a:lnTo>
                <a:lnTo>
                  <a:pt x="1584" y="963"/>
                </a:lnTo>
                <a:lnTo>
                  <a:pt x="1617" y="965"/>
                </a:lnTo>
                <a:lnTo>
                  <a:pt x="1657" y="918"/>
                </a:lnTo>
                <a:lnTo>
                  <a:pt x="1669" y="883"/>
                </a:lnTo>
                <a:lnTo>
                  <a:pt x="1669" y="865"/>
                </a:lnTo>
                <a:lnTo>
                  <a:pt x="1684" y="867"/>
                </a:lnTo>
                <a:lnTo>
                  <a:pt x="1689" y="840"/>
                </a:lnTo>
                <a:lnTo>
                  <a:pt x="1706" y="834"/>
                </a:lnTo>
                <a:lnTo>
                  <a:pt x="1697" y="818"/>
                </a:lnTo>
                <a:lnTo>
                  <a:pt x="1677" y="818"/>
                </a:lnTo>
                <a:lnTo>
                  <a:pt x="1655" y="789"/>
                </a:lnTo>
                <a:lnTo>
                  <a:pt x="1609" y="765"/>
                </a:lnTo>
                <a:lnTo>
                  <a:pt x="1584" y="767"/>
                </a:lnTo>
                <a:lnTo>
                  <a:pt x="1557" y="763"/>
                </a:lnTo>
                <a:lnTo>
                  <a:pt x="1564" y="711"/>
                </a:lnTo>
                <a:lnTo>
                  <a:pt x="1611" y="694"/>
                </a:lnTo>
                <a:lnTo>
                  <a:pt x="1626" y="669"/>
                </a:lnTo>
                <a:lnTo>
                  <a:pt x="1631" y="640"/>
                </a:lnTo>
                <a:lnTo>
                  <a:pt x="1597" y="638"/>
                </a:lnTo>
                <a:lnTo>
                  <a:pt x="1549" y="614"/>
                </a:lnTo>
                <a:lnTo>
                  <a:pt x="1542" y="558"/>
                </a:lnTo>
                <a:lnTo>
                  <a:pt x="1526" y="556"/>
                </a:lnTo>
                <a:lnTo>
                  <a:pt x="1511" y="569"/>
                </a:lnTo>
                <a:lnTo>
                  <a:pt x="1493" y="567"/>
                </a:lnTo>
                <a:lnTo>
                  <a:pt x="1466" y="545"/>
                </a:lnTo>
                <a:lnTo>
                  <a:pt x="1373" y="543"/>
                </a:lnTo>
                <a:lnTo>
                  <a:pt x="1311" y="476"/>
                </a:lnTo>
                <a:lnTo>
                  <a:pt x="1309" y="456"/>
                </a:lnTo>
                <a:lnTo>
                  <a:pt x="1231" y="456"/>
                </a:lnTo>
                <a:lnTo>
                  <a:pt x="1206" y="478"/>
                </a:lnTo>
                <a:lnTo>
                  <a:pt x="1073" y="476"/>
                </a:lnTo>
                <a:lnTo>
                  <a:pt x="1046" y="440"/>
                </a:lnTo>
                <a:lnTo>
                  <a:pt x="1049" y="416"/>
                </a:lnTo>
                <a:lnTo>
                  <a:pt x="1024" y="407"/>
                </a:lnTo>
                <a:lnTo>
                  <a:pt x="1026" y="387"/>
                </a:lnTo>
                <a:lnTo>
                  <a:pt x="1009" y="369"/>
                </a:lnTo>
                <a:lnTo>
                  <a:pt x="989" y="358"/>
                </a:lnTo>
                <a:lnTo>
                  <a:pt x="989" y="316"/>
                </a:lnTo>
                <a:lnTo>
                  <a:pt x="1035" y="251"/>
                </a:lnTo>
                <a:lnTo>
                  <a:pt x="1040" y="183"/>
                </a:lnTo>
                <a:lnTo>
                  <a:pt x="1015" y="131"/>
                </a:lnTo>
                <a:lnTo>
                  <a:pt x="1015" y="116"/>
                </a:lnTo>
                <a:lnTo>
                  <a:pt x="993" y="109"/>
                </a:lnTo>
                <a:lnTo>
                  <a:pt x="973" y="78"/>
                </a:lnTo>
                <a:lnTo>
                  <a:pt x="957" y="71"/>
                </a:lnTo>
                <a:lnTo>
                  <a:pt x="917" y="76"/>
                </a:lnTo>
                <a:lnTo>
                  <a:pt x="882" y="94"/>
                </a:lnTo>
                <a:lnTo>
                  <a:pt x="855" y="98"/>
                </a:lnTo>
                <a:lnTo>
                  <a:pt x="840" y="94"/>
                </a:lnTo>
                <a:lnTo>
                  <a:pt x="780" y="0"/>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86" name="Freeform 40"/>
          <p:cNvSpPr>
            <a:spLocks/>
          </p:cNvSpPr>
          <p:nvPr/>
        </p:nvSpPr>
        <p:spPr bwMode="auto">
          <a:xfrm>
            <a:off x="3495256" y="4271452"/>
            <a:ext cx="1912590" cy="1034289"/>
          </a:xfrm>
          <a:custGeom>
            <a:avLst/>
            <a:gdLst>
              <a:gd name="T0" fmla="*/ 0 w 1738"/>
              <a:gd name="T1" fmla="*/ 36 h 949"/>
              <a:gd name="T2" fmla="*/ 5 w 1738"/>
              <a:gd name="T3" fmla="*/ 60 h 949"/>
              <a:gd name="T4" fmla="*/ 8 w 1738"/>
              <a:gd name="T5" fmla="*/ 70 h 949"/>
              <a:gd name="T6" fmla="*/ 15 w 1738"/>
              <a:gd name="T7" fmla="*/ 82 h 949"/>
              <a:gd name="T8" fmla="*/ 27 w 1738"/>
              <a:gd name="T9" fmla="*/ 81 h 949"/>
              <a:gd name="T10" fmla="*/ 24 w 1738"/>
              <a:gd name="T11" fmla="*/ 68 h 949"/>
              <a:gd name="T12" fmla="*/ 42 w 1738"/>
              <a:gd name="T13" fmla="*/ 64 h 949"/>
              <a:gd name="T14" fmla="*/ 41 w 1738"/>
              <a:gd name="T15" fmla="*/ 71 h 949"/>
              <a:gd name="T16" fmla="*/ 57 w 1738"/>
              <a:gd name="T17" fmla="*/ 72 h 949"/>
              <a:gd name="T18" fmla="*/ 70 w 1738"/>
              <a:gd name="T19" fmla="*/ 58 h 949"/>
              <a:gd name="T20" fmla="*/ 79 w 1738"/>
              <a:gd name="T21" fmla="*/ 66 h 949"/>
              <a:gd name="T22" fmla="*/ 86 w 1738"/>
              <a:gd name="T23" fmla="*/ 75 h 949"/>
              <a:gd name="T24" fmla="*/ 100 w 1738"/>
              <a:gd name="T25" fmla="*/ 67 h 949"/>
              <a:gd name="T26" fmla="*/ 110 w 1738"/>
              <a:gd name="T27" fmla="*/ 65 h 949"/>
              <a:gd name="T28" fmla="*/ 110 w 1738"/>
              <a:gd name="T29" fmla="*/ 78 h 949"/>
              <a:gd name="T30" fmla="*/ 121 w 1738"/>
              <a:gd name="T31" fmla="*/ 92 h 949"/>
              <a:gd name="T32" fmla="*/ 131 w 1738"/>
              <a:gd name="T33" fmla="*/ 93 h 949"/>
              <a:gd name="T34" fmla="*/ 128 w 1738"/>
              <a:gd name="T35" fmla="*/ 103 h 949"/>
              <a:gd name="T36" fmla="*/ 143 w 1738"/>
              <a:gd name="T37" fmla="*/ 99 h 949"/>
              <a:gd name="T38" fmla="*/ 160 w 1738"/>
              <a:gd name="T39" fmla="*/ 97 h 949"/>
              <a:gd name="T40" fmla="*/ 166 w 1738"/>
              <a:gd name="T41" fmla="*/ 98 h 949"/>
              <a:gd name="T42" fmla="*/ 169 w 1738"/>
              <a:gd name="T43" fmla="*/ 106 h 949"/>
              <a:gd name="T44" fmla="*/ 177 w 1738"/>
              <a:gd name="T45" fmla="*/ 109 h 949"/>
              <a:gd name="T46" fmla="*/ 188 w 1738"/>
              <a:gd name="T47" fmla="*/ 92 h 949"/>
              <a:gd name="T48" fmla="*/ 215 w 1738"/>
              <a:gd name="T49" fmla="*/ 79 h 949"/>
              <a:gd name="T50" fmla="*/ 209 w 1738"/>
              <a:gd name="T51" fmla="*/ 65 h 949"/>
              <a:gd name="T52" fmla="*/ 216 w 1738"/>
              <a:gd name="T53" fmla="*/ 50 h 949"/>
              <a:gd name="T54" fmla="*/ 230 w 1738"/>
              <a:gd name="T55" fmla="*/ 48 h 949"/>
              <a:gd name="T56" fmla="*/ 227 w 1738"/>
              <a:gd name="T57" fmla="*/ 36 h 949"/>
              <a:gd name="T58" fmla="*/ 211 w 1738"/>
              <a:gd name="T59" fmla="*/ 18 h 949"/>
              <a:gd name="T60" fmla="*/ 199 w 1738"/>
              <a:gd name="T61" fmla="*/ 12 h 949"/>
              <a:gd name="T62" fmla="*/ 172 w 1738"/>
              <a:gd name="T63" fmla="*/ 0 h 949"/>
              <a:gd name="T64" fmla="*/ 163 w 1738"/>
              <a:gd name="T65" fmla="*/ 1 h 949"/>
              <a:gd name="T66" fmla="*/ 153 w 1738"/>
              <a:gd name="T67" fmla="*/ 3 h 949"/>
              <a:gd name="T68" fmla="*/ 137 w 1738"/>
              <a:gd name="T69" fmla="*/ 15 h 949"/>
              <a:gd name="T70" fmla="*/ 118 w 1738"/>
              <a:gd name="T71" fmla="*/ 12 h 949"/>
              <a:gd name="T72" fmla="*/ 105 w 1738"/>
              <a:gd name="T73" fmla="*/ 7 h 949"/>
              <a:gd name="T74" fmla="*/ 98 w 1738"/>
              <a:gd name="T75" fmla="*/ 1 h 949"/>
              <a:gd name="T76" fmla="*/ 84 w 1738"/>
              <a:gd name="T77" fmla="*/ 6 h 949"/>
              <a:gd name="T78" fmla="*/ 73 w 1738"/>
              <a:gd name="T79" fmla="*/ 8 h 949"/>
              <a:gd name="T80" fmla="*/ 71 w 1738"/>
              <a:gd name="T81" fmla="*/ 19 h 949"/>
              <a:gd name="T82" fmla="*/ 80 w 1738"/>
              <a:gd name="T83" fmla="*/ 20 h 949"/>
              <a:gd name="T84" fmla="*/ 71 w 1738"/>
              <a:gd name="T85" fmla="*/ 23 h 949"/>
              <a:gd name="T86" fmla="*/ 60 w 1738"/>
              <a:gd name="T87" fmla="*/ 23 h 949"/>
              <a:gd name="T88" fmla="*/ 46 w 1738"/>
              <a:gd name="T89" fmla="*/ 26 h 949"/>
              <a:gd name="T90" fmla="*/ 31 w 1738"/>
              <a:gd name="T91" fmla="*/ 26 h 94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738"/>
              <a:gd name="T139" fmla="*/ 0 h 949"/>
              <a:gd name="T140" fmla="*/ 1738 w 1738"/>
              <a:gd name="T141" fmla="*/ 949 h 94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738" h="949">
                <a:moveTo>
                  <a:pt x="189" y="220"/>
                </a:moveTo>
                <a:lnTo>
                  <a:pt x="43" y="293"/>
                </a:lnTo>
                <a:lnTo>
                  <a:pt x="0" y="313"/>
                </a:lnTo>
                <a:lnTo>
                  <a:pt x="3" y="396"/>
                </a:lnTo>
                <a:lnTo>
                  <a:pt x="34" y="424"/>
                </a:lnTo>
                <a:lnTo>
                  <a:pt x="38" y="516"/>
                </a:lnTo>
                <a:lnTo>
                  <a:pt x="74" y="516"/>
                </a:lnTo>
                <a:lnTo>
                  <a:pt x="78" y="587"/>
                </a:lnTo>
                <a:lnTo>
                  <a:pt x="65" y="604"/>
                </a:lnTo>
                <a:lnTo>
                  <a:pt x="74" y="640"/>
                </a:lnTo>
                <a:lnTo>
                  <a:pt x="60" y="676"/>
                </a:lnTo>
                <a:lnTo>
                  <a:pt x="114" y="702"/>
                </a:lnTo>
                <a:lnTo>
                  <a:pt x="143" y="711"/>
                </a:lnTo>
                <a:lnTo>
                  <a:pt x="191" y="718"/>
                </a:lnTo>
                <a:lnTo>
                  <a:pt x="203" y="693"/>
                </a:lnTo>
                <a:lnTo>
                  <a:pt x="167" y="624"/>
                </a:lnTo>
                <a:lnTo>
                  <a:pt x="180" y="613"/>
                </a:lnTo>
                <a:lnTo>
                  <a:pt x="178" y="591"/>
                </a:lnTo>
                <a:lnTo>
                  <a:pt x="167" y="582"/>
                </a:lnTo>
                <a:lnTo>
                  <a:pt x="287" y="536"/>
                </a:lnTo>
                <a:lnTo>
                  <a:pt x="318" y="551"/>
                </a:lnTo>
                <a:lnTo>
                  <a:pt x="323" y="573"/>
                </a:lnTo>
                <a:lnTo>
                  <a:pt x="307" y="576"/>
                </a:lnTo>
                <a:lnTo>
                  <a:pt x="309" y="607"/>
                </a:lnTo>
                <a:lnTo>
                  <a:pt x="358" y="609"/>
                </a:lnTo>
                <a:lnTo>
                  <a:pt x="383" y="627"/>
                </a:lnTo>
                <a:lnTo>
                  <a:pt x="429" y="620"/>
                </a:lnTo>
                <a:lnTo>
                  <a:pt x="436" y="600"/>
                </a:lnTo>
                <a:lnTo>
                  <a:pt x="454" y="582"/>
                </a:lnTo>
                <a:lnTo>
                  <a:pt x="529" y="496"/>
                </a:lnTo>
                <a:lnTo>
                  <a:pt x="571" y="511"/>
                </a:lnTo>
                <a:lnTo>
                  <a:pt x="611" y="540"/>
                </a:lnTo>
                <a:lnTo>
                  <a:pt x="600" y="567"/>
                </a:lnTo>
                <a:lnTo>
                  <a:pt x="587" y="604"/>
                </a:lnTo>
                <a:lnTo>
                  <a:pt x="603" y="638"/>
                </a:lnTo>
                <a:lnTo>
                  <a:pt x="645" y="642"/>
                </a:lnTo>
                <a:lnTo>
                  <a:pt x="685" y="656"/>
                </a:lnTo>
                <a:lnTo>
                  <a:pt x="711" y="636"/>
                </a:lnTo>
                <a:lnTo>
                  <a:pt x="760" y="578"/>
                </a:lnTo>
                <a:lnTo>
                  <a:pt x="763" y="542"/>
                </a:lnTo>
                <a:lnTo>
                  <a:pt x="791" y="531"/>
                </a:lnTo>
                <a:lnTo>
                  <a:pt x="834" y="560"/>
                </a:lnTo>
                <a:lnTo>
                  <a:pt x="854" y="602"/>
                </a:lnTo>
                <a:lnTo>
                  <a:pt x="836" y="642"/>
                </a:lnTo>
                <a:lnTo>
                  <a:pt x="827" y="671"/>
                </a:lnTo>
                <a:lnTo>
                  <a:pt x="865" y="738"/>
                </a:lnTo>
                <a:lnTo>
                  <a:pt x="896" y="787"/>
                </a:lnTo>
                <a:lnTo>
                  <a:pt x="911" y="791"/>
                </a:lnTo>
                <a:lnTo>
                  <a:pt x="934" y="776"/>
                </a:lnTo>
                <a:lnTo>
                  <a:pt x="978" y="782"/>
                </a:lnTo>
                <a:lnTo>
                  <a:pt x="996" y="804"/>
                </a:lnTo>
                <a:lnTo>
                  <a:pt x="985" y="818"/>
                </a:lnTo>
                <a:lnTo>
                  <a:pt x="976" y="856"/>
                </a:lnTo>
                <a:lnTo>
                  <a:pt x="971" y="882"/>
                </a:lnTo>
                <a:lnTo>
                  <a:pt x="989" y="867"/>
                </a:lnTo>
                <a:lnTo>
                  <a:pt x="1067" y="867"/>
                </a:lnTo>
                <a:lnTo>
                  <a:pt x="1082" y="853"/>
                </a:lnTo>
                <a:lnTo>
                  <a:pt x="1151" y="860"/>
                </a:lnTo>
                <a:lnTo>
                  <a:pt x="1194" y="831"/>
                </a:lnTo>
                <a:lnTo>
                  <a:pt x="1211" y="836"/>
                </a:lnTo>
                <a:lnTo>
                  <a:pt x="1211" y="811"/>
                </a:lnTo>
                <a:lnTo>
                  <a:pt x="1245" y="816"/>
                </a:lnTo>
                <a:lnTo>
                  <a:pt x="1254" y="842"/>
                </a:lnTo>
                <a:lnTo>
                  <a:pt x="1280" y="869"/>
                </a:lnTo>
                <a:lnTo>
                  <a:pt x="1294" y="876"/>
                </a:lnTo>
                <a:lnTo>
                  <a:pt x="1282" y="916"/>
                </a:lnTo>
                <a:lnTo>
                  <a:pt x="1305" y="942"/>
                </a:lnTo>
                <a:lnTo>
                  <a:pt x="1325" y="949"/>
                </a:lnTo>
                <a:lnTo>
                  <a:pt x="1342" y="936"/>
                </a:lnTo>
                <a:lnTo>
                  <a:pt x="1340" y="893"/>
                </a:lnTo>
                <a:lnTo>
                  <a:pt x="1369" y="840"/>
                </a:lnTo>
                <a:lnTo>
                  <a:pt x="1422" y="791"/>
                </a:lnTo>
                <a:lnTo>
                  <a:pt x="1565" y="751"/>
                </a:lnTo>
                <a:lnTo>
                  <a:pt x="1625" y="693"/>
                </a:lnTo>
                <a:lnTo>
                  <a:pt x="1629" y="676"/>
                </a:lnTo>
                <a:lnTo>
                  <a:pt x="1627" y="658"/>
                </a:lnTo>
                <a:lnTo>
                  <a:pt x="1587" y="598"/>
                </a:lnTo>
                <a:lnTo>
                  <a:pt x="1585" y="562"/>
                </a:lnTo>
                <a:lnTo>
                  <a:pt x="1561" y="499"/>
                </a:lnTo>
                <a:lnTo>
                  <a:pt x="1558" y="433"/>
                </a:lnTo>
                <a:lnTo>
                  <a:pt x="1638" y="429"/>
                </a:lnTo>
                <a:lnTo>
                  <a:pt x="1691" y="407"/>
                </a:lnTo>
                <a:lnTo>
                  <a:pt x="1722" y="422"/>
                </a:lnTo>
                <a:lnTo>
                  <a:pt x="1738" y="409"/>
                </a:lnTo>
                <a:lnTo>
                  <a:pt x="1731" y="367"/>
                </a:lnTo>
                <a:lnTo>
                  <a:pt x="1720" y="320"/>
                </a:lnTo>
                <a:lnTo>
                  <a:pt x="1714" y="307"/>
                </a:lnTo>
                <a:lnTo>
                  <a:pt x="1662" y="249"/>
                </a:lnTo>
                <a:lnTo>
                  <a:pt x="1662" y="193"/>
                </a:lnTo>
                <a:lnTo>
                  <a:pt x="1598" y="151"/>
                </a:lnTo>
                <a:lnTo>
                  <a:pt x="1560" y="100"/>
                </a:lnTo>
                <a:lnTo>
                  <a:pt x="1525" y="107"/>
                </a:lnTo>
                <a:lnTo>
                  <a:pt x="1505" y="107"/>
                </a:lnTo>
                <a:lnTo>
                  <a:pt x="1483" y="115"/>
                </a:lnTo>
                <a:lnTo>
                  <a:pt x="1360" y="33"/>
                </a:lnTo>
                <a:lnTo>
                  <a:pt x="1300" y="0"/>
                </a:lnTo>
                <a:lnTo>
                  <a:pt x="1267" y="7"/>
                </a:lnTo>
                <a:lnTo>
                  <a:pt x="1254" y="18"/>
                </a:lnTo>
                <a:lnTo>
                  <a:pt x="1236" y="9"/>
                </a:lnTo>
                <a:lnTo>
                  <a:pt x="1209" y="0"/>
                </a:lnTo>
                <a:lnTo>
                  <a:pt x="1189" y="16"/>
                </a:lnTo>
                <a:lnTo>
                  <a:pt x="1160" y="27"/>
                </a:lnTo>
                <a:lnTo>
                  <a:pt x="1118" y="29"/>
                </a:lnTo>
                <a:lnTo>
                  <a:pt x="1071" y="129"/>
                </a:lnTo>
                <a:lnTo>
                  <a:pt x="1040" y="127"/>
                </a:lnTo>
                <a:lnTo>
                  <a:pt x="1020" y="142"/>
                </a:lnTo>
                <a:lnTo>
                  <a:pt x="889" y="133"/>
                </a:lnTo>
                <a:lnTo>
                  <a:pt x="887" y="102"/>
                </a:lnTo>
                <a:lnTo>
                  <a:pt x="862" y="80"/>
                </a:lnTo>
                <a:lnTo>
                  <a:pt x="816" y="89"/>
                </a:lnTo>
                <a:lnTo>
                  <a:pt x="796" y="60"/>
                </a:lnTo>
                <a:lnTo>
                  <a:pt x="767" y="44"/>
                </a:lnTo>
                <a:lnTo>
                  <a:pt x="765" y="13"/>
                </a:lnTo>
                <a:lnTo>
                  <a:pt x="743" y="9"/>
                </a:lnTo>
                <a:lnTo>
                  <a:pt x="738" y="27"/>
                </a:lnTo>
                <a:lnTo>
                  <a:pt x="656" y="31"/>
                </a:lnTo>
                <a:lnTo>
                  <a:pt x="638" y="49"/>
                </a:lnTo>
                <a:lnTo>
                  <a:pt x="600" y="51"/>
                </a:lnTo>
                <a:lnTo>
                  <a:pt x="589" y="64"/>
                </a:lnTo>
                <a:lnTo>
                  <a:pt x="551" y="69"/>
                </a:lnTo>
                <a:lnTo>
                  <a:pt x="527" y="98"/>
                </a:lnTo>
                <a:lnTo>
                  <a:pt x="520" y="144"/>
                </a:lnTo>
                <a:lnTo>
                  <a:pt x="536" y="164"/>
                </a:lnTo>
                <a:lnTo>
                  <a:pt x="558" y="184"/>
                </a:lnTo>
                <a:lnTo>
                  <a:pt x="585" y="173"/>
                </a:lnTo>
                <a:lnTo>
                  <a:pt x="609" y="173"/>
                </a:lnTo>
                <a:lnTo>
                  <a:pt x="600" y="202"/>
                </a:lnTo>
                <a:lnTo>
                  <a:pt x="560" y="204"/>
                </a:lnTo>
                <a:lnTo>
                  <a:pt x="536" y="193"/>
                </a:lnTo>
                <a:lnTo>
                  <a:pt x="500" y="200"/>
                </a:lnTo>
                <a:lnTo>
                  <a:pt x="478" y="187"/>
                </a:lnTo>
                <a:lnTo>
                  <a:pt x="456" y="193"/>
                </a:lnTo>
                <a:lnTo>
                  <a:pt x="418" y="196"/>
                </a:lnTo>
                <a:lnTo>
                  <a:pt x="387" y="224"/>
                </a:lnTo>
                <a:lnTo>
                  <a:pt x="347" y="224"/>
                </a:lnTo>
                <a:lnTo>
                  <a:pt x="327" y="240"/>
                </a:lnTo>
                <a:lnTo>
                  <a:pt x="260" y="240"/>
                </a:lnTo>
                <a:lnTo>
                  <a:pt x="236" y="224"/>
                </a:lnTo>
                <a:lnTo>
                  <a:pt x="214" y="227"/>
                </a:lnTo>
                <a:lnTo>
                  <a:pt x="189" y="220"/>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87" name="Freeform 41"/>
          <p:cNvSpPr>
            <a:spLocks/>
          </p:cNvSpPr>
          <p:nvPr/>
        </p:nvSpPr>
        <p:spPr bwMode="auto">
          <a:xfrm>
            <a:off x="3860254" y="3995143"/>
            <a:ext cx="664297" cy="291244"/>
          </a:xfrm>
          <a:custGeom>
            <a:avLst/>
            <a:gdLst>
              <a:gd name="T0" fmla="*/ 0 w 606"/>
              <a:gd name="T1" fmla="*/ 16 h 266"/>
              <a:gd name="T2" fmla="*/ 7 w 606"/>
              <a:gd name="T3" fmla="*/ 15 h 266"/>
              <a:gd name="T4" fmla="*/ 10 w 606"/>
              <a:gd name="T5" fmla="*/ 14 h 266"/>
              <a:gd name="T6" fmla="*/ 14 w 606"/>
              <a:gd name="T7" fmla="*/ 15 h 266"/>
              <a:gd name="T8" fmla="*/ 17 w 606"/>
              <a:gd name="T9" fmla="*/ 16 h 266"/>
              <a:gd name="T10" fmla="*/ 26 w 606"/>
              <a:gd name="T11" fmla="*/ 15 h 266"/>
              <a:gd name="T12" fmla="*/ 31 w 606"/>
              <a:gd name="T13" fmla="*/ 13 h 266"/>
              <a:gd name="T14" fmla="*/ 35 w 606"/>
              <a:gd name="T15" fmla="*/ 13 h 266"/>
              <a:gd name="T16" fmla="*/ 38 w 606"/>
              <a:gd name="T17" fmla="*/ 13 h 266"/>
              <a:gd name="T18" fmla="*/ 38 w 606"/>
              <a:gd name="T19" fmla="*/ 11 h 266"/>
              <a:gd name="T20" fmla="*/ 39 w 606"/>
              <a:gd name="T21" fmla="*/ 9 h 266"/>
              <a:gd name="T22" fmla="*/ 44 w 606"/>
              <a:gd name="T23" fmla="*/ 9 h 266"/>
              <a:gd name="T24" fmla="*/ 46 w 606"/>
              <a:gd name="T25" fmla="*/ 6 h 266"/>
              <a:gd name="T26" fmla="*/ 53 w 606"/>
              <a:gd name="T27" fmla="*/ 5 h 266"/>
              <a:gd name="T28" fmla="*/ 56 w 606"/>
              <a:gd name="T29" fmla="*/ 5 h 266"/>
              <a:gd name="T30" fmla="*/ 65 w 606"/>
              <a:gd name="T31" fmla="*/ 0 h 266"/>
              <a:gd name="T32" fmla="*/ 71 w 606"/>
              <a:gd name="T33" fmla="*/ 2 h 266"/>
              <a:gd name="T34" fmla="*/ 74 w 606"/>
              <a:gd name="T35" fmla="*/ 6 h 266"/>
              <a:gd name="T36" fmla="*/ 79 w 606"/>
              <a:gd name="T37" fmla="*/ 7 h 266"/>
              <a:gd name="T38" fmla="*/ 71 w 606"/>
              <a:gd name="T39" fmla="*/ 18 h 266"/>
              <a:gd name="T40" fmla="*/ 69 w 606"/>
              <a:gd name="T41" fmla="*/ 19 h 266"/>
              <a:gd name="T42" fmla="*/ 70 w 606"/>
              <a:gd name="T43" fmla="*/ 23 h 266"/>
              <a:gd name="T44" fmla="*/ 67 w 606"/>
              <a:gd name="T45" fmla="*/ 25 h 266"/>
              <a:gd name="T46" fmla="*/ 63 w 606"/>
              <a:gd name="T47" fmla="*/ 27 h 266"/>
              <a:gd name="T48" fmla="*/ 56 w 606"/>
              <a:gd name="T49" fmla="*/ 29 h 266"/>
              <a:gd name="T50" fmla="*/ 56 w 606"/>
              <a:gd name="T51" fmla="*/ 31 h 266"/>
              <a:gd name="T52" fmla="*/ 54 w 606"/>
              <a:gd name="T53" fmla="*/ 31 h 266"/>
              <a:gd name="T54" fmla="*/ 51 w 606"/>
              <a:gd name="T55" fmla="*/ 30 h 266"/>
              <a:gd name="T56" fmla="*/ 40 w 606"/>
              <a:gd name="T57" fmla="*/ 30 h 266"/>
              <a:gd name="T58" fmla="*/ 38 w 606"/>
              <a:gd name="T59" fmla="*/ 29 h 266"/>
              <a:gd name="T60" fmla="*/ 36 w 606"/>
              <a:gd name="T61" fmla="*/ 28 h 266"/>
              <a:gd name="T62" fmla="*/ 34 w 606"/>
              <a:gd name="T63" fmla="*/ 28 h 266"/>
              <a:gd name="T64" fmla="*/ 31 w 606"/>
              <a:gd name="T65" fmla="*/ 25 h 266"/>
              <a:gd name="T66" fmla="*/ 25 w 606"/>
              <a:gd name="T67" fmla="*/ 25 h 266"/>
              <a:gd name="T68" fmla="*/ 19 w 606"/>
              <a:gd name="T69" fmla="*/ 25 h 266"/>
              <a:gd name="T70" fmla="*/ 16 w 606"/>
              <a:gd name="T71" fmla="*/ 27 h 266"/>
              <a:gd name="T72" fmla="*/ 13 w 606"/>
              <a:gd name="T73" fmla="*/ 27 h 266"/>
              <a:gd name="T74" fmla="*/ 11 w 606"/>
              <a:gd name="T75" fmla="*/ 28 h 266"/>
              <a:gd name="T76" fmla="*/ 7 w 606"/>
              <a:gd name="T77" fmla="*/ 22 h 266"/>
              <a:gd name="T78" fmla="*/ 0 w 606"/>
              <a:gd name="T79" fmla="*/ 16 h 26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06"/>
              <a:gd name="T121" fmla="*/ 0 h 266"/>
              <a:gd name="T122" fmla="*/ 606 w 606"/>
              <a:gd name="T123" fmla="*/ 266 h 26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06" h="266">
                <a:moveTo>
                  <a:pt x="0" y="134"/>
                </a:moveTo>
                <a:lnTo>
                  <a:pt x="54" y="131"/>
                </a:lnTo>
                <a:lnTo>
                  <a:pt x="71" y="120"/>
                </a:lnTo>
                <a:lnTo>
                  <a:pt x="105" y="122"/>
                </a:lnTo>
                <a:lnTo>
                  <a:pt x="137" y="134"/>
                </a:lnTo>
                <a:lnTo>
                  <a:pt x="200" y="128"/>
                </a:lnTo>
                <a:lnTo>
                  <a:pt x="236" y="114"/>
                </a:lnTo>
                <a:lnTo>
                  <a:pt x="266" y="110"/>
                </a:lnTo>
                <a:lnTo>
                  <a:pt x="293" y="110"/>
                </a:lnTo>
                <a:lnTo>
                  <a:pt x="294" y="95"/>
                </a:lnTo>
                <a:lnTo>
                  <a:pt x="303" y="81"/>
                </a:lnTo>
                <a:lnTo>
                  <a:pt x="341" y="78"/>
                </a:lnTo>
                <a:lnTo>
                  <a:pt x="353" y="56"/>
                </a:lnTo>
                <a:lnTo>
                  <a:pt x="413" y="39"/>
                </a:lnTo>
                <a:lnTo>
                  <a:pt x="432" y="41"/>
                </a:lnTo>
                <a:lnTo>
                  <a:pt x="501" y="0"/>
                </a:lnTo>
                <a:lnTo>
                  <a:pt x="542" y="14"/>
                </a:lnTo>
                <a:lnTo>
                  <a:pt x="570" y="51"/>
                </a:lnTo>
                <a:lnTo>
                  <a:pt x="606" y="59"/>
                </a:lnTo>
                <a:lnTo>
                  <a:pt x="542" y="150"/>
                </a:lnTo>
                <a:lnTo>
                  <a:pt x="531" y="164"/>
                </a:lnTo>
                <a:lnTo>
                  <a:pt x="534" y="197"/>
                </a:lnTo>
                <a:lnTo>
                  <a:pt x="515" y="206"/>
                </a:lnTo>
                <a:lnTo>
                  <a:pt x="486" y="231"/>
                </a:lnTo>
                <a:lnTo>
                  <a:pt x="434" y="242"/>
                </a:lnTo>
                <a:lnTo>
                  <a:pt x="435" y="266"/>
                </a:lnTo>
                <a:lnTo>
                  <a:pt x="414" y="261"/>
                </a:lnTo>
                <a:lnTo>
                  <a:pt x="395" y="254"/>
                </a:lnTo>
                <a:lnTo>
                  <a:pt x="312" y="258"/>
                </a:lnTo>
                <a:lnTo>
                  <a:pt x="294" y="245"/>
                </a:lnTo>
                <a:lnTo>
                  <a:pt x="278" y="234"/>
                </a:lnTo>
                <a:lnTo>
                  <a:pt x="260" y="236"/>
                </a:lnTo>
                <a:lnTo>
                  <a:pt x="237" y="216"/>
                </a:lnTo>
                <a:lnTo>
                  <a:pt x="195" y="212"/>
                </a:lnTo>
                <a:lnTo>
                  <a:pt x="141" y="210"/>
                </a:lnTo>
                <a:lnTo>
                  <a:pt x="125" y="227"/>
                </a:lnTo>
                <a:lnTo>
                  <a:pt x="99" y="227"/>
                </a:lnTo>
                <a:lnTo>
                  <a:pt x="84" y="236"/>
                </a:lnTo>
                <a:lnTo>
                  <a:pt x="51" y="186"/>
                </a:lnTo>
                <a:lnTo>
                  <a:pt x="0" y="134"/>
                </a:lnTo>
                <a:close/>
              </a:path>
            </a:pathLst>
          </a:custGeom>
          <a:solidFill>
            <a:schemeClr val="accent3"/>
          </a:solidFill>
          <a:ln w="12700">
            <a:solidFill>
              <a:schemeClr val="bg1"/>
            </a:solidFill>
            <a:round/>
            <a:headEnd type="none" w="sm" len="sm"/>
            <a:tailEnd type="none" w="sm" len="sm"/>
          </a:ln>
        </p:spPr>
        <p:txBody>
          <a:bodyPr wrap="none" anchor="ctr"/>
          <a:lstStyle/>
          <a:p>
            <a:endParaRPr lang="en-GB"/>
          </a:p>
        </p:txBody>
      </p:sp>
      <p:sp>
        <p:nvSpPr>
          <p:cNvPr id="47" name="Text Placeholder 12"/>
          <p:cNvSpPr>
            <a:spLocks/>
          </p:cNvSpPr>
          <p:nvPr>
            <p:custDataLst>
              <p:tags r:id="rId4"/>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4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61" name="Title 1"/>
          <p:cNvSpPr>
            <a:spLocks noGrp="1"/>
          </p:cNvSpPr>
          <p:nvPr>
            <p:ph type="title"/>
          </p:nvPr>
        </p:nvSpPr>
        <p:spPr>
          <a:xfrm>
            <a:off x="414338" y="446038"/>
            <a:ext cx="8330184" cy="333425"/>
          </a:xfrm>
        </p:spPr>
        <p:txBody>
          <a:bodyPr/>
          <a:lstStyle/>
          <a:p>
            <a:r>
              <a:rPr lang="nl-NL"/>
              <a:t>Maps </a:t>
            </a:r>
            <a:r>
              <a:rPr lang="en-US"/>
              <a:t>—</a:t>
            </a:r>
            <a:r>
              <a:rPr lang="nl-NL" smtClean="0"/>
              <a:t> </a:t>
            </a:r>
            <a:r>
              <a:rPr lang="nl-NL"/>
              <a:t>Benelux</a:t>
            </a:r>
          </a:p>
        </p:txBody>
      </p:sp>
      <p:sp>
        <p:nvSpPr>
          <p:cNvPr id="6" name="Freeform 30"/>
          <p:cNvSpPr>
            <a:spLocks/>
          </p:cNvSpPr>
          <p:nvPr/>
        </p:nvSpPr>
        <p:spPr bwMode="auto">
          <a:xfrm>
            <a:off x="4084286" y="3861154"/>
            <a:ext cx="766714" cy="607251"/>
          </a:xfrm>
          <a:custGeom>
            <a:avLst/>
            <a:gdLst>
              <a:gd name="T0" fmla="*/ 245 w 720"/>
              <a:gd name="T1" fmla="*/ 13 h 525"/>
              <a:gd name="T2" fmla="*/ 133 w 720"/>
              <a:gd name="T3" fmla="*/ 70 h 525"/>
              <a:gd name="T4" fmla="*/ 171 w 720"/>
              <a:gd name="T5" fmla="*/ 152 h 525"/>
              <a:gd name="T6" fmla="*/ 49 w 720"/>
              <a:gd name="T7" fmla="*/ 131 h 525"/>
              <a:gd name="T8" fmla="*/ 133 w 720"/>
              <a:gd name="T9" fmla="*/ 304 h 525"/>
              <a:gd name="T10" fmla="*/ 106 w 720"/>
              <a:gd name="T11" fmla="*/ 384 h 525"/>
              <a:gd name="T12" fmla="*/ 68 w 720"/>
              <a:gd name="T13" fmla="*/ 382 h 525"/>
              <a:gd name="T14" fmla="*/ 0 w 720"/>
              <a:gd name="T15" fmla="*/ 403 h 525"/>
              <a:gd name="T16" fmla="*/ 17 w 720"/>
              <a:gd name="T17" fmla="*/ 479 h 525"/>
              <a:gd name="T18" fmla="*/ 119 w 720"/>
              <a:gd name="T19" fmla="*/ 490 h 525"/>
              <a:gd name="T20" fmla="*/ 150 w 720"/>
              <a:gd name="T21" fmla="*/ 525 h 525"/>
              <a:gd name="T22" fmla="*/ 192 w 720"/>
              <a:gd name="T23" fmla="*/ 525 h 525"/>
              <a:gd name="T24" fmla="*/ 203 w 720"/>
              <a:gd name="T25" fmla="*/ 504 h 525"/>
              <a:gd name="T26" fmla="*/ 264 w 720"/>
              <a:gd name="T27" fmla="*/ 517 h 525"/>
              <a:gd name="T28" fmla="*/ 372 w 720"/>
              <a:gd name="T29" fmla="*/ 517 h 525"/>
              <a:gd name="T30" fmla="*/ 391 w 720"/>
              <a:gd name="T31" fmla="*/ 502 h 525"/>
              <a:gd name="T32" fmla="*/ 444 w 720"/>
              <a:gd name="T33" fmla="*/ 513 h 525"/>
              <a:gd name="T34" fmla="*/ 553 w 720"/>
              <a:gd name="T35" fmla="*/ 485 h 525"/>
              <a:gd name="T36" fmla="*/ 545 w 720"/>
              <a:gd name="T37" fmla="*/ 477 h 525"/>
              <a:gd name="T38" fmla="*/ 638 w 720"/>
              <a:gd name="T39" fmla="*/ 401 h 525"/>
              <a:gd name="T40" fmla="*/ 720 w 720"/>
              <a:gd name="T41" fmla="*/ 382 h 525"/>
              <a:gd name="T42" fmla="*/ 705 w 720"/>
              <a:gd name="T43" fmla="*/ 308 h 525"/>
              <a:gd name="T44" fmla="*/ 720 w 720"/>
              <a:gd name="T45" fmla="*/ 171 h 525"/>
              <a:gd name="T46" fmla="*/ 638 w 720"/>
              <a:gd name="T47" fmla="*/ 194 h 525"/>
              <a:gd name="T48" fmla="*/ 593 w 720"/>
              <a:gd name="T49" fmla="*/ 13 h 525"/>
              <a:gd name="T50" fmla="*/ 492 w 720"/>
              <a:gd name="T51" fmla="*/ 108 h 525"/>
              <a:gd name="T52" fmla="*/ 414 w 720"/>
              <a:gd name="T53" fmla="*/ 105 h 525"/>
              <a:gd name="T54" fmla="*/ 437 w 720"/>
              <a:gd name="T55" fmla="*/ 36 h 525"/>
              <a:gd name="T56" fmla="*/ 382 w 720"/>
              <a:gd name="T57" fmla="*/ 0 h 525"/>
              <a:gd name="T58" fmla="*/ 330 w 720"/>
              <a:gd name="T59" fmla="*/ 78 h 525"/>
              <a:gd name="T60" fmla="*/ 232 w 720"/>
              <a:gd name="T61" fmla="*/ 108 h 525"/>
              <a:gd name="T62" fmla="*/ 245 w 720"/>
              <a:gd name="T63" fmla="*/ 13 h 525"/>
              <a:gd name="T64" fmla="*/ 133 w 720"/>
              <a:gd name="T65" fmla="*/ 70 h 525"/>
              <a:gd name="T66" fmla="*/ 245 w 720"/>
              <a:gd name="T67" fmla="*/ 13 h 525"/>
              <a:gd name="T68" fmla="*/ 245 w 720"/>
              <a:gd name="T69" fmla="*/ 13 h 525"/>
              <a:gd name="T70" fmla="*/ 245 w 720"/>
              <a:gd name="T71" fmla="*/ 13 h 52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20"/>
              <a:gd name="T109" fmla="*/ 0 h 525"/>
              <a:gd name="T110" fmla="*/ 720 w 720"/>
              <a:gd name="T111" fmla="*/ 525 h 52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20" h="525">
                <a:moveTo>
                  <a:pt x="245" y="13"/>
                </a:moveTo>
                <a:lnTo>
                  <a:pt x="133" y="70"/>
                </a:lnTo>
                <a:lnTo>
                  <a:pt x="171" y="152"/>
                </a:lnTo>
                <a:lnTo>
                  <a:pt x="49" y="131"/>
                </a:lnTo>
                <a:lnTo>
                  <a:pt x="133" y="304"/>
                </a:lnTo>
                <a:lnTo>
                  <a:pt x="106" y="384"/>
                </a:lnTo>
                <a:lnTo>
                  <a:pt x="68" y="382"/>
                </a:lnTo>
                <a:lnTo>
                  <a:pt x="0" y="403"/>
                </a:lnTo>
                <a:lnTo>
                  <a:pt x="17" y="479"/>
                </a:lnTo>
                <a:lnTo>
                  <a:pt x="119" y="490"/>
                </a:lnTo>
                <a:lnTo>
                  <a:pt x="150" y="525"/>
                </a:lnTo>
                <a:lnTo>
                  <a:pt x="192" y="525"/>
                </a:lnTo>
                <a:lnTo>
                  <a:pt x="203" y="504"/>
                </a:lnTo>
                <a:lnTo>
                  <a:pt x="264" y="517"/>
                </a:lnTo>
                <a:lnTo>
                  <a:pt x="372" y="517"/>
                </a:lnTo>
                <a:lnTo>
                  <a:pt x="391" y="502"/>
                </a:lnTo>
                <a:lnTo>
                  <a:pt x="444" y="513"/>
                </a:lnTo>
                <a:lnTo>
                  <a:pt x="553" y="485"/>
                </a:lnTo>
                <a:lnTo>
                  <a:pt x="545" y="477"/>
                </a:lnTo>
                <a:lnTo>
                  <a:pt x="638" y="401"/>
                </a:lnTo>
                <a:lnTo>
                  <a:pt x="720" y="382"/>
                </a:lnTo>
                <a:lnTo>
                  <a:pt x="705" y="308"/>
                </a:lnTo>
                <a:lnTo>
                  <a:pt x="720" y="171"/>
                </a:lnTo>
                <a:lnTo>
                  <a:pt x="638" y="194"/>
                </a:lnTo>
                <a:lnTo>
                  <a:pt x="593" y="13"/>
                </a:lnTo>
                <a:lnTo>
                  <a:pt x="492" y="108"/>
                </a:lnTo>
                <a:lnTo>
                  <a:pt x="414" y="105"/>
                </a:lnTo>
                <a:lnTo>
                  <a:pt x="437" y="36"/>
                </a:lnTo>
                <a:lnTo>
                  <a:pt x="382" y="0"/>
                </a:lnTo>
                <a:lnTo>
                  <a:pt x="330" y="78"/>
                </a:lnTo>
                <a:lnTo>
                  <a:pt x="232" y="108"/>
                </a:lnTo>
                <a:lnTo>
                  <a:pt x="245" y="13"/>
                </a:lnTo>
                <a:lnTo>
                  <a:pt x="133" y="70"/>
                </a:lnTo>
                <a:lnTo>
                  <a:pt x="245" y="13"/>
                </a:lnTo>
                <a:close/>
              </a:path>
            </a:pathLst>
          </a:custGeom>
          <a:solidFill>
            <a:schemeClr val="accent3"/>
          </a:solidFill>
          <a:ln w="12700">
            <a:solidFill>
              <a:schemeClr val="bg1"/>
            </a:solidFill>
            <a:round/>
            <a:headEnd/>
            <a:tailEnd/>
          </a:ln>
        </p:spPr>
        <p:txBody>
          <a:bodyPr/>
          <a:lstStyle/>
          <a:p>
            <a:pPr>
              <a:defRPr/>
            </a:pPr>
            <a:endParaRPr lang="nl-NL"/>
          </a:p>
        </p:txBody>
      </p:sp>
      <p:sp>
        <p:nvSpPr>
          <p:cNvPr id="7" name="Freeform 32"/>
          <p:cNvSpPr>
            <a:spLocks/>
          </p:cNvSpPr>
          <p:nvPr/>
        </p:nvSpPr>
        <p:spPr bwMode="auto">
          <a:xfrm>
            <a:off x="3881958" y="2873792"/>
            <a:ext cx="924317" cy="799624"/>
          </a:xfrm>
          <a:custGeom>
            <a:avLst/>
            <a:gdLst>
              <a:gd name="T0" fmla="*/ 444 w 866"/>
              <a:gd name="T1" fmla="*/ 0 h 690"/>
              <a:gd name="T2" fmla="*/ 195 w 866"/>
              <a:gd name="T3" fmla="*/ 318 h 690"/>
              <a:gd name="T4" fmla="*/ 108 w 866"/>
              <a:gd name="T5" fmla="*/ 348 h 690"/>
              <a:gd name="T6" fmla="*/ 117 w 866"/>
              <a:gd name="T7" fmla="*/ 384 h 690"/>
              <a:gd name="T8" fmla="*/ 256 w 866"/>
              <a:gd name="T9" fmla="*/ 411 h 690"/>
              <a:gd name="T10" fmla="*/ 195 w 866"/>
              <a:gd name="T11" fmla="*/ 479 h 690"/>
              <a:gd name="T12" fmla="*/ 0 w 866"/>
              <a:gd name="T13" fmla="*/ 497 h 690"/>
              <a:gd name="T14" fmla="*/ 9 w 866"/>
              <a:gd name="T15" fmla="*/ 554 h 690"/>
              <a:gd name="T16" fmla="*/ 117 w 866"/>
              <a:gd name="T17" fmla="*/ 567 h 690"/>
              <a:gd name="T18" fmla="*/ 112 w 866"/>
              <a:gd name="T19" fmla="*/ 618 h 690"/>
              <a:gd name="T20" fmla="*/ 237 w 866"/>
              <a:gd name="T21" fmla="*/ 690 h 690"/>
              <a:gd name="T22" fmla="*/ 319 w 866"/>
              <a:gd name="T23" fmla="*/ 690 h 690"/>
              <a:gd name="T24" fmla="*/ 355 w 866"/>
              <a:gd name="T25" fmla="*/ 637 h 690"/>
              <a:gd name="T26" fmla="*/ 429 w 866"/>
              <a:gd name="T27" fmla="*/ 649 h 690"/>
              <a:gd name="T28" fmla="*/ 496 w 866"/>
              <a:gd name="T29" fmla="*/ 620 h 690"/>
              <a:gd name="T30" fmla="*/ 560 w 866"/>
              <a:gd name="T31" fmla="*/ 622 h 690"/>
              <a:gd name="T32" fmla="*/ 693 w 866"/>
              <a:gd name="T33" fmla="*/ 536 h 690"/>
              <a:gd name="T34" fmla="*/ 741 w 866"/>
              <a:gd name="T35" fmla="*/ 536 h 690"/>
              <a:gd name="T36" fmla="*/ 745 w 866"/>
              <a:gd name="T37" fmla="*/ 500 h 690"/>
              <a:gd name="T38" fmla="*/ 815 w 866"/>
              <a:gd name="T39" fmla="*/ 491 h 690"/>
              <a:gd name="T40" fmla="*/ 866 w 866"/>
              <a:gd name="T41" fmla="*/ 417 h 690"/>
              <a:gd name="T42" fmla="*/ 866 w 866"/>
              <a:gd name="T43" fmla="*/ 369 h 690"/>
              <a:gd name="T44" fmla="*/ 823 w 866"/>
              <a:gd name="T45" fmla="*/ 333 h 690"/>
              <a:gd name="T46" fmla="*/ 804 w 866"/>
              <a:gd name="T47" fmla="*/ 358 h 690"/>
              <a:gd name="T48" fmla="*/ 750 w 866"/>
              <a:gd name="T49" fmla="*/ 346 h 690"/>
              <a:gd name="T50" fmla="*/ 682 w 866"/>
              <a:gd name="T51" fmla="*/ 403 h 690"/>
              <a:gd name="T52" fmla="*/ 634 w 866"/>
              <a:gd name="T53" fmla="*/ 358 h 690"/>
              <a:gd name="T54" fmla="*/ 693 w 866"/>
              <a:gd name="T55" fmla="*/ 320 h 690"/>
              <a:gd name="T56" fmla="*/ 678 w 866"/>
              <a:gd name="T57" fmla="*/ 299 h 690"/>
              <a:gd name="T58" fmla="*/ 712 w 866"/>
              <a:gd name="T59" fmla="*/ 267 h 690"/>
              <a:gd name="T60" fmla="*/ 701 w 866"/>
              <a:gd name="T61" fmla="*/ 234 h 690"/>
              <a:gd name="T62" fmla="*/ 667 w 866"/>
              <a:gd name="T63" fmla="*/ 240 h 690"/>
              <a:gd name="T64" fmla="*/ 627 w 866"/>
              <a:gd name="T65" fmla="*/ 211 h 690"/>
              <a:gd name="T66" fmla="*/ 678 w 866"/>
              <a:gd name="T67" fmla="*/ 198 h 690"/>
              <a:gd name="T68" fmla="*/ 672 w 866"/>
              <a:gd name="T69" fmla="*/ 158 h 690"/>
              <a:gd name="T70" fmla="*/ 602 w 866"/>
              <a:gd name="T71" fmla="*/ 116 h 690"/>
              <a:gd name="T72" fmla="*/ 594 w 866"/>
              <a:gd name="T73" fmla="*/ 109 h 690"/>
              <a:gd name="T74" fmla="*/ 490 w 866"/>
              <a:gd name="T75" fmla="*/ 128 h 690"/>
              <a:gd name="T76" fmla="*/ 469 w 866"/>
              <a:gd name="T77" fmla="*/ 107 h 690"/>
              <a:gd name="T78" fmla="*/ 486 w 866"/>
              <a:gd name="T79" fmla="*/ 27 h 690"/>
              <a:gd name="T80" fmla="*/ 444 w 866"/>
              <a:gd name="T81" fmla="*/ 0 h 690"/>
              <a:gd name="T82" fmla="*/ 444 w 866"/>
              <a:gd name="T83" fmla="*/ 0 h 690"/>
              <a:gd name="T84" fmla="*/ 444 w 866"/>
              <a:gd name="T85" fmla="*/ 0 h 6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6"/>
              <a:gd name="T130" fmla="*/ 0 h 690"/>
              <a:gd name="T131" fmla="*/ 866 w 866"/>
              <a:gd name="T132" fmla="*/ 690 h 6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6" h="690">
                <a:moveTo>
                  <a:pt x="444" y="0"/>
                </a:moveTo>
                <a:lnTo>
                  <a:pt x="195" y="318"/>
                </a:lnTo>
                <a:lnTo>
                  <a:pt x="108" y="348"/>
                </a:lnTo>
                <a:lnTo>
                  <a:pt x="117" y="384"/>
                </a:lnTo>
                <a:lnTo>
                  <a:pt x="256" y="411"/>
                </a:lnTo>
                <a:lnTo>
                  <a:pt x="195" y="479"/>
                </a:lnTo>
                <a:lnTo>
                  <a:pt x="0" y="497"/>
                </a:lnTo>
                <a:lnTo>
                  <a:pt x="9" y="554"/>
                </a:lnTo>
                <a:lnTo>
                  <a:pt x="117" y="567"/>
                </a:lnTo>
                <a:lnTo>
                  <a:pt x="112" y="618"/>
                </a:lnTo>
                <a:lnTo>
                  <a:pt x="237" y="690"/>
                </a:lnTo>
                <a:lnTo>
                  <a:pt x="319" y="690"/>
                </a:lnTo>
                <a:lnTo>
                  <a:pt x="355" y="637"/>
                </a:lnTo>
                <a:lnTo>
                  <a:pt x="429" y="649"/>
                </a:lnTo>
                <a:lnTo>
                  <a:pt x="496" y="620"/>
                </a:lnTo>
                <a:lnTo>
                  <a:pt x="560" y="622"/>
                </a:lnTo>
                <a:lnTo>
                  <a:pt x="693" y="536"/>
                </a:lnTo>
                <a:lnTo>
                  <a:pt x="741" y="536"/>
                </a:lnTo>
                <a:lnTo>
                  <a:pt x="745" y="500"/>
                </a:lnTo>
                <a:lnTo>
                  <a:pt x="815" y="491"/>
                </a:lnTo>
                <a:lnTo>
                  <a:pt x="866" y="417"/>
                </a:lnTo>
                <a:lnTo>
                  <a:pt x="866" y="369"/>
                </a:lnTo>
                <a:lnTo>
                  <a:pt x="823" y="333"/>
                </a:lnTo>
                <a:lnTo>
                  <a:pt x="804" y="358"/>
                </a:lnTo>
                <a:lnTo>
                  <a:pt x="750" y="346"/>
                </a:lnTo>
                <a:lnTo>
                  <a:pt x="682" y="403"/>
                </a:lnTo>
                <a:lnTo>
                  <a:pt x="634" y="358"/>
                </a:lnTo>
                <a:lnTo>
                  <a:pt x="693" y="320"/>
                </a:lnTo>
                <a:lnTo>
                  <a:pt x="678" y="299"/>
                </a:lnTo>
                <a:lnTo>
                  <a:pt x="712" y="267"/>
                </a:lnTo>
                <a:lnTo>
                  <a:pt x="701" y="234"/>
                </a:lnTo>
                <a:lnTo>
                  <a:pt x="667" y="240"/>
                </a:lnTo>
                <a:lnTo>
                  <a:pt x="627" y="211"/>
                </a:lnTo>
                <a:lnTo>
                  <a:pt x="678" y="198"/>
                </a:lnTo>
                <a:lnTo>
                  <a:pt x="672" y="158"/>
                </a:lnTo>
                <a:lnTo>
                  <a:pt x="602" y="116"/>
                </a:lnTo>
                <a:lnTo>
                  <a:pt x="594" y="109"/>
                </a:lnTo>
                <a:lnTo>
                  <a:pt x="490" y="128"/>
                </a:lnTo>
                <a:lnTo>
                  <a:pt x="469" y="107"/>
                </a:lnTo>
                <a:lnTo>
                  <a:pt x="486" y="27"/>
                </a:lnTo>
                <a:lnTo>
                  <a:pt x="444" y="0"/>
                </a:lnTo>
                <a:close/>
              </a:path>
            </a:pathLst>
          </a:custGeom>
          <a:solidFill>
            <a:schemeClr val="accent3"/>
          </a:solidFill>
          <a:ln w="12700">
            <a:solidFill>
              <a:schemeClr val="bg1"/>
            </a:solidFill>
            <a:round/>
            <a:headEnd/>
            <a:tailEnd/>
          </a:ln>
        </p:spPr>
        <p:txBody>
          <a:bodyPr/>
          <a:lstStyle/>
          <a:p>
            <a:pPr>
              <a:defRPr/>
            </a:pPr>
            <a:endParaRPr lang="nl-NL"/>
          </a:p>
        </p:txBody>
      </p:sp>
      <p:sp>
        <p:nvSpPr>
          <p:cNvPr id="8" name="Freeform 33"/>
          <p:cNvSpPr>
            <a:spLocks/>
          </p:cNvSpPr>
          <p:nvPr/>
        </p:nvSpPr>
        <p:spPr bwMode="auto">
          <a:xfrm>
            <a:off x="3781860" y="3793940"/>
            <a:ext cx="170381" cy="81121"/>
          </a:xfrm>
          <a:custGeom>
            <a:avLst/>
            <a:gdLst>
              <a:gd name="T0" fmla="*/ 0 w 159"/>
              <a:gd name="T1" fmla="*/ 0 h 70"/>
              <a:gd name="T2" fmla="*/ 36 w 159"/>
              <a:gd name="T3" fmla="*/ 21 h 70"/>
              <a:gd name="T4" fmla="*/ 125 w 159"/>
              <a:gd name="T5" fmla="*/ 15 h 70"/>
              <a:gd name="T6" fmla="*/ 159 w 159"/>
              <a:gd name="T7" fmla="*/ 46 h 70"/>
              <a:gd name="T8" fmla="*/ 123 w 159"/>
              <a:gd name="T9" fmla="*/ 61 h 70"/>
              <a:gd name="T10" fmla="*/ 60 w 159"/>
              <a:gd name="T11" fmla="*/ 51 h 70"/>
              <a:gd name="T12" fmla="*/ 22 w 159"/>
              <a:gd name="T13" fmla="*/ 70 h 70"/>
              <a:gd name="T14" fmla="*/ 0 w 159"/>
              <a:gd name="T15" fmla="*/ 0 h 70"/>
              <a:gd name="T16" fmla="*/ 0 w 159"/>
              <a:gd name="T17" fmla="*/ 0 h 70"/>
              <a:gd name="T18" fmla="*/ 0 w 159"/>
              <a:gd name="T19" fmla="*/ 0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9"/>
              <a:gd name="T31" fmla="*/ 0 h 70"/>
              <a:gd name="T32" fmla="*/ 159 w 159"/>
              <a:gd name="T33" fmla="*/ 70 h 7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9" h="70">
                <a:moveTo>
                  <a:pt x="0" y="0"/>
                </a:moveTo>
                <a:lnTo>
                  <a:pt x="36" y="21"/>
                </a:lnTo>
                <a:lnTo>
                  <a:pt x="125" y="15"/>
                </a:lnTo>
                <a:lnTo>
                  <a:pt x="159" y="46"/>
                </a:lnTo>
                <a:lnTo>
                  <a:pt x="123" y="61"/>
                </a:lnTo>
                <a:lnTo>
                  <a:pt x="60" y="51"/>
                </a:lnTo>
                <a:lnTo>
                  <a:pt x="22" y="70"/>
                </a:lnTo>
                <a:lnTo>
                  <a:pt x="0" y="0"/>
                </a:lnTo>
                <a:close/>
              </a:path>
            </a:pathLst>
          </a:custGeom>
          <a:solidFill>
            <a:schemeClr val="accent3"/>
          </a:solidFill>
          <a:ln w="12700">
            <a:solidFill>
              <a:schemeClr val="bg1"/>
            </a:solidFill>
            <a:round/>
            <a:headEnd/>
            <a:tailEnd/>
          </a:ln>
        </p:spPr>
        <p:txBody>
          <a:bodyPr/>
          <a:lstStyle/>
          <a:p>
            <a:pPr>
              <a:defRPr/>
            </a:pPr>
            <a:endParaRPr lang="nl-NL"/>
          </a:p>
        </p:txBody>
      </p:sp>
      <p:sp>
        <p:nvSpPr>
          <p:cNvPr id="9" name="Freeform 34"/>
          <p:cNvSpPr>
            <a:spLocks/>
          </p:cNvSpPr>
          <p:nvPr/>
        </p:nvSpPr>
        <p:spPr bwMode="auto">
          <a:xfrm>
            <a:off x="3547586" y="4037303"/>
            <a:ext cx="615502" cy="245682"/>
          </a:xfrm>
          <a:custGeom>
            <a:avLst/>
            <a:gdLst>
              <a:gd name="T0" fmla="*/ 578 w 578"/>
              <a:gd name="T1" fmla="*/ 57 h 213"/>
              <a:gd name="T2" fmla="*/ 511 w 578"/>
              <a:gd name="T3" fmla="*/ 152 h 213"/>
              <a:gd name="T4" fmla="*/ 428 w 578"/>
              <a:gd name="T5" fmla="*/ 179 h 213"/>
              <a:gd name="T6" fmla="*/ 399 w 578"/>
              <a:gd name="T7" fmla="*/ 213 h 213"/>
              <a:gd name="T8" fmla="*/ 262 w 578"/>
              <a:gd name="T9" fmla="*/ 184 h 213"/>
              <a:gd name="T10" fmla="*/ 279 w 578"/>
              <a:gd name="T11" fmla="*/ 158 h 213"/>
              <a:gd name="T12" fmla="*/ 181 w 578"/>
              <a:gd name="T13" fmla="*/ 114 h 213"/>
              <a:gd name="T14" fmla="*/ 110 w 578"/>
              <a:gd name="T15" fmla="*/ 114 h 213"/>
              <a:gd name="T16" fmla="*/ 91 w 578"/>
              <a:gd name="T17" fmla="*/ 158 h 213"/>
              <a:gd name="T18" fmla="*/ 4 w 578"/>
              <a:gd name="T19" fmla="*/ 152 h 213"/>
              <a:gd name="T20" fmla="*/ 23 w 578"/>
              <a:gd name="T21" fmla="*/ 82 h 213"/>
              <a:gd name="T22" fmla="*/ 0 w 578"/>
              <a:gd name="T23" fmla="*/ 38 h 213"/>
              <a:gd name="T24" fmla="*/ 99 w 578"/>
              <a:gd name="T25" fmla="*/ 0 h 213"/>
              <a:gd name="T26" fmla="*/ 181 w 578"/>
              <a:gd name="T27" fmla="*/ 15 h 213"/>
              <a:gd name="T28" fmla="*/ 298 w 578"/>
              <a:gd name="T29" fmla="*/ 72 h 213"/>
              <a:gd name="T30" fmla="*/ 416 w 578"/>
              <a:gd name="T31" fmla="*/ 48 h 213"/>
              <a:gd name="T32" fmla="*/ 424 w 578"/>
              <a:gd name="T33" fmla="*/ 29 h 213"/>
              <a:gd name="T34" fmla="*/ 540 w 578"/>
              <a:gd name="T35" fmla="*/ 67 h 213"/>
              <a:gd name="T36" fmla="*/ 578 w 578"/>
              <a:gd name="T37" fmla="*/ 57 h 213"/>
              <a:gd name="T38" fmla="*/ 578 w 578"/>
              <a:gd name="T39" fmla="*/ 57 h 213"/>
              <a:gd name="T40" fmla="*/ 578 w 578"/>
              <a:gd name="T41" fmla="*/ 57 h 2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8"/>
              <a:gd name="T64" fmla="*/ 0 h 213"/>
              <a:gd name="T65" fmla="*/ 578 w 578"/>
              <a:gd name="T66" fmla="*/ 213 h 2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8" h="213">
                <a:moveTo>
                  <a:pt x="578" y="57"/>
                </a:moveTo>
                <a:lnTo>
                  <a:pt x="511" y="152"/>
                </a:lnTo>
                <a:lnTo>
                  <a:pt x="428" y="179"/>
                </a:lnTo>
                <a:lnTo>
                  <a:pt x="399" y="213"/>
                </a:lnTo>
                <a:lnTo>
                  <a:pt x="262" y="184"/>
                </a:lnTo>
                <a:lnTo>
                  <a:pt x="279" y="158"/>
                </a:lnTo>
                <a:lnTo>
                  <a:pt x="181" y="114"/>
                </a:lnTo>
                <a:lnTo>
                  <a:pt x="110" y="114"/>
                </a:lnTo>
                <a:lnTo>
                  <a:pt x="91" y="158"/>
                </a:lnTo>
                <a:lnTo>
                  <a:pt x="4" y="152"/>
                </a:lnTo>
                <a:lnTo>
                  <a:pt x="23" y="82"/>
                </a:lnTo>
                <a:lnTo>
                  <a:pt x="0" y="38"/>
                </a:lnTo>
                <a:lnTo>
                  <a:pt x="99" y="0"/>
                </a:lnTo>
                <a:lnTo>
                  <a:pt x="181" y="15"/>
                </a:lnTo>
                <a:lnTo>
                  <a:pt x="298" y="72"/>
                </a:lnTo>
                <a:lnTo>
                  <a:pt x="416" y="48"/>
                </a:lnTo>
                <a:lnTo>
                  <a:pt x="424" y="29"/>
                </a:lnTo>
                <a:lnTo>
                  <a:pt x="540" y="67"/>
                </a:lnTo>
                <a:lnTo>
                  <a:pt x="578" y="57"/>
                </a:lnTo>
                <a:close/>
              </a:path>
            </a:pathLst>
          </a:custGeom>
          <a:solidFill>
            <a:schemeClr val="accent3"/>
          </a:solidFill>
          <a:ln w="12700">
            <a:solidFill>
              <a:schemeClr val="bg1"/>
            </a:solidFill>
            <a:round/>
            <a:headEnd/>
            <a:tailEnd/>
          </a:ln>
        </p:spPr>
        <p:txBody>
          <a:bodyPr/>
          <a:lstStyle/>
          <a:p>
            <a:pPr>
              <a:defRPr/>
            </a:pPr>
            <a:endParaRPr lang="nl-NL"/>
          </a:p>
        </p:txBody>
      </p:sp>
      <p:sp>
        <p:nvSpPr>
          <p:cNvPr id="11" name="Freeform 35"/>
          <p:cNvSpPr>
            <a:spLocks/>
          </p:cNvSpPr>
          <p:nvPr/>
        </p:nvSpPr>
        <p:spPr bwMode="auto">
          <a:xfrm>
            <a:off x="4761550" y="2359251"/>
            <a:ext cx="658097" cy="686055"/>
          </a:xfrm>
          <a:custGeom>
            <a:avLst/>
            <a:gdLst>
              <a:gd name="T0" fmla="*/ 405 w 618"/>
              <a:gd name="T1" fmla="*/ 0 h 593"/>
              <a:gd name="T2" fmla="*/ 320 w 618"/>
              <a:gd name="T3" fmla="*/ 66 h 593"/>
              <a:gd name="T4" fmla="*/ 329 w 618"/>
              <a:gd name="T5" fmla="*/ 176 h 593"/>
              <a:gd name="T6" fmla="*/ 365 w 618"/>
              <a:gd name="T7" fmla="*/ 220 h 593"/>
              <a:gd name="T8" fmla="*/ 291 w 618"/>
              <a:gd name="T9" fmla="*/ 224 h 593"/>
              <a:gd name="T10" fmla="*/ 229 w 618"/>
              <a:gd name="T11" fmla="*/ 283 h 593"/>
              <a:gd name="T12" fmla="*/ 164 w 618"/>
              <a:gd name="T13" fmla="*/ 169 h 593"/>
              <a:gd name="T14" fmla="*/ 67 w 618"/>
              <a:gd name="T15" fmla="*/ 232 h 593"/>
              <a:gd name="T16" fmla="*/ 0 w 618"/>
              <a:gd name="T17" fmla="*/ 228 h 593"/>
              <a:gd name="T18" fmla="*/ 0 w 618"/>
              <a:gd name="T19" fmla="*/ 296 h 593"/>
              <a:gd name="T20" fmla="*/ 40 w 618"/>
              <a:gd name="T21" fmla="*/ 336 h 593"/>
              <a:gd name="T22" fmla="*/ 0 w 618"/>
              <a:gd name="T23" fmla="*/ 380 h 593"/>
              <a:gd name="T24" fmla="*/ 0 w 618"/>
              <a:gd name="T25" fmla="*/ 460 h 593"/>
              <a:gd name="T26" fmla="*/ 65 w 618"/>
              <a:gd name="T27" fmla="*/ 551 h 593"/>
              <a:gd name="T28" fmla="*/ 143 w 618"/>
              <a:gd name="T29" fmla="*/ 545 h 593"/>
              <a:gd name="T30" fmla="*/ 170 w 618"/>
              <a:gd name="T31" fmla="*/ 583 h 593"/>
              <a:gd name="T32" fmla="*/ 232 w 618"/>
              <a:gd name="T33" fmla="*/ 593 h 593"/>
              <a:gd name="T34" fmla="*/ 312 w 618"/>
              <a:gd name="T35" fmla="*/ 570 h 593"/>
              <a:gd name="T36" fmla="*/ 312 w 618"/>
              <a:gd name="T37" fmla="*/ 513 h 593"/>
              <a:gd name="T38" fmla="*/ 457 w 618"/>
              <a:gd name="T39" fmla="*/ 416 h 593"/>
              <a:gd name="T40" fmla="*/ 498 w 618"/>
              <a:gd name="T41" fmla="*/ 344 h 593"/>
              <a:gd name="T42" fmla="*/ 495 w 618"/>
              <a:gd name="T43" fmla="*/ 294 h 593"/>
              <a:gd name="T44" fmla="*/ 432 w 618"/>
              <a:gd name="T45" fmla="*/ 237 h 593"/>
              <a:gd name="T46" fmla="*/ 567 w 618"/>
              <a:gd name="T47" fmla="*/ 239 h 593"/>
              <a:gd name="T48" fmla="*/ 618 w 618"/>
              <a:gd name="T49" fmla="*/ 226 h 593"/>
              <a:gd name="T50" fmla="*/ 569 w 618"/>
              <a:gd name="T51" fmla="*/ 176 h 593"/>
              <a:gd name="T52" fmla="*/ 567 w 618"/>
              <a:gd name="T53" fmla="*/ 140 h 593"/>
              <a:gd name="T54" fmla="*/ 607 w 618"/>
              <a:gd name="T55" fmla="*/ 135 h 593"/>
              <a:gd name="T56" fmla="*/ 607 w 618"/>
              <a:gd name="T57" fmla="*/ 93 h 593"/>
              <a:gd name="T58" fmla="*/ 460 w 618"/>
              <a:gd name="T59" fmla="*/ 34 h 593"/>
              <a:gd name="T60" fmla="*/ 405 w 618"/>
              <a:gd name="T61" fmla="*/ 0 h 593"/>
              <a:gd name="T62" fmla="*/ 405 w 618"/>
              <a:gd name="T63" fmla="*/ 0 h 593"/>
              <a:gd name="T64" fmla="*/ 405 w 618"/>
              <a:gd name="T65" fmla="*/ 0 h 5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18"/>
              <a:gd name="T100" fmla="*/ 0 h 593"/>
              <a:gd name="T101" fmla="*/ 618 w 618"/>
              <a:gd name="T102" fmla="*/ 593 h 59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18" h="593">
                <a:moveTo>
                  <a:pt x="405" y="0"/>
                </a:moveTo>
                <a:lnTo>
                  <a:pt x="320" y="66"/>
                </a:lnTo>
                <a:lnTo>
                  <a:pt x="329" y="176"/>
                </a:lnTo>
                <a:lnTo>
                  <a:pt x="365" y="220"/>
                </a:lnTo>
                <a:lnTo>
                  <a:pt x="291" y="224"/>
                </a:lnTo>
                <a:lnTo>
                  <a:pt x="229" y="283"/>
                </a:lnTo>
                <a:lnTo>
                  <a:pt x="164" y="169"/>
                </a:lnTo>
                <a:lnTo>
                  <a:pt x="67" y="232"/>
                </a:lnTo>
                <a:lnTo>
                  <a:pt x="0" y="228"/>
                </a:lnTo>
                <a:lnTo>
                  <a:pt x="0" y="296"/>
                </a:lnTo>
                <a:lnTo>
                  <a:pt x="40" y="336"/>
                </a:lnTo>
                <a:lnTo>
                  <a:pt x="0" y="380"/>
                </a:lnTo>
                <a:lnTo>
                  <a:pt x="0" y="460"/>
                </a:lnTo>
                <a:lnTo>
                  <a:pt x="65" y="551"/>
                </a:lnTo>
                <a:lnTo>
                  <a:pt x="143" y="545"/>
                </a:lnTo>
                <a:lnTo>
                  <a:pt x="170" y="583"/>
                </a:lnTo>
                <a:lnTo>
                  <a:pt x="232" y="593"/>
                </a:lnTo>
                <a:lnTo>
                  <a:pt x="312" y="570"/>
                </a:lnTo>
                <a:lnTo>
                  <a:pt x="312" y="513"/>
                </a:lnTo>
                <a:lnTo>
                  <a:pt x="457" y="416"/>
                </a:lnTo>
                <a:lnTo>
                  <a:pt x="498" y="344"/>
                </a:lnTo>
                <a:lnTo>
                  <a:pt x="495" y="294"/>
                </a:lnTo>
                <a:lnTo>
                  <a:pt x="432" y="237"/>
                </a:lnTo>
                <a:lnTo>
                  <a:pt x="567" y="239"/>
                </a:lnTo>
                <a:lnTo>
                  <a:pt x="618" y="226"/>
                </a:lnTo>
                <a:lnTo>
                  <a:pt x="569" y="176"/>
                </a:lnTo>
                <a:lnTo>
                  <a:pt x="567" y="140"/>
                </a:lnTo>
                <a:lnTo>
                  <a:pt x="607" y="135"/>
                </a:lnTo>
                <a:lnTo>
                  <a:pt x="607" y="93"/>
                </a:lnTo>
                <a:lnTo>
                  <a:pt x="460" y="34"/>
                </a:lnTo>
                <a:lnTo>
                  <a:pt x="405" y="0"/>
                </a:lnTo>
                <a:close/>
              </a:path>
            </a:pathLst>
          </a:custGeom>
          <a:solidFill>
            <a:schemeClr val="accent3"/>
          </a:solidFill>
          <a:ln w="12700">
            <a:solidFill>
              <a:schemeClr val="bg1"/>
            </a:solidFill>
            <a:round/>
            <a:headEnd/>
            <a:tailEnd/>
          </a:ln>
        </p:spPr>
        <p:txBody>
          <a:bodyPr/>
          <a:lstStyle/>
          <a:p>
            <a:pPr>
              <a:defRPr/>
            </a:pPr>
            <a:endParaRPr lang="nl-NL"/>
          </a:p>
        </p:txBody>
      </p:sp>
      <p:sp>
        <p:nvSpPr>
          <p:cNvPr id="12" name="Freeform 36"/>
          <p:cNvSpPr>
            <a:spLocks/>
          </p:cNvSpPr>
          <p:nvPr/>
        </p:nvSpPr>
        <p:spPr bwMode="auto">
          <a:xfrm>
            <a:off x="4092805" y="3752220"/>
            <a:ext cx="102229" cy="129794"/>
          </a:xfrm>
          <a:custGeom>
            <a:avLst/>
            <a:gdLst>
              <a:gd name="T0" fmla="*/ 65 w 95"/>
              <a:gd name="T1" fmla="*/ 6 h 110"/>
              <a:gd name="T2" fmla="*/ 48 w 95"/>
              <a:gd name="T3" fmla="*/ 13 h 110"/>
              <a:gd name="T4" fmla="*/ 0 w 95"/>
              <a:gd name="T5" fmla="*/ 0 h 110"/>
              <a:gd name="T6" fmla="*/ 8 w 95"/>
              <a:gd name="T7" fmla="*/ 40 h 110"/>
              <a:gd name="T8" fmla="*/ 95 w 95"/>
              <a:gd name="T9" fmla="*/ 110 h 110"/>
              <a:gd name="T10" fmla="*/ 65 w 95"/>
              <a:gd name="T11" fmla="*/ 6 h 110"/>
              <a:gd name="T12" fmla="*/ 65 w 95"/>
              <a:gd name="T13" fmla="*/ 6 h 110"/>
              <a:gd name="T14" fmla="*/ 65 w 95"/>
              <a:gd name="T15" fmla="*/ 6 h 110"/>
              <a:gd name="T16" fmla="*/ 0 60000 65536"/>
              <a:gd name="T17" fmla="*/ 0 60000 65536"/>
              <a:gd name="T18" fmla="*/ 0 60000 65536"/>
              <a:gd name="T19" fmla="*/ 0 60000 65536"/>
              <a:gd name="T20" fmla="*/ 0 60000 65536"/>
              <a:gd name="T21" fmla="*/ 0 60000 65536"/>
              <a:gd name="T22" fmla="*/ 0 60000 65536"/>
              <a:gd name="T23" fmla="*/ 0 60000 65536"/>
              <a:gd name="T24" fmla="*/ 0 w 95"/>
              <a:gd name="T25" fmla="*/ 0 h 110"/>
              <a:gd name="T26" fmla="*/ 95 w 95"/>
              <a:gd name="T27" fmla="*/ 110 h 1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5" h="110">
                <a:moveTo>
                  <a:pt x="65" y="6"/>
                </a:moveTo>
                <a:lnTo>
                  <a:pt x="48" y="13"/>
                </a:lnTo>
                <a:lnTo>
                  <a:pt x="0" y="0"/>
                </a:lnTo>
                <a:lnTo>
                  <a:pt x="8" y="40"/>
                </a:lnTo>
                <a:lnTo>
                  <a:pt x="95" y="110"/>
                </a:lnTo>
                <a:lnTo>
                  <a:pt x="65" y="6"/>
                </a:lnTo>
                <a:close/>
              </a:path>
            </a:pathLst>
          </a:custGeom>
          <a:solidFill>
            <a:schemeClr val="accent3"/>
          </a:solidFill>
          <a:ln w="12700">
            <a:solidFill>
              <a:schemeClr val="bg1"/>
            </a:solidFill>
            <a:round/>
            <a:headEnd/>
            <a:tailEnd/>
          </a:ln>
        </p:spPr>
        <p:txBody>
          <a:bodyPr/>
          <a:lstStyle/>
          <a:p>
            <a:pPr>
              <a:defRPr/>
            </a:pPr>
            <a:endParaRPr lang="nl-NL"/>
          </a:p>
        </p:txBody>
      </p:sp>
      <p:sp>
        <p:nvSpPr>
          <p:cNvPr id="13" name="Freeform 37"/>
          <p:cNvSpPr>
            <a:spLocks/>
          </p:cNvSpPr>
          <p:nvPr/>
        </p:nvSpPr>
        <p:spPr bwMode="auto">
          <a:xfrm>
            <a:off x="3941591" y="4505489"/>
            <a:ext cx="900890" cy="623475"/>
          </a:xfrm>
          <a:custGeom>
            <a:avLst/>
            <a:gdLst>
              <a:gd name="T0" fmla="*/ 608 w 845"/>
              <a:gd name="T1" fmla="*/ 30 h 538"/>
              <a:gd name="T2" fmla="*/ 555 w 845"/>
              <a:gd name="T3" fmla="*/ 15 h 538"/>
              <a:gd name="T4" fmla="*/ 538 w 845"/>
              <a:gd name="T5" fmla="*/ 32 h 538"/>
              <a:gd name="T6" fmla="*/ 429 w 845"/>
              <a:gd name="T7" fmla="*/ 32 h 538"/>
              <a:gd name="T8" fmla="*/ 367 w 845"/>
              <a:gd name="T9" fmla="*/ 21 h 538"/>
              <a:gd name="T10" fmla="*/ 355 w 845"/>
              <a:gd name="T11" fmla="*/ 40 h 538"/>
              <a:gd name="T12" fmla="*/ 315 w 845"/>
              <a:gd name="T13" fmla="*/ 40 h 538"/>
              <a:gd name="T14" fmla="*/ 281 w 845"/>
              <a:gd name="T15" fmla="*/ 4 h 538"/>
              <a:gd name="T16" fmla="*/ 222 w 845"/>
              <a:gd name="T17" fmla="*/ 0 h 538"/>
              <a:gd name="T18" fmla="*/ 142 w 845"/>
              <a:gd name="T19" fmla="*/ 55 h 538"/>
              <a:gd name="T20" fmla="*/ 159 w 845"/>
              <a:gd name="T21" fmla="*/ 114 h 538"/>
              <a:gd name="T22" fmla="*/ 127 w 845"/>
              <a:gd name="T23" fmla="*/ 114 h 538"/>
              <a:gd name="T24" fmla="*/ 72 w 845"/>
              <a:gd name="T25" fmla="*/ 165 h 538"/>
              <a:gd name="T26" fmla="*/ 83 w 845"/>
              <a:gd name="T27" fmla="*/ 247 h 538"/>
              <a:gd name="T28" fmla="*/ 0 w 845"/>
              <a:gd name="T29" fmla="*/ 285 h 538"/>
              <a:gd name="T30" fmla="*/ 36 w 845"/>
              <a:gd name="T31" fmla="*/ 325 h 538"/>
              <a:gd name="T32" fmla="*/ 36 w 845"/>
              <a:gd name="T33" fmla="*/ 352 h 538"/>
              <a:gd name="T34" fmla="*/ 76 w 845"/>
              <a:gd name="T35" fmla="*/ 336 h 538"/>
              <a:gd name="T36" fmla="*/ 110 w 845"/>
              <a:gd name="T37" fmla="*/ 352 h 538"/>
              <a:gd name="T38" fmla="*/ 110 w 845"/>
              <a:gd name="T39" fmla="*/ 399 h 538"/>
              <a:gd name="T40" fmla="*/ 142 w 845"/>
              <a:gd name="T41" fmla="*/ 420 h 538"/>
              <a:gd name="T42" fmla="*/ 178 w 845"/>
              <a:gd name="T43" fmla="*/ 409 h 538"/>
              <a:gd name="T44" fmla="*/ 214 w 845"/>
              <a:gd name="T45" fmla="*/ 426 h 538"/>
              <a:gd name="T46" fmla="*/ 201 w 845"/>
              <a:gd name="T47" fmla="*/ 449 h 538"/>
              <a:gd name="T48" fmla="*/ 287 w 845"/>
              <a:gd name="T49" fmla="*/ 479 h 538"/>
              <a:gd name="T50" fmla="*/ 365 w 845"/>
              <a:gd name="T51" fmla="*/ 498 h 538"/>
              <a:gd name="T52" fmla="*/ 382 w 845"/>
              <a:gd name="T53" fmla="*/ 538 h 538"/>
              <a:gd name="T54" fmla="*/ 425 w 845"/>
              <a:gd name="T55" fmla="*/ 525 h 538"/>
              <a:gd name="T56" fmla="*/ 429 w 845"/>
              <a:gd name="T57" fmla="*/ 487 h 538"/>
              <a:gd name="T58" fmla="*/ 492 w 845"/>
              <a:gd name="T59" fmla="*/ 496 h 538"/>
              <a:gd name="T60" fmla="*/ 507 w 845"/>
              <a:gd name="T61" fmla="*/ 464 h 538"/>
              <a:gd name="T62" fmla="*/ 551 w 845"/>
              <a:gd name="T63" fmla="*/ 449 h 538"/>
              <a:gd name="T64" fmla="*/ 581 w 845"/>
              <a:gd name="T65" fmla="*/ 469 h 538"/>
              <a:gd name="T66" fmla="*/ 688 w 845"/>
              <a:gd name="T67" fmla="*/ 426 h 538"/>
              <a:gd name="T68" fmla="*/ 699 w 845"/>
              <a:gd name="T69" fmla="*/ 449 h 538"/>
              <a:gd name="T70" fmla="*/ 728 w 845"/>
              <a:gd name="T71" fmla="*/ 416 h 538"/>
              <a:gd name="T72" fmla="*/ 705 w 845"/>
              <a:gd name="T73" fmla="*/ 378 h 538"/>
              <a:gd name="T74" fmla="*/ 720 w 845"/>
              <a:gd name="T75" fmla="*/ 327 h 538"/>
              <a:gd name="T76" fmla="*/ 771 w 845"/>
              <a:gd name="T77" fmla="*/ 336 h 538"/>
              <a:gd name="T78" fmla="*/ 771 w 845"/>
              <a:gd name="T79" fmla="*/ 268 h 538"/>
              <a:gd name="T80" fmla="*/ 800 w 845"/>
              <a:gd name="T81" fmla="*/ 268 h 538"/>
              <a:gd name="T82" fmla="*/ 802 w 845"/>
              <a:gd name="T83" fmla="*/ 245 h 538"/>
              <a:gd name="T84" fmla="*/ 785 w 845"/>
              <a:gd name="T85" fmla="*/ 228 h 538"/>
              <a:gd name="T86" fmla="*/ 845 w 845"/>
              <a:gd name="T87" fmla="*/ 154 h 538"/>
              <a:gd name="T88" fmla="*/ 826 w 845"/>
              <a:gd name="T89" fmla="*/ 131 h 538"/>
              <a:gd name="T90" fmla="*/ 749 w 845"/>
              <a:gd name="T91" fmla="*/ 114 h 538"/>
              <a:gd name="T92" fmla="*/ 749 w 845"/>
              <a:gd name="T93" fmla="*/ 86 h 538"/>
              <a:gd name="T94" fmla="*/ 800 w 845"/>
              <a:gd name="T95" fmla="*/ 23 h 538"/>
              <a:gd name="T96" fmla="*/ 794 w 845"/>
              <a:gd name="T97" fmla="*/ 0 h 538"/>
              <a:gd name="T98" fmla="*/ 756 w 845"/>
              <a:gd name="T99" fmla="*/ 0 h 538"/>
              <a:gd name="T100" fmla="*/ 745 w 845"/>
              <a:gd name="T101" fmla="*/ 19 h 538"/>
              <a:gd name="T102" fmla="*/ 718 w 845"/>
              <a:gd name="T103" fmla="*/ 0 h 538"/>
              <a:gd name="T104" fmla="*/ 608 w 845"/>
              <a:gd name="T105" fmla="*/ 30 h 538"/>
              <a:gd name="T106" fmla="*/ 608 w 845"/>
              <a:gd name="T107" fmla="*/ 30 h 538"/>
              <a:gd name="T108" fmla="*/ 608 w 845"/>
              <a:gd name="T109" fmla="*/ 30 h 5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45"/>
              <a:gd name="T166" fmla="*/ 0 h 538"/>
              <a:gd name="T167" fmla="*/ 845 w 845"/>
              <a:gd name="T168" fmla="*/ 538 h 5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45" h="538">
                <a:moveTo>
                  <a:pt x="608" y="30"/>
                </a:moveTo>
                <a:lnTo>
                  <a:pt x="555" y="15"/>
                </a:lnTo>
                <a:lnTo>
                  <a:pt x="538" y="32"/>
                </a:lnTo>
                <a:lnTo>
                  <a:pt x="429" y="32"/>
                </a:lnTo>
                <a:lnTo>
                  <a:pt x="367" y="21"/>
                </a:lnTo>
                <a:lnTo>
                  <a:pt x="355" y="40"/>
                </a:lnTo>
                <a:lnTo>
                  <a:pt x="315" y="40"/>
                </a:lnTo>
                <a:lnTo>
                  <a:pt x="281" y="4"/>
                </a:lnTo>
                <a:lnTo>
                  <a:pt x="222" y="0"/>
                </a:lnTo>
                <a:lnTo>
                  <a:pt x="142" y="55"/>
                </a:lnTo>
                <a:lnTo>
                  <a:pt x="159" y="114"/>
                </a:lnTo>
                <a:lnTo>
                  <a:pt x="127" y="114"/>
                </a:lnTo>
                <a:lnTo>
                  <a:pt x="72" y="165"/>
                </a:lnTo>
                <a:lnTo>
                  <a:pt x="83" y="247"/>
                </a:lnTo>
                <a:lnTo>
                  <a:pt x="0" y="285"/>
                </a:lnTo>
                <a:lnTo>
                  <a:pt x="36" y="325"/>
                </a:lnTo>
                <a:lnTo>
                  <a:pt x="36" y="352"/>
                </a:lnTo>
                <a:lnTo>
                  <a:pt x="76" y="336"/>
                </a:lnTo>
                <a:lnTo>
                  <a:pt x="110" y="352"/>
                </a:lnTo>
                <a:lnTo>
                  <a:pt x="110" y="399"/>
                </a:lnTo>
                <a:lnTo>
                  <a:pt x="142" y="420"/>
                </a:lnTo>
                <a:lnTo>
                  <a:pt x="178" y="409"/>
                </a:lnTo>
                <a:lnTo>
                  <a:pt x="214" y="426"/>
                </a:lnTo>
                <a:lnTo>
                  <a:pt x="201" y="449"/>
                </a:lnTo>
                <a:lnTo>
                  <a:pt x="287" y="479"/>
                </a:lnTo>
                <a:lnTo>
                  <a:pt x="365" y="498"/>
                </a:lnTo>
                <a:lnTo>
                  <a:pt x="382" y="538"/>
                </a:lnTo>
                <a:lnTo>
                  <a:pt x="425" y="525"/>
                </a:lnTo>
                <a:lnTo>
                  <a:pt x="429" y="487"/>
                </a:lnTo>
                <a:lnTo>
                  <a:pt x="492" y="496"/>
                </a:lnTo>
                <a:lnTo>
                  <a:pt x="507" y="464"/>
                </a:lnTo>
                <a:lnTo>
                  <a:pt x="551" y="449"/>
                </a:lnTo>
                <a:lnTo>
                  <a:pt x="581" y="469"/>
                </a:lnTo>
                <a:lnTo>
                  <a:pt x="688" y="426"/>
                </a:lnTo>
                <a:lnTo>
                  <a:pt x="699" y="449"/>
                </a:lnTo>
                <a:lnTo>
                  <a:pt x="728" y="416"/>
                </a:lnTo>
                <a:lnTo>
                  <a:pt x="705" y="378"/>
                </a:lnTo>
                <a:lnTo>
                  <a:pt x="720" y="327"/>
                </a:lnTo>
                <a:lnTo>
                  <a:pt x="771" y="336"/>
                </a:lnTo>
                <a:lnTo>
                  <a:pt x="771" y="268"/>
                </a:lnTo>
                <a:lnTo>
                  <a:pt x="800" y="268"/>
                </a:lnTo>
                <a:lnTo>
                  <a:pt x="802" y="245"/>
                </a:lnTo>
                <a:lnTo>
                  <a:pt x="785" y="228"/>
                </a:lnTo>
                <a:lnTo>
                  <a:pt x="845" y="154"/>
                </a:lnTo>
                <a:lnTo>
                  <a:pt x="826" y="131"/>
                </a:lnTo>
                <a:lnTo>
                  <a:pt x="749" y="114"/>
                </a:lnTo>
                <a:lnTo>
                  <a:pt x="749" y="86"/>
                </a:lnTo>
                <a:lnTo>
                  <a:pt x="800" y="23"/>
                </a:lnTo>
                <a:lnTo>
                  <a:pt x="794" y="0"/>
                </a:lnTo>
                <a:lnTo>
                  <a:pt x="756" y="0"/>
                </a:lnTo>
                <a:lnTo>
                  <a:pt x="745" y="19"/>
                </a:lnTo>
                <a:lnTo>
                  <a:pt x="718" y="0"/>
                </a:lnTo>
                <a:lnTo>
                  <a:pt x="608" y="30"/>
                </a:lnTo>
                <a:close/>
              </a:path>
            </a:pathLst>
          </a:custGeom>
          <a:solidFill>
            <a:schemeClr val="accent3"/>
          </a:solidFill>
          <a:ln w="12700">
            <a:solidFill>
              <a:schemeClr val="bg1"/>
            </a:solidFill>
            <a:round/>
            <a:headEnd/>
            <a:tailEnd/>
          </a:ln>
        </p:spPr>
        <p:txBody>
          <a:bodyPr/>
          <a:lstStyle/>
          <a:p>
            <a:pPr>
              <a:defRPr/>
            </a:pPr>
            <a:endParaRPr lang="nl-NL"/>
          </a:p>
        </p:txBody>
      </p:sp>
      <p:sp>
        <p:nvSpPr>
          <p:cNvPr id="14" name="Freeform 38"/>
          <p:cNvSpPr>
            <a:spLocks/>
          </p:cNvSpPr>
          <p:nvPr/>
        </p:nvSpPr>
        <p:spPr bwMode="auto">
          <a:xfrm>
            <a:off x="4695527" y="4199546"/>
            <a:ext cx="600593" cy="748633"/>
          </a:xfrm>
          <a:custGeom>
            <a:avLst/>
            <a:gdLst>
              <a:gd name="T0" fmla="*/ 342 w 562"/>
              <a:gd name="T1" fmla="*/ 0 h 644"/>
              <a:gd name="T2" fmla="*/ 300 w 562"/>
              <a:gd name="T3" fmla="*/ 28 h 644"/>
              <a:gd name="T4" fmla="*/ 167 w 562"/>
              <a:gd name="T5" fmla="*/ 17 h 644"/>
              <a:gd name="T6" fmla="*/ 159 w 562"/>
              <a:gd name="T7" fmla="*/ 87 h 644"/>
              <a:gd name="T8" fmla="*/ 174 w 562"/>
              <a:gd name="T9" fmla="*/ 163 h 644"/>
              <a:gd name="T10" fmla="*/ 95 w 562"/>
              <a:gd name="T11" fmla="*/ 178 h 644"/>
              <a:gd name="T12" fmla="*/ 0 w 562"/>
              <a:gd name="T13" fmla="*/ 256 h 644"/>
              <a:gd name="T14" fmla="*/ 11 w 562"/>
              <a:gd name="T15" fmla="*/ 268 h 644"/>
              <a:gd name="T16" fmla="*/ 36 w 562"/>
              <a:gd name="T17" fmla="*/ 283 h 644"/>
              <a:gd name="T18" fmla="*/ 45 w 562"/>
              <a:gd name="T19" fmla="*/ 266 h 644"/>
              <a:gd name="T20" fmla="*/ 85 w 562"/>
              <a:gd name="T21" fmla="*/ 266 h 644"/>
              <a:gd name="T22" fmla="*/ 87 w 562"/>
              <a:gd name="T23" fmla="*/ 289 h 644"/>
              <a:gd name="T24" fmla="*/ 40 w 562"/>
              <a:gd name="T25" fmla="*/ 350 h 644"/>
              <a:gd name="T26" fmla="*/ 40 w 562"/>
              <a:gd name="T27" fmla="*/ 376 h 644"/>
              <a:gd name="T28" fmla="*/ 117 w 562"/>
              <a:gd name="T29" fmla="*/ 397 h 644"/>
              <a:gd name="T30" fmla="*/ 135 w 562"/>
              <a:gd name="T31" fmla="*/ 420 h 644"/>
              <a:gd name="T32" fmla="*/ 76 w 562"/>
              <a:gd name="T33" fmla="*/ 492 h 644"/>
              <a:gd name="T34" fmla="*/ 91 w 562"/>
              <a:gd name="T35" fmla="*/ 509 h 644"/>
              <a:gd name="T36" fmla="*/ 93 w 562"/>
              <a:gd name="T37" fmla="*/ 532 h 644"/>
              <a:gd name="T38" fmla="*/ 62 w 562"/>
              <a:gd name="T39" fmla="*/ 532 h 644"/>
              <a:gd name="T40" fmla="*/ 62 w 562"/>
              <a:gd name="T41" fmla="*/ 602 h 644"/>
              <a:gd name="T42" fmla="*/ 93 w 562"/>
              <a:gd name="T43" fmla="*/ 633 h 644"/>
              <a:gd name="T44" fmla="*/ 131 w 562"/>
              <a:gd name="T45" fmla="*/ 644 h 644"/>
              <a:gd name="T46" fmla="*/ 114 w 562"/>
              <a:gd name="T47" fmla="*/ 599 h 644"/>
              <a:gd name="T48" fmla="*/ 211 w 562"/>
              <a:gd name="T49" fmla="*/ 597 h 644"/>
              <a:gd name="T50" fmla="*/ 228 w 562"/>
              <a:gd name="T51" fmla="*/ 561 h 644"/>
              <a:gd name="T52" fmla="*/ 285 w 562"/>
              <a:gd name="T53" fmla="*/ 576 h 644"/>
              <a:gd name="T54" fmla="*/ 325 w 562"/>
              <a:gd name="T55" fmla="*/ 547 h 644"/>
              <a:gd name="T56" fmla="*/ 437 w 562"/>
              <a:gd name="T57" fmla="*/ 532 h 644"/>
              <a:gd name="T58" fmla="*/ 412 w 562"/>
              <a:gd name="T59" fmla="*/ 452 h 644"/>
              <a:gd name="T60" fmla="*/ 513 w 562"/>
              <a:gd name="T61" fmla="*/ 348 h 644"/>
              <a:gd name="T62" fmla="*/ 477 w 562"/>
              <a:gd name="T63" fmla="*/ 321 h 644"/>
              <a:gd name="T64" fmla="*/ 562 w 562"/>
              <a:gd name="T65" fmla="*/ 125 h 644"/>
              <a:gd name="T66" fmla="*/ 391 w 562"/>
              <a:gd name="T67" fmla="*/ 74 h 644"/>
              <a:gd name="T68" fmla="*/ 342 w 562"/>
              <a:gd name="T69" fmla="*/ 0 h 644"/>
              <a:gd name="T70" fmla="*/ 342 w 562"/>
              <a:gd name="T71" fmla="*/ 0 h 644"/>
              <a:gd name="T72" fmla="*/ 342 w 562"/>
              <a:gd name="T73" fmla="*/ 0 h 6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62"/>
              <a:gd name="T112" fmla="*/ 0 h 644"/>
              <a:gd name="T113" fmla="*/ 562 w 562"/>
              <a:gd name="T114" fmla="*/ 644 h 6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62" h="644">
                <a:moveTo>
                  <a:pt x="342" y="0"/>
                </a:moveTo>
                <a:lnTo>
                  <a:pt x="300" y="28"/>
                </a:lnTo>
                <a:lnTo>
                  <a:pt x="167" y="17"/>
                </a:lnTo>
                <a:lnTo>
                  <a:pt x="159" y="87"/>
                </a:lnTo>
                <a:lnTo>
                  <a:pt x="174" y="163"/>
                </a:lnTo>
                <a:lnTo>
                  <a:pt x="95" y="178"/>
                </a:lnTo>
                <a:lnTo>
                  <a:pt x="0" y="256"/>
                </a:lnTo>
                <a:lnTo>
                  <a:pt x="11" y="268"/>
                </a:lnTo>
                <a:lnTo>
                  <a:pt x="36" y="283"/>
                </a:lnTo>
                <a:lnTo>
                  <a:pt x="45" y="266"/>
                </a:lnTo>
                <a:lnTo>
                  <a:pt x="85" y="266"/>
                </a:lnTo>
                <a:lnTo>
                  <a:pt x="87" y="289"/>
                </a:lnTo>
                <a:lnTo>
                  <a:pt x="40" y="350"/>
                </a:lnTo>
                <a:lnTo>
                  <a:pt x="40" y="376"/>
                </a:lnTo>
                <a:lnTo>
                  <a:pt x="117" y="397"/>
                </a:lnTo>
                <a:lnTo>
                  <a:pt x="135" y="420"/>
                </a:lnTo>
                <a:lnTo>
                  <a:pt x="76" y="492"/>
                </a:lnTo>
                <a:lnTo>
                  <a:pt x="91" y="509"/>
                </a:lnTo>
                <a:lnTo>
                  <a:pt x="93" y="532"/>
                </a:lnTo>
                <a:lnTo>
                  <a:pt x="62" y="532"/>
                </a:lnTo>
                <a:lnTo>
                  <a:pt x="62" y="602"/>
                </a:lnTo>
                <a:lnTo>
                  <a:pt x="93" y="633"/>
                </a:lnTo>
                <a:lnTo>
                  <a:pt x="131" y="644"/>
                </a:lnTo>
                <a:lnTo>
                  <a:pt x="114" y="599"/>
                </a:lnTo>
                <a:lnTo>
                  <a:pt x="211" y="597"/>
                </a:lnTo>
                <a:lnTo>
                  <a:pt x="228" y="561"/>
                </a:lnTo>
                <a:lnTo>
                  <a:pt x="285" y="576"/>
                </a:lnTo>
                <a:lnTo>
                  <a:pt x="325" y="547"/>
                </a:lnTo>
                <a:lnTo>
                  <a:pt x="437" y="532"/>
                </a:lnTo>
                <a:lnTo>
                  <a:pt x="412" y="452"/>
                </a:lnTo>
                <a:lnTo>
                  <a:pt x="513" y="348"/>
                </a:lnTo>
                <a:lnTo>
                  <a:pt x="477" y="321"/>
                </a:lnTo>
                <a:lnTo>
                  <a:pt x="562" y="125"/>
                </a:lnTo>
                <a:lnTo>
                  <a:pt x="391" y="74"/>
                </a:lnTo>
                <a:lnTo>
                  <a:pt x="342" y="0"/>
                </a:lnTo>
                <a:close/>
              </a:path>
            </a:pathLst>
          </a:custGeom>
          <a:solidFill>
            <a:schemeClr val="accent3"/>
          </a:solidFill>
          <a:ln w="12700">
            <a:solidFill>
              <a:schemeClr val="bg1"/>
            </a:solidFill>
            <a:round/>
            <a:headEnd/>
            <a:tailEnd/>
          </a:ln>
        </p:spPr>
        <p:txBody>
          <a:bodyPr/>
          <a:lstStyle/>
          <a:p>
            <a:pPr>
              <a:defRPr/>
            </a:pPr>
            <a:endParaRPr lang="nl-NL"/>
          </a:p>
        </p:txBody>
      </p:sp>
      <p:sp>
        <p:nvSpPr>
          <p:cNvPr id="15" name="Freeform 39"/>
          <p:cNvSpPr>
            <a:spLocks/>
          </p:cNvSpPr>
          <p:nvPr/>
        </p:nvSpPr>
        <p:spPr bwMode="auto">
          <a:xfrm>
            <a:off x="5172594" y="5432590"/>
            <a:ext cx="566517" cy="876110"/>
          </a:xfrm>
          <a:custGeom>
            <a:avLst/>
            <a:gdLst>
              <a:gd name="T0" fmla="*/ 274 w 532"/>
              <a:gd name="T1" fmla="*/ 12 h 757"/>
              <a:gd name="T2" fmla="*/ 238 w 532"/>
              <a:gd name="T3" fmla="*/ 31 h 757"/>
              <a:gd name="T4" fmla="*/ 183 w 532"/>
              <a:gd name="T5" fmla="*/ 0 h 757"/>
              <a:gd name="T6" fmla="*/ 112 w 532"/>
              <a:gd name="T7" fmla="*/ 82 h 757"/>
              <a:gd name="T8" fmla="*/ 61 w 532"/>
              <a:gd name="T9" fmla="*/ 169 h 757"/>
              <a:gd name="T10" fmla="*/ 69 w 532"/>
              <a:gd name="T11" fmla="*/ 211 h 757"/>
              <a:gd name="T12" fmla="*/ 6 w 532"/>
              <a:gd name="T13" fmla="*/ 278 h 757"/>
              <a:gd name="T14" fmla="*/ 0 w 532"/>
              <a:gd name="T15" fmla="*/ 356 h 757"/>
              <a:gd name="T16" fmla="*/ 93 w 532"/>
              <a:gd name="T17" fmla="*/ 470 h 757"/>
              <a:gd name="T18" fmla="*/ 76 w 532"/>
              <a:gd name="T19" fmla="*/ 498 h 757"/>
              <a:gd name="T20" fmla="*/ 120 w 532"/>
              <a:gd name="T21" fmla="*/ 533 h 757"/>
              <a:gd name="T22" fmla="*/ 76 w 532"/>
              <a:gd name="T23" fmla="*/ 669 h 757"/>
              <a:gd name="T24" fmla="*/ 93 w 532"/>
              <a:gd name="T25" fmla="*/ 715 h 757"/>
              <a:gd name="T26" fmla="*/ 173 w 532"/>
              <a:gd name="T27" fmla="*/ 717 h 757"/>
              <a:gd name="T28" fmla="*/ 183 w 532"/>
              <a:gd name="T29" fmla="*/ 757 h 757"/>
              <a:gd name="T30" fmla="*/ 242 w 532"/>
              <a:gd name="T31" fmla="*/ 747 h 757"/>
              <a:gd name="T32" fmla="*/ 291 w 532"/>
              <a:gd name="T33" fmla="*/ 692 h 757"/>
              <a:gd name="T34" fmla="*/ 340 w 532"/>
              <a:gd name="T35" fmla="*/ 673 h 757"/>
              <a:gd name="T36" fmla="*/ 424 w 532"/>
              <a:gd name="T37" fmla="*/ 700 h 757"/>
              <a:gd name="T38" fmla="*/ 420 w 532"/>
              <a:gd name="T39" fmla="*/ 637 h 757"/>
              <a:gd name="T40" fmla="*/ 434 w 532"/>
              <a:gd name="T41" fmla="*/ 580 h 757"/>
              <a:gd name="T42" fmla="*/ 525 w 532"/>
              <a:gd name="T43" fmla="*/ 434 h 757"/>
              <a:gd name="T44" fmla="*/ 532 w 532"/>
              <a:gd name="T45" fmla="*/ 358 h 757"/>
              <a:gd name="T46" fmla="*/ 502 w 532"/>
              <a:gd name="T47" fmla="*/ 369 h 757"/>
              <a:gd name="T48" fmla="*/ 447 w 532"/>
              <a:gd name="T49" fmla="*/ 369 h 757"/>
              <a:gd name="T50" fmla="*/ 403 w 532"/>
              <a:gd name="T51" fmla="*/ 310 h 757"/>
              <a:gd name="T52" fmla="*/ 367 w 532"/>
              <a:gd name="T53" fmla="*/ 310 h 757"/>
              <a:gd name="T54" fmla="*/ 306 w 532"/>
              <a:gd name="T55" fmla="*/ 270 h 757"/>
              <a:gd name="T56" fmla="*/ 301 w 532"/>
              <a:gd name="T57" fmla="*/ 225 h 757"/>
              <a:gd name="T58" fmla="*/ 266 w 532"/>
              <a:gd name="T59" fmla="*/ 185 h 757"/>
              <a:gd name="T60" fmla="*/ 261 w 532"/>
              <a:gd name="T61" fmla="*/ 118 h 757"/>
              <a:gd name="T62" fmla="*/ 276 w 532"/>
              <a:gd name="T63" fmla="*/ 46 h 757"/>
              <a:gd name="T64" fmla="*/ 274 w 532"/>
              <a:gd name="T65" fmla="*/ 12 h 757"/>
              <a:gd name="T66" fmla="*/ 274 w 532"/>
              <a:gd name="T67" fmla="*/ 12 h 757"/>
              <a:gd name="T68" fmla="*/ 274 w 532"/>
              <a:gd name="T69" fmla="*/ 12 h 7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32"/>
              <a:gd name="T106" fmla="*/ 0 h 757"/>
              <a:gd name="T107" fmla="*/ 532 w 532"/>
              <a:gd name="T108" fmla="*/ 757 h 7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32" h="757">
                <a:moveTo>
                  <a:pt x="274" y="12"/>
                </a:moveTo>
                <a:lnTo>
                  <a:pt x="238" y="31"/>
                </a:lnTo>
                <a:lnTo>
                  <a:pt x="183" y="0"/>
                </a:lnTo>
                <a:lnTo>
                  <a:pt x="112" y="82"/>
                </a:lnTo>
                <a:lnTo>
                  <a:pt x="61" y="169"/>
                </a:lnTo>
                <a:lnTo>
                  <a:pt x="69" y="211"/>
                </a:lnTo>
                <a:lnTo>
                  <a:pt x="6" y="278"/>
                </a:lnTo>
                <a:lnTo>
                  <a:pt x="0" y="356"/>
                </a:lnTo>
                <a:lnTo>
                  <a:pt x="93" y="470"/>
                </a:lnTo>
                <a:lnTo>
                  <a:pt x="76" y="498"/>
                </a:lnTo>
                <a:lnTo>
                  <a:pt x="120" y="533"/>
                </a:lnTo>
                <a:lnTo>
                  <a:pt x="76" y="669"/>
                </a:lnTo>
                <a:lnTo>
                  <a:pt x="93" y="715"/>
                </a:lnTo>
                <a:lnTo>
                  <a:pt x="173" y="717"/>
                </a:lnTo>
                <a:lnTo>
                  <a:pt x="183" y="757"/>
                </a:lnTo>
                <a:lnTo>
                  <a:pt x="242" y="747"/>
                </a:lnTo>
                <a:lnTo>
                  <a:pt x="291" y="692"/>
                </a:lnTo>
                <a:lnTo>
                  <a:pt x="340" y="673"/>
                </a:lnTo>
                <a:lnTo>
                  <a:pt x="424" y="700"/>
                </a:lnTo>
                <a:lnTo>
                  <a:pt x="420" y="637"/>
                </a:lnTo>
                <a:lnTo>
                  <a:pt x="434" y="580"/>
                </a:lnTo>
                <a:lnTo>
                  <a:pt x="525" y="434"/>
                </a:lnTo>
                <a:lnTo>
                  <a:pt x="532" y="358"/>
                </a:lnTo>
                <a:lnTo>
                  <a:pt x="502" y="369"/>
                </a:lnTo>
                <a:lnTo>
                  <a:pt x="447" y="369"/>
                </a:lnTo>
                <a:lnTo>
                  <a:pt x="403" y="310"/>
                </a:lnTo>
                <a:lnTo>
                  <a:pt x="367" y="310"/>
                </a:lnTo>
                <a:lnTo>
                  <a:pt x="306" y="270"/>
                </a:lnTo>
                <a:lnTo>
                  <a:pt x="301" y="225"/>
                </a:lnTo>
                <a:lnTo>
                  <a:pt x="266" y="185"/>
                </a:lnTo>
                <a:lnTo>
                  <a:pt x="261" y="118"/>
                </a:lnTo>
                <a:lnTo>
                  <a:pt x="276" y="46"/>
                </a:lnTo>
                <a:lnTo>
                  <a:pt x="274" y="12"/>
                </a:lnTo>
                <a:close/>
              </a:path>
            </a:pathLst>
          </a:custGeom>
          <a:solidFill>
            <a:schemeClr val="accent3"/>
          </a:solidFill>
          <a:ln w="12700">
            <a:solidFill>
              <a:schemeClr val="bg1"/>
            </a:solidFill>
            <a:round/>
            <a:headEnd/>
            <a:tailEnd/>
          </a:ln>
        </p:spPr>
        <p:txBody>
          <a:bodyPr/>
          <a:lstStyle/>
          <a:p>
            <a:pPr>
              <a:defRPr/>
            </a:pPr>
            <a:endParaRPr lang="nl-NL"/>
          </a:p>
        </p:txBody>
      </p:sp>
      <p:sp>
        <p:nvSpPr>
          <p:cNvPr id="16" name="Freeform 40"/>
          <p:cNvSpPr>
            <a:spLocks/>
          </p:cNvSpPr>
          <p:nvPr/>
        </p:nvSpPr>
        <p:spPr bwMode="auto">
          <a:xfrm>
            <a:off x="3747783" y="3550575"/>
            <a:ext cx="296038" cy="155289"/>
          </a:xfrm>
          <a:custGeom>
            <a:avLst/>
            <a:gdLst>
              <a:gd name="T0" fmla="*/ 0 w 280"/>
              <a:gd name="T1" fmla="*/ 29 h 133"/>
              <a:gd name="T2" fmla="*/ 139 w 280"/>
              <a:gd name="T3" fmla="*/ 0 h 133"/>
              <a:gd name="T4" fmla="*/ 198 w 280"/>
              <a:gd name="T5" fmla="*/ 25 h 133"/>
              <a:gd name="T6" fmla="*/ 228 w 280"/>
              <a:gd name="T7" fmla="*/ 76 h 133"/>
              <a:gd name="T8" fmla="*/ 280 w 280"/>
              <a:gd name="T9" fmla="*/ 82 h 133"/>
              <a:gd name="T10" fmla="*/ 221 w 280"/>
              <a:gd name="T11" fmla="*/ 133 h 133"/>
              <a:gd name="T12" fmla="*/ 147 w 280"/>
              <a:gd name="T13" fmla="*/ 125 h 133"/>
              <a:gd name="T14" fmla="*/ 120 w 280"/>
              <a:gd name="T15" fmla="*/ 72 h 133"/>
              <a:gd name="T16" fmla="*/ 88 w 280"/>
              <a:gd name="T17" fmla="*/ 63 h 133"/>
              <a:gd name="T18" fmla="*/ 36 w 280"/>
              <a:gd name="T19" fmla="*/ 82 h 133"/>
              <a:gd name="T20" fmla="*/ 0 w 280"/>
              <a:gd name="T21" fmla="*/ 29 h 133"/>
              <a:gd name="T22" fmla="*/ 0 w 280"/>
              <a:gd name="T23" fmla="*/ 29 h 133"/>
              <a:gd name="T24" fmla="*/ 0 w 280"/>
              <a:gd name="T25" fmla="*/ 29 h 1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0"/>
              <a:gd name="T40" fmla="*/ 0 h 133"/>
              <a:gd name="T41" fmla="*/ 280 w 280"/>
              <a:gd name="T42" fmla="*/ 133 h 13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0" h="133">
                <a:moveTo>
                  <a:pt x="0" y="29"/>
                </a:moveTo>
                <a:lnTo>
                  <a:pt x="139" y="0"/>
                </a:lnTo>
                <a:lnTo>
                  <a:pt x="198" y="25"/>
                </a:lnTo>
                <a:lnTo>
                  <a:pt x="228" y="76"/>
                </a:lnTo>
                <a:lnTo>
                  <a:pt x="280" y="82"/>
                </a:lnTo>
                <a:lnTo>
                  <a:pt x="221" y="133"/>
                </a:lnTo>
                <a:lnTo>
                  <a:pt x="147" y="125"/>
                </a:lnTo>
                <a:lnTo>
                  <a:pt x="120" y="72"/>
                </a:lnTo>
                <a:lnTo>
                  <a:pt x="88" y="63"/>
                </a:lnTo>
                <a:lnTo>
                  <a:pt x="36" y="82"/>
                </a:lnTo>
                <a:lnTo>
                  <a:pt x="0" y="29"/>
                </a:lnTo>
                <a:close/>
              </a:path>
            </a:pathLst>
          </a:custGeom>
          <a:solidFill>
            <a:schemeClr val="accent3"/>
          </a:solidFill>
          <a:ln w="12700">
            <a:solidFill>
              <a:schemeClr val="bg1"/>
            </a:solidFill>
            <a:round/>
            <a:headEnd/>
            <a:tailEnd/>
          </a:ln>
        </p:spPr>
        <p:txBody>
          <a:bodyPr/>
          <a:lstStyle/>
          <a:p>
            <a:pPr>
              <a:defRPr/>
            </a:pPr>
            <a:endParaRPr lang="nl-NL"/>
          </a:p>
        </p:txBody>
      </p:sp>
      <p:sp>
        <p:nvSpPr>
          <p:cNvPr id="17" name="Freeform 41"/>
          <p:cNvSpPr>
            <a:spLocks/>
          </p:cNvSpPr>
          <p:nvPr/>
        </p:nvSpPr>
        <p:spPr bwMode="auto">
          <a:xfrm>
            <a:off x="3752043" y="3705865"/>
            <a:ext cx="166121" cy="85756"/>
          </a:xfrm>
          <a:custGeom>
            <a:avLst/>
            <a:gdLst>
              <a:gd name="T0" fmla="*/ 0 w 158"/>
              <a:gd name="T1" fmla="*/ 0 h 72"/>
              <a:gd name="T2" fmla="*/ 34 w 158"/>
              <a:gd name="T3" fmla="*/ 21 h 72"/>
              <a:gd name="T4" fmla="*/ 124 w 158"/>
              <a:gd name="T5" fmla="*/ 15 h 72"/>
              <a:gd name="T6" fmla="*/ 158 w 158"/>
              <a:gd name="T7" fmla="*/ 46 h 72"/>
              <a:gd name="T8" fmla="*/ 124 w 158"/>
              <a:gd name="T9" fmla="*/ 63 h 72"/>
              <a:gd name="T10" fmla="*/ 59 w 158"/>
              <a:gd name="T11" fmla="*/ 53 h 72"/>
              <a:gd name="T12" fmla="*/ 23 w 158"/>
              <a:gd name="T13" fmla="*/ 72 h 72"/>
              <a:gd name="T14" fmla="*/ 0 w 158"/>
              <a:gd name="T15" fmla="*/ 0 h 72"/>
              <a:gd name="T16" fmla="*/ 0 w 158"/>
              <a:gd name="T17" fmla="*/ 0 h 72"/>
              <a:gd name="T18" fmla="*/ 0 w 158"/>
              <a:gd name="T19" fmla="*/ 0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8"/>
              <a:gd name="T31" fmla="*/ 0 h 72"/>
              <a:gd name="T32" fmla="*/ 158 w 158"/>
              <a:gd name="T33" fmla="*/ 72 h 7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8" h="72">
                <a:moveTo>
                  <a:pt x="0" y="0"/>
                </a:moveTo>
                <a:lnTo>
                  <a:pt x="34" y="21"/>
                </a:lnTo>
                <a:lnTo>
                  <a:pt x="124" y="15"/>
                </a:lnTo>
                <a:lnTo>
                  <a:pt x="158" y="46"/>
                </a:lnTo>
                <a:lnTo>
                  <a:pt x="124" y="63"/>
                </a:lnTo>
                <a:lnTo>
                  <a:pt x="59" y="53"/>
                </a:lnTo>
                <a:lnTo>
                  <a:pt x="23" y="72"/>
                </a:lnTo>
                <a:lnTo>
                  <a:pt x="0" y="0"/>
                </a:lnTo>
                <a:close/>
              </a:path>
            </a:pathLst>
          </a:custGeom>
          <a:solidFill>
            <a:schemeClr val="accent3"/>
          </a:solidFill>
          <a:ln w="12700">
            <a:solidFill>
              <a:schemeClr val="bg1"/>
            </a:solidFill>
            <a:round/>
            <a:headEnd/>
            <a:tailEnd/>
          </a:ln>
        </p:spPr>
        <p:txBody>
          <a:bodyPr/>
          <a:lstStyle/>
          <a:p>
            <a:pPr>
              <a:defRPr/>
            </a:pPr>
            <a:endParaRPr lang="nl-NL"/>
          </a:p>
        </p:txBody>
      </p:sp>
      <p:sp>
        <p:nvSpPr>
          <p:cNvPr id="18" name="Freeform 42"/>
          <p:cNvSpPr>
            <a:spLocks/>
          </p:cNvSpPr>
          <p:nvPr/>
        </p:nvSpPr>
        <p:spPr bwMode="auto">
          <a:xfrm>
            <a:off x="4486810" y="1856299"/>
            <a:ext cx="157602" cy="236411"/>
          </a:xfrm>
          <a:custGeom>
            <a:avLst/>
            <a:gdLst>
              <a:gd name="T0" fmla="*/ 116 w 146"/>
              <a:gd name="T1" fmla="*/ 0 h 204"/>
              <a:gd name="T2" fmla="*/ 0 w 146"/>
              <a:gd name="T3" fmla="*/ 141 h 204"/>
              <a:gd name="T4" fmla="*/ 13 w 146"/>
              <a:gd name="T5" fmla="*/ 194 h 204"/>
              <a:gd name="T6" fmla="*/ 61 w 146"/>
              <a:gd name="T7" fmla="*/ 204 h 204"/>
              <a:gd name="T8" fmla="*/ 78 w 146"/>
              <a:gd name="T9" fmla="*/ 171 h 204"/>
              <a:gd name="T10" fmla="*/ 146 w 146"/>
              <a:gd name="T11" fmla="*/ 126 h 204"/>
              <a:gd name="T12" fmla="*/ 116 w 146"/>
              <a:gd name="T13" fmla="*/ 0 h 204"/>
              <a:gd name="T14" fmla="*/ 116 w 146"/>
              <a:gd name="T15" fmla="*/ 0 h 204"/>
              <a:gd name="T16" fmla="*/ 116 w 146"/>
              <a:gd name="T17" fmla="*/ 0 h 2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
              <a:gd name="T28" fmla="*/ 0 h 204"/>
              <a:gd name="T29" fmla="*/ 146 w 146"/>
              <a:gd name="T30" fmla="*/ 204 h 2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 h="204">
                <a:moveTo>
                  <a:pt x="116" y="0"/>
                </a:moveTo>
                <a:lnTo>
                  <a:pt x="0" y="141"/>
                </a:lnTo>
                <a:lnTo>
                  <a:pt x="13" y="194"/>
                </a:lnTo>
                <a:lnTo>
                  <a:pt x="61" y="204"/>
                </a:lnTo>
                <a:lnTo>
                  <a:pt x="78" y="171"/>
                </a:lnTo>
                <a:lnTo>
                  <a:pt x="146" y="126"/>
                </a:lnTo>
                <a:lnTo>
                  <a:pt x="116" y="0"/>
                </a:lnTo>
                <a:close/>
              </a:path>
            </a:pathLst>
          </a:custGeom>
          <a:solidFill>
            <a:schemeClr val="accent3"/>
          </a:solidFill>
          <a:ln w="12700">
            <a:solidFill>
              <a:schemeClr val="bg1"/>
            </a:solidFill>
            <a:round/>
            <a:headEnd/>
            <a:tailEnd/>
          </a:ln>
        </p:spPr>
        <p:txBody>
          <a:bodyPr/>
          <a:lstStyle/>
          <a:p>
            <a:pPr>
              <a:defRPr/>
            </a:pPr>
            <a:endParaRPr lang="nl-NL"/>
          </a:p>
        </p:txBody>
      </p:sp>
      <p:sp>
        <p:nvSpPr>
          <p:cNvPr id="19" name="Freeform 43"/>
          <p:cNvSpPr>
            <a:spLocks/>
          </p:cNvSpPr>
          <p:nvPr/>
        </p:nvSpPr>
        <p:spPr bwMode="auto">
          <a:xfrm>
            <a:off x="4625246" y="1705645"/>
            <a:ext cx="117138" cy="155289"/>
          </a:xfrm>
          <a:custGeom>
            <a:avLst/>
            <a:gdLst>
              <a:gd name="T0" fmla="*/ 110 w 110"/>
              <a:gd name="T1" fmla="*/ 0 h 135"/>
              <a:gd name="T2" fmla="*/ 29 w 110"/>
              <a:gd name="T3" fmla="*/ 29 h 135"/>
              <a:gd name="T4" fmla="*/ 0 w 110"/>
              <a:gd name="T5" fmla="*/ 118 h 135"/>
              <a:gd name="T6" fmla="*/ 27 w 110"/>
              <a:gd name="T7" fmla="*/ 135 h 135"/>
              <a:gd name="T8" fmla="*/ 55 w 110"/>
              <a:gd name="T9" fmla="*/ 55 h 135"/>
              <a:gd name="T10" fmla="*/ 110 w 110"/>
              <a:gd name="T11" fmla="*/ 0 h 135"/>
              <a:gd name="T12" fmla="*/ 110 w 110"/>
              <a:gd name="T13" fmla="*/ 0 h 135"/>
              <a:gd name="T14" fmla="*/ 110 w 110"/>
              <a:gd name="T15" fmla="*/ 0 h 135"/>
              <a:gd name="T16" fmla="*/ 0 60000 65536"/>
              <a:gd name="T17" fmla="*/ 0 60000 65536"/>
              <a:gd name="T18" fmla="*/ 0 60000 65536"/>
              <a:gd name="T19" fmla="*/ 0 60000 65536"/>
              <a:gd name="T20" fmla="*/ 0 60000 65536"/>
              <a:gd name="T21" fmla="*/ 0 60000 65536"/>
              <a:gd name="T22" fmla="*/ 0 60000 65536"/>
              <a:gd name="T23" fmla="*/ 0 60000 65536"/>
              <a:gd name="T24" fmla="*/ 0 w 110"/>
              <a:gd name="T25" fmla="*/ 0 h 135"/>
              <a:gd name="T26" fmla="*/ 110 w 110"/>
              <a:gd name="T27" fmla="*/ 135 h 1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0" h="135">
                <a:moveTo>
                  <a:pt x="110" y="0"/>
                </a:moveTo>
                <a:lnTo>
                  <a:pt x="29" y="29"/>
                </a:lnTo>
                <a:lnTo>
                  <a:pt x="0" y="118"/>
                </a:lnTo>
                <a:lnTo>
                  <a:pt x="27" y="135"/>
                </a:lnTo>
                <a:lnTo>
                  <a:pt x="55" y="55"/>
                </a:lnTo>
                <a:lnTo>
                  <a:pt x="110" y="0"/>
                </a:lnTo>
                <a:close/>
              </a:path>
            </a:pathLst>
          </a:custGeom>
          <a:solidFill>
            <a:schemeClr val="accent3"/>
          </a:solidFill>
          <a:ln w="12700">
            <a:solidFill>
              <a:schemeClr val="bg1"/>
            </a:solidFill>
            <a:round/>
            <a:headEnd/>
            <a:tailEnd/>
          </a:ln>
        </p:spPr>
        <p:txBody>
          <a:bodyPr/>
          <a:lstStyle/>
          <a:p>
            <a:pPr>
              <a:defRPr/>
            </a:pPr>
            <a:endParaRPr lang="nl-NL"/>
          </a:p>
        </p:txBody>
      </p:sp>
      <p:sp>
        <p:nvSpPr>
          <p:cNvPr id="20" name="Freeform 44"/>
          <p:cNvSpPr>
            <a:spLocks/>
          </p:cNvSpPr>
          <p:nvPr/>
        </p:nvSpPr>
        <p:spPr bwMode="auto">
          <a:xfrm>
            <a:off x="4770069" y="1531814"/>
            <a:ext cx="306686" cy="141382"/>
          </a:xfrm>
          <a:custGeom>
            <a:avLst/>
            <a:gdLst>
              <a:gd name="T0" fmla="*/ 0 w 289"/>
              <a:gd name="T1" fmla="*/ 104 h 122"/>
              <a:gd name="T2" fmla="*/ 8 w 289"/>
              <a:gd name="T3" fmla="*/ 63 h 122"/>
              <a:gd name="T4" fmla="*/ 106 w 289"/>
              <a:gd name="T5" fmla="*/ 59 h 122"/>
              <a:gd name="T6" fmla="*/ 232 w 289"/>
              <a:gd name="T7" fmla="*/ 0 h 122"/>
              <a:gd name="T8" fmla="*/ 289 w 289"/>
              <a:gd name="T9" fmla="*/ 38 h 122"/>
              <a:gd name="T10" fmla="*/ 222 w 289"/>
              <a:gd name="T11" fmla="*/ 38 h 122"/>
              <a:gd name="T12" fmla="*/ 143 w 289"/>
              <a:gd name="T13" fmla="*/ 87 h 122"/>
              <a:gd name="T14" fmla="*/ 38 w 289"/>
              <a:gd name="T15" fmla="*/ 87 h 122"/>
              <a:gd name="T16" fmla="*/ 32 w 289"/>
              <a:gd name="T17" fmla="*/ 122 h 122"/>
              <a:gd name="T18" fmla="*/ 0 w 289"/>
              <a:gd name="T19" fmla="*/ 104 h 122"/>
              <a:gd name="T20" fmla="*/ 0 w 289"/>
              <a:gd name="T21" fmla="*/ 104 h 122"/>
              <a:gd name="T22" fmla="*/ 0 w 289"/>
              <a:gd name="T23" fmla="*/ 104 h 1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9"/>
              <a:gd name="T37" fmla="*/ 0 h 122"/>
              <a:gd name="T38" fmla="*/ 289 w 289"/>
              <a:gd name="T39" fmla="*/ 122 h 1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9" h="122">
                <a:moveTo>
                  <a:pt x="0" y="104"/>
                </a:moveTo>
                <a:lnTo>
                  <a:pt x="8" y="63"/>
                </a:lnTo>
                <a:lnTo>
                  <a:pt x="106" y="59"/>
                </a:lnTo>
                <a:lnTo>
                  <a:pt x="232" y="0"/>
                </a:lnTo>
                <a:lnTo>
                  <a:pt x="289" y="38"/>
                </a:lnTo>
                <a:lnTo>
                  <a:pt x="222" y="38"/>
                </a:lnTo>
                <a:lnTo>
                  <a:pt x="143" y="87"/>
                </a:lnTo>
                <a:lnTo>
                  <a:pt x="38" y="87"/>
                </a:lnTo>
                <a:lnTo>
                  <a:pt x="32" y="122"/>
                </a:lnTo>
                <a:lnTo>
                  <a:pt x="0" y="104"/>
                </a:lnTo>
                <a:close/>
              </a:path>
            </a:pathLst>
          </a:custGeom>
          <a:solidFill>
            <a:schemeClr val="accent3"/>
          </a:solidFill>
          <a:ln w="12700">
            <a:solidFill>
              <a:schemeClr val="bg1"/>
            </a:solidFill>
            <a:round/>
            <a:headEnd/>
            <a:tailEnd/>
          </a:ln>
        </p:spPr>
        <p:txBody>
          <a:bodyPr/>
          <a:lstStyle/>
          <a:p>
            <a:pPr>
              <a:defRPr/>
            </a:pPr>
            <a:endParaRPr lang="nl-NL"/>
          </a:p>
        </p:txBody>
      </p:sp>
      <p:sp>
        <p:nvSpPr>
          <p:cNvPr id="21" name="Freeform 45"/>
          <p:cNvSpPr>
            <a:spLocks/>
          </p:cNvSpPr>
          <p:nvPr/>
        </p:nvSpPr>
        <p:spPr bwMode="auto">
          <a:xfrm>
            <a:off x="5089534" y="1510954"/>
            <a:ext cx="251312" cy="71850"/>
          </a:xfrm>
          <a:custGeom>
            <a:avLst/>
            <a:gdLst>
              <a:gd name="T0" fmla="*/ 0 w 236"/>
              <a:gd name="T1" fmla="*/ 34 h 63"/>
              <a:gd name="T2" fmla="*/ 33 w 236"/>
              <a:gd name="T3" fmla="*/ 63 h 63"/>
              <a:gd name="T4" fmla="*/ 92 w 236"/>
              <a:gd name="T5" fmla="*/ 36 h 63"/>
              <a:gd name="T6" fmla="*/ 236 w 236"/>
              <a:gd name="T7" fmla="*/ 34 h 63"/>
              <a:gd name="T8" fmla="*/ 190 w 236"/>
              <a:gd name="T9" fmla="*/ 0 h 63"/>
              <a:gd name="T10" fmla="*/ 95 w 236"/>
              <a:gd name="T11" fmla="*/ 13 h 63"/>
              <a:gd name="T12" fmla="*/ 29 w 236"/>
              <a:gd name="T13" fmla="*/ 25 h 63"/>
              <a:gd name="T14" fmla="*/ 0 w 236"/>
              <a:gd name="T15" fmla="*/ 34 h 63"/>
              <a:gd name="T16" fmla="*/ 0 w 236"/>
              <a:gd name="T17" fmla="*/ 34 h 63"/>
              <a:gd name="T18" fmla="*/ 0 w 236"/>
              <a:gd name="T19" fmla="*/ 34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6"/>
              <a:gd name="T31" fmla="*/ 0 h 63"/>
              <a:gd name="T32" fmla="*/ 236 w 236"/>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6" h="63">
                <a:moveTo>
                  <a:pt x="0" y="34"/>
                </a:moveTo>
                <a:lnTo>
                  <a:pt x="33" y="63"/>
                </a:lnTo>
                <a:lnTo>
                  <a:pt x="92" y="36"/>
                </a:lnTo>
                <a:lnTo>
                  <a:pt x="236" y="34"/>
                </a:lnTo>
                <a:lnTo>
                  <a:pt x="190" y="0"/>
                </a:lnTo>
                <a:lnTo>
                  <a:pt x="95" y="13"/>
                </a:lnTo>
                <a:lnTo>
                  <a:pt x="29" y="25"/>
                </a:lnTo>
                <a:lnTo>
                  <a:pt x="0" y="34"/>
                </a:lnTo>
                <a:close/>
              </a:path>
            </a:pathLst>
          </a:custGeom>
          <a:solidFill>
            <a:schemeClr val="accent3"/>
          </a:solidFill>
          <a:ln w="12700">
            <a:solidFill>
              <a:schemeClr val="bg1"/>
            </a:solidFill>
            <a:round/>
            <a:headEnd/>
            <a:tailEnd/>
          </a:ln>
        </p:spPr>
        <p:txBody>
          <a:bodyPr/>
          <a:lstStyle/>
          <a:p>
            <a:pPr>
              <a:defRPr/>
            </a:pPr>
            <a:endParaRPr lang="nl-NL"/>
          </a:p>
        </p:txBody>
      </p:sp>
      <p:sp>
        <p:nvSpPr>
          <p:cNvPr id="22" name="Freeform 46"/>
          <p:cNvSpPr>
            <a:spLocks/>
          </p:cNvSpPr>
          <p:nvPr/>
        </p:nvSpPr>
        <p:spPr bwMode="auto">
          <a:xfrm>
            <a:off x="5423906" y="1457646"/>
            <a:ext cx="138435" cy="64897"/>
          </a:xfrm>
          <a:custGeom>
            <a:avLst/>
            <a:gdLst>
              <a:gd name="T0" fmla="*/ 110 w 129"/>
              <a:gd name="T1" fmla="*/ 0 h 55"/>
              <a:gd name="T2" fmla="*/ 4 w 129"/>
              <a:gd name="T3" fmla="*/ 23 h 55"/>
              <a:gd name="T4" fmla="*/ 0 w 129"/>
              <a:gd name="T5" fmla="*/ 55 h 55"/>
              <a:gd name="T6" fmla="*/ 74 w 129"/>
              <a:gd name="T7" fmla="*/ 27 h 55"/>
              <a:gd name="T8" fmla="*/ 129 w 129"/>
              <a:gd name="T9" fmla="*/ 38 h 55"/>
              <a:gd name="T10" fmla="*/ 110 w 129"/>
              <a:gd name="T11" fmla="*/ 0 h 55"/>
              <a:gd name="T12" fmla="*/ 110 w 129"/>
              <a:gd name="T13" fmla="*/ 0 h 55"/>
              <a:gd name="T14" fmla="*/ 110 w 129"/>
              <a:gd name="T15" fmla="*/ 0 h 55"/>
              <a:gd name="T16" fmla="*/ 0 60000 65536"/>
              <a:gd name="T17" fmla="*/ 0 60000 65536"/>
              <a:gd name="T18" fmla="*/ 0 60000 65536"/>
              <a:gd name="T19" fmla="*/ 0 60000 65536"/>
              <a:gd name="T20" fmla="*/ 0 60000 65536"/>
              <a:gd name="T21" fmla="*/ 0 60000 65536"/>
              <a:gd name="T22" fmla="*/ 0 60000 65536"/>
              <a:gd name="T23" fmla="*/ 0 60000 65536"/>
              <a:gd name="T24" fmla="*/ 0 w 129"/>
              <a:gd name="T25" fmla="*/ 0 h 55"/>
              <a:gd name="T26" fmla="*/ 129 w 129"/>
              <a:gd name="T27" fmla="*/ 55 h 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9" h="55">
                <a:moveTo>
                  <a:pt x="110" y="0"/>
                </a:moveTo>
                <a:lnTo>
                  <a:pt x="4" y="23"/>
                </a:lnTo>
                <a:lnTo>
                  <a:pt x="0" y="55"/>
                </a:lnTo>
                <a:lnTo>
                  <a:pt x="74" y="27"/>
                </a:lnTo>
                <a:lnTo>
                  <a:pt x="129" y="38"/>
                </a:lnTo>
                <a:lnTo>
                  <a:pt x="110" y="0"/>
                </a:lnTo>
                <a:close/>
              </a:path>
            </a:pathLst>
          </a:custGeom>
          <a:solidFill>
            <a:schemeClr val="accent3"/>
          </a:solidFill>
          <a:ln w="12700">
            <a:solidFill>
              <a:schemeClr val="bg1"/>
            </a:solidFill>
            <a:round/>
            <a:headEnd/>
            <a:tailEnd/>
          </a:ln>
        </p:spPr>
        <p:txBody>
          <a:bodyPr/>
          <a:lstStyle/>
          <a:p>
            <a:pPr>
              <a:defRPr/>
            </a:pPr>
            <a:endParaRPr lang="nl-NL"/>
          </a:p>
        </p:txBody>
      </p:sp>
      <p:sp>
        <p:nvSpPr>
          <p:cNvPr id="23" name="Freeform 47"/>
          <p:cNvSpPr>
            <a:spLocks/>
          </p:cNvSpPr>
          <p:nvPr/>
        </p:nvSpPr>
        <p:spPr bwMode="auto">
          <a:xfrm>
            <a:off x="5619844" y="1411291"/>
            <a:ext cx="66023" cy="37084"/>
          </a:xfrm>
          <a:custGeom>
            <a:avLst/>
            <a:gdLst>
              <a:gd name="T0" fmla="*/ 63 w 63"/>
              <a:gd name="T1" fmla="*/ 0 h 33"/>
              <a:gd name="T2" fmla="*/ 0 w 63"/>
              <a:gd name="T3" fmla="*/ 33 h 33"/>
              <a:gd name="T4" fmla="*/ 44 w 63"/>
              <a:gd name="T5" fmla="*/ 29 h 33"/>
              <a:gd name="T6" fmla="*/ 63 w 63"/>
              <a:gd name="T7" fmla="*/ 0 h 33"/>
              <a:gd name="T8" fmla="*/ 63 w 63"/>
              <a:gd name="T9" fmla="*/ 0 h 33"/>
              <a:gd name="T10" fmla="*/ 63 w 63"/>
              <a:gd name="T11" fmla="*/ 0 h 33"/>
              <a:gd name="T12" fmla="*/ 0 60000 65536"/>
              <a:gd name="T13" fmla="*/ 0 60000 65536"/>
              <a:gd name="T14" fmla="*/ 0 60000 65536"/>
              <a:gd name="T15" fmla="*/ 0 60000 65536"/>
              <a:gd name="T16" fmla="*/ 0 60000 65536"/>
              <a:gd name="T17" fmla="*/ 0 60000 65536"/>
              <a:gd name="T18" fmla="*/ 0 w 63"/>
              <a:gd name="T19" fmla="*/ 0 h 33"/>
              <a:gd name="T20" fmla="*/ 63 w 63"/>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63" h="33">
                <a:moveTo>
                  <a:pt x="63" y="0"/>
                </a:moveTo>
                <a:lnTo>
                  <a:pt x="0" y="33"/>
                </a:lnTo>
                <a:lnTo>
                  <a:pt x="44" y="29"/>
                </a:lnTo>
                <a:lnTo>
                  <a:pt x="63" y="0"/>
                </a:lnTo>
                <a:close/>
              </a:path>
            </a:pathLst>
          </a:custGeom>
          <a:solidFill>
            <a:schemeClr val="accent3"/>
          </a:solidFill>
          <a:ln w="12700">
            <a:solidFill>
              <a:schemeClr val="bg1"/>
            </a:solidFill>
            <a:round/>
            <a:headEnd/>
            <a:tailEnd/>
          </a:ln>
        </p:spPr>
        <p:txBody>
          <a:bodyPr/>
          <a:lstStyle/>
          <a:p>
            <a:pPr>
              <a:defRPr/>
            </a:pPr>
            <a:endParaRPr lang="nl-NL"/>
          </a:p>
        </p:txBody>
      </p:sp>
      <p:sp>
        <p:nvSpPr>
          <p:cNvPr id="24" name="Freeform 48"/>
          <p:cNvSpPr>
            <a:spLocks/>
          </p:cNvSpPr>
          <p:nvPr/>
        </p:nvSpPr>
        <p:spPr bwMode="auto">
          <a:xfrm>
            <a:off x="5707165" y="1422879"/>
            <a:ext cx="57504" cy="20859"/>
          </a:xfrm>
          <a:custGeom>
            <a:avLst/>
            <a:gdLst>
              <a:gd name="T0" fmla="*/ 0 w 55"/>
              <a:gd name="T1" fmla="*/ 0 h 19"/>
              <a:gd name="T2" fmla="*/ 55 w 55"/>
              <a:gd name="T3" fmla="*/ 6 h 19"/>
              <a:gd name="T4" fmla="*/ 23 w 55"/>
              <a:gd name="T5" fmla="*/ 19 h 19"/>
              <a:gd name="T6" fmla="*/ 0 w 55"/>
              <a:gd name="T7" fmla="*/ 0 h 19"/>
              <a:gd name="T8" fmla="*/ 0 w 55"/>
              <a:gd name="T9" fmla="*/ 0 h 19"/>
              <a:gd name="T10" fmla="*/ 0 w 55"/>
              <a:gd name="T11" fmla="*/ 0 h 19"/>
              <a:gd name="T12" fmla="*/ 0 60000 65536"/>
              <a:gd name="T13" fmla="*/ 0 60000 65536"/>
              <a:gd name="T14" fmla="*/ 0 60000 65536"/>
              <a:gd name="T15" fmla="*/ 0 60000 65536"/>
              <a:gd name="T16" fmla="*/ 0 60000 65536"/>
              <a:gd name="T17" fmla="*/ 0 60000 65536"/>
              <a:gd name="T18" fmla="*/ 0 w 55"/>
              <a:gd name="T19" fmla="*/ 0 h 19"/>
              <a:gd name="T20" fmla="*/ 55 w 55"/>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55" h="19">
                <a:moveTo>
                  <a:pt x="0" y="0"/>
                </a:moveTo>
                <a:lnTo>
                  <a:pt x="55" y="6"/>
                </a:lnTo>
                <a:lnTo>
                  <a:pt x="23" y="19"/>
                </a:lnTo>
                <a:lnTo>
                  <a:pt x="0" y="0"/>
                </a:lnTo>
                <a:close/>
              </a:path>
            </a:pathLst>
          </a:custGeom>
          <a:solidFill>
            <a:schemeClr val="accent3"/>
          </a:solidFill>
          <a:ln w="12700">
            <a:solidFill>
              <a:schemeClr val="bg1"/>
            </a:solidFill>
            <a:round/>
            <a:headEnd/>
            <a:tailEnd/>
          </a:ln>
        </p:spPr>
        <p:txBody>
          <a:bodyPr/>
          <a:lstStyle/>
          <a:p>
            <a:pPr>
              <a:defRPr/>
            </a:pPr>
            <a:endParaRPr lang="nl-NL"/>
          </a:p>
        </p:txBody>
      </p:sp>
      <p:sp>
        <p:nvSpPr>
          <p:cNvPr id="25" name="Freeform 49"/>
          <p:cNvSpPr>
            <a:spLocks/>
          </p:cNvSpPr>
          <p:nvPr/>
        </p:nvSpPr>
        <p:spPr bwMode="auto">
          <a:xfrm>
            <a:off x="5779577" y="1411291"/>
            <a:ext cx="29817" cy="18542"/>
          </a:xfrm>
          <a:custGeom>
            <a:avLst/>
            <a:gdLst>
              <a:gd name="T0" fmla="*/ 0 w 29"/>
              <a:gd name="T1" fmla="*/ 0 h 16"/>
              <a:gd name="T2" fmla="*/ 29 w 29"/>
              <a:gd name="T3" fmla="*/ 4 h 16"/>
              <a:gd name="T4" fmla="*/ 14 w 29"/>
              <a:gd name="T5" fmla="*/ 16 h 16"/>
              <a:gd name="T6" fmla="*/ 0 w 29"/>
              <a:gd name="T7" fmla="*/ 0 h 16"/>
              <a:gd name="T8" fmla="*/ 0 w 29"/>
              <a:gd name="T9" fmla="*/ 0 h 16"/>
              <a:gd name="T10" fmla="*/ 0 w 29"/>
              <a:gd name="T11" fmla="*/ 0 h 16"/>
              <a:gd name="T12" fmla="*/ 0 60000 65536"/>
              <a:gd name="T13" fmla="*/ 0 60000 65536"/>
              <a:gd name="T14" fmla="*/ 0 60000 65536"/>
              <a:gd name="T15" fmla="*/ 0 60000 65536"/>
              <a:gd name="T16" fmla="*/ 0 60000 65536"/>
              <a:gd name="T17" fmla="*/ 0 60000 65536"/>
              <a:gd name="T18" fmla="*/ 0 w 29"/>
              <a:gd name="T19" fmla="*/ 0 h 16"/>
              <a:gd name="T20" fmla="*/ 29 w 29"/>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9" h="16">
                <a:moveTo>
                  <a:pt x="0" y="0"/>
                </a:moveTo>
                <a:lnTo>
                  <a:pt x="29" y="4"/>
                </a:lnTo>
                <a:lnTo>
                  <a:pt x="14" y="16"/>
                </a:lnTo>
                <a:lnTo>
                  <a:pt x="0" y="0"/>
                </a:lnTo>
                <a:close/>
              </a:path>
            </a:pathLst>
          </a:custGeom>
          <a:solidFill>
            <a:schemeClr val="accent3"/>
          </a:solidFill>
          <a:ln w="12700">
            <a:solidFill>
              <a:schemeClr val="bg1"/>
            </a:solidFill>
            <a:round/>
            <a:headEnd/>
            <a:tailEnd/>
          </a:ln>
        </p:spPr>
        <p:txBody>
          <a:bodyPr/>
          <a:lstStyle/>
          <a:p>
            <a:pPr>
              <a:defRPr/>
            </a:pPr>
            <a:endParaRPr lang="nl-NL"/>
          </a:p>
        </p:txBody>
      </p:sp>
      <p:sp>
        <p:nvSpPr>
          <p:cNvPr id="26" name="Freeform 50"/>
          <p:cNvSpPr>
            <a:spLocks/>
          </p:cNvSpPr>
          <p:nvPr/>
        </p:nvSpPr>
        <p:spPr bwMode="auto">
          <a:xfrm>
            <a:off x="3517769" y="3953864"/>
            <a:ext cx="615502" cy="243363"/>
          </a:xfrm>
          <a:custGeom>
            <a:avLst/>
            <a:gdLst>
              <a:gd name="T0" fmla="*/ 578 w 578"/>
              <a:gd name="T1" fmla="*/ 57 h 211"/>
              <a:gd name="T2" fmla="*/ 508 w 578"/>
              <a:gd name="T3" fmla="*/ 152 h 211"/>
              <a:gd name="T4" fmla="*/ 428 w 578"/>
              <a:gd name="T5" fmla="*/ 179 h 211"/>
              <a:gd name="T6" fmla="*/ 398 w 578"/>
              <a:gd name="T7" fmla="*/ 211 h 211"/>
              <a:gd name="T8" fmla="*/ 261 w 578"/>
              <a:gd name="T9" fmla="*/ 184 h 211"/>
              <a:gd name="T10" fmla="*/ 280 w 578"/>
              <a:gd name="T11" fmla="*/ 156 h 211"/>
              <a:gd name="T12" fmla="*/ 181 w 578"/>
              <a:gd name="T13" fmla="*/ 112 h 211"/>
              <a:gd name="T14" fmla="*/ 109 w 578"/>
              <a:gd name="T15" fmla="*/ 112 h 211"/>
              <a:gd name="T16" fmla="*/ 92 w 578"/>
              <a:gd name="T17" fmla="*/ 156 h 211"/>
              <a:gd name="T18" fmla="*/ 4 w 578"/>
              <a:gd name="T19" fmla="*/ 152 h 211"/>
              <a:gd name="T20" fmla="*/ 23 w 578"/>
              <a:gd name="T21" fmla="*/ 80 h 211"/>
              <a:gd name="T22" fmla="*/ 0 w 578"/>
              <a:gd name="T23" fmla="*/ 38 h 211"/>
              <a:gd name="T24" fmla="*/ 99 w 578"/>
              <a:gd name="T25" fmla="*/ 0 h 211"/>
              <a:gd name="T26" fmla="*/ 181 w 578"/>
              <a:gd name="T27" fmla="*/ 15 h 211"/>
              <a:gd name="T28" fmla="*/ 299 w 578"/>
              <a:gd name="T29" fmla="*/ 72 h 211"/>
              <a:gd name="T30" fmla="*/ 415 w 578"/>
              <a:gd name="T31" fmla="*/ 47 h 211"/>
              <a:gd name="T32" fmla="*/ 424 w 578"/>
              <a:gd name="T33" fmla="*/ 28 h 211"/>
              <a:gd name="T34" fmla="*/ 540 w 578"/>
              <a:gd name="T35" fmla="*/ 66 h 211"/>
              <a:gd name="T36" fmla="*/ 578 w 578"/>
              <a:gd name="T37" fmla="*/ 57 h 211"/>
              <a:gd name="T38" fmla="*/ 578 w 578"/>
              <a:gd name="T39" fmla="*/ 57 h 211"/>
              <a:gd name="T40" fmla="*/ 578 w 578"/>
              <a:gd name="T41" fmla="*/ 57 h 2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8"/>
              <a:gd name="T64" fmla="*/ 0 h 211"/>
              <a:gd name="T65" fmla="*/ 578 w 578"/>
              <a:gd name="T66" fmla="*/ 211 h 2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8" h="211">
                <a:moveTo>
                  <a:pt x="578" y="57"/>
                </a:moveTo>
                <a:lnTo>
                  <a:pt x="508" y="152"/>
                </a:lnTo>
                <a:lnTo>
                  <a:pt x="428" y="179"/>
                </a:lnTo>
                <a:lnTo>
                  <a:pt x="398" y="211"/>
                </a:lnTo>
                <a:lnTo>
                  <a:pt x="261" y="184"/>
                </a:lnTo>
                <a:lnTo>
                  <a:pt x="280" y="156"/>
                </a:lnTo>
                <a:lnTo>
                  <a:pt x="181" y="112"/>
                </a:lnTo>
                <a:lnTo>
                  <a:pt x="109" y="112"/>
                </a:lnTo>
                <a:lnTo>
                  <a:pt x="92" y="156"/>
                </a:lnTo>
                <a:lnTo>
                  <a:pt x="4" y="152"/>
                </a:lnTo>
                <a:lnTo>
                  <a:pt x="23" y="80"/>
                </a:lnTo>
                <a:lnTo>
                  <a:pt x="0" y="38"/>
                </a:lnTo>
                <a:lnTo>
                  <a:pt x="99" y="0"/>
                </a:lnTo>
                <a:lnTo>
                  <a:pt x="181" y="15"/>
                </a:lnTo>
                <a:lnTo>
                  <a:pt x="299" y="72"/>
                </a:lnTo>
                <a:lnTo>
                  <a:pt x="415" y="47"/>
                </a:lnTo>
                <a:lnTo>
                  <a:pt x="424" y="28"/>
                </a:lnTo>
                <a:lnTo>
                  <a:pt x="540" y="66"/>
                </a:lnTo>
                <a:lnTo>
                  <a:pt x="578" y="57"/>
                </a:lnTo>
                <a:close/>
              </a:path>
            </a:pathLst>
          </a:custGeom>
          <a:solidFill>
            <a:schemeClr val="accent3"/>
          </a:solidFill>
          <a:ln w="12700">
            <a:solidFill>
              <a:schemeClr val="bg1"/>
            </a:solidFill>
            <a:round/>
            <a:headEnd/>
            <a:tailEnd/>
          </a:ln>
        </p:spPr>
        <p:txBody>
          <a:bodyPr/>
          <a:lstStyle/>
          <a:p>
            <a:pPr>
              <a:defRPr/>
            </a:pPr>
            <a:endParaRPr lang="nl-NL"/>
          </a:p>
        </p:txBody>
      </p:sp>
      <p:sp>
        <p:nvSpPr>
          <p:cNvPr id="27" name="Freeform 51"/>
          <p:cNvSpPr>
            <a:spLocks/>
          </p:cNvSpPr>
          <p:nvPr/>
        </p:nvSpPr>
        <p:spPr bwMode="auto">
          <a:xfrm>
            <a:off x="4917022" y="1592076"/>
            <a:ext cx="743288" cy="725456"/>
          </a:xfrm>
          <a:custGeom>
            <a:avLst/>
            <a:gdLst>
              <a:gd name="T0" fmla="*/ 602 w 697"/>
              <a:gd name="T1" fmla="*/ 86 h 626"/>
              <a:gd name="T2" fmla="*/ 513 w 697"/>
              <a:gd name="T3" fmla="*/ 99 h 626"/>
              <a:gd name="T4" fmla="*/ 519 w 697"/>
              <a:gd name="T5" fmla="*/ 25 h 626"/>
              <a:gd name="T6" fmla="*/ 473 w 697"/>
              <a:gd name="T7" fmla="*/ 0 h 626"/>
              <a:gd name="T8" fmla="*/ 384 w 697"/>
              <a:gd name="T9" fmla="*/ 13 h 626"/>
              <a:gd name="T10" fmla="*/ 243 w 697"/>
              <a:gd name="T11" fmla="*/ 95 h 626"/>
              <a:gd name="T12" fmla="*/ 148 w 697"/>
              <a:gd name="T13" fmla="*/ 103 h 626"/>
              <a:gd name="T14" fmla="*/ 129 w 697"/>
              <a:gd name="T15" fmla="*/ 148 h 626"/>
              <a:gd name="T16" fmla="*/ 30 w 697"/>
              <a:gd name="T17" fmla="*/ 209 h 626"/>
              <a:gd name="T18" fmla="*/ 0 w 697"/>
              <a:gd name="T19" fmla="*/ 339 h 626"/>
              <a:gd name="T20" fmla="*/ 38 w 697"/>
              <a:gd name="T21" fmla="*/ 512 h 626"/>
              <a:gd name="T22" fmla="*/ 11 w 697"/>
              <a:gd name="T23" fmla="*/ 578 h 626"/>
              <a:gd name="T24" fmla="*/ 95 w 697"/>
              <a:gd name="T25" fmla="*/ 578 h 626"/>
              <a:gd name="T26" fmla="*/ 127 w 697"/>
              <a:gd name="T27" fmla="*/ 607 h 626"/>
              <a:gd name="T28" fmla="*/ 178 w 697"/>
              <a:gd name="T29" fmla="*/ 559 h 626"/>
              <a:gd name="T30" fmla="*/ 230 w 697"/>
              <a:gd name="T31" fmla="*/ 589 h 626"/>
              <a:gd name="T32" fmla="*/ 283 w 697"/>
              <a:gd name="T33" fmla="*/ 626 h 626"/>
              <a:gd name="T34" fmla="*/ 369 w 697"/>
              <a:gd name="T35" fmla="*/ 612 h 626"/>
              <a:gd name="T36" fmla="*/ 397 w 697"/>
              <a:gd name="T37" fmla="*/ 588 h 626"/>
              <a:gd name="T38" fmla="*/ 450 w 697"/>
              <a:gd name="T39" fmla="*/ 610 h 626"/>
              <a:gd name="T40" fmla="*/ 543 w 697"/>
              <a:gd name="T41" fmla="*/ 580 h 626"/>
              <a:gd name="T42" fmla="*/ 576 w 697"/>
              <a:gd name="T43" fmla="*/ 502 h 626"/>
              <a:gd name="T44" fmla="*/ 610 w 697"/>
              <a:gd name="T45" fmla="*/ 502 h 626"/>
              <a:gd name="T46" fmla="*/ 644 w 697"/>
              <a:gd name="T47" fmla="*/ 523 h 626"/>
              <a:gd name="T48" fmla="*/ 697 w 697"/>
              <a:gd name="T49" fmla="*/ 460 h 626"/>
              <a:gd name="T50" fmla="*/ 610 w 697"/>
              <a:gd name="T51" fmla="*/ 337 h 626"/>
              <a:gd name="T52" fmla="*/ 585 w 697"/>
              <a:gd name="T53" fmla="*/ 308 h 626"/>
              <a:gd name="T54" fmla="*/ 524 w 697"/>
              <a:gd name="T55" fmla="*/ 304 h 626"/>
              <a:gd name="T56" fmla="*/ 521 w 697"/>
              <a:gd name="T57" fmla="*/ 245 h 626"/>
              <a:gd name="T58" fmla="*/ 587 w 697"/>
              <a:gd name="T59" fmla="*/ 152 h 626"/>
              <a:gd name="T60" fmla="*/ 602 w 697"/>
              <a:gd name="T61" fmla="*/ 86 h 626"/>
              <a:gd name="T62" fmla="*/ 602 w 697"/>
              <a:gd name="T63" fmla="*/ 86 h 626"/>
              <a:gd name="T64" fmla="*/ 602 w 697"/>
              <a:gd name="T65" fmla="*/ 86 h 6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97"/>
              <a:gd name="T100" fmla="*/ 0 h 626"/>
              <a:gd name="T101" fmla="*/ 697 w 697"/>
              <a:gd name="T102" fmla="*/ 626 h 6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97" h="626">
                <a:moveTo>
                  <a:pt x="602" y="86"/>
                </a:moveTo>
                <a:lnTo>
                  <a:pt x="513" y="99"/>
                </a:lnTo>
                <a:lnTo>
                  <a:pt x="519" y="25"/>
                </a:lnTo>
                <a:lnTo>
                  <a:pt x="473" y="0"/>
                </a:lnTo>
                <a:lnTo>
                  <a:pt x="384" y="13"/>
                </a:lnTo>
                <a:lnTo>
                  <a:pt x="243" y="95"/>
                </a:lnTo>
                <a:lnTo>
                  <a:pt x="148" y="103"/>
                </a:lnTo>
                <a:lnTo>
                  <a:pt x="129" y="148"/>
                </a:lnTo>
                <a:lnTo>
                  <a:pt x="30" y="209"/>
                </a:lnTo>
                <a:lnTo>
                  <a:pt x="0" y="339"/>
                </a:lnTo>
                <a:lnTo>
                  <a:pt x="38" y="512"/>
                </a:lnTo>
                <a:lnTo>
                  <a:pt x="11" y="578"/>
                </a:lnTo>
                <a:lnTo>
                  <a:pt x="95" y="578"/>
                </a:lnTo>
                <a:lnTo>
                  <a:pt x="127" y="607"/>
                </a:lnTo>
                <a:lnTo>
                  <a:pt x="178" y="559"/>
                </a:lnTo>
                <a:lnTo>
                  <a:pt x="230" y="589"/>
                </a:lnTo>
                <a:lnTo>
                  <a:pt x="283" y="626"/>
                </a:lnTo>
                <a:lnTo>
                  <a:pt x="369" y="612"/>
                </a:lnTo>
                <a:lnTo>
                  <a:pt x="397" y="588"/>
                </a:lnTo>
                <a:lnTo>
                  <a:pt x="450" y="610"/>
                </a:lnTo>
                <a:lnTo>
                  <a:pt x="543" y="580"/>
                </a:lnTo>
                <a:lnTo>
                  <a:pt x="576" y="502"/>
                </a:lnTo>
                <a:lnTo>
                  <a:pt x="610" y="502"/>
                </a:lnTo>
                <a:lnTo>
                  <a:pt x="644" y="523"/>
                </a:lnTo>
                <a:lnTo>
                  <a:pt x="697" y="460"/>
                </a:lnTo>
                <a:lnTo>
                  <a:pt x="610" y="337"/>
                </a:lnTo>
                <a:lnTo>
                  <a:pt x="585" y="308"/>
                </a:lnTo>
                <a:lnTo>
                  <a:pt x="524" y="304"/>
                </a:lnTo>
                <a:lnTo>
                  <a:pt x="521" y="245"/>
                </a:lnTo>
                <a:lnTo>
                  <a:pt x="587" y="152"/>
                </a:lnTo>
                <a:lnTo>
                  <a:pt x="602" y="86"/>
                </a:lnTo>
                <a:close/>
              </a:path>
            </a:pathLst>
          </a:custGeom>
          <a:solidFill>
            <a:schemeClr val="accent3"/>
          </a:solidFill>
          <a:ln w="12700">
            <a:solidFill>
              <a:schemeClr val="bg1"/>
            </a:solidFill>
            <a:round/>
            <a:headEnd/>
            <a:tailEnd/>
          </a:ln>
        </p:spPr>
        <p:txBody>
          <a:bodyPr/>
          <a:lstStyle/>
          <a:p>
            <a:pPr>
              <a:defRPr/>
            </a:pPr>
            <a:endParaRPr lang="nl-NL"/>
          </a:p>
        </p:txBody>
      </p:sp>
      <p:sp>
        <p:nvSpPr>
          <p:cNvPr id="28" name="Freeform 52"/>
          <p:cNvSpPr>
            <a:spLocks/>
          </p:cNvSpPr>
          <p:nvPr/>
        </p:nvSpPr>
        <p:spPr bwMode="auto">
          <a:xfrm>
            <a:off x="5468631" y="1522543"/>
            <a:ext cx="717731" cy="778765"/>
          </a:xfrm>
          <a:custGeom>
            <a:avLst/>
            <a:gdLst>
              <a:gd name="T0" fmla="*/ 79 w 672"/>
              <a:gd name="T1" fmla="*/ 59 h 673"/>
              <a:gd name="T2" fmla="*/ 81 w 672"/>
              <a:gd name="T3" fmla="*/ 147 h 673"/>
              <a:gd name="T4" fmla="*/ 68 w 672"/>
              <a:gd name="T5" fmla="*/ 213 h 673"/>
              <a:gd name="T6" fmla="*/ 0 w 672"/>
              <a:gd name="T7" fmla="*/ 310 h 673"/>
              <a:gd name="T8" fmla="*/ 5 w 672"/>
              <a:gd name="T9" fmla="*/ 365 h 673"/>
              <a:gd name="T10" fmla="*/ 66 w 672"/>
              <a:gd name="T11" fmla="*/ 371 h 673"/>
              <a:gd name="T12" fmla="*/ 91 w 672"/>
              <a:gd name="T13" fmla="*/ 398 h 673"/>
              <a:gd name="T14" fmla="*/ 131 w 672"/>
              <a:gd name="T15" fmla="*/ 394 h 673"/>
              <a:gd name="T16" fmla="*/ 144 w 672"/>
              <a:gd name="T17" fmla="*/ 320 h 673"/>
              <a:gd name="T18" fmla="*/ 186 w 672"/>
              <a:gd name="T19" fmla="*/ 299 h 673"/>
              <a:gd name="T20" fmla="*/ 211 w 672"/>
              <a:gd name="T21" fmla="*/ 299 h 673"/>
              <a:gd name="T22" fmla="*/ 317 w 672"/>
              <a:gd name="T23" fmla="*/ 382 h 673"/>
              <a:gd name="T24" fmla="*/ 363 w 672"/>
              <a:gd name="T25" fmla="*/ 362 h 673"/>
              <a:gd name="T26" fmla="*/ 557 w 672"/>
              <a:gd name="T27" fmla="*/ 569 h 673"/>
              <a:gd name="T28" fmla="*/ 557 w 672"/>
              <a:gd name="T29" fmla="*/ 618 h 673"/>
              <a:gd name="T30" fmla="*/ 577 w 672"/>
              <a:gd name="T31" fmla="*/ 620 h 673"/>
              <a:gd name="T32" fmla="*/ 581 w 672"/>
              <a:gd name="T33" fmla="*/ 673 h 673"/>
              <a:gd name="T34" fmla="*/ 671 w 672"/>
              <a:gd name="T35" fmla="*/ 510 h 673"/>
              <a:gd name="T36" fmla="*/ 672 w 672"/>
              <a:gd name="T37" fmla="*/ 377 h 673"/>
              <a:gd name="T38" fmla="*/ 655 w 672"/>
              <a:gd name="T39" fmla="*/ 335 h 673"/>
              <a:gd name="T40" fmla="*/ 669 w 672"/>
              <a:gd name="T41" fmla="*/ 242 h 673"/>
              <a:gd name="T42" fmla="*/ 572 w 672"/>
              <a:gd name="T43" fmla="*/ 219 h 673"/>
              <a:gd name="T44" fmla="*/ 583 w 672"/>
              <a:gd name="T45" fmla="*/ 168 h 673"/>
              <a:gd name="T46" fmla="*/ 467 w 672"/>
              <a:gd name="T47" fmla="*/ 141 h 673"/>
              <a:gd name="T48" fmla="*/ 465 w 672"/>
              <a:gd name="T49" fmla="*/ 46 h 673"/>
              <a:gd name="T50" fmla="*/ 349 w 672"/>
              <a:gd name="T51" fmla="*/ 0 h 673"/>
              <a:gd name="T52" fmla="*/ 178 w 672"/>
              <a:gd name="T53" fmla="*/ 54 h 673"/>
              <a:gd name="T54" fmla="*/ 79 w 672"/>
              <a:gd name="T55" fmla="*/ 59 h 673"/>
              <a:gd name="T56" fmla="*/ 79 w 672"/>
              <a:gd name="T57" fmla="*/ 59 h 673"/>
              <a:gd name="T58" fmla="*/ 79 w 672"/>
              <a:gd name="T59" fmla="*/ 59 h 6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72"/>
              <a:gd name="T91" fmla="*/ 0 h 673"/>
              <a:gd name="T92" fmla="*/ 672 w 672"/>
              <a:gd name="T93" fmla="*/ 673 h 6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72" h="673">
                <a:moveTo>
                  <a:pt x="79" y="59"/>
                </a:moveTo>
                <a:lnTo>
                  <a:pt x="81" y="147"/>
                </a:lnTo>
                <a:lnTo>
                  <a:pt x="68" y="213"/>
                </a:lnTo>
                <a:lnTo>
                  <a:pt x="0" y="310"/>
                </a:lnTo>
                <a:lnTo>
                  <a:pt x="5" y="365"/>
                </a:lnTo>
                <a:lnTo>
                  <a:pt x="66" y="371"/>
                </a:lnTo>
                <a:lnTo>
                  <a:pt x="91" y="398"/>
                </a:lnTo>
                <a:lnTo>
                  <a:pt x="131" y="394"/>
                </a:lnTo>
                <a:lnTo>
                  <a:pt x="144" y="320"/>
                </a:lnTo>
                <a:lnTo>
                  <a:pt x="186" y="299"/>
                </a:lnTo>
                <a:lnTo>
                  <a:pt x="211" y="299"/>
                </a:lnTo>
                <a:lnTo>
                  <a:pt x="317" y="382"/>
                </a:lnTo>
                <a:lnTo>
                  <a:pt x="363" y="362"/>
                </a:lnTo>
                <a:lnTo>
                  <a:pt x="557" y="569"/>
                </a:lnTo>
                <a:lnTo>
                  <a:pt x="557" y="618"/>
                </a:lnTo>
                <a:lnTo>
                  <a:pt x="577" y="620"/>
                </a:lnTo>
                <a:lnTo>
                  <a:pt x="581" y="673"/>
                </a:lnTo>
                <a:lnTo>
                  <a:pt x="671" y="510"/>
                </a:lnTo>
                <a:lnTo>
                  <a:pt x="672" y="377"/>
                </a:lnTo>
                <a:lnTo>
                  <a:pt x="655" y="335"/>
                </a:lnTo>
                <a:lnTo>
                  <a:pt x="669" y="242"/>
                </a:lnTo>
                <a:lnTo>
                  <a:pt x="572" y="219"/>
                </a:lnTo>
                <a:lnTo>
                  <a:pt x="583" y="168"/>
                </a:lnTo>
                <a:lnTo>
                  <a:pt x="467" y="141"/>
                </a:lnTo>
                <a:lnTo>
                  <a:pt x="465" y="46"/>
                </a:lnTo>
                <a:lnTo>
                  <a:pt x="349" y="0"/>
                </a:lnTo>
                <a:lnTo>
                  <a:pt x="178" y="54"/>
                </a:lnTo>
                <a:lnTo>
                  <a:pt x="79" y="59"/>
                </a:lnTo>
                <a:close/>
              </a:path>
            </a:pathLst>
          </a:custGeom>
          <a:solidFill>
            <a:schemeClr val="accent3"/>
          </a:solidFill>
          <a:ln w="12700">
            <a:solidFill>
              <a:schemeClr val="bg1"/>
            </a:solidFill>
            <a:round/>
            <a:headEnd/>
            <a:tailEnd/>
          </a:ln>
        </p:spPr>
        <p:txBody>
          <a:bodyPr/>
          <a:lstStyle/>
          <a:p>
            <a:pPr>
              <a:defRPr/>
            </a:pPr>
            <a:endParaRPr lang="nl-NL"/>
          </a:p>
        </p:txBody>
      </p:sp>
      <p:sp>
        <p:nvSpPr>
          <p:cNvPr id="29" name="Freeform 53"/>
          <p:cNvSpPr>
            <a:spLocks/>
          </p:cNvSpPr>
          <p:nvPr/>
        </p:nvSpPr>
        <p:spPr bwMode="auto">
          <a:xfrm>
            <a:off x="5455853" y="1865570"/>
            <a:ext cx="630410" cy="686055"/>
          </a:xfrm>
          <a:custGeom>
            <a:avLst/>
            <a:gdLst>
              <a:gd name="T0" fmla="*/ 225 w 593"/>
              <a:gd name="T1" fmla="*/ 0 h 593"/>
              <a:gd name="T2" fmla="*/ 200 w 593"/>
              <a:gd name="T3" fmla="*/ 0 h 593"/>
              <a:gd name="T4" fmla="*/ 156 w 593"/>
              <a:gd name="T5" fmla="*/ 21 h 593"/>
              <a:gd name="T6" fmla="*/ 147 w 593"/>
              <a:gd name="T7" fmla="*/ 97 h 593"/>
              <a:gd name="T8" fmla="*/ 103 w 593"/>
              <a:gd name="T9" fmla="*/ 101 h 593"/>
              <a:gd name="T10" fmla="*/ 192 w 593"/>
              <a:gd name="T11" fmla="*/ 224 h 593"/>
              <a:gd name="T12" fmla="*/ 139 w 593"/>
              <a:gd name="T13" fmla="*/ 287 h 593"/>
              <a:gd name="T14" fmla="*/ 107 w 593"/>
              <a:gd name="T15" fmla="*/ 264 h 593"/>
              <a:gd name="T16" fmla="*/ 71 w 593"/>
              <a:gd name="T17" fmla="*/ 264 h 593"/>
              <a:gd name="T18" fmla="*/ 38 w 593"/>
              <a:gd name="T19" fmla="*/ 344 h 593"/>
              <a:gd name="T20" fmla="*/ 0 w 593"/>
              <a:gd name="T21" fmla="*/ 357 h 593"/>
              <a:gd name="T22" fmla="*/ 52 w 593"/>
              <a:gd name="T23" fmla="*/ 393 h 593"/>
              <a:gd name="T24" fmla="*/ 0 w 593"/>
              <a:gd name="T25" fmla="*/ 462 h 593"/>
              <a:gd name="T26" fmla="*/ 17 w 593"/>
              <a:gd name="T27" fmla="*/ 519 h 593"/>
              <a:gd name="T28" fmla="*/ 131 w 593"/>
              <a:gd name="T29" fmla="*/ 549 h 593"/>
              <a:gd name="T30" fmla="*/ 149 w 593"/>
              <a:gd name="T31" fmla="*/ 578 h 593"/>
              <a:gd name="T32" fmla="*/ 249 w 593"/>
              <a:gd name="T33" fmla="*/ 593 h 593"/>
              <a:gd name="T34" fmla="*/ 280 w 593"/>
              <a:gd name="T35" fmla="*/ 544 h 593"/>
              <a:gd name="T36" fmla="*/ 325 w 593"/>
              <a:gd name="T37" fmla="*/ 538 h 593"/>
              <a:gd name="T38" fmla="*/ 388 w 593"/>
              <a:gd name="T39" fmla="*/ 561 h 593"/>
              <a:gd name="T40" fmla="*/ 417 w 593"/>
              <a:gd name="T41" fmla="*/ 542 h 593"/>
              <a:gd name="T42" fmla="*/ 538 w 593"/>
              <a:gd name="T43" fmla="*/ 536 h 593"/>
              <a:gd name="T44" fmla="*/ 582 w 593"/>
              <a:gd name="T45" fmla="*/ 568 h 593"/>
              <a:gd name="T46" fmla="*/ 593 w 593"/>
              <a:gd name="T47" fmla="*/ 371 h 593"/>
              <a:gd name="T48" fmla="*/ 593 w 593"/>
              <a:gd name="T49" fmla="*/ 323 h 593"/>
              <a:gd name="T50" fmla="*/ 571 w 593"/>
              <a:gd name="T51" fmla="*/ 319 h 593"/>
              <a:gd name="T52" fmla="*/ 571 w 593"/>
              <a:gd name="T53" fmla="*/ 270 h 593"/>
              <a:gd name="T54" fmla="*/ 379 w 593"/>
              <a:gd name="T55" fmla="*/ 65 h 593"/>
              <a:gd name="T56" fmla="*/ 329 w 593"/>
              <a:gd name="T57" fmla="*/ 85 h 593"/>
              <a:gd name="T58" fmla="*/ 225 w 593"/>
              <a:gd name="T59" fmla="*/ 0 h 593"/>
              <a:gd name="T60" fmla="*/ 225 w 593"/>
              <a:gd name="T61" fmla="*/ 0 h 593"/>
              <a:gd name="T62" fmla="*/ 225 w 593"/>
              <a:gd name="T63" fmla="*/ 0 h 59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93"/>
              <a:gd name="T97" fmla="*/ 0 h 593"/>
              <a:gd name="T98" fmla="*/ 593 w 593"/>
              <a:gd name="T99" fmla="*/ 593 h 59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93" h="593">
                <a:moveTo>
                  <a:pt x="225" y="0"/>
                </a:moveTo>
                <a:lnTo>
                  <a:pt x="200" y="0"/>
                </a:lnTo>
                <a:lnTo>
                  <a:pt x="156" y="21"/>
                </a:lnTo>
                <a:lnTo>
                  <a:pt x="147" y="97"/>
                </a:lnTo>
                <a:lnTo>
                  <a:pt x="103" y="101"/>
                </a:lnTo>
                <a:lnTo>
                  <a:pt x="192" y="224"/>
                </a:lnTo>
                <a:lnTo>
                  <a:pt x="139" y="287"/>
                </a:lnTo>
                <a:lnTo>
                  <a:pt x="107" y="264"/>
                </a:lnTo>
                <a:lnTo>
                  <a:pt x="71" y="264"/>
                </a:lnTo>
                <a:lnTo>
                  <a:pt x="38" y="344"/>
                </a:lnTo>
                <a:lnTo>
                  <a:pt x="0" y="357"/>
                </a:lnTo>
                <a:lnTo>
                  <a:pt x="52" y="393"/>
                </a:lnTo>
                <a:lnTo>
                  <a:pt x="0" y="462"/>
                </a:lnTo>
                <a:lnTo>
                  <a:pt x="17" y="519"/>
                </a:lnTo>
                <a:lnTo>
                  <a:pt x="131" y="549"/>
                </a:lnTo>
                <a:lnTo>
                  <a:pt x="149" y="578"/>
                </a:lnTo>
                <a:lnTo>
                  <a:pt x="249" y="593"/>
                </a:lnTo>
                <a:lnTo>
                  <a:pt x="280" y="544"/>
                </a:lnTo>
                <a:lnTo>
                  <a:pt x="325" y="538"/>
                </a:lnTo>
                <a:lnTo>
                  <a:pt x="388" y="561"/>
                </a:lnTo>
                <a:lnTo>
                  <a:pt x="417" y="542"/>
                </a:lnTo>
                <a:lnTo>
                  <a:pt x="538" y="536"/>
                </a:lnTo>
                <a:lnTo>
                  <a:pt x="582" y="568"/>
                </a:lnTo>
                <a:lnTo>
                  <a:pt x="593" y="371"/>
                </a:lnTo>
                <a:lnTo>
                  <a:pt x="593" y="323"/>
                </a:lnTo>
                <a:lnTo>
                  <a:pt x="571" y="319"/>
                </a:lnTo>
                <a:lnTo>
                  <a:pt x="571" y="270"/>
                </a:lnTo>
                <a:lnTo>
                  <a:pt x="379" y="65"/>
                </a:lnTo>
                <a:lnTo>
                  <a:pt x="329" y="85"/>
                </a:lnTo>
                <a:lnTo>
                  <a:pt x="225" y="0"/>
                </a:lnTo>
                <a:close/>
              </a:path>
            </a:pathLst>
          </a:custGeom>
          <a:solidFill>
            <a:schemeClr val="accent3"/>
          </a:solidFill>
          <a:ln w="12700">
            <a:solidFill>
              <a:schemeClr val="bg1"/>
            </a:solidFill>
            <a:round/>
            <a:headEnd/>
            <a:tailEnd/>
          </a:ln>
        </p:spPr>
        <p:txBody>
          <a:bodyPr/>
          <a:lstStyle/>
          <a:p>
            <a:pPr>
              <a:defRPr/>
            </a:pPr>
            <a:endParaRPr lang="nl-NL"/>
          </a:p>
        </p:txBody>
      </p:sp>
      <p:sp>
        <p:nvSpPr>
          <p:cNvPr id="30" name="Freeform 54"/>
          <p:cNvSpPr>
            <a:spLocks/>
          </p:cNvSpPr>
          <p:nvPr/>
        </p:nvSpPr>
        <p:spPr bwMode="auto">
          <a:xfrm>
            <a:off x="4356896" y="2127476"/>
            <a:ext cx="528181" cy="931736"/>
          </a:xfrm>
          <a:custGeom>
            <a:avLst/>
            <a:gdLst>
              <a:gd name="T0" fmla="*/ 181 w 496"/>
              <a:gd name="T1" fmla="*/ 0 h 804"/>
              <a:gd name="T2" fmla="*/ 145 w 496"/>
              <a:gd name="T3" fmla="*/ 6 h 804"/>
              <a:gd name="T4" fmla="*/ 137 w 496"/>
              <a:gd name="T5" fmla="*/ 101 h 804"/>
              <a:gd name="T6" fmla="*/ 0 w 496"/>
              <a:gd name="T7" fmla="*/ 644 h 804"/>
              <a:gd name="T8" fmla="*/ 40 w 496"/>
              <a:gd name="T9" fmla="*/ 671 h 804"/>
              <a:gd name="T10" fmla="*/ 21 w 496"/>
              <a:gd name="T11" fmla="*/ 747 h 804"/>
              <a:gd name="T12" fmla="*/ 48 w 496"/>
              <a:gd name="T13" fmla="*/ 772 h 804"/>
              <a:gd name="T14" fmla="*/ 150 w 496"/>
              <a:gd name="T15" fmla="*/ 753 h 804"/>
              <a:gd name="T16" fmla="*/ 156 w 496"/>
              <a:gd name="T17" fmla="*/ 762 h 804"/>
              <a:gd name="T18" fmla="*/ 278 w 496"/>
              <a:gd name="T19" fmla="*/ 703 h 804"/>
              <a:gd name="T20" fmla="*/ 371 w 496"/>
              <a:gd name="T21" fmla="*/ 720 h 804"/>
              <a:gd name="T22" fmla="*/ 337 w 496"/>
              <a:gd name="T23" fmla="*/ 768 h 804"/>
              <a:gd name="T24" fmla="*/ 390 w 496"/>
              <a:gd name="T25" fmla="*/ 772 h 804"/>
              <a:gd name="T26" fmla="*/ 409 w 496"/>
              <a:gd name="T27" fmla="*/ 804 h 804"/>
              <a:gd name="T28" fmla="*/ 458 w 496"/>
              <a:gd name="T29" fmla="*/ 795 h 804"/>
              <a:gd name="T30" fmla="*/ 496 w 496"/>
              <a:gd name="T31" fmla="*/ 671 h 804"/>
              <a:gd name="T32" fmla="*/ 415 w 496"/>
              <a:gd name="T33" fmla="*/ 679 h 804"/>
              <a:gd name="T34" fmla="*/ 352 w 496"/>
              <a:gd name="T35" fmla="*/ 584 h 804"/>
              <a:gd name="T36" fmla="*/ 352 w 496"/>
              <a:gd name="T37" fmla="*/ 508 h 804"/>
              <a:gd name="T38" fmla="*/ 390 w 496"/>
              <a:gd name="T39" fmla="*/ 464 h 804"/>
              <a:gd name="T40" fmla="*/ 352 w 496"/>
              <a:gd name="T41" fmla="*/ 424 h 804"/>
              <a:gd name="T42" fmla="*/ 352 w 496"/>
              <a:gd name="T43" fmla="*/ 356 h 804"/>
              <a:gd name="T44" fmla="*/ 418 w 496"/>
              <a:gd name="T45" fmla="*/ 359 h 804"/>
              <a:gd name="T46" fmla="*/ 466 w 496"/>
              <a:gd name="T47" fmla="*/ 325 h 804"/>
              <a:gd name="T48" fmla="*/ 494 w 496"/>
              <a:gd name="T49" fmla="*/ 222 h 804"/>
              <a:gd name="T50" fmla="*/ 399 w 496"/>
              <a:gd name="T51" fmla="*/ 251 h 804"/>
              <a:gd name="T52" fmla="*/ 396 w 496"/>
              <a:gd name="T53" fmla="*/ 126 h 804"/>
              <a:gd name="T54" fmla="*/ 363 w 496"/>
              <a:gd name="T55" fmla="*/ 36 h 804"/>
              <a:gd name="T56" fmla="*/ 312 w 496"/>
              <a:gd name="T57" fmla="*/ 27 h 804"/>
              <a:gd name="T58" fmla="*/ 223 w 496"/>
              <a:gd name="T59" fmla="*/ 82 h 804"/>
              <a:gd name="T60" fmla="*/ 181 w 496"/>
              <a:gd name="T61" fmla="*/ 0 h 804"/>
              <a:gd name="T62" fmla="*/ 181 w 496"/>
              <a:gd name="T63" fmla="*/ 0 h 804"/>
              <a:gd name="T64" fmla="*/ 181 w 496"/>
              <a:gd name="T65" fmla="*/ 0 h 8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804"/>
              <a:gd name="T101" fmla="*/ 496 w 496"/>
              <a:gd name="T102" fmla="*/ 804 h 8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804">
                <a:moveTo>
                  <a:pt x="181" y="0"/>
                </a:moveTo>
                <a:lnTo>
                  <a:pt x="145" y="6"/>
                </a:lnTo>
                <a:lnTo>
                  <a:pt x="137" y="101"/>
                </a:lnTo>
                <a:lnTo>
                  <a:pt x="0" y="644"/>
                </a:lnTo>
                <a:lnTo>
                  <a:pt x="40" y="671"/>
                </a:lnTo>
                <a:lnTo>
                  <a:pt x="21" y="747"/>
                </a:lnTo>
                <a:lnTo>
                  <a:pt x="48" y="772"/>
                </a:lnTo>
                <a:lnTo>
                  <a:pt x="150" y="753"/>
                </a:lnTo>
                <a:lnTo>
                  <a:pt x="156" y="762"/>
                </a:lnTo>
                <a:lnTo>
                  <a:pt x="278" y="703"/>
                </a:lnTo>
                <a:lnTo>
                  <a:pt x="371" y="720"/>
                </a:lnTo>
                <a:lnTo>
                  <a:pt x="337" y="768"/>
                </a:lnTo>
                <a:lnTo>
                  <a:pt x="390" y="772"/>
                </a:lnTo>
                <a:lnTo>
                  <a:pt x="409" y="804"/>
                </a:lnTo>
                <a:lnTo>
                  <a:pt x="458" y="795"/>
                </a:lnTo>
                <a:lnTo>
                  <a:pt x="496" y="671"/>
                </a:lnTo>
                <a:lnTo>
                  <a:pt x="415" y="679"/>
                </a:lnTo>
                <a:lnTo>
                  <a:pt x="352" y="584"/>
                </a:lnTo>
                <a:lnTo>
                  <a:pt x="352" y="508"/>
                </a:lnTo>
                <a:lnTo>
                  <a:pt x="390" y="464"/>
                </a:lnTo>
                <a:lnTo>
                  <a:pt x="352" y="424"/>
                </a:lnTo>
                <a:lnTo>
                  <a:pt x="352" y="356"/>
                </a:lnTo>
                <a:lnTo>
                  <a:pt x="418" y="359"/>
                </a:lnTo>
                <a:lnTo>
                  <a:pt x="466" y="325"/>
                </a:lnTo>
                <a:lnTo>
                  <a:pt x="494" y="222"/>
                </a:lnTo>
                <a:lnTo>
                  <a:pt x="399" y="251"/>
                </a:lnTo>
                <a:lnTo>
                  <a:pt x="396" y="126"/>
                </a:lnTo>
                <a:lnTo>
                  <a:pt x="363" y="36"/>
                </a:lnTo>
                <a:lnTo>
                  <a:pt x="312" y="27"/>
                </a:lnTo>
                <a:lnTo>
                  <a:pt x="223" y="82"/>
                </a:lnTo>
                <a:lnTo>
                  <a:pt x="181" y="0"/>
                </a:lnTo>
                <a:close/>
              </a:path>
            </a:pathLst>
          </a:custGeom>
          <a:solidFill>
            <a:schemeClr val="accent3"/>
          </a:solidFill>
          <a:ln w="12700">
            <a:solidFill>
              <a:schemeClr val="bg1"/>
            </a:solidFill>
            <a:round/>
            <a:headEnd/>
            <a:tailEnd/>
          </a:ln>
        </p:spPr>
        <p:txBody>
          <a:bodyPr/>
          <a:lstStyle/>
          <a:p>
            <a:pPr>
              <a:defRPr/>
            </a:pPr>
            <a:endParaRPr lang="nl-NL"/>
          </a:p>
        </p:txBody>
      </p:sp>
      <p:sp>
        <p:nvSpPr>
          <p:cNvPr id="31" name="Freeform 55"/>
          <p:cNvSpPr>
            <a:spLocks/>
          </p:cNvSpPr>
          <p:nvPr/>
        </p:nvSpPr>
        <p:spPr bwMode="auto">
          <a:xfrm>
            <a:off x="4729603" y="2275812"/>
            <a:ext cx="658097" cy="686055"/>
          </a:xfrm>
          <a:custGeom>
            <a:avLst/>
            <a:gdLst>
              <a:gd name="T0" fmla="*/ 405 w 618"/>
              <a:gd name="T1" fmla="*/ 0 h 593"/>
              <a:gd name="T2" fmla="*/ 317 w 618"/>
              <a:gd name="T3" fmla="*/ 65 h 593"/>
              <a:gd name="T4" fmla="*/ 329 w 618"/>
              <a:gd name="T5" fmla="*/ 175 h 593"/>
              <a:gd name="T6" fmla="*/ 365 w 618"/>
              <a:gd name="T7" fmla="*/ 221 h 593"/>
              <a:gd name="T8" fmla="*/ 291 w 618"/>
              <a:gd name="T9" fmla="*/ 223 h 593"/>
              <a:gd name="T10" fmla="*/ 226 w 618"/>
              <a:gd name="T11" fmla="*/ 282 h 593"/>
              <a:gd name="T12" fmla="*/ 161 w 618"/>
              <a:gd name="T13" fmla="*/ 170 h 593"/>
              <a:gd name="T14" fmla="*/ 66 w 618"/>
              <a:gd name="T15" fmla="*/ 232 h 593"/>
              <a:gd name="T16" fmla="*/ 0 w 618"/>
              <a:gd name="T17" fmla="*/ 227 h 593"/>
              <a:gd name="T18" fmla="*/ 0 w 618"/>
              <a:gd name="T19" fmla="*/ 297 h 593"/>
              <a:gd name="T20" fmla="*/ 38 w 618"/>
              <a:gd name="T21" fmla="*/ 337 h 593"/>
              <a:gd name="T22" fmla="*/ 0 w 618"/>
              <a:gd name="T23" fmla="*/ 381 h 593"/>
              <a:gd name="T24" fmla="*/ 0 w 618"/>
              <a:gd name="T25" fmla="*/ 460 h 593"/>
              <a:gd name="T26" fmla="*/ 63 w 618"/>
              <a:gd name="T27" fmla="*/ 552 h 593"/>
              <a:gd name="T28" fmla="*/ 142 w 618"/>
              <a:gd name="T29" fmla="*/ 546 h 593"/>
              <a:gd name="T30" fmla="*/ 169 w 618"/>
              <a:gd name="T31" fmla="*/ 582 h 593"/>
              <a:gd name="T32" fmla="*/ 232 w 618"/>
              <a:gd name="T33" fmla="*/ 593 h 593"/>
              <a:gd name="T34" fmla="*/ 310 w 618"/>
              <a:gd name="T35" fmla="*/ 571 h 593"/>
              <a:gd name="T36" fmla="*/ 310 w 618"/>
              <a:gd name="T37" fmla="*/ 514 h 593"/>
              <a:gd name="T38" fmla="*/ 454 w 618"/>
              <a:gd name="T39" fmla="*/ 415 h 593"/>
              <a:gd name="T40" fmla="*/ 496 w 618"/>
              <a:gd name="T41" fmla="*/ 344 h 593"/>
              <a:gd name="T42" fmla="*/ 494 w 618"/>
              <a:gd name="T43" fmla="*/ 295 h 593"/>
              <a:gd name="T44" fmla="*/ 429 w 618"/>
              <a:gd name="T45" fmla="*/ 238 h 593"/>
              <a:gd name="T46" fmla="*/ 566 w 618"/>
              <a:gd name="T47" fmla="*/ 238 h 593"/>
              <a:gd name="T48" fmla="*/ 618 w 618"/>
              <a:gd name="T49" fmla="*/ 225 h 593"/>
              <a:gd name="T50" fmla="*/ 568 w 618"/>
              <a:gd name="T51" fmla="*/ 175 h 593"/>
              <a:gd name="T52" fmla="*/ 566 w 618"/>
              <a:gd name="T53" fmla="*/ 141 h 593"/>
              <a:gd name="T54" fmla="*/ 604 w 618"/>
              <a:gd name="T55" fmla="*/ 135 h 593"/>
              <a:gd name="T56" fmla="*/ 604 w 618"/>
              <a:gd name="T57" fmla="*/ 94 h 593"/>
              <a:gd name="T58" fmla="*/ 458 w 618"/>
              <a:gd name="T59" fmla="*/ 35 h 593"/>
              <a:gd name="T60" fmla="*/ 405 w 618"/>
              <a:gd name="T61" fmla="*/ 0 h 593"/>
              <a:gd name="T62" fmla="*/ 405 w 618"/>
              <a:gd name="T63" fmla="*/ 0 h 593"/>
              <a:gd name="T64" fmla="*/ 405 w 618"/>
              <a:gd name="T65" fmla="*/ 0 h 5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18"/>
              <a:gd name="T100" fmla="*/ 0 h 593"/>
              <a:gd name="T101" fmla="*/ 618 w 618"/>
              <a:gd name="T102" fmla="*/ 593 h 59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18" h="593">
                <a:moveTo>
                  <a:pt x="405" y="0"/>
                </a:moveTo>
                <a:lnTo>
                  <a:pt x="317" y="65"/>
                </a:lnTo>
                <a:lnTo>
                  <a:pt x="329" y="175"/>
                </a:lnTo>
                <a:lnTo>
                  <a:pt x="365" y="221"/>
                </a:lnTo>
                <a:lnTo>
                  <a:pt x="291" y="223"/>
                </a:lnTo>
                <a:lnTo>
                  <a:pt x="226" y="282"/>
                </a:lnTo>
                <a:lnTo>
                  <a:pt x="161" y="170"/>
                </a:lnTo>
                <a:lnTo>
                  <a:pt x="66" y="232"/>
                </a:lnTo>
                <a:lnTo>
                  <a:pt x="0" y="227"/>
                </a:lnTo>
                <a:lnTo>
                  <a:pt x="0" y="297"/>
                </a:lnTo>
                <a:lnTo>
                  <a:pt x="38" y="337"/>
                </a:lnTo>
                <a:lnTo>
                  <a:pt x="0" y="381"/>
                </a:lnTo>
                <a:lnTo>
                  <a:pt x="0" y="460"/>
                </a:lnTo>
                <a:lnTo>
                  <a:pt x="63" y="552"/>
                </a:lnTo>
                <a:lnTo>
                  <a:pt x="142" y="546"/>
                </a:lnTo>
                <a:lnTo>
                  <a:pt x="169" y="582"/>
                </a:lnTo>
                <a:lnTo>
                  <a:pt x="232" y="593"/>
                </a:lnTo>
                <a:lnTo>
                  <a:pt x="310" y="571"/>
                </a:lnTo>
                <a:lnTo>
                  <a:pt x="310" y="514"/>
                </a:lnTo>
                <a:lnTo>
                  <a:pt x="454" y="415"/>
                </a:lnTo>
                <a:lnTo>
                  <a:pt x="496" y="344"/>
                </a:lnTo>
                <a:lnTo>
                  <a:pt x="494" y="295"/>
                </a:lnTo>
                <a:lnTo>
                  <a:pt x="429" y="238"/>
                </a:lnTo>
                <a:lnTo>
                  <a:pt x="566" y="238"/>
                </a:lnTo>
                <a:lnTo>
                  <a:pt x="618" y="225"/>
                </a:lnTo>
                <a:lnTo>
                  <a:pt x="568" y="175"/>
                </a:lnTo>
                <a:lnTo>
                  <a:pt x="566" y="141"/>
                </a:lnTo>
                <a:lnTo>
                  <a:pt x="604" y="135"/>
                </a:lnTo>
                <a:lnTo>
                  <a:pt x="604" y="94"/>
                </a:lnTo>
                <a:lnTo>
                  <a:pt x="458" y="35"/>
                </a:lnTo>
                <a:lnTo>
                  <a:pt x="405" y="0"/>
                </a:lnTo>
                <a:close/>
              </a:path>
            </a:pathLst>
          </a:custGeom>
          <a:solidFill>
            <a:schemeClr val="accent3"/>
          </a:solidFill>
          <a:ln w="12700">
            <a:solidFill>
              <a:schemeClr val="bg1"/>
            </a:solidFill>
            <a:round/>
            <a:headEnd/>
            <a:tailEnd/>
          </a:ln>
        </p:spPr>
        <p:txBody>
          <a:bodyPr/>
          <a:lstStyle/>
          <a:p>
            <a:pPr>
              <a:defRPr/>
            </a:pPr>
            <a:endParaRPr lang="nl-NL"/>
          </a:p>
        </p:txBody>
      </p:sp>
      <p:sp>
        <p:nvSpPr>
          <p:cNvPr id="32" name="Freeform 56"/>
          <p:cNvSpPr>
            <a:spLocks/>
          </p:cNvSpPr>
          <p:nvPr/>
        </p:nvSpPr>
        <p:spPr bwMode="auto">
          <a:xfrm>
            <a:off x="5187503" y="2273495"/>
            <a:ext cx="898760" cy="862204"/>
          </a:xfrm>
          <a:custGeom>
            <a:avLst/>
            <a:gdLst>
              <a:gd name="T0" fmla="*/ 31 w 844"/>
              <a:gd name="T1" fmla="*/ 38 h 745"/>
              <a:gd name="T2" fmla="*/ 116 w 844"/>
              <a:gd name="T3" fmla="*/ 24 h 745"/>
              <a:gd name="T4" fmla="*/ 139 w 844"/>
              <a:gd name="T5" fmla="*/ 0 h 745"/>
              <a:gd name="T6" fmla="*/ 198 w 844"/>
              <a:gd name="T7" fmla="*/ 19 h 745"/>
              <a:gd name="T8" fmla="*/ 255 w 844"/>
              <a:gd name="T9" fmla="*/ 5 h 745"/>
              <a:gd name="T10" fmla="*/ 303 w 844"/>
              <a:gd name="T11" fmla="*/ 41 h 745"/>
              <a:gd name="T12" fmla="*/ 251 w 844"/>
              <a:gd name="T13" fmla="*/ 108 h 745"/>
              <a:gd name="T14" fmla="*/ 270 w 844"/>
              <a:gd name="T15" fmla="*/ 171 h 745"/>
              <a:gd name="T16" fmla="*/ 384 w 844"/>
              <a:gd name="T17" fmla="*/ 199 h 745"/>
              <a:gd name="T18" fmla="*/ 400 w 844"/>
              <a:gd name="T19" fmla="*/ 228 h 745"/>
              <a:gd name="T20" fmla="*/ 500 w 844"/>
              <a:gd name="T21" fmla="*/ 239 h 745"/>
              <a:gd name="T22" fmla="*/ 531 w 844"/>
              <a:gd name="T23" fmla="*/ 190 h 745"/>
              <a:gd name="T24" fmla="*/ 576 w 844"/>
              <a:gd name="T25" fmla="*/ 186 h 745"/>
              <a:gd name="T26" fmla="*/ 641 w 844"/>
              <a:gd name="T27" fmla="*/ 209 h 745"/>
              <a:gd name="T28" fmla="*/ 618 w 844"/>
              <a:gd name="T29" fmla="*/ 230 h 745"/>
              <a:gd name="T30" fmla="*/ 662 w 844"/>
              <a:gd name="T31" fmla="*/ 273 h 745"/>
              <a:gd name="T32" fmla="*/ 588 w 844"/>
              <a:gd name="T33" fmla="*/ 279 h 745"/>
              <a:gd name="T34" fmla="*/ 630 w 844"/>
              <a:gd name="T35" fmla="*/ 326 h 745"/>
              <a:gd name="T36" fmla="*/ 603 w 844"/>
              <a:gd name="T37" fmla="*/ 351 h 745"/>
              <a:gd name="T38" fmla="*/ 708 w 844"/>
              <a:gd name="T39" fmla="*/ 368 h 745"/>
              <a:gd name="T40" fmla="*/ 753 w 844"/>
              <a:gd name="T41" fmla="*/ 408 h 745"/>
              <a:gd name="T42" fmla="*/ 814 w 844"/>
              <a:gd name="T43" fmla="*/ 368 h 745"/>
              <a:gd name="T44" fmla="*/ 844 w 844"/>
              <a:gd name="T45" fmla="*/ 471 h 745"/>
              <a:gd name="T46" fmla="*/ 808 w 844"/>
              <a:gd name="T47" fmla="*/ 577 h 745"/>
              <a:gd name="T48" fmla="*/ 839 w 844"/>
              <a:gd name="T49" fmla="*/ 619 h 745"/>
              <a:gd name="T50" fmla="*/ 789 w 844"/>
              <a:gd name="T51" fmla="*/ 627 h 745"/>
              <a:gd name="T52" fmla="*/ 780 w 844"/>
              <a:gd name="T53" fmla="*/ 667 h 745"/>
              <a:gd name="T54" fmla="*/ 717 w 844"/>
              <a:gd name="T55" fmla="*/ 731 h 745"/>
              <a:gd name="T56" fmla="*/ 671 w 844"/>
              <a:gd name="T57" fmla="*/ 722 h 745"/>
              <a:gd name="T58" fmla="*/ 658 w 844"/>
              <a:gd name="T59" fmla="*/ 745 h 745"/>
              <a:gd name="T60" fmla="*/ 633 w 844"/>
              <a:gd name="T61" fmla="*/ 737 h 745"/>
              <a:gd name="T62" fmla="*/ 611 w 844"/>
              <a:gd name="T63" fmla="*/ 686 h 745"/>
              <a:gd name="T64" fmla="*/ 514 w 844"/>
              <a:gd name="T65" fmla="*/ 688 h 745"/>
              <a:gd name="T66" fmla="*/ 472 w 844"/>
              <a:gd name="T67" fmla="*/ 653 h 745"/>
              <a:gd name="T68" fmla="*/ 487 w 844"/>
              <a:gd name="T69" fmla="*/ 615 h 745"/>
              <a:gd name="T70" fmla="*/ 449 w 844"/>
              <a:gd name="T71" fmla="*/ 615 h 745"/>
              <a:gd name="T72" fmla="*/ 396 w 844"/>
              <a:gd name="T73" fmla="*/ 634 h 745"/>
              <a:gd name="T74" fmla="*/ 320 w 844"/>
              <a:gd name="T75" fmla="*/ 615 h 745"/>
              <a:gd name="T76" fmla="*/ 259 w 844"/>
              <a:gd name="T77" fmla="*/ 625 h 745"/>
              <a:gd name="T78" fmla="*/ 259 w 844"/>
              <a:gd name="T79" fmla="*/ 587 h 745"/>
              <a:gd name="T80" fmla="*/ 213 w 844"/>
              <a:gd name="T81" fmla="*/ 541 h 745"/>
              <a:gd name="T82" fmla="*/ 213 w 844"/>
              <a:gd name="T83" fmla="*/ 498 h 745"/>
              <a:gd name="T84" fmla="*/ 249 w 844"/>
              <a:gd name="T85" fmla="*/ 446 h 745"/>
              <a:gd name="T86" fmla="*/ 238 w 844"/>
              <a:gd name="T87" fmla="*/ 408 h 745"/>
              <a:gd name="T88" fmla="*/ 156 w 844"/>
              <a:gd name="T89" fmla="*/ 353 h 745"/>
              <a:gd name="T90" fmla="*/ 115 w 844"/>
              <a:gd name="T91" fmla="*/ 363 h 745"/>
              <a:gd name="T92" fmla="*/ 65 w 844"/>
              <a:gd name="T93" fmla="*/ 340 h 745"/>
              <a:gd name="T94" fmla="*/ 65 w 844"/>
              <a:gd name="T95" fmla="*/ 296 h 745"/>
              <a:gd name="T96" fmla="*/ 0 w 844"/>
              <a:gd name="T97" fmla="*/ 239 h 745"/>
              <a:gd name="T98" fmla="*/ 139 w 844"/>
              <a:gd name="T99" fmla="*/ 237 h 745"/>
              <a:gd name="T100" fmla="*/ 185 w 844"/>
              <a:gd name="T101" fmla="*/ 228 h 745"/>
              <a:gd name="T102" fmla="*/ 139 w 844"/>
              <a:gd name="T103" fmla="*/ 176 h 745"/>
              <a:gd name="T104" fmla="*/ 137 w 844"/>
              <a:gd name="T105" fmla="*/ 140 h 745"/>
              <a:gd name="T106" fmla="*/ 175 w 844"/>
              <a:gd name="T107" fmla="*/ 138 h 745"/>
              <a:gd name="T108" fmla="*/ 175 w 844"/>
              <a:gd name="T109" fmla="*/ 96 h 745"/>
              <a:gd name="T110" fmla="*/ 31 w 844"/>
              <a:gd name="T111" fmla="*/ 38 h 745"/>
              <a:gd name="T112" fmla="*/ 31 w 844"/>
              <a:gd name="T113" fmla="*/ 38 h 745"/>
              <a:gd name="T114" fmla="*/ 31 w 844"/>
              <a:gd name="T115" fmla="*/ 38 h 7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44"/>
              <a:gd name="T175" fmla="*/ 0 h 745"/>
              <a:gd name="T176" fmla="*/ 844 w 844"/>
              <a:gd name="T177" fmla="*/ 745 h 74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44" h="745">
                <a:moveTo>
                  <a:pt x="31" y="38"/>
                </a:moveTo>
                <a:lnTo>
                  <a:pt x="116" y="24"/>
                </a:lnTo>
                <a:lnTo>
                  <a:pt x="139" y="0"/>
                </a:lnTo>
                <a:lnTo>
                  <a:pt x="198" y="19"/>
                </a:lnTo>
                <a:lnTo>
                  <a:pt x="255" y="5"/>
                </a:lnTo>
                <a:lnTo>
                  <a:pt x="303" y="41"/>
                </a:lnTo>
                <a:lnTo>
                  <a:pt x="251" y="108"/>
                </a:lnTo>
                <a:lnTo>
                  <a:pt x="270" y="171"/>
                </a:lnTo>
                <a:lnTo>
                  <a:pt x="384" y="199"/>
                </a:lnTo>
                <a:lnTo>
                  <a:pt x="400" y="228"/>
                </a:lnTo>
                <a:lnTo>
                  <a:pt x="500" y="239"/>
                </a:lnTo>
                <a:lnTo>
                  <a:pt x="531" y="190"/>
                </a:lnTo>
                <a:lnTo>
                  <a:pt x="576" y="186"/>
                </a:lnTo>
                <a:lnTo>
                  <a:pt x="641" y="209"/>
                </a:lnTo>
                <a:lnTo>
                  <a:pt x="618" y="230"/>
                </a:lnTo>
                <a:lnTo>
                  <a:pt x="662" y="273"/>
                </a:lnTo>
                <a:lnTo>
                  <a:pt x="588" y="279"/>
                </a:lnTo>
                <a:lnTo>
                  <a:pt x="630" y="326"/>
                </a:lnTo>
                <a:lnTo>
                  <a:pt x="603" y="351"/>
                </a:lnTo>
                <a:lnTo>
                  <a:pt x="708" y="368"/>
                </a:lnTo>
                <a:lnTo>
                  <a:pt x="753" y="408"/>
                </a:lnTo>
                <a:lnTo>
                  <a:pt x="814" y="368"/>
                </a:lnTo>
                <a:lnTo>
                  <a:pt x="844" y="471"/>
                </a:lnTo>
                <a:lnTo>
                  <a:pt x="808" y="577"/>
                </a:lnTo>
                <a:lnTo>
                  <a:pt x="839" y="619"/>
                </a:lnTo>
                <a:lnTo>
                  <a:pt x="789" y="627"/>
                </a:lnTo>
                <a:lnTo>
                  <a:pt x="780" y="667"/>
                </a:lnTo>
                <a:lnTo>
                  <a:pt x="717" y="731"/>
                </a:lnTo>
                <a:lnTo>
                  <a:pt x="671" y="722"/>
                </a:lnTo>
                <a:lnTo>
                  <a:pt x="658" y="745"/>
                </a:lnTo>
                <a:lnTo>
                  <a:pt x="633" y="737"/>
                </a:lnTo>
                <a:lnTo>
                  <a:pt x="611" y="686"/>
                </a:lnTo>
                <a:lnTo>
                  <a:pt x="514" y="688"/>
                </a:lnTo>
                <a:lnTo>
                  <a:pt x="472" y="653"/>
                </a:lnTo>
                <a:lnTo>
                  <a:pt x="487" y="615"/>
                </a:lnTo>
                <a:lnTo>
                  <a:pt x="449" y="615"/>
                </a:lnTo>
                <a:lnTo>
                  <a:pt x="396" y="634"/>
                </a:lnTo>
                <a:lnTo>
                  <a:pt x="320" y="615"/>
                </a:lnTo>
                <a:lnTo>
                  <a:pt x="259" y="625"/>
                </a:lnTo>
                <a:lnTo>
                  <a:pt x="259" y="587"/>
                </a:lnTo>
                <a:lnTo>
                  <a:pt x="213" y="541"/>
                </a:lnTo>
                <a:lnTo>
                  <a:pt x="213" y="498"/>
                </a:lnTo>
                <a:lnTo>
                  <a:pt x="249" y="446"/>
                </a:lnTo>
                <a:lnTo>
                  <a:pt x="238" y="408"/>
                </a:lnTo>
                <a:lnTo>
                  <a:pt x="156" y="353"/>
                </a:lnTo>
                <a:lnTo>
                  <a:pt x="115" y="363"/>
                </a:lnTo>
                <a:lnTo>
                  <a:pt x="65" y="340"/>
                </a:lnTo>
                <a:lnTo>
                  <a:pt x="65" y="296"/>
                </a:lnTo>
                <a:lnTo>
                  <a:pt x="0" y="239"/>
                </a:lnTo>
                <a:lnTo>
                  <a:pt x="139" y="237"/>
                </a:lnTo>
                <a:lnTo>
                  <a:pt x="185" y="228"/>
                </a:lnTo>
                <a:lnTo>
                  <a:pt x="139" y="176"/>
                </a:lnTo>
                <a:lnTo>
                  <a:pt x="137" y="140"/>
                </a:lnTo>
                <a:lnTo>
                  <a:pt x="175" y="138"/>
                </a:lnTo>
                <a:lnTo>
                  <a:pt x="175" y="96"/>
                </a:lnTo>
                <a:lnTo>
                  <a:pt x="31" y="38"/>
                </a:lnTo>
                <a:close/>
              </a:path>
            </a:pathLst>
          </a:custGeom>
          <a:solidFill>
            <a:schemeClr val="accent3"/>
          </a:solidFill>
          <a:ln w="12700">
            <a:solidFill>
              <a:schemeClr val="bg1"/>
            </a:solidFill>
            <a:round/>
            <a:headEnd/>
            <a:tailEnd/>
          </a:ln>
        </p:spPr>
        <p:txBody>
          <a:bodyPr/>
          <a:lstStyle/>
          <a:p>
            <a:pPr>
              <a:defRPr/>
            </a:pPr>
            <a:endParaRPr lang="nl-NL"/>
          </a:p>
        </p:txBody>
      </p:sp>
      <p:sp>
        <p:nvSpPr>
          <p:cNvPr id="33" name="Freeform 57"/>
          <p:cNvSpPr>
            <a:spLocks/>
          </p:cNvSpPr>
          <p:nvPr/>
        </p:nvSpPr>
        <p:spPr bwMode="auto">
          <a:xfrm>
            <a:off x="4523017" y="2906240"/>
            <a:ext cx="611242" cy="435737"/>
          </a:xfrm>
          <a:custGeom>
            <a:avLst/>
            <a:gdLst>
              <a:gd name="T0" fmla="*/ 338 w 574"/>
              <a:gd name="T1" fmla="*/ 0 h 376"/>
              <a:gd name="T2" fmla="*/ 302 w 574"/>
              <a:gd name="T3" fmla="*/ 124 h 376"/>
              <a:gd name="T4" fmla="*/ 253 w 574"/>
              <a:gd name="T5" fmla="*/ 133 h 376"/>
              <a:gd name="T6" fmla="*/ 236 w 574"/>
              <a:gd name="T7" fmla="*/ 99 h 376"/>
              <a:gd name="T8" fmla="*/ 185 w 574"/>
              <a:gd name="T9" fmla="*/ 95 h 376"/>
              <a:gd name="T10" fmla="*/ 215 w 574"/>
              <a:gd name="T11" fmla="*/ 49 h 376"/>
              <a:gd name="T12" fmla="*/ 120 w 574"/>
              <a:gd name="T13" fmla="*/ 32 h 376"/>
              <a:gd name="T14" fmla="*/ 0 w 574"/>
              <a:gd name="T15" fmla="*/ 91 h 376"/>
              <a:gd name="T16" fmla="*/ 72 w 574"/>
              <a:gd name="T17" fmla="*/ 131 h 376"/>
              <a:gd name="T18" fmla="*/ 78 w 574"/>
              <a:gd name="T19" fmla="*/ 169 h 376"/>
              <a:gd name="T20" fmla="*/ 29 w 574"/>
              <a:gd name="T21" fmla="*/ 184 h 376"/>
              <a:gd name="T22" fmla="*/ 67 w 574"/>
              <a:gd name="T23" fmla="*/ 213 h 376"/>
              <a:gd name="T24" fmla="*/ 101 w 574"/>
              <a:gd name="T25" fmla="*/ 207 h 376"/>
              <a:gd name="T26" fmla="*/ 109 w 574"/>
              <a:gd name="T27" fmla="*/ 240 h 376"/>
              <a:gd name="T28" fmla="*/ 78 w 574"/>
              <a:gd name="T29" fmla="*/ 274 h 376"/>
              <a:gd name="T30" fmla="*/ 93 w 574"/>
              <a:gd name="T31" fmla="*/ 293 h 376"/>
              <a:gd name="T32" fmla="*/ 34 w 574"/>
              <a:gd name="T33" fmla="*/ 331 h 376"/>
              <a:gd name="T34" fmla="*/ 82 w 574"/>
              <a:gd name="T35" fmla="*/ 376 h 376"/>
              <a:gd name="T36" fmla="*/ 148 w 574"/>
              <a:gd name="T37" fmla="*/ 319 h 376"/>
              <a:gd name="T38" fmla="*/ 204 w 574"/>
              <a:gd name="T39" fmla="*/ 333 h 376"/>
              <a:gd name="T40" fmla="*/ 221 w 574"/>
              <a:gd name="T41" fmla="*/ 308 h 376"/>
              <a:gd name="T42" fmla="*/ 266 w 574"/>
              <a:gd name="T43" fmla="*/ 342 h 376"/>
              <a:gd name="T44" fmla="*/ 268 w 574"/>
              <a:gd name="T45" fmla="*/ 352 h 376"/>
              <a:gd name="T46" fmla="*/ 321 w 574"/>
              <a:gd name="T47" fmla="*/ 354 h 376"/>
              <a:gd name="T48" fmla="*/ 352 w 574"/>
              <a:gd name="T49" fmla="*/ 367 h 376"/>
              <a:gd name="T50" fmla="*/ 422 w 574"/>
              <a:gd name="T51" fmla="*/ 338 h 376"/>
              <a:gd name="T52" fmla="*/ 491 w 574"/>
              <a:gd name="T53" fmla="*/ 338 h 376"/>
              <a:gd name="T54" fmla="*/ 574 w 574"/>
              <a:gd name="T55" fmla="*/ 371 h 376"/>
              <a:gd name="T56" fmla="*/ 574 w 574"/>
              <a:gd name="T57" fmla="*/ 356 h 376"/>
              <a:gd name="T58" fmla="*/ 523 w 574"/>
              <a:gd name="T59" fmla="*/ 234 h 376"/>
              <a:gd name="T60" fmla="*/ 487 w 574"/>
              <a:gd name="T61" fmla="*/ 226 h 376"/>
              <a:gd name="T62" fmla="*/ 485 w 574"/>
              <a:gd name="T63" fmla="*/ 211 h 376"/>
              <a:gd name="T64" fmla="*/ 502 w 574"/>
              <a:gd name="T65" fmla="*/ 175 h 376"/>
              <a:gd name="T66" fmla="*/ 460 w 574"/>
              <a:gd name="T67" fmla="*/ 152 h 376"/>
              <a:gd name="T68" fmla="*/ 424 w 574"/>
              <a:gd name="T69" fmla="*/ 80 h 376"/>
              <a:gd name="T70" fmla="*/ 430 w 574"/>
              <a:gd name="T71" fmla="*/ 48 h 376"/>
              <a:gd name="T72" fmla="*/ 365 w 574"/>
              <a:gd name="T73" fmla="*/ 36 h 376"/>
              <a:gd name="T74" fmla="*/ 338 w 574"/>
              <a:gd name="T75" fmla="*/ 0 h 376"/>
              <a:gd name="T76" fmla="*/ 338 w 574"/>
              <a:gd name="T77" fmla="*/ 0 h 376"/>
              <a:gd name="T78" fmla="*/ 338 w 574"/>
              <a:gd name="T79" fmla="*/ 0 h 37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74"/>
              <a:gd name="T121" fmla="*/ 0 h 376"/>
              <a:gd name="T122" fmla="*/ 574 w 574"/>
              <a:gd name="T123" fmla="*/ 376 h 37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74" h="376">
                <a:moveTo>
                  <a:pt x="338" y="0"/>
                </a:moveTo>
                <a:lnTo>
                  <a:pt x="302" y="124"/>
                </a:lnTo>
                <a:lnTo>
                  <a:pt x="253" y="133"/>
                </a:lnTo>
                <a:lnTo>
                  <a:pt x="236" y="99"/>
                </a:lnTo>
                <a:lnTo>
                  <a:pt x="185" y="95"/>
                </a:lnTo>
                <a:lnTo>
                  <a:pt x="215" y="49"/>
                </a:lnTo>
                <a:lnTo>
                  <a:pt x="120" y="32"/>
                </a:lnTo>
                <a:lnTo>
                  <a:pt x="0" y="91"/>
                </a:lnTo>
                <a:lnTo>
                  <a:pt x="72" y="131"/>
                </a:lnTo>
                <a:lnTo>
                  <a:pt x="78" y="169"/>
                </a:lnTo>
                <a:lnTo>
                  <a:pt x="29" y="184"/>
                </a:lnTo>
                <a:lnTo>
                  <a:pt x="67" y="213"/>
                </a:lnTo>
                <a:lnTo>
                  <a:pt x="101" y="207"/>
                </a:lnTo>
                <a:lnTo>
                  <a:pt x="109" y="240"/>
                </a:lnTo>
                <a:lnTo>
                  <a:pt x="78" y="274"/>
                </a:lnTo>
                <a:lnTo>
                  <a:pt x="93" y="293"/>
                </a:lnTo>
                <a:lnTo>
                  <a:pt x="34" y="331"/>
                </a:lnTo>
                <a:lnTo>
                  <a:pt x="82" y="376"/>
                </a:lnTo>
                <a:lnTo>
                  <a:pt x="148" y="319"/>
                </a:lnTo>
                <a:lnTo>
                  <a:pt x="204" y="333"/>
                </a:lnTo>
                <a:lnTo>
                  <a:pt x="221" y="308"/>
                </a:lnTo>
                <a:lnTo>
                  <a:pt x="266" y="342"/>
                </a:lnTo>
                <a:lnTo>
                  <a:pt x="268" y="352"/>
                </a:lnTo>
                <a:lnTo>
                  <a:pt x="321" y="354"/>
                </a:lnTo>
                <a:lnTo>
                  <a:pt x="352" y="367"/>
                </a:lnTo>
                <a:lnTo>
                  <a:pt x="422" y="338"/>
                </a:lnTo>
                <a:lnTo>
                  <a:pt x="491" y="338"/>
                </a:lnTo>
                <a:lnTo>
                  <a:pt x="574" y="371"/>
                </a:lnTo>
                <a:lnTo>
                  <a:pt x="574" y="356"/>
                </a:lnTo>
                <a:lnTo>
                  <a:pt x="523" y="234"/>
                </a:lnTo>
                <a:lnTo>
                  <a:pt x="487" y="226"/>
                </a:lnTo>
                <a:lnTo>
                  <a:pt x="485" y="211"/>
                </a:lnTo>
                <a:lnTo>
                  <a:pt x="502" y="175"/>
                </a:lnTo>
                <a:lnTo>
                  <a:pt x="460" y="152"/>
                </a:lnTo>
                <a:lnTo>
                  <a:pt x="424" y="80"/>
                </a:lnTo>
                <a:lnTo>
                  <a:pt x="430" y="48"/>
                </a:lnTo>
                <a:lnTo>
                  <a:pt x="365" y="36"/>
                </a:lnTo>
                <a:lnTo>
                  <a:pt x="338" y="0"/>
                </a:lnTo>
                <a:close/>
              </a:path>
            </a:pathLst>
          </a:custGeom>
          <a:solidFill>
            <a:schemeClr val="accent3"/>
          </a:solidFill>
          <a:ln w="12700">
            <a:solidFill>
              <a:schemeClr val="bg1"/>
            </a:solidFill>
            <a:round/>
            <a:headEnd/>
            <a:tailEnd/>
          </a:ln>
        </p:spPr>
        <p:txBody>
          <a:bodyPr/>
          <a:lstStyle/>
          <a:p>
            <a:pPr>
              <a:defRPr/>
            </a:pPr>
            <a:endParaRPr lang="nl-NL"/>
          </a:p>
        </p:txBody>
      </p:sp>
      <p:sp>
        <p:nvSpPr>
          <p:cNvPr id="34" name="Freeform 58"/>
          <p:cNvSpPr>
            <a:spLocks/>
          </p:cNvSpPr>
          <p:nvPr/>
        </p:nvSpPr>
        <p:spPr bwMode="auto">
          <a:xfrm>
            <a:off x="4669970" y="2669830"/>
            <a:ext cx="1277857" cy="927101"/>
          </a:xfrm>
          <a:custGeom>
            <a:avLst/>
            <a:gdLst>
              <a:gd name="T0" fmla="*/ 513 w 1199"/>
              <a:gd name="T1" fmla="*/ 72 h 800"/>
              <a:gd name="T2" fmla="*/ 369 w 1199"/>
              <a:gd name="T3" fmla="*/ 228 h 800"/>
              <a:gd name="T4" fmla="*/ 285 w 1199"/>
              <a:gd name="T5" fmla="*/ 287 h 800"/>
              <a:gd name="T6" fmla="*/ 363 w 1199"/>
              <a:gd name="T7" fmla="*/ 376 h 800"/>
              <a:gd name="T8" fmla="*/ 350 w 1199"/>
              <a:gd name="T9" fmla="*/ 427 h 800"/>
              <a:gd name="T10" fmla="*/ 435 w 1199"/>
              <a:gd name="T11" fmla="*/ 564 h 800"/>
              <a:gd name="T12" fmla="*/ 353 w 1199"/>
              <a:gd name="T13" fmla="*/ 541 h 800"/>
              <a:gd name="T14" fmla="*/ 209 w 1199"/>
              <a:gd name="T15" fmla="*/ 570 h 800"/>
              <a:gd name="T16" fmla="*/ 129 w 1199"/>
              <a:gd name="T17" fmla="*/ 553 h 800"/>
              <a:gd name="T18" fmla="*/ 76 w 1199"/>
              <a:gd name="T19" fmla="*/ 667 h 800"/>
              <a:gd name="T20" fmla="*/ 0 w 1199"/>
              <a:gd name="T21" fmla="*/ 711 h 800"/>
              <a:gd name="T22" fmla="*/ 116 w 1199"/>
              <a:gd name="T23" fmla="*/ 775 h 800"/>
              <a:gd name="T24" fmla="*/ 224 w 1199"/>
              <a:gd name="T25" fmla="*/ 766 h 800"/>
              <a:gd name="T26" fmla="*/ 312 w 1199"/>
              <a:gd name="T27" fmla="*/ 718 h 800"/>
              <a:gd name="T28" fmla="*/ 399 w 1199"/>
              <a:gd name="T29" fmla="*/ 703 h 800"/>
              <a:gd name="T30" fmla="*/ 456 w 1199"/>
              <a:gd name="T31" fmla="*/ 751 h 800"/>
              <a:gd name="T32" fmla="*/ 583 w 1199"/>
              <a:gd name="T33" fmla="*/ 800 h 800"/>
              <a:gd name="T34" fmla="*/ 623 w 1199"/>
              <a:gd name="T35" fmla="*/ 684 h 800"/>
              <a:gd name="T36" fmla="*/ 728 w 1199"/>
              <a:gd name="T37" fmla="*/ 598 h 800"/>
              <a:gd name="T38" fmla="*/ 1083 w 1199"/>
              <a:gd name="T39" fmla="*/ 602 h 800"/>
              <a:gd name="T40" fmla="*/ 1199 w 1199"/>
              <a:gd name="T41" fmla="*/ 547 h 800"/>
              <a:gd name="T42" fmla="*/ 1176 w 1199"/>
              <a:gd name="T43" fmla="*/ 482 h 800"/>
              <a:gd name="T44" fmla="*/ 1148 w 1199"/>
              <a:gd name="T45" fmla="*/ 403 h 800"/>
              <a:gd name="T46" fmla="*/ 1098 w 1199"/>
              <a:gd name="T47" fmla="*/ 344 h 800"/>
              <a:gd name="T48" fmla="*/ 958 w 1199"/>
              <a:gd name="T49" fmla="*/ 311 h 800"/>
              <a:gd name="T50" fmla="*/ 929 w 1199"/>
              <a:gd name="T51" fmla="*/ 273 h 800"/>
              <a:gd name="T52" fmla="*/ 806 w 1199"/>
              <a:gd name="T53" fmla="*/ 273 h 800"/>
              <a:gd name="T54" fmla="*/ 745 w 1199"/>
              <a:gd name="T55" fmla="*/ 247 h 800"/>
              <a:gd name="T56" fmla="*/ 699 w 1199"/>
              <a:gd name="T57" fmla="*/ 156 h 800"/>
              <a:gd name="T58" fmla="*/ 722 w 1199"/>
              <a:gd name="T59" fmla="*/ 64 h 800"/>
              <a:gd name="T60" fmla="*/ 601 w 1199"/>
              <a:gd name="T61" fmla="*/ 21 h 800"/>
              <a:gd name="T62" fmla="*/ 553 w 1199"/>
              <a:gd name="T63" fmla="*/ 0 h 8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99"/>
              <a:gd name="T97" fmla="*/ 0 h 800"/>
              <a:gd name="T98" fmla="*/ 1199 w 1199"/>
              <a:gd name="T99" fmla="*/ 800 h 80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99" h="800">
                <a:moveTo>
                  <a:pt x="553" y="0"/>
                </a:moveTo>
                <a:lnTo>
                  <a:pt x="513" y="72"/>
                </a:lnTo>
                <a:lnTo>
                  <a:pt x="369" y="171"/>
                </a:lnTo>
                <a:lnTo>
                  <a:pt x="369" y="228"/>
                </a:lnTo>
                <a:lnTo>
                  <a:pt x="287" y="252"/>
                </a:lnTo>
                <a:lnTo>
                  <a:pt x="285" y="287"/>
                </a:lnTo>
                <a:lnTo>
                  <a:pt x="321" y="355"/>
                </a:lnTo>
                <a:lnTo>
                  <a:pt x="363" y="376"/>
                </a:lnTo>
                <a:lnTo>
                  <a:pt x="346" y="414"/>
                </a:lnTo>
                <a:lnTo>
                  <a:pt x="350" y="427"/>
                </a:lnTo>
                <a:lnTo>
                  <a:pt x="382" y="437"/>
                </a:lnTo>
                <a:lnTo>
                  <a:pt x="435" y="564"/>
                </a:lnTo>
                <a:lnTo>
                  <a:pt x="435" y="574"/>
                </a:lnTo>
                <a:lnTo>
                  <a:pt x="353" y="541"/>
                </a:lnTo>
                <a:lnTo>
                  <a:pt x="285" y="541"/>
                </a:lnTo>
                <a:lnTo>
                  <a:pt x="209" y="570"/>
                </a:lnTo>
                <a:lnTo>
                  <a:pt x="182" y="557"/>
                </a:lnTo>
                <a:lnTo>
                  <a:pt x="129" y="553"/>
                </a:lnTo>
                <a:lnTo>
                  <a:pt x="129" y="593"/>
                </a:lnTo>
                <a:lnTo>
                  <a:pt x="76" y="667"/>
                </a:lnTo>
                <a:lnTo>
                  <a:pt x="6" y="674"/>
                </a:lnTo>
                <a:lnTo>
                  <a:pt x="0" y="711"/>
                </a:lnTo>
                <a:lnTo>
                  <a:pt x="80" y="718"/>
                </a:lnTo>
                <a:lnTo>
                  <a:pt x="116" y="775"/>
                </a:lnTo>
                <a:lnTo>
                  <a:pt x="160" y="796"/>
                </a:lnTo>
                <a:lnTo>
                  <a:pt x="224" y="766"/>
                </a:lnTo>
                <a:lnTo>
                  <a:pt x="228" y="724"/>
                </a:lnTo>
                <a:lnTo>
                  <a:pt x="312" y="718"/>
                </a:lnTo>
                <a:lnTo>
                  <a:pt x="376" y="686"/>
                </a:lnTo>
                <a:lnTo>
                  <a:pt x="399" y="703"/>
                </a:lnTo>
                <a:lnTo>
                  <a:pt x="458" y="705"/>
                </a:lnTo>
                <a:lnTo>
                  <a:pt x="456" y="751"/>
                </a:lnTo>
                <a:lnTo>
                  <a:pt x="561" y="766"/>
                </a:lnTo>
                <a:lnTo>
                  <a:pt x="583" y="800"/>
                </a:lnTo>
                <a:lnTo>
                  <a:pt x="637" y="770"/>
                </a:lnTo>
                <a:lnTo>
                  <a:pt x="623" y="684"/>
                </a:lnTo>
                <a:lnTo>
                  <a:pt x="779" y="684"/>
                </a:lnTo>
                <a:lnTo>
                  <a:pt x="728" y="598"/>
                </a:lnTo>
                <a:lnTo>
                  <a:pt x="924" y="699"/>
                </a:lnTo>
                <a:lnTo>
                  <a:pt x="1083" y="602"/>
                </a:lnTo>
                <a:lnTo>
                  <a:pt x="1114" y="604"/>
                </a:lnTo>
                <a:lnTo>
                  <a:pt x="1199" y="547"/>
                </a:lnTo>
                <a:lnTo>
                  <a:pt x="1178" y="521"/>
                </a:lnTo>
                <a:lnTo>
                  <a:pt x="1176" y="482"/>
                </a:lnTo>
                <a:lnTo>
                  <a:pt x="1074" y="452"/>
                </a:lnTo>
                <a:lnTo>
                  <a:pt x="1148" y="403"/>
                </a:lnTo>
                <a:lnTo>
                  <a:pt x="1119" y="395"/>
                </a:lnTo>
                <a:lnTo>
                  <a:pt x="1098" y="344"/>
                </a:lnTo>
                <a:lnTo>
                  <a:pt x="1002" y="346"/>
                </a:lnTo>
                <a:lnTo>
                  <a:pt x="958" y="311"/>
                </a:lnTo>
                <a:lnTo>
                  <a:pt x="973" y="273"/>
                </a:lnTo>
                <a:lnTo>
                  <a:pt x="929" y="273"/>
                </a:lnTo>
                <a:lnTo>
                  <a:pt x="882" y="291"/>
                </a:lnTo>
                <a:lnTo>
                  <a:pt x="806" y="273"/>
                </a:lnTo>
                <a:lnTo>
                  <a:pt x="745" y="283"/>
                </a:lnTo>
                <a:lnTo>
                  <a:pt x="745" y="247"/>
                </a:lnTo>
                <a:lnTo>
                  <a:pt x="699" y="199"/>
                </a:lnTo>
                <a:lnTo>
                  <a:pt x="699" y="156"/>
                </a:lnTo>
                <a:lnTo>
                  <a:pt x="735" y="102"/>
                </a:lnTo>
                <a:lnTo>
                  <a:pt x="722" y="64"/>
                </a:lnTo>
                <a:lnTo>
                  <a:pt x="639" y="9"/>
                </a:lnTo>
                <a:lnTo>
                  <a:pt x="601" y="21"/>
                </a:lnTo>
                <a:lnTo>
                  <a:pt x="553" y="0"/>
                </a:lnTo>
                <a:close/>
              </a:path>
            </a:pathLst>
          </a:custGeom>
          <a:solidFill>
            <a:schemeClr val="accent3"/>
          </a:solidFill>
          <a:ln w="12700">
            <a:solidFill>
              <a:schemeClr val="bg1"/>
            </a:solidFill>
            <a:round/>
            <a:headEnd/>
            <a:tailEnd/>
          </a:ln>
        </p:spPr>
        <p:txBody>
          <a:bodyPr/>
          <a:lstStyle/>
          <a:p>
            <a:pPr>
              <a:defRPr/>
            </a:pPr>
            <a:endParaRPr lang="nl-NL"/>
          </a:p>
        </p:txBody>
      </p:sp>
      <p:sp>
        <p:nvSpPr>
          <p:cNvPr id="35" name="Freeform 59"/>
          <p:cNvSpPr>
            <a:spLocks/>
          </p:cNvSpPr>
          <p:nvPr/>
        </p:nvSpPr>
        <p:spPr bwMode="auto">
          <a:xfrm>
            <a:off x="4131141" y="3464819"/>
            <a:ext cx="1360919" cy="739362"/>
          </a:xfrm>
          <a:custGeom>
            <a:avLst/>
            <a:gdLst>
              <a:gd name="T0" fmla="*/ 1141 w 1278"/>
              <a:gd name="T1" fmla="*/ 85 h 639"/>
              <a:gd name="T2" fmla="*/ 1089 w 1278"/>
              <a:gd name="T3" fmla="*/ 112 h 639"/>
              <a:gd name="T4" fmla="*/ 1072 w 1278"/>
              <a:gd name="T5" fmla="*/ 78 h 639"/>
              <a:gd name="T6" fmla="*/ 962 w 1278"/>
              <a:gd name="T7" fmla="*/ 65 h 639"/>
              <a:gd name="T8" fmla="*/ 964 w 1278"/>
              <a:gd name="T9" fmla="*/ 19 h 639"/>
              <a:gd name="T10" fmla="*/ 907 w 1278"/>
              <a:gd name="T11" fmla="*/ 15 h 639"/>
              <a:gd name="T12" fmla="*/ 880 w 1278"/>
              <a:gd name="T13" fmla="*/ 0 h 639"/>
              <a:gd name="T14" fmla="*/ 812 w 1278"/>
              <a:gd name="T15" fmla="*/ 28 h 639"/>
              <a:gd name="T16" fmla="*/ 734 w 1278"/>
              <a:gd name="T17" fmla="*/ 36 h 639"/>
              <a:gd name="T18" fmla="*/ 728 w 1278"/>
              <a:gd name="T19" fmla="*/ 78 h 639"/>
              <a:gd name="T20" fmla="*/ 666 w 1278"/>
              <a:gd name="T21" fmla="*/ 112 h 639"/>
              <a:gd name="T22" fmla="*/ 622 w 1278"/>
              <a:gd name="T23" fmla="*/ 89 h 639"/>
              <a:gd name="T24" fmla="*/ 586 w 1278"/>
              <a:gd name="T25" fmla="*/ 28 h 639"/>
              <a:gd name="T26" fmla="*/ 510 w 1278"/>
              <a:gd name="T27" fmla="*/ 26 h 639"/>
              <a:gd name="T28" fmla="*/ 460 w 1278"/>
              <a:gd name="T29" fmla="*/ 26 h 639"/>
              <a:gd name="T30" fmla="*/ 325 w 1278"/>
              <a:gd name="T31" fmla="*/ 112 h 639"/>
              <a:gd name="T32" fmla="*/ 255 w 1278"/>
              <a:gd name="T33" fmla="*/ 112 h 639"/>
              <a:gd name="T34" fmla="*/ 192 w 1278"/>
              <a:gd name="T35" fmla="*/ 139 h 639"/>
              <a:gd name="T36" fmla="*/ 122 w 1278"/>
              <a:gd name="T37" fmla="*/ 127 h 639"/>
              <a:gd name="T38" fmla="*/ 86 w 1278"/>
              <a:gd name="T39" fmla="*/ 180 h 639"/>
              <a:gd name="T40" fmla="*/ 0 w 1278"/>
              <a:gd name="T41" fmla="*/ 180 h 639"/>
              <a:gd name="T42" fmla="*/ 31 w 1278"/>
              <a:gd name="T43" fmla="*/ 285 h 639"/>
              <a:gd name="T44" fmla="*/ 0 w 1278"/>
              <a:gd name="T45" fmla="*/ 331 h 639"/>
              <a:gd name="T46" fmla="*/ 33 w 1278"/>
              <a:gd name="T47" fmla="*/ 388 h 639"/>
              <a:gd name="T48" fmla="*/ 33 w 1278"/>
              <a:gd name="T49" fmla="*/ 479 h 639"/>
              <a:gd name="T50" fmla="*/ 128 w 1278"/>
              <a:gd name="T51" fmla="*/ 494 h 639"/>
              <a:gd name="T52" fmla="*/ 93 w 1278"/>
              <a:gd name="T53" fmla="*/ 412 h 639"/>
              <a:gd name="T54" fmla="*/ 200 w 1278"/>
              <a:gd name="T55" fmla="*/ 355 h 639"/>
              <a:gd name="T56" fmla="*/ 189 w 1278"/>
              <a:gd name="T57" fmla="*/ 450 h 639"/>
              <a:gd name="T58" fmla="*/ 289 w 1278"/>
              <a:gd name="T59" fmla="*/ 420 h 639"/>
              <a:gd name="T60" fmla="*/ 339 w 1278"/>
              <a:gd name="T61" fmla="*/ 346 h 639"/>
              <a:gd name="T62" fmla="*/ 394 w 1278"/>
              <a:gd name="T63" fmla="*/ 378 h 639"/>
              <a:gd name="T64" fmla="*/ 371 w 1278"/>
              <a:gd name="T65" fmla="*/ 447 h 639"/>
              <a:gd name="T66" fmla="*/ 455 w 1278"/>
              <a:gd name="T67" fmla="*/ 450 h 639"/>
              <a:gd name="T68" fmla="*/ 552 w 1278"/>
              <a:gd name="T69" fmla="*/ 355 h 639"/>
              <a:gd name="T70" fmla="*/ 595 w 1278"/>
              <a:gd name="T71" fmla="*/ 536 h 639"/>
              <a:gd name="T72" fmla="*/ 675 w 1278"/>
              <a:gd name="T73" fmla="*/ 515 h 639"/>
              <a:gd name="T74" fmla="*/ 671 w 1278"/>
              <a:gd name="T75" fmla="*/ 580 h 639"/>
              <a:gd name="T76" fmla="*/ 802 w 1278"/>
              <a:gd name="T77" fmla="*/ 589 h 639"/>
              <a:gd name="T78" fmla="*/ 844 w 1278"/>
              <a:gd name="T79" fmla="*/ 563 h 639"/>
              <a:gd name="T80" fmla="*/ 896 w 1278"/>
              <a:gd name="T81" fmla="*/ 639 h 639"/>
              <a:gd name="T82" fmla="*/ 951 w 1278"/>
              <a:gd name="T83" fmla="*/ 606 h 639"/>
              <a:gd name="T84" fmla="*/ 947 w 1278"/>
              <a:gd name="T85" fmla="*/ 563 h 639"/>
              <a:gd name="T86" fmla="*/ 1122 w 1278"/>
              <a:gd name="T87" fmla="*/ 477 h 639"/>
              <a:gd name="T88" fmla="*/ 1051 w 1278"/>
              <a:gd name="T89" fmla="*/ 255 h 639"/>
              <a:gd name="T90" fmla="*/ 1120 w 1278"/>
              <a:gd name="T91" fmla="*/ 293 h 639"/>
              <a:gd name="T92" fmla="*/ 1278 w 1278"/>
              <a:gd name="T93" fmla="*/ 270 h 639"/>
              <a:gd name="T94" fmla="*/ 1181 w 1278"/>
              <a:gd name="T95" fmla="*/ 97 h 639"/>
              <a:gd name="T96" fmla="*/ 1143 w 1278"/>
              <a:gd name="T97" fmla="*/ 85 h 639"/>
              <a:gd name="T98" fmla="*/ 1141 w 1278"/>
              <a:gd name="T99" fmla="*/ 85 h 639"/>
              <a:gd name="T100" fmla="*/ 1141 w 1278"/>
              <a:gd name="T101" fmla="*/ 85 h 639"/>
              <a:gd name="T102" fmla="*/ 1141 w 1278"/>
              <a:gd name="T103" fmla="*/ 85 h 63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78"/>
              <a:gd name="T157" fmla="*/ 0 h 639"/>
              <a:gd name="T158" fmla="*/ 1278 w 1278"/>
              <a:gd name="T159" fmla="*/ 639 h 63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78" h="639">
                <a:moveTo>
                  <a:pt x="1141" y="85"/>
                </a:moveTo>
                <a:lnTo>
                  <a:pt x="1089" y="112"/>
                </a:lnTo>
                <a:lnTo>
                  <a:pt x="1072" y="78"/>
                </a:lnTo>
                <a:lnTo>
                  <a:pt x="962" y="65"/>
                </a:lnTo>
                <a:lnTo>
                  <a:pt x="964" y="19"/>
                </a:lnTo>
                <a:lnTo>
                  <a:pt x="907" y="15"/>
                </a:lnTo>
                <a:lnTo>
                  <a:pt x="880" y="0"/>
                </a:lnTo>
                <a:lnTo>
                  <a:pt x="812" y="28"/>
                </a:lnTo>
                <a:lnTo>
                  <a:pt x="734" y="36"/>
                </a:lnTo>
                <a:lnTo>
                  <a:pt x="728" y="78"/>
                </a:lnTo>
                <a:lnTo>
                  <a:pt x="666" y="112"/>
                </a:lnTo>
                <a:lnTo>
                  <a:pt x="622" y="89"/>
                </a:lnTo>
                <a:lnTo>
                  <a:pt x="586" y="28"/>
                </a:lnTo>
                <a:lnTo>
                  <a:pt x="510" y="26"/>
                </a:lnTo>
                <a:lnTo>
                  <a:pt x="460" y="26"/>
                </a:lnTo>
                <a:lnTo>
                  <a:pt x="325" y="112"/>
                </a:lnTo>
                <a:lnTo>
                  <a:pt x="255" y="112"/>
                </a:lnTo>
                <a:lnTo>
                  <a:pt x="192" y="139"/>
                </a:lnTo>
                <a:lnTo>
                  <a:pt x="122" y="127"/>
                </a:lnTo>
                <a:lnTo>
                  <a:pt x="86" y="180"/>
                </a:lnTo>
                <a:lnTo>
                  <a:pt x="0" y="180"/>
                </a:lnTo>
                <a:lnTo>
                  <a:pt x="31" y="285"/>
                </a:lnTo>
                <a:lnTo>
                  <a:pt x="0" y="331"/>
                </a:lnTo>
                <a:lnTo>
                  <a:pt x="33" y="388"/>
                </a:lnTo>
                <a:lnTo>
                  <a:pt x="33" y="479"/>
                </a:lnTo>
                <a:lnTo>
                  <a:pt x="128" y="494"/>
                </a:lnTo>
                <a:lnTo>
                  <a:pt x="93" y="412"/>
                </a:lnTo>
                <a:lnTo>
                  <a:pt x="200" y="355"/>
                </a:lnTo>
                <a:lnTo>
                  <a:pt x="189" y="450"/>
                </a:lnTo>
                <a:lnTo>
                  <a:pt x="289" y="420"/>
                </a:lnTo>
                <a:lnTo>
                  <a:pt x="339" y="346"/>
                </a:lnTo>
                <a:lnTo>
                  <a:pt x="394" y="378"/>
                </a:lnTo>
                <a:lnTo>
                  <a:pt x="371" y="447"/>
                </a:lnTo>
                <a:lnTo>
                  <a:pt x="455" y="450"/>
                </a:lnTo>
                <a:lnTo>
                  <a:pt x="552" y="355"/>
                </a:lnTo>
                <a:lnTo>
                  <a:pt x="595" y="536"/>
                </a:lnTo>
                <a:lnTo>
                  <a:pt x="675" y="515"/>
                </a:lnTo>
                <a:lnTo>
                  <a:pt x="671" y="580"/>
                </a:lnTo>
                <a:lnTo>
                  <a:pt x="802" y="589"/>
                </a:lnTo>
                <a:lnTo>
                  <a:pt x="844" y="563"/>
                </a:lnTo>
                <a:lnTo>
                  <a:pt x="896" y="639"/>
                </a:lnTo>
                <a:lnTo>
                  <a:pt x="951" y="606"/>
                </a:lnTo>
                <a:lnTo>
                  <a:pt x="947" y="563"/>
                </a:lnTo>
                <a:lnTo>
                  <a:pt x="1122" y="477"/>
                </a:lnTo>
                <a:lnTo>
                  <a:pt x="1051" y="255"/>
                </a:lnTo>
                <a:lnTo>
                  <a:pt x="1120" y="293"/>
                </a:lnTo>
                <a:lnTo>
                  <a:pt x="1278" y="270"/>
                </a:lnTo>
                <a:lnTo>
                  <a:pt x="1181" y="97"/>
                </a:lnTo>
                <a:lnTo>
                  <a:pt x="1143" y="85"/>
                </a:lnTo>
                <a:lnTo>
                  <a:pt x="1141" y="85"/>
                </a:lnTo>
                <a:close/>
              </a:path>
            </a:pathLst>
          </a:custGeom>
          <a:solidFill>
            <a:schemeClr val="accent3"/>
          </a:solidFill>
          <a:ln w="12700">
            <a:solidFill>
              <a:schemeClr val="bg1"/>
            </a:solidFill>
            <a:round/>
            <a:headEnd/>
            <a:tailEnd/>
          </a:ln>
        </p:spPr>
        <p:txBody>
          <a:bodyPr/>
          <a:lstStyle/>
          <a:p>
            <a:pPr>
              <a:defRPr/>
            </a:pPr>
            <a:endParaRPr lang="nl-NL"/>
          </a:p>
        </p:txBody>
      </p:sp>
      <p:sp>
        <p:nvSpPr>
          <p:cNvPr id="36" name="Freeform 60"/>
          <p:cNvSpPr>
            <a:spLocks/>
          </p:cNvSpPr>
          <p:nvPr/>
        </p:nvSpPr>
        <p:spPr bwMode="auto">
          <a:xfrm>
            <a:off x="5081015" y="3759173"/>
            <a:ext cx="449381" cy="1012857"/>
          </a:xfrm>
          <a:custGeom>
            <a:avLst/>
            <a:gdLst>
              <a:gd name="T0" fmla="*/ 386 w 422"/>
              <a:gd name="T1" fmla="*/ 15 h 872"/>
              <a:gd name="T2" fmla="*/ 228 w 422"/>
              <a:gd name="T3" fmla="*/ 38 h 872"/>
              <a:gd name="T4" fmla="*/ 159 w 422"/>
              <a:gd name="T5" fmla="*/ 0 h 872"/>
              <a:gd name="T6" fmla="*/ 230 w 422"/>
              <a:gd name="T7" fmla="*/ 222 h 872"/>
              <a:gd name="T8" fmla="*/ 55 w 422"/>
              <a:gd name="T9" fmla="*/ 308 h 872"/>
              <a:gd name="T10" fmla="*/ 59 w 422"/>
              <a:gd name="T11" fmla="*/ 351 h 872"/>
              <a:gd name="T12" fmla="*/ 0 w 422"/>
              <a:gd name="T13" fmla="*/ 384 h 872"/>
              <a:gd name="T14" fmla="*/ 173 w 422"/>
              <a:gd name="T15" fmla="*/ 433 h 872"/>
              <a:gd name="T16" fmla="*/ 85 w 422"/>
              <a:gd name="T17" fmla="*/ 627 h 872"/>
              <a:gd name="T18" fmla="*/ 121 w 422"/>
              <a:gd name="T19" fmla="*/ 653 h 872"/>
              <a:gd name="T20" fmla="*/ 23 w 422"/>
              <a:gd name="T21" fmla="*/ 760 h 872"/>
              <a:gd name="T22" fmla="*/ 59 w 422"/>
              <a:gd name="T23" fmla="*/ 872 h 872"/>
              <a:gd name="T24" fmla="*/ 119 w 422"/>
              <a:gd name="T25" fmla="*/ 830 h 872"/>
              <a:gd name="T26" fmla="*/ 291 w 422"/>
              <a:gd name="T27" fmla="*/ 868 h 872"/>
              <a:gd name="T28" fmla="*/ 330 w 422"/>
              <a:gd name="T29" fmla="*/ 739 h 872"/>
              <a:gd name="T30" fmla="*/ 218 w 422"/>
              <a:gd name="T31" fmla="*/ 583 h 872"/>
              <a:gd name="T32" fmla="*/ 268 w 422"/>
              <a:gd name="T33" fmla="*/ 574 h 872"/>
              <a:gd name="T34" fmla="*/ 306 w 422"/>
              <a:gd name="T35" fmla="*/ 482 h 872"/>
              <a:gd name="T36" fmla="*/ 397 w 422"/>
              <a:gd name="T37" fmla="*/ 448 h 872"/>
              <a:gd name="T38" fmla="*/ 372 w 422"/>
              <a:gd name="T39" fmla="*/ 420 h 872"/>
              <a:gd name="T40" fmla="*/ 319 w 422"/>
              <a:gd name="T41" fmla="*/ 420 h 872"/>
              <a:gd name="T42" fmla="*/ 306 w 422"/>
              <a:gd name="T43" fmla="*/ 330 h 872"/>
              <a:gd name="T44" fmla="*/ 422 w 422"/>
              <a:gd name="T45" fmla="*/ 218 h 872"/>
              <a:gd name="T46" fmla="*/ 386 w 422"/>
              <a:gd name="T47" fmla="*/ 15 h 872"/>
              <a:gd name="T48" fmla="*/ 386 w 422"/>
              <a:gd name="T49" fmla="*/ 15 h 872"/>
              <a:gd name="T50" fmla="*/ 386 w 422"/>
              <a:gd name="T51" fmla="*/ 15 h 87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2"/>
              <a:gd name="T79" fmla="*/ 0 h 872"/>
              <a:gd name="T80" fmla="*/ 422 w 422"/>
              <a:gd name="T81" fmla="*/ 872 h 87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2" h="872">
                <a:moveTo>
                  <a:pt x="386" y="15"/>
                </a:moveTo>
                <a:lnTo>
                  <a:pt x="228" y="38"/>
                </a:lnTo>
                <a:lnTo>
                  <a:pt x="159" y="0"/>
                </a:lnTo>
                <a:lnTo>
                  <a:pt x="230" y="222"/>
                </a:lnTo>
                <a:lnTo>
                  <a:pt x="55" y="308"/>
                </a:lnTo>
                <a:lnTo>
                  <a:pt x="59" y="351"/>
                </a:lnTo>
                <a:lnTo>
                  <a:pt x="0" y="384"/>
                </a:lnTo>
                <a:lnTo>
                  <a:pt x="173" y="433"/>
                </a:lnTo>
                <a:lnTo>
                  <a:pt x="85" y="627"/>
                </a:lnTo>
                <a:lnTo>
                  <a:pt x="121" y="653"/>
                </a:lnTo>
                <a:lnTo>
                  <a:pt x="23" y="760"/>
                </a:lnTo>
                <a:lnTo>
                  <a:pt x="59" y="872"/>
                </a:lnTo>
                <a:lnTo>
                  <a:pt x="119" y="830"/>
                </a:lnTo>
                <a:lnTo>
                  <a:pt x="291" y="868"/>
                </a:lnTo>
                <a:lnTo>
                  <a:pt x="330" y="739"/>
                </a:lnTo>
                <a:lnTo>
                  <a:pt x="218" y="583"/>
                </a:lnTo>
                <a:lnTo>
                  <a:pt x="268" y="574"/>
                </a:lnTo>
                <a:lnTo>
                  <a:pt x="306" y="482"/>
                </a:lnTo>
                <a:lnTo>
                  <a:pt x="397" y="448"/>
                </a:lnTo>
                <a:lnTo>
                  <a:pt x="372" y="420"/>
                </a:lnTo>
                <a:lnTo>
                  <a:pt x="319" y="420"/>
                </a:lnTo>
                <a:lnTo>
                  <a:pt x="306" y="330"/>
                </a:lnTo>
                <a:lnTo>
                  <a:pt x="422" y="218"/>
                </a:lnTo>
                <a:lnTo>
                  <a:pt x="386" y="15"/>
                </a:lnTo>
                <a:close/>
              </a:path>
            </a:pathLst>
          </a:custGeom>
          <a:solidFill>
            <a:schemeClr val="accent3"/>
          </a:solidFill>
          <a:ln w="12700">
            <a:solidFill>
              <a:schemeClr val="bg1"/>
            </a:solidFill>
            <a:round/>
            <a:headEnd/>
            <a:tailEnd/>
          </a:ln>
        </p:spPr>
        <p:txBody>
          <a:bodyPr/>
          <a:lstStyle/>
          <a:p>
            <a:pPr>
              <a:defRPr/>
            </a:pPr>
            <a:endParaRPr lang="nl-NL"/>
          </a:p>
        </p:txBody>
      </p:sp>
      <p:sp>
        <p:nvSpPr>
          <p:cNvPr id="37" name="Freeform 61"/>
          <p:cNvSpPr>
            <a:spLocks/>
          </p:cNvSpPr>
          <p:nvPr/>
        </p:nvSpPr>
        <p:spPr bwMode="auto">
          <a:xfrm>
            <a:off x="3982057" y="3724407"/>
            <a:ext cx="181030" cy="122840"/>
          </a:xfrm>
          <a:custGeom>
            <a:avLst/>
            <a:gdLst>
              <a:gd name="T0" fmla="*/ 171 w 171"/>
              <a:gd name="T1" fmla="*/ 61 h 107"/>
              <a:gd name="T2" fmla="*/ 30 w 171"/>
              <a:gd name="T3" fmla="*/ 0 h 107"/>
              <a:gd name="T4" fmla="*/ 0 w 171"/>
              <a:gd name="T5" fmla="*/ 15 h 107"/>
              <a:gd name="T6" fmla="*/ 38 w 171"/>
              <a:gd name="T7" fmla="*/ 72 h 107"/>
              <a:gd name="T8" fmla="*/ 144 w 171"/>
              <a:gd name="T9" fmla="*/ 107 h 107"/>
              <a:gd name="T10" fmla="*/ 171 w 171"/>
              <a:gd name="T11" fmla="*/ 61 h 107"/>
              <a:gd name="T12" fmla="*/ 171 w 171"/>
              <a:gd name="T13" fmla="*/ 61 h 107"/>
              <a:gd name="T14" fmla="*/ 171 w 171"/>
              <a:gd name="T15" fmla="*/ 61 h 107"/>
              <a:gd name="T16" fmla="*/ 0 60000 65536"/>
              <a:gd name="T17" fmla="*/ 0 60000 65536"/>
              <a:gd name="T18" fmla="*/ 0 60000 65536"/>
              <a:gd name="T19" fmla="*/ 0 60000 65536"/>
              <a:gd name="T20" fmla="*/ 0 60000 65536"/>
              <a:gd name="T21" fmla="*/ 0 60000 65536"/>
              <a:gd name="T22" fmla="*/ 0 60000 65536"/>
              <a:gd name="T23" fmla="*/ 0 60000 65536"/>
              <a:gd name="T24" fmla="*/ 0 w 171"/>
              <a:gd name="T25" fmla="*/ 0 h 107"/>
              <a:gd name="T26" fmla="*/ 171 w 171"/>
              <a:gd name="T27" fmla="*/ 107 h 10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1" h="107">
                <a:moveTo>
                  <a:pt x="171" y="61"/>
                </a:moveTo>
                <a:lnTo>
                  <a:pt x="30" y="0"/>
                </a:lnTo>
                <a:lnTo>
                  <a:pt x="0" y="15"/>
                </a:lnTo>
                <a:lnTo>
                  <a:pt x="38" y="72"/>
                </a:lnTo>
                <a:lnTo>
                  <a:pt x="144" y="107"/>
                </a:lnTo>
                <a:lnTo>
                  <a:pt x="171" y="61"/>
                </a:lnTo>
                <a:close/>
              </a:path>
            </a:pathLst>
          </a:custGeom>
          <a:solidFill>
            <a:schemeClr val="accent3"/>
          </a:solidFill>
          <a:ln w="12700">
            <a:solidFill>
              <a:schemeClr val="bg1"/>
            </a:solidFill>
            <a:round/>
            <a:headEnd/>
            <a:tailEnd/>
          </a:ln>
        </p:spPr>
        <p:txBody>
          <a:bodyPr/>
          <a:lstStyle/>
          <a:p>
            <a:pPr>
              <a:defRPr/>
            </a:pPr>
            <a:endParaRPr lang="nl-NL"/>
          </a:p>
        </p:txBody>
      </p:sp>
      <p:sp>
        <p:nvSpPr>
          <p:cNvPr id="38" name="Freeform 62"/>
          <p:cNvSpPr>
            <a:spLocks/>
          </p:cNvSpPr>
          <p:nvPr/>
        </p:nvSpPr>
        <p:spPr bwMode="auto">
          <a:xfrm>
            <a:off x="3596570" y="3724407"/>
            <a:ext cx="568647" cy="296672"/>
          </a:xfrm>
          <a:custGeom>
            <a:avLst/>
            <a:gdLst>
              <a:gd name="T0" fmla="*/ 534 w 534"/>
              <a:gd name="T1" fmla="*/ 164 h 257"/>
              <a:gd name="T2" fmla="*/ 448 w 534"/>
              <a:gd name="T3" fmla="*/ 169 h 257"/>
              <a:gd name="T4" fmla="*/ 306 w 534"/>
              <a:gd name="T5" fmla="*/ 65 h 257"/>
              <a:gd name="T6" fmla="*/ 205 w 534"/>
              <a:gd name="T7" fmla="*/ 65 h 257"/>
              <a:gd name="T8" fmla="*/ 174 w 534"/>
              <a:gd name="T9" fmla="*/ 107 h 257"/>
              <a:gd name="T10" fmla="*/ 114 w 534"/>
              <a:gd name="T11" fmla="*/ 46 h 257"/>
              <a:gd name="T12" fmla="*/ 119 w 534"/>
              <a:gd name="T13" fmla="*/ 0 h 257"/>
              <a:gd name="T14" fmla="*/ 43 w 534"/>
              <a:gd name="T15" fmla="*/ 0 h 257"/>
              <a:gd name="T16" fmla="*/ 0 w 534"/>
              <a:gd name="T17" fmla="*/ 65 h 257"/>
              <a:gd name="T18" fmla="*/ 51 w 534"/>
              <a:gd name="T19" fmla="*/ 147 h 257"/>
              <a:gd name="T20" fmla="*/ 161 w 534"/>
              <a:gd name="T21" fmla="*/ 137 h 257"/>
              <a:gd name="T22" fmla="*/ 148 w 534"/>
              <a:gd name="T23" fmla="*/ 181 h 257"/>
              <a:gd name="T24" fmla="*/ 247 w 534"/>
              <a:gd name="T25" fmla="*/ 226 h 257"/>
              <a:gd name="T26" fmla="*/ 334 w 534"/>
              <a:gd name="T27" fmla="*/ 164 h 257"/>
              <a:gd name="T28" fmla="*/ 408 w 534"/>
              <a:gd name="T29" fmla="*/ 221 h 257"/>
              <a:gd name="T30" fmla="*/ 507 w 534"/>
              <a:gd name="T31" fmla="*/ 215 h 257"/>
              <a:gd name="T32" fmla="*/ 505 w 534"/>
              <a:gd name="T33" fmla="*/ 249 h 257"/>
              <a:gd name="T34" fmla="*/ 534 w 534"/>
              <a:gd name="T35" fmla="*/ 257 h 257"/>
              <a:gd name="T36" fmla="*/ 534 w 534"/>
              <a:gd name="T37" fmla="*/ 164 h 257"/>
              <a:gd name="T38" fmla="*/ 534 w 534"/>
              <a:gd name="T39" fmla="*/ 164 h 257"/>
              <a:gd name="T40" fmla="*/ 534 w 534"/>
              <a:gd name="T41" fmla="*/ 164 h 2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4"/>
              <a:gd name="T64" fmla="*/ 0 h 257"/>
              <a:gd name="T65" fmla="*/ 534 w 534"/>
              <a:gd name="T66" fmla="*/ 257 h 25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4" h="257">
                <a:moveTo>
                  <a:pt x="534" y="164"/>
                </a:moveTo>
                <a:lnTo>
                  <a:pt x="448" y="169"/>
                </a:lnTo>
                <a:lnTo>
                  <a:pt x="306" y="65"/>
                </a:lnTo>
                <a:lnTo>
                  <a:pt x="205" y="65"/>
                </a:lnTo>
                <a:lnTo>
                  <a:pt x="174" y="107"/>
                </a:lnTo>
                <a:lnTo>
                  <a:pt x="114" y="46"/>
                </a:lnTo>
                <a:lnTo>
                  <a:pt x="119" y="0"/>
                </a:lnTo>
                <a:lnTo>
                  <a:pt x="43" y="0"/>
                </a:lnTo>
                <a:lnTo>
                  <a:pt x="0" y="65"/>
                </a:lnTo>
                <a:lnTo>
                  <a:pt x="51" y="147"/>
                </a:lnTo>
                <a:lnTo>
                  <a:pt x="161" y="137"/>
                </a:lnTo>
                <a:lnTo>
                  <a:pt x="148" y="181"/>
                </a:lnTo>
                <a:lnTo>
                  <a:pt x="247" y="226"/>
                </a:lnTo>
                <a:lnTo>
                  <a:pt x="334" y="164"/>
                </a:lnTo>
                <a:lnTo>
                  <a:pt x="408" y="221"/>
                </a:lnTo>
                <a:lnTo>
                  <a:pt x="507" y="215"/>
                </a:lnTo>
                <a:lnTo>
                  <a:pt x="505" y="249"/>
                </a:lnTo>
                <a:lnTo>
                  <a:pt x="534" y="257"/>
                </a:lnTo>
                <a:lnTo>
                  <a:pt x="534" y="164"/>
                </a:lnTo>
                <a:close/>
              </a:path>
            </a:pathLst>
          </a:custGeom>
          <a:solidFill>
            <a:schemeClr val="accent3"/>
          </a:solidFill>
          <a:ln w="12700">
            <a:solidFill>
              <a:schemeClr val="bg1"/>
            </a:solidFill>
            <a:round/>
            <a:headEnd/>
            <a:tailEnd/>
          </a:ln>
        </p:spPr>
        <p:txBody>
          <a:bodyPr/>
          <a:lstStyle/>
          <a:p>
            <a:pPr>
              <a:defRPr/>
            </a:pPr>
            <a:endParaRPr lang="nl-NL"/>
          </a:p>
        </p:txBody>
      </p:sp>
      <p:sp>
        <p:nvSpPr>
          <p:cNvPr id="39" name="Freeform 63"/>
          <p:cNvSpPr>
            <a:spLocks/>
          </p:cNvSpPr>
          <p:nvPr/>
        </p:nvSpPr>
        <p:spPr bwMode="auto">
          <a:xfrm>
            <a:off x="2957641" y="3997902"/>
            <a:ext cx="645319" cy="806578"/>
          </a:xfrm>
          <a:custGeom>
            <a:avLst/>
            <a:gdLst>
              <a:gd name="T0" fmla="*/ 530 w 606"/>
              <a:gd name="T1" fmla="*/ 0 h 696"/>
              <a:gd name="T2" fmla="*/ 359 w 606"/>
              <a:gd name="T3" fmla="*/ 38 h 696"/>
              <a:gd name="T4" fmla="*/ 310 w 606"/>
              <a:gd name="T5" fmla="*/ 114 h 696"/>
              <a:gd name="T6" fmla="*/ 247 w 606"/>
              <a:gd name="T7" fmla="*/ 108 h 696"/>
              <a:gd name="T8" fmla="*/ 0 w 606"/>
              <a:gd name="T9" fmla="*/ 274 h 696"/>
              <a:gd name="T10" fmla="*/ 38 w 606"/>
              <a:gd name="T11" fmla="*/ 353 h 696"/>
              <a:gd name="T12" fmla="*/ 10 w 606"/>
              <a:gd name="T13" fmla="*/ 458 h 696"/>
              <a:gd name="T14" fmla="*/ 27 w 606"/>
              <a:gd name="T15" fmla="*/ 545 h 696"/>
              <a:gd name="T16" fmla="*/ 95 w 606"/>
              <a:gd name="T17" fmla="*/ 564 h 696"/>
              <a:gd name="T18" fmla="*/ 122 w 606"/>
              <a:gd name="T19" fmla="*/ 661 h 696"/>
              <a:gd name="T20" fmla="*/ 222 w 606"/>
              <a:gd name="T21" fmla="*/ 696 h 696"/>
              <a:gd name="T22" fmla="*/ 300 w 606"/>
              <a:gd name="T23" fmla="*/ 618 h 696"/>
              <a:gd name="T24" fmla="*/ 386 w 606"/>
              <a:gd name="T25" fmla="*/ 644 h 696"/>
              <a:gd name="T26" fmla="*/ 414 w 606"/>
              <a:gd name="T27" fmla="*/ 633 h 696"/>
              <a:gd name="T28" fmla="*/ 488 w 606"/>
              <a:gd name="T29" fmla="*/ 648 h 696"/>
              <a:gd name="T30" fmla="*/ 481 w 606"/>
              <a:gd name="T31" fmla="*/ 673 h 696"/>
              <a:gd name="T32" fmla="*/ 530 w 606"/>
              <a:gd name="T33" fmla="*/ 678 h 696"/>
              <a:gd name="T34" fmla="*/ 606 w 606"/>
              <a:gd name="T35" fmla="*/ 621 h 696"/>
              <a:gd name="T36" fmla="*/ 601 w 606"/>
              <a:gd name="T37" fmla="*/ 555 h 696"/>
              <a:gd name="T38" fmla="*/ 578 w 606"/>
              <a:gd name="T39" fmla="*/ 500 h 696"/>
              <a:gd name="T40" fmla="*/ 585 w 606"/>
              <a:gd name="T41" fmla="*/ 352 h 696"/>
              <a:gd name="T42" fmla="*/ 507 w 606"/>
              <a:gd name="T43" fmla="*/ 279 h 696"/>
              <a:gd name="T44" fmla="*/ 540 w 606"/>
              <a:gd name="T45" fmla="*/ 215 h 696"/>
              <a:gd name="T46" fmla="*/ 517 w 606"/>
              <a:gd name="T47" fmla="*/ 123 h 696"/>
              <a:gd name="T48" fmla="*/ 530 w 606"/>
              <a:gd name="T49" fmla="*/ 114 h 696"/>
              <a:gd name="T50" fmla="*/ 549 w 606"/>
              <a:gd name="T51" fmla="*/ 47 h 696"/>
              <a:gd name="T52" fmla="*/ 530 w 606"/>
              <a:gd name="T53" fmla="*/ 0 h 696"/>
              <a:gd name="T54" fmla="*/ 530 w 606"/>
              <a:gd name="T55" fmla="*/ 0 h 696"/>
              <a:gd name="T56" fmla="*/ 530 w 606"/>
              <a:gd name="T57" fmla="*/ 0 h 69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06"/>
              <a:gd name="T88" fmla="*/ 0 h 696"/>
              <a:gd name="T89" fmla="*/ 606 w 606"/>
              <a:gd name="T90" fmla="*/ 696 h 69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06" h="696">
                <a:moveTo>
                  <a:pt x="530" y="0"/>
                </a:moveTo>
                <a:lnTo>
                  <a:pt x="359" y="38"/>
                </a:lnTo>
                <a:lnTo>
                  <a:pt x="310" y="114"/>
                </a:lnTo>
                <a:lnTo>
                  <a:pt x="247" y="108"/>
                </a:lnTo>
                <a:lnTo>
                  <a:pt x="0" y="274"/>
                </a:lnTo>
                <a:lnTo>
                  <a:pt x="38" y="353"/>
                </a:lnTo>
                <a:lnTo>
                  <a:pt x="10" y="458"/>
                </a:lnTo>
                <a:lnTo>
                  <a:pt x="27" y="545"/>
                </a:lnTo>
                <a:lnTo>
                  <a:pt x="95" y="564"/>
                </a:lnTo>
                <a:lnTo>
                  <a:pt x="122" y="661"/>
                </a:lnTo>
                <a:lnTo>
                  <a:pt x="222" y="696"/>
                </a:lnTo>
                <a:lnTo>
                  <a:pt x="300" y="618"/>
                </a:lnTo>
                <a:lnTo>
                  <a:pt x="386" y="644"/>
                </a:lnTo>
                <a:lnTo>
                  <a:pt x="414" y="633"/>
                </a:lnTo>
                <a:lnTo>
                  <a:pt x="488" y="648"/>
                </a:lnTo>
                <a:lnTo>
                  <a:pt x="481" y="673"/>
                </a:lnTo>
                <a:lnTo>
                  <a:pt x="530" y="678"/>
                </a:lnTo>
                <a:lnTo>
                  <a:pt x="606" y="621"/>
                </a:lnTo>
                <a:lnTo>
                  <a:pt x="601" y="555"/>
                </a:lnTo>
                <a:lnTo>
                  <a:pt x="578" y="500"/>
                </a:lnTo>
                <a:lnTo>
                  <a:pt x="585" y="352"/>
                </a:lnTo>
                <a:lnTo>
                  <a:pt x="507" y="279"/>
                </a:lnTo>
                <a:lnTo>
                  <a:pt x="540" y="215"/>
                </a:lnTo>
                <a:lnTo>
                  <a:pt x="517" y="123"/>
                </a:lnTo>
                <a:lnTo>
                  <a:pt x="530" y="114"/>
                </a:lnTo>
                <a:lnTo>
                  <a:pt x="549" y="47"/>
                </a:lnTo>
                <a:lnTo>
                  <a:pt x="530" y="0"/>
                </a:lnTo>
                <a:close/>
              </a:path>
            </a:pathLst>
          </a:custGeom>
          <a:solidFill>
            <a:schemeClr val="accent3"/>
          </a:solidFill>
          <a:ln w="12700">
            <a:solidFill>
              <a:schemeClr val="bg1"/>
            </a:solidFill>
            <a:round/>
            <a:headEnd/>
            <a:tailEnd/>
          </a:ln>
        </p:spPr>
        <p:txBody>
          <a:bodyPr/>
          <a:lstStyle/>
          <a:p>
            <a:pPr>
              <a:defRPr/>
            </a:pPr>
            <a:endParaRPr lang="nl-NL"/>
          </a:p>
        </p:txBody>
      </p:sp>
      <p:sp>
        <p:nvSpPr>
          <p:cNvPr id="40" name="Freeform 64"/>
          <p:cNvSpPr>
            <a:spLocks/>
          </p:cNvSpPr>
          <p:nvPr/>
        </p:nvSpPr>
        <p:spPr bwMode="auto">
          <a:xfrm>
            <a:off x="3500731" y="4016444"/>
            <a:ext cx="726250" cy="783400"/>
          </a:xfrm>
          <a:custGeom>
            <a:avLst/>
            <a:gdLst>
              <a:gd name="T0" fmla="*/ 23 w 683"/>
              <a:gd name="T1" fmla="*/ 99 h 677"/>
              <a:gd name="T2" fmla="*/ 10 w 683"/>
              <a:gd name="T3" fmla="*/ 107 h 677"/>
              <a:gd name="T4" fmla="*/ 31 w 683"/>
              <a:gd name="T5" fmla="*/ 200 h 677"/>
              <a:gd name="T6" fmla="*/ 0 w 683"/>
              <a:gd name="T7" fmla="*/ 264 h 677"/>
              <a:gd name="T8" fmla="*/ 76 w 683"/>
              <a:gd name="T9" fmla="*/ 335 h 677"/>
              <a:gd name="T10" fmla="*/ 71 w 683"/>
              <a:gd name="T11" fmla="*/ 466 h 677"/>
              <a:gd name="T12" fmla="*/ 69 w 683"/>
              <a:gd name="T13" fmla="*/ 487 h 677"/>
              <a:gd name="T14" fmla="*/ 95 w 683"/>
              <a:gd name="T15" fmla="*/ 542 h 677"/>
              <a:gd name="T16" fmla="*/ 97 w 683"/>
              <a:gd name="T17" fmla="*/ 608 h 677"/>
              <a:gd name="T18" fmla="*/ 128 w 683"/>
              <a:gd name="T19" fmla="*/ 629 h 677"/>
              <a:gd name="T20" fmla="*/ 145 w 683"/>
              <a:gd name="T21" fmla="*/ 663 h 677"/>
              <a:gd name="T22" fmla="*/ 196 w 683"/>
              <a:gd name="T23" fmla="*/ 663 h 677"/>
              <a:gd name="T24" fmla="*/ 206 w 683"/>
              <a:gd name="T25" fmla="*/ 610 h 677"/>
              <a:gd name="T26" fmla="*/ 249 w 683"/>
              <a:gd name="T27" fmla="*/ 593 h 677"/>
              <a:gd name="T28" fmla="*/ 287 w 683"/>
              <a:gd name="T29" fmla="*/ 622 h 677"/>
              <a:gd name="T30" fmla="*/ 320 w 683"/>
              <a:gd name="T31" fmla="*/ 663 h 677"/>
              <a:gd name="T32" fmla="*/ 418 w 683"/>
              <a:gd name="T33" fmla="*/ 677 h 677"/>
              <a:gd name="T34" fmla="*/ 384 w 683"/>
              <a:gd name="T35" fmla="*/ 635 h 677"/>
              <a:gd name="T36" fmla="*/ 470 w 683"/>
              <a:gd name="T37" fmla="*/ 597 h 677"/>
              <a:gd name="T38" fmla="*/ 460 w 683"/>
              <a:gd name="T39" fmla="*/ 517 h 677"/>
              <a:gd name="T40" fmla="*/ 515 w 683"/>
              <a:gd name="T41" fmla="*/ 464 h 677"/>
              <a:gd name="T42" fmla="*/ 546 w 683"/>
              <a:gd name="T43" fmla="*/ 464 h 677"/>
              <a:gd name="T44" fmla="*/ 531 w 683"/>
              <a:gd name="T45" fmla="*/ 407 h 677"/>
              <a:gd name="T46" fmla="*/ 609 w 683"/>
              <a:gd name="T47" fmla="*/ 350 h 677"/>
              <a:gd name="T48" fmla="*/ 567 w 683"/>
              <a:gd name="T49" fmla="*/ 346 h 677"/>
              <a:gd name="T50" fmla="*/ 550 w 683"/>
              <a:gd name="T51" fmla="*/ 270 h 677"/>
              <a:gd name="T52" fmla="*/ 618 w 683"/>
              <a:gd name="T53" fmla="*/ 249 h 677"/>
              <a:gd name="T54" fmla="*/ 656 w 683"/>
              <a:gd name="T55" fmla="*/ 251 h 677"/>
              <a:gd name="T56" fmla="*/ 683 w 683"/>
              <a:gd name="T57" fmla="*/ 169 h 677"/>
              <a:gd name="T58" fmla="*/ 603 w 683"/>
              <a:gd name="T59" fmla="*/ 0 h 677"/>
              <a:gd name="T60" fmla="*/ 593 w 683"/>
              <a:gd name="T61" fmla="*/ 4 h 677"/>
              <a:gd name="T62" fmla="*/ 531 w 683"/>
              <a:gd name="T63" fmla="*/ 99 h 677"/>
              <a:gd name="T64" fmla="*/ 447 w 683"/>
              <a:gd name="T65" fmla="*/ 126 h 677"/>
              <a:gd name="T66" fmla="*/ 415 w 683"/>
              <a:gd name="T67" fmla="*/ 158 h 677"/>
              <a:gd name="T68" fmla="*/ 280 w 683"/>
              <a:gd name="T69" fmla="*/ 133 h 677"/>
              <a:gd name="T70" fmla="*/ 297 w 683"/>
              <a:gd name="T71" fmla="*/ 105 h 677"/>
              <a:gd name="T72" fmla="*/ 204 w 683"/>
              <a:gd name="T73" fmla="*/ 59 h 677"/>
              <a:gd name="T74" fmla="*/ 126 w 683"/>
              <a:gd name="T75" fmla="*/ 59 h 677"/>
              <a:gd name="T76" fmla="*/ 109 w 683"/>
              <a:gd name="T77" fmla="*/ 103 h 677"/>
              <a:gd name="T78" fmla="*/ 23 w 683"/>
              <a:gd name="T79" fmla="*/ 99 h 677"/>
              <a:gd name="T80" fmla="*/ 23 w 683"/>
              <a:gd name="T81" fmla="*/ 99 h 677"/>
              <a:gd name="T82" fmla="*/ 23 w 683"/>
              <a:gd name="T83" fmla="*/ 99 h 67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83"/>
              <a:gd name="T127" fmla="*/ 0 h 677"/>
              <a:gd name="T128" fmla="*/ 683 w 683"/>
              <a:gd name="T129" fmla="*/ 677 h 67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83" h="677">
                <a:moveTo>
                  <a:pt x="23" y="99"/>
                </a:moveTo>
                <a:lnTo>
                  <a:pt x="10" y="107"/>
                </a:lnTo>
                <a:lnTo>
                  <a:pt x="31" y="200"/>
                </a:lnTo>
                <a:lnTo>
                  <a:pt x="0" y="264"/>
                </a:lnTo>
                <a:lnTo>
                  <a:pt x="76" y="335"/>
                </a:lnTo>
                <a:lnTo>
                  <a:pt x="71" y="466"/>
                </a:lnTo>
                <a:lnTo>
                  <a:pt x="69" y="487"/>
                </a:lnTo>
                <a:lnTo>
                  <a:pt x="95" y="542"/>
                </a:lnTo>
                <a:lnTo>
                  <a:pt x="97" y="608"/>
                </a:lnTo>
                <a:lnTo>
                  <a:pt x="128" y="629"/>
                </a:lnTo>
                <a:lnTo>
                  <a:pt x="145" y="663"/>
                </a:lnTo>
                <a:lnTo>
                  <a:pt x="196" y="663"/>
                </a:lnTo>
                <a:lnTo>
                  <a:pt x="206" y="610"/>
                </a:lnTo>
                <a:lnTo>
                  <a:pt x="249" y="593"/>
                </a:lnTo>
                <a:lnTo>
                  <a:pt x="287" y="622"/>
                </a:lnTo>
                <a:lnTo>
                  <a:pt x="320" y="663"/>
                </a:lnTo>
                <a:lnTo>
                  <a:pt x="418" y="677"/>
                </a:lnTo>
                <a:lnTo>
                  <a:pt x="384" y="635"/>
                </a:lnTo>
                <a:lnTo>
                  <a:pt x="470" y="597"/>
                </a:lnTo>
                <a:lnTo>
                  <a:pt x="460" y="517"/>
                </a:lnTo>
                <a:lnTo>
                  <a:pt x="515" y="464"/>
                </a:lnTo>
                <a:lnTo>
                  <a:pt x="546" y="464"/>
                </a:lnTo>
                <a:lnTo>
                  <a:pt x="531" y="407"/>
                </a:lnTo>
                <a:lnTo>
                  <a:pt x="609" y="350"/>
                </a:lnTo>
                <a:lnTo>
                  <a:pt x="567" y="346"/>
                </a:lnTo>
                <a:lnTo>
                  <a:pt x="550" y="270"/>
                </a:lnTo>
                <a:lnTo>
                  <a:pt x="618" y="249"/>
                </a:lnTo>
                <a:lnTo>
                  <a:pt x="656" y="251"/>
                </a:lnTo>
                <a:lnTo>
                  <a:pt x="683" y="169"/>
                </a:lnTo>
                <a:lnTo>
                  <a:pt x="603" y="0"/>
                </a:lnTo>
                <a:lnTo>
                  <a:pt x="593" y="4"/>
                </a:lnTo>
                <a:lnTo>
                  <a:pt x="531" y="99"/>
                </a:lnTo>
                <a:lnTo>
                  <a:pt x="447" y="126"/>
                </a:lnTo>
                <a:lnTo>
                  <a:pt x="415" y="158"/>
                </a:lnTo>
                <a:lnTo>
                  <a:pt x="280" y="133"/>
                </a:lnTo>
                <a:lnTo>
                  <a:pt x="297" y="105"/>
                </a:lnTo>
                <a:lnTo>
                  <a:pt x="204" y="59"/>
                </a:lnTo>
                <a:lnTo>
                  <a:pt x="126" y="59"/>
                </a:lnTo>
                <a:lnTo>
                  <a:pt x="109" y="103"/>
                </a:lnTo>
                <a:lnTo>
                  <a:pt x="23" y="99"/>
                </a:lnTo>
                <a:close/>
              </a:path>
            </a:pathLst>
          </a:custGeom>
          <a:solidFill>
            <a:schemeClr val="accent3"/>
          </a:solidFill>
          <a:ln w="12700">
            <a:solidFill>
              <a:schemeClr val="bg1"/>
            </a:solidFill>
            <a:round/>
            <a:headEnd/>
            <a:tailEnd/>
          </a:ln>
        </p:spPr>
        <p:txBody>
          <a:bodyPr/>
          <a:lstStyle/>
          <a:p>
            <a:pPr>
              <a:defRPr/>
            </a:pPr>
            <a:endParaRPr lang="nl-NL"/>
          </a:p>
        </p:txBody>
      </p:sp>
      <p:sp>
        <p:nvSpPr>
          <p:cNvPr id="41" name="Freeform 65"/>
          <p:cNvSpPr>
            <a:spLocks/>
          </p:cNvSpPr>
          <p:nvPr/>
        </p:nvSpPr>
        <p:spPr bwMode="auto">
          <a:xfrm>
            <a:off x="3372945" y="4700180"/>
            <a:ext cx="1005248" cy="1012857"/>
          </a:xfrm>
          <a:custGeom>
            <a:avLst/>
            <a:gdLst>
              <a:gd name="T0" fmla="*/ 0 w 944"/>
              <a:gd name="T1" fmla="*/ 38 h 875"/>
              <a:gd name="T2" fmla="*/ 41 w 944"/>
              <a:gd name="T3" fmla="*/ 93 h 875"/>
              <a:gd name="T4" fmla="*/ 55 w 944"/>
              <a:gd name="T5" fmla="*/ 264 h 875"/>
              <a:gd name="T6" fmla="*/ 104 w 944"/>
              <a:gd name="T7" fmla="*/ 306 h 875"/>
              <a:gd name="T8" fmla="*/ 212 w 944"/>
              <a:gd name="T9" fmla="*/ 306 h 875"/>
              <a:gd name="T10" fmla="*/ 334 w 944"/>
              <a:gd name="T11" fmla="*/ 350 h 875"/>
              <a:gd name="T12" fmla="*/ 315 w 944"/>
              <a:gd name="T13" fmla="*/ 470 h 875"/>
              <a:gd name="T14" fmla="*/ 475 w 944"/>
              <a:gd name="T15" fmla="*/ 481 h 875"/>
              <a:gd name="T16" fmla="*/ 566 w 944"/>
              <a:gd name="T17" fmla="*/ 458 h 875"/>
              <a:gd name="T18" fmla="*/ 619 w 944"/>
              <a:gd name="T19" fmla="*/ 557 h 875"/>
              <a:gd name="T20" fmla="*/ 669 w 944"/>
              <a:gd name="T21" fmla="*/ 572 h 875"/>
              <a:gd name="T22" fmla="*/ 627 w 944"/>
              <a:gd name="T23" fmla="*/ 679 h 875"/>
              <a:gd name="T24" fmla="*/ 676 w 944"/>
              <a:gd name="T25" fmla="*/ 734 h 875"/>
              <a:gd name="T26" fmla="*/ 631 w 944"/>
              <a:gd name="T27" fmla="*/ 783 h 875"/>
              <a:gd name="T28" fmla="*/ 652 w 944"/>
              <a:gd name="T29" fmla="*/ 846 h 875"/>
              <a:gd name="T30" fmla="*/ 743 w 944"/>
              <a:gd name="T31" fmla="*/ 846 h 875"/>
              <a:gd name="T32" fmla="*/ 796 w 944"/>
              <a:gd name="T33" fmla="*/ 875 h 875"/>
              <a:gd name="T34" fmla="*/ 826 w 944"/>
              <a:gd name="T35" fmla="*/ 867 h 875"/>
              <a:gd name="T36" fmla="*/ 769 w 944"/>
              <a:gd name="T37" fmla="*/ 745 h 875"/>
              <a:gd name="T38" fmla="*/ 790 w 944"/>
              <a:gd name="T39" fmla="*/ 597 h 875"/>
              <a:gd name="T40" fmla="*/ 743 w 944"/>
              <a:gd name="T41" fmla="*/ 582 h 875"/>
              <a:gd name="T42" fmla="*/ 743 w 944"/>
              <a:gd name="T43" fmla="*/ 563 h 875"/>
              <a:gd name="T44" fmla="*/ 767 w 944"/>
              <a:gd name="T45" fmla="*/ 569 h 875"/>
              <a:gd name="T46" fmla="*/ 767 w 944"/>
              <a:gd name="T47" fmla="*/ 542 h 875"/>
              <a:gd name="T48" fmla="*/ 868 w 944"/>
              <a:gd name="T49" fmla="*/ 481 h 875"/>
              <a:gd name="T50" fmla="*/ 910 w 944"/>
              <a:gd name="T51" fmla="*/ 500 h 875"/>
              <a:gd name="T52" fmla="*/ 944 w 944"/>
              <a:gd name="T53" fmla="*/ 483 h 875"/>
              <a:gd name="T54" fmla="*/ 944 w 944"/>
              <a:gd name="T55" fmla="*/ 333 h 875"/>
              <a:gd name="T56" fmla="*/ 908 w 944"/>
              <a:gd name="T57" fmla="*/ 295 h 875"/>
              <a:gd name="T58" fmla="*/ 889 w 944"/>
              <a:gd name="T59" fmla="*/ 299 h 875"/>
              <a:gd name="T60" fmla="*/ 868 w 944"/>
              <a:gd name="T61" fmla="*/ 255 h 875"/>
              <a:gd name="T62" fmla="*/ 796 w 944"/>
              <a:gd name="T63" fmla="*/ 240 h 875"/>
              <a:gd name="T64" fmla="*/ 709 w 944"/>
              <a:gd name="T65" fmla="*/ 209 h 875"/>
              <a:gd name="T66" fmla="*/ 718 w 944"/>
              <a:gd name="T67" fmla="*/ 185 h 875"/>
              <a:gd name="T68" fmla="*/ 682 w 944"/>
              <a:gd name="T69" fmla="*/ 168 h 875"/>
              <a:gd name="T70" fmla="*/ 648 w 944"/>
              <a:gd name="T71" fmla="*/ 175 h 875"/>
              <a:gd name="T72" fmla="*/ 617 w 944"/>
              <a:gd name="T73" fmla="*/ 160 h 875"/>
              <a:gd name="T74" fmla="*/ 617 w 944"/>
              <a:gd name="T75" fmla="*/ 109 h 875"/>
              <a:gd name="T76" fmla="*/ 576 w 944"/>
              <a:gd name="T77" fmla="*/ 95 h 875"/>
              <a:gd name="T78" fmla="*/ 541 w 944"/>
              <a:gd name="T79" fmla="*/ 110 h 875"/>
              <a:gd name="T80" fmla="*/ 541 w 944"/>
              <a:gd name="T81" fmla="*/ 80 h 875"/>
              <a:gd name="T82" fmla="*/ 439 w 944"/>
              <a:gd name="T83" fmla="*/ 71 h 875"/>
              <a:gd name="T84" fmla="*/ 403 w 944"/>
              <a:gd name="T85" fmla="*/ 29 h 875"/>
              <a:gd name="T86" fmla="*/ 368 w 944"/>
              <a:gd name="T87" fmla="*/ 0 h 875"/>
              <a:gd name="T88" fmla="*/ 325 w 944"/>
              <a:gd name="T89" fmla="*/ 17 h 875"/>
              <a:gd name="T90" fmla="*/ 315 w 944"/>
              <a:gd name="T91" fmla="*/ 71 h 875"/>
              <a:gd name="T92" fmla="*/ 264 w 944"/>
              <a:gd name="T93" fmla="*/ 71 h 875"/>
              <a:gd name="T94" fmla="*/ 247 w 944"/>
              <a:gd name="T95" fmla="*/ 34 h 875"/>
              <a:gd name="T96" fmla="*/ 214 w 944"/>
              <a:gd name="T97" fmla="*/ 17 h 875"/>
              <a:gd name="T98" fmla="*/ 140 w 944"/>
              <a:gd name="T99" fmla="*/ 71 h 875"/>
              <a:gd name="T100" fmla="*/ 93 w 944"/>
              <a:gd name="T101" fmla="*/ 67 h 875"/>
              <a:gd name="T102" fmla="*/ 100 w 944"/>
              <a:gd name="T103" fmla="*/ 42 h 875"/>
              <a:gd name="T104" fmla="*/ 26 w 944"/>
              <a:gd name="T105" fmla="*/ 27 h 875"/>
              <a:gd name="T106" fmla="*/ 0 w 944"/>
              <a:gd name="T107" fmla="*/ 38 h 875"/>
              <a:gd name="T108" fmla="*/ 0 w 944"/>
              <a:gd name="T109" fmla="*/ 38 h 875"/>
              <a:gd name="T110" fmla="*/ 0 w 944"/>
              <a:gd name="T111" fmla="*/ 38 h 87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44"/>
              <a:gd name="T169" fmla="*/ 0 h 875"/>
              <a:gd name="T170" fmla="*/ 944 w 944"/>
              <a:gd name="T171" fmla="*/ 875 h 87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44" h="875">
                <a:moveTo>
                  <a:pt x="0" y="38"/>
                </a:moveTo>
                <a:lnTo>
                  <a:pt x="41" y="93"/>
                </a:lnTo>
                <a:lnTo>
                  <a:pt x="55" y="264"/>
                </a:lnTo>
                <a:lnTo>
                  <a:pt x="104" y="306"/>
                </a:lnTo>
                <a:lnTo>
                  <a:pt x="212" y="306"/>
                </a:lnTo>
                <a:lnTo>
                  <a:pt x="334" y="350"/>
                </a:lnTo>
                <a:lnTo>
                  <a:pt x="315" y="470"/>
                </a:lnTo>
                <a:lnTo>
                  <a:pt x="475" y="481"/>
                </a:lnTo>
                <a:lnTo>
                  <a:pt x="566" y="458"/>
                </a:lnTo>
                <a:lnTo>
                  <a:pt x="619" y="557"/>
                </a:lnTo>
                <a:lnTo>
                  <a:pt x="669" y="572"/>
                </a:lnTo>
                <a:lnTo>
                  <a:pt x="627" y="679"/>
                </a:lnTo>
                <a:lnTo>
                  <a:pt x="676" y="734"/>
                </a:lnTo>
                <a:lnTo>
                  <a:pt x="631" y="783"/>
                </a:lnTo>
                <a:lnTo>
                  <a:pt x="652" y="846"/>
                </a:lnTo>
                <a:lnTo>
                  <a:pt x="743" y="846"/>
                </a:lnTo>
                <a:lnTo>
                  <a:pt x="796" y="875"/>
                </a:lnTo>
                <a:lnTo>
                  <a:pt x="826" y="867"/>
                </a:lnTo>
                <a:lnTo>
                  <a:pt x="769" y="745"/>
                </a:lnTo>
                <a:lnTo>
                  <a:pt x="790" y="597"/>
                </a:lnTo>
                <a:lnTo>
                  <a:pt x="743" y="582"/>
                </a:lnTo>
                <a:lnTo>
                  <a:pt x="743" y="563"/>
                </a:lnTo>
                <a:lnTo>
                  <a:pt x="767" y="569"/>
                </a:lnTo>
                <a:lnTo>
                  <a:pt x="767" y="542"/>
                </a:lnTo>
                <a:lnTo>
                  <a:pt x="868" y="481"/>
                </a:lnTo>
                <a:lnTo>
                  <a:pt x="910" y="500"/>
                </a:lnTo>
                <a:lnTo>
                  <a:pt x="944" y="483"/>
                </a:lnTo>
                <a:lnTo>
                  <a:pt x="944" y="333"/>
                </a:lnTo>
                <a:lnTo>
                  <a:pt x="908" y="295"/>
                </a:lnTo>
                <a:lnTo>
                  <a:pt x="889" y="299"/>
                </a:lnTo>
                <a:lnTo>
                  <a:pt x="868" y="255"/>
                </a:lnTo>
                <a:lnTo>
                  <a:pt x="796" y="240"/>
                </a:lnTo>
                <a:lnTo>
                  <a:pt x="709" y="209"/>
                </a:lnTo>
                <a:lnTo>
                  <a:pt x="718" y="185"/>
                </a:lnTo>
                <a:lnTo>
                  <a:pt x="682" y="168"/>
                </a:lnTo>
                <a:lnTo>
                  <a:pt x="648" y="175"/>
                </a:lnTo>
                <a:lnTo>
                  <a:pt x="617" y="160"/>
                </a:lnTo>
                <a:lnTo>
                  <a:pt x="617" y="109"/>
                </a:lnTo>
                <a:lnTo>
                  <a:pt x="576" y="95"/>
                </a:lnTo>
                <a:lnTo>
                  <a:pt x="541" y="110"/>
                </a:lnTo>
                <a:lnTo>
                  <a:pt x="541" y="80"/>
                </a:lnTo>
                <a:lnTo>
                  <a:pt x="439" y="71"/>
                </a:lnTo>
                <a:lnTo>
                  <a:pt x="403" y="29"/>
                </a:lnTo>
                <a:lnTo>
                  <a:pt x="368" y="0"/>
                </a:lnTo>
                <a:lnTo>
                  <a:pt x="325" y="17"/>
                </a:lnTo>
                <a:lnTo>
                  <a:pt x="315" y="71"/>
                </a:lnTo>
                <a:lnTo>
                  <a:pt x="264" y="71"/>
                </a:lnTo>
                <a:lnTo>
                  <a:pt x="247" y="34"/>
                </a:lnTo>
                <a:lnTo>
                  <a:pt x="214" y="17"/>
                </a:lnTo>
                <a:lnTo>
                  <a:pt x="140" y="71"/>
                </a:lnTo>
                <a:lnTo>
                  <a:pt x="93" y="67"/>
                </a:lnTo>
                <a:lnTo>
                  <a:pt x="100" y="42"/>
                </a:lnTo>
                <a:lnTo>
                  <a:pt x="26" y="27"/>
                </a:lnTo>
                <a:lnTo>
                  <a:pt x="0" y="38"/>
                </a:lnTo>
                <a:close/>
              </a:path>
            </a:pathLst>
          </a:custGeom>
          <a:solidFill>
            <a:schemeClr val="accent3"/>
          </a:solidFill>
          <a:ln w="12700">
            <a:solidFill>
              <a:schemeClr val="bg1"/>
            </a:solidFill>
            <a:round/>
            <a:headEnd/>
            <a:tailEnd/>
          </a:ln>
        </p:spPr>
        <p:txBody>
          <a:bodyPr/>
          <a:lstStyle/>
          <a:p>
            <a:pPr>
              <a:defRPr/>
            </a:pPr>
            <a:endParaRPr lang="nl-NL"/>
          </a:p>
        </p:txBody>
      </p:sp>
      <p:sp>
        <p:nvSpPr>
          <p:cNvPr id="42" name="Freeform 66"/>
          <p:cNvSpPr>
            <a:spLocks/>
          </p:cNvSpPr>
          <p:nvPr/>
        </p:nvSpPr>
        <p:spPr bwMode="auto">
          <a:xfrm>
            <a:off x="3909645" y="4422050"/>
            <a:ext cx="900890" cy="623475"/>
          </a:xfrm>
          <a:custGeom>
            <a:avLst/>
            <a:gdLst>
              <a:gd name="T0" fmla="*/ 608 w 848"/>
              <a:gd name="T1" fmla="*/ 28 h 538"/>
              <a:gd name="T2" fmla="*/ 557 w 848"/>
              <a:gd name="T3" fmla="*/ 15 h 538"/>
              <a:gd name="T4" fmla="*/ 538 w 848"/>
              <a:gd name="T5" fmla="*/ 32 h 538"/>
              <a:gd name="T6" fmla="*/ 432 w 848"/>
              <a:gd name="T7" fmla="*/ 32 h 538"/>
              <a:gd name="T8" fmla="*/ 369 w 848"/>
              <a:gd name="T9" fmla="*/ 19 h 538"/>
              <a:gd name="T10" fmla="*/ 358 w 848"/>
              <a:gd name="T11" fmla="*/ 40 h 538"/>
              <a:gd name="T12" fmla="*/ 316 w 848"/>
              <a:gd name="T13" fmla="*/ 40 h 538"/>
              <a:gd name="T14" fmla="*/ 283 w 848"/>
              <a:gd name="T15" fmla="*/ 4 h 538"/>
              <a:gd name="T16" fmla="*/ 225 w 848"/>
              <a:gd name="T17" fmla="*/ 0 h 538"/>
              <a:gd name="T18" fmla="*/ 147 w 848"/>
              <a:gd name="T19" fmla="*/ 55 h 538"/>
              <a:gd name="T20" fmla="*/ 162 w 848"/>
              <a:gd name="T21" fmla="*/ 112 h 538"/>
              <a:gd name="T22" fmla="*/ 128 w 848"/>
              <a:gd name="T23" fmla="*/ 112 h 538"/>
              <a:gd name="T24" fmla="*/ 76 w 848"/>
              <a:gd name="T25" fmla="*/ 165 h 538"/>
              <a:gd name="T26" fmla="*/ 86 w 848"/>
              <a:gd name="T27" fmla="*/ 245 h 538"/>
              <a:gd name="T28" fmla="*/ 0 w 848"/>
              <a:gd name="T29" fmla="*/ 285 h 538"/>
              <a:gd name="T30" fmla="*/ 36 w 848"/>
              <a:gd name="T31" fmla="*/ 325 h 538"/>
              <a:gd name="T32" fmla="*/ 36 w 848"/>
              <a:gd name="T33" fmla="*/ 351 h 538"/>
              <a:gd name="T34" fmla="*/ 78 w 848"/>
              <a:gd name="T35" fmla="*/ 336 h 538"/>
              <a:gd name="T36" fmla="*/ 114 w 848"/>
              <a:gd name="T37" fmla="*/ 351 h 538"/>
              <a:gd name="T38" fmla="*/ 114 w 848"/>
              <a:gd name="T39" fmla="*/ 399 h 538"/>
              <a:gd name="T40" fmla="*/ 147 w 848"/>
              <a:gd name="T41" fmla="*/ 418 h 538"/>
              <a:gd name="T42" fmla="*/ 179 w 848"/>
              <a:gd name="T43" fmla="*/ 407 h 538"/>
              <a:gd name="T44" fmla="*/ 215 w 848"/>
              <a:gd name="T45" fmla="*/ 426 h 538"/>
              <a:gd name="T46" fmla="*/ 204 w 848"/>
              <a:gd name="T47" fmla="*/ 448 h 538"/>
              <a:gd name="T48" fmla="*/ 289 w 848"/>
              <a:gd name="T49" fmla="*/ 479 h 538"/>
              <a:gd name="T50" fmla="*/ 367 w 848"/>
              <a:gd name="T51" fmla="*/ 496 h 538"/>
              <a:gd name="T52" fmla="*/ 384 w 848"/>
              <a:gd name="T53" fmla="*/ 538 h 538"/>
              <a:gd name="T54" fmla="*/ 428 w 848"/>
              <a:gd name="T55" fmla="*/ 524 h 538"/>
              <a:gd name="T56" fmla="*/ 432 w 848"/>
              <a:gd name="T57" fmla="*/ 486 h 538"/>
              <a:gd name="T58" fmla="*/ 494 w 848"/>
              <a:gd name="T59" fmla="*/ 494 h 538"/>
              <a:gd name="T60" fmla="*/ 508 w 848"/>
              <a:gd name="T61" fmla="*/ 462 h 538"/>
              <a:gd name="T62" fmla="*/ 551 w 848"/>
              <a:gd name="T63" fmla="*/ 448 h 538"/>
              <a:gd name="T64" fmla="*/ 584 w 848"/>
              <a:gd name="T65" fmla="*/ 469 h 538"/>
              <a:gd name="T66" fmla="*/ 688 w 848"/>
              <a:gd name="T67" fmla="*/ 426 h 538"/>
              <a:gd name="T68" fmla="*/ 702 w 848"/>
              <a:gd name="T69" fmla="*/ 448 h 538"/>
              <a:gd name="T70" fmla="*/ 728 w 848"/>
              <a:gd name="T71" fmla="*/ 416 h 538"/>
              <a:gd name="T72" fmla="*/ 707 w 848"/>
              <a:gd name="T73" fmla="*/ 376 h 538"/>
              <a:gd name="T74" fmla="*/ 723 w 848"/>
              <a:gd name="T75" fmla="*/ 327 h 538"/>
              <a:gd name="T76" fmla="*/ 774 w 848"/>
              <a:gd name="T77" fmla="*/ 336 h 538"/>
              <a:gd name="T78" fmla="*/ 774 w 848"/>
              <a:gd name="T79" fmla="*/ 266 h 538"/>
              <a:gd name="T80" fmla="*/ 802 w 848"/>
              <a:gd name="T81" fmla="*/ 268 h 538"/>
              <a:gd name="T82" fmla="*/ 804 w 848"/>
              <a:gd name="T83" fmla="*/ 243 h 538"/>
              <a:gd name="T84" fmla="*/ 785 w 848"/>
              <a:gd name="T85" fmla="*/ 228 h 538"/>
              <a:gd name="T86" fmla="*/ 848 w 848"/>
              <a:gd name="T87" fmla="*/ 154 h 538"/>
              <a:gd name="T88" fmla="*/ 829 w 848"/>
              <a:gd name="T89" fmla="*/ 131 h 538"/>
              <a:gd name="T90" fmla="*/ 751 w 848"/>
              <a:gd name="T91" fmla="*/ 112 h 538"/>
              <a:gd name="T92" fmla="*/ 751 w 848"/>
              <a:gd name="T93" fmla="*/ 83 h 538"/>
              <a:gd name="T94" fmla="*/ 802 w 848"/>
              <a:gd name="T95" fmla="*/ 23 h 538"/>
              <a:gd name="T96" fmla="*/ 797 w 848"/>
              <a:gd name="T97" fmla="*/ 0 h 538"/>
              <a:gd name="T98" fmla="*/ 757 w 848"/>
              <a:gd name="T99" fmla="*/ 0 h 538"/>
              <a:gd name="T100" fmla="*/ 745 w 848"/>
              <a:gd name="T101" fmla="*/ 19 h 538"/>
              <a:gd name="T102" fmla="*/ 719 w 848"/>
              <a:gd name="T103" fmla="*/ 0 h 538"/>
              <a:gd name="T104" fmla="*/ 608 w 848"/>
              <a:gd name="T105" fmla="*/ 28 h 538"/>
              <a:gd name="T106" fmla="*/ 608 w 848"/>
              <a:gd name="T107" fmla="*/ 28 h 538"/>
              <a:gd name="T108" fmla="*/ 608 w 848"/>
              <a:gd name="T109" fmla="*/ 28 h 5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48"/>
              <a:gd name="T166" fmla="*/ 0 h 538"/>
              <a:gd name="T167" fmla="*/ 848 w 848"/>
              <a:gd name="T168" fmla="*/ 538 h 5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48" h="538">
                <a:moveTo>
                  <a:pt x="608" y="28"/>
                </a:moveTo>
                <a:lnTo>
                  <a:pt x="557" y="15"/>
                </a:lnTo>
                <a:lnTo>
                  <a:pt x="538" y="32"/>
                </a:lnTo>
                <a:lnTo>
                  <a:pt x="432" y="32"/>
                </a:lnTo>
                <a:lnTo>
                  <a:pt x="369" y="19"/>
                </a:lnTo>
                <a:lnTo>
                  <a:pt x="358" y="40"/>
                </a:lnTo>
                <a:lnTo>
                  <a:pt x="316" y="40"/>
                </a:lnTo>
                <a:lnTo>
                  <a:pt x="283" y="4"/>
                </a:lnTo>
                <a:lnTo>
                  <a:pt x="225" y="0"/>
                </a:lnTo>
                <a:lnTo>
                  <a:pt x="147" y="55"/>
                </a:lnTo>
                <a:lnTo>
                  <a:pt x="162" y="112"/>
                </a:lnTo>
                <a:lnTo>
                  <a:pt x="128" y="112"/>
                </a:lnTo>
                <a:lnTo>
                  <a:pt x="76" y="165"/>
                </a:lnTo>
                <a:lnTo>
                  <a:pt x="86" y="245"/>
                </a:lnTo>
                <a:lnTo>
                  <a:pt x="0" y="285"/>
                </a:lnTo>
                <a:lnTo>
                  <a:pt x="36" y="325"/>
                </a:lnTo>
                <a:lnTo>
                  <a:pt x="36" y="351"/>
                </a:lnTo>
                <a:lnTo>
                  <a:pt x="78" y="336"/>
                </a:lnTo>
                <a:lnTo>
                  <a:pt x="114" y="351"/>
                </a:lnTo>
                <a:lnTo>
                  <a:pt x="114" y="399"/>
                </a:lnTo>
                <a:lnTo>
                  <a:pt x="147" y="418"/>
                </a:lnTo>
                <a:lnTo>
                  <a:pt x="179" y="407"/>
                </a:lnTo>
                <a:lnTo>
                  <a:pt x="215" y="426"/>
                </a:lnTo>
                <a:lnTo>
                  <a:pt x="204" y="448"/>
                </a:lnTo>
                <a:lnTo>
                  <a:pt x="289" y="479"/>
                </a:lnTo>
                <a:lnTo>
                  <a:pt x="367" y="496"/>
                </a:lnTo>
                <a:lnTo>
                  <a:pt x="384" y="538"/>
                </a:lnTo>
                <a:lnTo>
                  <a:pt x="428" y="524"/>
                </a:lnTo>
                <a:lnTo>
                  <a:pt x="432" y="486"/>
                </a:lnTo>
                <a:lnTo>
                  <a:pt x="494" y="494"/>
                </a:lnTo>
                <a:lnTo>
                  <a:pt x="508" y="462"/>
                </a:lnTo>
                <a:lnTo>
                  <a:pt x="551" y="448"/>
                </a:lnTo>
                <a:lnTo>
                  <a:pt x="584" y="469"/>
                </a:lnTo>
                <a:lnTo>
                  <a:pt x="688" y="426"/>
                </a:lnTo>
                <a:lnTo>
                  <a:pt x="702" y="448"/>
                </a:lnTo>
                <a:lnTo>
                  <a:pt x="728" y="416"/>
                </a:lnTo>
                <a:lnTo>
                  <a:pt x="707" y="376"/>
                </a:lnTo>
                <a:lnTo>
                  <a:pt x="723" y="327"/>
                </a:lnTo>
                <a:lnTo>
                  <a:pt x="774" y="336"/>
                </a:lnTo>
                <a:lnTo>
                  <a:pt x="774" y="266"/>
                </a:lnTo>
                <a:lnTo>
                  <a:pt x="802" y="268"/>
                </a:lnTo>
                <a:lnTo>
                  <a:pt x="804" y="243"/>
                </a:lnTo>
                <a:lnTo>
                  <a:pt x="785" y="228"/>
                </a:lnTo>
                <a:lnTo>
                  <a:pt x="848" y="154"/>
                </a:lnTo>
                <a:lnTo>
                  <a:pt x="829" y="131"/>
                </a:lnTo>
                <a:lnTo>
                  <a:pt x="751" y="112"/>
                </a:lnTo>
                <a:lnTo>
                  <a:pt x="751" y="83"/>
                </a:lnTo>
                <a:lnTo>
                  <a:pt x="802" y="23"/>
                </a:lnTo>
                <a:lnTo>
                  <a:pt x="797" y="0"/>
                </a:lnTo>
                <a:lnTo>
                  <a:pt x="757" y="0"/>
                </a:lnTo>
                <a:lnTo>
                  <a:pt x="745" y="19"/>
                </a:lnTo>
                <a:lnTo>
                  <a:pt x="719" y="0"/>
                </a:lnTo>
                <a:lnTo>
                  <a:pt x="608" y="28"/>
                </a:lnTo>
                <a:close/>
              </a:path>
            </a:pathLst>
          </a:custGeom>
          <a:solidFill>
            <a:schemeClr val="accent3"/>
          </a:solidFill>
          <a:ln w="12700">
            <a:solidFill>
              <a:schemeClr val="bg1"/>
            </a:solidFill>
            <a:round/>
            <a:headEnd/>
            <a:tailEnd/>
          </a:ln>
        </p:spPr>
        <p:txBody>
          <a:bodyPr/>
          <a:lstStyle/>
          <a:p>
            <a:pPr>
              <a:defRPr/>
            </a:pPr>
            <a:endParaRPr lang="nl-NL"/>
          </a:p>
        </p:txBody>
      </p:sp>
      <p:sp>
        <p:nvSpPr>
          <p:cNvPr id="43" name="Freeform 67"/>
          <p:cNvSpPr>
            <a:spLocks/>
          </p:cNvSpPr>
          <p:nvPr/>
        </p:nvSpPr>
        <p:spPr bwMode="auto">
          <a:xfrm>
            <a:off x="4163086" y="4918049"/>
            <a:ext cx="800791" cy="913194"/>
          </a:xfrm>
          <a:custGeom>
            <a:avLst/>
            <a:gdLst>
              <a:gd name="T0" fmla="*/ 726 w 751"/>
              <a:gd name="T1" fmla="*/ 265 h 787"/>
              <a:gd name="T2" fmla="*/ 671 w 751"/>
              <a:gd name="T3" fmla="*/ 276 h 787"/>
              <a:gd name="T4" fmla="*/ 612 w 751"/>
              <a:gd name="T5" fmla="*/ 166 h 787"/>
              <a:gd name="T6" fmla="*/ 549 w 751"/>
              <a:gd name="T7" fmla="*/ 132 h 787"/>
              <a:gd name="T8" fmla="*/ 496 w 751"/>
              <a:gd name="T9" fmla="*/ 154 h 787"/>
              <a:gd name="T10" fmla="*/ 467 w 751"/>
              <a:gd name="T11" fmla="*/ 132 h 787"/>
              <a:gd name="T12" fmla="*/ 467 w 751"/>
              <a:gd name="T13" fmla="*/ 111 h 787"/>
              <a:gd name="T14" fmla="*/ 502 w 751"/>
              <a:gd name="T15" fmla="*/ 76 h 787"/>
              <a:gd name="T16" fmla="*/ 448 w 751"/>
              <a:gd name="T17" fmla="*/ 0 h 787"/>
              <a:gd name="T18" fmla="*/ 344 w 751"/>
              <a:gd name="T19" fmla="*/ 44 h 787"/>
              <a:gd name="T20" fmla="*/ 311 w 751"/>
              <a:gd name="T21" fmla="*/ 19 h 787"/>
              <a:gd name="T22" fmla="*/ 268 w 751"/>
              <a:gd name="T23" fmla="*/ 35 h 787"/>
              <a:gd name="T24" fmla="*/ 254 w 751"/>
              <a:gd name="T25" fmla="*/ 67 h 787"/>
              <a:gd name="T26" fmla="*/ 192 w 751"/>
              <a:gd name="T27" fmla="*/ 57 h 787"/>
              <a:gd name="T28" fmla="*/ 190 w 751"/>
              <a:gd name="T29" fmla="*/ 97 h 787"/>
              <a:gd name="T30" fmla="*/ 165 w 751"/>
              <a:gd name="T31" fmla="*/ 107 h 787"/>
              <a:gd name="T32" fmla="*/ 201 w 751"/>
              <a:gd name="T33" fmla="*/ 145 h 787"/>
              <a:gd name="T34" fmla="*/ 201 w 751"/>
              <a:gd name="T35" fmla="*/ 293 h 787"/>
              <a:gd name="T36" fmla="*/ 167 w 751"/>
              <a:gd name="T37" fmla="*/ 312 h 787"/>
              <a:gd name="T38" fmla="*/ 125 w 751"/>
              <a:gd name="T39" fmla="*/ 291 h 787"/>
              <a:gd name="T40" fmla="*/ 24 w 751"/>
              <a:gd name="T41" fmla="*/ 356 h 787"/>
              <a:gd name="T42" fmla="*/ 24 w 751"/>
              <a:gd name="T43" fmla="*/ 381 h 787"/>
              <a:gd name="T44" fmla="*/ 0 w 751"/>
              <a:gd name="T45" fmla="*/ 375 h 787"/>
              <a:gd name="T46" fmla="*/ 0 w 751"/>
              <a:gd name="T47" fmla="*/ 394 h 787"/>
              <a:gd name="T48" fmla="*/ 47 w 751"/>
              <a:gd name="T49" fmla="*/ 411 h 787"/>
              <a:gd name="T50" fmla="*/ 24 w 751"/>
              <a:gd name="T51" fmla="*/ 557 h 787"/>
              <a:gd name="T52" fmla="*/ 81 w 751"/>
              <a:gd name="T53" fmla="*/ 679 h 787"/>
              <a:gd name="T54" fmla="*/ 230 w 751"/>
              <a:gd name="T55" fmla="*/ 639 h 787"/>
              <a:gd name="T56" fmla="*/ 262 w 751"/>
              <a:gd name="T57" fmla="*/ 533 h 787"/>
              <a:gd name="T58" fmla="*/ 342 w 751"/>
              <a:gd name="T59" fmla="*/ 468 h 787"/>
              <a:gd name="T60" fmla="*/ 395 w 751"/>
              <a:gd name="T61" fmla="*/ 483 h 787"/>
              <a:gd name="T62" fmla="*/ 387 w 751"/>
              <a:gd name="T63" fmla="*/ 554 h 787"/>
              <a:gd name="T64" fmla="*/ 298 w 751"/>
              <a:gd name="T65" fmla="*/ 664 h 787"/>
              <a:gd name="T66" fmla="*/ 368 w 751"/>
              <a:gd name="T67" fmla="*/ 675 h 787"/>
              <a:gd name="T68" fmla="*/ 378 w 751"/>
              <a:gd name="T69" fmla="*/ 757 h 787"/>
              <a:gd name="T70" fmla="*/ 441 w 751"/>
              <a:gd name="T71" fmla="*/ 787 h 787"/>
              <a:gd name="T72" fmla="*/ 505 w 751"/>
              <a:gd name="T73" fmla="*/ 766 h 787"/>
              <a:gd name="T74" fmla="*/ 553 w 751"/>
              <a:gd name="T75" fmla="*/ 732 h 787"/>
              <a:gd name="T76" fmla="*/ 538 w 751"/>
              <a:gd name="T77" fmla="*/ 662 h 787"/>
              <a:gd name="T78" fmla="*/ 483 w 751"/>
              <a:gd name="T79" fmla="*/ 666 h 787"/>
              <a:gd name="T80" fmla="*/ 454 w 751"/>
              <a:gd name="T81" fmla="*/ 609 h 787"/>
              <a:gd name="T82" fmla="*/ 509 w 751"/>
              <a:gd name="T83" fmla="*/ 592 h 787"/>
              <a:gd name="T84" fmla="*/ 513 w 751"/>
              <a:gd name="T85" fmla="*/ 512 h 787"/>
              <a:gd name="T86" fmla="*/ 559 w 751"/>
              <a:gd name="T87" fmla="*/ 544 h 787"/>
              <a:gd name="T88" fmla="*/ 591 w 751"/>
              <a:gd name="T89" fmla="*/ 540 h 787"/>
              <a:gd name="T90" fmla="*/ 621 w 751"/>
              <a:gd name="T91" fmla="*/ 618 h 787"/>
              <a:gd name="T92" fmla="*/ 627 w 751"/>
              <a:gd name="T93" fmla="*/ 536 h 787"/>
              <a:gd name="T94" fmla="*/ 678 w 751"/>
              <a:gd name="T95" fmla="*/ 536 h 787"/>
              <a:gd name="T96" fmla="*/ 678 w 751"/>
              <a:gd name="T97" fmla="*/ 504 h 787"/>
              <a:gd name="T98" fmla="*/ 595 w 751"/>
              <a:gd name="T99" fmla="*/ 428 h 787"/>
              <a:gd name="T100" fmla="*/ 682 w 751"/>
              <a:gd name="T101" fmla="*/ 384 h 787"/>
              <a:gd name="T102" fmla="*/ 707 w 751"/>
              <a:gd name="T103" fmla="*/ 402 h 787"/>
              <a:gd name="T104" fmla="*/ 751 w 751"/>
              <a:gd name="T105" fmla="*/ 375 h 787"/>
              <a:gd name="T106" fmla="*/ 751 w 751"/>
              <a:gd name="T107" fmla="*/ 335 h 787"/>
              <a:gd name="T108" fmla="*/ 678 w 751"/>
              <a:gd name="T109" fmla="*/ 335 h 787"/>
              <a:gd name="T110" fmla="*/ 676 w 751"/>
              <a:gd name="T111" fmla="*/ 303 h 787"/>
              <a:gd name="T112" fmla="*/ 733 w 751"/>
              <a:gd name="T113" fmla="*/ 295 h 787"/>
              <a:gd name="T114" fmla="*/ 726 w 751"/>
              <a:gd name="T115" fmla="*/ 265 h 787"/>
              <a:gd name="T116" fmla="*/ 726 w 751"/>
              <a:gd name="T117" fmla="*/ 265 h 787"/>
              <a:gd name="T118" fmla="*/ 726 w 751"/>
              <a:gd name="T119" fmla="*/ 265 h 7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1"/>
              <a:gd name="T181" fmla="*/ 0 h 787"/>
              <a:gd name="T182" fmla="*/ 751 w 751"/>
              <a:gd name="T183" fmla="*/ 787 h 78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1" h="787">
                <a:moveTo>
                  <a:pt x="726" y="265"/>
                </a:moveTo>
                <a:lnTo>
                  <a:pt x="671" y="276"/>
                </a:lnTo>
                <a:lnTo>
                  <a:pt x="612" y="166"/>
                </a:lnTo>
                <a:lnTo>
                  <a:pt x="549" y="132"/>
                </a:lnTo>
                <a:lnTo>
                  <a:pt x="496" y="154"/>
                </a:lnTo>
                <a:lnTo>
                  <a:pt x="467" y="132"/>
                </a:lnTo>
                <a:lnTo>
                  <a:pt x="467" y="111"/>
                </a:lnTo>
                <a:lnTo>
                  <a:pt x="502" y="76"/>
                </a:lnTo>
                <a:lnTo>
                  <a:pt x="448" y="0"/>
                </a:lnTo>
                <a:lnTo>
                  <a:pt x="344" y="44"/>
                </a:lnTo>
                <a:lnTo>
                  <a:pt x="311" y="19"/>
                </a:lnTo>
                <a:lnTo>
                  <a:pt x="268" y="35"/>
                </a:lnTo>
                <a:lnTo>
                  <a:pt x="254" y="67"/>
                </a:lnTo>
                <a:lnTo>
                  <a:pt x="192" y="57"/>
                </a:lnTo>
                <a:lnTo>
                  <a:pt x="190" y="97"/>
                </a:lnTo>
                <a:lnTo>
                  <a:pt x="165" y="107"/>
                </a:lnTo>
                <a:lnTo>
                  <a:pt x="201" y="145"/>
                </a:lnTo>
                <a:lnTo>
                  <a:pt x="201" y="293"/>
                </a:lnTo>
                <a:lnTo>
                  <a:pt x="167" y="312"/>
                </a:lnTo>
                <a:lnTo>
                  <a:pt x="125" y="291"/>
                </a:lnTo>
                <a:lnTo>
                  <a:pt x="24" y="356"/>
                </a:lnTo>
                <a:lnTo>
                  <a:pt x="24" y="381"/>
                </a:lnTo>
                <a:lnTo>
                  <a:pt x="0" y="375"/>
                </a:lnTo>
                <a:lnTo>
                  <a:pt x="0" y="394"/>
                </a:lnTo>
                <a:lnTo>
                  <a:pt x="47" y="411"/>
                </a:lnTo>
                <a:lnTo>
                  <a:pt x="24" y="557"/>
                </a:lnTo>
                <a:lnTo>
                  <a:pt x="81" y="679"/>
                </a:lnTo>
                <a:lnTo>
                  <a:pt x="230" y="639"/>
                </a:lnTo>
                <a:lnTo>
                  <a:pt x="262" y="533"/>
                </a:lnTo>
                <a:lnTo>
                  <a:pt x="342" y="468"/>
                </a:lnTo>
                <a:lnTo>
                  <a:pt x="395" y="483"/>
                </a:lnTo>
                <a:lnTo>
                  <a:pt x="387" y="554"/>
                </a:lnTo>
                <a:lnTo>
                  <a:pt x="298" y="664"/>
                </a:lnTo>
                <a:lnTo>
                  <a:pt x="368" y="675"/>
                </a:lnTo>
                <a:lnTo>
                  <a:pt x="378" y="757"/>
                </a:lnTo>
                <a:lnTo>
                  <a:pt x="441" y="787"/>
                </a:lnTo>
                <a:lnTo>
                  <a:pt x="505" y="766"/>
                </a:lnTo>
                <a:lnTo>
                  <a:pt x="553" y="732"/>
                </a:lnTo>
                <a:lnTo>
                  <a:pt x="538" y="662"/>
                </a:lnTo>
                <a:lnTo>
                  <a:pt x="483" y="666"/>
                </a:lnTo>
                <a:lnTo>
                  <a:pt x="454" y="609"/>
                </a:lnTo>
                <a:lnTo>
                  <a:pt x="509" y="592"/>
                </a:lnTo>
                <a:lnTo>
                  <a:pt x="513" y="512"/>
                </a:lnTo>
                <a:lnTo>
                  <a:pt x="559" y="544"/>
                </a:lnTo>
                <a:lnTo>
                  <a:pt x="591" y="540"/>
                </a:lnTo>
                <a:lnTo>
                  <a:pt x="621" y="618"/>
                </a:lnTo>
                <a:lnTo>
                  <a:pt x="627" y="536"/>
                </a:lnTo>
                <a:lnTo>
                  <a:pt x="678" y="536"/>
                </a:lnTo>
                <a:lnTo>
                  <a:pt x="678" y="504"/>
                </a:lnTo>
                <a:lnTo>
                  <a:pt x="595" y="428"/>
                </a:lnTo>
                <a:lnTo>
                  <a:pt x="682" y="384"/>
                </a:lnTo>
                <a:lnTo>
                  <a:pt x="707" y="402"/>
                </a:lnTo>
                <a:lnTo>
                  <a:pt x="751" y="375"/>
                </a:lnTo>
                <a:lnTo>
                  <a:pt x="751" y="335"/>
                </a:lnTo>
                <a:lnTo>
                  <a:pt x="678" y="335"/>
                </a:lnTo>
                <a:lnTo>
                  <a:pt x="676" y="303"/>
                </a:lnTo>
                <a:lnTo>
                  <a:pt x="733" y="295"/>
                </a:lnTo>
                <a:lnTo>
                  <a:pt x="726" y="265"/>
                </a:lnTo>
                <a:close/>
              </a:path>
            </a:pathLst>
          </a:custGeom>
          <a:solidFill>
            <a:schemeClr val="accent3"/>
          </a:solidFill>
          <a:ln w="12700">
            <a:solidFill>
              <a:schemeClr val="bg1"/>
            </a:solidFill>
            <a:round/>
            <a:headEnd/>
            <a:tailEnd/>
          </a:ln>
        </p:spPr>
        <p:txBody>
          <a:bodyPr/>
          <a:lstStyle/>
          <a:p>
            <a:pPr>
              <a:defRPr/>
            </a:pPr>
            <a:endParaRPr lang="nl-NL"/>
          </a:p>
        </p:txBody>
      </p:sp>
      <p:sp>
        <p:nvSpPr>
          <p:cNvPr id="44" name="Freeform 68"/>
          <p:cNvSpPr>
            <a:spLocks/>
          </p:cNvSpPr>
          <p:nvPr/>
        </p:nvSpPr>
        <p:spPr bwMode="auto">
          <a:xfrm>
            <a:off x="4665710" y="4116107"/>
            <a:ext cx="598464" cy="746316"/>
          </a:xfrm>
          <a:custGeom>
            <a:avLst/>
            <a:gdLst>
              <a:gd name="T0" fmla="*/ 342 w 563"/>
              <a:gd name="T1" fmla="*/ 0 h 642"/>
              <a:gd name="T2" fmla="*/ 300 w 563"/>
              <a:gd name="T3" fmla="*/ 26 h 642"/>
              <a:gd name="T4" fmla="*/ 165 w 563"/>
              <a:gd name="T5" fmla="*/ 15 h 642"/>
              <a:gd name="T6" fmla="*/ 158 w 563"/>
              <a:gd name="T7" fmla="*/ 87 h 642"/>
              <a:gd name="T8" fmla="*/ 175 w 563"/>
              <a:gd name="T9" fmla="*/ 161 h 642"/>
              <a:gd name="T10" fmla="*/ 93 w 563"/>
              <a:gd name="T11" fmla="*/ 178 h 642"/>
              <a:gd name="T12" fmla="*/ 0 w 563"/>
              <a:gd name="T13" fmla="*/ 256 h 642"/>
              <a:gd name="T14" fmla="*/ 10 w 563"/>
              <a:gd name="T15" fmla="*/ 268 h 642"/>
              <a:gd name="T16" fmla="*/ 34 w 563"/>
              <a:gd name="T17" fmla="*/ 283 h 642"/>
              <a:gd name="T18" fmla="*/ 46 w 563"/>
              <a:gd name="T19" fmla="*/ 264 h 642"/>
              <a:gd name="T20" fmla="*/ 86 w 563"/>
              <a:gd name="T21" fmla="*/ 264 h 642"/>
              <a:gd name="T22" fmla="*/ 88 w 563"/>
              <a:gd name="T23" fmla="*/ 287 h 642"/>
              <a:gd name="T24" fmla="*/ 38 w 563"/>
              <a:gd name="T25" fmla="*/ 349 h 642"/>
              <a:gd name="T26" fmla="*/ 38 w 563"/>
              <a:gd name="T27" fmla="*/ 376 h 642"/>
              <a:gd name="T28" fmla="*/ 118 w 563"/>
              <a:gd name="T29" fmla="*/ 397 h 642"/>
              <a:gd name="T30" fmla="*/ 135 w 563"/>
              <a:gd name="T31" fmla="*/ 420 h 642"/>
              <a:gd name="T32" fmla="*/ 74 w 563"/>
              <a:gd name="T33" fmla="*/ 492 h 642"/>
              <a:gd name="T34" fmla="*/ 91 w 563"/>
              <a:gd name="T35" fmla="*/ 507 h 642"/>
              <a:gd name="T36" fmla="*/ 93 w 563"/>
              <a:gd name="T37" fmla="*/ 532 h 642"/>
              <a:gd name="T38" fmla="*/ 63 w 563"/>
              <a:gd name="T39" fmla="*/ 530 h 642"/>
              <a:gd name="T40" fmla="*/ 63 w 563"/>
              <a:gd name="T41" fmla="*/ 602 h 642"/>
              <a:gd name="T42" fmla="*/ 93 w 563"/>
              <a:gd name="T43" fmla="*/ 633 h 642"/>
              <a:gd name="T44" fmla="*/ 131 w 563"/>
              <a:gd name="T45" fmla="*/ 642 h 642"/>
              <a:gd name="T46" fmla="*/ 112 w 563"/>
              <a:gd name="T47" fmla="*/ 598 h 642"/>
              <a:gd name="T48" fmla="*/ 211 w 563"/>
              <a:gd name="T49" fmla="*/ 596 h 642"/>
              <a:gd name="T50" fmla="*/ 226 w 563"/>
              <a:gd name="T51" fmla="*/ 558 h 642"/>
              <a:gd name="T52" fmla="*/ 283 w 563"/>
              <a:gd name="T53" fmla="*/ 574 h 642"/>
              <a:gd name="T54" fmla="*/ 325 w 563"/>
              <a:gd name="T55" fmla="*/ 547 h 642"/>
              <a:gd name="T56" fmla="*/ 437 w 563"/>
              <a:gd name="T57" fmla="*/ 530 h 642"/>
              <a:gd name="T58" fmla="*/ 413 w 563"/>
              <a:gd name="T59" fmla="*/ 450 h 642"/>
              <a:gd name="T60" fmla="*/ 513 w 563"/>
              <a:gd name="T61" fmla="*/ 345 h 642"/>
              <a:gd name="T62" fmla="*/ 477 w 563"/>
              <a:gd name="T63" fmla="*/ 319 h 642"/>
              <a:gd name="T64" fmla="*/ 563 w 563"/>
              <a:gd name="T65" fmla="*/ 125 h 642"/>
              <a:gd name="T66" fmla="*/ 392 w 563"/>
              <a:gd name="T67" fmla="*/ 74 h 642"/>
              <a:gd name="T68" fmla="*/ 342 w 563"/>
              <a:gd name="T69" fmla="*/ 0 h 642"/>
              <a:gd name="T70" fmla="*/ 342 w 563"/>
              <a:gd name="T71" fmla="*/ 0 h 642"/>
              <a:gd name="T72" fmla="*/ 342 w 563"/>
              <a:gd name="T73" fmla="*/ 0 h 6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63"/>
              <a:gd name="T112" fmla="*/ 0 h 642"/>
              <a:gd name="T113" fmla="*/ 563 w 563"/>
              <a:gd name="T114" fmla="*/ 642 h 6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63" h="642">
                <a:moveTo>
                  <a:pt x="342" y="0"/>
                </a:moveTo>
                <a:lnTo>
                  <a:pt x="300" y="26"/>
                </a:lnTo>
                <a:lnTo>
                  <a:pt x="165" y="15"/>
                </a:lnTo>
                <a:lnTo>
                  <a:pt x="158" y="87"/>
                </a:lnTo>
                <a:lnTo>
                  <a:pt x="175" y="161"/>
                </a:lnTo>
                <a:lnTo>
                  <a:pt x="93" y="178"/>
                </a:lnTo>
                <a:lnTo>
                  <a:pt x="0" y="256"/>
                </a:lnTo>
                <a:lnTo>
                  <a:pt x="10" y="268"/>
                </a:lnTo>
                <a:lnTo>
                  <a:pt x="34" y="283"/>
                </a:lnTo>
                <a:lnTo>
                  <a:pt x="46" y="264"/>
                </a:lnTo>
                <a:lnTo>
                  <a:pt x="86" y="264"/>
                </a:lnTo>
                <a:lnTo>
                  <a:pt x="88" y="287"/>
                </a:lnTo>
                <a:lnTo>
                  <a:pt x="38" y="349"/>
                </a:lnTo>
                <a:lnTo>
                  <a:pt x="38" y="376"/>
                </a:lnTo>
                <a:lnTo>
                  <a:pt x="118" y="397"/>
                </a:lnTo>
                <a:lnTo>
                  <a:pt x="135" y="420"/>
                </a:lnTo>
                <a:lnTo>
                  <a:pt x="74" y="492"/>
                </a:lnTo>
                <a:lnTo>
                  <a:pt x="91" y="507"/>
                </a:lnTo>
                <a:lnTo>
                  <a:pt x="93" y="532"/>
                </a:lnTo>
                <a:lnTo>
                  <a:pt x="63" y="530"/>
                </a:lnTo>
                <a:lnTo>
                  <a:pt x="63" y="602"/>
                </a:lnTo>
                <a:lnTo>
                  <a:pt x="93" y="633"/>
                </a:lnTo>
                <a:lnTo>
                  <a:pt x="131" y="642"/>
                </a:lnTo>
                <a:lnTo>
                  <a:pt x="112" y="598"/>
                </a:lnTo>
                <a:lnTo>
                  <a:pt x="211" y="596"/>
                </a:lnTo>
                <a:lnTo>
                  <a:pt x="226" y="558"/>
                </a:lnTo>
                <a:lnTo>
                  <a:pt x="283" y="574"/>
                </a:lnTo>
                <a:lnTo>
                  <a:pt x="325" y="547"/>
                </a:lnTo>
                <a:lnTo>
                  <a:pt x="437" y="530"/>
                </a:lnTo>
                <a:lnTo>
                  <a:pt x="413" y="450"/>
                </a:lnTo>
                <a:lnTo>
                  <a:pt x="513" y="345"/>
                </a:lnTo>
                <a:lnTo>
                  <a:pt x="477" y="319"/>
                </a:lnTo>
                <a:lnTo>
                  <a:pt x="563" y="125"/>
                </a:lnTo>
                <a:lnTo>
                  <a:pt x="392" y="74"/>
                </a:lnTo>
                <a:lnTo>
                  <a:pt x="342" y="0"/>
                </a:lnTo>
                <a:close/>
              </a:path>
            </a:pathLst>
          </a:custGeom>
          <a:solidFill>
            <a:schemeClr val="accent3"/>
          </a:solidFill>
          <a:ln w="12700">
            <a:solidFill>
              <a:schemeClr val="bg1"/>
            </a:solidFill>
            <a:round/>
            <a:headEnd/>
            <a:tailEnd/>
          </a:ln>
        </p:spPr>
        <p:txBody>
          <a:bodyPr/>
          <a:lstStyle/>
          <a:p>
            <a:pPr>
              <a:defRPr/>
            </a:pPr>
            <a:endParaRPr lang="nl-NL"/>
          </a:p>
        </p:txBody>
      </p:sp>
      <p:sp>
        <p:nvSpPr>
          <p:cNvPr id="45" name="Freeform 69"/>
          <p:cNvSpPr>
            <a:spLocks/>
          </p:cNvSpPr>
          <p:nvPr/>
        </p:nvSpPr>
        <p:spPr bwMode="auto">
          <a:xfrm>
            <a:off x="4657191" y="4723358"/>
            <a:ext cx="986081" cy="743998"/>
          </a:xfrm>
          <a:custGeom>
            <a:avLst/>
            <a:gdLst>
              <a:gd name="T0" fmla="*/ 688 w 925"/>
              <a:gd name="T1" fmla="*/ 38 h 643"/>
              <a:gd name="T2" fmla="*/ 515 w 925"/>
              <a:gd name="T3" fmla="*/ 0 h 643"/>
              <a:gd name="T4" fmla="*/ 456 w 925"/>
              <a:gd name="T5" fmla="*/ 40 h 643"/>
              <a:gd name="T6" fmla="*/ 444 w 925"/>
              <a:gd name="T7" fmla="*/ 8 h 643"/>
              <a:gd name="T8" fmla="*/ 332 w 925"/>
              <a:gd name="T9" fmla="*/ 23 h 643"/>
              <a:gd name="T10" fmla="*/ 290 w 925"/>
              <a:gd name="T11" fmla="*/ 52 h 643"/>
              <a:gd name="T12" fmla="*/ 231 w 925"/>
              <a:gd name="T13" fmla="*/ 36 h 643"/>
              <a:gd name="T14" fmla="*/ 218 w 925"/>
              <a:gd name="T15" fmla="*/ 76 h 643"/>
              <a:gd name="T16" fmla="*/ 121 w 925"/>
              <a:gd name="T17" fmla="*/ 72 h 643"/>
              <a:gd name="T18" fmla="*/ 136 w 925"/>
              <a:gd name="T19" fmla="*/ 122 h 643"/>
              <a:gd name="T20" fmla="*/ 100 w 925"/>
              <a:gd name="T21" fmla="*/ 109 h 643"/>
              <a:gd name="T22" fmla="*/ 72 w 925"/>
              <a:gd name="T23" fmla="*/ 78 h 643"/>
              <a:gd name="T24" fmla="*/ 17 w 925"/>
              <a:gd name="T25" fmla="*/ 67 h 643"/>
              <a:gd name="T26" fmla="*/ 3 w 925"/>
              <a:gd name="T27" fmla="*/ 120 h 643"/>
              <a:gd name="T28" fmla="*/ 22 w 925"/>
              <a:gd name="T29" fmla="*/ 160 h 643"/>
              <a:gd name="T30" fmla="*/ 0 w 925"/>
              <a:gd name="T31" fmla="*/ 190 h 643"/>
              <a:gd name="T32" fmla="*/ 38 w 925"/>
              <a:gd name="T33" fmla="*/ 244 h 643"/>
              <a:gd name="T34" fmla="*/ 1 w 925"/>
              <a:gd name="T35" fmla="*/ 282 h 643"/>
              <a:gd name="T36" fmla="*/ 3 w 925"/>
              <a:gd name="T37" fmla="*/ 301 h 643"/>
              <a:gd name="T38" fmla="*/ 32 w 925"/>
              <a:gd name="T39" fmla="*/ 321 h 643"/>
              <a:gd name="T40" fmla="*/ 85 w 925"/>
              <a:gd name="T41" fmla="*/ 301 h 643"/>
              <a:gd name="T42" fmla="*/ 148 w 925"/>
              <a:gd name="T43" fmla="*/ 335 h 643"/>
              <a:gd name="T44" fmla="*/ 207 w 925"/>
              <a:gd name="T45" fmla="*/ 447 h 643"/>
              <a:gd name="T46" fmla="*/ 262 w 925"/>
              <a:gd name="T47" fmla="*/ 434 h 643"/>
              <a:gd name="T48" fmla="*/ 288 w 925"/>
              <a:gd name="T49" fmla="*/ 398 h 643"/>
              <a:gd name="T50" fmla="*/ 271 w 925"/>
              <a:gd name="T51" fmla="*/ 354 h 643"/>
              <a:gd name="T52" fmla="*/ 340 w 925"/>
              <a:gd name="T53" fmla="*/ 354 h 643"/>
              <a:gd name="T54" fmla="*/ 347 w 925"/>
              <a:gd name="T55" fmla="*/ 405 h 643"/>
              <a:gd name="T56" fmla="*/ 433 w 925"/>
              <a:gd name="T57" fmla="*/ 358 h 643"/>
              <a:gd name="T58" fmla="*/ 414 w 925"/>
              <a:gd name="T59" fmla="*/ 415 h 643"/>
              <a:gd name="T60" fmla="*/ 486 w 925"/>
              <a:gd name="T61" fmla="*/ 451 h 643"/>
              <a:gd name="T62" fmla="*/ 467 w 925"/>
              <a:gd name="T63" fmla="*/ 468 h 643"/>
              <a:gd name="T64" fmla="*/ 501 w 925"/>
              <a:gd name="T65" fmla="*/ 502 h 643"/>
              <a:gd name="T66" fmla="*/ 494 w 925"/>
              <a:gd name="T67" fmla="*/ 534 h 643"/>
              <a:gd name="T68" fmla="*/ 535 w 925"/>
              <a:gd name="T69" fmla="*/ 559 h 643"/>
              <a:gd name="T70" fmla="*/ 551 w 925"/>
              <a:gd name="T71" fmla="*/ 548 h 643"/>
              <a:gd name="T72" fmla="*/ 627 w 925"/>
              <a:gd name="T73" fmla="*/ 574 h 643"/>
              <a:gd name="T74" fmla="*/ 547 w 925"/>
              <a:gd name="T75" fmla="*/ 500 h 643"/>
              <a:gd name="T76" fmla="*/ 564 w 925"/>
              <a:gd name="T77" fmla="*/ 462 h 643"/>
              <a:gd name="T78" fmla="*/ 613 w 925"/>
              <a:gd name="T79" fmla="*/ 470 h 643"/>
              <a:gd name="T80" fmla="*/ 678 w 925"/>
              <a:gd name="T81" fmla="*/ 468 h 643"/>
              <a:gd name="T82" fmla="*/ 667 w 925"/>
              <a:gd name="T83" fmla="*/ 612 h 643"/>
              <a:gd name="T84" fmla="*/ 720 w 925"/>
              <a:gd name="T85" fmla="*/ 643 h 643"/>
              <a:gd name="T86" fmla="*/ 794 w 925"/>
              <a:gd name="T87" fmla="*/ 601 h 643"/>
              <a:gd name="T88" fmla="*/ 794 w 925"/>
              <a:gd name="T89" fmla="*/ 548 h 643"/>
              <a:gd name="T90" fmla="*/ 925 w 925"/>
              <a:gd name="T91" fmla="*/ 455 h 643"/>
              <a:gd name="T92" fmla="*/ 891 w 925"/>
              <a:gd name="T93" fmla="*/ 301 h 643"/>
              <a:gd name="T94" fmla="*/ 828 w 925"/>
              <a:gd name="T95" fmla="*/ 289 h 643"/>
              <a:gd name="T96" fmla="*/ 781 w 925"/>
              <a:gd name="T97" fmla="*/ 244 h 643"/>
              <a:gd name="T98" fmla="*/ 870 w 925"/>
              <a:gd name="T99" fmla="*/ 160 h 643"/>
              <a:gd name="T100" fmla="*/ 853 w 925"/>
              <a:gd name="T101" fmla="*/ 150 h 643"/>
              <a:gd name="T102" fmla="*/ 796 w 925"/>
              <a:gd name="T103" fmla="*/ 143 h 643"/>
              <a:gd name="T104" fmla="*/ 771 w 925"/>
              <a:gd name="T105" fmla="*/ 72 h 643"/>
              <a:gd name="T106" fmla="*/ 688 w 925"/>
              <a:gd name="T107" fmla="*/ 38 h 643"/>
              <a:gd name="T108" fmla="*/ 688 w 925"/>
              <a:gd name="T109" fmla="*/ 38 h 643"/>
              <a:gd name="T110" fmla="*/ 688 w 925"/>
              <a:gd name="T111" fmla="*/ 38 h 64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25"/>
              <a:gd name="T169" fmla="*/ 0 h 643"/>
              <a:gd name="T170" fmla="*/ 925 w 925"/>
              <a:gd name="T171" fmla="*/ 643 h 64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25" h="643">
                <a:moveTo>
                  <a:pt x="688" y="38"/>
                </a:moveTo>
                <a:lnTo>
                  <a:pt x="515" y="0"/>
                </a:lnTo>
                <a:lnTo>
                  <a:pt x="456" y="40"/>
                </a:lnTo>
                <a:lnTo>
                  <a:pt x="444" y="8"/>
                </a:lnTo>
                <a:lnTo>
                  <a:pt x="332" y="23"/>
                </a:lnTo>
                <a:lnTo>
                  <a:pt x="290" y="52"/>
                </a:lnTo>
                <a:lnTo>
                  <a:pt x="231" y="36"/>
                </a:lnTo>
                <a:lnTo>
                  <a:pt x="218" y="76"/>
                </a:lnTo>
                <a:lnTo>
                  <a:pt x="121" y="72"/>
                </a:lnTo>
                <a:lnTo>
                  <a:pt x="136" y="122"/>
                </a:lnTo>
                <a:lnTo>
                  <a:pt x="100" y="109"/>
                </a:lnTo>
                <a:lnTo>
                  <a:pt x="72" y="78"/>
                </a:lnTo>
                <a:lnTo>
                  <a:pt x="17" y="67"/>
                </a:lnTo>
                <a:lnTo>
                  <a:pt x="3" y="120"/>
                </a:lnTo>
                <a:lnTo>
                  <a:pt x="22" y="160"/>
                </a:lnTo>
                <a:lnTo>
                  <a:pt x="0" y="190"/>
                </a:lnTo>
                <a:lnTo>
                  <a:pt x="38" y="244"/>
                </a:lnTo>
                <a:lnTo>
                  <a:pt x="1" y="282"/>
                </a:lnTo>
                <a:lnTo>
                  <a:pt x="3" y="301"/>
                </a:lnTo>
                <a:lnTo>
                  <a:pt x="32" y="321"/>
                </a:lnTo>
                <a:lnTo>
                  <a:pt x="85" y="301"/>
                </a:lnTo>
                <a:lnTo>
                  <a:pt x="148" y="335"/>
                </a:lnTo>
                <a:lnTo>
                  <a:pt x="207" y="447"/>
                </a:lnTo>
                <a:lnTo>
                  <a:pt x="262" y="434"/>
                </a:lnTo>
                <a:lnTo>
                  <a:pt x="288" y="398"/>
                </a:lnTo>
                <a:lnTo>
                  <a:pt x="271" y="354"/>
                </a:lnTo>
                <a:lnTo>
                  <a:pt x="340" y="354"/>
                </a:lnTo>
                <a:lnTo>
                  <a:pt x="347" y="405"/>
                </a:lnTo>
                <a:lnTo>
                  <a:pt x="433" y="358"/>
                </a:lnTo>
                <a:lnTo>
                  <a:pt x="414" y="415"/>
                </a:lnTo>
                <a:lnTo>
                  <a:pt x="486" y="451"/>
                </a:lnTo>
                <a:lnTo>
                  <a:pt x="467" y="468"/>
                </a:lnTo>
                <a:lnTo>
                  <a:pt x="501" y="502"/>
                </a:lnTo>
                <a:lnTo>
                  <a:pt x="494" y="534"/>
                </a:lnTo>
                <a:lnTo>
                  <a:pt x="535" y="559"/>
                </a:lnTo>
                <a:lnTo>
                  <a:pt x="551" y="548"/>
                </a:lnTo>
                <a:lnTo>
                  <a:pt x="627" y="574"/>
                </a:lnTo>
                <a:lnTo>
                  <a:pt x="547" y="500"/>
                </a:lnTo>
                <a:lnTo>
                  <a:pt x="564" y="462"/>
                </a:lnTo>
                <a:lnTo>
                  <a:pt x="613" y="470"/>
                </a:lnTo>
                <a:lnTo>
                  <a:pt x="678" y="468"/>
                </a:lnTo>
                <a:lnTo>
                  <a:pt x="667" y="612"/>
                </a:lnTo>
                <a:lnTo>
                  <a:pt x="720" y="643"/>
                </a:lnTo>
                <a:lnTo>
                  <a:pt x="794" y="601"/>
                </a:lnTo>
                <a:lnTo>
                  <a:pt x="794" y="548"/>
                </a:lnTo>
                <a:lnTo>
                  <a:pt x="925" y="455"/>
                </a:lnTo>
                <a:lnTo>
                  <a:pt x="891" y="301"/>
                </a:lnTo>
                <a:lnTo>
                  <a:pt x="828" y="289"/>
                </a:lnTo>
                <a:lnTo>
                  <a:pt x="781" y="244"/>
                </a:lnTo>
                <a:lnTo>
                  <a:pt x="870" y="160"/>
                </a:lnTo>
                <a:lnTo>
                  <a:pt x="853" y="150"/>
                </a:lnTo>
                <a:lnTo>
                  <a:pt x="796" y="143"/>
                </a:lnTo>
                <a:lnTo>
                  <a:pt x="771" y="72"/>
                </a:lnTo>
                <a:lnTo>
                  <a:pt x="688" y="38"/>
                </a:lnTo>
                <a:close/>
              </a:path>
            </a:pathLst>
          </a:custGeom>
          <a:solidFill>
            <a:schemeClr val="accent3"/>
          </a:solidFill>
          <a:ln w="12700">
            <a:solidFill>
              <a:schemeClr val="bg1"/>
            </a:solidFill>
            <a:round/>
            <a:headEnd/>
            <a:tailEnd/>
          </a:ln>
        </p:spPr>
        <p:txBody>
          <a:bodyPr/>
          <a:lstStyle/>
          <a:p>
            <a:pPr>
              <a:defRPr/>
            </a:pPr>
            <a:endParaRPr lang="nl-NL"/>
          </a:p>
        </p:txBody>
      </p:sp>
      <p:sp>
        <p:nvSpPr>
          <p:cNvPr id="46" name="Freeform 70"/>
          <p:cNvSpPr>
            <a:spLocks/>
          </p:cNvSpPr>
          <p:nvPr/>
        </p:nvSpPr>
        <p:spPr bwMode="auto">
          <a:xfrm>
            <a:off x="4565612" y="5131282"/>
            <a:ext cx="815700" cy="1093979"/>
          </a:xfrm>
          <a:custGeom>
            <a:avLst/>
            <a:gdLst>
              <a:gd name="T0" fmla="*/ 766 w 766"/>
              <a:gd name="T1" fmla="*/ 112 h 943"/>
              <a:gd name="T2" fmla="*/ 652 w 766"/>
              <a:gd name="T3" fmla="*/ 106 h 943"/>
              <a:gd name="T4" fmla="*/ 713 w 766"/>
              <a:gd name="T5" fmla="*/ 220 h 943"/>
              <a:gd name="T6" fmla="*/ 622 w 766"/>
              <a:gd name="T7" fmla="*/ 203 h 943"/>
              <a:gd name="T8" fmla="*/ 591 w 766"/>
              <a:gd name="T9" fmla="*/ 142 h 943"/>
              <a:gd name="T10" fmla="*/ 574 w 766"/>
              <a:gd name="T11" fmla="*/ 97 h 943"/>
              <a:gd name="T12" fmla="*/ 523 w 766"/>
              <a:gd name="T13" fmla="*/ 2 h 943"/>
              <a:gd name="T14" fmla="*/ 426 w 766"/>
              <a:gd name="T15" fmla="*/ 0 h 943"/>
              <a:gd name="T16" fmla="*/ 375 w 766"/>
              <a:gd name="T17" fmla="*/ 45 h 943"/>
              <a:gd name="T18" fmla="*/ 356 w 766"/>
              <a:gd name="T19" fmla="*/ 110 h 943"/>
              <a:gd name="T20" fmla="*/ 302 w 766"/>
              <a:gd name="T21" fmla="*/ 150 h 943"/>
              <a:gd name="T22" fmla="*/ 375 w 766"/>
              <a:gd name="T23" fmla="*/ 190 h 943"/>
              <a:gd name="T24" fmla="*/ 304 w 766"/>
              <a:gd name="T25" fmla="*/ 199 h 943"/>
              <a:gd name="T26" fmla="*/ 302 w 766"/>
              <a:gd name="T27" fmla="*/ 321 h 943"/>
              <a:gd name="T28" fmla="*/ 251 w 766"/>
              <a:gd name="T29" fmla="*/ 351 h 943"/>
              <a:gd name="T30" fmla="*/ 213 w 766"/>
              <a:gd name="T31" fmla="*/ 353 h 943"/>
              <a:gd name="T32" fmla="*/ 135 w 766"/>
              <a:gd name="T33" fmla="*/ 321 h 943"/>
              <a:gd name="T34" fmla="*/ 78 w 766"/>
              <a:gd name="T35" fmla="*/ 422 h 943"/>
              <a:gd name="T36" fmla="*/ 162 w 766"/>
              <a:gd name="T37" fmla="*/ 481 h 943"/>
              <a:gd name="T38" fmla="*/ 118 w 766"/>
              <a:gd name="T39" fmla="*/ 583 h 943"/>
              <a:gd name="T40" fmla="*/ 0 w 766"/>
              <a:gd name="T41" fmla="*/ 570 h 943"/>
              <a:gd name="T42" fmla="*/ 59 w 766"/>
              <a:gd name="T43" fmla="*/ 669 h 943"/>
              <a:gd name="T44" fmla="*/ 194 w 766"/>
              <a:gd name="T45" fmla="*/ 779 h 943"/>
              <a:gd name="T46" fmla="*/ 298 w 766"/>
              <a:gd name="T47" fmla="*/ 832 h 943"/>
              <a:gd name="T48" fmla="*/ 395 w 766"/>
              <a:gd name="T49" fmla="*/ 943 h 943"/>
              <a:gd name="T50" fmla="*/ 473 w 766"/>
              <a:gd name="T51" fmla="*/ 912 h 943"/>
              <a:gd name="T52" fmla="*/ 660 w 766"/>
              <a:gd name="T53" fmla="*/ 889 h 943"/>
              <a:gd name="T54" fmla="*/ 644 w 766"/>
              <a:gd name="T55" fmla="*/ 760 h 943"/>
              <a:gd name="T56" fmla="*/ 568 w 766"/>
              <a:gd name="T57" fmla="*/ 610 h 943"/>
              <a:gd name="T58" fmla="*/ 639 w 766"/>
              <a:gd name="T59" fmla="*/ 466 h 943"/>
              <a:gd name="T60" fmla="*/ 686 w 766"/>
              <a:gd name="T61" fmla="*/ 332 h 943"/>
              <a:gd name="T62" fmla="*/ 758 w 766"/>
              <a:gd name="T63" fmla="*/ 258 h 943"/>
              <a:gd name="T64" fmla="*/ 758 w 766"/>
              <a:gd name="T65" fmla="*/ 258 h 9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66"/>
              <a:gd name="T100" fmla="*/ 0 h 943"/>
              <a:gd name="T101" fmla="*/ 766 w 766"/>
              <a:gd name="T102" fmla="*/ 943 h 94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66" h="943">
                <a:moveTo>
                  <a:pt x="758" y="258"/>
                </a:moveTo>
                <a:lnTo>
                  <a:pt x="766" y="112"/>
                </a:lnTo>
                <a:lnTo>
                  <a:pt x="694" y="112"/>
                </a:lnTo>
                <a:lnTo>
                  <a:pt x="652" y="106"/>
                </a:lnTo>
                <a:lnTo>
                  <a:pt x="633" y="150"/>
                </a:lnTo>
                <a:lnTo>
                  <a:pt x="713" y="220"/>
                </a:lnTo>
                <a:lnTo>
                  <a:pt x="641" y="194"/>
                </a:lnTo>
                <a:lnTo>
                  <a:pt x="622" y="203"/>
                </a:lnTo>
                <a:lnTo>
                  <a:pt x="582" y="178"/>
                </a:lnTo>
                <a:lnTo>
                  <a:pt x="591" y="142"/>
                </a:lnTo>
                <a:lnTo>
                  <a:pt x="555" y="112"/>
                </a:lnTo>
                <a:lnTo>
                  <a:pt x="574" y="97"/>
                </a:lnTo>
                <a:lnTo>
                  <a:pt x="504" y="59"/>
                </a:lnTo>
                <a:lnTo>
                  <a:pt x="523" y="2"/>
                </a:lnTo>
                <a:lnTo>
                  <a:pt x="437" y="49"/>
                </a:lnTo>
                <a:lnTo>
                  <a:pt x="426" y="0"/>
                </a:lnTo>
                <a:lnTo>
                  <a:pt x="359" y="0"/>
                </a:lnTo>
                <a:lnTo>
                  <a:pt x="375" y="45"/>
                </a:lnTo>
                <a:lnTo>
                  <a:pt x="348" y="80"/>
                </a:lnTo>
                <a:lnTo>
                  <a:pt x="356" y="110"/>
                </a:lnTo>
                <a:lnTo>
                  <a:pt x="300" y="116"/>
                </a:lnTo>
                <a:lnTo>
                  <a:pt x="302" y="150"/>
                </a:lnTo>
                <a:lnTo>
                  <a:pt x="375" y="150"/>
                </a:lnTo>
                <a:lnTo>
                  <a:pt x="375" y="190"/>
                </a:lnTo>
                <a:lnTo>
                  <a:pt x="333" y="217"/>
                </a:lnTo>
                <a:lnTo>
                  <a:pt x="304" y="199"/>
                </a:lnTo>
                <a:lnTo>
                  <a:pt x="219" y="243"/>
                </a:lnTo>
                <a:lnTo>
                  <a:pt x="302" y="321"/>
                </a:lnTo>
                <a:lnTo>
                  <a:pt x="302" y="351"/>
                </a:lnTo>
                <a:lnTo>
                  <a:pt x="251" y="351"/>
                </a:lnTo>
                <a:lnTo>
                  <a:pt x="245" y="433"/>
                </a:lnTo>
                <a:lnTo>
                  <a:pt x="213" y="353"/>
                </a:lnTo>
                <a:lnTo>
                  <a:pt x="183" y="359"/>
                </a:lnTo>
                <a:lnTo>
                  <a:pt x="135" y="321"/>
                </a:lnTo>
                <a:lnTo>
                  <a:pt x="131" y="403"/>
                </a:lnTo>
                <a:lnTo>
                  <a:pt x="78" y="422"/>
                </a:lnTo>
                <a:lnTo>
                  <a:pt x="103" y="481"/>
                </a:lnTo>
                <a:lnTo>
                  <a:pt x="162" y="481"/>
                </a:lnTo>
                <a:lnTo>
                  <a:pt x="179" y="547"/>
                </a:lnTo>
                <a:lnTo>
                  <a:pt x="118" y="583"/>
                </a:lnTo>
                <a:lnTo>
                  <a:pt x="63" y="602"/>
                </a:lnTo>
                <a:lnTo>
                  <a:pt x="0" y="570"/>
                </a:lnTo>
                <a:lnTo>
                  <a:pt x="8" y="616"/>
                </a:lnTo>
                <a:lnTo>
                  <a:pt x="59" y="669"/>
                </a:lnTo>
                <a:lnTo>
                  <a:pt x="167" y="699"/>
                </a:lnTo>
                <a:lnTo>
                  <a:pt x="194" y="779"/>
                </a:lnTo>
                <a:lnTo>
                  <a:pt x="293" y="789"/>
                </a:lnTo>
                <a:lnTo>
                  <a:pt x="298" y="832"/>
                </a:lnTo>
                <a:lnTo>
                  <a:pt x="386" y="855"/>
                </a:lnTo>
                <a:lnTo>
                  <a:pt x="395" y="943"/>
                </a:lnTo>
                <a:lnTo>
                  <a:pt x="422" y="943"/>
                </a:lnTo>
                <a:lnTo>
                  <a:pt x="473" y="912"/>
                </a:lnTo>
                <a:lnTo>
                  <a:pt x="517" y="939"/>
                </a:lnTo>
                <a:lnTo>
                  <a:pt x="660" y="889"/>
                </a:lnTo>
                <a:lnTo>
                  <a:pt x="694" y="792"/>
                </a:lnTo>
                <a:lnTo>
                  <a:pt x="644" y="760"/>
                </a:lnTo>
                <a:lnTo>
                  <a:pt x="665" y="726"/>
                </a:lnTo>
                <a:lnTo>
                  <a:pt x="568" y="610"/>
                </a:lnTo>
                <a:lnTo>
                  <a:pt x="574" y="536"/>
                </a:lnTo>
                <a:lnTo>
                  <a:pt x="639" y="466"/>
                </a:lnTo>
                <a:lnTo>
                  <a:pt x="635" y="422"/>
                </a:lnTo>
                <a:lnTo>
                  <a:pt x="686" y="332"/>
                </a:lnTo>
                <a:lnTo>
                  <a:pt x="732" y="287"/>
                </a:lnTo>
                <a:lnTo>
                  <a:pt x="758" y="258"/>
                </a:lnTo>
                <a:close/>
              </a:path>
            </a:pathLst>
          </a:custGeom>
          <a:solidFill>
            <a:schemeClr val="accent3"/>
          </a:solidFill>
          <a:ln w="12700">
            <a:solidFill>
              <a:schemeClr val="bg1"/>
            </a:solidFill>
            <a:round/>
            <a:headEnd/>
            <a:tailEnd/>
          </a:ln>
        </p:spPr>
        <p:txBody>
          <a:bodyPr/>
          <a:lstStyle/>
          <a:p>
            <a:pPr>
              <a:defRPr/>
            </a:pPr>
            <a:endParaRPr lang="nl-NL"/>
          </a:p>
        </p:txBody>
      </p:sp>
      <p:sp>
        <p:nvSpPr>
          <p:cNvPr id="47"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49"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9633" name="Title 1"/>
          <p:cNvSpPr>
            <a:spLocks noGrp="1"/>
          </p:cNvSpPr>
          <p:nvPr>
            <p:ph type="title"/>
          </p:nvPr>
        </p:nvSpPr>
        <p:spPr>
          <a:xfrm>
            <a:off x="414338" y="446038"/>
            <a:ext cx="8330184" cy="333425"/>
          </a:xfrm>
        </p:spPr>
        <p:txBody>
          <a:bodyPr/>
          <a:lstStyle/>
          <a:p>
            <a:r>
              <a:rPr lang="nl-NL"/>
              <a:t>Maps </a:t>
            </a:r>
            <a:r>
              <a:rPr lang="en-US"/>
              <a:t>—</a:t>
            </a:r>
            <a:r>
              <a:rPr lang="nl-NL" smtClean="0"/>
              <a:t> </a:t>
            </a:r>
            <a:r>
              <a:rPr lang="nl-NL"/>
              <a:t>UK</a:t>
            </a:r>
          </a:p>
        </p:txBody>
      </p:sp>
      <p:sp>
        <p:nvSpPr>
          <p:cNvPr id="209" name="Freeform 8"/>
          <p:cNvSpPr>
            <a:spLocks/>
          </p:cNvSpPr>
          <p:nvPr/>
        </p:nvSpPr>
        <p:spPr bwMode="auto">
          <a:xfrm>
            <a:off x="3894056" y="1794956"/>
            <a:ext cx="263430" cy="362674"/>
          </a:xfrm>
          <a:custGeom>
            <a:avLst/>
            <a:gdLst>
              <a:gd name="T0" fmla="*/ 138 w 170"/>
              <a:gd name="T1" fmla="*/ 0 h 227"/>
              <a:gd name="T2" fmla="*/ 170 w 170"/>
              <a:gd name="T3" fmla="*/ 77 h 227"/>
              <a:gd name="T4" fmla="*/ 113 w 170"/>
              <a:gd name="T5" fmla="*/ 132 h 227"/>
              <a:gd name="T6" fmla="*/ 162 w 170"/>
              <a:gd name="T7" fmla="*/ 149 h 227"/>
              <a:gd name="T8" fmla="*/ 116 w 170"/>
              <a:gd name="T9" fmla="*/ 183 h 227"/>
              <a:gd name="T10" fmla="*/ 81 w 170"/>
              <a:gd name="T11" fmla="*/ 146 h 227"/>
              <a:gd name="T12" fmla="*/ 76 w 170"/>
              <a:gd name="T13" fmla="*/ 217 h 227"/>
              <a:gd name="T14" fmla="*/ 38 w 170"/>
              <a:gd name="T15" fmla="*/ 227 h 227"/>
              <a:gd name="T16" fmla="*/ 0 w 170"/>
              <a:gd name="T17" fmla="*/ 186 h 227"/>
              <a:gd name="T18" fmla="*/ 49 w 170"/>
              <a:gd name="T19" fmla="*/ 180 h 227"/>
              <a:gd name="T20" fmla="*/ 34 w 170"/>
              <a:gd name="T21" fmla="*/ 142 h 227"/>
              <a:gd name="T22" fmla="*/ 10 w 170"/>
              <a:gd name="T23" fmla="*/ 130 h 227"/>
              <a:gd name="T24" fmla="*/ 49 w 170"/>
              <a:gd name="T25" fmla="*/ 77 h 227"/>
              <a:gd name="T26" fmla="*/ 71 w 170"/>
              <a:gd name="T27" fmla="*/ 120 h 227"/>
              <a:gd name="T28" fmla="*/ 127 w 170"/>
              <a:gd name="T29" fmla="*/ 42 h 227"/>
              <a:gd name="T30" fmla="*/ 138 w 170"/>
              <a:gd name="T31" fmla="*/ 0 h 227"/>
              <a:gd name="T32" fmla="*/ 138 w 170"/>
              <a:gd name="T33" fmla="*/ 0 h 227"/>
              <a:gd name="T34" fmla="*/ 138 w 170"/>
              <a:gd name="T35" fmla="*/ 0 h 2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0"/>
              <a:gd name="T55" fmla="*/ 0 h 227"/>
              <a:gd name="T56" fmla="*/ 170 w 170"/>
              <a:gd name="T57" fmla="*/ 227 h 2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0" h="227">
                <a:moveTo>
                  <a:pt x="138" y="0"/>
                </a:moveTo>
                <a:lnTo>
                  <a:pt x="170" y="77"/>
                </a:lnTo>
                <a:lnTo>
                  <a:pt x="113" y="132"/>
                </a:lnTo>
                <a:lnTo>
                  <a:pt x="162" y="149"/>
                </a:lnTo>
                <a:lnTo>
                  <a:pt x="116" y="183"/>
                </a:lnTo>
                <a:lnTo>
                  <a:pt x="81" y="146"/>
                </a:lnTo>
                <a:lnTo>
                  <a:pt x="76" y="217"/>
                </a:lnTo>
                <a:lnTo>
                  <a:pt x="38" y="227"/>
                </a:lnTo>
                <a:lnTo>
                  <a:pt x="0" y="186"/>
                </a:lnTo>
                <a:lnTo>
                  <a:pt x="49" y="180"/>
                </a:lnTo>
                <a:lnTo>
                  <a:pt x="34" y="142"/>
                </a:lnTo>
                <a:lnTo>
                  <a:pt x="10" y="130"/>
                </a:lnTo>
                <a:lnTo>
                  <a:pt x="49" y="77"/>
                </a:lnTo>
                <a:lnTo>
                  <a:pt x="71" y="120"/>
                </a:lnTo>
                <a:lnTo>
                  <a:pt x="127" y="42"/>
                </a:lnTo>
                <a:lnTo>
                  <a:pt x="138" y="0"/>
                </a:lnTo>
                <a:close/>
              </a:path>
            </a:pathLst>
          </a:custGeom>
          <a:solidFill>
            <a:schemeClr val="accent3"/>
          </a:solidFill>
          <a:ln w="12700">
            <a:solidFill>
              <a:schemeClr val="bg1"/>
            </a:solidFill>
            <a:round/>
            <a:headEnd/>
            <a:tailEnd/>
          </a:ln>
        </p:spPr>
        <p:txBody>
          <a:bodyPr/>
          <a:lstStyle/>
          <a:p>
            <a:pPr>
              <a:defRPr/>
            </a:pPr>
            <a:endParaRPr lang="nl-NL"/>
          </a:p>
        </p:txBody>
      </p:sp>
      <p:sp>
        <p:nvSpPr>
          <p:cNvPr id="210" name="Freeform 9"/>
          <p:cNvSpPr>
            <a:spLocks/>
          </p:cNvSpPr>
          <p:nvPr/>
        </p:nvSpPr>
        <p:spPr bwMode="auto">
          <a:xfrm>
            <a:off x="3842920" y="2178400"/>
            <a:ext cx="99174" cy="263617"/>
          </a:xfrm>
          <a:custGeom>
            <a:avLst/>
            <a:gdLst>
              <a:gd name="T0" fmla="*/ 18 w 64"/>
              <a:gd name="T1" fmla="*/ 0 h 165"/>
              <a:gd name="T2" fmla="*/ 64 w 64"/>
              <a:gd name="T3" fmla="*/ 24 h 165"/>
              <a:gd name="T4" fmla="*/ 23 w 64"/>
              <a:gd name="T5" fmla="*/ 72 h 165"/>
              <a:gd name="T6" fmla="*/ 41 w 64"/>
              <a:gd name="T7" fmla="*/ 165 h 165"/>
              <a:gd name="T8" fmla="*/ 6 w 64"/>
              <a:gd name="T9" fmla="*/ 154 h 165"/>
              <a:gd name="T10" fmla="*/ 0 w 64"/>
              <a:gd name="T11" fmla="*/ 62 h 165"/>
              <a:gd name="T12" fmla="*/ 28 w 64"/>
              <a:gd name="T13" fmla="*/ 31 h 165"/>
              <a:gd name="T14" fmla="*/ 18 w 64"/>
              <a:gd name="T15" fmla="*/ 0 h 165"/>
              <a:gd name="T16" fmla="*/ 18 w 64"/>
              <a:gd name="T17" fmla="*/ 0 h 165"/>
              <a:gd name="T18" fmla="*/ 18 w 64"/>
              <a:gd name="T19" fmla="*/ 0 h 1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4"/>
              <a:gd name="T31" fmla="*/ 0 h 165"/>
              <a:gd name="T32" fmla="*/ 64 w 64"/>
              <a:gd name="T33" fmla="*/ 165 h 1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4" h="165">
                <a:moveTo>
                  <a:pt x="18" y="0"/>
                </a:moveTo>
                <a:lnTo>
                  <a:pt x="64" y="24"/>
                </a:lnTo>
                <a:lnTo>
                  <a:pt x="23" y="72"/>
                </a:lnTo>
                <a:lnTo>
                  <a:pt x="41" y="165"/>
                </a:lnTo>
                <a:lnTo>
                  <a:pt x="6" y="154"/>
                </a:lnTo>
                <a:lnTo>
                  <a:pt x="0" y="62"/>
                </a:lnTo>
                <a:lnTo>
                  <a:pt x="28" y="31"/>
                </a:lnTo>
                <a:lnTo>
                  <a:pt x="18" y="0"/>
                </a:lnTo>
                <a:close/>
              </a:path>
            </a:pathLst>
          </a:custGeom>
          <a:solidFill>
            <a:schemeClr val="accent3"/>
          </a:solidFill>
          <a:ln w="12700">
            <a:solidFill>
              <a:schemeClr val="bg1"/>
            </a:solidFill>
            <a:round/>
            <a:headEnd/>
            <a:tailEnd/>
          </a:ln>
        </p:spPr>
        <p:txBody>
          <a:bodyPr/>
          <a:lstStyle/>
          <a:p>
            <a:pPr>
              <a:defRPr/>
            </a:pPr>
            <a:endParaRPr lang="nl-NL"/>
          </a:p>
        </p:txBody>
      </p:sp>
      <p:sp>
        <p:nvSpPr>
          <p:cNvPr id="211" name="Freeform 10"/>
          <p:cNvSpPr>
            <a:spLocks/>
          </p:cNvSpPr>
          <p:nvPr/>
        </p:nvSpPr>
        <p:spPr bwMode="auto">
          <a:xfrm>
            <a:off x="3988581" y="2186388"/>
            <a:ext cx="249484" cy="321134"/>
          </a:xfrm>
          <a:custGeom>
            <a:avLst/>
            <a:gdLst>
              <a:gd name="T0" fmla="*/ 77 w 161"/>
              <a:gd name="T1" fmla="*/ 0 h 201"/>
              <a:gd name="T2" fmla="*/ 68 w 161"/>
              <a:gd name="T3" fmla="*/ 61 h 201"/>
              <a:gd name="T4" fmla="*/ 29 w 161"/>
              <a:gd name="T5" fmla="*/ 30 h 201"/>
              <a:gd name="T6" fmla="*/ 0 w 161"/>
              <a:gd name="T7" fmla="*/ 82 h 201"/>
              <a:gd name="T8" fmla="*/ 60 w 161"/>
              <a:gd name="T9" fmla="*/ 95 h 201"/>
              <a:gd name="T10" fmla="*/ 39 w 161"/>
              <a:gd name="T11" fmla="*/ 135 h 201"/>
              <a:gd name="T12" fmla="*/ 128 w 161"/>
              <a:gd name="T13" fmla="*/ 152 h 201"/>
              <a:gd name="T14" fmla="*/ 97 w 161"/>
              <a:gd name="T15" fmla="*/ 201 h 201"/>
              <a:gd name="T16" fmla="*/ 161 w 161"/>
              <a:gd name="T17" fmla="*/ 152 h 201"/>
              <a:gd name="T18" fmla="*/ 161 w 161"/>
              <a:gd name="T19" fmla="*/ 127 h 201"/>
              <a:gd name="T20" fmla="*/ 101 w 161"/>
              <a:gd name="T21" fmla="*/ 102 h 201"/>
              <a:gd name="T22" fmla="*/ 107 w 161"/>
              <a:gd name="T23" fmla="*/ 42 h 201"/>
              <a:gd name="T24" fmla="*/ 77 w 161"/>
              <a:gd name="T25" fmla="*/ 0 h 201"/>
              <a:gd name="T26" fmla="*/ 77 w 161"/>
              <a:gd name="T27" fmla="*/ 0 h 201"/>
              <a:gd name="T28" fmla="*/ 77 w 161"/>
              <a:gd name="T29" fmla="*/ 0 h 2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1"/>
              <a:gd name="T46" fmla="*/ 0 h 201"/>
              <a:gd name="T47" fmla="*/ 161 w 161"/>
              <a:gd name="T48" fmla="*/ 201 h 2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1" h="201">
                <a:moveTo>
                  <a:pt x="77" y="0"/>
                </a:moveTo>
                <a:lnTo>
                  <a:pt x="68" y="61"/>
                </a:lnTo>
                <a:lnTo>
                  <a:pt x="29" y="30"/>
                </a:lnTo>
                <a:lnTo>
                  <a:pt x="0" y="82"/>
                </a:lnTo>
                <a:lnTo>
                  <a:pt x="60" y="95"/>
                </a:lnTo>
                <a:lnTo>
                  <a:pt x="39" y="135"/>
                </a:lnTo>
                <a:lnTo>
                  <a:pt x="128" y="152"/>
                </a:lnTo>
                <a:lnTo>
                  <a:pt x="97" y="201"/>
                </a:lnTo>
                <a:lnTo>
                  <a:pt x="161" y="152"/>
                </a:lnTo>
                <a:lnTo>
                  <a:pt x="161" y="127"/>
                </a:lnTo>
                <a:lnTo>
                  <a:pt x="101" y="102"/>
                </a:lnTo>
                <a:lnTo>
                  <a:pt x="107" y="42"/>
                </a:lnTo>
                <a:lnTo>
                  <a:pt x="77" y="0"/>
                </a:lnTo>
                <a:close/>
              </a:path>
            </a:pathLst>
          </a:custGeom>
          <a:solidFill>
            <a:schemeClr val="accent3"/>
          </a:solidFill>
          <a:ln w="12700">
            <a:solidFill>
              <a:schemeClr val="bg1"/>
            </a:solidFill>
            <a:round/>
            <a:headEnd/>
            <a:tailEnd/>
          </a:ln>
        </p:spPr>
        <p:txBody>
          <a:bodyPr/>
          <a:lstStyle/>
          <a:p>
            <a:pPr>
              <a:defRPr/>
            </a:pPr>
            <a:endParaRPr lang="nl-NL"/>
          </a:p>
        </p:txBody>
      </p:sp>
      <p:sp>
        <p:nvSpPr>
          <p:cNvPr id="212" name="Freeform 11"/>
          <p:cNvSpPr>
            <a:spLocks/>
          </p:cNvSpPr>
          <p:nvPr/>
        </p:nvSpPr>
        <p:spPr bwMode="auto">
          <a:xfrm>
            <a:off x="4019573" y="2688060"/>
            <a:ext cx="224690" cy="202906"/>
          </a:xfrm>
          <a:custGeom>
            <a:avLst/>
            <a:gdLst>
              <a:gd name="T0" fmla="*/ 76 w 145"/>
              <a:gd name="T1" fmla="*/ 0 h 127"/>
              <a:gd name="T2" fmla="*/ 74 w 145"/>
              <a:gd name="T3" fmla="*/ 29 h 127"/>
              <a:gd name="T4" fmla="*/ 145 w 145"/>
              <a:gd name="T5" fmla="*/ 53 h 127"/>
              <a:gd name="T6" fmla="*/ 84 w 145"/>
              <a:gd name="T7" fmla="*/ 127 h 127"/>
              <a:gd name="T8" fmla="*/ 0 w 145"/>
              <a:gd name="T9" fmla="*/ 76 h 127"/>
              <a:gd name="T10" fmla="*/ 76 w 145"/>
              <a:gd name="T11" fmla="*/ 92 h 127"/>
              <a:gd name="T12" fmla="*/ 92 w 145"/>
              <a:gd name="T13" fmla="*/ 63 h 127"/>
              <a:gd name="T14" fmla="*/ 48 w 145"/>
              <a:gd name="T15" fmla="*/ 35 h 127"/>
              <a:gd name="T16" fmla="*/ 76 w 145"/>
              <a:gd name="T17" fmla="*/ 0 h 127"/>
              <a:gd name="T18" fmla="*/ 76 w 145"/>
              <a:gd name="T19" fmla="*/ 0 h 127"/>
              <a:gd name="T20" fmla="*/ 76 w 145"/>
              <a:gd name="T21" fmla="*/ 0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5"/>
              <a:gd name="T34" fmla="*/ 0 h 127"/>
              <a:gd name="T35" fmla="*/ 145 w 145"/>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5" h="127">
                <a:moveTo>
                  <a:pt x="76" y="0"/>
                </a:moveTo>
                <a:lnTo>
                  <a:pt x="74" y="29"/>
                </a:lnTo>
                <a:lnTo>
                  <a:pt x="145" y="53"/>
                </a:lnTo>
                <a:lnTo>
                  <a:pt x="84" y="127"/>
                </a:lnTo>
                <a:lnTo>
                  <a:pt x="0" y="76"/>
                </a:lnTo>
                <a:lnTo>
                  <a:pt x="76" y="92"/>
                </a:lnTo>
                <a:lnTo>
                  <a:pt x="92" y="63"/>
                </a:lnTo>
                <a:lnTo>
                  <a:pt x="48" y="35"/>
                </a:lnTo>
                <a:lnTo>
                  <a:pt x="76" y="0"/>
                </a:lnTo>
                <a:close/>
              </a:path>
            </a:pathLst>
          </a:custGeom>
          <a:solidFill>
            <a:schemeClr val="accent3"/>
          </a:solidFill>
          <a:ln w="12700">
            <a:solidFill>
              <a:schemeClr val="bg1"/>
            </a:solidFill>
            <a:round/>
            <a:headEnd/>
            <a:tailEnd/>
          </a:ln>
        </p:spPr>
        <p:txBody>
          <a:bodyPr/>
          <a:lstStyle/>
          <a:p>
            <a:pPr>
              <a:defRPr/>
            </a:pPr>
            <a:endParaRPr lang="nl-NL"/>
          </a:p>
        </p:txBody>
      </p:sp>
      <p:sp>
        <p:nvSpPr>
          <p:cNvPr id="213" name="Freeform 12"/>
          <p:cNvSpPr>
            <a:spLocks/>
          </p:cNvSpPr>
          <p:nvPr/>
        </p:nvSpPr>
        <p:spPr bwMode="auto">
          <a:xfrm>
            <a:off x="3996329" y="2935701"/>
            <a:ext cx="213843" cy="236457"/>
          </a:xfrm>
          <a:custGeom>
            <a:avLst/>
            <a:gdLst>
              <a:gd name="T0" fmla="*/ 130 w 138"/>
              <a:gd name="T1" fmla="*/ 0 h 148"/>
              <a:gd name="T2" fmla="*/ 138 w 138"/>
              <a:gd name="T3" fmla="*/ 69 h 148"/>
              <a:gd name="T4" fmla="*/ 91 w 138"/>
              <a:gd name="T5" fmla="*/ 81 h 148"/>
              <a:gd name="T6" fmla="*/ 104 w 138"/>
              <a:gd name="T7" fmla="*/ 131 h 148"/>
              <a:gd name="T8" fmla="*/ 41 w 138"/>
              <a:gd name="T9" fmla="*/ 148 h 148"/>
              <a:gd name="T10" fmla="*/ 61 w 138"/>
              <a:gd name="T11" fmla="*/ 100 h 148"/>
              <a:gd name="T12" fmla="*/ 0 w 138"/>
              <a:gd name="T13" fmla="*/ 100 h 148"/>
              <a:gd name="T14" fmla="*/ 107 w 138"/>
              <a:gd name="T15" fmla="*/ 47 h 148"/>
              <a:gd name="T16" fmla="*/ 130 w 138"/>
              <a:gd name="T17" fmla="*/ 0 h 148"/>
              <a:gd name="T18" fmla="*/ 130 w 138"/>
              <a:gd name="T19" fmla="*/ 0 h 148"/>
              <a:gd name="T20" fmla="*/ 130 w 138"/>
              <a:gd name="T21" fmla="*/ 0 h 1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8"/>
              <a:gd name="T34" fmla="*/ 0 h 148"/>
              <a:gd name="T35" fmla="*/ 138 w 138"/>
              <a:gd name="T36" fmla="*/ 148 h 1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8" h="148">
                <a:moveTo>
                  <a:pt x="130" y="0"/>
                </a:moveTo>
                <a:lnTo>
                  <a:pt x="138" y="69"/>
                </a:lnTo>
                <a:lnTo>
                  <a:pt x="91" y="81"/>
                </a:lnTo>
                <a:lnTo>
                  <a:pt x="104" y="131"/>
                </a:lnTo>
                <a:lnTo>
                  <a:pt x="41" y="148"/>
                </a:lnTo>
                <a:lnTo>
                  <a:pt x="61" y="100"/>
                </a:lnTo>
                <a:lnTo>
                  <a:pt x="0" y="100"/>
                </a:lnTo>
                <a:lnTo>
                  <a:pt x="107" y="47"/>
                </a:lnTo>
                <a:lnTo>
                  <a:pt x="130" y="0"/>
                </a:lnTo>
                <a:close/>
              </a:path>
            </a:pathLst>
          </a:custGeom>
          <a:solidFill>
            <a:schemeClr val="accent3"/>
          </a:solidFill>
          <a:ln w="12700">
            <a:solidFill>
              <a:schemeClr val="bg1"/>
            </a:solidFill>
            <a:round/>
            <a:headEnd/>
            <a:tailEnd/>
          </a:ln>
        </p:spPr>
        <p:txBody>
          <a:bodyPr/>
          <a:lstStyle/>
          <a:p>
            <a:pPr>
              <a:defRPr/>
            </a:pPr>
            <a:endParaRPr lang="nl-NL"/>
          </a:p>
        </p:txBody>
      </p:sp>
      <p:sp>
        <p:nvSpPr>
          <p:cNvPr id="214" name="Freeform 13"/>
          <p:cNvSpPr>
            <a:spLocks/>
          </p:cNvSpPr>
          <p:nvPr/>
        </p:nvSpPr>
        <p:spPr bwMode="auto">
          <a:xfrm>
            <a:off x="4338788" y="3140204"/>
            <a:ext cx="88326" cy="126217"/>
          </a:xfrm>
          <a:custGeom>
            <a:avLst/>
            <a:gdLst>
              <a:gd name="T0" fmla="*/ 10 w 57"/>
              <a:gd name="T1" fmla="*/ 0 h 79"/>
              <a:gd name="T2" fmla="*/ 0 w 57"/>
              <a:gd name="T3" fmla="*/ 79 h 79"/>
              <a:gd name="T4" fmla="*/ 57 w 57"/>
              <a:gd name="T5" fmla="*/ 75 h 79"/>
              <a:gd name="T6" fmla="*/ 10 w 57"/>
              <a:gd name="T7" fmla="*/ 0 h 79"/>
              <a:gd name="T8" fmla="*/ 10 w 57"/>
              <a:gd name="T9" fmla="*/ 0 h 79"/>
              <a:gd name="T10" fmla="*/ 10 w 57"/>
              <a:gd name="T11" fmla="*/ 0 h 79"/>
              <a:gd name="T12" fmla="*/ 0 60000 65536"/>
              <a:gd name="T13" fmla="*/ 0 60000 65536"/>
              <a:gd name="T14" fmla="*/ 0 60000 65536"/>
              <a:gd name="T15" fmla="*/ 0 60000 65536"/>
              <a:gd name="T16" fmla="*/ 0 60000 65536"/>
              <a:gd name="T17" fmla="*/ 0 60000 65536"/>
              <a:gd name="T18" fmla="*/ 0 w 57"/>
              <a:gd name="T19" fmla="*/ 0 h 79"/>
              <a:gd name="T20" fmla="*/ 57 w 57"/>
              <a:gd name="T21" fmla="*/ 79 h 79"/>
            </a:gdLst>
            <a:ahLst/>
            <a:cxnLst>
              <a:cxn ang="T12">
                <a:pos x="T0" y="T1"/>
              </a:cxn>
              <a:cxn ang="T13">
                <a:pos x="T2" y="T3"/>
              </a:cxn>
              <a:cxn ang="T14">
                <a:pos x="T4" y="T5"/>
              </a:cxn>
              <a:cxn ang="T15">
                <a:pos x="T6" y="T7"/>
              </a:cxn>
              <a:cxn ang="T16">
                <a:pos x="T8" y="T9"/>
              </a:cxn>
              <a:cxn ang="T17">
                <a:pos x="T10" y="T11"/>
              </a:cxn>
            </a:cxnLst>
            <a:rect l="T18" t="T19" r="T20" b="T21"/>
            <a:pathLst>
              <a:path w="57" h="79">
                <a:moveTo>
                  <a:pt x="10" y="0"/>
                </a:moveTo>
                <a:lnTo>
                  <a:pt x="0" y="79"/>
                </a:lnTo>
                <a:lnTo>
                  <a:pt x="57" y="75"/>
                </a:lnTo>
                <a:lnTo>
                  <a:pt x="10" y="0"/>
                </a:lnTo>
                <a:close/>
              </a:path>
            </a:pathLst>
          </a:custGeom>
          <a:solidFill>
            <a:schemeClr val="accent3"/>
          </a:solidFill>
          <a:ln w="12700">
            <a:solidFill>
              <a:schemeClr val="bg1"/>
            </a:solidFill>
            <a:round/>
            <a:headEnd/>
            <a:tailEnd/>
          </a:ln>
        </p:spPr>
        <p:txBody>
          <a:bodyPr/>
          <a:lstStyle/>
          <a:p>
            <a:pPr>
              <a:defRPr/>
            </a:pPr>
            <a:endParaRPr lang="nl-NL"/>
          </a:p>
        </p:txBody>
      </p:sp>
      <p:sp>
        <p:nvSpPr>
          <p:cNvPr id="215" name="Freeform 14"/>
          <p:cNvSpPr>
            <a:spLocks/>
          </p:cNvSpPr>
          <p:nvPr/>
        </p:nvSpPr>
        <p:spPr bwMode="auto">
          <a:xfrm>
            <a:off x="4853251" y="1609625"/>
            <a:ext cx="54236" cy="70298"/>
          </a:xfrm>
          <a:custGeom>
            <a:avLst/>
            <a:gdLst>
              <a:gd name="T0" fmla="*/ 0 w 35"/>
              <a:gd name="T1" fmla="*/ 0 h 44"/>
              <a:gd name="T2" fmla="*/ 34 w 35"/>
              <a:gd name="T3" fmla="*/ 44 h 44"/>
              <a:gd name="T4" fmla="*/ 35 w 35"/>
              <a:gd name="T5" fmla="*/ 17 h 44"/>
              <a:gd name="T6" fmla="*/ 0 w 35"/>
              <a:gd name="T7" fmla="*/ 0 h 44"/>
              <a:gd name="T8" fmla="*/ 0 w 35"/>
              <a:gd name="T9" fmla="*/ 0 h 44"/>
              <a:gd name="T10" fmla="*/ 0 w 35"/>
              <a:gd name="T11" fmla="*/ 0 h 44"/>
              <a:gd name="T12" fmla="*/ 0 60000 65536"/>
              <a:gd name="T13" fmla="*/ 0 60000 65536"/>
              <a:gd name="T14" fmla="*/ 0 60000 65536"/>
              <a:gd name="T15" fmla="*/ 0 60000 65536"/>
              <a:gd name="T16" fmla="*/ 0 60000 65536"/>
              <a:gd name="T17" fmla="*/ 0 60000 65536"/>
              <a:gd name="T18" fmla="*/ 0 w 35"/>
              <a:gd name="T19" fmla="*/ 0 h 44"/>
              <a:gd name="T20" fmla="*/ 35 w 35"/>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35" h="44">
                <a:moveTo>
                  <a:pt x="0" y="0"/>
                </a:moveTo>
                <a:lnTo>
                  <a:pt x="34" y="44"/>
                </a:lnTo>
                <a:lnTo>
                  <a:pt x="35" y="17"/>
                </a:lnTo>
                <a:lnTo>
                  <a:pt x="0" y="0"/>
                </a:lnTo>
                <a:close/>
              </a:path>
            </a:pathLst>
          </a:custGeom>
          <a:solidFill>
            <a:schemeClr val="accent3"/>
          </a:solidFill>
          <a:ln w="12700">
            <a:solidFill>
              <a:schemeClr val="bg1"/>
            </a:solidFill>
            <a:round/>
            <a:headEnd/>
            <a:tailEnd/>
          </a:ln>
        </p:spPr>
        <p:txBody>
          <a:bodyPr/>
          <a:lstStyle/>
          <a:p>
            <a:pPr>
              <a:defRPr/>
            </a:pPr>
            <a:endParaRPr lang="nl-NL"/>
          </a:p>
        </p:txBody>
      </p:sp>
      <p:sp>
        <p:nvSpPr>
          <p:cNvPr id="216" name="Freeform 15"/>
          <p:cNvSpPr>
            <a:spLocks/>
          </p:cNvSpPr>
          <p:nvPr/>
        </p:nvSpPr>
        <p:spPr bwMode="auto">
          <a:xfrm>
            <a:off x="4853251" y="1508971"/>
            <a:ext cx="176653" cy="116631"/>
          </a:xfrm>
          <a:custGeom>
            <a:avLst/>
            <a:gdLst>
              <a:gd name="T0" fmla="*/ 20 w 114"/>
              <a:gd name="T1" fmla="*/ 0 h 73"/>
              <a:gd name="T2" fmla="*/ 0 w 114"/>
              <a:gd name="T3" fmla="*/ 51 h 73"/>
              <a:gd name="T4" fmla="*/ 35 w 114"/>
              <a:gd name="T5" fmla="*/ 36 h 73"/>
              <a:gd name="T6" fmla="*/ 31 w 114"/>
              <a:gd name="T7" fmla="*/ 66 h 73"/>
              <a:gd name="T8" fmla="*/ 65 w 114"/>
              <a:gd name="T9" fmla="*/ 50 h 73"/>
              <a:gd name="T10" fmla="*/ 104 w 114"/>
              <a:gd name="T11" fmla="*/ 73 h 73"/>
              <a:gd name="T12" fmla="*/ 114 w 114"/>
              <a:gd name="T13" fmla="*/ 41 h 73"/>
              <a:gd name="T14" fmla="*/ 57 w 114"/>
              <a:gd name="T15" fmla="*/ 36 h 73"/>
              <a:gd name="T16" fmla="*/ 60 w 114"/>
              <a:gd name="T17" fmla="*/ 5 h 73"/>
              <a:gd name="T18" fmla="*/ 20 w 114"/>
              <a:gd name="T19" fmla="*/ 0 h 73"/>
              <a:gd name="T20" fmla="*/ 20 w 114"/>
              <a:gd name="T21" fmla="*/ 0 h 73"/>
              <a:gd name="T22" fmla="*/ 20 w 114"/>
              <a:gd name="T23" fmla="*/ 0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4"/>
              <a:gd name="T37" fmla="*/ 0 h 73"/>
              <a:gd name="T38" fmla="*/ 114 w 114"/>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4" h="73">
                <a:moveTo>
                  <a:pt x="20" y="0"/>
                </a:moveTo>
                <a:lnTo>
                  <a:pt x="0" y="51"/>
                </a:lnTo>
                <a:lnTo>
                  <a:pt x="35" y="36"/>
                </a:lnTo>
                <a:lnTo>
                  <a:pt x="31" y="66"/>
                </a:lnTo>
                <a:lnTo>
                  <a:pt x="65" y="50"/>
                </a:lnTo>
                <a:lnTo>
                  <a:pt x="104" y="73"/>
                </a:lnTo>
                <a:lnTo>
                  <a:pt x="114" y="41"/>
                </a:lnTo>
                <a:lnTo>
                  <a:pt x="57" y="36"/>
                </a:lnTo>
                <a:lnTo>
                  <a:pt x="60" y="5"/>
                </a:lnTo>
                <a:lnTo>
                  <a:pt x="20" y="0"/>
                </a:lnTo>
                <a:close/>
              </a:path>
            </a:pathLst>
          </a:custGeom>
          <a:solidFill>
            <a:schemeClr val="accent3"/>
          </a:solidFill>
          <a:ln w="12700">
            <a:solidFill>
              <a:schemeClr val="bg1"/>
            </a:solidFill>
            <a:round/>
            <a:headEnd/>
            <a:tailEnd/>
          </a:ln>
        </p:spPr>
        <p:txBody>
          <a:bodyPr/>
          <a:lstStyle/>
          <a:p>
            <a:pPr>
              <a:defRPr/>
            </a:pPr>
            <a:endParaRPr lang="nl-NL"/>
          </a:p>
        </p:txBody>
      </p:sp>
      <p:sp>
        <p:nvSpPr>
          <p:cNvPr id="217" name="Freeform 16"/>
          <p:cNvSpPr>
            <a:spLocks/>
          </p:cNvSpPr>
          <p:nvPr/>
        </p:nvSpPr>
        <p:spPr bwMode="auto">
          <a:xfrm>
            <a:off x="4941577" y="1459443"/>
            <a:ext cx="32541" cy="33551"/>
          </a:xfrm>
          <a:custGeom>
            <a:avLst/>
            <a:gdLst>
              <a:gd name="T0" fmla="*/ 3 w 21"/>
              <a:gd name="T1" fmla="*/ 0 h 21"/>
              <a:gd name="T2" fmla="*/ 0 w 21"/>
              <a:gd name="T3" fmla="*/ 21 h 21"/>
              <a:gd name="T4" fmla="*/ 21 w 21"/>
              <a:gd name="T5" fmla="*/ 16 h 21"/>
              <a:gd name="T6" fmla="*/ 3 w 21"/>
              <a:gd name="T7" fmla="*/ 0 h 21"/>
              <a:gd name="T8" fmla="*/ 3 w 21"/>
              <a:gd name="T9" fmla="*/ 0 h 21"/>
              <a:gd name="T10" fmla="*/ 3 w 21"/>
              <a:gd name="T11" fmla="*/ 0 h 21"/>
              <a:gd name="T12" fmla="*/ 0 60000 65536"/>
              <a:gd name="T13" fmla="*/ 0 60000 65536"/>
              <a:gd name="T14" fmla="*/ 0 60000 65536"/>
              <a:gd name="T15" fmla="*/ 0 60000 65536"/>
              <a:gd name="T16" fmla="*/ 0 60000 65536"/>
              <a:gd name="T17" fmla="*/ 0 60000 65536"/>
              <a:gd name="T18" fmla="*/ 0 w 21"/>
              <a:gd name="T19" fmla="*/ 0 h 21"/>
              <a:gd name="T20" fmla="*/ 21 w 21"/>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21" h="21">
                <a:moveTo>
                  <a:pt x="3" y="0"/>
                </a:moveTo>
                <a:lnTo>
                  <a:pt x="0" y="21"/>
                </a:lnTo>
                <a:lnTo>
                  <a:pt x="21" y="16"/>
                </a:lnTo>
                <a:lnTo>
                  <a:pt x="3" y="0"/>
                </a:lnTo>
                <a:close/>
              </a:path>
            </a:pathLst>
          </a:custGeom>
          <a:solidFill>
            <a:schemeClr val="accent3"/>
          </a:solidFill>
          <a:ln w="12700">
            <a:solidFill>
              <a:schemeClr val="bg1"/>
            </a:solidFill>
            <a:round/>
            <a:headEnd/>
            <a:tailEnd/>
          </a:ln>
        </p:spPr>
        <p:txBody>
          <a:bodyPr/>
          <a:lstStyle/>
          <a:p>
            <a:pPr>
              <a:defRPr/>
            </a:pPr>
            <a:endParaRPr lang="nl-NL"/>
          </a:p>
        </p:txBody>
      </p:sp>
      <p:sp>
        <p:nvSpPr>
          <p:cNvPr id="218" name="Freeform 17"/>
          <p:cNvSpPr>
            <a:spLocks/>
          </p:cNvSpPr>
          <p:nvPr/>
        </p:nvSpPr>
        <p:spPr bwMode="auto">
          <a:xfrm>
            <a:off x="4966371" y="1518557"/>
            <a:ext cx="46488" cy="33551"/>
          </a:xfrm>
          <a:custGeom>
            <a:avLst/>
            <a:gdLst>
              <a:gd name="T0" fmla="*/ 13 w 30"/>
              <a:gd name="T1" fmla="*/ 0 h 21"/>
              <a:gd name="T2" fmla="*/ 0 w 30"/>
              <a:gd name="T3" fmla="*/ 21 h 21"/>
              <a:gd name="T4" fmla="*/ 30 w 30"/>
              <a:gd name="T5" fmla="*/ 20 h 21"/>
              <a:gd name="T6" fmla="*/ 13 w 30"/>
              <a:gd name="T7" fmla="*/ 0 h 21"/>
              <a:gd name="T8" fmla="*/ 13 w 30"/>
              <a:gd name="T9" fmla="*/ 0 h 21"/>
              <a:gd name="T10" fmla="*/ 13 w 30"/>
              <a:gd name="T11" fmla="*/ 0 h 21"/>
              <a:gd name="T12" fmla="*/ 0 60000 65536"/>
              <a:gd name="T13" fmla="*/ 0 60000 65536"/>
              <a:gd name="T14" fmla="*/ 0 60000 65536"/>
              <a:gd name="T15" fmla="*/ 0 60000 65536"/>
              <a:gd name="T16" fmla="*/ 0 60000 65536"/>
              <a:gd name="T17" fmla="*/ 0 60000 65536"/>
              <a:gd name="T18" fmla="*/ 0 w 30"/>
              <a:gd name="T19" fmla="*/ 0 h 21"/>
              <a:gd name="T20" fmla="*/ 30 w 30"/>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30" h="21">
                <a:moveTo>
                  <a:pt x="13" y="0"/>
                </a:moveTo>
                <a:lnTo>
                  <a:pt x="0" y="21"/>
                </a:lnTo>
                <a:lnTo>
                  <a:pt x="30" y="20"/>
                </a:lnTo>
                <a:lnTo>
                  <a:pt x="13" y="0"/>
                </a:lnTo>
                <a:close/>
              </a:path>
            </a:pathLst>
          </a:custGeom>
          <a:solidFill>
            <a:schemeClr val="accent3"/>
          </a:solidFill>
          <a:ln w="12700">
            <a:solidFill>
              <a:schemeClr val="bg1"/>
            </a:solidFill>
            <a:round/>
            <a:headEnd/>
            <a:tailEnd/>
          </a:ln>
        </p:spPr>
        <p:txBody>
          <a:bodyPr/>
          <a:lstStyle/>
          <a:p>
            <a:pPr>
              <a:defRPr/>
            </a:pPr>
            <a:endParaRPr lang="nl-NL"/>
          </a:p>
        </p:txBody>
      </p:sp>
      <p:sp>
        <p:nvSpPr>
          <p:cNvPr id="219" name="Freeform 18"/>
          <p:cNvSpPr>
            <a:spLocks/>
          </p:cNvSpPr>
          <p:nvPr/>
        </p:nvSpPr>
        <p:spPr bwMode="auto">
          <a:xfrm>
            <a:off x="4953974" y="1392340"/>
            <a:ext cx="27893" cy="79884"/>
          </a:xfrm>
          <a:custGeom>
            <a:avLst/>
            <a:gdLst>
              <a:gd name="T0" fmla="*/ 8 w 18"/>
              <a:gd name="T1" fmla="*/ 0 h 50"/>
              <a:gd name="T2" fmla="*/ 0 w 18"/>
              <a:gd name="T3" fmla="*/ 17 h 50"/>
              <a:gd name="T4" fmla="*/ 18 w 18"/>
              <a:gd name="T5" fmla="*/ 50 h 50"/>
              <a:gd name="T6" fmla="*/ 8 w 18"/>
              <a:gd name="T7" fmla="*/ 0 h 50"/>
              <a:gd name="T8" fmla="*/ 8 w 18"/>
              <a:gd name="T9" fmla="*/ 0 h 50"/>
              <a:gd name="T10" fmla="*/ 8 w 18"/>
              <a:gd name="T11" fmla="*/ 0 h 50"/>
              <a:gd name="T12" fmla="*/ 0 60000 65536"/>
              <a:gd name="T13" fmla="*/ 0 60000 65536"/>
              <a:gd name="T14" fmla="*/ 0 60000 65536"/>
              <a:gd name="T15" fmla="*/ 0 60000 65536"/>
              <a:gd name="T16" fmla="*/ 0 60000 65536"/>
              <a:gd name="T17" fmla="*/ 0 60000 65536"/>
              <a:gd name="T18" fmla="*/ 0 w 18"/>
              <a:gd name="T19" fmla="*/ 0 h 50"/>
              <a:gd name="T20" fmla="*/ 18 w 18"/>
              <a:gd name="T21" fmla="*/ 50 h 50"/>
            </a:gdLst>
            <a:ahLst/>
            <a:cxnLst>
              <a:cxn ang="T12">
                <a:pos x="T0" y="T1"/>
              </a:cxn>
              <a:cxn ang="T13">
                <a:pos x="T2" y="T3"/>
              </a:cxn>
              <a:cxn ang="T14">
                <a:pos x="T4" y="T5"/>
              </a:cxn>
              <a:cxn ang="T15">
                <a:pos x="T6" y="T7"/>
              </a:cxn>
              <a:cxn ang="T16">
                <a:pos x="T8" y="T9"/>
              </a:cxn>
              <a:cxn ang="T17">
                <a:pos x="T10" y="T11"/>
              </a:cxn>
            </a:cxnLst>
            <a:rect l="T18" t="T19" r="T20" b="T21"/>
            <a:pathLst>
              <a:path w="18" h="50">
                <a:moveTo>
                  <a:pt x="8" y="0"/>
                </a:moveTo>
                <a:lnTo>
                  <a:pt x="0" y="17"/>
                </a:lnTo>
                <a:lnTo>
                  <a:pt x="18" y="50"/>
                </a:lnTo>
                <a:lnTo>
                  <a:pt x="8" y="0"/>
                </a:lnTo>
                <a:close/>
              </a:path>
            </a:pathLst>
          </a:custGeom>
          <a:solidFill>
            <a:schemeClr val="accent3"/>
          </a:solidFill>
          <a:ln w="12700">
            <a:solidFill>
              <a:schemeClr val="bg1"/>
            </a:solidFill>
            <a:round/>
            <a:headEnd/>
            <a:tailEnd/>
          </a:ln>
        </p:spPr>
        <p:txBody>
          <a:bodyPr/>
          <a:lstStyle/>
          <a:p>
            <a:pPr>
              <a:defRPr/>
            </a:pPr>
            <a:endParaRPr lang="nl-NL"/>
          </a:p>
        </p:txBody>
      </p:sp>
      <p:sp>
        <p:nvSpPr>
          <p:cNvPr id="220" name="Freeform 19"/>
          <p:cNvSpPr>
            <a:spLocks/>
          </p:cNvSpPr>
          <p:nvPr/>
        </p:nvSpPr>
        <p:spPr bwMode="auto">
          <a:xfrm>
            <a:off x="4995813" y="1433880"/>
            <a:ext cx="23244" cy="75091"/>
          </a:xfrm>
          <a:custGeom>
            <a:avLst/>
            <a:gdLst>
              <a:gd name="T0" fmla="*/ 15 w 15"/>
              <a:gd name="T1" fmla="*/ 0 h 47"/>
              <a:gd name="T2" fmla="*/ 0 w 15"/>
              <a:gd name="T3" fmla="*/ 32 h 47"/>
              <a:gd name="T4" fmla="*/ 11 w 15"/>
              <a:gd name="T5" fmla="*/ 47 h 47"/>
              <a:gd name="T6" fmla="*/ 15 w 15"/>
              <a:gd name="T7" fmla="*/ 0 h 47"/>
              <a:gd name="T8" fmla="*/ 15 w 15"/>
              <a:gd name="T9" fmla="*/ 0 h 47"/>
              <a:gd name="T10" fmla="*/ 15 w 15"/>
              <a:gd name="T11" fmla="*/ 0 h 47"/>
              <a:gd name="T12" fmla="*/ 0 60000 65536"/>
              <a:gd name="T13" fmla="*/ 0 60000 65536"/>
              <a:gd name="T14" fmla="*/ 0 60000 65536"/>
              <a:gd name="T15" fmla="*/ 0 60000 65536"/>
              <a:gd name="T16" fmla="*/ 0 60000 65536"/>
              <a:gd name="T17" fmla="*/ 0 60000 65536"/>
              <a:gd name="T18" fmla="*/ 0 w 15"/>
              <a:gd name="T19" fmla="*/ 0 h 47"/>
              <a:gd name="T20" fmla="*/ 15 w 1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15" h="47">
                <a:moveTo>
                  <a:pt x="15" y="0"/>
                </a:moveTo>
                <a:lnTo>
                  <a:pt x="0" y="32"/>
                </a:lnTo>
                <a:lnTo>
                  <a:pt x="11" y="47"/>
                </a:lnTo>
                <a:lnTo>
                  <a:pt x="15" y="0"/>
                </a:lnTo>
                <a:close/>
              </a:path>
            </a:pathLst>
          </a:custGeom>
          <a:solidFill>
            <a:schemeClr val="accent3"/>
          </a:solidFill>
          <a:ln w="12700">
            <a:solidFill>
              <a:schemeClr val="bg1"/>
            </a:solidFill>
            <a:round/>
            <a:headEnd/>
            <a:tailEnd/>
          </a:ln>
        </p:spPr>
        <p:txBody>
          <a:bodyPr/>
          <a:lstStyle/>
          <a:p>
            <a:pPr>
              <a:defRPr/>
            </a:pPr>
            <a:endParaRPr lang="nl-NL"/>
          </a:p>
        </p:txBody>
      </p:sp>
      <p:sp>
        <p:nvSpPr>
          <p:cNvPr id="221" name="Freeform 20"/>
          <p:cNvSpPr>
            <a:spLocks/>
          </p:cNvSpPr>
          <p:nvPr/>
        </p:nvSpPr>
        <p:spPr bwMode="auto">
          <a:xfrm>
            <a:off x="5029904" y="1489799"/>
            <a:ext cx="37190" cy="60712"/>
          </a:xfrm>
          <a:custGeom>
            <a:avLst/>
            <a:gdLst>
              <a:gd name="T0" fmla="*/ 24 w 24"/>
              <a:gd name="T1" fmla="*/ 0 h 38"/>
              <a:gd name="T2" fmla="*/ 0 w 24"/>
              <a:gd name="T3" fmla="*/ 18 h 38"/>
              <a:gd name="T4" fmla="*/ 7 w 24"/>
              <a:gd name="T5" fmla="*/ 38 h 38"/>
              <a:gd name="T6" fmla="*/ 18 w 24"/>
              <a:gd name="T7" fmla="*/ 20 h 38"/>
              <a:gd name="T8" fmla="*/ 24 w 24"/>
              <a:gd name="T9" fmla="*/ 0 h 38"/>
              <a:gd name="T10" fmla="*/ 24 w 24"/>
              <a:gd name="T11" fmla="*/ 0 h 38"/>
              <a:gd name="T12" fmla="*/ 24 w 24"/>
              <a:gd name="T13" fmla="*/ 0 h 38"/>
              <a:gd name="T14" fmla="*/ 0 60000 65536"/>
              <a:gd name="T15" fmla="*/ 0 60000 65536"/>
              <a:gd name="T16" fmla="*/ 0 60000 65536"/>
              <a:gd name="T17" fmla="*/ 0 60000 65536"/>
              <a:gd name="T18" fmla="*/ 0 60000 65536"/>
              <a:gd name="T19" fmla="*/ 0 60000 65536"/>
              <a:gd name="T20" fmla="*/ 0 60000 65536"/>
              <a:gd name="T21" fmla="*/ 0 w 24"/>
              <a:gd name="T22" fmla="*/ 0 h 38"/>
              <a:gd name="T23" fmla="*/ 24 w 24"/>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8">
                <a:moveTo>
                  <a:pt x="24" y="0"/>
                </a:moveTo>
                <a:lnTo>
                  <a:pt x="0" y="18"/>
                </a:lnTo>
                <a:lnTo>
                  <a:pt x="7" y="38"/>
                </a:lnTo>
                <a:lnTo>
                  <a:pt x="18" y="20"/>
                </a:lnTo>
                <a:lnTo>
                  <a:pt x="24" y="0"/>
                </a:lnTo>
                <a:close/>
              </a:path>
            </a:pathLst>
          </a:custGeom>
          <a:solidFill>
            <a:schemeClr val="accent3"/>
          </a:solidFill>
          <a:ln w="12700">
            <a:solidFill>
              <a:schemeClr val="bg1"/>
            </a:solidFill>
            <a:round/>
            <a:headEnd/>
            <a:tailEnd/>
          </a:ln>
        </p:spPr>
        <p:txBody>
          <a:bodyPr/>
          <a:lstStyle/>
          <a:p>
            <a:pPr>
              <a:defRPr/>
            </a:pPr>
            <a:endParaRPr lang="nl-NL"/>
          </a:p>
        </p:txBody>
      </p:sp>
      <p:sp>
        <p:nvSpPr>
          <p:cNvPr id="222" name="Freeform 21"/>
          <p:cNvSpPr>
            <a:spLocks/>
          </p:cNvSpPr>
          <p:nvPr/>
        </p:nvSpPr>
        <p:spPr bwMode="auto">
          <a:xfrm>
            <a:off x="5033003" y="1416306"/>
            <a:ext cx="48037" cy="59114"/>
          </a:xfrm>
          <a:custGeom>
            <a:avLst/>
            <a:gdLst>
              <a:gd name="T0" fmla="*/ 0 w 31"/>
              <a:gd name="T1" fmla="*/ 0 h 37"/>
              <a:gd name="T2" fmla="*/ 3 w 31"/>
              <a:gd name="T3" fmla="*/ 37 h 37"/>
              <a:gd name="T4" fmla="*/ 31 w 31"/>
              <a:gd name="T5" fmla="*/ 32 h 37"/>
              <a:gd name="T6" fmla="*/ 0 w 31"/>
              <a:gd name="T7" fmla="*/ 0 h 37"/>
              <a:gd name="T8" fmla="*/ 0 w 31"/>
              <a:gd name="T9" fmla="*/ 0 h 37"/>
              <a:gd name="T10" fmla="*/ 0 w 31"/>
              <a:gd name="T11" fmla="*/ 0 h 37"/>
              <a:gd name="T12" fmla="*/ 0 60000 65536"/>
              <a:gd name="T13" fmla="*/ 0 60000 65536"/>
              <a:gd name="T14" fmla="*/ 0 60000 65536"/>
              <a:gd name="T15" fmla="*/ 0 60000 65536"/>
              <a:gd name="T16" fmla="*/ 0 60000 65536"/>
              <a:gd name="T17" fmla="*/ 0 60000 65536"/>
              <a:gd name="T18" fmla="*/ 0 w 31"/>
              <a:gd name="T19" fmla="*/ 0 h 37"/>
              <a:gd name="T20" fmla="*/ 31 w 31"/>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31" h="37">
                <a:moveTo>
                  <a:pt x="0" y="0"/>
                </a:moveTo>
                <a:lnTo>
                  <a:pt x="3" y="37"/>
                </a:lnTo>
                <a:lnTo>
                  <a:pt x="31" y="32"/>
                </a:lnTo>
                <a:lnTo>
                  <a:pt x="0" y="0"/>
                </a:lnTo>
                <a:close/>
              </a:path>
            </a:pathLst>
          </a:custGeom>
          <a:solidFill>
            <a:schemeClr val="accent3"/>
          </a:solidFill>
          <a:ln w="12700">
            <a:solidFill>
              <a:schemeClr val="bg1"/>
            </a:solidFill>
            <a:round/>
            <a:headEnd/>
            <a:tailEnd/>
          </a:ln>
        </p:spPr>
        <p:txBody>
          <a:bodyPr/>
          <a:lstStyle/>
          <a:p>
            <a:pPr>
              <a:defRPr/>
            </a:pPr>
            <a:endParaRPr lang="nl-NL"/>
          </a:p>
        </p:txBody>
      </p:sp>
      <p:sp>
        <p:nvSpPr>
          <p:cNvPr id="223" name="Freeform 22"/>
          <p:cNvSpPr>
            <a:spLocks/>
          </p:cNvSpPr>
          <p:nvPr/>
        </p:nvSpPr>
        <p:spPr bwMode="auto">
          <a:xfrm>
            <a:off x="5057796" y="1400329"/>
            <a:ext cx="23244" cy="31954"/>
          </a:xfrm>
          <a:custGeom>
            <a:avLst/>
            <a:gdLst>
              <a:gd name="T0" fmla="*/ 0 w 15"/>
              <a:gd name="T1" fmla="*/ 0 h 20"/>
              <a:gd name="T2" fmla="*/ 3 w 15"/>
              <a:gd name="T3" fmla="*/ 20 h 20"/>
              <a:gd name="T4" fmla="*/ 15 w 15"/>
              <a:gd name="T5" fmla="*/ 17 h 20"/>
              <a:gd name="T6" fmla="*/ 0 w 15"/>
              <a:gd name="T7" fmla="*/ 0 h 20"/>
              <a:gd name="T8" fmla="*/ 0 w 15"/>
              <a:gd name="T9" fmla="*/ 0 h 20"/>
              <a:gd name="T10" fmla="*/ 0 w 15"/>
              <a:gd name="T11" fmla="*/ 0 h 20"/>
              <a:gd name="T12" fmla="*/ 0 60000 65536"/>
              <a:gd name="T13" fmla="*/ 0 60000 65536"/>
              <a:gd name="T14" fmla="*/ 0 60000 65536"/>
              <a:gd name="T15" fmla="*/ 0 60000 65536"/>
              <a:gd name="T16" fmla="*/ 0 60000 65536"/>
              <a:gd name="T17" fmla="*/ 0 60000 65536"/>
              <a:gd name="T18" fmla="*/ 0 w 15"/>
              <a:gd name="T19" fmla="*/ 0 h 20"/>
              <a:gd name="T20" fmla="*/ 15 w 15"/>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15" h="20">
                <a:moveTo>
                  <a:pt x="0" y="0"/>
                </a:moveTo>
                <a:lnTo>
                  <a:pt x="3" y="20"/>
                </a:lnTo>
                <a:lnTo>
                  <a:pt x="15" y="17"/>
                </a:lnTo>
                <a:lnTo>
                  <a:pt x="0" y="0"/>
                </a:lnTo>
                <a:close/>
              </a:path>
            </a:pathLst>
          </a:custGeom>
          <a:solidFill>
            <a:schemeClr val="accent3"/>
          </a:solidFill>
          <a:ln w="12700">
            <a:solidFill>
              <a:schemeClr val="bg1"/>
            </a:solidFill>
            <a:round/>
            <a:headEnd/>
            <a:tailEnd/>
          </a:ln>
        </p:spPr>
        <p:txBody>
          <a:bodyPr/>
          <a:lstStyle/>
          <a:p>
            <a:pPr>
              <a:defRPr/>
            </a:pPr>
            <a:endParaRPr lang="nl-NL"/>
          </a:p>
        </p:txBody>
      </p:sp>
      <p:sp>
        <p:nvSpPr>
          <p:cNvPr id="224" name="Freeform 23"/>
          <p:cNvSpPr>
            <a:spLocks/>
          </p:cNvSpPr>
          <p:nvPr/>
        </p:nvSpPr>
        <p:spPr bwMode="auto">
          <a:xfrm>
            <a:off x="4926081" y="1616016"/>
            <a:ext cx="29442" cy="89470"/>
          </a:xfrm>
          <a:custGeom>
            <a:avLst/>
            <a:gdLst>
              <a:gd name="T0" fmla="*/ 19 w 19"/>
              <a:gd name="T1" fmla="*/ 0 h 56"/>
              <a:gd name="T2" fmla="*/ 0 w 19"/>
              <a:gd name="T3" fmla="*/ 30 h 56"/>
              <a:gd name="T4" fmla="*/ 17 w 19"/>
              <a:gd name="T5" fmla="*/ 56 h 56"/>
              <a:gd name="T6" fmla="*/ 19 w 19"/>
              <a:gd name="T7" fmla="*/ 0 h 56"/>
              <a:gd name="T8" fmla="*/ 19 w 19"/>
              <a:gd name="T9" fmla="*/ 0 h 56"/>
              <a:gd name="T10" fmla="*/ 19 w 19"/>
              <a:gd name="T11" fmla="*/ 0 h 56"/>
              <a:gd name="T12" fmla="*/ 0 60000 65536"/>
              <a:gd name="T13" fmla="*/ 0 60000 65536"/>
              <a:gd name="T14" fmla="*/ 0 60000 65536"/>
              <a:gd name="T15" fmla="*/ 0 60000 65536"/>
              <a:gd name="T16" fmla="*/ 0 60000 65536"/>
              <a:gd name="T17" fmla="*/ 0 60000 65536"/>
              <a:gd name="T18" fmla="*/ 0 w 19"/>
              <a:gd name="T19" fmla="*/ 0 h 56"/>
              <a:gd name="T20" fmla="*/ 19 w 19"/>
              <a:gd name="T21" fmla="*/ 56 h 56"/>
            </a:gdLst>
            <a:ahLst/>
            <a:cxnLst>
              <a:cxn ang="T12">
                <a:pos x="T0" y="T1"/>
              </a:cxn>
              <a:cxn ang="T13">
                <a:pos x="T2" y="T3"/>
              </a:cxn>
              <a:cxn ang="T14">
                <a:pos x="T4" y="T5"/>
              </a:cxn>
              <a:cxn ang="T15">
                <a:pos x="T6" y="T7"/>
              </a:cxn>
              <a:cxn ang="T16">
                <a:pos x="T8" y="T9"/>
              </a:cxn>
              <a:cxn ang="T17">
                <a:pos x="T10" y="T11"/>
              </a:cxn>
            </a:cxnLst>
            <a:rect l="T18" t="T19" r="T20" b="T21"/>
            <a:pathLst>
              <a:path w="19" h="56">
                <a:moveTo>
                  <a:pt x="19" y="0"/>
                </a:moveTo>
                <a:lnTo>
                  <a:pt x="0" y="30"/>
                </a:lnTo>
                <a:lnTo>
                  <a:pt x="17" y="56"/>
                </a:lnTo>
                <a:lnTo>
                  <a:pt x="19" y="0"/>
                </a:lnTo>
                <a:close/>
              </a:path>
            </a:pathLst>
          </a:custGeom>
          <a:solidFill>
            <a:schemeClr val="accent3"/>
          </a:solidFill>
          <a:ln w="12700">
            <a:solidFill>
              <a:schemeClr val="bg1"/>
            </a:solidFill>
            <a:round/>
            <a:headEnd/>
            <a:tailEnd/>
          </a:ln>
        </p:spPr>
        <p:txBody>
          <a:bodyPr/>
          <a:lstStyle/>
          <a:p>
            <a:pPr>
              <a:defRPr/>
            </a:pPr>
            <a:endParaRPr lang="nl-NL"/>
          </a:p>
        </p:txBody>
      </p:sp>
      <p:sp>
        <p:nvSpPr>
          <p:cNvPr id="225" name="Freeform 24"/>
          <p:cNvSpPr>
            <a:spLocks/>
          </p:cNvSpPr>
          <p:nvPr/>
        </p:nvSpPr>
        <p:spPr bwMode="auto">
          <a:xfrm>
            <a:off x="4118746" y="1727854"/>
            <a:ext cx="798038" cy="1020918"/>
          </a:xfrm>
          <a:custGeom>
            <a:avLst/>
            <a:gdLst>
              <a:gd name="T0" fmla="*/ 421 w 515"/>
              <a:gd name="T1" fmla="*/ 338 h 639"/>
              <a:gd name="T2" fmla="*/ 451 w 515"/>
              <a:gd name="T3" fmla="*/ 375 h 639"/>
              <a:gd name="T4" fmla="*/ 402 w 515"/>
              <a:gd name="T5" fmla="*/ 524 h 639"/>
              <a:gd name="T6" fmla="*/ 164 w 515"/>
              <a:gd name="T7" fmla="*/ 615 h 639"/>
              <a:gd name="T8" fmla="*/ 190 w 515"/>
              <a:gd name="T9" fmla="*/ 554 h 639"/>
              <a:gd name="T10" fmla="*/ 38 w 515"/>
              <a:gd name="T11" fmla="*/ 604 h 639"/>
              <a:gd name="T12" fmla="*/ 129 w 515"/>
              <a:gd name="T13" fmla="*/ 584 h 639"/>
              <a:gd name="T14" fmla="*/ 62 w 515"/>
              <a:gd name="T15" fmla="*/ 586 h 639"/>
              <a:gd name="T16" fmla="*/ 48 w 515"/>
              <a:gd name="T17" fmla="*/ 561 h 639"/>
              <a:gd name="T18" fmla="*/ 98 w 515"/>
              <a:gd name="T19" fmla="*/ 532 h 639"/>
              <a:gd name="T20" fmla="*/ 66 w 515"/>
              <a:gd name="T21" fmla="*/ 491 h 639"/>
              <a:gd name="T22" fmla="*/ 77 w 515"/>
              <a:gd name="T23" fmla="*/ 471 h 639"/>
              <a:gd name="T24" fmla="*/ 102 w 515"/>
              <a:gd name="T25" fmla="*/ 446 h 639"/>
              <a:gd name="T26" fmla="*/ 95 w 515"/>
              <a:gd name="T27" fmla="*/ 403 h 639"/>
              <a:gd name="T28" fmla="*/ 75 w 515"/>
              <a:gd name="T29" fmla="*/ 385 h 639"/>
              <a:gd name="T30" fmla="*/ 115 w 515"/>
              <a:gd name="T31" fmla="*/ 351 h 639"/>
              <a:gd name="T32" fmla="*/ 80 w 515"/>
              <a:gd name="T33" fmla="*/ 301 h 639"/>
              <a:gd name="T34" fmla="*/ 74 w 515"/>
              <a:gd name="T35" fmla="*/ 246 h 639"/>
              <a:gd name="T36" fmla="*/ 136 w 515"/>
              <a:gd name="T37" fmla="*/ 229 h 639"/>
              <a:gd name="T38" fmla="*/ 195 w 515"/>
              <a:gd name="T39" fmla="*/ 229 h 639"/>
              <a:gd name="T40" fmla="*/ 151 w 515"/>
              <a:gd name="T41" fmla="*/ 122 h 639"/>
              <a:gd name="T42" fmla="*/ 179 w 515"/>
              <a:gd name="T43" fmla="*/ 90 h 639"/>
              <a:gd name="T44" fmla="*/ 236 w 515"/>
              <a:gd name="T45" fmla="*/ 39 h 639"/>
              <a:gd name="T46" fmla="*/ 257 w 515"/>
              <a:gd name="T47" fmla="*/ 36 h 639"/>
              <a:gd name="T48" fmla="*/ 272 w 515"/>
              <a:gd name="T49" fmla="*/ 38 h 639"/>
              <a:gd name="T50" fmla="*/ 293 w 515"/>
              <a:gd name="T51" fmla="*/ 60 h 639"/>
              <a:gd name="T52" fmla="*/ 458 w 515"/>
              <a:gd name="T53" fmla="*/ 22 h 639"/>
              <a:gd name="T54" fmla="*/ 492 w 515"/>
              <a:gd name="T55" fmla="*/ 0 h 639"/>
              <a:gd name="T56" fmla="*/ 515 w 515"/>
              <a:gd name="T57" fmla="*/ 65 h 639"/>
              <a:gd name="T58" fmla="*/ 363 w 515"/>
              <a:gd name="T59" fmla="*/ 238 h 639"/>
              <a:gd name="T60" fmla="*/ 356 w 515"/>
              <a:gd name="T61" fmla="*/ 258 h 639"/>
              <a:gd name="T62" fmla="*/ 376 w 515"/>
              <a:gd name="T63" fmla="*/ 285 h 639"/>
              <a:gd name="T64" fmla="*/ 297 w 515"/>
              <a:gd name="T65" fmla="*/ 322 h 639"/>
              <a:gd name="T66" fmla="*/ 302 w 515"/>
              <a:gd name="T67" fmla="*/ 352 h 639"/>
              <a:gd name="T68" fmla="*/ 361 w 515"/>
              <a:gd name="T69" fmla="*/ 321 h 639"/>
              <a:gd name="T70" fmla="*/ 397 w 515"/>
              <a:gd name="T71" fmla="*/ 308 h 6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15"/>
              <a:gd name="T109" fmla="*/ 0 h 639"/>
              <a:gd name="T110" fmla="*/ 515 w 515"/>
              <a:gd name="T111" fmla="*/ 639 h 6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15" h="639">
                <a:moveTo>
                  <a:pt x="397" y="308"/>
                </a:moveTo>
                <a:lnTo>
                  <a:pt x="421" y="338"/>
                </a:lnTo>
                <a:lnTo>
                  <a:pt x="421" y="389"/>
                </a:lnTo>
                <a:lnTo>
                  <a:pt x="451" y="375"/>
                </a:lnTo>
                <a:lnTo>
                  <a:pt x="472" y="406"/>
                </a:lnTo>
                <a:lnTo>
                  <a:pt x="402" y="524"/>
                </a:lnTo>
                <a:lnTo>
                  <a:pt x="250" y="615"/>
                </a:lnTo>
                <a:lnTo>
                  <a:pt x="164" y="615"/>
                </a:lnTo>
                <a:lnTo>
                  <a:pt x="182" y="604"/>
                </a:lnTo>
                <a:lnTo>
                  <a:pt x="190" y="554"/>
                </a:lnTo>
                <a:lnTo>
                  <a:pt x="90" y="639"/>
                </a:lnTo>
                <a:lnTo>
                  <a:pt x="38" y="604"/>
                </a:lnTo>
                <a:lnTo>
                  <a:pt x="66" y="604"/>
                </a:lnTo>
                <a:lnTo>
                  <a:pt x="129" y="584"/>
                </a:lnTo>
                <a:lnTo>
                  <a:pt x="95" y="576"/>
                </a:lnTo>
                <a:lnTo>
                  <a:pt x="62" y="586"/>
                </a:lnTo>
                <a:lnTo>
                  <a:pt x="0" y="576"/>
                </a:lnTo>
                <a:lnTo>
                  <a:pt x="48" y="561"/>
                </a:lnTo>
                <a:lnTo>
                  <a:pt x="69" y="561"/>
                </a:lnTo>
                <a:lnTo>
                  <a:pt x="98" y="532"/>
                </a:lnTo>
                <a:lnTo>
                  <a:pt x="58" y="532"/>
                </a:lnTo>
                <a:lnTo>
                  <a:pt x="66" y="491"/>
                </a:lnTo>
                <a:lnTo>
                  <a:pt x="92" y="496"/>
                </a:lnTo>
                <a:lnTo>
                  <a:pt x="77" y="471"/>
                </a:lnTo>
                <a:lnTo>
                  <a:pt x="136" y="461"/>
                </a:lnTo>
                <a:lnTo>
                  <a:pt x="102" y="446"/>
                </a:lnTo>
                <a:lnTo>
                  <a:pt x="136" y="424"/>
                </a:lnTo>
                <a:lnTo>
                  <a:pt x="95" y="403"/>
                </a:lnTo>
                <a:lnTo>
                  <a:pt x="128" y="380"/>
                </a:lnTo>
                <a:lnTo>
                  <a:pt x="75" y="385"/>
                </a:lnTo>
                <a:lnTo>
                  <a:pt x="65" y="316"/>
                </a:lnTo>
                <a:lnTo>
                  <a:pt x="115" y="351"/>
                </a:lnTo>
                <a:lnTo>
                  <a:pt x="128" y="336"/>
                </a:lnTo>
                <a:lnTo>
                  <a:pt x="80" y="301"/>
                </a:lnTo>
                <a:lnTo>
                  <a:pt x="102" y="285"/>
                </a:lnTo>
                <a:lnTo>
                  <a:pt x="74" y="246"/>
                </a:lnTo>
                <a:lnTo>
                  <a:pt x="115" y="229"/>
                </a:lnTo>
                <a:lnTo>
                  <a:pt x="136" y="229"/>
                </a:lnTo>
                <a:lnTo>
                  <a:pt x="148" y="215"/>
                </a:lnTo>
                <a:lnTo>
                  <a:pt x="195" y="229"/>
                </a:lnTo>
                <a:lnTo>
                  <a:pt x="141" y="172"/>
                </a:lnTo>
                <a:lnTo>
                  <a:pt x="151" y="122"/>
                </a:lnTo>
                <a:lnTo>
                  <a:pt x="201" y="132"/>
                </a:lnTo>
                <a:lnTo>
                  <a:pt x="179" y="90"/>
                </a:lnTo>
                <a:lnTo>
                  <a:pt x="205" y="12"/>
                </a:lnTo>
                <a:lnTo>
                  <a:pt x="236" y="39"/>
                </a:lnTo>
                <a:lnTo>
                  <a:pt x="242" y="22"/>
                </a:lnTo>
                <a:lnTo>
                  <a:pt x="257" y="36"/>
                </a:lnTo>
                <a:lnTo>
                  <a:pt x="252" y="65"/>
                </a:lnTo>
                <a:lnTo>
                  <a:pt x="272" y="38"/>
                </a:lnTo>
                <a:lnTo>
                  <a:pt x="293" y="39"/>
                </a:lnTo>
                <a:lnTo>
                  <a:pt x="293" y="60"/>
                </a:lnTo>
                <a:lnTo>
                  <a:pt x="355" y="24"/>
                </a:lnTo>
                <a:lnTo>
                  <a:pt x="458" y="22"/>
                </a:lnTo>
                <a:lnTo>
                  <a:pt x="458" y="5"/>
                </a:lnTo>
                <a:lnTo>
                  <a:pt x="492" y="0"/>
                </a:lnTo>
                <a:lnTo>
                  <a:pt x="514" y="10"/>
                </a:lnTo>
                <a:lnTo>
                  <a:pt x="515" y="65"/>
                </a:lnTo>
                <a:lnTo>
                  <a:pt x="395" y="181"/>
                </a:lnTo>
                <a:lnTo>
                  <a:pt x="363" y="238"/>
                </a:lnTo>
                <a:lnTo>
                  <a:pt x="308" y="236"/>
                </a:lnTo>
                <a:lnTo>
                  <a:pt x="356" y="258"/>
                </a:lnTo>
                <a:lnTo>
                  <a:pt x="405" y="243"/>
                </a:lnTo>
                <a:lnTo>
                  <a:pt x="376" y="285"/>
                </a:lnTo>
                <a:lnTo>
                  <a:pt x="332" y="290"/>
                </a:lnTo>
                <a:lnTo>
                  <a:pt x="297" y="322"/>
                </a:lnTo>
                <a:lnTo>
                  <a:pt x="365" y="301"/>
                </a:lnTo>
                <a:lnTo>
                  <a:pt x="302" y="352"/>
                </a:lnTo>
                <a:lnTo>
                  <a:pt x="344" y="348"/>
                </a:lnTo>
                <a:lnTo>
                  <a:pt x="361" y="321"/>
                </a:lnTo>
                <a:lnTo>
                  <a:pt x="397" y="308"/>
                </a:lnTo>
                <a:close/>
              </a:path>
            </a:pathLst>
          </a:custGeom>
          <a:solidFill>
            <a:schemeClr val="accent3"/>
          </a:solidFill>
          <a:ln w="12700">
            <a:solidFill>
              <a:schemeClr val="bg1"/>
            </a:solidFill>
            <a:round/>
            <a:headEnd/>
            <a:tailEnd/>
          </a:ln>
        </p:spPr>
        <p:txBody>
          <a:bodyPr/>
          <a:lstStyle/>
          <a:p>
            <a:pPr>
              <a:defRPr/>
            </a:pPr>
            <a:endParaRPr lang="nl-NL"/>
          </a:p>
        </p:txBody>
      </p:sp>
      <p:sp>
        <p:nvSpPr>
          <p:cNvPr id="226" name="Freeform 25"/>
          <p:cNvSpPr>
            <a:spLocks/>
          </p:cNvSpPr>
          <p:nvPr/>
        </p:nvSpPr>
        <p:spPr bwMode="auto">
          <a:xfrm>
            <a:off x="4733932" y="2175204"/>
            <a:ext cx="511364" cy="472914"/>
          </a:xfrm>
          <a:custGeom>
            <a:avLst/>
            <a:gdLst>
              <a:gd name="T0" fmla="*/ 0 w 330"/>
              <a:gd name="T1" fmla="*/ 28 h 296"/>
              <a:gd name="T2" fmla="*/ 24 w 330"/>
              <a:gd name="T3" fmla="*/ 58 h 296"/>
              <a:gd name="T4" fmla="*/ 24 w 330"/>
              <a:gd name="T5" fmla="*/ 109 h 296"/>
              <a:gd name="T6" fmla="*/ 54 w 330"/>
              <a:gd name="T7" fmla="*/ 95 h 296"/>
              <a:gd name="T8" fmla="*/ 75 w 330"/>
              <a:gd name="T9" fmla="*/ 126 h 296"/>
              <a:gd name="T10" fmla="*/ 5 w 330"/>
              <a:gd name="T11" fmla="*/ 244 h 296"/>
              <a:gd name="T12" fmla="*/ 82 w 330"/>
              <a:gd name="T13" fmla="*/ 260 h 296"/>
              <a:gd name="T14" fmla="*/ 148 w 330"/>
              <a:gd name="T15" fmla="*/ 237 h 296"/>
              <a:gd name="T16" fmla="*/ 203 w 330"/>
              <a:gd name="T17" fmla="*/ 296 h 296"/>
              <a:gd name="T18" fmla="*/ 247 w 330"/>
              <a:gd name="T19" fmla="*/ 276 h 296"/>
              <a:gd name="T20" fmla="*/ 282 w 330"/>
              <a:gd name="T21" fmla="*/ 159 h 296"/>
              <a:gd name="T22" fmla="*/ 330 w 330"/>
              <a:gd name="T23" fmla="*/ 72 h 296"/>
              <a:gd name="T24" fmla="*/ 287 w 330"/>
              <a:gd name="T25" fmla="*/ 0 h 296"/>
              <a:gd name="T26" fmla="*/ 224 w 330"/>
              <a:gd name="T27" fmla="*/ 16 h 296"/>
              <a:gd name="T28" fmla="*/ 74 w 330"/>
              <a:gd name="T29" fmla="*/ 4 h 296"/>
              <a:gd name="T30" fmla="*/ 0 w 330"/>
              <a:gd name="T31" fmla="*/ 28 h 296"/>
              <a:gd name="T32" fmla="*/ 0 w 330"/>
              <a:gd name="T33" fmla="*/ 28 h 296"/>
              <a:gd name="T34" fmla="*/ 0 w 330"/>
              <a:gd name="T35" fmla="*/ 28 h 29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0"/>
              <a:gd name="T55" fmla="*/ 0 h 296"/>
              <a:gd name="T56" fmla="*/ 330 w 330"/>
              <a:gd name="T57" fmla="*/ 296 h 29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0" h="296">
                <a:moveTo>
                  <a:pt x="0" y="28"/>
                </a:moveTo>
                <a:lnTo>
                  <a:pt x="24" y="58"/>
                </a:lnTo>
                <a:lnTo>
                  <a:pt x="24" y="109"/>
                </a:lnTo>
                <a:lnTo>
                  <a:pt x="54" y="95"/>
                </a:lnTo>
                <a:lnTo>
                  <a:pt x="75" y="126"/>
                </a:lnTo>
                <a:lnTo>
                  <a:pt x="5" y="244"/>
                </a:lnTo>
                <a:lnTo>
                  <a:pt x="82" y="260"/>
                </a:lnTo>
                <a:lnTo>
                  <a:pt x="148" y="237"/>
                </a:lnTo>
                <a:lnTo>
                  <a:pt x="203" y="296"/>
                </a:lnTo>
                <a:lnTo>
                  <a:pt x="247" y="276"/>
                </a:lnTo>
                <a:lnTo>
                  <a:pt x="282" y="159"/>
                </a:lnTo>
                <a:lnTo>
                  <a:pt x="330" y="72"/>
                </a:lnTo>
                <a:lnTo>
                  <a:pt x="287" y="0"/>
                </a:lnTo>
                <a:lnTo>
                  <a:pt x="224" y="16"/>
                </a:lnTo>
                <a:lnTo>
                  <a:pt x="74" y="4"/>
                </a:lnTo>
                <a:lnTo>
                  <a:pt x="0" y="28"/>
                </a:lnTo>
                <a:close/>
              </a:path>
            </a:pathLst>
          </a:custGeom>
          <a:solidFill>
            <a:schemeClr val="accent3"/>
          </a:solidFill>
          <a:ln w="12700">
            <a:solidFill>
              <a:schemeClr val="bg1"/>
            </a:solidFill>
            <a:round/>
            <a:headEnd/>
            <a:tailEnd/>
          </a:ln>
        </p:spPr>
        <p:txBody>
          <a:bodyPr/>
          <a:lstStyle/>
          <a:p>
            <a:pPr>
              <a:defRPr/>
            </a:pPr>
            <a:endParaRPr lang="nl-NL"/>
          </a:p>
        </p:txBody>
      </p:sp>
      <p:sp>
        <p:nvSpPr>
          <p:cNvPr id="227" name="Freeform 26"/>
          <p:cNvSpPr>
            <a:spLocks/>
          </p:cNvSpPr>
          <p:nvPr/>
        </p:nvSpPr>
        <p:spPr bwMode="auto">
          <a:xfrm>
            <a:off x="4210172" y="2710428"/>
            <a:ext cx="635331" cy="763692"/>
          </a:xfrm>
          <a:custGeom>
            <a:avLst/>
            <a:gdLst>
              <a:gd name="T0" fmla="*/ 106 w 410"/>
              <a:gd name="T1" fmla="*/ 0 h 478"/>
              <a:gd name="T2" fmla="*/ 74 w 410"/>
              <a:gd name="T3" fmla="*/ 11 h 478"/>
              <a:gd name="T4" fmla="*/ 93 w 410"/>
              <a:gd name="T5" fmla="*/ 23 h 478"/>
              <a:gd name="T6" fmla="*/ 69 w 410"/>
              <a:gd name="T7" fmla="*/ 32 h 478"/>
              <a:gd name="T8" fmla="*/ 125 w 410"/>
              <a:gd name="T9" fmla="*/ 41 h 478"/>
              <a:gd name="T10" fmla="*/ 108 w 410"/>
              <a:gd name="T11" fmla="*/ 53 h 478"/>
              <a:gd name="T12" fmla="*/ 46 w 410"/>
              <a:gd name="T13" fmla="*/ 63 h 478"/>
              <a:gd name="T14" fmla="*/ 52 w 410"/>
              <a:gd name="T15" fmla="*/ 145 h 478"/>
              <a:gd name="T16" fmla="*/ 23 w 410"/>
              <a:gd name="T17" fmla="*/ 198 h 478"/>
              <a:gd name="T18" fmla="*/ 41 w 410"/>
              <a:gd name="T19" fmla="*/ 198 h 478"/>
              <a:gd name="T20" fmla="*/ 44 w 410"/>
              <a:gd name="T21" fmla="*/ 250 h 478"/>
              <a:gd name="T22" fmla="*/ 0 w 410"/>
              <a:gd name="T23" fmla="*/ 372 h 478"/>
              <a:gd name="T24" fmla="*/ 44 w 410"/>
              <a:gd name="T25" fmla="*/ 377 h 478"/>
              <a:gd name="T26" fmla="*/ 63 w 410"/>
              <a:gd name="T27" fmla="*/ 256 h 478"/>
              <a:gd name="T28" fmla="*/ 87 w 410"/>
              <a:gd name="T29" fmla="*/ 245 h 478"/>
              <a:gd name="T30" fmla="*/ 69 w 410"/>
              <a:gd name="T31" fmla="*/ 182 h 478"/>
              <a:gd name="T32" fmla="*/ 134 w 410"/>
              <a:gd name="T33" fmla="*/ 108 h 478"/>
              <a:gd name="T34" fmla="*/ 94 w 410"/>
              <a:gd name="T35" fmla="*/ 176 h 478"/>
              <a:gd name="T36" fmla="*/ 94 w 410"/>
              <a:gd name="T37" fmla="*/ 219 h 478"/>
              <a:gd name="T38" fmla="*/ 118 w 410"/>
              <a:gd name="T39" fmla="*/ 183 h 478"/>
              <a:gd name="T40" fmla="*/ 136 w 410"/>
              <a:gd name="T41" fmla="*/ 210 h 478"/>
              <a:gd name="T42" fmla="*/ 162 w 410"/>
              <a:gd name="T43" fmla="*/ 140 h 478"/>
              <a:gd name="T44" fmla="*/ 216 w 410"/>
              <a:gd name="T45" fmla="*/ 201 h 478"/>
              <a:gd name="T46" fmla="*/ 162 w 410"/>
              <a:gd name="T47" fmla="*/ 198 h 478"/>
              <a:gd name="T48" fmla="*/ 162 w 410"/>
              <a:gd name="T49" fmla="*/ 266 h 478"/>
              <a:gd name="T50" fmla="*/ 203 w 410"/>
              <a:gd name="T51" fmla="*/ 331 h 478"/>
              <a:gd name="T52" fmla="*/ 157 w 410"/>
              <a:gd name="T53" fmla="*/ 383 h 478"/>
              <a:gd name="T54" fmla="*/ 145 w 410"/>
              <a:gd name="T55" fmla="*/ 414 h 478"/>
              <a:gd name="T56" fmla="*/ 129 w 410"/>
              <a:gd name="T57" fmla="*/ 470 h 478"/>
              <a:gd name="T58" fmla="*/ 132 w 410"/>
              <a:gd name="T59" fmla="*/ 478 h 478"/>
              <a:gd name="T60" fmla="*/ 201 w 410"/>
              <a:gd name="T61" fmla="*/ 463 h 478"/>
              <a:gd name="T62" fmla="*/ 239 w 410"/>
              <a:gd name="T63" fmla="*/ 432 h 478"/>
              <a:gd name="T64" fmla="*/ 254 w 410"/>
              <a:gd name="T65" fmla="*/ 398 h 478"/>
              <a:gd name="T66" fmla="*/ 291 w 410"/>
              <a:gd name="T67" fmla="*/ 398 h 478"/>
              <a:gd name="T68" fmla="*/ 314 w 410"/>
              <a:gd name="T69" fmla="*/ 353 h 478"/>
              <a:gd name="T70" fmla="*/ 367 w 410"/>
              <a:gd name="T71" fmla="*/ 398 h 478"/>
              <a:gd name="T72" fmla="*/ 386 w 410"/>
              <a:gd name="T73" fmla="*/ 305 h 478"/>
              <a:gd name="T74" fmla="*/ 410 w 410"/>
              <a:gd name="T75" fmla="*/ 269 h 478"/>
              <a:gd name="T76" fmla="*/ 356 w 410"/>
              <a:gd name="T77" fmla="*/ 249 h 478"/>
              <a:gd name="T78" fmla="*/ 348 w 410"/>
              <a:gd name="T79" fmla="*/ 210 h 478"/>
              <a:gd name="T80" fmla="*/ 266 w 410"/>
              <a:gd name="T81" fmla="*/ 177 h 478"/>
              <a:gd name="T82" fmla="*/ 266 w 410"/>
              <a:gd name="T83" fmla="*/ 201 h 478"/>
              <a:gd name="T84" fmla="*/ 229 w 410"/>
              <a:gd name="T85" fmla="*/ 168 h 478"/>
              <a:gd name="T86" fmla="*/ 206 w 410"/>
              <a:gd name="T87" fmla="*/ 151 h 478"/>
              <a:gd name="T88" fmla="*/ 206 w 410"/>
              <a:gd name="T89" fmla="*/ 95 h 478"/>
              <a:gd name="T90" fmla="*/ 175 w 410"/>
              <a:gd name="T91" fmla="*/ 78 h 478"/>
              <a:gd name="T92" fmla="*/ 214 w 410"/>
              <a:gd name="T93" fmla="*/ 13 h 478"/>
              <a:gd name="T94" fmla="*/ 192 w 410"/>
              <a:gd name="T95" fmla="*/ 0 h 478"/>
              <a:gd name="T96" fmla="*/ 106 w 410"/>
              <a:gd name="T97" fmla="*/ 0 h 478"/>
              <a:gd name="T98" fmla="*/ 106 w 410"/>
              <a:gd name="T99" fmla="*/ 0 h 478"/>
              <a:gd name="T100" fmla="*/ 106 w 410"/>
              <a:gd name="T101" fmla="*/ 0 h 47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478"/>
              <a:gd name="T155" fmla="*/ 410 w 410"/>
              <a:gd name="T156" fmla="*/ 478 h 47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478">
                <a:moveTo>
                  <a:pt x="106" y="0"/>
                </a:moveTo>
                <a:lnTo>
                  <a:pt x="74" y="11"/>
                </a:lnTo>
                <a:lnTo>
                  <a:pt x="93" y="23"/>
                </a:lnTo>
                <a:lnTo>
                  <a:pt x="69" y="32"/>
                </a:lnTo>
                <a:lnTo>
                  <a:pt x="125" y="41"/>
                </a:lnTo>
                <a:lnTo>
                  <a:pt x="108" y="53"/>
                </a:lnTo>
                <a:lnTo>
                  <a:pt x="46" y="63"/>
                </a:lnTo>
                <a:lnTo>
                  <a:pt x="52" y="145"/>
                </a:lnTo>
                <a:lnTo>
                  <a:pt x="23" y="198"/>
                </a:lnTo>
                <a:lnTo>
                  <a:pt x="41" y="198"/>
                </a:lnTo>
                <a:lnTo>
                  <a:pt x="44" y="250"/>
                </a:lnTo>
                <a:lnTo>
                  <a:pt x="0" y="372"/>
                </a:lnTo>
                <a:lnTo>
                  <a:pt x="44" y="377"/>
                </a:lnTo>
                <a:lnTo>
                  <a:pt x="63" y="256"/>
                </a:lnTo>
                <a:lnTo>
                  <a:pt x="87" y="245"/>
                </a:lnTo>
                <a:lnTo>
                  <a:pt x="69" y="182"/>
                </a:lnTo>
                <a:lnTo>
                  <a:pt x="134" y="108"/>
                </a:lnTo>
                <a:lnTo>
                  <a:pt x="94" y="176"/>
                </a:lnTo>
                <a:lnTo>
                  <a:pt x="94" y="219"/>
                </a:lnTo>
                <a:lnTo>
                  <a:pt x="118" y="183"/>
                </a:lnTo>
                <a:lnTo>
                  <a:pt x="136" y="210"/>
                </a:lnTo>
                <a:lnTo>
                  <a:pt x="162" y="140"/>
                </a:lnTo>
                <a:lnTo>
                  <a:pt x="216" y="201"/>
                </a:lnTo>
                <a:lnTo>
                  <a:pt x="162" y="198"/>
                </a:lnTo>
                <a:lnTo>
                  <a:pt x="162" y="266"/>
                </a:lnTo>
                <a:lnTo>
                  <a:pt x="203" y="331"/>
                </a:lnTo>
                <a:lnTo>
                  <a:pt x="157" y="383"/>
                </a:lnTo>
                <a:lnTo>
                  <a:pt x="145" y="414"/>
                </a:lnTo>
                <a:lnTo>
                  <a:pt x="129" y="470"/>
                </a:lnTo>
                <a:lnTo>
                  <a:pt x="132" y="478"/>
                </a:lnTo>
                <a:lnTo>
                  <a:pt x="201" y="463"/>
                </a:lnTo>
                <a:lnTo>
                  <a:pt x="239" y="432"/>
                </a:lnTo>
                <a:lnTo>
                  <a:pt x="254" y="398"/>
                </a:lnTo>
                <a:lnTo>
                  <a:pt x="291" y="398"/>
                </a:lnTo>
                <a:lnTo>
                  <a:pt x="314" y="353"/>
                </a:lnTo>
                <a:lnTo>
                  <a:pt x="367" y="398"/>
                </a:lnTo>
                <a:lnTo>
                  <a:pt x="386" y="305"/>
                </a:lnTo>
                <a:lnTo>
                  <a:pt x="410" y="269"/>
                </a:lnTo>
                <a:lnTo>
                  <a:pt x="356" y="249"/>
                </a:lnTo>
                <a:lnTo>
                  <a:pt x="348" y="210"/>
                </a:lnTo>
                <a:lnTo>
                  <a:pt x="266" y="177"/>
                </a:lnTo>
                <a:lnTo>
                  <a:pt x="266" y="201"/>
                </a:lnTo>
                <a:lnTo>
                  <a:pt x="229" y="168"/>
                </a:lnTo>
                <a:lnTo>
                  <a:pt x="206" y="151"/>
                </a:lnTo>
                <a:lnTo>
                  <a:pt x="206" y="95"/>
                </a:lnTo>
                <a:lnTo>
                  <a:pt x="175" y="78"/>
                </a:lnTo>
                <a:lnTo>
                  <a:pt x="214" y="13"/>
                </a:lnTo>
                <a:lnTo>
                  <a:pt x="192" y="0"/>
                </a:lnTo>
                <a:lnTo>
                  <a:pt x="106" y="0"/>
                </a:lnTo>
                <a:close/>
              </a:path>
            </a:pathLst>
          </a:custGeom>
          <a:solidFill>
            <a:schemeClr val="accent3"/>
          </a:solidFill>
          <a:ln w="12700">
            <a:solidFill>
              <a:schemeClr val="bg1"/>
            </a:solidFill>
            <a:round/>
            <a:headEnd/>
            <a:tailEnd/>
          </a:ln>
        </p:spPr>
        <p:txBody>
          <a:bodyPr/>
          <a:lstStyle/>
          <a:p>
            <a:pPr>
              <a:defRPr/>
            </a:pPr>
            <a:endParaRPr lang="nl-NL"/>
          </a:p>
        </p:txBody>
      </p:sp>
      <p:sp>
        <p:nvSpPr>
          <p:cNvPr id="228" name="Freeform 27"/>
          <p:cNvSpPr>
            <a:spLocks/>
          </p:cNvSpPr>
          <p:nvPr/>
        </p:nvSpPr>
        <p:spPr bwMode="auto">
          <a:xfrm>
            <a:off x="4482899" y="2747174"/>
            <a:ext cx="328513" cy="298766"/>
          </a:xfrm>
          <a:custGeom>
            <a:avLst/>
            <a:gdLst>
              <a:gd name="T0" fmla="*/ 25 w 212"/>
              <a:gd name="T1" fmla="*/ 15 h 187"/>
              <a:gd name="T2" fmla="*/ 73 w 212"/>
              <a:gd name="T3" fmla="*/ 0 h 187"/>
              <a:gd name="T4" fmla="*/ 115 w 212"/>
              <a:gd name="T5" fmla="*/ 19 h 187"/>
              <a:gd name="T6" fmla="*/ 98 w 212"/>
              <a:gd name="T7" fmla="*/ 70 h 187"/>
              <a:gd name="T8" fmla="*/ 201 w 212"/>
              <a:gd name="T9" fmla="*/ 96 h 187"/>
              <a:gd name="T10" fmla="*/ 182 w 212"/>
              <a:gd name="T11" fmla="*/ 137 h 187"/>
              <a:gd name="T12" fmla="*/ 212 w 212"/>
              <a:gd name="T13" fmla="*/ 159 h 187"/>
              <a:gd name="T14" fmla="*/ 171 w 212"/>
              <a:gd name="T15" fmla="*/ 187 h 187"/>
              <a:gd name="T16" fmla="*/ 90 w 212"/>
              <a:gd name="T17" fmla="*/ 155 h 187"/>
              <a:gd name="T18" fmla="*/ 90 w 212"/>
              <a:gd name="T19" fmla="*/ 178 h 187"/>
              <a:gd name="T20" fmla="*/ 58 w 212"/>
              <a:gd name="T21" fmla="*/ 149 h 187"/>
              <a:gd name="T22" fmla="*/ 28 w 212"/>
              <a:gd name="T23" fmla="*/ 128 h 187"/>
              <a:gd name="T24" fmla="*/ 28 w 212"/>
              <a:gd name="T25" fmla="*/ 72 h 187"/>
              <a:gd name="T26" fmla="*/ 0 w 212"/>
              <a:gd name="T27" fmla="*/ 55 h 187"/>
              <a:gd name="T28" fmla="*/ 25 w 212"/>
              <a:gd name="T29" fmla="*/ 15 h 187"/>
              <a:gd name="T30" fmla="*/ 25 w 212"/>
              <a:gd name="T31" fmla="*/ 15 h 187"/>
              <a:gd name="T32" fmla="*/ 25 w 212"/>
              <a:gd name="T33" fmla="*/ 15 h 18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2"/>
              <a:gd name="T52" fmla="*/ 0 h 187"/>
              <a:gd name="T53" fmla="*/ 212 w 212"/>
              <a:gd name="T54" fmla="*/ 187 h 18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2" h="187">
                <a:moveTo>
                  <a:pt x="25" y="15"/>
                </a:moveTo>
                <a:lnTo>
                  <a:pt x="73" y="0"/>
                </a:lnTo>
                <a:lnTo>
                  <a:pt x="115" y="19"/>
                </a:lnTo>
                <a:lnTo>
                  <a:pt x="98" y="70"/>
                </a:lnTo>
                <a:lnTo>
                  <a:pt x="201" y="96"/>
                </a:lnTo>
                <a:lnTo>
                  <a:pt x="182" y="137"/>
                </a:lnTo>
                <a:lnTo>
                  <a:pt x="212" y="159"/>
                </a:lnTo>
                <a:lnTo>
                  <a:pt x="171" y="187"/>
                </a:lnTo>
                <a:lnTo>
                  <a:pt x="90" y="155"/>
                </a:lnTo>
                <a:lnTo>
                  <a:pt x="90" y="178"/>
                </a:lnTo>
                <a:lnTo>
                  <a:pt x="58" y="149"/>
                </a:lnTo>
                <a:lnTo>
                  <a:pt x="28" y="128"/>
                </a:lnTo>
                <a:lnTo>
                  <a:pt x="28" y="72"/>
                </a:lnTo>
                <a:lnTo>
                  <a:pt x="0" y="55"/>
                </a:lnTo>
                <a:lnTo>
                  <a:pt x="25" y="15"/>
                </a:lnTo>
                <a:close/>
              </a:path>
            </a:pathLst>
          </a:custGeom>
          <a:solidFill>
            <a:schemeClr val="accent3"/>
          </a:solidFill>
          <a:ln w="12700">
            <a:solidFill>
              <a:schemeClr val="bg1"/>
            </a:solidFill>
            <a:round/>
            <a:headEnd/>
            <a:tailEnd/>
          </a:ln>
        </p:spPr>
        <p:txBody>
          <a:bodyPr/>
          <a:lstStyle/>
          <a:p>
            <a:pPr>
              <a:defRPr/>
            </a:pPr>
            <a:endParaRPr lang="nl-NL"/>
          </a:p>
        </p:txBody>
      </p:sp>
      <p:sp>
        <p:nvSpPr>
          <p:cNvPr id="229" name="Freeform 28"/>
          <p:cNvSpPr>
            <a:spLocks/>
          </p:cNvSpPr>
          <p:nvPr/>
        </p:nvSpPr>
        <p:spPr bwMode="auto">
          <a:xfrm>
            <a:off x="4764924" y="2783921"/>
            <a:ext cx="317665" cy="182136"/>
          </a:xfrm>
          <a:custGeom>
            <a:avLst/>
            <a:gdLst>
              <a:gd name="T0" fmla="*/ 144 w 205"/>
              <a:gd name="T1" fmla="*/ 0 h 114"/>
              <a:gd name="T2" fmla="*/ 73 w 205"/>
              <a:gd name="T3" fmla="*/ 32 h 114"/>
              <a:gd name="T4" fmla="*/ 0 w 205"/>
              <a:gd name="T5" fmla="*/ 114 h 114"/>
              <a:gd name="T6" fmla="*/ 88 w 205"/>
              <a:gd name="T7" fmla="*/ 111 h 114"/>
              <a:gd name="T8" fmla="*/ 116 w 205"/>
              <a:gd name="T9" fmla="*/ 69 h 114"/>
              <a:gd name="T10" fmla="*/ 205 w 205"/>
              <a:gd name="T11" fmla="*/ 49 h 114"/>
              <a:gd name="T12" fmla="*/ 142 w 205"/>
              <a:gd name="T13" fmla="*/ 29 h 114"/>
              <a:gd name="T14" fmla="*/ 144 w 205"/>
              <a:gd name="T15" fmla="*/ 0 h 114"/>
              <a:gd name="T16" fmla="*/ 144 w 205"/>
              <a:gd name="T17" fmla="*/ 0 h 114"/>
              <a:gd name="T18" fmla="*/ 144 w 205"/>
              <a:gd name="T19" fmla="*/ 0 h 114"/>
              <a:gd name="T20" fmla="*/ 144 w 205"/>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5"/>
              <a:gd name="T34" fmla="*/ 0 h 114"/>
              <a:gd name="T35" fmla="*/ 205 w 205"/>
              <a:gd name="T36" fmla="*/ 114 h 1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5" h="114">
                <a:moveTo>
                  <a:pt x="144" y="0"/>
                </a:moveTo>
                <a:lnTo>
                  <a:pt x="73" y="32"/>
                </a:lnTo>
                <a:lnTo>
                  <a:pt x="0" y="114"/>
                </a:lnTo>
                <a:lnTo>
                  <a:pt x="88" y="111"/>
                </a:lnTo>
                <a:lnTo>
                  <a:pt x="116" y="69"/>
                </a:lnTo>
                <a:lnTo>
                  <a:pt x="205" y="49"/>
                </a:lnTo>
                <a:lnTo>
                  <a:pt x="142" y="29"/>
                </a:lnTo>
                <a:lnTo>
                  <a:pt x="144" y="0"/>
                </a:lnTo>
                <a:close/>
              </a:path>
            </a:pathLst>
          </a:custGeom>
          <a:solidFill>
            <a:schemeClr val="accent3"/>
          </a:solidFill>
          <a:ln w="12700">
            <a:solidFill>
              <a:schemeClr val="bg1"/>
            </a:solidFill>
            <a:round/>
            <a:headEnd/>
            <a:tailEnd/>
          </a:ln>
        </p:spPr>
        <p:txBody>
          <a:bodyPr/>
          <a:lstStyle/>
          <a:p>
            <a:pPr>
              <a:defRPr/>
            </a:pPr>
            <a:endParaRPr lang="nl-NL"/>
          </a:p>
        </p:txBody>
      </p:sp>
      <p:sp>
        <p:nvSpPr>
          <p:cNvPr id="230" name="Freeform 29"/>
          <p:cNvSpPr>
            <a:spLocks/>
          </p:cNvSpPr>
          <p:nvPr/>
        </p:nvSpPr>
        <p:spPr bwMode="auto">
          <a:xfrm>
            <a:off x="4747879" y="2946884"/>
            <a:ext cx="423037" cy="194917"/>
          </a:xfrm>
          <a:custGeom>
            <a:avLst/>
            <a:gdLst>
              <a:gd name="T0" fmla="*/ 14 w 273"/>
              <a:gd name="T1" fmla="*/ 13 h 122"/>
              <a:gd name="T2" fmla="*/ 41 w 273"/>
              <a:gd name="T3" fmla="*/ 34 h 122"/>
              <a:gd name="T4" fmla="*/ 0 w 273"/>
              <a:gd name="T5" fmla="*/ 62 h 122"/>
              <a:gd name="T6" fmla="*/ 9 w 273"/>
              <a:gd name="T7" fmla="*/ 102 h 122"/>
              <a:gd name="T8" fmla="*/ 92 w 273"/>
              <a:gd name="T9" fmla="*/ 90 h 122"/>
              <a:gd name="T10" fmla="*/ 115 w 273"/>
              <a:gd name="T11" fmla="*/ 122 h 122"/>
              <a:gd name="T12" fmla="*/ 158 w 273"/>
              <a:gd name="T13" fmla="*/ 81 h 122"/>
              <a:gd name="T14" fmla="*/ 235 w 273"/>
              <a:gd name="T15" fmla="*/ 75 h 122"/>
              <a:gd name="T16" fmla="*/ 273 w 273"/>
              <a:gd name="T17" fmla="*/ 53 h 122"/>
              <a:gd name="T18" fmla="*/ 172 w 273"/>
              <a:gd name="T19" fmla="*/ 0 h 122"/>
              <a:gd name="T20" fmla="*/ 130 w 273"/>
              <a:gd name="T21" fmla="*/ 28 h 122"/>
              <a:gd name="T22" fmla="*/ 14 w 273"/>
              <a:gd name="T23" fmla="*/ 13 h 122"/>
              <a:gd name="T24" fmla="*/ 14 w 273"/>
              <a:gd name="T25" fmla="*/ 13 h 122"/>
              <a:gd name="T26" fmla="*/ 14 w 273"/>
              <a:gd name="T27" fmla="*/ 13 h 1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3"/>
              <a:gd name="T43" fmla="*/ 0 h 122"/>
              <a:gd name="T44" fmla="*/ 273 w 273"/>
              <a:gd name="T45" fmla="*/ 122 h 1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3" h="122">
                <a:moveTo>
                  <a:pt x="14" y="13"/>
                </a:moveTo>
                <a:lnTo>
                  <a:pt x="41" y="34"/>
                </a:lnTo>
                <a:lnTo>
                  <a:pt x="0" y="62"/>
                </a:lnTo>
                <a:lnTo>
                  <a:pt x="9" y="102"/>
                </a:lnTo>
                <a:lnTo>
                  <a:pt x="92" y="90"/>
                </a:lnTo>
                <a:lnTo>
                  <a:pt x="115" y="122"/>
                </a:lnTo>
                <a:lnTo>
                  <a:pt x="158" y="81"/>
                </a:lnTo>
                <a:lnTo>
                  <a:pt x="235" y="75"/>
                </a:lnTo>
                <a:lnTo>
                  <a:pt x="273" y="53"/>
                </a:lnTo>
                <a:lnTo>
                  <a:pt x="172" y="0"/>
                </a:lnTo>
                <a:lnTo>
                  <a:pt x="130" y="28"/>
                </a:lnTo>
                <a:lnTo>
                  <a:pt x="14" y="13"/>
                </a:lnTo>
                <a:close/>
              </a:path>
            </a:pathLst>
          </a:custGeom>
          <a:solidFill>
            <a:schemeClr val="accent3"/>
          </a:solidFill>
          <a:ln w="12700">
            <a:solidFill>
              <a:schemeClr val="bg1"/>
            </a:solidFill>
            <a:round/>
            <a:headEnd/>
            <a:tailEnd/>
          </a:ln>
        </p:spPr>
        <p:txBody>
          <a:bodyPr/>
          <a:lstStyle/>
          <a:p>
            <a:pPr>
              <a:defRPr/>
            </a:pPr>
            <a:endParaRPr lang="nl-NL"/>
          </a:p>
        </p:txBody>
      </p:sp>
      <p:sp>
        <p:nvSpPr>
          <p:cNvPr id="231" name="Freeform 30"/>
          <p:cNvSpPr>
            <a:spLocks/>
          </p:cNvSpPr>
          <p:nvPr/>
        </p:nvSpPr>
        <p:spPr bwMode="auto">
          <a:xfrm>
            <a:off x="4764924" y="3031562"/>
            <a:ext cx="436984" cy="401018"/>
          </a:xfrm>
          <a:custGeom>
            <a:avLst/>
            <a:gdLst>
              <a:gd name="T0" fmla="*/ 263 w 282"/>
              <a:gd name="T1" fmla="*/ 0 h 251"/>
              <a:gd name="T2" fmla="*/ 282 w 282"/>
              <a:gd name="T3" fmla="*/ 29 h 251"/>
              <a:gd name="T4" fmla="*/ 271 w 282"/>
              <a:gd name="T5" fmla="*/ 59 h 251"/>
              <a:gd name="T6" fmla="*/ 231 w 282"/>
              <a:gd name="T7" fmla="*/ 85 h 251"/>
              <a:gd name="T8" fmla="*/ 255 w 282"/>
              <a:gd name="T9" fmla="*/ 143 h 251"/>
              <a:gd name="T10" fmla="*/ 144 w 282"/>
              <a:gd name="T11" fmla="*/ 251 h 251"/>
              <a:gd name="T12" fmla="*/ 128 w 282"/>
              <a:gd name="T13" fmla="*/ 194 h 251"/>
              <a:gd name="T14" fmla="*/ 68 w 282"/>
              <a:gd name="T15" fmla="*/ 176 h 251"/>
              <a:gd name="T16" fmla="*/ 77 w 282"/>
              <a:gd name="T17" fmla="*/ 152 h 251"/>
              <a:gd name="T18" fmla="*/ 9 w 282"/>
              <a:gd name="T19" fmla="*/ 197 h 251"/>
              <a:gd name="T20" fmla="*/ 26 w 282"/>
              <a:gd name="T21" fmla="*/ 107 h 251"/>
              <a:gd name="T22" fmla="*/ 52 w 282"/>
              <a:gd name="T23" fmla="*/ 68 h 251"/>
              <a:gd name="T24" fmla="*/ 0 w 282"/>
              <a:gd name="T25" fmla="*/ 49 h 251"/>
              <a:gd name="T26" fmla="*/ 81 w 282"/>
              <a:gd name="T27" fmla="*/ 37 h 251"/>
              <a:gd name="T28" fmla="*/ 104 w 282"/>
              <a:gd name="T29" fmla="*/ 70 h 251"/>
              <a:gd name="T30" fmla="*/ 148 w 282"/>
              <a:gd name="T31" fmla="*/ 28 h 251"/>
              <a:gd name="T32" fmla="*/ 225 w 282"/>
              <a:gd name="T33" fmla="*/ 21 h 251"/>
              <a:gd name="T34" fmla="*/ 263 w 282"/>
              <a:gd name="T35" fmla="*/ 0 h 251"/>
              <a:gd name="T36" fmla="*/ 263 w 282"/>
              <a:gd name="T37" fmla="*/ 0 h 251"/>
              <a:gd name="T38" fmla="*/ 263 w 282"/>
              <a:gd name="T39" fmla="*/ 0 h 25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2"/>
              <a:gd name="T61" fmla="*/ 0 h 251"/>
              <a:gd name="T62" fmla="*/ 282 w 282"/>
              <a:gd name="T63" fmla="*/ 251 h 25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2" h="251">
                <a:moveTo>
                  <a:pt x="263" y="0"/>
                </a:moveTo>
                <a:lnTo>
                  <a:pt x="282" y="29"/>
                </a:lnTo>
                <a:lnTo>
                  <a:pt x="271" y="59"/>
                </a:lnTo>
                <a:lnTo>
                  <a:pt x="231" y="85"/>
                </a:lnTo>
                <a:lnTo>
                  <a:pt x="255" y="143"/>
                </a:lnTo>
                <a:lnTo>
                  <a:pt x="144" y="251"/>
                </a:lnTo>
                <a:lnTo>
                  <a:pt x="128" y="194"/>
                </a:lnTo>
                <a:lnTo>
                  <a:pt x="68" y="176"/>
                </a:lnTo>
                <a:lnTo>
                  <a:pt x="77" y="152"/>
                </a:lnTo>
                <a:lnTo>
                  <a:pt x="9" y="197"/>
                </a:lnTo>
                <a:lnTo>
                  <a:pt x="26" y="107"/>
                </a:lnTo>
                <a:lnTo>
                  <a:pt x="52" y="68"/>
                </a:lnTo>
                <a:lnTo>
                  <a:pt x="0" y="49"/>
                </a:lnTo>
                <a:lnTo>
                  <a:pt x="81" y="37"/>
                </a:lnTo>
                <a:lnTo>
                  <a:pt x="104" y="70"/>
                </a:lnTo>
                <a:lnTo>
                  <a:pt x="148" y="28"/>
                </a:lnTo>
                <a:lnTo>
                  <a:pt x="225" y="21"/>
                </a:lnTo>
                <a:lnTo>
                  <a:pt x="263" y="0"/>
                </a:lnTo>
                <a:close/>
              </a:path>
            </a:pathLst>
          </a:custGeom>
          <a:solidFill>
            <a:schemeClr val="accent3"/>
          </a:solidFill>
          <a:ln w="12700">
            <a:solidFill>
              <a:schemeClr val="bg1"/>
            </a:solidFill>
            <a:round/>
            <a:headEnd/>
            <a:tailEnd/>
          </a:ln>
        </p:spPr>
        <p:txBody>
          <a:bodyPr/>
          <a:lstStyle/>
          <a:p>
            <a:pPr>
              <a:defRPr/>
            </a:pPr>
            <a:endParaRPr lang="nl-NL"/>
          </a:p>
        </p:txBody>
      </p:sp>
      <p:sp>
        <p:nvSpPr>
          <p:cNvPr id="232" name="Freeform 31"/>
          <p:cNvSpPr>
            <a:spLocks/>
          </p:cNvSpPr>
          <p:nvPr/>
        </p:nvSpPr>
        <p:spPr bwMode="auto">
          <a:xfrm>
            <a:off x="4371329" y="3274409"/>
            <a:ext cx="616736" cy="386639"/>
          </a:xfrm>
          <a:custGeom>
            <a:avLst/>
            <a:gdLst>
              <a:gd name="T0" fmla="*/ 28 w 398"/>
              <a:gd name="T1" fmla="*/ 124 h 242"/>
              <a:gd name="T2" fmla="*/ 35 w 398"/>
              <a:gd name="T3" fmla="*/ 159 h 242"/>
              <a:gd name="T4" fmla="*/ 7 w 398"/>
              <a:gd name="T5" fmla="*/ 123 h 242"/>
              <a:gd name="T6" fmla="*/ 0 w 398"/>
              <a:gd name="T7" fmla="*/ 145 h 242"/>
              <a:gd name="T8" fmla="*/ 57 w 398"/>
              <a:gd name="T9" fmla="*/ 242 h 242"/>
              <a:gd name="T10" fmla="*/ 63 w 398"/>
              <a:gd name="T11" fmla="*/ 171 h 242"/>
              <a:gd name="T12" fmla="*/ 138 w 398"/>
              <a:gd name="T13" fmla="*/ 217 h 242"/>
              <a:gd name="T14" fmla="*/ 144 w 398"/>
              <a:gd name="T15" fmla="*/ 141 h 242"/>
              <a:gd name="T16" fmla="*/ 210 w 398"/>
              <a:gd name="T17" fmla="*/ 192 h 242"/>
              <a:gd name="T18" fmla="*/ 286 w 398"/>
              <a:gd name="T19" fmla="*/ 128 h 242"/>
              <a:gd name="T20" fmla="*/ 361 w 398"/>
              <a:gd name="T21" fmla="*/ 137 h 242"/>
              <a:gd name="T22" fmla="*/ 398 w 398"/>
              <a:gd name="T23" fmla="*/ 99 h 242"/>
              <a:gd name="T24" fmla="*/ 382 w 398"/>
              <a:gd name="T25" fmla="*/ 41 h 242"/>
              <a:gd name="T26" fmla="*/ 322 w 398"/>
              <a:gd name="T27" fmla="*/ 24 h 242"/>
              <a:gd name="T28" fmla="*/ 331 w 398"/>
              <a:gd name="T29" fmla="*/ 0 h 242"/>
              <a:gd name="T30" fmla="*/ 265 w 398"/>
              <a:gd name="T31" fmla="*/ 44 h 242"/>
              <a:gd name="T32" fmla="*/ 263 w 398"/>
              <a:gd name="T33" fmla="*/ 44 h 242"/>
              <a:gd name="T34" fmla="*/ 210 w 398"/>
              <a:gd name="T35" fmla="*/ 0 h 242"/>
              <a:gd name="T36" fmla="*/ 187 w 398"/>
              <a:gd name="T37" fmla="*/ 44 h 242"/>
              <a:gd name="T38" fmla="*/ 150 w 398"/>
              <a:gd name="T39" fmla="*/ 44 h 242"/>
              <a:gd name="T40" fmla="*/ 135 w 398"/>
              <a:gd name="T41" fmla="*/ 79 h 242"/>
              <a:gd name="T42" fmla="*/ 98 w 398"/>
              <a:gd name="T43" fmla="*/ 109 h 242"/>
              <a:gd name="T44" fmla="*/ 28 w 398"/>
              <a:gd name="T45" fmla="*/ 124 h 242"/>
              <a:gd name="T46" fmla="*/ 28 w 398"/>
              <a:gd name="T47" fmla="*/ 124 h 242"/>
              <a:gd name="T48" fmla="*/ 28 w 398"/>
              <a:gd name="T49" fmla="*/ 124 h 2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8"/>
              <a:gd name="T76" fmla="*/ 0 h 242"/>
              <a:gd name="T77" fmla="*/ 398 w 398"/>
              <a:gd name="T78" fmla="*/ 242 h 2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8" h="242">
                <a:moveTo>
                  <a:pt x="28" y="124"/>
                </a:moveTo>
                <a:lnTo>
                  <a:pt x="35" y="159"/>
                </a:lnTo>
                <a:lnTo>
                  <a:pt x="7" y="123"/>
                </a:lnTo>
                <a:lnTo>
                  <a:pt x="0" y="145"/>
                </a:lnTo>
                <a:lnTo>
                  <a:pt x="57" y="242"/>
                </a:lnTo>
                <a:lnTo>
                  <a:pt x="63" y="171"/>
                </a:lnTo>
                <a:lnTo>
                  <a:pt x="138" y="217"/>
                </a:lnTo>
                <a:lnTo>
                  <a:pt x="144" y="141"/>
                </a:lnTo>
                <a:lnTo>
                  <a:pt x="210" y="192"/>
                </a:lnTo>
                <a:lnTo>
                  <a:pt x="286" y="128"/>
                </a:lnTo>
                <a:lnTo>
                  <a:pt x="361" y="137"/>
                </a:lnTo>
                <a:lnTo>
                  <a:pt x="398" y="99"/>
                </a:lnTo>
                <a:lnTo>
                  <a:pt x="382" y="41"/>
                </a:lnTo>
                <a:lnTo>
                  <a:pt x="322" y="24"/>
                </a:lnTo>
                <a:lnTo>
                  <a:pt x="331" y="0"/>
                </a:lnTo>
                <a:lnTo>
                  <a:pt x="265" y="44"/>
                </a:lnTo>
                <a:lnTo>
                  <a:pt x="263" y="44"/>
                </a:lnTo>
                <a:lnTo>
                  <a:pt x="210" y="0"/>
                </a:lnTo>
                <a:lnTo>
                  <a:pt x="187" y="44"/>
                </a:lnTo>
                <a:lnTo>
                  <a:pt x="150" y="44"/>
                </a:lnTo>
                <a:lnTo>
                  <a:pt x="135" y="79"/>
                </a:lnTo>
                <a:lnTo>
                  <a:pt x="98" y="109"/>
                </a:lnTo>
                <a:lnTo>
                  <a:pt x="28" y="124"/>
                </a:lnTo>
                <a:close/>
              </a:path>
            </a:pathLst>
          </a:custGeom>
          <a:solidFill>
            <a:schemeClr val="accent3"/>
          </a:solidFill>
          <a:ln w="12700">
            <a:solidFill>
              <a:schemeClr val="bg1"/>
            </a:solidFill>
            <a:round/>
            <a:headEnd/>
            <a:tailEnd/>
          </a:ln>
        </p:spPr>
        <p:txBody>
          <a:bodyPr/>
          <a:lstStyle/>
          <a:p>
            <a:pPr>
              <a:defRPr/>
            </a:pPr>
            <a:endParaRPr lang="nl-NL"/>
          </a:p>
        </p:txBody>
      </p:sp>
      <p:sp>
        <p:nvSpPr>
          <p:cNvPr id="233" name="Freeform 32"/>
          <p:cNvSpPr>
            <a:spLocks/>
          </p:cNvSpPr>
          <p:nvPr/>
        </p:nvSpPr>
        <p:spPr bwMode="auto">
          <a:xfrm>
            <a:off x="4506143" y="2553855"/>
            <a:ext cx="543905" cy="412202"/>
          </a:xfrm>
          <a:custGeom>
            <a:avLst/>
            <a:gdLst>
              <a:gd name="T0" fmla="*/ 351 w 351"/>
              <a:gd name="T1" fmla="*/ 59 h 258"/>
              <a:gd name="T2" fmla="*/ 294 w 351"/>
              <a:gd name="T3" fmla="*/ 0 h 258"/>
              <a:gd name="T4" fmla="*/ 229 w 351"/>
              <a:gd name="T5" fmla="*/ 23 h 258"/>
              <a:gd name="T6" fmla="*/ 152 w 351"/>
              <a:gd name="T7" fmla="*/ 7 h 258"/>
              <a:gd name="T8" fmla="*/ 0 w 351"/>
              <a:gd name="T9" fmla="*/ 98 h 258"/>
              <a:gd name="T10" fmla="*/ 23 w 351"/>
              <a:gd name="T11" fmla="*/ 111 h 258"/>
              <a:gd name="T12" fmla="*/ 8 w 351"/>
              <a:gd name="T13" fmla="*/ 136 h 258"/>
              <a:gd name="T14" fmla="*/ 58 w 351"/>
              <a:gd name="T15" fmla="*/ 121 h 258"/>
              <a:gd name="T16" fmla="*/ 100 w 351"/>
              <a:gd name="T17" fmla="*/ 140 h 258"/>
              <a:gd name="T18" fmla="*/ 83 w 351"/>
              <a:gd name="T19" fmla="*/ 191 h 258"/>
              <a:gd name="T20" fmla="*/ 187 w 351"/>
              <a:gd name="T21" fmla="*/ 217 h 258"/>
              <a:gd name="T22" fmla="*/ 167 w 351"/>
              <a:gd name="T23" fmla="*/ 258 h 258"/>
              <a:gd name="T24" fmla="*/ 239 w 351"/>
              <a:gd name="T25" fmla="*/ 176 h 258"/>
              <a:gd name="T26" fmla="*/ 311 w 351"/>
              <a:gd name="T27" fmla="*/ 144 h 258"/>
              <a:gd name="T28" fmla="*/ 351 w 351"/>
              <a:gd name="T29" fmla="*/ 59 h 258"/>
              <a:gd name="T30" fmla="*/ 351 w 351"/>
              <a:gd name="T31" fmla="*/ 59 h 258"/>
              <a:gd name="T32" fmla="*/ 351 w 351"/>
              <a:gd name="T33" fmla="*/ 59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1"/>
              <a:gd name="T52" fmla="*/ 0 h 258"/>
              <a:gd name="T53" fmla="*/ 351 w 351"/>
              <a:gd name="T54" fmla="*/ 258 h 25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1" h="258">
                <a:moveTo>
                  <a:pt x="351" y="59"/>
                </a:moveTo>
                <a:lnTo>
                  <a:pt x="294" y="0"/>
                </a:lnTo>
                <a:lnTo>
                  <a:pt x="229" y="23"/>
                </a:lnTo>
                <a:lnTo>
                  <a:pt x="152" y="7"/>
                </a:lnTo>
                <a:lnTo>
                  <a:pt x="0" y="98"/>
                </a:lnTo>
                <a:lnTo>
                  <a:pt x="23" y="111"/>
                </a:lnTo>
                <a:lnTo>
                  <a:pt x="8" y="136"/>
                </a:lnTo>
                <a:lnTo>
                  <a:pt x="58" y="121"/>
                </a:lnTo>
                <a:lnTo>
                  <a:pt x="100" y="140"/>
                </a:lnTo>
                <a:lnTo>
                  <a:pt x="83" y="191"/>
                </a:lnTo>
                <a:lnTo>
                  <a:pt x="187" y="217"/>
                </a:lnTo>
                <a:lnTo>
                  <a:pt x="167" y="258"/>
                </a:lnTo>
                <a:lnTo>
                  <a:pt x="239" y="176"/>
                </a:lnTo>
                <a:lnTo>
                  <a:pt x="311" y="144"/>
                </a:lnTo>
                <a:lnTo>
                  <a:pt x="351" y="59"/>
                </a:lnTo>
                <a:close/>
              </a:path>
            </a:pathLst>
          </a:custGeom>
          <a:solidFill>
            <a:schemeClr val="accent3"/>
          </a:solidFill>
          <a:ln w="12700">
            <a:solidFill>
              <a:schemeClr val="bg1"/>
            </a:solidFill>
            <a:round/>
            <a:headEnd/>
            <a:tailEnd/>
          </a:ln>
        </p:spPr>
        <p:txBody>
          <a:bodyPr/>
          <a:lstStyle/>
          <a:p>
            <a:pPr>
              <a:defRPr/>
            </a:pPr>
            <a:endParaRPr lang="nl-NL"/>
          </a:p>
        </p:txBody>
      </p:sp>
      <p:sp>
        <p:nvSpPr>
          <p:cNvPr id="234" name="Freeform 33"/>
          <p:cNvSpPr>
            <a:spLocks/>
          </p:cNvSpPr>
          <p:nvPr/>
        </p:nvSpPr>
        <p:spPr bwMode="auto">
          <a:xfrm>
            <a:off x="4534036" y="4197869"/>
            <a:ext cx="128616" cy="146987"/>
          </a:xfrm>
          <a:custGeom>
            <a:avLst/>
            <a:gdLst>
              <a:gd name="T0" fmla="*/ 34 w 83"/>
              <a:gd name="T1" fmla="*/ 0 h 92"/>
              <a:gd name="T2" fmla="*/ 57 w 83"/>
              <a:gd name="T3" fmla="*/ 46 h 92"/>
              <a:gd name="T4" fmla="*/ 83 w 83"/>
              <a:gd name="T5" fmla="*/ 41 h 92"/>
              <a:gd name="T6" fmla="*/ 72 w 83"/>
              <a:gd name="T7" fmla="*/ 66 h 92"/>
              <a:gd name="T8" fmla="*/ 24 w 83"/>
              <a:gd name="T9" fmla="*/ 92 h 92"/>
              <a:gd name="T10" fmla="*/ 0 w 83"/>
              <a:gd name="T11" fmla="*/ 52 h 92"/>
              <a:gd name="T12" fmla="*/ 34 w 83"/>
              <a:gd name="T13" fmla="*/ 0 h 92"/>
              <a:gd name="T14" fmla="*/ 34 w 83"/>
              <a:gd name="T15" fmla="*/ 0 h 92"/>
              <a:gd name="T16" fmla="*/ 34 w 83"/>
              <a:gd name="T17" fmla="*/ 0 h 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3"/>
              <a:gd name="T28" fmla="*/ 0 h 92"/>
              <a:gd name="T29" fmla="*/ 83 w 83"/>
              <a:gd name="T30" fmla="*/ 92 h 9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3" h="92">
                <a:moveTo>
                  <a:pt x="34" y="0"/>
                </a:moveTo>
                <a:lnTo>
                  <a:pt x="57" y="46"/>
                </a:lnTo>
                <a:lnTo>
                  <a:pt x="83" y="41"/>
                </a:lnTo>
                <a:lnTo>
                  <a:pt x="72" y="66"/>
                </a:lnTo>
                <a:lnTo>
                  <a:pt x="24" y="92"/>
                </a:lnTo>
                <a:lnTo>
                  <a:pt x="0" y="52"/>
                </a:lnTo>
                <a:lnTo>
                  <a:pt x="34" y="0"/>
                </a:lnTo>
                <a:close/>
              </a:path>
            </a:pathLst>
          </a:custGeom>
          <a:solidFill>
            <a:schemeClr val="accent3"/>
          </a:solidFill>
          <a:ln w="12700">
            <a:solidFill>
              <a:schemeClr val="bg1"/>
            </a:solidFill>
            <a:round/>
            <a:headEnd/>
            <a:tailEnd/>
          </a:ln>
        </p:spPr>
        <p:txBody>
          <a:bodyPr/>
          <a:lstStyle/>
          <a:p>
            <a:pPr>
              <a:defRPr/>
            </a:pPr>
            <a:endParaRPr lang="nl-NL"/>
          </a:p>
        </p:txBody>
      </p:sp>
      <p:sp>
        <p:nvSpPr>
          <p:cNvPr id="235" name="Freeform 34"/>
          <p:cNvSpPr>
            <a:spLocks/>
          </p:cNvSpPr>
          <p:nvPr/>
        </p:nvSpPr>
        <p:spPr bwMode="auto">
          <a:xfrm>
            <a:off x="4757176" y="4244202"/>
            <a:ext cx="283575" cy="277997"/>
          </a:xfrm>
          <a:custGeom>
            <a:avLst/>
            <a:gdLst>
              <a:gd name="T0" fmla="*/ 137 w 183"/>
              <a:gd name="T1" fmla="*/ 48 h 174"/>
              <a:gd name="T2" fmla="*/ 149 w 183"/>
              <a:gd name="T3" fmla="*/ 107 h 174"/>
              <a:gd name="T4" fmla="*/ 183 w 183"/>
              <a:gd name="T5" fmla="*/ 126 h 174"/>
              <a:gd name="T6" fmla="*/ 147 w 183"/>
              <a:gd name="T7" fmla="*/ 159 h 174"/>
              <a:gd name="T8" fmla="*/ 124 w 183"/>
              <a:gd name="T9" fmla="*/ 133 h 174"/>
              <a:gd name="T10" fmla="*/ 103 w 183"/>
              <a:gd name="T11" fmla="*/ 174 h 174"/>
              <a:gd name="T12" fmla="*/ 82 w 183"/>
              <a:gd name="T13" fmla="*/ 174 h 174"/>
              <a:gd name="T14" fmla="*/ 65 w 183"/>
              <a:gd name="T15" fmla="*/ 156 h 174"/>
              <a:gd name="T16" fmla="*/ 40 w 183"/>
              <a:gd name="T17" fmla="*/ 156 h 174"/>
              <a:gd name="T18" fmla="*/ 49 w 183"/>
              <a:gd name="T19" fmla="*/ 112 h 174"/>
              <a:gd name="T20" fmla="*/ 10 w 183"/>
              <a:gd name="T21" fmla="*/ 112 h 174"/>
              <a:gd name="T22" fmla="*/ 0 w 183"/>
              <a:gd name="T23" fmla="*/ 13 h 174"/>
              <a:gd name="T24" fmla="*/ 66 w 183"/>
              <a:gd name="T25" fmla="*/ 0 h 174"/>
              <a:gd name="T26" fmla="*/ 137 w 183"/>
              <a:gd name="T27" fmla="*/ 48 h 174"/>
              <a:gd name="T28" fmla="*/ 137 w 183"/>
              <a:gd name="T29" fmla="*/ 48 h 174"/>
              <a:gd name="T30" fmla="*/ 137 w 183"/>
              <a:gd name="T31" fmla="*/ 48 h 17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3"/>
              <a:gd name="T49" fmla="*/ 0 h 174"/>
              <a:gd name="T50" fmla="*/ 183 w 183"/>
              <a:gd name="T51" fmla="*/ 174 h 17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3" h="174">
                <a:moveTo>
                  <a:pt x="137" y="48"/>
                </a:moveTo>
                <a:lnTo>
                  <a:pt x="149" y="107"/>
                </a:lnTo>
                <a:lnTo>
                  <a:pt x="183" y="126"/>
                </a:lnTo>
                <a:lnTo>
                  <a:pt x="147" y="159"/>
                </a:lnTo>
                <a:lnTo>
                  <a:pt x="124" y="133"/>
                </a:lnTo>
                <a:lnTo>
                  <a:pt x="103" y="174"/>
                </a:lnTo>
                <a:lnTo>
                  <a:pt x="82" y="174"/>
                </a:lnTo>
                <a:lnTo>
                  <a:pt x="65" y="156"/>
                </a:lnTo>
                <a:lnTo>
                  <a:pt x="40" y="156"/>
                </a:lnTo>
                <a:lnTo>
                  <a:pt x="49" y="112"/>
                </a:lnTo>
                <a:lnTo>
                  <a:pt x="10" y="112"/>
                </a:lnTo>
                <a:lnTo>
                  <a:pt x="0" y="13"/>
                </a:lnTo>
                <a:lnTo>
                  <a:pt x="66" y="0"/>
                </a:lnTo>
                <a:lnTo>
                  <a:pt x="137" y="48"/>
                </a:lnTo>
                <a:close/>
              </a:path>
            </a:pathLst>
          </a:custGeom>
          <a:solidFill>
            <a:schemeClr val="accent3"/>
          </a:solidFill>
          <a:ln w="12700">
            <a:solidFill>
              <a:schemeClr val="bg1"/>
            </a:solidFill>
            <a:round/>
            <a:headEnd/>
            <a:tailEnd/>
          </a:ln>
        </p:spPr>
        <p:txBody>
          <a:bodyPr/>
          <a:lstStyle/>
          <a:p>
            <a:pPr>
              <a:defRPr/>
            </a:pPr>
            <a:endParaRPr lang="nl-NL"/>
          </a:p>
        </p:txBody>
      </p:sp>
      <p:sp>
        <p:nvSpPr>
          <p:cNvPr id="236" name="Freeform 35"/>
          <p:cNvSpPr>
            <a:spLocks/>
          </p:cNvSpPr>
          <p:nvPr/>
        </p:nvSpPr>
        <p:spPr bwMode="auto">
          <a:xfrm>
            <a:off x="4467403" y="4250592"/>
            <a:ext cx="365703" cy="381846"/>
          </a:xfrm>
          <a:custGeom>
            <a:avLst/>
            <a:gdLst>
              <a:gd name="T0" fmla="*/ 187 w 236"/>
              <a:gd name="T1" fmla="*/ 9 h 239"/>
              <a:gd name="T2" fmla="*/ 197 w 236"/>
              <a:gd name="T3" fmla="*/ 108 h 239"/>
              <a:gd name="T4" fmla="*/ 236 w 236"/>
              <a:gd name="T5" fmla="*/ 108 h 239"/>
              <a:gd name="T6" fmla="*/ 227 w 236"/>
              <a:gd name="T7" fmla="*/ 152 h 239"/>
              <a:gd name="T8" fmla="*/ 201 w 236"/>
              <a:gd name="T9" fmla="*/ 201 h 239"/>
              <a:gd name="T10" fmla="*/ 150 w 236"/>
              <a:gd name="T11" fmla="*/ 239 h 239"/>
              <a:gd name="T12" fmla="*/ 125 w 236"/>
              <a:gd name="T13" fmla="*/ 220 h 239"/>
              <a:gd name="T14" fmla="*/ 150 w 236"/>
              <a:gd name="T15" fmla="*/ 188 h 239"/>
              <a:gd name="T16" fmla="*/ 123 w 236"/>
              <a:gd name="T17" fmla="*/ 170 h 239"/>
              <a:gd name="T18" fmla="*/ 123 w 236"/>
              <a:gd name="T19" fmla="*/ 124 h 239"/>
              <a:gd name="T20" fmla="*/ 84 w 236"/>
              <a:gd name="T21" fmla="*/ 122 h 239"/>
              <a:gd name="T22" fmla="*/ 45 w 236"/>
              <a:gd name="T23" fmla="*/ 162 h 239"/>
              <a:gd name="T24" fmla="*/ 0 w 236"/>
              <a:gd name="T25" fmla="*/ 159 h 239"/>
              <a:gd name="T26" fmla="*/ 72 w 236"/>
              <a:gd name="T27" fmla="*/ 105 h 239"/>
              <a:gd name="T28" fmla="*/ 81 w 236"/>
              <a:gd name="T29" fmla="*/ 67 h 239"/>
              <a:gd name="T30" fmla="*/ 159 w 236"/>
              <a:gd name="T31" fmla="*/ 28 h 239"/>
              <a:gd name="T32" fmla="*/ 159 w 236"/>
              <a:gd name="T33" fmla="*/ 0 h 239"/>
              <a:gd name="T34" fmla="*/ 187 w 236"/>
              <a:gd name="T35" fmla="*/ 9 h 239"/>
              <a:gd name="T36" fmla="*/ 187 w 236"/>
              <a:gd name="T37" fmla="*/ 9 h 239"/>
              <a:gd name="T38" fmla="*/ 187 w 236"/>
              <a:gd name="T39" fmla="*/ 9 h 2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36"/>
              <a:gd name="T61" fmla="*/ 0 h 239"/>
              <a:gd name="T62" fmla="*/ 236 w 236"/>
              <a:gd name="T63" fmla="*/ 239 h 2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36" h="239">
                <a:moveTo>
                  <a:pt x="187" y="9"/>
                </a:moveTo>
                <a:lnTo>
                  <a:pt x="197" y="108"/>
                </a:lnTo>
                <a:lnTo>
                  <a:pt x="236" y="108"/>
                </a:lnTo>
                <a:lnTo>
                  <a:pt x="227" y="152"/>
                </a:lnTo>
                <a:lnTo>
                  <a:pt x="201" y="201"/>
                </a:lnTo>
                <a:lnTo>
                  <a:pt x="150" y="239"/>
                </a:lnTo>
                <a:lnTo>
                  <a:pt x="125" y="220"/>
                </a:lnTo>
                <a:lnTo>
                  <a:pt x="150" y="188"/>
                </a:lnTo>
                <a:lnTo>
                  <a:pt x="123" y="170"/>
                </a:lnTo>
                <a:lnTo>
                  <a:pt x="123" y="124"/>
                </a:lnTo>
                <a:lnTo>
                  <a:pt x="84" y="122"/>
                </a:lnTo>
                <a:lnTo>
                  <a:pt x="45" y="162"/>
                </a:lnTo>
                <a:lnTo>
                  <a:pt x="0" y="159"/>
                </a:lnTo>
                <a:lnTo>
                  <a:pt x="72" y="105"/>
                </a:lnTo>
                <a:lnTo>
                  <a:pt x="81" y="67"/>
                </a:lnTo>
                <a:lnTo>
                  <a:pt x="159" y="28"/>
                </a:lnTo>
                <a:lnTo>
                  <a:pt x="159" y="0"/>
                </a:lnTo>
                <a:lnTo>
                  <a:pt x="187" y="9"/>
                </a:lnTo>
                <a:close/>
              </a:path>
            </a:pathLst>
          </a:custGeom>
          <a:solidFill>
            <a:schemeClr val="accent3"/>
          </a:solidFill>
          <a:ln w="12700">
            <a:solidFill>
              <a:schemeClr val="bg1"/>
            </a:solidFill>
            <a:round/>
            <a:headEnd/>
            <a:tailEnd/>
          </a:ln>
        </p:spPr>
        <p:txBody>
          <a:bodyPr/>
          <a:lstStyle/>
          <a:p>
            <a:pPr>
              <a:defRPr/>
            </a:pPr>
            <a:endParaRPr lang="nl-NL"/>
          </a:p>
        </p:txBody>
      </p:sp>
      <p:sp>
        <p:nvSpPr>
          <p:cNvPr id="237" name="Freeform 36"/>
          <p:cNvSpPr>
            <a:spLocks/>
          </p:cNvSpPr>
          <p:nvPr/>
        </p:nvSpPr>
        <p:spPr bwMode="auto">
          <a:xfrm>
            <a:off x="4312445" y="4629243"/>
            <a:ext cx="466426" cy="440960"/>
          </a:xfrm>
          <a:custGeom>
            <a:avLst/>
            <a:gdLst>
              <a:gd name="T0" fmla="*/ 251 w 301"/>
              <a:gd name="T1" fmla="*/ 0 h 276"/>
              <a:gd name="T2" fmla="*/ 219 w 301"/>
              <a:gd name="T3" fmla="*/ 34 h 276"/>
              <a:gd name="T4" fmla="*/ 204 w 301"/>
              <a:gd name="T5" fmla="*/ 87 h 276"/>
              <a:gd name="T6" fmla="*/ 112 w 301"/>
              <a:gd name="T7" fmla="*/ 129 h 276"/>
              <a:gd name="T8" fmla="*/ 91 w 301"/>
              <a:gd name="T9" fmla="*/ 154 h 276"/>
              <a:gd name="T10" fmla="*/ 48 w 301"/>
              <a:gd name="T11" fmla="*/ 152 h 276"/>
              <a:gd name="T12" fmla="*/ 34 w 301"/>
              <a:gd name="T13" fmla="*/ 176 h 276"/>
              <a:gd name="T14" fmla="*/ 0 w 301"/>
              <a:gd name="T15" fmla="*/ 199 h 276"/>
              <a:gd name="T16" fmla="*/ 42 w 301"/>
              <a:gd name="T17" fmla="*/ 207 h 276"/>
              <a:gd name="T18" fmla="*/ 16 w 301"/>
              <a:gd name="T19" fmla="*/ 243 h 276"/>
              <a:gd name="T20" fmla="*/ 27 w 301"/>
              <a:gd name="T21" fmla="*/ 256 h 276"/>
              <a:gd name="T22" fmla="*/ 75 w 301"/>
              <a:gd name="T23" fmla="*/ 232 h 276"/>
              <a:gd name="T24" fmla="*/ 71 w 301"/>
              <a:gd name="T25" fmla="*/ 248 h 276"/>
              <a:gd name="T26" fmla="*/ 40 w 301"/>
              <a:gd name="T27" fmla="*/ 268 h 276"/>
              <a:gd name="T28" fmla="*/ 54 w 301"/>
              <a:gd name="T29" fmla="*/ 276 h 276"/>
              <a:gd name="T30" fmla="*/ 105 w 301"/>
              <a:gd name="T31" fmla="*/ 267 h 276"/>
              <a:gd name="T32" fmla="*/ 126 w 301"/>
              <a:gd name="T33" fmla="*/ 241 h 276"/>
              <a:gd name="T34" fmla="*/ 226 w 301"/>
              <a:gd name="T35" fmla="*/ 262 h 276"/>
              <a:gd name="T36" fmla="*/ 246 w 301"/>
              <a:gd name="T37" fmla="*/ 231 h 276"/>
              <a:gd name="T38" fmla="*/ 277 w 301"/>
              <a:gd name="T39" fmla="*/ 221 h 276"/>
              <a:gd name="T40" fmla="*/ 297 w 301"/>
              <a:gd name="T41" fmla="*/ 189 h 276"/>
              <a:gd name="T42" fmla="*/ 297 w 301"/>
              <a:gd name="T43" fmla="*/ 154 h 276"/>
              <a:gd name="T44" fmla="*/ 284 w 301"/>
              <a:gd name="T45" fmla="*/ 131 h 276"/>
              <a:gd name="T46" fmla="*/ 301 w 301"/>
              <a:gd name="T47" fmla="*/ 55 h 276"/>
              <a:gd name="T48" fmla="*/ 251 w 301"/>
              <a:gd name="T49" fmla="*/ 0 h 276"/>
              <a:gd name="T50" fmla="*/ 251 w 301"/>
              <a:gd name="T51" fmla="*/ 0 h 276"/>
              <a:gd name="T52" fmla="*/ 251 w 301"/>
              <a:gd name="T53" fmla="*/ 0 h 27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01"/>
              <a:gd name="T82" fmla="*/ 0 h 276"/>
              <a:gd name="T83" fmla="*/ 301 w 301"/>
              <a:gd name="T84" fmla="*/ 276 h 27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01" h="276">
                <a:moveTo>
                  <a:pt x="251" y="0"/>
                </a:moveTo>
                <a:lnTo>
                  <a:pt x="219" y="34"/>
                </a:lnTo>
                <a:lnTo>
                  <a:pt x="204" y="87"/>
                </a:lnTo>
                <a:lnTo>
                  <a:pt x="112" y="129"/>
                </a:lnTo>
                <a:lnTo>
                  <a:pt x="91" y="154"/>
                </a:lnTo>
                <a:lnTo>
                  <a:pt x="48" y="152"/>
                </a:lnTo>
                <a:lnTo>
                  <a:pt x="34" y="176"/>
                </a:lnTo>
                <a:lnTo>
                  <a:pt x="0" y="199"/>
                </a:lnTo>
                <a:lnTo>
                  <a:pt x="42" y="207"/>
                </a:lnTo>
                <a:lnTo>
                  <a:pt x="16" y="243"/>
                </a:lnTo>
                <a:lnTo>
                  <a:pt x="27" y="256"/>
                </a:lnTo>
                <a:lnTo>
                  <a:pt x="75" y="232"/>
                </a:lnTo>
                <a:lnTo>
                  <a:pt x="71" y="248"/>
                </a:lnTo>
                <a:lnTo>
                  <a:pt x="40" y="268"/>
                </a:lnTo>
                <a:lnTo>
                  <a:pt x="54" y="276"/>
                </a:lnTo>
                <a:lnTo>
                  <a:pt x="105" y="267"/>
                </a:lnTo>
                <a:lnTo>
                  <a:pt x="126" y="241"/>
                </a:lnTo>
                <a:lnTo>
                  <a:pt x="226" y="262"/>
                </a:lnTo>
                <a:lnTo>
                  <a:pt x="246" y="231"/>
                </a:lnTo>
                <a:lnTo>
                  <a:pt x="277" y="221"/>
                </a:lnTo>
                <a:lnTo>
                  <a:pt x="297" y="189"/>
                </a:lnTo>
                <a:lnTo>
                  <a:pt x="297" y="154"/>
                </a:lnTo>
                <a:lnTo>
                  <a:pt x="284" y="131"/>
                </a:lnTo>
                <a:lnTo>
                  <a:pt x="301" y="55"/>
                </a:lnTo>
                <a:lnTo>
                  <a:pt x="251" y="0"/>
                </a:lnTo>
                <a:close/>
              </a:path>
            </a:pathLst>
          </a:custGeom>
          <a:solidFill>
            <a:schemeClr val="accent3"/>
          </a:solidFill>
          <a:ln w="12700">
            <a:solidFill>
              <a:schemeClr val="bg1"/>
            </a:solidFill>
            <a:round/>
            <a:headEnd/>
            <a:tailEnd/>
          </a:ln>
        </p:spPr>
        <p:txBody>
          <a:bodyPr/>
          <a:lstStyle/>
          <a:p>
            <a:pPr>
              <a:defRPr/>
            </a:pPr>
            <a:endParaRPr lang="nl-NL"/>
          </a:p>
        </p:txBody>
      </p:sp>
      <p:sp>
        <p:nvSpPr>
          <p:cNvPr id="238" name="Freeform 37"/>
          <p:cNvSpPr>
            <a:spLocks/>
          </p:cNvSpPr>
          <p:nvPr/>
        </p:nvSpPr>
        <p:spPr bwMode="auto">
          <a:xfrm>
            <a:off x="4603767" y="4982331"/>
            <a:ext cx="206095" cy="129412"/>
          </a:xfrm>
          <a:custGeom>
            <a:avLst/>
            <a:gdLst>
              <a:gd name="T0" fmla="*/ 89 w 133"/>
              <a:gd name="T1" fmla="*/ 0 h 81"/>
              <a:gd name="T2" fmla="*/ 57 w 133"/>
              <a:gd name="T3" fmla="*/ 10 h 81"/>
              <a:gd name="T4" fmla="*/ 38 w 133"/>
              <a:gd name="T5" fmla="*/ 41 h 81"/>
              <a:gd name="T6" fmla="*/ 0 w 133"/>
              <a:gd name="T7" fmla="*/ 65 h 81"/>
              <a:gd name="T8" fmla="*/ 20 w 133"/>
              <a:gd name="T9" fmla="*/ 76 h 81"/>
              <a:gd name="T10" fmla="*/ 87 w 133"/>
              <a:gd name="T11" fmla="*/ 51 h 81"/>
              <a:gd name="T12" fmla="*/ 105 w 133"/>
              <a:gd name="T13" fmla="*/ 81 h 81"/>
              <a:gd name="T14" fmla="*/ 120 w 133"/>
              <a:gd name="T15" fmla="*/ 76 h 81"/>
              <a:gd name="T16" fmla="*/ 120 w 133"/>
              <a:gd name="T17" fmla="*/ 55 h 81"/>
              <a:gd name="T18" fmla="*/ 133 w 133"/>
              <a:gd name="T19" fmla="*/ 41 h 81"/>
              <a:gd name="T20" fmla="*/ 130 w 133"/>
              <a:gd name="T21" fmla="*/ 12 h 81"/>
              <a:gd name="T22" fmla="*/ 89 w 133"/>
              <a:gd name="T23" fmla="*/ 0 h 81"/>
              <a:gd name="T24" fmla="*/ 89 w 133"/>
              <a:gd name="T25" fmla="*/ 0 h 81"/>
              <a:gd name="T26" fmla="*/ 89 w 133"/>
              <a:gd name="T27" fmla="*/ 0 h 8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3"/>
              <a:gd name="T43" fmla="*/ 0 h 81"/>
              <a:gd name="T44" fmla="*/ 133 w 133"/>
              <a:gd name="T45" fmla="*/ 81 h 8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3" h="81">
                <a:moveTo>
                  <a:pt x="89" y="0"/>
                </a:moveTo>
                <a:lnTo>
                  <a:pt x="57" y="10"/>
                </a:lnTo>
                <a:lnTo>
                  <a:pt x="38" y="41"/>
                </a:lnTo>
                <a:lnTo>
                  <a:pt x="0" y="65"/>
                </a:lnTo>
                <a:lnTo>
                  <a:pt x="20" y="76"/>
                </a:lnTo>
                <a:lnTo>
                  <a:pt x="87" y="51"/>
                </a:lnTo>
                <a:lnTo>
                  <a:pt x="105" y="81"/>
                </a:lnTo>
                <a:lnTo>
                  <a:pt x="120" y="76"/>
                </a:lnTo>
                <a:lnTo>
                  <a:pt x="120" y="55"/>
                </a:lnTo>
                <a:lnTo>
                  <a:pt x="133" y="41"/>
                </a:lnTo>
                <a:lnTo>
                  <a:pt x="130" y="12"/>
                </a:lnTo>
                <a:lnTo>
                  <a:pt x="89" y="0"/>
                </a:lnTo>
                <a:close/>
              </a:path>
            </a:pathLst>
          </a:custGeom>
          <a:solidFill>
            <a:schemeClr val="accent3"/>
          </a:solidFill>
          <a:ln w="12700">
            <a:solidFill>
              <a:schemeClr val="bg1"/>
            </a:solidFill>
            <a:round/>
            <a:headEnd/>
            <a:tailEnd/>
          </a:ln>
        </p:spPr>
        <p:txBody>
          <a:bodyPr/>
          <a:lstStyle/>
          <a:p>
            <a:pPr>
              <a:defRPr/>
            </a:pPr>
            <a:endParaRPr lang="nl-NL"/>
          </a:p>
        </p:txBody>
      </p:sp>
      <p:sp>
        <p:nvSpPr>
          <p:cNvPr id="239" name="Freeform 38"/>
          <p:cNvSpPr>
            <a:spLocks/>
          </p:cNvSpPr>
          <p:nvPr/>
        </p:nvSpPr>
        <p:spPr bwMode="auto">
          <a:xfrm>
            <a:off x="4699841" y="4493440"/>
            <a:ext cx="263430" cy="511258"/>
          </a:xfrm>
          <a:custGeom>
            <a:avLst/>
            <a:gdLst>
              <a:gd name="T0" fmla="*/ 140 w 170"/>
              <a:gd name="T1" fmla="*/ 17 h 320"/>
              <a:gd name="T2" fmla="*/ 119 w 170"/>
              <a:gd name="T3" fmla="*/ 17 h 320"/>
              <a:gd name="T4" fmla="*/ 102 w 170"/>
              <a:gd name="T5" fmla="*/ 0 h 320"/>
              <a:gd name="T6" fmla="*/ 77 w 170"/>
              <a:gd name="T7" fmla="*/ 0 h 320"/>
              <a:gd name="T8" fmla="*/ 53 w 170"/>
              <a:gd name="T9" fmla="*/ 49 h 320"/>
              <a:gd name="T10" fmla="*/ 0 w 170"/>
              <a:gd name="T11" fmla="*/ 85 h 320"/>
              <a:gd name="T12" fmla="*/ 51 w 170"/>
              <a:gd name="T13" fmla="*/ 139 h 320"/>
              <a:gd name="T14" fmla="*/ 32 w 170"/>
              <a:gd name="T15" fmla="*/ 216 h 320"/>
              <a:gd name="T16" fmla="*/ 47 w 170"/>
              <a:gd name="T17" fmla="*/ 239 h 320"/>
              <a:gd name="T18" fmla="*/ 47 w 170"/>
              <a:gd name="T19" fmla="*/ 274 h 320"/>
              <a:gd name="T20" fmla="*/ 27 w 170"/>
              <a:gd name="T21" fmla="*/ 306 h 320"/>
              <a:gd name="T22" fmla="*/ 70 w 170"/>
              <a:gd name="T23" fmla="*/ 320 h 320"/>
              <a:gd name="T24" fmla="*/ 87 w 170"/>
              <a:gd name="T25" fmla="*/ 306 h 320"/>
              <a:gd name="T26" fmla="*/ 110 w 170"/>
              <a:gd name="T27" fmla="*/ 314 h 320"/>
              <a:gd name="T28" fmla="*/ 145 w 170"/>
              <a:gd name="T29" fmla="*/ 299 h 320"/>
              <a:gd name="T30" fmla="*/ 145 w 170"/>
              <a:gd name="T31" fmla="*/ 222 h 320"/>
              <a:gd name="T32" fmla="*/ 170 w 170"/>
              <a:gd name="T33" fmla="*/ 151 h 320"/>
              <a:gd name="T34" fmla="*/ 129 w 170"/>
              <a:gd name="T35" fmla="*/ 119 h 320"/>
              <a:gd name="T36" fmla="*/ 170 w 170"/>
              <a:gd name="T37" fmla="*/ 85 h 320"/>
              <a:gd name="T38" fmla="*/ 139 w 170"/>
              <a:gd name="T39" fmla="*/ 20 h 320"/>
              <a:gd name="T40" fmla="*/ 140 w 170"/>
              <a:gd name="T41" fmla="*/ 17 h 320"/>
              <a:gd name="T42" fmla="*/ 140 w 170"/>
              <a:gd name="T43" fmla="*/ 17 h 320"/>
              <a:gd name="T44" fmla="*/ 140 w 170"/>
              <a:gd name="T45" fmla="*/ 17 h 32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0"/>
              <a:gd name="T70" fmla="*/ 0 h 320"/>
              <a:gd name="T71" fmla="*/ 170 w 170"/>
              <a:gd name="T72" fmla="*/ 320 h 32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0" h="320">
                <a:moveTo>
                  <a:pt x="140" y="17"/>
                </a:moveTo>
                <a:lnTo>
                  <a:pt x="119" y="17"/>
                </a:lnTo>
                <a:lnTo>
                  <a:pt x="102" y="0"/>
                </a:lnTo>
                <a:lnTo>
                  <a:pt x="77" y="0"/>
                </a:lnTo>
                <a:lnTo>
                  <a:pt x="53" y="49"/>
                </a:lnTo>
                <a:lnTo>
                  <a:pt x="0" y="85"/>
                </a:lnTo>
                <a:lnTo>
                  <a:pt x="51" y="139"/>
                </a:lnTo>
                <a:lnTo>
                  <a:pt x="32" y="216"/>
                </a:lnTo>
                <a:lnTo>
                  <a:pt x="47" y="239"/>
                </a:lnTo>
                <a:lnTo>
                  <a:pt x="47" y="274"/>
                </a:lnTo>
                <a:lnTo>
                  <a:pt x="27" y="306"/>
                </a:lnTo>
                <a:lnTo>
                  <a:pt x="70" y="320"/>
                </a:lnTo>
                <a:lnTo>
                  <a:pt x="87" y="306"/>
                </a:lnTo>
                <a:lnTo>
                  <a:pt x="110" y="314"/>
                </a:lnTo>
                <a:lnTo>
                  <a:pt x="145" y="299"/>
                </a:lnTo>
                <a:lnTo>
                  <a:pt x="145" y="222"/>
                </a:lnTo>
                <a:lnTo>
                  <a:pt x="170" y="151"/>
                </a:lnTo>
                <a:lnTo>
                  <a:pt x="129" y="119"/>
                </a:lnTo>
                <a:lnTo>
                  <a:pt x="170" y="85"/>
                </a:lnTo>
                <a:lnTo>
                  <a:pt x="139" y="20"/>
                </a:lnTo>
                <a:lnTo>
                  <a:pt x="140" y="17"/>
                </a:lnTo>
                <a:close/>
              </a:path>
            </a:pathLst>
          </a:custGeom>
          <a:solidFill>
            <a:schemeClr val="accent3"/>
          </a:solidFill>
          <a:ln w="12700">
            <a:solidFill>
              <a:schemeClr val="bg1"/>
            </a:solidFill>
            <a:round/>
            <a:headEnd/>
            <a:tailEnd/>
          </a:ln>
        </p:spPr>
        <p:txBody>
          <a:bodyPr/>
          <a:lstStyle/>
          <a:p>
            <a:pPr>
              <a:defRPr/>
            </a:pPr>
            <a:endParaRPr lang="nl-NL"/>
          </a:p>
        </p:txBody>
      </p:sp>
      <p:sp>
        <p:nvSpPr>
          <p:cNvPr id="240" name="Freeform 39"/>
          <p:cNvSpPr>
            <a:spLocks/>
          </p:cNvSpPr>
          <p:nvPr/>
        </p:nvSpPr>
        <p:spPr bwMode="auto">
          <a:xfrm>
            <a:off x="4870296" y="4849723"/>
            <a:ext cx="189050" cy="263617"/>
          </a:xfrm>
          <a:custGeom>
            <a:avLst/>
            <a:gdLst>
              <a:gd name="T0" fmla="*/ 35 w 122"/>
              <a:gd name="T1" fmla="*/ 0 h 165"/>
              <a:gd name="T2" fmla="*/ 35 w 122"/>
              <a:gd name="T3" fmla="*/ 76 h 165"/>
              <a:gd name="T4" fmla="*/ 0 w 122"/>
              <a:gd name="T5" fmla="*/ 89 h 165"/>
              <a:gd name="T6" fmla="*/ 14 w 122"/>
              <a:gd name="T7" fmla="*/ 149 h 165"/>
              <a:gd name="T8" fmla="*/ 23 w 122"/>
              <a:gd name="T9" fmla="*/ 162 h 165"/>
              <a:gd name="T10" fmla="*/ 81 w 122"/>
              <a:gd name="T11" fmla="*/ 165 h 165"/>
              <a:gd name="T12" fmla="*/ 122 w 122"/>
              <a:gd name="T13" fmla="*/ 134 h 165"/>
              <a:gd name="T14" fmla="*/ 122 w 122"/>
              <a:gd name="T15" fmla="*/ 79 h 165"/>
              <a:gd name="T16" fmla="*/ 87 w 122"/>
              <a:gd name="T17" fmla="*/ 56 h 165"/>
              <a:gd name="T18" fmla="*/ 35 w 122"/>
              <a:gd name="T19" fmla="*/ 0 h 165"/>
              <a:gd name="T20" fmla="*/ 35 w 122"/>
              <a:gd name="T21" fmla="*/ 0 h 165"/>
              <a:gd name="T22" fmla="*/ 35 w 122"/>
              <a:gd name="T23" fmla="*/ 0 h 1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2"/>
              <a:gd name="T37" fmla="*/ 0 h 165"/>
              <a:gd name="T38" fmla="*/ 122 w 122"/>
              <a:gd name="T39" fmla="*/ 165 h 1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2" h="165">
                <a:moveTo>
                  <a:pt x="35" y="0"/>
                </a:moveTo>
                <a:lnTo>
                  <a:pt x="35" y="76"/>
                </a:lnTo>
                <a:lnTo>
                  <a:pt x="0" y="89"/>
                </a:lnTo>
                <a:lnTo>
                  <a:pt x="14" y="149"/>
                </a:lnTo>
                <a:lnTo>
                  <a:pt x="23" y="162"/>
                </a:lnTo>
                <a:lnTo>
                  <a:pt x="81" y="165"/>
                </a:lnTo>
                <a:lnTo>
                  <a:pt x="122" y="134"/>
                </a:lnTo>
                <a:lnTo>
                  <a:pt x="122" y="79"/>
                </a:lnTo>
                <a:lnTo>
                  <a:pt x="87" y="56"/>
                </a:lnTo>
                <a:lnTo>
                  <a:pt x="35" y="0"/>
                </a:lnTo>
                <a:close/>
              </a:path>
            </a:pathLst>
          </a:custGeom>
          <a:solidFill>
            <a:schemeClr val="accent3"/>
          </a:solidFill>
          <a:ln w="12700">
            <a:solidFill>
              <a:schemeClr val="bg1"/>
            </a:solidFill>
            <a:round/>
            <a:headEnd/>
            <a:tailEnd/>
          </a:ln>
        </p:spPr>
        <p:txBody>
          <a:bodyPr/>
          <a:lstStyle/>
          <a:p>
            <a:pPr>
              <a:defRPr/>
            </a:pPr>
            <a:endParaRPr lang="nl-NL"/>
          </a:p>
        </p:txBody>
      </p:sp>
      <p:sp>
        <p:nvSpPr>
          <p:cNvPr id="241" name="Freeform 40"/>
          <p:cNvSpPr>
            <a:spLocks/>
          </p:cNvSpPr>
          <p:nvPr/>
        </p:nvSpPr>
        <p:spPr bwMode="auto">
          <a:xfrm>
            <a:off x="4769573" y="4982331"/>
            <a:ext cx="136364" cy="174147"/>
          </a:xfrm>
          <a:custGeom>
            <a:avLst/>
            <a:gdLst>
              <a:gd name="T0" fmla="*/ 65 w 88"/>
              <a:gd name="T1" fmla="*/ 6 h 109"/>
              <a:gd name="T2" fmla="*/ 43 w 88"/>
              <a:gd name="T3" fmla="*/ 0 h 109"/>
              <a:gd name="T4" fmla="*/ 23 w 88"/>
              <a:gd name="T5" fmla="*/ 14 h 109"/>
              <a:gd name="T6" fmla="*/ 27 w 88"/>
              <a:gd name="T7" fmla="*/ 41 h 109"/>
              <a:gd name="T8" fmla="*/ 13 w 88"/>
              <a:gd name="T9" fmla="*/ 55 h 109"/>
              <a:gd name="T10" fmla="*/ 13 w 88"/>
              <a:gd name="T11" fmla="*/ 76 h 109"/>
              <a:gd name="T12" fmla="*/ 0 w 88"/>
              <a:gd name="T13" fmla="*/ 81 h 109"/>
              <a:gd name="T14" fmla="*/ 16 w 88"/>
              <a:gd name="T15" fmla="*/ 109 h 109"/>
              <a:gd name="T16" fmla="*/ 48 w 88"/>
              <a:gd name="T17" fmla="*/ 84 h 109"/>
              <a:gd name="T18" fmla="*/ 88 w 88"/>
              <a:gd name="T19" fmla="*/ 88 h 109"/>
              <a:gd name="T20" fmla="*/ 88 w 88"/>
              <a:gd name="T21" fmla="*/ 79 h 109"/>
              <a:gd name="T22" fmla="*/ 79 w 88"/>
              <a:gd name="T23" fmla="*/ 66 h 109"/>
              <a:gd name="T24" fmla="*/ 65 w 88"/>
              <a:gd name="T25" fmla="*/ 6 h 109"/>
              <a:gd name="T26" fmla="*/ 65 w 88"/>
              <a:gd name="T27" fmla="*/ 6 h 109"/>
              <a:gd name="T28" fmla="*/ 65 w 88"/>
              <a:gd name="T29" fmla="*/ 6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8"/>
              <a:gd name="T46" fmla="*/ 0 h 109"/>
              <a:gd name="T47" fmla="*/ 88 w 88"/>
              <a:gd name="T48" fmla="*/ 109 h 1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8" h="109">
                <a:moveTo>
                  <a:pt x="65" y="6"/>
                </a:moveTo>
                <a:lnTo>
                  <a:pt x="43" y="0"/>
                </a:lnTo>
                <a:lnTo>
                  <a:pt x="23" y="14"/>
                </a:lnTo>
                <a:lnTo>
                  <a:pt x="27" y="41"/>
                </a:lnTo>
                <a:lnTo>
                  <a:pt x="13" y="55"/>
                </a:lnTo>
                <a:lnTo>
                  <a:pt x="13" y="76"/>
                </a:lnTo>
                <a:lnTo>
                  <a:pt x="0" y="81"/>
                </a:lnTo>
                <a:lnTo>
                  <a:pt x="16" y="109"/>
                </a:lnTo>
                <a:lnTo>
                  <a:pt x="48" y="84"/>
                </a:lnTo>
                <a:lnTo>
                  <a:pt x="88" y="88"/>
                </a:lnTo>
                <a:lnTo>
                  <a:pt x="88" y="79"/>
                </a:lnTo>
                <a:lnTo>
                  <a:pt x="79" y="66"/>
                </a:lnTo>
                <a:lnTo>
                  <a:pt x="65" y="6"/>
                </a:lnTo>
                <a:close/>
              </a:path>
            </a:pathLst>
          </a:custGeom>
          <a:solidFill>
            <a:schemeClr val="accent3"/>
          </a:solidFill>
          <a:ln w="12700">
            <a:solidFill>
              <a:schemeClr val="bg1"/>
            </a:solidFill>
            <a:round/>
            <a:headEnd/>
            <a:tailEnd/>
          </a:ln>
        </p:spPr>
        <p:txBody>
          <a:bodyPr/>
          <a:lstStyle/>
          <a:p>
            <a:pPr>
              <a:defRPr/>
            </a:pPr>
            <a:endParaRPr lang="nl-NL"/>
          </a:p>
        </p:txBody>
      </p:sp>
      <p:sp>
        <p:nvSpPr>
          <p:cNvPr id="242" name="Freeform 41"/>
          <p:cNvSpPr>
            <a:spLocks/>
          </p:cNvSpPr>
          <p:nvPr/>
        </p:nvSpPr>
        <p:spPr bwMode="auto">
          <a:xfrm>
            <a:off x="4794366" y="5116536"/>
            <a:ext cx="122417" cy="68700"/>
          </a:xfrm>
          <a:custGeom>
            <a:avLst/>
            <a:gdLst>
              <a:gd name="T0" fmla="*/ 0 w 79"/>
              <a:gd name="T1" fmla="*/ 25 h 43"/>
              <a:gd name="T2" fmla="*/ 7 w 79"/>
              <a:gd name="T3" fmla="*/ 35 h 43"/>
              <a:gd name="T4" fmla="*/ 79 w 79"/>
              <a:gd name="T5" fmla="*/ 43 h 43"/>
              <a:gd name="T6" fmla="*/ 72 w 79"/>
              <a:gd name="T7" fmla="*/ 4 h 43"/>
              <a:gd name="T8" fmla="*/ 32 w 79"/>
              <a:gd name="T9" fmla="*/ 0 h 43"/>
              <a:gd name="T10" fmla="*/ 0 w 79"/>
              <a:gd name="T11" fmla="*/ 25 h 43"/>
              <a:gd name="T12" fmla="*/ 0 w 79"/>
              <a:gd name="T13" fmla="*/ 25 h 43"/>
              <a:gd name="T14" fmla="*/ 0 w 79"/>
              <a:gd name="T15" fmla="*/ 25 h 43"/>
              <a:gd name="T16" fmla="*/ 0 60000 65536"/>
              <a:gd name="T17" fmla="*/ 0 60000 65536"/>
              <a:gd name="T18" fmla="*/ 0 60000 65536"/>
              <a:gd name="T19" fmla="*/ 0 60000 65536"/>
              <a:gd name="T20" fmla="*/ 0 60000 65536"/>
              <a:gd name="T21" fmla="*/ 0 60000 65536"/>
              <a:gd name="T22" fmla="*/ 0 60000 65536"/>
              <a:gd name="T23" fmla="*/ 0 60000 65536"/>
              <a:gd name="T24" fmla="*/ 0 w 79"/>
              <a:gd name="T25" fmla="*/ 0 h 43"/>
              <a:gd name="T26" fmla="*/ 79 w 79"/>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 h="43">
                <a:moveTo>
                  <a:pt x="0" y="25"/>
                </a:moveTo>
                <a:lnTo>
                  <a:pt x="7" y="35"/>
                </a:lnTo>
                <a:lnTo>
                  <a:pt x="79" y="43"/>
                </a:lnTo>
                <a:lnTo>
                  <a:pt x="72" y="4"/>
                </a:lnTo>
                <a:lnTo>
                  <a:pt x="32" y="0"/>
                </a:lnTo>
                <a:lnTo>
                  <a:pt x="0" y="25"/>
                </a:lnTo>
                <a:close/>
              </a:path>
            </a:pathLst>
          </a:custGeom>
          <a:solidFill>
            <a:schemeClr val="accent3"/>
          </a:solidFill>
          <a:ln w="12700">
            <a:solidFill>
              <a:schemeClr val="bg1"/>
            </a:solidFill>
            <a:round/>
            <a:headEnd/>
            <a:tailEnd/>
          </a:ln>
        </p:spPr>
        <p:txBody>
          <a:bodyPr/>
          <a:lstStyle/>
          <a:p>
            <a:pPr>
              <a:defRPr/>
            </a:pPr>
            <a:endParaRPr lang="nl-NL"/>
          </a:p>
        </p:txBody>
      </p:sp>
      <p:sp>
        <p:nvSpPr>
          <p:cNvPr id="243" name="Freeform 42"/>
          <p:cNvSpPr>
            <a:spLocks/>
          </p:cNvSpPr>
          <p:nvPr/>
        </p:nvSpPr>
        <p:spPr bwMode="auto">
          <a:xfrm>
            <a:off x="5380110" y="5469623"/>
            <a:ext cx="141012" cy="89470"/>
          </a:xfrm>
          <a:custGeom>
            <a:avLst/>
            <a:gdLst>
              <a:gd name="T0" fmla="*/ 0 w 91"/>
              <a:gd name="T1" fmla="*/ 30 h 56"/>
              <a:gd name="T2" fmla="*/ 19 w 91"/>
              <a:gd name="T3" fmla="*/ 30 h 56"/>
              <a:gd name="T4" fmla="*/ 26 w 91"/>
              <a:gd name="T5" fmla="*/ 56 h 56"/>
              <a:gd name="T6" fmla="*/ 58 w 91"/>
              <a:gd name="T7" fmla="*/ 49 h 56"/>
              <a:gd name="T8" fmla="*/ 75 w 91"/>
              <a:gd name="T9" fmla="*/ 36 h 56"/>
              <a:gd name="T10" fmla="*/ 91 w 91"/>
              <a:gd name="T11" fmla="*/ 25 h 56"/>
              <a:gd name="T12" fmla="*/ 51 w 91"/>
              <a:gd name="T13" fmla="*/ 0 h 56"/>
              <a:gd name="T14" fmla="*/ 0 w 91"/>
              <a:gd name="T15" fmla="*/ 30 h 56"/>
              <a:gd name="T16" fmla="*/ 0 w 91"/>
              <a:gd name="T17" fmla="*/ 30 h 56"/>
              <a:gd name="T18" fmla="*/ 0 w 91"/>
              <a:gd name="T19" fmla="*/ 30 h 56"/>
              <a:gd name="T20" fmla="*/ 0 w 91"/>
              <a:gd name="T21" fmla="*/ 30 h 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1"/>
              <a:gd name="T34" fmla="*/ 0 h 56"/>
              <a:gd name="T35" fmla="*/ 91 w 91"/>
              <a:gd name="T36" fmla="*/ 56 h 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1" h="56">
                <a:moveTo>
                  <a:pt x="0" y="30"/>
                </a:moveTo>
                <a:lnTo>
                  <a:pt x="19" y="30"/>
                </a:lnTo>
                <a:lnTo>
                  <a:pt x="26" y="56"/>
                </a:lnTo>
                <a:lnTo>
                  <a:pt x="58" y="49"/>
                </a:lnTo>
                <a:lnTo>
                  <a:pt x="75" y="36"/>
                </a:lnTo>
                <a:lnTo>
                  <a:pt x="91" y="25"/>
                </a:lnTo>
                <a:lnTo>
                  <a:pt x="51" y="0"/>
                </a:lnTo>
                <a:lnTo>
                  <a:pt x="0" y="30"/>
                </a:lnTo>
                <a:close/>
              </a:path>
            </a:pathLst>
          </a:custGeom>
          <a:solidFill>
            <a:schemeClr val="accent3"/>
          </a:solidFill>
          <a:ln w="12700">
            <a:solidFill>
              <a:schemeClr val="bg1"/>
            </a:solidFill>
            <a:round/>
            <a:headEnd/>
            <a:tailEnd/>
          </a:ln>
        </p:spPr>
        <p:txBody>
          <a:bodyPr/>
          <a:lstStyle/>
          <a:p>
            <a:pPr>
              <a:defRPr/>
            </a:pPr>
            <a:endParaRPr lang="nl-NL"/>
          </a:p>
        </p:txBody>
      </p:sp>
      <p:sp>
        <p:nvSpPr>
          <p:cNvPr id="244" name="Freeform 43"/>
          <p:cNvSpPr>
            <a:spLocks/>
          </p:cNvSpPr>
          <p:nvPr/>
        </p:nvSpPr>
        <p:spPr bwMode="auto">
          <a:xfrm>
            <a:off x="4473602" y="3752116"/>
            <a:ext cx="105372" cy="172550"/>
          </a:xfrm>
          <a:custGeom>
            <a:avLst/>
            <a:gdLst>
              <a:gd name="T0" fmla="*/ 68 w 68"/>
              <a:gd name="T1" fmla="*/ 0 h 108"/>
              <a:gd name="T2" fmla="*/ 17 w 68"/>
              <a:gd name="T3" fmla="*/ 38 h 108"/>
              <a:gd name="T4" fmla="*/ 0 w 68"/>
              <a:gd name="T5" fmla="*/ 108 h 108"/>
              <a:gd name="T6" fmla="*/ 67 w 68"/>
              <a:gd name="T7" fmla="*/ 67 h 108"/>
              <a:gd name="T8" fmla="*/ 68 w 68"/>
              <a:gd name="T9" fmla="*/ 0 h 108"/>
              <a:gd name="T10" fmla="*/ 68 w 68"/>
              <a:gd name="T11" fmla="*/ 0 h 108"/>
              <a:gd name="T12" fmla="*/ 68 w 68"/>
              <a:gd name="T13" fmla="*/ 0 h 108"/>
              <a:gd name="T14" fmla="*/ 0 60000 65536"/>
              <a:gd name="T15" fmla="*/ 0 60000 65536"/>
              <a:gd name="T16" fmla="*/ 0 60000 65536"/>
              <a:gd name="T17" fmla="*/ 0 60000 65536"/>
              <a:gd name="T18" fmla="*/ 0 60000 65536"/>
              <a:gd name="T19" fmla="*/ 0 60000 65536"/>
              <a:gd name="T20" fmla="*/ 0 60000 65536"/>
              <a:gd name="T21" fmla="*/ 0 w 68"/>
              <a:gd name="T22" fmla="*/ 0 h 108"/>
              <a:gd name="T23" fmla="*/ 68 w 68"/>
              <a:gd name="T24" fmla="*/ 108 h 1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8" h="108">
                <a:moveTo>
                  <a:pt x="68" y="0"/>
                </a:moveTo>
                <a:lnTo>
                  <a:pt x="17" y="38"/>
                </a:lnTo>
                <a:lnTo>
                  <a:pt x="0" y="108"/>
                </a:lnTo>
                <a:lnTo>
                  <a:pt x="67" y="67"/>
                </a:lnTo>
                <a:lnTo>
                  <a:pt x="68" y="0"/>
                </a:lnTo>
                <a:close/>
              </a:path>
            </a:pathLst>
          </a:custGeom>
          <a:solidFill>
            <a:schemeClr val="accent3"/>
          </a:solidFill>
          <a:ln w="12700">
            <a:solidFill>
              <a:schemeClr val="bg1"/>
            </a:solidFill>
            <a:round/>
            <a:headEnd/>
            <a:tailEnd/>
          </a:ln>
        </p:spPr>
        <p:txBody>
          <a:bodyPr/>
          <a:lstStyle/>
          <a:p>
            <a:pPr>
              <a:defRPr/>
            </a:pPr>
            <a:endParaRPr lang="nl-NL"/>
          </a:p>
        </p:txBody>
      </p:sp>
      <p:sp>
        <p:nvSpPr>
          <p:cNvPr id="245" name="Freeform 44"/>
          <p:cNvSpPr>
            <a:spLocks/>
          </p:cNvSpPr>
          <p:nvPr/>
        </p:nvSpPr>
        <p:spPr bwMode="auto">
          <a:xfrm>
            <a:off x="5028354" y="3077894"/>
            <a:ext cx="317665" cy="501672"/>
          </a:xfrm>
          <a:custGeom>
            <a:avLst/>
            <a:gdLst>
              <a:gd name="T0" fmla="*/ 111 w 205"/>
              <a:gd name="T1" fmla="*/ 0 h 314"/>
              <a:gd name="T2" fmla="*/ 101 w 205"/>
              <a:gd name="T3" fmla="*/ 30 h 314"/>
              <a:gd name="T4" fmla="*/ 61 w 205"/>
              <a:gd name="T5" fmla="*/ 56 h 314"/>
              <a:gd name="T6" fmla="*/ 85 w 205"/>
              <a:gd name="T7" fmla="*/ 117 h 314"/>
              <a:gd name="T8" fmla="*/ 0 w 205"/>
              <a:gd name="T9" fmla="*/ 199 h 314"/>
              <a:gd name="T10" fmla="*/ 31 w 205"/>
              <a:gd name="T11" fmla="*/ 220 h 314"/>
              <a:gd name="T12" fmla="*/ 31 w 205"/>
              <a:gd name="T13" fmla="*/ 302 h 314"/>
              <a:gd name="T14" fmla="*/ 71 w 205"/>
              <a:gd name="T15" fmla="*/ 302 h 314"/>
              <a:gd name="T16" fmla="*/ 92 w 205"/>
              <a:gd name="T17" fmla="*/ 314 h 314"/>
              <a:gd name="T18" fmla="*/ 97 w 205"/>
              <a:gd name="T19" fmla="*/ 293 h 314"/>
              <a:gd name="T20" fmla="*/ 150 w 205"/>
              <a:gd name="T21" fmla="*/ 277 h 314"/>
              <a:gd name="T22" fmla="*/ 174 w 205"/>
              <a:gd name="T23" fmla="*/ 216 h 314"/>
              <a:gd name="T24" fmla="*/ 205 w 205"/>
              <a:gd name="T25" fmla="*/ 210 h 314"/>
              <a:gd name="T26" fmla="*/ 171 w 205"/>
              <a:gd name="T27" fmla="*/ 59 h 314"/>
              <a:gd name="T28" fmla="*/ 111 w 205"/>
              <a:gd name="T29" fmla="*/ 0 h 314"/>
              <a:gd name="T30" fmla="*/ 111 w 205"/>
              <a:gd name="T31" fmla="*/ 0 h 314"/>
              <a:gd name="T32" fmla="*/ 111 w 205"/>
              <a:gd name="T33" fmla="*/ 0 h 3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5"/>
              <a:gd name="T52" fmla="*/ 0 h 314"/>
              <a:gd name="T53" fmla="*/ 205 w 205"/>
              <a:gd name="T54" fmla="*/ 314 h 3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5" h="314">
                <a:moveTo>
                  <a:pt x="111" y="0"/>
                </a:moveTo>
                <a:lnTo>
                  <a:pt x="101" y="30"/>
                </a:lnTo>
                <a:lnTo>
                  <a:pt x="61" y="56"/>
                </a:lnTo>
                <a:lnTo>
                  <a:pt x="85" y="117"/>
                </a:lnTo>
                <a:lnTo>
                  <a:pt x="0" y="199"/>
                </a:lnTo>
                <a:lnTo>
                  <a:pt x="31" y="220"/>
                </a:lnTo>
                <a:lnTo>
                  <a:pt x="31" y="302"/>
                </a:lnTo>
                <a:lnTo>
                  <a:pt x="71" y="302"/>
                </a:lnTo>
                <a:lnTo>
                  <a:pt x="92" y="314"/>
                </a:lnTo>
                <a:lnTo>
                  <a:pt x="97" y="293"/>
                </a:lnTo>
                <a:lnTo>
                  <a:pt x="150" y="277"/>
                </a:lnTo>
                <a:lnTo>
                  <a:pt x="174" y="216"/>
                </a:lnTo>
                <a:lnTo>
                  <a:pt x="205" y="210"/>
                </a:lnTo>
                <a:lnTo>
                  <a:pt x="171" y="59"/>
                </a:lnTo>
                <a:lnTo>
                  <a:pt x="111" y="0"/>
                </a:lnTo>
                <a:close/>
              </a:path>
            </a:pathLst>
          </a:custGeom>
          <a:solidFill>
            <a:schemeClr val="accent3"/>
          </a:solidFill>
          <a:ln w="12700">
            <a:solidFill>
              <a:schemeClr val="bg1"/>
            </a:solidFill>
            <a:round/>
            <a:headEnd/>
            <a:tailEnd/>
          </a:ln>
        </p:spPr>
        <p:txBody>
          <a:bodyPr/>
          <a:lstStyle/>
          <a:p>
            <a:pPr>
              <a:defRPr/>
            </a:pPr>
            <a:endParaRPr lang="nl-NL"/>
          </a:p>
        </p:txBody>
      </p:sp>
      <p:sp>
        <p:nvSpPr>
          <p:cNvPr id="246" name="Freeform 45"/>
          <p:cNvSpPr>
            <a:spLocks/>
          </p:cNvSpPr>
          <p:nvPr/>
        </p:nvSpPr>
        <p:spPr bwMode="auto">
          <a:xfrm>
            <a:off x="5266991" y="3413407"/>
            <a:ext cx="130165" cy="132608"/>
          </a:xfrm>
          <a:custGeom>
            <a:avLst/>
            <a:gdLst>
              <a:gd name="T0" fmla="*/ 52 w 84"/>
              <a:gd name="T1" fmla="*/ 0 h 83"/>
              <a:gd name="T2" fmla="*/ 20 w 84"/>
              <a:gd name="T3" fmla="*/ 6 h 83"/>
              <a:gd name="T4" fmla="*/ 0 w 84"/>
              <a:gd name="T5" fmla="*/ 54 h 83"/>
              <a:gd name="T6" fmla="*/ 56 w 84"/>
              <a:gd name="T7" fmla="*/ 83 h 83"/>
              <a:gd name="T8" fmla="*/ 84 w 84"/>
              <a:gd name="T9" fmla="*/ 59 h 83"/>
              <a:gd name="T10" fmla="*/ 52 w 84"/>
              <a:gd name="T11" fmla="*/ 0 h 83"/>
              <a:gd name="T12" fmla="*/ 52 w 84"/>
              <a:gd name="T13" fmla="*/ 0 h 83"/>
              <a:gd name="T14" fmla="*/ 52 w 84"/>
              <a:gd name="T15" fmla="*/ 0 h 83"/>
              <a:gd name="T16" fmla="*/ 0 60000 65536"/>
              <a:gd name="T17" fmla="*/ 0 60000 65536"/>
              <a:gd name="T18" fmla="*/ 0 60000 65536"/>
              <a:gd name="T19" fmla="*/ 0 60000 65536"/>
              <a:gd name="T20" fmla="*/ 0 60000 65536"/>
              <a:gd name="T21" fmla="*/ 0 60000 65536"/>
              <a:gd name="T22" fmla="*/ 0 60000 65536"/>
              <a:gd name="T23" fmla="*/ 0 60000 65536"/>
              <a:gd name="T24" fmla="*/ 0 w 84"/>
              <a:gd name="T25" fmla="*/ 0 h 83"/>
              <a:gd name="T26" fmla="*/ 84 w 84"/>
              <a:gd name="T27" fmla="*/ 83 h 8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 h="83">
                <a:moveTo>
                  <a:pt x="52" y="0"/>
                </a:moveTo>
                <a:lnTo>
                  <a:pt x="20" y="6"/>
                </a:lnTo>
                <a:lnTo>
                  <a:pt x="0" y="54"/>
                </a:lnTo>
                <a:lnTo>
                  <a:pt x="56" y="83"/>
                </a:lnTo>
                <a:lnTo>
                  <a:pt x="84" y="59"/>
                </a:lnTo>
                <a:lnTo>
                  <a:pt x="52" y="0"/>
                </a:lnTo>
                <a:close/>
              </a:path>
            </a:pathLst>
          </a:custGeom>
          <a:solidFill>
            <a:schemeClr val="accent3"/>
          </a:solidFill>
          <a:ln w="12700">
            <a:solidFill>
              <a:schemeClr val="bg1"/>
            </a:solidFill>
            <a:round/>
            <a:headEnd/>
            <a:tailEnd/>
          </a:ln>
        </p:spPr>
        <p:txBody>
          <a:bodyPr/>
          <a:lstStyle/>
          <a:p>
            <a:pPr>
              <a:defRPr/>
            </a:pPr>
            <a:endParaRPr lang="nl-NL"/>
          </a:p>
        </p:txBody>
      </p:sp>
      <p:sp>
        <p:nvSpPr>
          <p:cNvPr id="247" name="Freeform 46"/>
          <p:cNvSpPr>
            <a:spLocks/>
          </p:cNvSpPr>
          <p:nvPr/>
        </p:nvSpPr>
        <p:spPr bwMode="auto">
          <a:xfrm>
            <a:off x="5353767" y="3507671"/>
            <a:ext cx="72831" cy="47930"/>
          </a:xfrm>
          <a:custGeom>
            <a:avLst/>
            <a:gdLst>
              <a:gd name="T0" fmla="*/ 28 w 47"/>
              <a:gd name="T1" fmla="*/ 0 h 30"/>
              <a:gd name="T2" fmla="*/ 0 w 47"/>
              <a:gd name="T3" fmla="*/ 24 h 30"/>
              <a:gd name="T4" fmla="*/ 47 w 47"/>
              <a:gd name="T5" fmla="*/ 30 h 30"/>
              <a:gd name="T6" fmla="*/ 28 w 47"/>
              <a:gd name="T7" fmla="*/ 0 h 30"/>
              <a:gd name="T8" fmla="*/ 28 w 47"/>
              <a:gd name="T9" fmla="*/ 0 h 30"/>
              <a:gd name="T10" fmla="*/ 28 w 47"/>
              <a:gd name="T11" fmla="*/ 0 h 30"/>
              <a:gd name="T12" fmla="*/ 0 60000 65536"/>
              <a:gd name="T13" fmla="*/ 0 60000 65536"/>
              <a:gd name="T14" fmla="*/ 0 60000 65536"/>
              <a:gd name="T15" fmla="*/ 0 60000 65536"/>
              <a:gd name="T16" fmla="*/ 0 60000 65536"/>
              <a:gd name="T17" fmla="*/ 0 60000 65536"/>
              <a:gd name="T18" fmla="*/ 0 w 47"/>
              <a:gd name="T19" fmla="*/ 0 h 30"/>
              <a:gd name="T20" fmla="*/ 47 w 47"/>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47" h="30">
                <a:moveTo>
                  <a:pt x="28" y="0"/>
                </a:moveTo>
                <a:lnTo>
                  <a:pt x="0" y="24"/>
                </a:lnTo>
                <a:lnTo>
                  <a:pt x="47" y="30"/>
                </a:lnTo>
                <a:lnTo>
                  <a:pt x="28" y="0"/>
                </a:lnTo>
                <a:close/>
              </a:path>
            </a:pathLst>
          </a:custGeom>
          <a:solidFill>
            <a:schemeClr val="accent3"/>
          </a:solidFill>
          <a:ln w="12700">
            <a:solidFill>
              <a:schemeClr val="bg1"/>
            </a:solidFill>
            <a:round/>
            <a:headEnd/>
            <a:tailEnd/>
          </a:ln>
        </p:spPr>
        <p:txBody>
          <a:bodyPr/>
          <a:lstStyle/>
          <a:p>
            <a:pPr>
              <a:defRPr/>
            </a:pPr>
            <a:endParaRPr lang="nl-NL"/>
          </a:p>
        </p:txBody>
      </p:sp>
      <p:sp>
        <p:nvSpPr>
          <p:cNvPr id="248" name="Freeform 47"/>
          <p:cNvSpPr>
            <a:spLocks/>
          </p:cNvSpPr>
          <p:nvPr/>
        </p:nvSpPr>
        <p:spPr bwMode="auto">
          <a:xfrm>
            <a:off x="5141474" y="3499682"/>
            <a:ext cx="295971" cy="234859"/>
          </a:xfrm>
          <a:custGeom>
            <a:avLst/>
            <a:gdLst>
              <a:gd name="T0" fmla="*/ 183 w 191"/>
              <a:gd name="T1" fmla="*/ 35 h 147"/>
              <a:gd name="T2" fmla="*/ 137 w 191"/>
              <a:gd name="T3" fmla="*/ 29 h 147"/>
              <a:gd name="T4" fmla="*/ 81 w 191"/>
              <a:gd name="T5" fmla="*/ 0 h 147"/>
              <a:gd name="T6" fmla="*/ 77 w 191"/>
              <a:gd name="T7" fmla="*/ 13 h 147"/>
              <a:gd name="T8" fmla="*/ 24 w 191"/>
              <a:gd name="T9" fmla="*/ 29 h 147"/>
              <a:gd name="T10" fmla="*/ 19 w 191"/>
              <a:gd name="T11" fmla="*/ 50 h 147"/>
              <a:gd name="T12" fmla="*/ 0 w 191"/>
              <a:gd name="T13" fmla="*/ 38 h 147"/>
              <a:gd name="T14" fmla="*/ 0 w 191"/>
              <a:gd name="T15" fmla="*/ 120 h 147"/>
              <a:gd name="T16" fmla="*/ 12 w 191"/>
              <a:gd name="T17" fmla="*/ 147 h 147"/>
              <a:gd name="T18" fmla="*/ 147 w 191"/>
              <a:gd name="T19" fmla="*/ 116 h 147"/>
              <a:gd name="T20" fmla="*/ 155 w 191"/>
              <a:gd name="T21" fmla="*/ 66 h 147"/>
              <a:gd name="T22" fmla="*/ 191 w 191"/>
              <a:gd name="T23" fmla="*/ 49 h 147"/>
              <a:gd name="T24" fmla="*/ 183 w 191"/>
              <a:gd name="T25" fmla="*/ 35 h 147"/>
              <a:gd name="T26" fmla="*/ 183 w 191"/>
              <a:gd name="T27" fmla="*/ 35 h 147"/>
              <a:gd name="T28" fmla="*/ 183 w 191"/>
              <a:gd name="T29" fmla="*/ 35 h 1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1"/>
              <a:gd name="T46" fmla="*/ 0 h 147"/>
              <a:gd name="T47" fmla="*/ 191 w 191"/>
              <a:gd name="T48" fmla="*/ 147 h 1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1" h="147">
                <a:moveTo>
                  <a:pt x="183" y="35"/>
                </a:moveTo>
                <a:lnTo>
                  <a:pt x="137" y="29"/>
                </a:lnTo>
                <a:lnTo>
                  <a:pt x="81" y="0"/>
                </a:lnTo>
                <a:lnTo>
                  <a:pt x="77" y="13"/>
                </a:lnTo>
                <a:lnTo>
                  <a:pt x="24" y="29"/>
                </a:lnTo>
                <a:lnTo>
                  <a:pt x="19" y="50"/>
                </a:lnTo>
                <a:lnTo>
                  <a:pt x="0" y="38"/>
                </a:lnTo>
                <a:lnTo>
                  <a:pt x="0" y="120"/>
                </a:lnTo>
                <a:lnTo>
                  <a:pt x="12" y="147"/>
                </a:lnTo>
                <a:lnTo>
                  <a:pt x="147" y="116"/>
                </a:lnTo>
                <a:lnTo>
                  <a:pt x="155" y="66"/>
                </a:lnTo>
                <a:lnTo>
                  <a:pt x="191" y="49"/>
                </a:lnTo>
                <a:lnTo>
                  <a:pt x="183" y="35"/>
                </a:lnTo>
                <a:close/>
              </a:path>
            </a:pathLst>
          </a:custGeom>
          <a:solidFill>
            <a:schemeClr val="accent3"/>
          </a:solidFill>
          <a:ln w="12700">
            <a:solidFill>
              <a:schemeClr val="bg1"/>
            </a:solidFill>
            <a:round/>
            <a:headEnd/>
            <a:tailEnd/>
          </a:ln>
        </p:spPr>
        <p:txBody>
          <a:bodyPr/>
          <a:lstStyle/>
          <a:p>
            <a:pPr>
              <a:defRPr/>
            </a:pPr>
            <a:endParaRPr lang="nl-NL"/>
          </a:p>
        </p:txBody>
      </p:sp>
      <p:sp>
        <p:nvSpPr>
          <p:cNvPr id="249" name="Freeform 48"/>
          <p:cNvSpPr>
            <a:spLocks/>
          </p:cNvSpPr>
          <p:nvPr/>
        </p:nvSpPr>
        <p:spPr bwMode="auto">
          <a:xfrm>
            <a:off x="4777321" y="3395833"/>
            <a:ext cx="382748" cy="493684"/>
          </a:xfrm>
          <a:custGeom>
            <a:avLst/>
            <a:gdLst>
              <a:gd name="T0" fmla="*/ 162 w 247"/>
              <a:gd name="T1" fmla="*/ 0 h 309"/>
              <a:gd name="T2" fmla="*/ 193 w 247"/>
              <a:gd name="T3" fmla="*/ 21 h 309"/>
              <a:gd name="T4" fmla="*/ 193 w 247"/>
              <a:gd name="T5" fmla="*/ 103 h 309"/>
              <a:gd name="T6" fmla="*/ 235 w 247"/>
              <a:gd name="T7" fmla="*/ 103 h 309"/>
              <a:gd name="T8" fmla="*/ 235 w 247"/>
              <a:gd name="T9" fmla="*/ 187 h 309"/>
              <a:gd name="T10" fmla="*/ 247 w 247"/>
              <a:gd name="T11" fmla="*/ 212 h 309"/>
              <a:gd name="T12" fmla="*/ 227 w 247"/>
              <a:gd name="T13" fmla="*/ 270 h 309"/>
              <a:gd name="T14" fmla="*/ 153 w 247"/>
              <a:gd name="T15" fmla="*/ 270 h 309"/>
              <a:gd name="T16" fmla="*/ 85 w 247"/>
              <a:gd name="T17" fmla="*/ 309 h 309"/>
              <a:gd name="T18" fmla="*/ 52 w 247"/>
              <a:gd name="T19" fmla="*/ 279 h 309"/>
              <a:gd name="T20" fmla="*/ 0 w 247"/>
              <a:gd name="T21" fmla="*/ 199 h 309"/>
              <a:gd name="T22" fmla="*/ 44 w 247"/>
              <a:gd name="T23" fmla="*/ 78 h 309"/>
              <a:gd name="T24" fmla="*/ 100 w 247"/>
              <a:gd name="T25" fmla="*/ 61 h 309"/>
              <a:gd name="T26" fmla="*/ 162 w 247"/>
              <a:gd name="T27" fmla="*/ 0 h 309"/>
              <a:gd name="T28" fmla="*/ 162 w 247"/>
              <a:gd name="T29" fmla="*/ 0 h 309"/>
              <a:gd name="T30" fmla="*/ 162 w 247"/>
              <a:gd name="T31" fmla="*/ 0 h 30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7"/>
              <a:gd name="T49" fmla="*/ 0 h 309"/>
              <a:gd name="T50" fmla="*/ 247 w 247"/>
              <a:gd name="T51" fmla="*/ 309 h 30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7" h="309">
                <a:moveTo>
                  <a:pt x="162" y="0"/>
                </a:moveTo>
                <a:lnTo>
                  <a:pt x="193" y="21"/>
                </a:lnTo>
                <a:lnTo>
                  <a:pt x="193" y="103"/>
                </a:lnTo>
                <a:lnTo>
                  <a:pt x="235" y="103"/>
                </a:lnTo>
                <a:lnTo>
                  <a:pt x="235" y="187"/>
                </a:lnTo>
                <a:lnTo>
                  <a:pt x="247" y="212"/>
                </a:lnTo>
                <a:lnTo>
                  <a:pt x="227" y="270"/>
                </a:lnTo>
                <a:lnTo>
                  <a:pt x="153" y="270"/>
                </a:lnTo>
                <a:lnTo>
                  <a:pt x="85" y="309"/>
                </a:lnTo>
                <a:lnTo>
                  <a:pt x="52" y="279"/>
                </a:lnTo>
                <a:lnTo>
                  <a:pt x="0" y="199"/>
                </a:lnTo>
                <a:lnTo>
                  <a:pt x="44" y="78"/>
                </a:lnTo>
                <a:lnTo>
                  <a:pt x="100" y="61"/>
                </a:lnTo>
                <a:lnTo>
                  <a:pt x="162" y="0"/>
                </a:lnTo>
                <a:close/>
              </a:path>
            </a:pathLst>
          </a:custGeom>
          <a:solidFill>
            <a:schemeClr val="accent3"/>
          </a:solidFill>
          <a:ln w="12700">
            <a:solidFill>
              <a:schemeClr val="bg1"/>
            </a:solidFill>
            <a:round/>
            <a:headEnd/>
            <a:tailEnd/>
          </a:ln>
        </p:spPr>
        <p:txBody>
          <a:bodyPr/>
          <a:lstStyle/>
          <a:p>
            <a:pPr>
              <a:defRPr/>
            </a:pPr>
            <a:endParaRPr lang="nl-NL"/>
          </a:p>
        </p:txBody>
      </p:sp>
      <p:sp>
        <p:nvSpPr>
          <p:cNvPr id="250" name="Freeform 49"/>
          <p:cNvSpPr>
            <a:spLocks/>
          </p:cNvSpPr>
          <p:nvPr/>
        </p:nvSpPr>
        <p:spPr bwMode="auto">
          <a:xfrm>
            <a:off x="5369263" y="3579566"/>
            <a:ext cx="172004" cy="146987"/>
          </a:xfrm>
          <a:custGeom>
            <a:avLst/>
            <a:gdLst>
              <a:gd name="T0" fmla="*/ 42 w 111"/>
              <a:gd name="T1" fmla="*/ 0 h 92"/>
              <a:gd name="T2" fmla="*/ 8 w 111"/>
              <a:gd name="T3" fmla="*/ 16 h 92"/>
              <a:gd name="T4" fmla="*/ 0 w 111"/>
              <a:gd name="T5" fmla="*/ 66 h 92"/>
              <a:gd name="T6" fmla="*/ 32 w 111"/>
              <a:gd name="T7" fmla="*/ 92 h 92"/>
              <a:gd name="T8" fmla="*/ 111 w 111"/>
              <a:gd name="T9" fmla="*/ 48 h 92"/>
              <a:gd name="T10" fmla="*/ 68 w 111"/>
              <a:gd name="T11" fmla="*/ 27 h 92"/>
              <a:gd name="T12" fmla="*/ 23 w 111"/>
              <a:gd name="T13" fmla="*/ 42 h 92"/>
              <a:gd name="T14" fmla="*/ 42 w 111"/>
              <a:gd name="T15" fmla="*/ 0 h 92"/>
              <a:gd name="T16" fmla="*/ 42 w 111"/>
              <a:gd name="T17" fmla="*/ 0 h 92"/>
              <a:gd name="T18" fmla="*/ 42 w 111"/>
              <a:gd name="T19" fmla="*/ 0 h 9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92"/>
              <a:gd name="T32" fmla="*/ 111 w 111"/>
              <a:gd name="T33" fmla="*/ 92 h 9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92">
                <a:moveTo>
                  <a:pt x="42" y="0"/>
                </a:moveTo>
                <a:lnTo>
                  <a:pt x="8" y="16"/>
                </a:lnTo>
                <a:lnTo>
                  <a:pt x="0" y="66"/>
                </a:lnTo>
                <a:lnTo>
                  <a:pt x="32" y="92"/>
                </a:lnTo>
                <a:lnTo>
                  <a:pt x="111" y="48"/>
                </a:lnTo>
                <a:lnTo>
                  <a:pt x="68" y="27"/>
                </a:lnTo>
                <a:lnTo>
                  <a:pt x="23" y="42"/>
                </a:lnTo>
                <a:lnTo>
                  <a:pt x="42" y="0"/>
                </a:lnTo>
                <a:close/>
              </a:path>
            </a:pathLst>
          </a:custGeom>
          <a:solidFill>
            <a:schemeClr val="accent3"/>
          </a:solidFill>
          <a:ln w="12700">
            <a:solidFill>
              <a:schemeClr val="bg1"/>
            </a:solidFill>
            <a:round/>
            <a:headEnd/>
            <a:tailEnd/>
          </a:ln>
        </p:spPr>
        <p:txBody>
          <a:bodyPr/>
          <a:lstStyle/>
          <a:p>
            <a:pPr>
              <a:defRPr/>
            </a:pPr>
            <a:endParaRPr lang="nl-NL"/>
          </a:p>
        </p:txBody>
      </p:sp>
      <p:sp>
        <p:nvSpPr>
          <p:cNvPr id="251" name="Freeform 50"/>
          <p:cNvSpPr>
            <a:spLocks/>
          </p:cNvSpPr>
          <p:nvPr/>
        </p:nvSpPr>
        <p:spPr bwMode="auto">
          <a:xfrm>
            <a:off x="4940028" y="3827207"/>
            <a:ext cx="274277" cy="319536"/>
          </a:xfrm>
          <a:custGeom>
            <a:avLst/>
            <a:gdLst>
              <a:gd name="T0" fmla="*/ 47 w 177"/>
              <a:gd name="T1" fmla="*/ 0 h 200"/>
              <a:gd name="T2" fmla="*/ 29 w 177"/>
              <a:gd name="T3" fmla="*/ 87 h 200"/>
              <a:gd name="T4" fmla="*/ 0 w 177"/>
              <a:gd name="T5" fmla="*/ 93 h 200"/>
              <a:gd name="T6" fmla="*/ 9 w 177"/>
              <a:gd name="T7" fmla="*/ 141 h 200"/>
              <a:gd name="T8" fmla="*/ 51 w 177"/>
              <a:gd name="T9" fmla="*/ 143 h 200"/>
              <a:gd name="T10" fmla="*/ 15 w 177"/>
              <a:gd name="T11" fmla="*/ 170 h 200"/>
              <a:gd name="T12" fmla="*/ 15 w 177"/>
              <a:gd name="T13" fmla="*/ 200 h 200"/>
              <a:gd name="T14" fmla="*/ 112 w 177"/>
              <a:gd name="T15" fmla="*/ 200 h 200"/>
              <a:gd name="T16" fmla="*/ 169 w 177"/>
              <a:gd name="T17" fmla="*/ 160 h 200"/>
              <a:gd name="T18" fmla="*/ 156 w 177"/>
              <a:gd name="T19" fmla="*/ 132 h 200"/>
              <a:gd name="T20" fmla="*/ 177 w 177"/>
              <a:gd name="T21" fmla="*/ 108 h 200"/>
              <a:gd name="T22" fmla="*/ 119 w 177"/>
              <a:gd name="T23" fmla="*/ 60 h 200"/>
              <a:gd name="T24" fmla="*/ 94 w 177"/>
              <a:gd name="T25" fmla="*/ 60 h 200"/>
              <a:gd name="T26" fmla="*/ 111 w 177"/>
              <a:gd name="T27" fmla="*/ 0 h 200"/>
              <a:gd name="T28" fmla="*/ 47 w 177"/>
              <a:gd name="T29" fmla="*/ 0 h 200"/>
              <a:gd name="T30" fmla="*/ 47 w 177"/>
              <a:gd name="T31" fmla="*/ 0 h 200"/>
              <a:gd name="T32" fmla="*/ 47 w 177"/>
              <a:gd name="T33" fmla="*/ 0 h 2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7"/>
              <a:gd name="T52" fmla="*/ 0 h 200"/>
              <a:gd name="T53" fmla="*/ 177 w 177"/>
              <a:gd name="T54" fmla="*/ 200 h 2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7" h="200">
                <a:moveTo>
                  <a:pt x="47" y="0"/>
                </a:moveTo>
                <a:lnTo>
                  <a:pt x="29" y="87"/>
                </a:lnTo>
                <a:lnTo>
                  <a:pt x="0" y="93"/>
                </a:lnTo>
                <a:lnTo>
                  <a:pt x="9" y="141"/>
                </a:lnTo>
                <a:lnTo>
                  <a:pt x="51" y="143"/>
                </a:lnTo>
                <a:lnTo>
                  <a:pt x="15" y="170"/>
                </a:lnTo>
                <a:lnTo>
                  <a:pt x="15" y="200"/>
                </a:lnTo>
                <a:lnTo>
                  <a:pt x="112" y="200"/>
                </a:lnTo>
                <a:lnTo>
                  <a:pt x="169" y="160"/>
                </a:lnTo>
                <a:lnTo>
                  <a:pt x="156" y="132"/>
                </a:lnTo>
                <a:lnTo>
                  <a:pt x="177" y="108"/>
                </a:lnTo>
                <a:lnTo>
                  <a:pt x="119" y="60"/>
                </a:lnTo>
                <a:lnTo>
                  <a:pt x="94" y="60"/>
                </a:lnTo>
                <a:lnTo>
                  <a:pt x="111" y="0"/>
                </a:lnTo>
                <a:lnTo>
                  <a:pt x="47" y="0"/>
                </a:lnTo>
                <a:close/>
              </a:path>
            </a:pathLst>
          </a:custGeom>
          <a:solidFill>
            <a:schemeClr val="accent3"/>
          </a:solidFill>
          <a:ln w="12700">
            <a:solidFill>
              <a:schemeClr val="bg1"/>
            </a:solidFill>
            <a:round/>
            <a:headEnd/>
            <a:tailEnd/>
          </a:ln>
        </p:spPr>
        <p:txBody>
          <a:bodyPr/>
          <a:lstStyle/>
          <a:p>
            <a:pPr>
              <a:defRPr/>
            </a:pPr>
            <a:endParaRPr lang="nl-NL"/>
          </a:p>
        </p:txBody>
      </p:sp>
      <p:sp>
        <p:nvSpPr>
          <p:cNvPr id="252" name="Freeform 51"/>
          <p:cNvSpPr>
            <a:spLocks/>
          </p:cNvSpPr>
          <p:nvPr/>
        </p:nvSpPr>
        <p:spPr bwMode="auto">
          <a:xfrm>
            <a:off x="4940028" y="4098813"/>
            <a:ext cx="117769" cy="159768"/>
          </a:xfrm>
          <a:custGeom>
            <a:avLst/>
            <a:gdLst>
              <a:gd name="T0" fmla="*/ 15 w 76"/>
              <a:gd name="T1" fmla="*/ 0 h 100"/>
              <a:gd name="T2" fmla="*/ 0 w 76"/>
              <a:gd name="T3" fmla="*/ 10 h 100"/>
              <a:gd name="T4" fmla="*/ 22 w 76"/>
              <a:gd name="T5" fmla="*/ 87 h 100"/>
              <a:gd name="T6" fmla="*/ 45 w 76"/>
              <a:gd name="T7" fmla="*/ 100 h 100"/>
              <a:gd name="T8" fmla="*/ 50 w 76"/>
              <a:gd name="T9" fmla="*/ 79 h 100"/>
              <a:gd name="T10" fmla="*/ 76 w 76"/>
              <a:gd name="T11" fmla="*/ 79 h 100"/>
              <a:gd name="T12" fmla="*/ 76 w 76"/>
              <a:gd name="T13" fmla="*/ 57 h 100"/>
              <a:gd name="T14" fmla="*/ 61 w 76"/>
              <a:gd name="T15" fmla="*/ 47 h 100"/>
              <a:gd name="T16" fmla="*/ 15 w 76"/>
              <a:gd name="T17" fmla="*/ 30 h 100"/>
              <a:gd name="T18" fmla="*/ 15 w 76"/>
              <a:gd name="T19" fmla="*/ 0 h 100"/>
              <a:gd name="T20" fmla="*/ 15 w 76"/>
              <a:gd name="T21" fmla="*/ 0 h 100"/>
              <a:gd name="T22" fmla="*/ 15 w 76"/>
              <a:gd name="T23" fmla="*/ 0 h 1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6"/>
              <a:gd name="T37" fmla="*/ 0 h 100"/>
              <a:gd name="T38" fmla="*/ 76 w 76"/>
              <a:gd name="T39" fmla="*/ 100 h 1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6" h="100">
                <a:moveTo>
                  <a:pt x="15" y="0"/>
                </a:moveTo>
                <a:lnTo>
                  <a:pt x="0" y="10"/>
                </a:lnTo>
                <a:lnTo>
                  <a:pt x="22" y="87"/>
                </a:lnTo>
                <a:lnTo>
                  <a:pt x="45" y="100"/>
                </a:lnTo>
                <a:lnTo>
                  <a:pt x="50" y="79"/>
                </a:lnTo>
                <a:lnTo>
                  <a:pt x="76" y="79"/>
                </a:lnTo>
                <a:lnTo>
                  <a:pt x="76" y="57"/>
                </a:lnTo>
                <a:lnTo>
                  <a:pt x="61" y="47"/>
                </a:lnTo>
                <a:lnTo>
                  <a:pt x="15" y="30"/>
                </a:lnTo>
                <a:lnTo>
                  <a:pt x="15" y="0"/>
                </a:lnTo>
                <a:close/>
              </a:path>
            </a:pathLst>
          </a:custGeom>
          <a:solidFill>
            <a:schemeClr val="accent3"/>
          </a:solidFill>
          <a:ln w="12700">
            <a:solidFill>
              <a:schemeClr val="bg1"/>
            </a:solidFill>
            <a:round/>
            <a:headEnd/>
            <a:tailEnd/>
          </a:ln>
        </p:spPr>
        <p:txBody>
          <a:bodyPr/>
          <a:lstStyle/>
          <a:p>
            <a:pPr>
              <a:defRPr/>
            </a:pPr>
            <a:endParaRPr lang="nl-NL"/>
          </a:p>
        </p:txBody>
      </p:sp>
      <p:sp>
        <p:nvSpPr>
          <p:cNvPr id="253" name="Freeform 52"/>
          <p:cNvSpPr>
            <a:spLocks/>
          </p:cNvSpPr>
          <p:nvPr/>
        </p:nvSpPr>
        <p:spPr bwMode="auto">
          <a:xfrm>
            <a:off x="4963271" y="4146743"/>
            <a:ext cx="105372" cy="31954"/>
          </a:xfrm>
          <a:custGeom>
            <a:avLst/>
            <a:gdLst>
              <a:gd name="T0" fmla="*/ 0 w 68"/>
              <a:gd name="T1" fmla="*/ 0 h 20"/>
              <a:gd name="T2" fmla="*/ 68 w 68"/>
              <a:gd name="T3" fmla="*/ 0 h 20"/>
              <a:gd name="T4" fmla="*/ 48 w 68"/>
              <a:gd name="T5" fmla="*/ 20 h 20"/>
              <a:gd name="T6" fmla="*/ 0 w 68"/>
              <a:gd name="T7" fmla="*/ 0 h 20"/>
              <a:gd name="T8" fmla="*/ 0 w 68"/>
              <a:gd name="T9" fmla="*/ 0 h 20"/>
              <a:gd name="T10" fmla="*/ 0 w 68"/>
              <a:gd name="T11" fmla="*/ 0 h 20"/>
              <a:gd name="T12" fmla="*/ 0 60000 65536"/>
              <a:gd name="T13" fmla="*/ 0 60000 65536"/>
              <a:gd name="T14" fmla="*/ 0 60000 65536"/>
              <a:gd name="T15" fmla="*/ 0 60000 65536"/>
              <a:gd name="T16" fmla="*/ 0 60000 65536"/>
              <a:gd name="T17" fmla="*/ 0 60000 65536"/>
              <a:gd name="T18" fmla="*/ 0 w 68"/>
              <a:gd name="T19" fmla="*/ 0 h 20"/>
              <a:gd name="T20" fmla="*/ 68 w 68"/>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68" h="20">
                <a:moveTo>
                  <a:pt x="0" y="0"/>
                </a:moveTo>
                <a:lnTo>
                  <a:pt x="68" y="0"/>
                </a:lnTo>
                <a:lnTo>
                  <a:pt x="48" y="20"/>
                </a:lnTo>
                <a:lnTo>
                  <a:pt x="0" y="0"/>
                </a:lnTo>
                <a:close/>
              </a:path>
            </a:pathLst>
          </a:custGeom>
          <a:solidFill>
            <a:schemeClr val="accent3"/>
          </a:solidFill>
          <a:ln w="12700">
            <a:solidFill>
              <a:schemeClr val="bg1"/>
            </a:solidFill>
            <a:round/>
            <a:headEnd/>
            <a:tailEnd/>
          </a:ln>
        </p:spPr>
        <p:txBody>
          <a:bodyPr/>
          <a:lstStyle/>
          <a:p>
            <a:pPr>
              <a:defRPr/>
            </a:pPr>
            <a:endParaRPr lang="nl-NL"/>
          </a:p>
        </p:txBody>
      </p:sp>
      <p:sp>
        <p:nvSpPr>
          <p:cNvPr id="254" name="Freeform 53"/>
          <p:cNvSpPr>
            <a:spLocks/>
          </p:cNvSpPr>
          <p:nvPr/>
        </p:nvSpPr>
        <p:spPr bwMode="auto">
          <a:xfrm>
            <a:off x="5037652" y="4082836"/>
            <a:ext cx="202996" cy="154975"/>
          </a:xfrm>
          <a:custGeom>
            <a:avLst/>
            <a:gdLst>
              <a:gd name="T0" fmla="*/ 0 w 131"/>
              <a:gd name="T1" fmla="*/ 60 h 97"/>
              <a:gd name="T2" fmla="*/ 13 w 131"/>
              <a:gd name="T3" fmla="*/ 67 h 97"/>
              <a:gd name="T4" fmla="*/ 82 w 131"/>
              <a:gd name="T5" fmla="*/ 97 h 97"/>
              <a:gd name="T6" fmla="*/ 123 w 131"/>
              <a:gd name="T7" fmla="*/ 83 h 97"/>
              <a:gd name="T8" fmla="*/ 110 w 131"/>
              <a:gd name="T9" fmla="*/ 63 h 97"/>
              <a:gd name="T10" fmla="*/ 131 w 131"/>
              <a:gd name="T11" fmla="*/ 46 h 97"/>
              <a:gd name="T12" fmla="*/ 106 w 131"/>
              <a:gd name="T13" fmla="*/ 0 h 97"/>
              <a:gd name="T14" fmla="*/ 49 w 131"/>
              <a:gd name="T15" fmla="*/ 40 h 97"/>
              <a:gd name="T16" fmla="*/ 20 w 131"/>
              <a:gd name="T17" fmla="*/ 40 h 97"/>
              <a:gd name="T18" fmla="*/ 0 w 131"/>
              <a:gd name="T19" fmla="*/ 60 h 97"/>
              <a:gd name="T20" fmla="*/ 0 w 131"/>
              <a:gd name="T21" fmla="*/ 60 h 97"/>
              <a:gd name="T22" fmla="*/ 0 w 131"/>
              <a:gd name="T23" fmla="*/ 60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1"/>
              <a:gd name="T37" fmla="*/ 0 h 97"/>
              <a:gd name="T38" fmla="*/ 131 w 131"/>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1" h="97">
                <a:moveTo>
                  <a:pt x="0" y="60"/>
                </a:moveTo>
                <a:lnTo>
                  <a:pt x="13" y="67"/>
                </a:lnTo>
                <a:lnTo>
                  <a:pt x="82" y="97"/>
                </a:lnTo>
                <a:lnTo>
                  <a:pt x="123" y="83"/>
                </a:lnTo>
                <a:lnTo>
                  <a:pt x="110" y="63"/>
                </a:lnTo>
                <a:lnTo>
                  <a:pt x="131" y="46"/>
                </a:lnTo>
                <a:lnTo>
                  <a:pt x="106" y="0"/>
                </a:lnTo>
                <a:lnTo>
                  <a:pt x="49" y="40"/>
                </a:lnTo>
                <a:lnTo>
                  <a:pt x="20" y="40"/>
                </a:lnTo>
                <a:lnTo>
                  <a:pt x="0" y="60"/>
                </a:lnTo>
                <a:close/>
              </a:path>
            </a:pathLst>
          </a:custGeom>
          <a:solidFill>
            <a:schemeClr val="accent3"/>
          </a:solidFill>
          <a:ln w="12700">
            <a:solidFill>
              <a:schemeClr val="bg1"/>
            </a:solidFill>
            <a:round/>
            <a:headEnd/>
            <a:tailEnd/>
          </a:ln>
        </p:spPr>
        <p:txBody>
          <a:bodyPr/>
          <a:lstStyle/>
          <a:p>
            <a:pPr>
              <a:defRPr/>
            </a:pPr>
            <a:endParaRPr lang="nl-NL"/>
          </a:p>
        </p:txBody>
      </p:sp>
      <p:sp>
        <p:nvSpPr>
          <p:cNvPr id="255" name="Freeform 54"/>
          <p:cNvSpPr>
            <a:spLocks/>
          </p:cNvSpPr>
          <p:nvPr/>
        </p:nvSpPr>
        <p:spPr bwMode="auto">
          <a:xfrm>
            <a:off x="4938478" y="4212248"/>
            <a:ext cx="110021" cy="76689"/>
          </a:xfrm>
          <a:custGeom>
            <a:avLst/>
            <a:gdLst>
              <a:gd name="T0" fmla="*/ 0 w 71"/>
              <a:gd name="T1" fmla="*/ 0 h 48"/>
              <a:gd name="T2" fmla="*/ 46 w 71"/>
              <a:gd name="T3" fmla="*/ 31 h 48"/>
              <a:gd name="T4" fmla="*/ 71 w 71"/>
              <a:gd name="T5" fmla="*/ 22 h 48"/>
              <a:gd name="T6" fmla="*/ 52 w 71"/>
              <a:gd name="T7" fmla="*/ 48 h 48"/>
              <a:gd name="T8" fmla="*/ 20 w 71"/>
              <a:gd name="T9" fmla="*/ 36 h 48"/>
              <a:gd name="T10" fmla="*/ 0 w 71"/>
              <a:gd name="T11" fmla="*/ 0 h 48"/>
              <a:gd name="T12" fmla="*/ 0 w 71"/>
              <a:gd name="T13" fmla="*/ 0 h 48"/>
              <a:gd name="T14" fmla="*/ 0 w 71"/>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48"/>
              <a:gd name="T26" fmla="*/ 71 w 71"/>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48">
                <a:moveTo>
                  <a:pt x="0" y="0"/>
                </a:moveTo>
                <a:lnTo>
                  <a:pt x="46" y="31"/>
                </a:lnTo>
                <a:lnTo>
                  <a:pt x="71" y="22"/>
                </a:lnTo>
                <a:lnTo>
                  <a:pt x="52" y="48"/>
                </a:lnTo>
                <a:lnTo>
                  <a:pt x="20" y="36"/>
                </a:lnTo>
                <a:lnTo>
                  <a:pt x="0" y="0"/>
                </a:lnTo>
                <a:close/>
              </a:path>
            </a:pathLst>
          </a:custGeom>
          <a:solidFill>
            <a:schemeClr val="accent3"/>
          </a:solidFill>
          <a:ln w="12700">
            <a:solidFill>
              <a:schemeClr val="bg1"/>
            </a:solidFill>
            <a:round/>
            <a:headEnd/>
            <a:tailEnd/>
          </a:ln>
        </p:spPr>
        <p:txBody>
          <a:bodyPr/>
          <a:lstStyle/>
          <a:p>
            <a:pPr>
              <a:defRPr/>
            </a:pPr>
            <a:endParaRPr lang="nl-NL"/>
          </a:p>
        </p:txBody>
      </p:sp>
      <p:sp>
        <p:nvSpPr>
          <p:cNvPr id="256" name="Freeform 55"/>
          <p:cNvSpPr>
            <a:spLocks/>
          </p:cNvSpPr>
          <p:nvPr/>
        </p:nvSpPr>
        <p:spPr bwMode="auto">
          <a:xfrm>
            <a:off x="4909036" y="4212248"/>
            <a:ext cx="60434" cy="65505"/>
          </a:xfrm>
          <a:custGeom>
            <a:avLst/>
            <a:gdLst>
              <a:gd name="T0" fmla="*/ 39 w 39"/>
              <a:gd name="T1" fmla="*/ 36 h 41"/>
              <a:gd name="T2" fmla="*/ 19 w 39"/>
              <a:gd name="T3" fmla="*/ 0 h 41"/>
              <a:gd name="T4" fmla="*/ 0 w 39"/>
              <a:gd name="T5" fmla="*/ 16 h 41"/>
              <a:gd name="T6" fmla="*/ 20 w 39"/>
              <a:gd name="T7" fmla="*/ 41 h 41"/>
              <a:gd name="T8" fmla="*/ 39 w 39"/>
              <a:gd name="T9" fmla="*/ 36 h 41"/>
              <a:gd name="T10" fmla="*/ 39 w 39"/>
              <a:gd name="T11" fmla="*/ 36 h 41"/>
              <a:gd name="T12" fmla="*/ 39 w 39"/>
              <a:gd name="T13" fmla="*/ 36 h 41"/>
              <a:gd name="T14" fmla="*/ 0 60000 65536"/>
              <a:gd name="T15" fmla="*/ 0 60000 65536"/>
              <a:gd name="T16" fmla="*/ 0 60000 65536"/>
              <a:gd name="T17" fmla="*/ 0 60000 65536"/>
              <a:gd name="T18" fmla="*/ 0 60000 65536"/>
              <a:gd name="T19" fmla="*/ 0 60000 65536"/>
              <a:gd name="T20" fmla="*/ 0 60000 65536"/>
              <a:gd name="T21" fmla="*/ 0 w 39"/>
              <a:gd name="T22" fmla="*/ 0 h 41"/>
              <a:gd name="T23" fmla="*/ 39 w 39"/>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41">
                <a:moveTo>
                  <a:pt x="39" y="36"/>
                </a:moveTo>
                <a:lnTo>
                  <a:pt x="19" y="0"/>
                </a:lnTo>
                <a:lnTo>
                  <a:pt x="0" y="16"/>
                </a:lnTo>
                <a:lnTo>
                  <a:pt x="20" y="41"/>
                </a:lnTo>
                <a:lnTo>
                  <a:pt x="39" y="36"/>
                </a:lnTo>
                <a:close/>
              </a:path>
            </a:pathLst>
          </a:custGeom>
          <a:solidFill>
            <a:schemeClr val="accent3"/>
          </a:solidFill>
          <a:ln w="12700">
            <a:solidFill>
              <a:schemeClr val="bg1"/>
            </a:solidFill>
            <a:round/>
            <a:headEnd/>
            <a:tailEnd/>
          </a:ln>
        </p:spPr>
        <p:txBody>
          <a:bodyPr/>
          <a:lstStyle/>
          <a:p>
            <a:pPr>
              <a:defRPr/>
            </a:pPr>
            <a:endParaRPr lang="nl-NL"/>
          </a:p>
        </p:txBody>
      </p:sp>
      <p:sp>
        <p:nvSpPr>
          <p:cNvPr id="257" name="Freeform 56"/>
          <p:cNvSpPr>
            <a:spLocks/>
          </p:cNvSpPr>
          <p:nvPr/>
        </p:nvSpPr>
        <p:spPr bwMode="auto">
          <a:xfrm>
            <a:off x="5181763" y="3951826"/>
            <a:ext cx="255682" cy="207699"/>
          </a:xfrm>
          <a:custGeom>
            <a:avLst/>
            <a:gdLst>
              <a:gd name="T0" fmla="*/ 21 w 165"/>
              <a:gd name="T1" fmla="*/ 31 h 130"/>
              <a:gd name="T2" fmla="*/ 54 w 165"/>
              <a:gd name="T3" fmla="*/ 0 h 130"/>
              <a:gd name="T4" fmla="*/ 133 w 165"/>
              <a:gd name="T5" fmla="*/ 0 h 130"/>
              <a:gd name="T6" fmla="*/ 133 w 165"/>
              <a:gd name="T7" fmla="*/ 50 h 130"/>
              <a:gd name="T8" fmla="*/ 165 w 165"/>
              <a:gd name="T9" fmla="*/ 85 h 130"/>
              <a:gd name="T10" fmla="*/ 158 w 165"/>
              <a:gd name="T11" fmla="*/ 108 h 130"/>
              <a:gd name="T12" fmla="*/ 128 w 165"/>
              <a:gd name="T13" fmla="*/ 108 h 130"/>
              <a:gd name="T14" fmla="*/ 55 w 165"/>
              <a:gd name="T15" fmla="*/ 130 h 130"/>
              <a:gd name="T16" fmla="*/ 38 w 165"/>
              <a:gd name="T17" fmla="*/ 130 h 130"/>
              <a:gd name="T18" fmla="*/ 13 w 165"/>
              <a:gd name="T19" fmla="*/ 82 h 130"/>
              <a:gd name="T20" fmla="*/ 0 w 165"/>
              <a:gd name="T21" fmla="*/ 51 h 130"/>
              <a:gd name="T22" fmla="*/ 21 w 165"/>
              <a:gd name="T23" fmla="*/ 31 h 130"/>
              <a:gd name="T24" fmla="*/ 21 w 165"/>
              <a:gd name="T25" fmla="*/ 31 h 130"/>
              <a:gd name="T26" fmla="*/ 21 w 165"/>
              <a:gd name="T27" fmla="*/ 31 h 1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5"/>
              <a:gd name="T43" fmla="*/ 0 h 130"/>
              <a:gd name="T44" fmla="*/ 165 w 165"/>
              <a:gd name="T45" fmla="*/ 130 h 1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5" h="130">
                <a:moveTo>
                  <a:pt x="21" y="31"/>
                </a:moveTo>
                <a:lnTo>
                  <a:pt x="54" y="0"/>
                </a:lnTo>
                <a:lnTo>
                  <a:pt x="133" y="0"/>
                </a:lnTo>
                <a:lnTo>
                  <a:pt x="133" y="50"/>
                </a:lnTo>
                <a:lnTo>
                  <a:pt x="165" y="85"/>
                </a:lnTo>
                <a:lnTo>
                  <a:pt x="158" y="108"/>
                </a:lnTo>
                <a:lnTo>
                  <a:pt x="128" y="108"/>
                </a:lnTo>
                <a:lnTo>
                  <a:pt x="55" y="130"/>
                </a:lnTo>
                <a:lnTo>
                  <a:pt x="38" y="130"/>
                </a:lnTo>
                <a:lnTo>
                  <a:pt x="13" y="82"/>
                </a:lnTo>
                <a:lnTo>
                  <a:pt x="0" y="51"/>
                </a:lnTo>
                <a:lnTo>
                  <a:pt x="21" y="31"/>
                </a:lnTo>
                <a:close/>
              </a:path>
            </a:pathLst>
          </a:custGeom>
          <a:solidFill>
            <a:schemeClr val="accent3"/>
          </a:solidFill>
          <a:ln w="12700">
            <a:solidFill>
              <a:schemeClr val="bg1"/>
            </a:solidFill>
            <a:round/>
            <a:headEnd/>
            <a:tailEnd/>
          </a:ln>
        </p:spPr>
        <p:txBody>
          <a:bodyPr/>
          <a:lstStyle/>
          <a:p>
            <a:pPr>
              <a:defRPr/>
            </a:pPr>
            <a:endParaRPr lang="nl-NL"/>
          </a:p>
        </p:txBody>
      </p:sp>
      <p:sp>
        <p:nvSpPr>
          <p:cNvPr id="258" name="Freeform 57"/>
          <p:cNvSpPr>
            <a:spLocks/>
          </p:cNvSpPr>
          <p:nvPr/>
        </p:nvSpPr>
        <p:spPr bwMode="auto">
          <a:xfrm>
            <a:off x="5266991" y="4081238"/>
            <a:ext cx="271178" cy="180538"/>
          </a:xfrm>
          <a:custGeom>
            <a:avLst/>
            <a:gdLst>
              <a:gd name="T0" fmla="*/ 0 w 175"/>
              <a:gd name="T1" fmla="*/ 49 h 113"/>
              <a:gd name="T2" fmla="*/ 58 w 175"/>
              <a:gd name="T3" fmla="*/ 113 h 113"/>
              <a:gd name="T4" fmla="*/ 124 w 175"/>
              <a:gd name="T5" fmla="*/ 111 h 113"/>
              <a:gd name="T6" fmla="*/ 175 w 175"/>
              <a:gd name="T7" fmla="*/ 13 h 113"/>
              <a:gd name="T8" fmla="*/ 138 w 175"/>
              <a:gd name="T9" fmla="*/ 0 h 113"/>
              <a:gd name="T10" fmla="*/ 108 w 175"/>
              <a:gd name="T11" fmla="*/ 5 h 113"/>
              <a:gd name="T12" fmla="*/ 103 w 175"/>
              <a:gd name="T13" fmla="*/ 27 h 113"/>
              <a:gd name="T14" fmla="*/ 73 w 175"/>
              <a:gd name="T15" fmla="*/ 27 h 113"/>
              <a:gd name="T16" fmla="*/ 0 w 175"/>
              <a:gd name="T17" fmla="*/ 49 h 113"/>
              <a:gd name="T18" fmla="*/ 0 w 175"/>
              <a:gd name="T19" fmla="*/ 49 h 113"/>
              <a:gd name="T20" fmla="*/ 0 w 175"/>
              <a:gd name="T21" fmla="*/ 49 h 1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5"/>
              <a:gd name="T34" fmla="*/ 0 h 113"/>
              <a:gd name="T35" fmla="*/ 175 w 175"/>
              <a:gd name="T36" fmla="*/ 113 h 1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5" h="113">
                <a:moveTo>
                  <a:pt x="0" y="49"/>
                </a:moveTo>
                <a:lnTo>
                  <a:pt x="58" y="113"/>
                </a:lnTo>
                <a:lnTo>
                  <a:pt x="124" y="111"/>
                </a:lnTo>
                <a:lnTo>
                  <a:pt x="175" y="13"/>
                </a:lnTo>
                <a:lnTo>
                  <a:pt x="138" y="0"/>
                </a:lnTo>
                <a:lnTo>
                  <a:pt x="108" y="5"/>
                </a:lnTo>
                <a:lnTo>
                  <a:pt x="103" y="27"/>
                </a:lnTo>
                <a:lnTo>
                  <a:pt x="73" y="27"/>
                </a:lnTo>
                <a:lnTo>
                  <a:pt x="0" y="49"/>
                </a:lnTo>
                <a:close/>
              </a:path>
            </a:pathLst>
          </a:custGeom>
          <a:solidFill>
            <a:schemeClr val="accent3"/>
          </a:solidFill>
          <a:ln w="12700">
            <a:solidFill>
              <a:schemeClr val="bg1"/>
            </a:solidFill>
            <a:round/>
            <a:headEnd/>
            <a:tailEnd/>
          </a:ln>
        </p:spPr>
        <p:txBody>
          <a:bodyPr/>
          <a:lstStyle/>
          <a:p>
            <a:pPr>
              <a:defRPr/>
            </a:pPr>
            <a:endParaRPr lang="nl-NL"/>
          </a:p>
        </p:txBody>
      </p:sp>
      <p:sp>
        <p:nvSpPr>
          <p:cNvPr id="259" name="Freeform 58"/>
          <p:cNvSpPr>
            <a:spLocks/>
          </p:cNvSpPr>
          <p:nvPr/>
        </p:nvSpPr>
        <p:spPr bwMode="auto">
          <a:xfrm>
            <a:off x="5088788" y="3656255"/>
            <a:ext cx="639980" cy="431374"/>
          </a:xfrm>
          <a:custGeom>
            <a:avLst/>
            <a:gdLst>
              <a:gd name="T0" fmla="*/ 292 w 413"/>
              <a:gd name="T1" fmla="*/ 0 h 270"/>
              <a:gd name="T2" fmla="*/ 213 w 413"/>
              <a:gd name="T3" fmla="*/ 44 h 270"/>
              <a:gd name="T4" fmla="*/ 181 w 413"/>
              <a:gd name="T5" fmla="*/ 18 h 270"/>
              <a:gd name="T6" fmla="*/ 46 w 413"/>
              <a:gd name="T7" fmla="*/ 49 h 270"/>
              <a:gd name="T8" fmla="*/ 27 w 413"/>
              <a:gd name="T9" fmla="*/ 107 h 270"/>
              <a:gd name="T10" fmla="*/ 16 w 413"/>
              <a:gd name="T11" fmla="*/ 107 h 270"/>
              <a:gd name="T12" fmla="*/ 0 w 413"/>
              <a:gd name="T13" fmla="*/ 167 h 270"/>
              <a:gd name="T14" fmla="*/ 22 w 413"/>
              <a:gd name="T15" fmla="*/ 167 h 270"/>
              <a:gd name="T16" fmla="*/ 81 w 413"/>
              <a:gd name="T17" fmla="*/ 215 h 270"/>
              <a:gd name="T18" fmla="*/ 114 w 413"/>
              <a:gd name="T19" fmla="*/ 185 h 270"/>
              <a:gd name="T20" fmla="*/ 193 w 413"/>
              <a:gd name="T21" fmla="*/ 185 h 270"/>
              <a:gd name="T22" fmla="*/ 193 w 413"/>
              <a:gd name="T23" fmla="*/ 235 h 270"/>
              <a:gd name="T24" fmla="*/ 225 w 413"/>
              <a:gd name="T25" fmla="*/ 270 h 270"/>
              <a:gd name="T26" fmla="*/ 250 w 413"/>
              <a:gd name="T27" fmla="*/ 266 h 270"/>
              <a:gd name="T28" fmla="*/ 250 w 413"/>
              <a:gd name="T29" fmla="*/ 251 h 270"/>
              <a:gd name="T30" fmla="*/ 285 w 413"/>
              <a:gd name="T31" fmla="*/ 245 h 270"/>
              <a:gd name="T32" fmla="*/ 275 w 413"/>
              <a:gd name="T33" fmla="*/ 169 h 270"/>
              <a:gd name="T34" fmla="*/ 413 w 413"/>
              <a:gd name="T35" fmla="*/ 108 h 270"/>
              <a:gd name="T36" fmla="*/ 332 w 413"/>
              <a:gd name="T37" fmla="*/ 23 h 270"/>
              <a:gd name="T38" fmla="*/ 292 w 413"/>
              <a:gd name="T39" fmla="*/ 0 h 270"/>
              <a:gd name="T40" fmla="*/ 292 w 413"/>
              <a:gd name="T41" fmla="*/ 0 h 270"/>
              <a:gd name="T42" fmla="*/ 292 w 413"/>
              <a:gd name="T43" fmla="*/ 0 h 2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13"/>
              <a:gd name="T67" fmla="*/ 0 h 270"/>
              <a:gd name="T68" fmla="*/ 413 w 413"/>
              <a:gd name="T69" fmla="*/ 270 h 27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13" h="270">
                <a:moveTo>
                  <a:pt x="292" y="0"/>
                </a:moveTo>
                <a:lnTo>
                  <a:pt x="213" y="44"/>
                </a:lnTo>
                <a:lnTo>
                  <a:pt x="181" y="18"/>
                </a:lnTo>
                <a:lnTo>
                  <a:pt x="46" y="49"/>
                </a:lnTo>
                <a:lnTo>
                  <a:pt x="27" y="107"/>
                </a:lnTo>
                <a:lnTo>
                  <a:pt x="16" y="107"/>
                </a:lnTo>
                <a:lnTo>
                  <a:pt x="0" y="167"/>
                </a:lnTo>
                <a:lnTo>
                  <a:pt x="22" y="167"/>
                </a:lnTo>
                <a:lnTo>
                  <a:pt x="81" y="215"/>
                </a:lnTo>
                <a:lnTo>
                  <a:pt x="114" y="185"/>
                </a:lnTo>
                <a:lnTo>
                  <a:pt x="193" y="185"/>
                </a:lnTo>
                <a:lnTo>
                  <a:pt x="193" y="235"/>
                </a:lnTo>
                <a:lnTo>
                  <a:pt x="225" y="270"/>
                </a:lnTo>
                <a:lnTo>
                  <a:pt x="250" y="266"/>
                </a:lnTo>
                <a:lnTo>
                  <a:pt x="250" y="251"/>
                </a:lnTo>
                <a:lnTo>
                  <a:pt x="285" y="245"/>
                </a:lnTo>
                <a:lnTo>
                  <a:pt x="275" y="169"/>
                </a:lnTo>
                <a:lnTo>
                  <a:pt x="413" y="108"/>
                </a:lnTo>
                <a:lnTo>
                  <a:pt x="332" y="23"/>
                </a:lnTo>
                <a:lnTo>
                  <a:pt x="292" y="0"/>
                </a:lnTo>
                <a:close/>
              </a:path>
            </a:pathLst>
          </a:custGeom>
          <a:solidFill>
            <a:schemeClr val="accent3"/>
          </a:solidFill>
          <a:ln w="12700">
            <a:solidFill>
              <a:schemeClr val="bg1"/>
            </a:solidFill>
            <a:round/>
            <a:headEnd/>
            <a:tailEnd/>
          </a:ln>
        </p:spPr>
        <p:txBody>
          <a:bodyPr/>
          <a:lstStyle/>
          <a:p>
            <a:pPr>
              <a:defRPr/>
            </a:pPr>
            <a:endParaRPr lang="nl-NL"/>
          </a:p>
        </p:txBody>
      </p:sp>
      <p:sp>
        <p:nvSpPr>
          <p:cNvPr id="260" name="Freeform 59"/>
          <p:cNvSpPr>
            <a:spLocks/>
          </p:cNvSpPr>
          <p:nvPr/>
        </p:nvSpPr>
        <p:spPr bwMode="auto">
          <a:xfrm>
            <a:off x="5480834" y="3828805"/>
            <a:ext cx="344008" cy="343502"/>
          </a:xfrm>
          <a:custGeom>
            <a:avLst/>
            <a:gdLst>
              <a:gd name="T0" fmla="*/ 160 w 222"/>
              <a:gd name="T1" fmla="*/ 0 h 215"/>
              <a:gd name="T2" fmla="*/ 23 w 222"/>
              <a:gd name="T3" fmla="*/ 61 h 215"/>
              <a:gd name="T4" fmla="*/ 32 w 222"/>
              <a:gd name="T5" fmla="*/ 137 h 215"/>
              <a:gd name="T6" fmla="*/ 0 w 222"/>
              <a:gd name="T7" fmla="*/ 143 h 215"/>
              <a:gd name="T8" fmla="*/ 0 w 222"/>
              <a:gd name="T9" fmla="*/ 158 h 215"/>
              <a:gd name="T10" fmla="*/ 39 w 222"/>
              <a:gd name="T11" fmla="*/ 171 h 215"/>
              <a:gd name="T12" fmla="*/ 21 w 222"/>
              <a:gd name="T13" fmla="*/ 206 h 215"/>
              <a:gd name="T14" fmla="*/ 55 w 222"/>
              <a:gd name="T15" fmla="*/ 215 h 215"/>
              <a:gd name="T16" fmla="*/ 103 w 222"/>
              <a:gd name="T17" fmla="*/ 204 h 215"/>
              <a:gd name="T18" fmla="*/ 145 w 222"/>
              <a:gd name="T19" fmla="*/ 171 h 215"/>
              <a:gd name="T20" fmla="*/ 167 w 222"/>
              <a:gd name="T21" fmla="*/ 212 h 215"/>
              <a:gd name="T22" fmla="*/ 196 w 222"/>
              <a:gd name="T23" fmla="*/ 189 h 215"/>
              <a:gd name="T24" fmla="*/ 137 w 222"/>
              <a:gd name="T25" fmla="*/ 147 h 215"/>
              <a:gd name="T26" fmla="*/ 70 w 222"/>
              <a:gd name="T27" fmla="*/ 150 h 215"/>
              <a:gd name="T28" fmla="*/ 48 w 222"/>
              <a:gd name="T29" fmla="*/ 131 h 215"/>
              <a:gd name="T30" fmla="*/ 140 w 222"/>
              <a:gd name="T31" fmla="*/ 126 h 215"/>
              <a:gd name="T32" fmla="*/ 222 w 222"/>
              <a:gd name="T33" fmla="*/ 181 h 215"/>
              <a:gd name="T34" fmla="*/ 141 w 222"/>
              <a:gd name="T35" fmla="*/ 49 h 215"/>
              <a:gd name="T36" fmla="*/ 171 w 222"/>
              <a:gd name="T37" fmla="*/ 11 h 215"/>
              <a:gd name="T38" fmla="*/ 160 w 222"/>
              <a:gd name="T39" fmla="*/ 0 h 215"/>
              <a:gd name="T40" fmla="*/ 160 w 222"/>
              <a:gd name="T41" fmla="*/ 0 h 215"/>
              <a:gd name="T42" fmla="*/ 160 w 222"/>
              <a:gd name="T43" fmla="*/ 0 h 21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2"/>
              <a:gd name="T67" fmla="*/ 0 h 215"/>
              <a:gd name="T68" fmla="*/ 222 w 222"/>
              <a:gd name="T69" fmla="*/ 215 h 21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2" h="215">
                <a:moveTo>
                  <a:pt x="160" y="0"/>
                </a:moveTo>
                <a:lnTo>
                  <a:pt x="23" y="61"/>
                </a:lnTo>
                <a:lnTo>
                  <a:pt x="32" y="137"/>
                </a:lnTo>
                <a:lnTo>
                  <a:pt x="0" y="143"/>
                </a:lnTo>
                <a:lnTo>
                  <a:pt x="0" y="158"/>
                </a:lnTo>
                <a:lnTo>
                  <a:pt x="39" y="171"/>
                </a:lnTo>
                <a:lnTo>
                  <a:pt x="21" y="206"/>
                </a:lnTo>
                <a:lnTo>
                  <a:pt x="55" y="215"/>
                </a:lnTo>
                <a:lnTo>
                  <a:pt x="103" y="204"/>
                </a:lnTo>
                <a:lnTo>
                  <a:pt x="145" y="171"/>
                </a:lnTo>
                <a:lnTo>
                  <a:pt x="167" y="212"/>
                </a:lnTo>
                <a:lnTo>
                  <a:pt x="196" y="189"/>
                </a:lnTo>
                <a:lnTo>
                  <a:pt x="137" y="147"/>
                </a:lnTo>
                <a:lnTo>
                  <a:pt x="70" y="150"/>
                </a:lnTo>
                <a:lnTo>
                  <a:pt x="48" y="131"/>
                </a:lnTo>
                <a:lnTo>
                  <a:pt x="140" y="126"/>
                </a:lnTo>
                <a:lnTo>
                  <a:pt x="222" y="181"/>
                </a:lnTo>
                <a:lnTo>
                  <a:pt x="141" y="49"/>
                </a:lnTo>
                <a:lnTo>
                  <a:pt x="171" y="11"/>
                </a:lnTo>
                <a:lnTo>
                  <a:pt x="160" y="0"/>
                </a:lnTo>
                <a:close/>
              </a:path>
            </a:pathLst>
          </a:custGeom>
          <a:solidFill>
            <a:schemeClr val="accent3"/>
          </a:solidFill>
          <a:ln w="12700">
            <a:solidFill>
              <a:schemeClr val="bg1"/>
            </a:solidFill>
            <a:round/>
            <a:headEnd/>
            <a:tailEnd/>
          </a:ln>
        </p:spPr>
        <p:txBody>
          <a:bodyPr/>
          <a:lstStyle/>
          <a:p>
            <a:pPr>
              <a:defRPr/>
            </a:pPr>
            <a:endParaRPr lang="nl-NL"/>
          </a:p>
        </p:txBody>
      </p:sp>
      <p:sp>
        <p:nvSpPr>
          <p:cNvPr id="261" name="Freeform 60"/>
          <p:cNvSpPr>
            <a:spLocks/>
          </p:cNvSpPr>
          <p:nvPr/>
        </p:nvSpPr>
        <p:spPr bwMode="auto">
          <a:xfrm>
            <a:off x="4941577" y="4189881"/>
            <a:ext cx="300620" cy="255629"/>
          </a:xfrm>
          <a:custGeom>
            <a:avLst/>
            <a:gdLst>
              <a:gd name="T0" fmla="*/ 0 w 194"/>
              <a:gd name="T1" fmla="*/ 55 h 160"/>
              <a:gd name="T2" fmla="*/ 16 w 194"/>
              <a:gd name="T3" fmla="*/ 76 h 160"/>
              <a:gd name="T4" fmla="*/ 31 w 194"/>
              <a:gd name="T5" fmla="*/ 141 h 160"/>
              <a:gd name="T6" fmla="*/ 65 w 194"/>
              <a:gd name="T7" fmla="*/ 160 h 160"/>
              <a:gd name="T8" fmla="*/ 118 w 194"/>
              <a:gd name="T9" fmla="*/ 148 h 160"/>
              <a:gd name="T10" fmla="*/ 118 w 194"/>
              <a:gd name="T11" fmla="*/ 125 h 160"/>
              <a:gd name="T12" fmla="*/ 194 w 194"/>
              <a:gd name="T13" fmla="*/ 68 h 160"/>
              <a:gd name="T14" fmla="*/ 185 w 194"/>
              <a:gd name="T15" fmla="*/ 16 h 160"/>
              <a:gd name="T16" fmla="*/ 142 w 194"/>
              <a:gd name="T17" fmla="*/ 30 h 160"/>
              <a:gd name="T18" fmla="*/ 75 w 194"/>
              <a:gd name="T19" fmla="*/ 0 h 160"/>
              <a:gd name="T20" fmla="*/ 75 w 194"/>
              <a:gd name="T21" fmla="*/ 22 h 160"/>
              <a:gd name="T22" fmla="*/ 49 w 194"/>
              <a:gd name="T23" fmla="*/ 22 h 160"/>
              <a:gd name="T24" fmla="*/ 45 w 194"/>
              <a:gd name="T25" fmla="*/ 46 h 160"/>
              <a:gd name="T26" fmla="*/ 69 w 194"/>
              <a:gd name="T27" fmla="*/ 36 h 160"/>
              <a:gd name="T28" fmla="*/ 50 w 194"/>
              <a:gd name="T29" fmla="*/ 62 h 160"/>
              <a:gd name="T30" fmla="*/ 18 w 194"/>
              <a:gd name="T31" fmla="*/ 50 h 160"/>
              <a:gd name="T32" fmla="*/ 0 w 194"/>
              <a:gd name="T33" fmla="*/ 55 h 160"/>
              <a:gd name="T34" fmla="*/ 0 w 194"/>
              <a:gd name="T35" fmla="*/ 55 h 160"/>
              <a:gd name="T36" fmla="*/ 0 w 194"/>
              <a:gd name="T37" fmla="*/ 55 h 1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4"/>
              <a:gd name="T58" fmla="*/ 0 h 160"/>
              <a:gd name="T59" fmla="*/ 194 w 194"/>
              <a:gd name="T60" fmla="*/ 160 h 16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4" h="160">
                <a:moveTo>
                  <a:pt x="0" y="55"/>
                </a:moveTo>
                <a:lnTo>
                  <a:pt x="16" y="76"/>
                </a:lnTo>
                <a:lnTo>
                  <a:pt x="31" y="141"/>
                </a:lnTo>
                <a:lnTo>
                  <a:pt x="65" y="160"/>
                </a:lnTo>
                <a:lnTo>
                  <a:pt x="118" y="148"/>
                </a:lnTo>
                <a:lnTo>
                  <a:pt x="118" y="125"/>
                </a:lnTo>
                <a:lnTo>
                  <a:pt x="194" y="68"/>
                </a:lnTo>
                <a:lnTo>
                  <a:pt x="185" y="16"/>
                </a:lnTo>
                <a:lnTo>
                  <a:pt x="142" y="30"/>
                </a:lnTo>
                <a:lnTo>
                  <a:pt x="75" y="0"/>
                </a:lnTo>
                <a:lnTo>
                  <a:pt x="75" y="22"/>
                </a:lnTo>
                <a:lnTo>
                  <a:pt x="49" y="22"/>
                </a:lnTo>
                <a:lnTo>
                  <a:pt x="45" y="46"/>
                </a:lnTo>
                <a:lnTo>
                  <a:pt x="69" y="36"/>
                </a:lnTo>
                <a:lnTo>
                  <a:pt x="50" y="62"/>
                </a:lnTo>
                <a:lnTo>
                  <a:pt x="18" y="50"/>
                </a:lnTo>
                <a:lnTo>
                  <a:pt x="0" y="55"/>
                </a:lnTo>
                <a:close/>
              </a:path>
            </a:pathLst>
          </a:custGeom>
          <a:solidFill>
            <a:schemeClr val="accent3"/>
          </a:solidFill>
          <a:ln w="12700">
            <a:solidFill>
              <a:schemeClr val="bg1"/>
            </a:solidFill>
            <a:round/>
            <a:headEnd/>
            <a:tailEnd/>
          </a:ln>
        </p:spPr>
        <p:txBody>
          <a:bodyPr/>
          <a:lstStyle/>
          <a:p>
            <a:pPr>
              <a:defRPr/>
            </a:pPr>
            <a:endParaRPr lang="nl-NL"/>
          </a:p>
        </p:txBody>
      </p:sp>
      <p:sp>
        <p:nvSpPr>
          <p:cNvPr id="262" name="Freeform 61"/>
          <p:cNvSpPr>
            <a:spLocks/>
          </p:cNvSpPr>
          <p:nvPr/>
        </p:nvSpPr>
        <p:spPr bwMode="auto">
          <a:xfrm>
            <a:off x="5208106" y="4157927"/>
            <a:ext cx="251033" cy="401018"/>
          </a:xfrm>
          <a:custGeom>
            <a:avLst/>
            <a:gdLst>
              <a:gd name="T0" fmla="*/ 19 w 162"/>
              <a:gd name="T1" fmla="*/ 0 h 251"/>
              <a:gd name="T2" fmla="*/ 0 w 162"/>
              <a:gd name="T3" fmla="*/ 14 h 251"/>
              <a:gd name="T4" fmla="*/ 13 w 162"/>
              <a:gd name="T5" fmla="*/ 36 h 251"/>
              <a:gd name="T6" fmla="*/ 22 w 162"/>
              <a:gd name="T7" fmla="*/ 89 h 251"/>
              <a:gd name="T8" fmla="*/ 44 w 162"/>
              <a:gd name="T9" fmla="*/ 98 h 251"/>
              <a:gd name="T10" fmla="*/ 62 w 162"/>
              <a:gd name="T11" fmla="*/ 147 h 251"/>
              <a:gd name="T12" fmla="*/ 47 w 162"/>
              <a:gd name="T13" fmla="*/ 180 h 251"/>
              <a:gd name="T14" fmla="*/ 91 w 162"/>
              <a:gd name="T15" fmla="*/ 201 h 251"/>
              <a:gd name="T16" fmla="*/ 79 w 162"/>
              <a:gd name="T17" fmla="*/ 238 h 251"/>
              <a:gd name="T18" fmla="*/ 96 w 162"/>
              <a:gd name="T19" fmla="*/ 251 h 251"/>
              <a:gd name="T20" fmla="*/ 111 w 162"/>
              <a:gd name="T21" fmla="*/ 212 h 251"/>
              <a:gd name="T22" fmla="*/ 157 w 162"/>
              <a:gd name="T23" fmla="*/ 184 h 251"/>
              <a:gd name="T24" fmla="*/ 142 w 162"/>
              <a:gd name="T25" fmla="*/ 171 h 251"/>
              <a:gd name="T26" fmla="*/ 136 w 162"/>
              <a:gd name="T27" fmla="*/ 134 h 251"/>
              <a:gd name="T28" fmla="*/ 162 w 162"/>
              <a:gd name="T29" fmla="*/ 63 h 251"/>
              <a:gd name="T30" fmla="*/ 95 w 162"/>
              <a:gd name="T31" fmla="*/ 66 h 251"/>
              <a:gd name="T32" fmla="*/ 38 w 162"/>
              <a:gd name="T33" fmla="*/ 0 h 251"/>
              <a:gd name="T34" fmla="*/ 21 w 162"/>
              <a:gd name="T35" fmla="*/ 0 h 251"/>
              <a:gd name="T36" fmla="*/ 19 w 162"/>
              <a:gd name="T37" fmla="*/ 0 h 251"/>
              <a:gd name="T38" fmla="*/ 19 w 162"/>
              <a:gd name="T39" fmla="*/ 0 h 251"/>
              <a:gd name="T40" fmla="*/ 19 w 162"/>
              <a:gd name="T41" fmla="*/ 0 h 25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2"/>
              <a:gd name="T64" fmla="*/ 0 h 251"/>
              <a:gd name="T65" fmla="*/ 162 w 162"/>
              <a:gd name="T66" fmla="*/ 251 h 25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2" h="251">
                <a:moveTo>
                  <a:pt x="19" y="0"/>
                </a:moveTo>
                <a:lnTo>
                  <a:pt x="0" y="14"/>
                </a:lnTo>
                <a:lnTo>
                  <a:pt x="13" y="36"/>
                </a:lnTo>
                <a:lnTo>
                  <a:pt x="22" y="89"/>
                </a:lnTo>
                <a:lnTo>
                  <a:pt x="44" y="98"/>
                </a:lnTo>
                <a:lnTo>
                  <a:pt x="62" y="147"/>
                </a:lnTo>
                <a:lnTo>
                  <a:pt x="47" y="180"/>
                </a:lnTo>
                <a:lnTo>
                  <a:pt x="91" y="201"/>
                </a:lnTo>
                <a:lnTo>
                  <a:pt x="79" y="238"/>
                </a:lnTo>
                <a:lnTo>
                  <a:pt x="96" y="251"/>
                </a:lnTo>
                <a:lnTo>
                  <a:pt x="111" y="212"/>
                </a:lnTo>
                <a:lnTo>
                  <a:pt x="157" y="184"/>
                </a:lnTo>
                <a:lnTo>
                  <a:pt x="142" y="171"/>
                </a:lnTo>
                <a:lnTo>
                  <a:pt x="136" y="134"/>
                </a:lnTo>
                <a:lnTo>
                  <a:pt x="162" y="63"/>
                </a:lnTo>
                <a:lnTo>
                  <a:pt x="95" y="66"/>
                </a:lnTo>
                <a:lnTo>
                  <a:pt x="38" y="0"/>
                </a:lnTo>
                <a:lnTo>
                  <a:pt x="21" y="0"/>
                </a:lnTo>
                <a:lnTo>
                  <a:pt x="19" y="0"/>
                </a:lnTo>
                <a:close/>
              </a:path>
            </a:pathLst>
          </a:custGeom>
          <a:solidFill>
            <a:schemeClr val="accent3"/>
          </a:solidFill>
          <a:ln w="12700">
            <a:solidFill>
              <a:schemeClr val="bg1"/>
            </a:solidFill>
            <a:round/>
            <a:headEnd/>
            <a:tailEnd/>
          </a:ln>
        </p:spPr>
        <p:txBody>
          <a:bodyPr/>
          <a:lstStyle/>
          <a:p>
            <a:pPr>
              <a:defRPr/>
            </a:pPr>
            <a:endParaRPr lang="nl-NL"/>
          </a:p>
        </p:txBody>
      </p:sp>
      <p:sp>
        <p:nvSpPr>
          <p:cNvPr id="263" name="Freeform 62"/>
          <p:cNvSpPr>
            <a:spLocks/>
          </p:cNvSpPr>
          <p:nvPr/>
        </p:nvSpPr>
        <p:spPr bwMode="auto">
          <a:xfrm>
            <a:off x="4899738" y="4426337"/>
            <a:ext cx="266529" cy="308353"/>
          </a:xfrm>
          <a:custGeom>
            <a:avLst/>
            <a:gdLst>
              <a:gd name="T0" fmla="*/ 89 w 172"/>
              <a:gd name="T1" fmla="*/ 12 h 193"/>
              <a:gd name="T2" fmla="*/ 55 w 172"/>
              <a:gd name="T3" fmla="*/ 45 h 193"/>
              <a:gd name="T4" fmla="*/ 32 w 172"/>
              <a:gd name="T5" fmla="*/ 19 h 193"/>
              <a:gd name="T6" fmla="*/ 10 w 172"/>
              <a:gd name="T7" fmla="*/ 62 h 193"/>
              <a:gd name="T8" fmla="*/ 41 w 172"/>
              <a:gd name="T9" fmla="*/ 127 h 193"/>
              <a:gd name="T10" fmla="*/ 0 w 172"/>
              <a:gd name="T11" fmla="*/ 161 h 193"/>
              <a:gd name="T12" fmla="*/ 41 w 172"/>
              <a:gd name="T13" fmla="*/ 193 h 193"/>
              <a:gd name="T14" fmla="*/ 74 w 172"/>
              <a:gd name="T15" fmla="*/ 171 h 193"/>
              <a:gd name="T16" fmla="*/ 94 w 172"/>
              <a:gd name="T17" fmla="*/ 193 h 193"/>
              <a:gd name="T18" fmla="*/ 129 w 172"/>
              <a:gd name="T19" fmla="*/ 193 h 193"/>
              <a:gd name="T20" fmla="*/ 163 w 172"/>
              <a:gd name="T21" fmla="*/ 166 h 193"/>
              <a:gd name="T22" fmla="*/ 163 w 172"/>
              <a:gd name="T23" fmla="*/ 103 h 193"/>
              <a:gd name="T24" fmla="*/ 172 w 172"/>
              <a:gd name="T25" fmla="*/ 91 h 193"/>
              <a:gd name="T26" fmla="*/ 149 w 172"/>
              <a:gd name="T27" fmla="*/ 23 h 193"/>
              <a:gd name="T28" fmla="*/ 137 w 172"/>
              <a:gd name="T29" fmla="*/ 22 h 193"/>
              <a:gd name="T30" fmla="*/ 145 w 172"/>
              <a:gd name="T31" fmla="*/ 0 h 193"/>
              <a:gd name="T32" fmla="*/ 89 w 172"/>
              <a:gd name="T33" fmla="*/ 12 h 193"/>
              <a:gd name="T34" fmla="*/ 89 w 172"/>
              <a:gd name="T35" fmla="*/ 12 h 193"/>
              <a:gd name="T36" fmla="*/ 89 w 172"/>
              <a:gd name="T37" fmla="*/ 12 h 19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2"/>
              <a:gd name="T58" fmla="*/ 0 h 193"/>
              <a:gd name="T59" fmla="*/ 172 w 172"/>
              <a:gd name="T60" fmla="*/ 193 h 19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2" h="193">
                <a:moveTo>
                  <a:pt x="89" y="12"/>
                </a:moveTo>
                <a:lnTo>
                  <a:pt x="55" y="45"/>
                </a:lnTo>
                <a:lnTo>
                  <a:pt x="32" y="19"/>
                </a:lnTo>
                <a:lnTo>
                  <a:pt x="10" y="62"/>
                </a:lnTo>
                <a:lnTo>
                  <a:pt x="41" y="127"/>
                </a:lnTo>
                <a:lnTo>
                  <a:pt x="0" y="161"/>
                </a:lnTo>
                <a:lnTo>
                  <a:pt x="41" y="193"/>
                </a:lnTo>
                <a:lnTo>
                  <a:pt x="74" y="171"/>
                </a:lnTo>
                <a:lnTo>
                  <a:pt x="94" y="193"/>
                </a:lnTo>
                <a:lnTo>
                  <a:pt x="129" y="193"/>
                </a:lnTo>
                <a:lnTo>
                  <a:pt x="163" y="166"/>
                </a:lnTo>
                <a:lnTo>
                  <a:pt x="163" y="103"/>
                </a:lnTo>
                <a:lnTo>
                  <a:pt x="172" y="91"/>
                </a:lnTo>
                <a:lnTo>
                  <a:pt x="149" y="23"/>
                </a:lnTo>
                <a:lnTo>
                  <a:pt x="137" y="22"/>
                </a:lnTo>
                <a:lnTo>
                  <a:pt x="145" y="0"/>
                </a:lnTo>
                <a:lnTo>
                  <a:pt x="89" y="12"/>
                </a:lnTo>
                <a:close/>
              </a:path>
            </a:pathLst>
          </a:custGeom>
          <a:solidFill>
            <a:schemeClr val="accent3"/>
          </a:solidFill>
          <a:ln w="12700">
            <a:solidFill>
              <a:schemeClr val="bg1"/>
            </a:solidFill>
            <a:round/>
            <a:headEnd/>
            <a:tailEnd/>
          </a:ln>
        </p:spPr>
        <p:txBody>
          <a:bodyPr/>
          <a:lstStyle/>
          <a:p>
            <a:pPr>
              <a:defRPr/>
            </a:pPr>
            <a:endParaRPr lang="nl-NL"/>
          </a:p>
        </p:txBody>
      </p:sp>
      <p:sp>
        <p:nvSpPr>
          <p:cNvPr id="264" name="Freeform 63"/>
          <p:cNvSpPr>
            <a:spLocks/>
          </p:cNvSpPr>
          <p:nvPr/>
        </p:nvSpPr>
        <p:spPr bwMode="auto">
          <a:xfrm>
            <a:off x="5112032" y="4300121"/>
            <a:ext cx="244835" cy="391432"/>
          </a:xfrm>
          <a:custGeom>
            <a:avLst/>
            <a:gdLst>
              <a:gd name="T0" fmla="*/ 8 w 158"/>
              <a:gd name="T1" fmla="*/ 79 h 245"/>
              <a:gd name="T2" fmla="*/ 8 w 158"/>
              <a:gd name="T3" fmla="*/ 56 h 245"/>
              <a:gd name="T4" fmla="*/ 83 w 158"/>
              <a:gd name="T5" fmla="*/ 0 h 245"/>
              <a:gd name="T6" fmla="*/ 107 w 158"/>
              <a:gd name="T7" fmla="*/ 9 h 245"/>
              <a:gd name="T8" fmla="*/ 124 w 158"/>
              <a:gd name="T9" fmla="*/ 60 h 245"/>
              <a:gd name="T10" fmla="*/ 109 w 158"/>
              <a:gd name="T11" fmla="*/ 91 h 245"/>
              <a:gd name="T12" fmla="*/ 153 w 158"/>
              <a:gd name="T13" fmla="*/ 112 h 245"/>
              <a:gd name="T14" fmla="*/ 142 w 158"/>
              <a:gd name="T15" fmla="*/ 148 h 245"/>
              <a:gd name="T16" fmla="*/ 158 w 158"/>
              <a:gd name="T17" fmla="*/ 160 h 245"/>
              <a:gd name="T18" fmla="*/ 152 w 158"/>
              <a:gd name="T19" fmla="*/ 182 h 245"/>
              <a:gd name="T20" fmla="*/ 133 w 158"/>
              <a:gd name="T21" fmla="*/ 182 h 245"/>
              <a:gd name="T22" fmla="*/ 94 w 158"/>
              <a:gd name="T23" fmla="*/ 169 h 245"/>
              <a:gd name="T24" fmla="*/ 60 w 158"/>
              <a:gd name="T25" fmla="*/ 180 h 245"/>
              <a:gd name="T26" fmla="*/ 52 w 158"/>
              <a:gd name="T27" fmla="*/ 232 h 245"/>
              <a:gd name="T28" fmla="*/ 26 w 158"/>
              <a:gd name="T29" fmla="*/ 245 h 245"/>
              <a:gd name="T30" fmla="*/ 26 w 158"/>
              <a:gd name="T31" fmla="*/ 182 h 245"/>
              <a:gd name="T32" fmla="*/ 35 w 158"/>
              <a:gd name="T33" fmla="*/ 170 h 245"/>
              <a:gd name="T34" fmla="*/ 12 w 158"/>
              <a:gd name="T35" fmla="*/ 102 h 245"/>
              <a:gd name="T36" fmla="*/ 0 w 158"/>
              <a:gd name="T37" fmla="*/ 101 h 245"/>
              <a:gd name="T38" fmla="*/ 8 w 158"/>
              <a:gd name="T39" fmla="*/ 79 h 245"/>
              <a:gd name="T40" fmla="*/ 8 w 158"/>
              <a:gd name="T41" fmla="*/ 79 h 245"/>
              <a:gd name="T42" fmla="*/ 8 w 158"/>
              <a:gd name="T43" fmla="*/ 79 h 2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8"/>
              <a:gd name="T67" fmla="*/ 0 h 245"/>
              <a:gd name="T68" fmla="*/ 158 w 158"/>
              <a:gd name="T69" fmla="*/ 245 h 24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8" h="245">
                <a:moveTo>
                  <a:pt x="8" y="79"/>
                </a:moveTo>
                <a:lnTo>
                  <a:pt x="8" y="56"/>
                </a:lnTo>
                <a:lnTo>
                  <a:pt x="83" y="0"/>
                </a:lnTo>
                <a:lnTo>
                  <a:pt x="107" y="9"/>
                </a:lnTo>
                <a:lnTo>
                  <a:pt x="124" y="60"/>
                </a:lnTo>
                <a:lnTo>
                  <a:pt x="109" y="91"/>
                </a:lnTo>
                <a:lnTo>
                  <a:pt x="153" y="112"/>
                </a:lnTo>
                <a:lnTo>
                  <a:pt x="142" y="148"/>
                </a:lnTo>
                <a:lnTo>
                  <a:pt x="158" y="160"/>
                </a:lnTo>
                <a:lnTo>
                  <a:pt x="152" y="182"/>
                </a:lnTo>
                <a:lnTo>
                  <a:pt x="133" y="182"/>
                </a:lnTo>
                <a:lnTo>
                  <a:pt x="94" y="169"/>
                </a:lnTo>
                <a:lnTo>
                  <a:pt x="60" y="180"/>
                </a:lnTo>
                <a:lnTo>
                  <a:pt x="52" y="232"/>
                </a:lnTo>
                <a:lnTo>
                  <a:pt x="26" y="245"/>
                </a:lnTo>
                <a:lnTo>
                  <a:pt x="26" y="182"/>
                </a:lnTo>
                <a:lnTo>
                  <a:pt x="35" y="170"/>
                </a:lnTo>
                <a:lnTo>
                  <a:pt x="12" y="102"/>
                </a:lnTo>
                <a:lnTo>
                  <a:pt x="0" y="101"/>
                </a:lnTo>
                <a:lnTo>
                  <a:pt x="8" y="79"/>
                </a:lnTo>
                <a:close/>
              </a:path>
            </a:pathLst>
          </a:custGeom>
          <a:solidFill>
            <a:schemeClr val="accent3"/>
          </a:solidFill>
          <a:ln w="12700">
            <a:solidFill>
              <a:schemeClr val="bg1"/>
            </a:solidFill>
            <a:round/>
            <a:headEnd/>
            <a:tailEnd/>
          </a:ln>
        </p:spPr>
        <p:txBody>
          <a:bodyPr/>
          <a:lstStyle/>
          <a:p>
            <a:pPr>
              <a:defRPr/>
            </a:pPr>
            <a:endParaRPr lang="nl-NL"/>
          </a:p>
        </p:txBody>
      </p:sp>
      <p:sp>
        <p:nvSpPr>
          <p:cNvPr id="265" name="Freeform 64"/>
          <p:cNvSpPr>
            <a:spLocks/>
          </p:cNvSpPr>
          <p:nvPr/>
        </p:nvSpPr>
        <p:spPr bwMode="auto">
          <a:xfrm>
            <a:off x="5192610" y="4570129"/>
            <a:ext cx="210744" cy="131010"/>
          </a:xfrm>
          <a:custGeom>
            <a:avLst/>
            <a:gdLst>
              <a:gd name="T0" fmla="*/ 8 w 136"/>
              <a:gd name="T1" fmla="*/ 11 h 82"/>
              <a:gd name="T2" fmla="*/ 0 w 136"/>
              <a:gd name="T3" fmla="*/ 63 h 82"/>
              <a:gd name="T4" fmla="*/ 125 w 136"/>
              <a:gd name="T5" fmla="*/ 82 h 82"/>
              <a:gd name="T6" fmla="*/ 136 w 136"/>
              <a:gd name="T7" fmla="*/ 66 h 82"/>
              <a:gd name="T8" fmla="*/ 96 w 136"/>
              <a:gd name="T9" fmla="*/ 46 h 82"/>
              <a:gd name="T10" fmla="*/ 81 w 136"/>
              <a:gd name="T11" fmla="*/ 13 h 82"/>
              <a:gd name="T12" fmla="*/ 42 w 136"/>
              <a:gd name="T13" fmla="*/ 0 h 82"/>
              <a:gd name="T14" fmla="*/ 8 w 136"/>
              <a:gd name="T15" fmla="*/ 11 h 82"/>
              <a:gd name="T16" fmla="*/ 8 w 136"/>
              <a:gd name="T17" fmla="*/ 11 h 82"/>
              <a:gd name="T18" fmla="*/ 8 w 136"/>
              <a:gd name="T19" fmla="*/ 11 h 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6"/>
              <a:gd name="T31" fmla="*/ 0 h 82"/>
              <a:gd name="T32" fmla="*/ 136 w 136"/>
              <a:gd name="T33" fmla="*/ 82 h 8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6" h="82">
                <a:moveTo>
                  <a:pt x="8" y="11"/>
                </a:moveTo>
                <a:lnTo>
                  <a:pt x="0" y="63"/>
                </a:lnTo>
                <a:lnTo>
                  <a:pt x="125" y="82"/>
                </a:lnTo>
                <a:lnTo>
                  <a:pt x="136" y="66"/>
                </a:lnTo>
                <a:lnTo>
                  <a:pt x="96" y="46"/>
                </a:lnTo>
                <a:lnTo>
                  <a:pt x="81" y="13"/>
                </a:lnTo>
                <a:lnTo>
                  <a:pt x="42" y="0"/>
                </a:lnTo>
                <a:lnTo>
                  <a:pt x="8" y="11"/>
                </a:lnTo>
                <a:close/>
              </a:path>
            </a:pathLst>
          </a:custGeom>
          <a:solidFill>
            <a:schemeClr val="accent3"/>
          </a:solidFill>
          <a:ln w="12700">
            <a:solidFill>
              <a:schemeClr val="bg1"/>
            </a:solidFill>
            <a:round/>
            <a:headEnd/>
            <a:tailEnd/>
          </a:ln>
        </p:spPr>
        <p:txBody>
          <a:bodyPr/>
          <a:lstStyle/>
          <a:p>
            <a:pPr>
              <a:defRPr/>
            </a:pPr>
            <a:endParaRPr lang="nl-NL"/>
          </a:p>
        </p:txBody>
      </p:sp>
      <p:sp>
        <p:nvSpPr>
          <p:cNvPr id="266" name="Freeform 65"/>
          <p:cNvSpPr>
            <a:spLocks/>
          </p:cNvSpPr>
          <p:nvPr/>
        </p:nvSpPr>
        <p:spPr bwMode="auto">
          <a:xfrm>
            <a:off x="5418850" y="4156329"/>
            <a:ext cx="185951" cy="346697"/>
          </a:xfrm>
          <a:custGeom>
            <a:avLst/>
            <a:gdLst>
              <a:gd name="T0" fmla="*/ 61 w 120"/>
              <a:gd name="T1" fmla="*/ 0 h 217"/>
              <a:gd name="T2" fmla="*/ 26 w 120"/>
              <a:gd name="T3" fmla="*/ 64 h 217"/>
              <a:gd name="T4" fmla="*/ 0 w 120"/>
              <a:gd name="T5" fmla="*/ 136 h 217"/>
              <a:gd name="T6" fmla="*/ 6 w 120"/>
              <a:gd name="T7" fmla="*/ 174 h 217"/>
              <a:gd name="T8" fmla="*/ 21 w 120"/>
              <a:gd name="T9" fmla="*/ 185 h 217"/>
              <a:gd name="T10" fmla="*/ 14 w 120"/>
              <a:gd name="T11" fmla="*/ 191 h 217"/>
              <a:gd name="T12" fmla="*/ 25 w 120"/>
              <a:gd name="T13" fmla="*/ 217 h 217"/>
              <a:gd name="T14" fmla="*/ 53 w 120"/>
              <a:gd name="T15" fmla="*/ 216 h 217"/>
              <a:gd name="T16" fmla="*/ 97 w 120"/>
              <a:gd name="T17" fmla="*/ 159 h 217"/>
              <a:gd name="T18" fmla="*/ 91 w 120"/>
              <a:gd name="T19" fmla="*/ 144 h 217"/>
              <a:gd name="T20" fmla="*/ 110 w 120"/>
              <a:gd name="T21" fmla="*/ 113 h 217"/>
              <a:gd name="T22" fmla="*/ 120 w 120"/>
              <a:gd name="T23" fmla="*/ 73 h 217"/>
              <a:gd name="T24" fmla="*/ 100 w 120"/>
              <a:gd name="T25" fmla="*/ 84 h 217"/>
              <a:gd name="T26" fmla="*/ 95 w 120"/>
              <a:gd name="T27" fmla="*/ 10 h 217"/>
              <a:gd name="T28" fmla="*/ 61 w 120"/>
              <a:gd name="T29" fmla="*/ 0 h 217"/>
              <a:gd name="T30" fmla="*/ 61 w 120"/>
              <a:gd name="T31" fmla="*/ 0 h 217"/>
              <a:gd name="T32" fmla="*/ 61 w 120"/>
              <a:gd name="T33" fmla="*/ 0 h 2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0"/>
              <a:gd name="T52" fmla="*/ 0 h 217"/>
              <a:gd name="T53" fmla="*/ 120 w 120"/>
              <a:gd name="T54" fmla="*/ 217 h 2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0" h="217">
                <a:moveTo>
                  <a:pt x="61" y="0"/>
                </a:moveTo>
                <a:lnTo>
                  <a:pt x="26" y="64"/>
                </a:lnTo>
                <a:lnTo>
                  <a:pt x="0" y="136"/>
                </a:lnTo>
                <a:lnTo>
                  <a:pt x="6" y="174"/>
                </a:lnTo>
                <a:lnTo>
                  <a:pt x="21" y="185"/>
                </a:lnTo>
                <a:lnTo>
                  <a:pt x="14" y="191"/>
                </a:lnTo>
                <a:lnTo>
                  <a:pt x="25" y="217"/>
                </a:lnTo>
                <a:lnTo>
                  <a:pt x="53" y="216"/>
                </a:lnTo>
                <a:lnTo>
                  <a:pt x="97" y="159"/>
                </a:lnTo>
                <a:lnTo>
                  <a:pt x="91" y="144"/>
                </a:lnTo>
                <a:lnTo>
                  <a:pt x="110" y="113"/>
                </a:lnTo>
                <a:lnTo>
                  <a:pt x="120" y="73"/>
                </a:lnTo>
                <a:lnTo>
                  <a:pt x="100" y="84"/>
                </a:lnTo>
                <a:lnTo>
                  <a:pt x="95" y="10"/>
                </a:lnTo>
                <a:lnTo>
                  <a:pt x="61" y="0"/>
                </a:lnTo>
                <a:close/>
              </a:path>
            </a:pathLst>
          </a:custGeom>
          <a:solidFill>
            <a:schemeClr val="accent3"/>
          </a:solidFill>
          <a:ln w="12700">
            <a:solidFill>
              <a:schemeClr val="bg1"/>
            </a:solidFill>
            <a:round/>
            <a:headEnd/>
            <a:tailEnd/>
          </a:ln>
        </p:spPr>
        <p:txBody>
          <a:bodyPr/>
          <a:lstStyle/>
          <a:p>
            <a:pPr>
              <a:defRPr/>
            </a:pPr>
            <a:endParaRPr lang="nl-NL"/>
          </a:p>
        </p:txBody>
      </p:sp>
      <p:sp>
        <p:nvSpPr>
          <p:cNvPr id="267" name="Freeform 66"/>
          <p:cNvSpPr>
            <a:spLocks/>
          </p:cNvSpPr>
          <p:nvPr/>
        </p:nvSpPr>
        <p:spPr bwMode="auto">
          <a:xfrm>
            <a:off x="5559863" y="4100410"/>
            <a:ext cx="325413" cy="461730"/>
          </a:xfrm>
          <a:custGeom>
            <a:avLst/>
            <a:gdLst>
              <a:gd name="T0" fmla="*/ 145 w 210"/>
              <a:gd name="T1" fmla="*/ 19 h 289"/>
              <a:gd name="T2" fmla="*/ 116 w 210"/>
              <a:gd name="T3" fmla="*/ 42 h 289"/>
              <a:gd name="T4" fmla="*/ 94 w 210"/>
              <a:gd name="T5" fmla="*/ 0 h 289"/>
              <a:gd name="T6" fmla="*/ 53 w 210"/>
              <a:gd name="T7" fmla="*/ 34 h 289"/>
              <a:gd name="T8" fmla="*/ 6 w 210"/>
              <a:gd name="T9" fmla="*/ 45 h 289"/>
              <a:gd name="T10" fmla="*/ 11 w 210"/>
              <a:gd name="T11" fmla="*/ 118 h 289"/>
              <a:gd name="T12" fmla="*/ 29 w 210"/>
              <a:gd name="T13" fmla="*/ 107 h 289"/>
              <a:gd name="T14" fmla="*/ 19 w 210"/>
              <a:gd name="T15" fmla="*/ 147 h 289"/>
              <a:gd name="T16" fmla="*/ 0 w 210"/>
              <a:gd name="T17" fmla="*/ 179 h 289"/>
              <a:gd name="T18" fmla="*/ 6 w 210"/>
              <a:gd name="T19" fmla="*/ 195 h 289"/>
              <a:gd name="T20" fmla="*/ 29 w 210"/>
              <a:gd name="T21" fmla="*/ 251 h 289"/>
              <a:gd name="T22" fmla="*/ 69 w 210"/>
              <a:gd name="T23" fmla="*/ 267 h 289"/>
              <a:gd name="T24" fmla="*/ 64 w 210"/>
              <a:gd name="T25" fmla="*/ 289 h 289"/>
              <a:gd name="T26" fmla="*/ 153 w 210"/>
              <a:gd name="T27" fmla="*/ 279 h 289"/>
              <a:gd name="T28" fmla="*/ 164 w 210"/>
              <a:gd name="T29" fmla="*/ 257 h 289"/>
              <a:gd name="T30" fmla="*/ 210 w 210"/>
              <a:gd name="T31" fmla="*/ 233 h 289"/>
              <a:gd name="T32" fmla="*/ 156 w 210"/>
              <a:gd name="T33" fmla="*/ 204 h 289"/>
              <a:gd name="T34" fmla="*/ 208 w 210"/>
              <a:gd name="T35" fmla="*/ 137 h 289"/>
              <a:gd name="T36" fmla="*/ 167 w 210"/>
              <a:gd name="T37" fmla="*/ 39 h 289"/>
              <a:gd name="T38" fmla="*/ 145 w 210"/>
              <a:gd name="T39" fmla="*/ 19 h 289"/>
              <a:gd name="T40" fmla="*/ 145 w 210"/>
              <a:gd name="T41" fmla="*/ 19 h 289"/>
              <a:gd name="T42" fmla="*/ 145 w 210"/>
              <a:gd name="T43" fmla="*/ 19 h 28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0"/>
              <a:gd name="T67" fmla="*/ 0 h 289"/>
              <a:gd name="T68" fmla="*/ 210 w 210"/>
              <a:gd name="T69" fmla="*/ 289 h 28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0" h="289">
                <a:moveTo>
                  <a:pt x="145" y="19"/>
                </a:moveTo>
                <a:lnTo>
                  <a:pt x="116" y="42"/>
                </a:lnTo>
                <a:lnTo>
                  <a:pt x="94" y="0"/>
                </a:lnTo>
                <a:lnTo>
                  <a:pt x="53" y="34"/>
                </a:lnTo>
                <a:lnTo>
                  <a:pt x="6" y="45"/>
                </a:lnTo>
                <a:lnTo>
                  <a:pt x="11" y="118"/>
                </a:lnTo>
                <a:lnTo>
                  <a:pt x="29" y="107"/>
                </a:lnTo>
                <a:lnTo>
                  <a:pt x="19" y="147"/>
                </a:lnTo>
                <a:lnTo>
                  <a:pt x="0" y="179"/>
                </a:lnTo>
                <a:lnTo>
                  <a:pt x="6" y="195"/>
                </a:lnTo>
                <a:lnTo>
                  <a:pt x="29" y="251"/>
                </a:lnTo>
                <a:lnTo>
                  <a:pt x="69" y="267"/>
                </a:lnTo>
                <a:lnTo>
                  <a:pt x="64" y="289"/>
                </a:lnTo>
                <a:lnTo>
                  <a:pt x="153" y="279"/>
                </a:lnTo>
                <a:lnTo>
                  <a:pt x="164" y="257"/>
                </a:lnTo>
                <a:lnTo>
                  <a:pt x="210" y="233"/>
                </a:lnTo>
                <a:lnTo>
                  <a:pt x="156" y="204"/>
                </a:lnTo>
                <a:lnTo>
                  <a:pt x="208" y="137"/>
                </a:lnTo>
                <a:lnTo>
                  <a:pt x="167" y="39"/>
                </a:lnTo>
                <a:lnTo>
                  <a:pt x="145" y="19"/>
                </a:lnTo>
                <a:close/>
              </a:path>
            </a:pathLst>
          </a:custGeom>
          <a:solidFill>
            <a:schemeClr val="accent3"/>
          </a:solidFill>
          <a:ln w="12700">
            <a:solidFill>
              <a:schemeClr val="bg1"/>
            </a:solidFill>
            <a:round/>
            <a:headEnd/>
            <a:tailEnd/>
          </a:ln>
        </p:spPr>
        <p:txBody>
          <a:bodyPr/>
          <a:lstStyle/>
          <a:p>
            <a:pPr>
              <a:defRPr/>
            </a:pPr>
            <a:endParaRPr lang="nl-NL"/>
          </a:p>
        </p:txBody>
      </p:sp>
      <p:sp>
        <p:nvSpPr>
          <p:cNvPr id="268" name="Freeform 67"/>
          <p:cNvSpPr>
            <a:spLocks/>
          </p:cNvSpPr>
          <p:nvPr/>
        </p:nvSpPr>
        <p:spPr bwMode="auto">
          <a:xfrm>
            <a:off x="5356867" y="4411958"/>
            <a:ext cx="309918" cy="282790"/>
          </a:xfrm>
          <a:custGeom>
            <a:avLst/>
            <a:gdLst>
              <a:gd name="T0" fmla="*/ 137 w 200"/>
              <a:gd name="T1" fmla="*/ 0 h 177"/>
              <a:gd name="T2" fmla="*/ 93 w 200"/>
              <a:gd name="T3" fmla="*/ 56 h 177"/>
              <a:gd name="T4" fmla="*/ 65 w 200"/>
              <a:gd name="T5" fmla="*/ 57 h 177"/>
              <a:gd name="T6" fmla="*/ 54 w 200"/>
              <a:gd name="T7" fmla="*/ 31 h 177"/>
              <a:gd name="T8" fmla="*/ 15 w 200"/>
              <a:gd name="T9" fmla="*/ 53 h 177"/>
              <a:gd name="T10" fmla="*/ 0 w 200"/>
              <a:gd name="T11" fmla="*/ 92 h 177"/>
              <a:gd name="T12" fmla="*/ 76 w 200"/>
              <a:gd name="T13" fmla="*/ 177 h 177"/>
              <a:gd name="T14" fmla="*/ 169 w 200"/>
              <a:gd name="T15" fmla="*/ 131 h 177"/>
              <a:gd name="T16" fmla="*/ 196 w 200"/>
              <a:gd name="T17" fmla="*/ 93 h 177"/>
              <a:gd name="T18" fmla="*/ 200 w 200"/>
              <a:gd name="T19" fmla="*/ 72 h 177"/>
              <a:gd name="T20" fmla="*/ 160 w 200"/>
              <a:gd name="T21" fmla="*/ 56 h 177"/>
              <a:gd name="T22" fmla="*/ 137 w 200"/>
              <a:gd name="T23" fmla="*/ 0 h 177"/>
              <a:gd name="T24" fmla="*/ 137 w 200"/>
              <a:gd name="T25" fmla="*/ 0 h 177"/>
              <a:gd name="T26" fmla="*/ 137 w 200"/>
              <a:gd name="T27" fmla="*/ 0 h 1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0"/>
              <a:gd name="T43" fmla="*/ 0 h 177"/>
              <a:gd name="T44" fmla="*/ 200 w 200"/>
              <a:gd name="T45" fmla="*/ 177 h 1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0" h="177">
                <a:moveTo>
                  <a:pt x="137" y="0"/>
                </a:moveTo>
                <a:lnTo>
                  <a:pt x="93" y="56"/>
                </a:lnTo>
                <a:lnTo>
                  <a:pt x="65" y="57"/>
                </a:lnTo>
                <a:lnTo>
                  <a:pt x="54" y="31"/>
                </a:lnTo>
                <a:lnTo>
                  <a:pt x="15" y="53"/>
                </a:lnTo>
                <a:lnTo>
                  <a:pt x="0" y="92"/>
                </a:lnTo>
                <a:lnTo>
                  <a:pt x="76" y="177"/>
                </a:lnTo>
                <a:lnTo>
                  <a:pt x="169" y="131"/>
                </a:lnTo>
                <a:lnTo>
                  <a:pt x="196" y="93"/>
                </a:lnTo>
                <a:lnTo>
                  <a:pt x="200" y="72"/>
                </a:lnTo>
                <a:lnTo>
                  <a:pt x="160" y="56"/>
                </a:lnTo>
                <a:lnTo>
                  <a:pt x="137" y="0"/>
                </a:lnTo>
                <a:close/>
              </a:path>
            </a:pathLst>
          </a:custGeom>
          <a:solidFill>
            <a:schemeClr val="accent3"/>
          </a:solidFill>
          <a:ln w="12700">
            <a:solidFill>
              <a:schemeClr val="bg1"/>
            </a:solidFill>
            <a:round/>
            <a:headEnd/>
            <a:tailEnd/>
          </a:ln>
        </p:spPr>
        <p:txBody>
          <a:bodyPr/>
          <a:lstStyle/>
          <a:p>
            <a:pPr>
              <a:defRPr/>
            </a:pPr>
            <a:endParaRPr lang="nl-NL"/>
          </a:p>
        </p:txBody>
      </p:sp>
      <p:sp>
        <p:nvSpPr>
          <p:cNvPr id="269" name="Freeform 68"/>
          <p:cNvSpPr>
            <a:spLocks/>
          </p:cNvSpPr>
          <p:nvPr/>
        </p:nvSpPr>
        <p:spPr bwMode="auto">
          <a:xfrm>
            <a:off x="4924532" y="4670783"/>
            <a:ext cx="404442" cy="305157"/>
          </a:xfrm>
          <a:custGeom>
            <a:avLst/>
            <a:gdLst>
              <a:gd name="T0" fmla="*/ 25 w 261"/>
              <a:gd name="T1" fmla="*/ 39 h 191"/>
              <a:gd name="T2" fmla="*/ 0 w 261"/>
              <a:gd name="T3" fmla="*/ 111 h 191"/>
              <a:gd name="T4" fmla="*/ 54 w 261"/>
              <a:gd name="T5" fmla="*/ 168 h 191"/>
              <a:gd name="T6" fmla="*/ 87 w 261"/>
              <a:gd name="T7" fmla="*/ 191 h 191"/>
              <a:gd name="T8" fmla="*/ 124 w 261"/>
              <a:gd name="T9" fmla="*/ 178 h 191"/>
              <a:gd name="T10" fmla="*/ 124 w 261"/>
              <a:gd name="T11" fmla="*/ 137 h 191"/>
              <a:gd name="T12" fmla="*/ 143 w 261"/>
              <a:gd name="T13" fmla="*/ 137 h 191"/>
              <a:gd name="T14" fmla="*/ 178 w 261"/>
              <a:gd name="T15" fmla="*/ 149 h 191"/>
              <a:gd name="T16" fmla="*/ 189 w 261"/>
              <a:gd name="T17" fmla="*/ 119 h 191"/>
              <a:gd name="T18" fmla="*/ 209 w 261"/>
              <a:gd name="T19" fmla="*/ 131 h 191"/>
              <a:gd name="T20" fmla="*/ 245 w 261"/>
              <a:gd name="T21" fmla="*/ 131 h 191"/>
              <a:gd name="T22" fmla="*/ 261 w 261"/>
              <a:gd name="T23" fmla="*/ 101 h 191"/>
              <a:gd name="T24" fmla="*/ 223 w 261"/>
              <a:gd name="T25" fmla="*/ 75 h 191"/>
              <a:gd name="T26" fmla="*/ 237 w 261"/>
              <a:gd name="T27" fmla="*/ 9 h 191"/>
              <a:gd name="T28" fmla="*/ 175 w 261"/>
              <a:gd name="T29" fmla="*/ 0 h 191"/>
              <a:gd name="T30" fmla="*/ 147 w 261"/>
              <a:gd name="T31" fmla="*/ 13 h 191"/>
              <a:gd name="T32" fmla="*/ 114 w 261"/>
              <a:gd name="T33" fmla="*/ 39 h 191"/>
              <a:gd name="T34" fmla="*/ 78 w 261"/>
              <a:gd name="T35" fmla="*/ 39 h 191"/>
              <a:gd name="T36" fmla="*/ 58 w 261"/>
              <a:gd name="T37" fmla="*/ 18 h 191"/>
              <a:gd name="T38" fmla="*/ 25 w 261"/>
              <a:gd name="T39" fmla="*/ 39 h 191"/>
              <a:gd name="T40" fmla="*/ 25 w 261"/>
              <a:gd name="T41" fmla="*/ 39 h 191"/>
              <a:gd name="T42" fmla="*/ 25 w 261"/>
              <a:gd name="T43" fmla="*/ 39 h 19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1"/>
              <a:gd name="T67" fmla="*/ 0 h 191"/>
              <a:gd name="T68" fmla="*/ 261 w 261"/>
              <a:gd name="T69" fmla="*/ 191 h 19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1" h="191">
                <a:moveTo>
                  <a:pt x="25" y="39"/>
                </a:moveTo>
                <a:lnTo>
                  <a:pt x="0" y="111"/>
                </a:lnTo>
                <a:lnTo>
                  <a:pt x="54" y="168"/>
                </a:lnTo>
                <a:lnTo>
                  <a:pt x="87" y="191"/>
                </a:lnTo>
                <a:lnTo>
                  <a:pt x="124" y="178"/>
                </a:lnTo>
                <a:lnTo>
                  <a:pt x="124" y="137"/>
                </a:lnTo>
                <a:lnTo>
                  <a:pt x="143" y="137"/>
                </a:lnTo>
                <a:lnTo>
                  <a:pt x="178" y="149"/>
                </a:lnTo>
                <a:lnTo>
                  <a:pt x="189" y="119"/>
                </a:lnTo>
                <a:lnTo>
                  <a:pt x="209" y="131"/>
                </a:lnTo>
                <a:lnTo>
                  <a:pt x="245" y="131"/>
                </a:lnTo>
                <a:lnTo>
                  <a:pt x="261" y="101"/>
                </a:lnTo>
                <a:lnTo>
                  <a:pt x="223" y="75"/>
                </a:lnTo>
                <a:lnTo>
                  <a:pt x="237" y="9"/>
                </a:lnTo>
                <a:lnTo>
                  <a:pt x="175" y="0"/>
                </a:lnTo>
                <a:lnTo>
                  <a:pt x="147" y="13"/>
                </a:lnTo>
                <a:lnTo>
                  <a:pt x="114" y="39"/>
                </a:lnTo>
                <a:lnTo>
                  <a:pt x="78" y="39"/>
                </a:lnTo>
                <a:lnTo>
                  <a:pt x="58" y="18"/>
                </a:lnTo>
                <a:lnTo>
                  <a:pt x="25" y="39"/>
                </a:lnTo>
                <a:close/>
              </a:path>
            </a:pathLst>
          </a:custGeom>
          <a:solidFill>
            <a:schemeClr val="accent3"/>
          </a:solidFill>
          <a:ln w="12700">
            <a:solidFill>
              <a:schemeClr val="bg1"/>
            </a:solidFill>
            <a:round/>
            <a:headEnd/>
            <a:tailEnd/>
          </a:ln>
        </p:spPr>
        <p:txBody>
          <a:bodyPr/>
          <a:lstStyle/>
          <a:p>
            <a:pPr>
              <a:defRPr/>
            </a:pPr>
            <a:endParaRPr lang="nl-NL"/>
          </a:p>
        </p:txBody>
      </p:sp>
      <p:sp>
        <p:nvSpPr>
          <p:cNvPr id="270" name="Freeform 69"/>
          <p:cNvSpPr>
            <a:spLocks/>
          </p:cNvSpPr>
          <p:nvPr/>
        </p:nvSpPr>
        <p:spPr bwMode="auto">
          <a:xfrm>
            <a:off x="5059346" y="4832149"/>
            <a:ext cx="311467" cy="247641"/>
          </a:xfrm>
          <a:custGeom>
            <a:avLst/>
            <a:gdLst>
              <a:gd name="T0" fmla="*/ 0 w 201"/>
              <a:gd name="T1" fmla="*/ 90 h 155"/>
              <a:gd name="T2" fmla="*/ 37 w 201"/>
              <a:gd name="T3" fmla="*/ 77 h 155"/>
              <a:gd name="T4" fmla="*/ 37 w 201"/>
              <a:gd name="T5" fmla="*/ 36 h 155"/>
              <a:gd name="T6" fmla="*/ 57 w 201"/>
              <a:gd name="T7" fmla="*/ 36 h 155"/>
              <a:gd name="T8" fmla="*/ 91 w 201"/>
              <a:gd name="T9" fmla="*/ 48 h 155"/>
              <a:gd name="T10" fmla="*/ 103 w 201"/>
              <a:gd name="T11" fmla="*/ 18 h 155"/>
              <a:gd name="T12" fmla="*/ 122 w 201"/>
              <a:gd name="T13" fmla="*/ 30 h 155"/>
              <a:gd name="T14" fmla="*/ 158 w 201"/>
              <a:gd name="T15" fmla="*/ 30 h 155"/>
              <a:gd name="T16" fmla="*/ 174 w 201"/>
              <a:gd name="T17" fmla="*/ 0 h 155"/>
              <a:gd name="T18" fmla="*/ 201 w 201"/>
              <a:gd name="T19" fmla="*/ 46 h 155"/>
              <a:gd name="T20" fmla="*/ 185 w 201"/>
              <a:gd name="T21" fmla="*/ 121 h 155"/>
              <a:gd name="T22" fmla="*/ 74 w 201"/>
              <a:gd name="T23" fmla="*/ 155 h 155"/>
              <a:gd name="T24" fmla="*/ 32 w 201"/>
              <a:gd name="T25" fmla="*/ 136 h 155"/>
              <a:gd name="T26" fmla="*/ 58 w 201"/>
              <a:gd name="T27" fmla="*/ 103 h 155"/>
              <a:gd name="T28" fmla="*/ 50 w 201"/>
              <a:gd name="T29" fmla="*/ 90 h 155"/>
              <a:gd name="T30" fmla="*/ 0 w 201"/>
              <a:gd name="T31" fmla="*/ 142 h 155"/>
              <a:gd name="T32" fmla="*/ 0 w 201"/>
              <a:gd name="T33" fmla="*/ 90 h 155"/>
              <a:gd name="T34" fmla="*/ 0 w 201"/>
              <a:gd name="T35" fmla="*/ 90 h 155"/>
              <a:gd name="T36" fmla="*/ 0 w 201"/>
              <a:gd name="T37" fmla="*/ 90 h 1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1"/>
              <a:gd name="T58" fmla="*/ 0 h 155"/>
              <a:gd name="T59" fmla="*/ 201 w 201"/>
              <a:gd name="T60" fmla="*/ 155 h 1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1" h="155">
                <a:moveTo>
                  <a:pt x="0" y="90"/>
                </a:moveTo>
                <a:lnTo>
                  <a:pt x="37" y="77"/>
                </a:lnTo>
                <a:lnTo>
                  <a:pt x="37" y="36"/>
                </a:lnTo>
                <a:lnTo>
                  <a:pt x="57" y="36"/>
                </a:lnTo>
                <a:lnTo>
                  <a:pt x="91" y="48"/>
                </a:lnTo>
                <a:lnTo>
                  <a:pt x="103" y="18"/>
                </a:lnTo>
                <a:lnTo>
                  <a:pt x="122" y="30"/>
                </a:lnTo>
                <a:lnTo>
                  <a:pt x="158" y="30"/>
                </a:lnTo>
                <a:lnTo>
                  <a:pt x="174" y="0"/>
                </a:lnTo>
                <a:lnTo>
                  <a:pt x="201" y="46"/>
                </a:lnTo>
                <a:lnTo>
                  <a:pt x="185" y="121"/>
                </a:lnTo>
                <a:lnTo>
                  <a:pt x="74" y="155"/>
                </a:lnTo>
                <a:lnTo>
                  <a:pt x="32" y="136"/>
                </a:lnTo>
                <a:lnTo>
                  <a:pt x="58" y="103"/>
                </a:lnTo>
                <a:lnTo>
                  <a:pt x="50" y="90"/>
                </a:lnTo>
                <a:lnTo>
                  <a:pt x="0" y="142"/>
                </a:lnTo>
                <a:lnTo>
                  <a:pt x="0" y="90"/>
                </a:lnTo>
                <a:close/>
              </a:path>
            </a:pathLst>
          </a:custGeom>
          <a:solidFill>
            <a:schemeClr val="accent3"/>
          </a:solidFill>
          <a:ln w="12700">
            <a:solidFill>
              <a:schemeClr val="bg1"/>
            </a:solidFill>
            <a:round/>
            <a:headEnd/>
            <a:tailEnd/>
          </a:ln>
        </p:spPr>
        <p:txBody>
          <a:bodyPr/>
          <a:lstStyle/>
          <a:p>
            <a:pPr>
              <a:defRPr/>
            </a:pPr>
            <a:endParaRPr lang="nl-NL"/>
          </a:p>
        </p:txBody>
      </p:sp>
      <p:sp>
        <p:nvSpPr>
          <p:cNvPr id="271" name="Freeform 70"/>
          <p:cNvSpPr>
            <a:spLocks/>
          </p:cNvSpPr>
          <p:nvPr/>
        </p:nvSpPr>
        <p:spPr bwMode="auto">
          <a:xfrm>
            <a:off x="5346019" y="4808183"/>
            <a:ext cx="233988" cy="321134"/>
          </a:xfrm>
          <a:custGeom>
            <a:avLst/>
            <a:gdLst>
              <a:gd name="T0" fmla="*/ 63 w 151"/>
              <a:gd name="T1" fmla="*/ 0 h 201"/>
              <a:gd name="T2" fmla="*/ 26 w 151"/>
              <a:gd name="T3" fmla="*/ 52 h 201"/>
              <a:gd name="T4" fmla="*/ 11 w 151"/>
              <a:gd name="T5" fmla="*/ 52 h 201"/>
              <a:gd name="T6" fmla="*/ 16 w 151"/>
              <a:gd name="T7" fmla="*/ 61 h 201"/>
              <a:gd name="T8" fmla="*/ 1 w 151"/>
              <a:gd name="T9" fmla="*/ 135 h 201"/>
              <a:gd name="T10" fmla="*/ 0 w 151"/>
              <a:gd name="T11" fmla="*/ 169 h 201"/>
              <a:gd name="T12" fmla="*/ 26 w 151"/>
              <a:gd name="T13" fmla="*/ 193 h 201"/>
              <a:gd name="T14" fmla="*/ 80 w 151"/>
              <a:gd name="T15" fmla="*/ 181 h 201"/>
              <a:gd name="T16" fmla="*/ 128 w 151"/>
              <a:gd name="T17" fmla="*/ 201 h 201"/>
              <a:gd name="T18" fmla="*/ 151 w 151"/>
              <a:gd name="T19" fmla="*/ 188 h 201"/>
              <a:gd name="T20" fmla="*/ 140 w 151"/>
              <a:gd name="T21" fmla="*/ 151 h 201"/>
              <a:gd name="T22" fmla="*/ 146 w 151"/>
              <a:gd name="T23" fmla="*/ 141 h 201"/>
              <a:gd name="T24" fmla="*/ 131 w 151"/>
              <a:gd name="T25" fmla="*/ 112 h 201"/>
              <a:gd name="T26" fmla="*/ 92 w 151"/>
              <a:gd name="T27" fmla="*/ 100 h 201"/>
              <a:gd name="T28" fmla="*/ 110 w 151"/>
              <a:gd name="T29" fmla="*/ 77 h 201"/>
              <a:gd name="T30" fmla="*/ 103 w 151"/>
              <a:gd name="T31" fmla="*/ 36 h 201"/>
              <a:gd name="T32" fmla="*/ 73 w 151"/>
              <a:gd name="T33" fmla="*/ 45 h 201"/>
              <a:gd name="T34" fmla="*/ 63 w 151"/>
              <a:gd name="T35" fmla="*/ 0 h 201"/>
              <a:gd name="T36" fmla="*/ 63 w 151"/>
              <a:gd name="T37" fmla="*/ 0 h 201"/>
              <a:gd name="T38" fmla="*/ 63 w 151"/>
              <a:gd name="T39" fmla="*/ 0 h 2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1"/>
              <a:gd name="T61" fmla="*/ 0 h 201"/>
              <a:gd name="T62" fmla="*/ 151 w 151"/>
              <a:gd name="T63" fmla="*/ 201 h 2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1" h="201">
                <a:moveTo>
                  <a:pt x="63" y="0"/>
                </a:moveTo>
                <a:lnTo>
                  <a:pt x="26" y="52"/>
                </a:lnTo>
                <a:lnTo>
                  <a:pt x="11" y="52"/>
                </a:lnTo>
                <a:lnTo>
                  <a:pt x="16" y="61"/>
                </a:lnTo>
                <a:lnTo>
                  <a:pt x="1" y="135"/>
                </a:lnTo>
                <a:lnTo>
                  <a:pt x="0" y="169"/>
                </a:lnTo>
                <a:lnTo>
                  <a:pt x="26" y="193"/>
                </a:lnTo>
                <a:lnTo>
                  <a:pt x="80" y="181"/>
                </a:lnTo>
                <a:lnTo>
                  <a:pt x="128" y="201"/>
                </a:lnTo>
                <a:lnTo>
                  <a:pt x="151" y="188"/>
                </a:lnTo>
                <a:lnTo>
                  <a:pt x="140" y="151"/>
                </a:lnTo>
                <a:lnTo>
                  <a:pt x="146" y="141"/>
                </a:lnTo>
                <a:lnTo>
                  <a:pt x="131" y="112"/>
                </a:lnTo>
                <a:lnTo>
                  <a:pt x="92" y="100"/>
                </a:lnTo>
                <a:lnTo>
                  <a:pt x="110" y="77"/>
                </a:lnTo>
                <a:lnTo>
                  <a:pt x="103" y="36"/>
                </a:lnTo>
                <a:lnTo>
                  <a:pt x="73" y="45"/>
                </a:lnTo>
                <a:lnTo>
                  <a:pt x="63" y="0"/>
                </a:lnTo>
                <a:close/>
              </a:path>
            </a:pathLst>
          </a:custGeom>
          <a:solidFill>
            <a:schemeClr val="accent3"/>
          </a:solidFill>
          <a:ln w="12700">
            <a:solidFill>
              <a:schemeClr val="bg1"/>
            </a:solidFill>
            <a:round/>
            <a:headEnd/>
            <a:tailEnd/>
          </a:ln>
        </p:spPr>
        <p:txBody>
          <a:bodyPr/>
          <a:lstStyle/>
          <a:p>
            <a:pPr>
              <a:defRPr/>
            </a:pPr>
            <a:endParaRPr lang="nl-NL"/>
          </a:p>
        </p:txBody>
      </p:sp>
      <p:sp>
        <p:nvSpPr>
          <p:cNvPr id="272" name="Freeform 71"/>
          <p:cNvSpPr>
            <a:spLocks/>
          </p:cNvSpPr>
          <p:nvPr/>
        </p:nvSpPr>
        <p:spPr bwMode="auto">
          <a:xfrm>
            <a:off x="4960172" y="5049433"/>
            <a:ext cx="213843" cy="182136"/>
          </a:xfrm>
          <a:custGeom>
            <a:avLst/>
            <a:gdLst>
              <a:gd name="T0" fmla="*/ 96 w 138"/>
              <a:gd name="T1" fmla="*/ 0 h 114"/>
              <a:gd name="T2" fmla="*/ 59 w 138"/>
              <a:gd name="T3" fmla="*/ 54 h 114"/>
              <a:gd name="T4" fmla="*/ 0 w 138"/>
              <a:gd name="T5" fmla="*/ 97 h 114"/>
              <a:gd name="T6" fmla="*/ 98 w 138"/>
              <a:gd name="T7" fmla="*/ 114 h 114"/>
              <a:gd name="T8" fmla="*/ 130 w 138"/>
              <a:gd name="T9" fmla="*/ 103 h 114"/>
              <a:gd name="T10" fmla="*/ 138 w 138"/>
              <a:gd name="T11" fmla="*/ 19 h 114"/>
              <a:gd name="T12" fmla="*/ 96 w 138"/>
              <a:gd name="T13" fmla="*/ 0 h 114"/>
              <a:gd name="T14" fmla="*/ 96 w 138"/>
              <a:gd name="T15" fmla="*/ 0 h 114"/>
              <a:gd name="T16" fmla="*/ 96 w 138"/>
              <a:gd name="T17" fmla="*/ 0 h 1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8"/>
              <a:gd name="T28" fmla="*/ 0 h 114"/>
              <a:gd name="T29" fmla="*/ 138 w 138"/>
              <a:gd name="T30" fmla="*/ 114 h 1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8" h="114">
                <a:moveTo>
                  <a:pt x="96" y="0"/>
                </a:moveTo>
                <a:lnTo>
                  <a:pt x="59" y="54"/>
                </a:lnTo>
                <a:lnTo>
                  <a:pt x="0" y="97"/>
                </a:lnTo>
                <a:lnTo>
                  <a:pt x="98" y="114"/>
                </a:lnTo>
                <a:lnTo>
                  <a:pt x="130" y="103"/>
                </a:lnTo>
                <a:lnTo>
                  <a:pt x="138" y="19"/>
                </a:lnTo>
                <a:lnTo>
                  <a:pt x="96" y="0"/>
                </a:lnTo>
                <a:close/>
              </a:path>
            </a:pathLst>
          </a:custGeom>
          <a:solidFill>
            <a:schemeClr val="accent3"/>
          </a:solidFill>
          <a:ln w="12700">
            <a:solidFill>
              <a:schemeClr val="bg1"/>
            </a:solidFill>
            <a:round/>
            <a:headEnd/>
            <a:tailEnd/>
          </a:ln>
        </p:spPr>
        <p:txBody>
          <a:bodyPr/>
          <a:lstStyle/>
          <a:p>
            <a:pPr>
              <a:defRPr/>
            </a:pPr>
            <a:endParaRPr lang="nl-NL"/>
          </a:p>
        </p:txBody>
      </p:sp>
      <p:sp>
        <p:nvSpPr>
          <p:cNvPr id="273" name="Freeform 72"/>
          <p:cNvSpPr>
            <a:spLocks/>
          </p:cNvSpPr>
          <p:nvPr/>
        </p:nvSpPr>
        <p:spPr bwMode="auto">
          <a:xfrm>
            <a:off x="5270090" y="4555750"/>
            <a:ext cx="204546" cy="335513"/>
          </a:xfrm>
          <a:custGeom>
            <a:avLst/>
            <a:gdLst>
              <a:gd name="T0" fmla="*/ 56 w 132"/>
              <a:gd name="T1" fmla="*/ 0 h 210"/>
              <a:gd name="T2" fmla="*/ 50 w 132"/>
              <a:gd name="T3" fmla="*/ 22 h 210"/>
              <a:gd name="T4" fmla="*/ 31 w 132"/>
              <a:gd name="T5" fmla="*/ 22 h 210"/>
              <a:gd name="T6" fmla="*/ 46 w 132"/>
              <a:gd name="T7" fmla="*/ 55 h 210"/>
              <a:gd name="T8" fmla="*/ 86 w 132"/>
              <a:gd name="T9" fmla="*/ 75 h 210"/>
              <a:gd name="T10" fmla="*/ 75 w 132"/>
              <a:gd name="T11" fmla="*/ 92 h 210"/>
              <a:gd name="T12" fmla="*/ 14 w 132"/>
              <a:gd name="T13" fmla="*/ 81 h 210"/>
              <a:gd name="T14" fmla="*/ 0 w 132"/>
              <a:gd name="T15" fmla="*/ 146 h 210"/>
              <a:gd name="T16" fmla="*/ 35 w 132"/>
              <a:gd name="T17" fmla="*/ 173 h 210"/>
              <a:gd name="T18" fmla="*/ 61 w 132"/>
              <a:gd name="T19" fmla="*/ 210 h 210"/>
              <a:gd name="T20" fmla="*/ 76 w 132"/>
              <a:gd name="T21" fmla="*/ 210 h 210"/>
              <a:gd name="T22" fmla="*/ 112 w 132"/>
              <a:gd name="T23" fmla="*/ 157 h 210"/>
              <a:gd name="T24" fmla="*/ 132 w 132"/>
              <a:gd name="T25" fmla="*/ 86 h 210"/>
              <a:gd name="T26" fmla="*/ 56 w 132"/>
              <a:gd name="T27" fmla="*/ 0 h 210"/>
              <a:gd name="T28" fmla="*/ 56 w 132"/>
              <a:gd name="T29" fmla="*/ 0 h 210"/>
              <a:gd name="T30" fmla="*/ 56 w 132"/>
              <a:gd name="T31" fmla="*/ 0 h 2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2"/>
              <a:gd name="T49" fmla="*/ 0 h 210"/>
              <a:gd name="T50" fmla="*/ 132 w 132"/>
              <a:gd name="T51" fmla="*/ 210 h 2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2" h="210">
                <a:moveTo>
                  <a:pt x="56" y="0"/>
                </a:moveTo>
                <a:lnTo>
                  <a:pt x="50" y="22"/>
                </a:lnTo>
                <a:lnTo>
                  <a:pt x="31" y="22"/>
                </a:lnTo>
                <a:lnTo>
                  <a:pt x="46" y="55"/>
                </a:lnTo>
                <a:lnTo>
                  <a:pt x="86" y="75"/>
                </a:lnTo>
                <a:lnTo>
                  <a:pt x="75" y="92"/>
                </a:lnTo>
                <a:lnTo>
                  <a:pt x="14" y="81"/>
                </a:lnTo>
                <a:lnTo>
                  <a:pt x="0" y="146"/>
                </a:lnTo>
                <a:lnTo>
                  <a:pt x="35" y="173"/>
                </a:lnTo>
                <a:lnTo>
                  <a:pt x="61" y="210"/>
                </a:lnTo>
                <a:lnTo>
                  <a:pt x="76" y="210"/>
                </a:lnTo>
                <a:lnTo>
                  <a:pt x="112" y="157"/>
                </a:lnTo>
                <a:lnTo>
                  <a:pt x="132" y="86"/>
                </a:lnTo>
                <a:lnTo>
                  <a:pt x="56" y="0"/>
                </a:lnTo>
                <a:close/>
              </a:path>
            </a:pathLst>
          </a:custGeom>
          <a:solidFill>
            <a:schemeClr val="accent3"/>
          </a:solidFill>
          <a:ln w="12700">
            <a:solidFill>
              <a:schemeClr val="bg1"/>
            </a:solidFill>
            <a:round/>
            <a:headEnd/>
            <a:tailEnd/>
          </a:ln>
        </p:spPr>
        <p:txBody>
          <a:bodyPr/>
          <a:lstStyle/>
          <a:p>
            <a:pPr>
              <a:defRPr/>
            </a:pPr>
            <a:endParaRPr lang="nl-NL"/>
          </a:p>
        </p:txBody>
      </p:sp>
      <p:sp>
        <p:nvSpPr>
          <p:cNvPr id="274" name="Freeform 73"/>
          <p:cNvSpPr>
            <a:spLocks/>
          </p:cNvSpPr>
          <p:nvPr/>
        </p:nvSpPr>
        <p:spPr bwMode="auto">
          <a:xfrm>
            <a:off x="5443643" y="4562140"/>
            <a:ext cx="263430" cy="314743"/>
          </a:xfrm>
          <a:custGeom>
            <a:avLst/>
            <a:gdLst>
              <a:gd name="T0" fmla="*/ 20 w 170"/>
              <a:gd name="T1" fmla="*/ 82 h 197"/>
              <a:gd name="T2" fmla="*/ 3 w 170"/>
              <a:gd name="T3" fmla="*/ 150 h 197"/>
              <a:gd name="T4" fmla="*/ 0 w 170"/>
              <a:gd name="T5" fmla="*/ 156 h 197"/>
              <a:gd name="T6" fmla="*/ 10 w 170"/>
              <a:gd name="T7" fmla="*/ 197 h 197"/>
              <a:gd name="T8" fmla="*/ 40 w 170"/>
              <a:gd name="T9" fmla="*/ 190 h 197"/>
              <a:gd name="T10" fmla="*/ 55 w 170"/>
              <a:gd name="T11" fmla="*/ 169 h 197"/>
              <a:gd name="T12" fmla="*/ 70 w 170"/>
              <a:gd name="T13" fmla="*/ 181 h 197"/>
              <a:gd name="T14" fmla="*/ 170 w 170"/>
              <a:gd name="T15" fmla="*/ 65 h 197"/>
              <a:gd name="T16" fmla="*/ 139 w 170"/>
              <a:gd name="T17" fmla="*/ 0 h 197"/>
              <a:gd name="T18" fmla="*/ 114 w 170"/>
              <a:gd name="T19" fmla="*/ 36 h 197"/>
              <a:gd name="T20" fmla="*/ 20 w 170"/>
              <a:gd name="T21" fmla="*/ 82 h 197"/>
              <a:gd name="T22" fmla="*/ 20 w 170"/>
              <a:gd name="T23" fmla="*/ 82 h 197"/>
              <a:gd name="T24" fmla="*/ 20 w 170"/>
              <a:gd name="T25" fmla="*/ 82 h 19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0"/>
              <a:gd name="T40" fmla="*/ 0 h 197"/>
              <a:gd name="T41" fmla="*/ 170 w 170"/>
              <a:gd name="T42" fmla="*/ 197 h 19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0" h="197">
                <a:moveTo>
                  <a:pt x="20" y="82"/>
                </a:moveTo>
                <a:lnTo>
                  <a:pt x="3" y="150"/>
                </a:lnTo>
                <a:lnTo>
                  <a:pt x="0" y="156"/>
                </a:lnTo>
                <a:lnTo>
                  <a:pt x="10" y="197"/>
                </a:lnTo>
                <a:lnTo>
                  <a:pt x="40" y="190"/>
                </a:lnTo>
                <a:lnTo>
                  <a:pt x="55" y="169"/>
                </a:lnTo>
                <a:lnTo>
                  <a:pt x="70" y="181"/>
                </a:lnTo>
                <a:lnTo>
                  <a:pt x="170" y="65"/>
                </a:lnTo>
                <a:lnTo>
                  <a:pt x="139" y="0"/>
                </a:lnTo>
                <a:lnTo>
                  <a:pt x="114" y="36"/>
                </a:lnTo>
                <a:lnTo>
                  <a:pt x="20" y="82"/>
                </a:lnTo>
                <a:close/>
              </a:path>
            </a:pathLst>
          </a:custGeom>
          <a:solidFill>
            <a:schemeClr val="accent3"/>
          </a:solidFill>
          <a:ln w="12700">
            <a:solidFill>
              <a:schemeClr val="bg1"/>
            </a:solidFill>
            <a:round/>
            <a:headEnd/>
            <a:tailEnd/>
          </a:ln>
        </p:spPr>
        <p:txBody>
          <a:bodyPr/>
          <a:lstStyle/>
          <a:p>
            <a:pPr>
              <a:defRPr/>
            </a:pPr>
            <a:endParaRPr lang="nl-NL"/>
          </a:p>
        </p:txBody>
      </p:sp>
      <p:sp>
        <p:nvSpPr>
          <p:cNvPr id="275" name="Freeform 74"/>
          <p:cNvSpPr>
            <a:spLocks/>
          </p:cNvSpPr>
          <p:nvPr/>
        </p:nvSpPr>
        <p:spPr bwMode="auto">
          <a:xfrm>
            <a:off x="5659036" y="4495038"/>
            <a:ext cx="282025" cy="348295"/>
          </a:xfrm>
          <a:custGeom>
            <a:avLst/>
            <a:gdLst>
              <a:gd name="T0" fmla="*/ 0 w 182"/>
              <a:gd name="T1" fmla="*/ 42 h 218"/>
              <a:gd name="T2" fmla="*/ 31 w 182"/>
              <a:gd name="T3" fmla="*/ 107 h 218"/>
              <a:gd name="T4" fmla="*/ 3 w 182"/>
              <a:gd name="T5" fmla="*/ 139 h 218"/>
              <a:gd name="T6" fmla="*/ 29 w 182"/>
              <a:gd name="T7" fmla="*/ 139 h 218"/>
              <a:gd name="T8" fmla="*/ 29 w 182"/>
              <a:gd name="T9" fmla="*/ 164 h 218"/>
              <a:gd name="T10" fmla="*/ 73 w 182"/>
              <a:gd name="T11" fmla="*/ 197 h 218"/>
              <a:gd name="T12" fmla="*/ 67 w 182"/>
              <a:gd name="T13" fmla="*/ 213 h 218"/>
              <a:gd name="T14" fmla="*/ 96 w 182"/>
              <a:gd name="T15" fmla="*/ 218 h 218"/>
              <a:gd name="T16" fmla="*/ 143 w 182"/>
              <a:gd name="T17" fmla="*/ 198 h 218"/>
              <a:gd name="T18" fmla="*/ 170 w 182"/>
              <a:gd name="T19" fmla="*/ 203 h 218"/>
              <a:gd name="T20" fmla="*/ 182 w 182"/>
              <a:gd name="T21" fmla="*/ 169 h 218"/>
              <a:gd name="T22" fmla="*/ 171 w 182"/>
              <a:gd name="T23" fmla="*/ 89 h 218"/>
              <a:gd name="T24" fmla="*/ 133 w 182"/>
              <a:gd name="T25" fmla="*/ 73 h 218"/>
              <a:gd name="T26" fmla="*/ 122 w 182"/>
              <a:gd name="T27" fmla="*/ 0 h 218"/>
              <a:gd name="T28" fmla="*/ 100 w 182"/>
              <a:gd name="T29" fmla="*/ 10 h 218"/>
              <a:gd name="T30" fmla="*/ 89 w 182"/>
              <a:gd name="T31" fmla="*/ 31 h 218"/>
              <a:gd name="T32" fmla="*/ 0 w 182"/>
              <a:gd name="T33" fmla="*/ 42 h 218"/>
              <a:gd name="T34" fmla="*/ 0 w 182"/>
              <a:gd name="T35" fmla="*/ 42 h 218"/>
              <a:gd name="T36" fmla="*/ 0 w 182"/>
              <a:gd name="T37" fmla="*/ 42 h 2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2"/>
              <a:gd name="T58" fmla="*/ 0 h 218"/>
              <a:gd name="T59" fmla="*/ 182 w 182"/>
              <a:gd name="T60" fmla="*/ 218 h 2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2" h="218">
                <a:moveTo>
                  <a:pt x="0" y="42"/>
                </a:moveTo>
                <a:lnTo>
                  <a:pt x="31" y="107"/>
                </a:lnTo>
                <a:lnTo>
                  <a:pt x="3" y="139"/>
                </a:lnTo>
                <a:lnTo>
                  <a:pt x="29" y="139"/>
                </a:lnTo>
                <a:lnTo>
                  <a:pt x="29" y="164"/>
                </a:lnTo>
                <a:lnTo>
                  <a:pt x="73" y="197"/>
                </a:lnTo>
                <a:lnTo>
                  <a:pt x="67" y="213"/>
                </a:lnTo>
                <a:lnTo>
                  <a:pt x="96" y="218"/>
                </a:lnTo>
                <a:lnTo>
                  <a:pt x="143" y="198"/>
                </a:lnTo>
                <a:lnTo>
                  <a:pt x="170" y="203"/>
                </a:lnTo>
                <a:lnTo>
                  <a:pt x="182" y="169"/>
                </a:lnTo>
                <a:lnTo>
                  <a:pt x="171" y="89"/>
                </a:lnTo>
                <a:lnTo>
                  <a:pt x="133" y="73"/>
                </a:lnTo>
                <a:lnTo>
                  <a:pt x="122" y="0"/>
                </a:lnTo>
                <a:lnTo>
                  <a:pt x="100" y="10"/>
                </a:lnTo>
                <a:lnTo>
                  <a:pt x="89" y="31"/>
                </a:lnTo>
                <a:lnTo>
                  <a:pt x="0" y="42"/>
                </a:lnTo>
                <a:close/>
              </a:path>
            </a:pathLst>
          </a:custGeom>
          <a:solidFill>
            <a:schemeClr val="accent3"/>
          </a:solidFill>
          <a:ln w="12700">
            <a:solidFill>
              <a:schemeClr val="bg1"/>
            </a:solidFill>
            <a:round/>
            <a:headEnd/>
            <a:tailEnd/>
          </a:ln>
        </p:spPr>
        <p:txBody>
          <a:bodyPr/>
          <a:lstStyle/>
          <a:p>
            <a:pPr>
              <a:defRPr/>
            </a:pPr>
            <a:endParaRPr lang="nl-NL"/>
          </a:p>
        </p:txBody>
      </p:sp>
      <p:sp>
        <p:nvSpPr>
          <p:cNvPr id="276" name="Freeform 75"/>
          <p:cNvSpPr>
            <a:spLocks/>
          </p:cNvSpPr>
          <p:nvPr/>
        </p:nvSpPr>
        <p:spPr bwMode="auto">
          <a:xfrm>
            <a:off x="5618747" y="4717115"/>
            <a:ext cx="153409" cy="233261"/>
          </a:xfrm>
          <a:custGeom>
            <a:avLst/>
            <a:gdLst>
              <a:gd name="T0" fmla="*/ 29 w 99"/>
              <a:gd name="T1" fmla="*/ 0 h 146"/>
              <a:gd name="T2" fmla="*/ 0 w 99"/>
              <a:gd name="T3" fmla="*/ 35 h 146"/>
              <a:gd name="T4" fmla="*/ 17 w 99"/>
              <a:gd name="T5" fmla="*/ 58 h 146"/>
              <a:gd name="T6" fmla="*/ 9 w 99"/>
              <a:gd name="T7" fmla="*/ 89 h 146"/>
              <a:gd name="T8" fmla="*/ 29 w 99"/>
              <a:gd name="T9" fmla="*/ 146 h 146"/>
              <a:gd name="T10" fmla="*/ 68 w 99"/>
              <a:gd name="T11" fmla="*/ 139 h 146"/>
              <a:gd name="T12" fmla="*/ 61 w 99"/>
              <a:gd name="T13" fmla="*/ 112 h 146"/>
              <a:gd name="T14" fmla="*/ 84 w 99"/>
              <a:gd name="T15" fmla="*/ 97 h 146"/>
              <a:gd name="T16" fmla="*/ 99 w 99"/>
              <a:gd name="T17" fmla="*/ 58 h 146"/>
              <a:gd name="T18" fmla="*/ 55 w 99"/>
              <a:gd name="T19" fmla="*/ 25 h 146"/>
              <a:gd name="T20" fmla="*/ 55 w 99"/>
              <a:gd name="T21" fmla="*/ 0 h 146"/>
              <a:gd name="T22" fmla="*/ 29 w 99"/>
              <a:gd name="T23" fmla="*/ 0 h 146"/>
              <a:gd name="T24" fmla="*/ 29 w 99"/>
              <a:gd name="T25" fmla="*/ 0 h 146"/>
              <a:gd name="T26" fmla="*/ 29 w 99"/>
              <a:gd name="T27" fmla="*/ 0 h 1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9"/>
              <a:gd name="T43" fmla="*/ 0 h 146"/>
              <a:gd name="T44" fmla="*/ 99 w 99"/>
              <a:gd name="T45" fmla="*/ 146 h 1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9" h="146">
                <a:moveTo>
                  <a:pt x="29" y="0"/>
                </a:moveTo>
                <a:lnTo>
                  <a:pt x="0" y="35"/>
                </a:lnTo>
                <a:lnTo>
                  <a:pt x="17" y="58"/>
                </a:lnTo>
                <a:lnTo>
                  <a:pt x="9" y="89"/>
                </a:lnTo>
                <a:lnTo>
                  <a:pt x="29" y="146"/>
                </a:lnTo>
                <a:lnTo>
                  <a:pt x="68" y="139"/>
                </a:lnTo>
                <a:lnTo>
                  <a:pt x="61" y="112"/>
                </a:lnTo>
                <a:lnTo>
                  <a:pt x="84" y="97"/>
                </a:lnTo>
                <a:lnTo>
                  <a:pt x="99" y="58"/>
                </a:lnTo>
                <a:lnTo>
                  <a:pt x="55" y="25"/>
                </a:lnTo>
                <a:lnTo>
                  <a:pt x="55" y="0"/>
                </a:lnTo>
                <a:lnTo>
                  <a:pt x="29" y="0"/>
                </a:lnTo>
                <a:close/>
              </a:path>
            </a:pathLst>
          </a:custGeom>
          <a:solidFill>
            <a:schemeClr val="accent3"/>
          </a:solidFill>
          <a:ln w="12700">
            <a:solidFill>
              <a:schemeClr val="bg1"/>
            </a:solidFill>
            <a:round/>
            <a:headEnd/>
            <a:tailEnd/>
          </a:ln>
        </p:spPr>
        <p:txBody>
          <a:bodyPr/>
          <a:lstStyle/>
          <a:p>
            <a:pPr>
              <a:defRPr/>
            </a:pPr>
            <a:endParaRPr lang="nl-NL"/>
          </a:p>
        </p:txBody>
      </p:sp>
      <p:sp>
        <p:nvSpPr>
          <p:cNvPr id="277" name="Freeform 76"/>
          <p:cNvSpPr>
            <a:spLocks/>
          </p:cNvSpPr>
          <p:nvPr/>
        </p:nvSpPr>
        <p:spPr bwMode="auto">
          <a:xfrm>
            <a:off x="5604801" y="4833746"/>
            <a:ext cx="271178" cy="206101"/>
          </a:xfrm>
          <a:custGeom>
            <a:avLst/>
            <a:gdLst>
              <a:gd name="T0" fmla="*/ 145 w 175"/>
              <a:gd name="T1" fmla="*/ 0 h 129"/>
              <a:gd name="T2" fmla="*/ 175 w 175"/>
              <a:gd name="T3" fmla="*/ 52 h 129"/>
              <a:gd name="T4" fmla="*/ 139 w 175"/>
              <a:gd name="T5" fmla="*/ 72 h 129"/>
              <a:gd name="T6" fmla="*/ 139 w 175"/>
              <a:gd name="T7" fmla="*/ 107 h 129"/>
              <a:gd name="T8" fmla="*/ 64 w 175"/>
              <a:gd name="T9" fmla="*/ 129 h 129"/>
              <a:gd name="T10" fmla="*/ 44 w 175"/>
              <a:gd name="T11" fmla="*/ 123 h 129"/>
              <a:gd name="T12" fmla="*/ 35 w 175"/>
              <a:gd name="T13" fmla="*/ 96 h 129"/>
              <a:gd name="T14" fmla="*/ 19 w 175"/>
              <a:gd name="T15" fmla="*/ 96 h 129"/>
              <a:gd name="T16" fmla="*/ 0 w 175"/>
              <a:gd name="T17" fmla="*/ 70 h 129"/>
              <a:gd name="T18" fmla="*/ 38 w 175"/>
              <a:gd name="T19" fmla="*/ 73 h 129"/>
              <a:gd name="T20" fmla="*/ 77 w 175"/>
              <a:gd name="T21" fmla="*/ 66 h 129"/>
              <a:gd name="T22" fmla="*/ 70 w 175"/>
              <a:gd name="T23" fmla="*/ 39 h 129"/>
              <a:gd name="T24" fmla="*/ 93 w 175"/>
              <a:gd name="T25" fmla="*/ 24 h 129"/>
              <a:gd name="T26" fmla="*/ 102 w 175"/>
              <a:gd name="T27" fmla="*/ 1 h 129"/>
              <a:gd name="T28" fmla="*/ 131 w 175"/>
              <a:gd name="T29" fmla="*/ 6 h 129"/>
              <a:gd name="T30" fmla="*/ 145 w 175"/>
              <a:gd name="T31" fmla="*/ 0 h 129"/>
              <a:gd name="T32" fmla="*/ 145 w 175"/>
              <a:gd name="T33" fmla="*/ 0 h 129"/>
              <a:gd name="T34" fmla="*/ 145 w 175"/>
              <a:gd name="T35" fmla="*/ 0 h 1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5"/>
              <a:gd name="T55" fmla="*/ 0 h 129"/>
              <a:gd name="T56" fmla="*/ 175 w 175"/>
              <a:gd name="T57" fmla="*/ 129 h 1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5" h="129">
                <a:moveTo>
                  <a:pt x="145" y="0"/>
                </a:moveTo>
                <a:lnTo>
                  <a:pt x="175" y="52"/>
                </a:lnTo>
                <a:lnTo>
                  <a:pt x="139" y="72"/>
                </a:lnTo>
                <a:lnTo>
                  <a:pt x="139" y="107"/>
                </a:lnTo>
                <a:lnTo>
                  <a:pt x="64" y="129"/>
                </a:lnTo>
                <a:lnTo>
                  <a:pt x="44" y="123"/>
                </a:lnTo>
                <a:lnTo>
                  <a:pt x="35" y="96"/>
                </a:lnTo>
                <a:lnTo>
                  <a:pt x="19" y="96"/>
                </a:lnTo>
                <a:lnTo>
                  <a:pt x="0" y="70"/>
                </a:lnTo>
                <a:lnTo>
                  <a:pt x="38" y="73"/>
                </a:lnTo>
                <a:lnTo>
                  <a:pt x="77" y="66"/>
                </a:lnTo>
                <a:lnTo>
                  <a:pt x="70" y="39"/>
                </a:lnTo>
                <a:lnTo>
                  <a:pt x="93" y="24"/>
                </a:lnTo>
                <a:lnTo>
                  <a:pt x="102" y="1"/>
                </a:lnTo>
                <a:lnTo>
                  <a:pt x="131" y="6"/>
                </a:lnTo>
                <a:lnTo>
                  <a:pt x="145" y="0"/>
                </a:lnTo>
                <a:close/>
              </a:path>
            </a:pathLst>
          </a:custGeom>
          <a:solidFill>
            <a:schemeClr val="accent3"/>
          </a:solidFill>
          <a:ln w="12700">
            <a:solidFill>
              <a:schemeClr val="bg1"/>
            </a:solidFill>
            <a:round/>
            <a:headEnd/>
            <a:tailEnd/>
          </a:ln>
        </p:spPr>
        <p:txBody>
          <a:bodyPr/>
          <a:lstStyle/>
          <a:p>
            <a:pPr>
              <a:defRPr/>
            </a:pPr>
            <a:endParaRPr lang="nl-NL"/>
          </a:p>
        </p:txBody>
      </p:sp>
      <p:sp>
        <p:nvSpPr>
          <p:cNvPr id="278" name="Freeform 77"/>
          <p:cNvSpPr>
            <a:spLocks/>
          </p:cNvSpPr>
          <p:nvPr/>
        </p:nvSpPr>
        <p:spPr bwMode="auto">
          <a:xfrm>
            <a:off x="5848086" y="4380005"/>
            <a:ext cx="426137" cy="282790"/>
          </a:xfrm>
          <a:custGeom>
            <a:avLst/>
            <a:gdLst>
              <a:gd name="T0" fmla="*/ 33 w 275"/>
              <a:gd name="T1" fmla="*/ 62 h 177"/>
              <a:gd name="T2" fmla="*/ 26 w 275"/>
              <a:gd name="T3" fmla="*/ 58 h 177"/>
              <a:gd name="T4" fmla="*/ 0 w 275"/>
              <a:gd name="T5" fmla="*/ 71 h 177"/>
              <a:gd name="T6" fmla="*/ 11 w 275"/>
              <a:gd name="T7" fmla="*/ 145 h 177"/>
              <a:gd name="T8" fmla="*/ 49 w 275"/>
              <a:gd name="T9" fmla="*/ 161 h 177"/>
              <a:gd name="T10" fmla="*/ 98 w 275"/>
              <a:gd name="T11" fmla="*/ 158 h 177"/>
              <a:gd name="T12" fmla="*/ 90 w 275"/>
              <a:gd name="T13" fmla="*/ 177 h 177"/>
              <a:gd name="T14" fmla="*/ 181 w 275"/>
              <a:gd name="T15" fmla="*/ 177 h 177"/>
              <a:gd name="T16" fmla="*/ 246 w 275"/>
              <a:gd name="T17" fmla="*/ 145 h 177"/>
              <a:gd name="T18" fmla="*/ 275 w 275"/>
              <a:gd name="T19" fmla="*/ 83 h 177"/>
              <a:gd name="T20" fmla="*/ 201 w 275"/>
              <a:gd name="T21" fmla="*/ 8 h 177"/>
              <a:gd name="T22" fmla="*/ 55 w 275"/>
              <a:gd name="T23" fmla="*/ 0 h 177"/>
              <a:gd name="T24" fmla="*/ 33 w 275"/>
              <a:gd name="T25" fmla="*/ 62 h 177"/>
              <a:gd name="T26" fmla="*/ 33 w 275"/>
              <a:gd name="T27" fmla="*/ 62 h 177"/>
              <a:gd name="T28" fmla="*/ 33 w 275"/>
              <a:gd name="T29" fmla="*/ 62 h 17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5"/>
              <a:gd name="T46" fmla="*/ 0 h 177"/>
              <a:gd name="T47" fmla="*/ 275 w 275"/>
              <a:gd name="T48" fmla="*/ 177 h 17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5" h="177">
                <a:moveTo>
                  <a:pt x="33" y="62"/>
                </a:moveTo>
                <a:lnTo>
                  <a:pt x="26" y="58"/>
                </a:lnTo>
                <a:lnTo>
                  <a:pt x="0" y="71"/>
                </a:lnTo>
                <a:lnTo>
                  <a:pt x="11" y="145"/>
                </a:lnTo>
                <a:lnTo>
                  <a:pt x="49" y="161"/>
                </a:lnTo>
                <a:lnTo>
                  <a:pt x="98" y="158"/>
                </a:lnTo>
                <a:lnTo>
                  <a:pt x="90" y="177"/>
                </a:lnTo>
                <a:lnTo>
                  <a:pt x="181" y="177"/>
                </a:lnTo>
                <a:lnTo>
                  <a:pt x="246" y="145"/>
                </a:lnTo>
                <a:lnTo>
                  <a:pt x="275" y="83"/>
                </a:lnTo>
                <a:lnTo>
                  <a:pt x="201" y="8"/>
                </a:lnTo>
                <a:lnTo>
                  <a:pt x="55" y="0"/>
                </a:lnTo>
                <a:lnTo>
                  <a:pt x="33" y="62"/>
                </a:lnTo>
                <a:close/>
              </a:path>
            </a:pathLst>
          </a:custGeom>
          <a:solidFill>
            <a:schemeClr val="accent3"/>
          </a:solidFill>
          <a:ln w="12700">
            <a:solidFill>
              <a:schemeClr val="bg1"/>
            </a:solidFill>
            <a:round/>
            <a:headEnd/>
            <a:tailEnd/>
          </a:ln>
        </p:spPr>
        <p:txBody>
          <a:bodyPr/>
          <a:lstStyle/>
          <a:p>
            <a:pPr>
              <a:defRPr/>
            </a:pPr>
            <a:endParaRPr lang="nl-NL"/>
          </a:p>
        </p:txBody>
      </p:sp>
      <p:sp>
        <p:nvSpPr>
          <p:cNvPr id="279" name="Freeform 78"/>
          <p:cNvSpPr>
            <a:spLocks/>
          </p:cNvSpPr>
          <p:nvPr/>
        </p:nvSpPr>
        <p:spPr bwMode="auto">
          <a:xfrm>
            <a:off x="5917817" y="4512612"/>
            <a:ext cx="357955" cy="351490"/>
          </a:xfrm>
          <a:custGeom>
            <a:avLst/>
            <a:gdLst>
              <a:gd name="T0" fmla="*/ 230 w 231"/>
              <a:gd name="T1" fmla="*/ 0 h 220"/>
              <a:gd name="T2" fmla="*/ 201 w 231"/>
              <a:gd name="T3" fmla="*/ 62 h 220"/>
              <a:gd name="T4" fmla="*/ 136 w 231"/>
              <a:gd name="T5" fmla="*/ 94 h 220"/>
              <a:gd name="T6" fmla="*/ 45 w 231"/>
              <a:gd name="T7" fmla="*/ 94 h 220"/>
              <a:gd name="T8" fmla="*/ 53 w 231"/>
              <a:gd name="T9" fmla="*/ 75 h 220"/>
              <a:gd name="T10" fmla="*/ 4 w 231"/>
              <a:gd name="T11" fmla="*/ 78 h 220"/>
              <a:gd name="T12" fmla="*/ 15 w 231"/>
              <a:gd name="T13" fmla="*/ 159 h 220"/>
              <a:gd name="T14" fmla="*/ 0 w 231"/>
              <a:gd name="T15" fmla="*/ 192 h 220"/>
              <a:gd name="T16" fmla="*/ 55 w 231"/>
              <a:gd name="T17" fmla="*/ 184 h 220"/>
              <a:gd name="T18" fmla="*/ 115 w 231"/>
              <a:gd name="T19" fmla="*/ 212 h 220"/>
              <a:gd name="T20" fmla="*/ 152 w 231"/>
              <a:gd name="T21" fmla="*/ 210 h 220"/>
              <a:gd name="T22" fmla="*/ 178 w 231"/>
              <a:gd name="T23" fmla="*/ 220 h 220"/>
              <a:gd name="T24" fmla="*/ 211 w 231"/>
              <a:gd name="T25" fmla="*/ 174 h 220"/>
              <a:gd name="T26" fmla="*/ 231 w 231"/>
              <a:gd name="T27" fmla="*/ 58 h 220"/>
              <a:gd name="T28" fmla="*/ 230 w 231"/>
              <a:gd name="T29" fmla="*/ 0 h 220"/>
              <a:gd name="T30" fmla="*/ 230 w 231"/>
              <a:gd name="T31" fmla="*/ 0 h 220"/>
              <a:gd name="T32" fmla="*/ 230 w 231"/>
              <a:gd name="T33" fmla="*/ 0 h 2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1"/>
              <a:gd name="T52" fmla="*/ 0 h 220"/>
              <a:gd name="T53" fmla="*/ 231 w 231"/>
              <a:gd name="T54" fmla="*/ 220 h 2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1" h="220">
                <a:moveTo>
                  <a:pt x="230" y="0"/>
                </a:moveTo>
                <a:lnTo>
                  <a:pt x="201" y="62"/>
                </a:lnTo>
                <a:lnTo>
                  <a:pt x="136" y="94"/>
                </a:lnTo>
                <a:lnTo>
                  <a:pt x="45" y="94"/>
                </a:lnTo>
                <a:lnTo>
                  <a:pt x="53" y="75"/>
                </a:lnTo>
                <a:lnTo>
                  <a:pt x="4" y="78"/>
                </a:lnTo>
                <a:lnTo>
                  <a:pt x="15" y="159"/>
                </a:lnTo>
                <a:lnTo>
                  <a:pt x="0" y="192"/>
                </a:lnTo>
                <a:lnTo>
                  <a:pt x="55" y="184"/>
                </a:lnTo>
                <a:lnTo>
                  <a:pt x="115" y="212"/>
                </a:lnTo>
                <a:lnTo>
                  <a:pt x="152" y="210"/>
                </a:lnTo>
                <a:lnTo>
                  <a:pt x="178" y="220"/>
                </a:lnTo>
                <a:lnTo>
                  <a:pt x="211" y="174"/>
                </a:lnTo>
                <a:lnTo>
                  <a:pt x="231" y="58"/>
                </a:lnTo>
                <a:lnTo>
                  <a:pt x="230" y="0"/>
                </a:lnTo>
                <a:close/>
              </a:path>
            </a:pathLst>
          </a:custGeom>
          <a:solidFill>
            <a:schemeClr val="accent3"/>
          </a:solidFill>
          <a:ln w="12700">
            <a:solidFill>
              <a:schemeClr val="bg1"/>
            </a:solidFill>
            <a:round/>
            <a:headEnd/>
            <a:tailEnd/>
          </a:ln>
        </p:spPr>
        <p:txBody>
          <a:bodyPr/>
          <a:lstStyle/>
          <a:p>
            <a:pPr>
              <a:defRPr/>
            </a:pPr>
            <a:endParaRPr lang="nl-NL"/>
          </a:p>
        </p:txBody>
      </p:sp>
      <p:sp>
        <p:nvSpPr>
          <p:cNvPr id="280" name="Freeform 79"/>
          <p:cNvSpPr>
            <a:spLocks/>
          </p:cNvSpPr>
          <p:nvPr/>
        </p:nvSpPr>
        <p:spPr bwMode="auto">
          <a:xfrm>
            <a:off x="5488582" y="4769839"/>
            <a:ext cx="193698" cy="345099"/>
          </a:xfrm>
          <a:custGeom>
            <a:avLst/>
            <a:gdLst>
              <a:gd name="T0" fmla="*/ 85 w 125"/>
              <a:gd name="T1" fmla="*/ 0 h 216"/>
              <a:gd name="T2" fmla="*/ 41 w 125"/>
              <a:gd name="T3" fmla="*/ 51 h 216"/>
              <a:gd name="T4" fmla="*/ 26 w 125"/>
              <a:gd name="T5" fmla="*/ 39 h 216"/>
              <a:gd name="T6" fmla="*/ 11 w 125"/>
              <a:gd name="T7" fmla="*/ 60 h 216"/>
              <a:gd name="T8" fmla="*/ 18 w 125"/>
              <a:gd name="T9" fmla="*/ 100 h 216"/>
              <a:gd name="T10" fmla="*/ 0 w 125"/>
              <a:gd name="T11" fmla="*/ 124 h 216"/>
              <a:gd name="T12" fmla="*/ 41 w 125"/>
              <a:gd name="T13" fmla="*/ 136 h 216"/>
              <a:gd name="T14" fmla="*/ 54 w 125"/>
              <a:gd name="T15" fmla="*/ 165 h 216"/>
              <a:gd name="T16" fmla="*/ 47 w 125"/>
              <a:gd name="T17" fmla="*/ 175 h 216"/>
              <a:gd name="T18" fmla="*/ 54 w 125"/>
              <a:gd name="T19" fmla="*/ 199 h 216"/>
              <a:gd name="T20" fmla="*/ 85 w 125"/>
              <a:gd name="T21" fmla="*/ 194 h 216"/>
              <a:gd name="T22" fmla="*/ 125 w 125"/>
              <a:gd name="T23" fmla="*/ 216 h 216"/>
              <a:gd name="T24" fmla="*/ 117 w 125"/>
              <a:gd name="T25" fmla="*/ 160 h 216"/>
              <a:gd name="T26" fmla="*/ 110 w 125"/>
              <a:gd name="T27" fmla="*/ 136 h 216"/>
              <a:gd name="T28" fmla="*/ 94 w 125"/>
              <a:gd name="T29" fmla="*/ 136 h 216"/>
              <a:gd name="T30" fmla="*/ 75 w 125"/>
              <a:gd name="T31" fmla="*/ 110 h 216"/>
              <a:gd name="T32" fmla="*/ 113 w 125"/>
              <a:gd name="T33" fmla="*/ 113 h 216"/>
              <a:gd name="T34" fmla="*/ 93 w 125"/>
              <a:gd name="T35" fmla="*/ 56 h 216"/>
              <a:gd name="T36" fmla="*/ 101 w 125"/>
              <a:gd name="T37" fmla="*/ 26 h 216"/>
              <a:gd name="T38" fmla="*/ 85 w 125"/>
              <a:gd name="T39" fmla="*/ 0 h 216"/>
              <a:gd name="T40" fmla="*/ 85 w 125"/>
              <a:gd name="T41" fmla="*/ 0 h 216"/>
              <a:gd name="T42" fmla="*/ 85 w 125"/>
              <a:gd name="T43" fmla="*/ 0 h 21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5"/>
              <a:gd name="T67" fmla="*/ 0 h 216"/>
              <a:gd name="T68" fmla="*/ 125 w 125"/>
              <a:gd name="T69" fmla="*/ 216 h 21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5" h="216">
                <a:moveTo>
                  <a:pt x="85" y="0"/>
                </a:moveTo>
                <a:lnTo>
                  <a:pt x="41" y="51"/>
                </a:lnTo>
                <a:lnTo>
                  <a:pt x="26" y="39"/>
                </a:lnTo>
                <a:lnTo>
                  <a:pt x="11" y="60"/>
                </a:lnTo>
                <a:lnTo>
                  <a:pt x="18" y="100"/>
                </a:lnTo>
                <a:lnTo>
                  <a:pt x="0" y="124"/>
                </a:lnTo>
                <a:lnTo>
                  <a:pt x="41" y="136"/>
                </a:lnTo>
                <a:lnTo>
                  <a:pt x="54" y="165"/>
                </a:lnTo>
                <a:lnTo>
                  <a:pt x="47" y="175"/>
                </a:lnTo>
                <a:lnTo>
                  <a:pt x="54" y="199"/>
                </a:lnTo>
                <a:lnTo>
                  <a:pt x="85" y="194"/>
                </a:lnTo>
                <a:lnTo>
                  <a:pt x="125" y="216"/>
                </a:lnTo>
                <a:lnTo>
                  <a:pt x="117" y="160"/>
                </a:lnTo>
                <a:lnTo>
                  <a:pt x="110" y="136"/>
                </a:lnTo>
                <a:lnTo>
                  <a:pt x="94" y="136"/>
                </a:lnTo>
                <a:lnTo>
                  <a:pt x="75" y="110"/>
                </a:lnTo>
                <a:lnTo>
                  <a:pt x="113" y="113"/>
                </a:lnTo>
                <a:lnTo>
                  <a:pt x="93" y="56"/>
                </a:lnTo>
                <a:lnTo>
                  <a:pt x="101" y="26"/>
                </a:lnTo>
                <a:lnTo>
                  <a:pt x="85" y="0"/>
                </a:lnTo>
                <a:close/>
              </a:path>
            </a:pathLst>
          </a:custGeom>
          <a:solidFill>
            <a:schemeClr val="accent3"/>
          </a:solidFill>
          <a:ln w="12700">
            <a:solidFill>
              <a:schemeClr val="bg1"/>
            </a:solidFill>
            <a:round/>
            <a:headEnd/>
            <a:tailEnd/>
          </a:ln>
        </p:spPr>
        <p:txBody>
          <a:bodyPr/>
          <a:lstStyle/>
          <a:p>
            <a:pPr>
              <a:defRPr/>
            </a:pPr>
            <a:endParaRPr lang="nl-NL"/>
          </a:p>
        </p:txBody>
      </p:sp>
      <p:sp>
        <p:nvSpPr>
          <p:cNvPr id="281" name="Freeform 80"/>
          <p:cNvSpPr>
            <a:spLocks/>
          </p:cNvSpPr>
          <p:nvPr/>
        </p:nvSpPr>
        <p:spPr bwMode="auto">
          <a:xfrm>
            <a:off x="5669883" y="5004698"/>
            <a:ext cx="263430" cy="207699"/>
          </a:xfrm>
          <a:custGeom>
            <a:avLst/>
            <a:gdLst>
              <a:gd name="T0" fmla="*/ 8 w 170"/>
              <a:gd name="T1" fmla="*/ 70 h 130"/>
              <a:gd name="T2" fmla="*/ 51 w 170"/>
              <a:gd name="T3" fmla="*/ 110 h 130"/>
              <a:gd name="T4" fmla="*/ 79 w 170"/>
              <a:gd name="T5" fmla="*/ 106 h 130"/>
              <a:gd name="T6" fmla="*/ 80 w 170"/>
              <a:gd name="T7" fmla="*/ 130 h 130"/>
              <a:gd name="T8" fmla="*/ 102 w 170"/>
              <a:gd name="T9" fmla="*/ 118 h 130"/>
              <a:gd name="T10" fmla="*/ 120 w 170"/>
              <a:gd name="T11" fmla="*/ 122 h 130"/>
              <a:gd name="T12" fmla="*/ 132 w 170"/>
              <a:gd name="T13" fmla="*/ 118 h 130"/>
              <a:gd name="T14" fmla="*/ 151 w 170"/>
              <a:gd name="T15" fmla="*/ 67 h 130"/>
              <a:gd name="T16" fmla="*/ 170 w 170"/>
              <a:gd name="T17" fmla="*/ 33 h 130"/>
              <a:gd name="T18" fmla="*/ 151 w 170"/>
              <a:gd name="T19" fmla="*/ 13 h 130"/>
              <a:gd name="T20" fmla="*/ 117 w 170"/>
              <a:gd name="T21" fmla="*/ 23 h 130"/>
              <a:gd name="T22" fmla="*/ 97 w 170"/>
              <a:gd name="T23" fmla="*/ 0 h 130"/>
              <a:gd name="T24" fmla="*/ 22 w 170"/>
              <a:gd name="T25" fmla="*/ 22 h 130"/>
              <a:gd name="T26" fmla="*/ 0 w 170"/>
              <a:gd name="T27" fmla="*/ 16 h 130"/>
              <a:gd name="T28" fmla="*/ 8 w 170"/>
              <a:gd name="T29" fmla="*/ 70 h 130"/>
              <a:gd name="T30" fmla="*/ 8 w 170"/>
              <a:gd name="T31" fmla="*/ 70 h 130"/>
              <a:gd name="T32" fmla="*/ 8 w 170"/>
              <a:gd name="T33" fmla="*/ 70 h 1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0"/>
              <a:gd name="T52" fmla="*/ 0 h 130"/>
              <a:gd name="T53" fmla="*/ 170 w 170"/>
              <a:gd name="T54" fmla="*/ 130 h 1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0" h="130">
                <a:moveTo>
                  <a:pt x="8" y="70"/>
                </a:moveTo>
                <a:lnTo>
                  <a:pt x="51" y="110"/>
                </a:lnTo>
                <a:lnTo>
                  <a:pt x="79" y="106"/>
                </a:lnTo>
                <a:lnTo>
                  <a:pt x="80" y="130"/>
                </a:lnTo>
                <a:lnTo>
                  <a:pt x="102" y="118"/>
                </a:lnTo>
                <a:lnTo>
                  <a:pt x="120" y="122"/>
                </a:lnTo>
                <a:lnTo>
                  <a:pt x="132" y="118"/>
                </a:lnTo>
                <a:lnTo>
                  <a:pt x="151" y="67"/>
                </a:lnTo>
                <a:lnTo>
                  <a:pt x="170" y="33"/>
                </a:lnTo>
                <a:lnTo>
                  <a:pt x="151" y="13"/>
                </a:lnTo>
                <a:lnTo>
                  <a:pt x="117" y="23"/>
                </a:lnTo>
                <a:lnTo>
                  <a:pt x="97" y="0"/>
                </a:lnTo>
                <a:lnTo>
                  <a:pt x="22" y="22"/>
                </a:lnTo>
                <a:lnTo>
                  <a:pt x="0" y="16"/>
                </a:lnTo>
                <a:lnTo>
                  <a:pt x="8" y="70"/>
                </a:lnTo>
                <a:close/>
              </a:path>
            </a:pathLst>
          </a:custGeom>
          <a:solidFill>
            <a:schemeClr val="accent3"/>
          </a:solidFill>
          <a:ln w="12700">
            <a:solidFill>
              <a:schemeClr val="bg1"/>
            </a:solidFill>
            <a:round/>
            <a:headEnd/>
            <a:tailEnd/>
          </a:ln>
        </p:spPr>
        <p:txBody>
          <a:bodyPr/>
          <a:lstStyle/>
          <a:p>
            <a:pPr>
              <a:defRPr/>
            </a:pPr>
            <a:endParaRPr lang="nl-NL"/>
          </a:p>
        </p:txBody>
      </p:sp>
      <p:sp>
        <p:nvSpPr>
          <p:cNvPr id="282" name="Freeform 81"/>
          <p:cNvSpPr>
            <a:spLocks/>
          </p:cNvSpPr>
          <p:nvPr/>
        </p:nvSpPr>
        <p:spPr bwMode="auto">
          <a:xfrm>
            <a:off x="5851185" y="5094168"/>
            <a:ext cx="398244" cy="277997"/>
          </a:xfrm>
          <a:custGeom>
            <a:avLst/>
            <a:gdLst>
              <a:gd name="T0" fmla="*/ 257 w 257"/>
              <a:gd name="T1" fmla="*/ 18 h 174"/>
              <a:gd name="T2" fmla="*/ 145 w 257"/>
              <a:gd name="T3" fmla="*/ 32 h 174"/>
              <a:gd name="T4" fmla="*/ 84 w 257"/>
              <a:gd name="T5" fmla="*/ 18 h 174"/>
              <a:gd name="T6" fmla="*/ 114 w 257"/>
              <a:gd name="T7" fmla="*/ 2 h 174"/>
              <a:gd name="T8" fmla="*/ 57 w 257"/>
              <a:gd name="T9" fmla="*/ 0 h 174"/>
              <a:gd name="T10" fmla="*/ 34 w 257"/>
              <a:gd name="T11" fmla="*/ 9 h 174"/>
              <a:gd name="T12" fmla="*/ 15 w 257"/>
              <a:gd name="T13" fmla="*/ 62 h 174"/>
              <a:gd name="T14" fmla="*/ 0 w 257"/>
              <a:gd name="T15" fmla="*/ 68 h 174"/>
              <a:gd name="T16" fmla="*/ 4 w 257"/>
              <a:gd name="T17" fmla="*/ 104 h 174"/>
              <a:gd name="T18" fmla="*/ 48 w 257"/>
              <a:gd name="T19" fmla="*/ 111 h 174"/>
              <a:gd name="T20" fmla="*/ 101 w 257"/>
              <a:gd name="T21" fmla="*/ 142 h 174"/>
              <a:gd name="T22" fmla="*/ 139 w 257"/>
              <a:gd name="T23" fmla="*/ 141 h 174"/>
              <a:gd name="T24" fmla="*/ 139 w 257"/>
              <a:gd name="T25" fmla="*/ 161 h 174"/>
              <a:gd name="T26" fmla="*/ 176 w 257"/>
              <a:gd name="T27" fmla="*/ 174 h 174"/>
              <a:gd name="T28" fmla="*/ 176 w 257"/>
              <a:gd name="T29" fmla="*/ 126 h 174"/>
              <a:gd name="T30" fmla="*/ 242 w 257"/>
              <a:gd name="T31" fmla="*/ 89 h 174"/>
              <a:gd name="T32" fmla="*/ 257 w 257"/>
              <a:gd name="T33" fmla="*/ 18 h 174"/>
              <a:gd name="T34" fmla="*/ 257 w 257"/>
              <a:gd name="T35" fmla="*/ 18 h 174"/>
              <a:gd name="T36" fmla="*/ 257 w 257"/>
              <a:gd name="T37" fmla="*/ 18 h 17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7"/>
              <a:gd name="T58" fmla="*/ 0 h 174"/>
              <a:gd name="T59" fmla="*/ 257 w 257"/>
              <a:gd name="T60" fmla="*/ 174 h 17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7" h="174">
                <a:moveTo>
                  <a:pt x="257" y="18"/>
                </a:moveTo>
                <a:lnTo>
                  <a:pt x="145" y="32"/>
                </a:lnTo>
                <a:lnTo>
                  <a:pt x="84" y="18"/>
                </a:lnTo>
                <a:lnTo>
                  <a:pt x="114" y="2"/>
                </a:lnTo>
                <a:lnTo>
                  <a:pt x="57" y="0"/>
                </a:lnTo>
                <a:lnTo>
                  <a:pt x="34" y="9"/>
                </a:lnTo>
                <a:lnTo>
                  <a:pt x="15" y="62"/>
                </a:lnTo>
                <a:lnTo>
                  <a:pt x="0" y="68"/>
                </a:lnTo>
                <a:lnTo>
                  <a:pt x="4" y="104"/>
                </a:lnTo>
                <a:lnTo>
                  <a:pt x="48" y="111"/>
                </a:lnTo>
                <a:lnTo>
                  <a:pt x="101" y="142"/>
                </a:lnTo>
                <a:lnTo>
                  <a:pt x="139" y="141"/>
                </a:lnTo>
                <a:lnTo>
                  <a:pt x="139" y="161"/>
                </a:lnTo>
                <a:lnTo>
                  <a:pt x="176" y="174"/>
                </a:lnTo>
                <a:lnTo>
                  <a:pt x="176" y="126"/>
                </a:lnTo>
                <a:lnTo>
                  <a:pt x="242" y="89"/>
                </a:lnTo>
                <a:lnTo>
                  <a:pt x="257" y="18"/>
                </a:lnTo>
                <a:close/>
              </a:path>
            </a:pathLst>
          </a:custGeom>
          <a:solidFill>
            <a:schemeClr val="accent3"/>
          </a:solidFill>
          <a:ln w="12700">
            <a:solidFill>
              <a:schemeClr val="bg1"/>
            </a:solidFill>
            <a:round/>
            <a:headEnd/>
            <a:tailEnd/>
          </a:ln>
        </p:spPr>
        <p:txBody>
          <a:bodyPr/>
          <a:lstStyle/>
          <a:p>
            <a:pPr>
              <a:defRPr/>
            </a:pPr>
            <a:endParaRPr lang="nl-NL"/>
          </a:p>
        </p:txBody>
      </p:sp>
      <p:sp>
        <p:nvSpPr>
          <p:cNvPr id="283" name="Freeform 82"/>
          <p:cNvSpPr>
            <a:spLocks/>
          </p:cNvSpPr>
          <p:nvPr/>
        </p:nvSpPr>
        <p:spPr bwMode="auto">
          <a:xfrm>
            <a:off x="5769057" y="5260327"/>
            <a:ext cx="297521" cy="201308"/>
          </a:xfrm>
          <a:custGeom>
            <a:avLst/>
            <a:gdLst>
              <a:gd name="T0" fmla="*/ 57 w 192"/>
              <a:gd name="T1" fmla="*/ 0 h 126"/>
              <a:gd name="T2" fmla="*/ 34 w 192"/>
              <a:gd name="T3" fmla="*/ 16 h 126"/>
              <a:gd name="T4" fmla="*/ 31 w 192"/>
              <a:gd name="T5" fmla="*/ 59 h 126"/>
              <a:gd name="T6" fmla="*/ 5 w 192"/>
              <a:gd name="T7" fmla="*/ 89 h 126"/>
              <a:gd name="T8" fmla="*/ 0 w 192"/>
              <a:gd name="T9" fmla="*/ 124 h 126"/>
              <a:gd name="T10" fmla="*/ 90 w 192"/>
              <a:gd name="T11" fmla="*/ 126 h 126"/>
              <a:gd name="T12" fmla="*/ 190 w 192"/>
              <a:gd name="T13" fmla="*/ 55 h 126"/>
              <a:gd name="T14" fmla="*/ 192 w 192"/>
              <a:gd name="T15" fmla="*/ 57 h 126"/>
              <a:gd name="T16" fmla="*/ 192 w 192"/>
              <a:gd name="T17" fmla="*/ 37 h 126"/>
              <a:gd name="T18" fmla="*/ 154 w 192"/>
              <a:gd name="T19" fmla="*/ 38 h 126"/>
              <a:gd name="T20" fmla="*/ 104 w 192"/>
              <a:gd name="T21" fmla="*/ 7 h 126"/>
              <a:gd name="T22" fmla="*/ 57 w 192"/>
              <a:gd name="T23" fmla="*/ 0 h 126"/>
              <a:gd name="T24" fmla="*/ 57 w 192"/>
              <a:gd name="T25" fmla="*/ 0 h 126"/>
              <a:gd name="T26" fmla="*/ 57 w 192"/>
              <a:gd name="T27" fmla="*/ 0 h 1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2"/>
              <a:gd name="T43" fmla="*/ 0 h 126"/>
              <a:gd name="T44" fmla="*/ 192 w 192"/>
              <a:gd name="T45" fmla="*/ 126 h 1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2" h="126">
                <a:moveTo>
                  <a:pt x="57" y="0"/>
                </a:moveTo>
                <a:lnTo>
                  <a:pt x="34" y="16"/>
                </a:lnTo>
                <a:lnTo>
                  <a:pt x="31" y="59"/>
                </a:lnTo>
                <a:lnTo>
                  <a:pt x="5" y="89"/>
                </a:lnTo>
                <a:lnTo>
                  <a:pt x="0" y="124"/>
                </a:lnTo>
                <a:lnTo>
                  <a:pt x="90" y="126"/>
                </a:lnTo>
                <a:lnTo>
                  <a:pt x="190" y="55"/>
                </a:lnTo>
                <a:lnTo>
                  <a:pt x="192" y="57"/>
                </a:lnTo>
                <a:lnTo>
                  <a:pt x="192" y="37"/>
                </a:lnTo>
                <a:lnTo>
                  <a:pt x="154" y="38"/>
                </a:lnTo>
                <a:lnTo>
                  <a:pt x="104" y="7"/>
                </a:lnTo>
                <a:lnTo>
                  <a:pt x="57" y="0"/>
                </a:lnTo>
                <a:close/>
              </a:path>
            </a:pathLst>
          </a:custGeom>
          <a:solidFill>
            <a:schemeClr val="accent3"/>
          </a:solidFill>
          <a:ln w="12700">
            <a:solidFill>
              <a:schemeClr val="bg1"/>
            </a:solidFill>
            <a:round/>
            <a:headEnd/>
            <a:tailEnd/>
          </a:ln>
        </p:spPr>
        <p:txBody>
          <a:bodyPr/>
          <a:lstStyle/>
          <a:p>
            <a:pPr>
              <a:defRPr/>
            </a:pPr>
            <a:endParaRPr lang="nl-NL"/>
          </a:p>
        </p:txBody>
      </p:sp>
      <p:sp>
        <p:nvSpPr>
          <p:cNvPr id="284" name="Freeform 83"/>
          <p:cNvSpPr>
            <a:spLocks/>
          </p:cNvSpPr>
          <p:nvPr/>
        </p:nvSpPr>
        <p:spPr bwMode="auto">
          <a:xfrm>
            <a:off x="5601701" y="5114938"/>
            <a:ext cx="255682" cy="190124"/>
          </a:xfrm>
          <a:custGeom>
            <a:avLst/>
            <a:gdLst>
              <a:gd name="T0" fmla="*/ 52 w 165"/>
              <a:gd name="T1" fmla="*/ 0 h 119"/>
              <a:gd name="T2" fmla="*/ 10 w 165"/>
              <a:gd name="T3" fmla="*/ 44 h 119"/>
              <a:gd name="T4" fmla="*/ 12 w 165"/>
              <a:gd name="T5" fmla="*/ 68 h 119"/>
              <a:gd name="T6" fmla="*/ 1 w 165"/>
              <a:gd name="T7" fmla="*/ 68 h 119"/>
              <a:gd name="T8" fmla="*/ 0 w 165"/>
              <a:gd name="T9" fmla="*/ 92 h 119"/>
              <a:gd name="T10" fmla="*/ 15 w 165"/>
              <a:gd name="T11" fmla="*/ 119 h 119"/>
              <a:gd name="T12" fmla="*/ 61 w 165"/>
              <a:gd name="T13" fmla="*/ 119 h 119"/>
              <a:gd name="T14" fmla="*/ 103 w 165"/>
              <a:gd name="T15" fmla="*/ 84 h 119"/>
              <a:gd name="T16" fmla="*/ 144 w 165"/>
              <a:gd name="T17" fmla="*/ 104 h 119"/>
              <a:gd name="T18" fmla="*/ 165 w 165"/>
              <a:gd name="T19" fmla="*/ 92 h 119"/>
              <a:gd name="T20" fmla="*/ 161 w 165"/>
              <a:gd name="T21" fmla="*/ 53 h 119"/>
              <a:gd name="T22" fmla="*/ 146 w 165"/>
              <a:gd name="T23" fmla="*/ 49 h 119"/>
              <a:gd name="T24" fmla="*/ 124 w 165"/>
              <a:gd name="T25" fmla="*/ 60 h 119"/>
              <a:gd name="T26" fmla="*/ 124 w 165"/>
              <a:gd name="T27" fmla="*/ 37 h 119"/>
              <a:gd name="T28" fmla="*/ 95 w 165"/>
              <a:gd name="T29" fmla="*/ 41 h 119"/>
              <a:gd name="T30" fmla="*/ 52 w 165"/>
              <a:gd name="T31" fmla="*/ 0 h 119"/>
              <a:gd name="T32" fmla="*/ 52 w 165"/>
              <a:gd name="T33" fmla="*/ 0 h 119"/>
              <a:gd name="T34" fmla="*/ 52 w 165"/>
              <a:gd name="T35" fmla="*/ 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5"/>
              <a:gd name="T55" fmla="*/ 0 h 119"/>
              <a:gd name="T56" fmla="*/ 165 w 165"/>
              <a:gd name="T57" fmla="*/ 119 h 1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5" h="119">
                <a:moveTo>
                  <a:pt x="52" y="0"/>
                </a:moveTo>
                <a:lnTo>
                  <a:pt x="10" y="44"/>
                </a:lnTo>
                <a:lnTo>
                  <a:pt x="12" y="68"/>
                </a:lnTo>
                <a:lnTo>
                  <a:pt x="1" y="68"/>
                </a:lnTo>
                <a:lnTo>
                  <a:pt x="0" y="92"/>
                </a:lnTo>
                <a:lnTo>
                  <a:pt x="15" y="119"/>
                </a:lnTo>
                <a:lnTo>
                  <a:pt x="61" y="119"/>
                </a:lnTo>
                <a:lnTo>
                  <a:pt x="103" y="84"/>
                </a:lnTo>
                <a:lnTo>
                  <a:pt x="144" y="104"/>
                </a:lnTo>
                <a:lnTo>
                  <a:pt x="165" y="92"/>
                </a:lnTo>
                <a:lnTo>
                  <a:pt x="161" y="53"/>
                </a:lnTo>
                <a:lnTo>
                  <a:pt x="146" y="49"/>
                </a:lnTo>
                <a:lnTo>
                  <a:pt x="124" y="60"/>
                </a:lnTo>
                <a:lnTo>
                  <a:pt x="124" y="37"/>
                </a:lnTo>
                <a:lnTo>
                  <a:pt x="95" y="41"/>
                </a:lnTo>
                <a:lnTo>
                  <a:pt x="52" y="0"/>
                </a:lnTo>
                <a:close/>
              </a:path>
            </a:pathLst>
          </a:custGeom>
          <a:solidFill>
            <a:schemeClr val="accent3"/>
          </a:solidFill>
          <a:ln w="12700">
            <a:solidFill>
              <a:schemeClr val="bg1"/>
            </a:solidFill>
            <a:round/>
            <a:headEnd/>
            <a:tailEnd/>
          </a:ln>
        </p:spPr>
        <p:txBody>
          <a:bodyPr/>
          <a:lstStyle/>
          <a:p>
            <a:pPr>
              <a:defRPr/>
            </a:pPr>
            <a:endParaRPr lang="nl-NL"/>
          </a:p>
        </p:txBody>
      </p:sp>
      <p:sp>
        <p:nvSpPr>
          <p:cNvPr id="285" name="Freeform 84"/>
          <p:cNvSpPr>
            <a:spLocks/>
          </p:cNvSpPr>
          <p:nvPr/>
        </p:nvSpPr>
        <p:spPr bwMode="auto">
          <a:xfrm>
            <a:off x="5586206" y="5249143"/>
            <a:ext cx="238636" cy="209296"/>
          </a:xfrm>
          <a:custGeom>
            <a:avLst/>
            <a:gdLst>
              <a:gd name="T0" fmla="*/ 25 w 154"/>
              <a:gd name="T1" fmla="*/ 35 h 131"/>
              <a:gd name="T2" fmla="*/ 5 w 154"/>
              <a:gd name="T3" fmla="*/ 55 h 131"/>
              <a:gd name="T4" fmla="*/ 0 w 154"/>
              <a:gd name="T5" fmla="*/ 124 h 131"/>
              <a:gd name="T6" fmla="*/ 12 w 154"/>
              <a:gd name="T7" fmla="*/ 116 h 131"/>
              <a:gd name="T8" fmla="*/ 41 w 154"/>
              <a:gd name="T9" fmla="*/ 131 h 131"/>
              <a:gd name="T10" fmla="*/ 118 w 154"/>
              <a:gd name="T11" fmla="*/ 131 h 131"/>
              <a:gd name="T12" fmla="*/ 124 w 154"/>
              <a:gd name="T13" fmla="*/ 96 h 131"/>
              <a:gd name="T14" fmla="*/ 150 w 154"/>
              <a:gd name="T15" fmla="*/ 66 h 131"/>
              <a:gd name="T16" fmla="*/ 154 w 154"/>
              <a:gd name="T17" fmla="*/ 19 h 131"/>
              <a:gd name="T18" fmla="*/ 113 w 154"/>
              <a:gd name="T19" fmla="*/ 0 h 131"/>
              <a:gd name="T20" fmla="*/ 71 w 154"/>
              <a:gd name="T21" fmla="*/ 35 h 131"/>
              <a:gd name="T22" fmla="*/ 25 w 154"/>
              <a:gd name="T23" fmla="*/ 35 h 131"/>
              <a:gd name="T24" fmla="*/ 25 w 154"/>
              <a:gd name="T25" fmla="*/ 35 h 131"/>
              <a:gd name="T26" fmla="*/ 25 w 154"/>
              <a:gd name="T27" fmla="*/ 35 h 1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4"/>
              <a:gd name="T43" fmla="*/ 0 h 131"/>
              <a:gd name="T44" fmla="*/ 154 w 154"/>
              <a:gd name="T45" fmla="*/ 131 h 13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4" h="131">
                <a:moveTo>
                  <a:pt x="25" y="35"/>
                </a:moveTo>
                <a:lnTo>
                  <a:pt x="5" y="55"/>
                </a:lnTo>
                <a:lnTo>
                  <a:pt x="0" y="124"/>
                </a:lnTo>
                <a:lnTo>
                  <a:pt x="12" y="116"/>
                </a:lnTo>
                <a:lnTo>
                  <a:pt x="41" y="131"/>
                </a:lnTo>
                <a:lnTo>
                  <a:pt x="118" y="131"/>
                </a:lnTo>
                <a:lnTo>
                  <a:pt x="124" y="96"/>
                </a:lnTo>
                <a:lnTo>
                  <a:pt x="150" y="66"/>
                </a:lnTo>
                <a:lnTo>
                  <a:pt x="154" y="19"/>
                </a:lnTo>
                <a:lnTo>
                  <a:pt x="113" y="0"/>
                </a:lnTo>
                <a:lnTo>
                  <a:pt x="71" y="35"/>
                </a:lnTo>
                <a:lnTo>
                  <a:pt x="25" y="35"/>
                </a:lnTo>
                <a:close/>
              </a:path>
            </a:pathLst>
          </a:custGeom>
          <a:solidFill>
            <a:schemeClr val="accent3"/>
          </a:solidFill>
          <a:ln w="12700">
            <a:solidFill>
              <a:schemeClr val="bg1"/>
            </a:solidFill>
            <a:round/>
            <a:headEnd/>
            <a:tailEnd/>
          </a:ln>
        </p:spPr>
        <p:txBody>
          <a:bodyPr/>
          <a:lstStyle/>
          <a:p>
            <a:pPr>
              <a:defRPr/>
            </a:pPr>
            <a:endParaRPr lang="nl-NL"/>
          </a:p>
        </p:txBody>
      </p:sp>
      <p:sp>
        <p:nvSpPr>
          <p:cNvPr id="286" name="Freeform 85"/>
          <p:cNvSpPr>
            <a:spLocks/>
          </p:cNvSpPr>
          <p:nvPr/>
        </p:nvSpPr>
        <p:spPr bwMode="auto">
          <a:xfrm>
            <a:off x="5387858" y="5078191"/>
            <a:ext cx="294422" cy="103849"/>
          </a:xfrm>
          <a:custGeom>
            <a:avLst/>
            <a:gdLst>
              <a:gd name="T0" fmla="*/ 0 w 190"/>
              <a:gd name="T1" fmla="*/ 24 h 65"/>
              <a:gd name="T2" fmla="*/ 16 w 190"/>
              <a:gd name="T3" fmla="*/ 65 h 65"/>
              <a:gd name="T4" fmla="*/ 148 w 190"/>
              <a:gd name="T5" fmla="*/ 65 h 65"/>
              <a:gd name="T6" fmla="*/ 190 w 190"/>
              <a:gd name="T7" fmla="*/ 23 h 65"/>
              <a:gd name="T8" fmla="*/ 150 w 190"/>
              <a:gd name="T9" fmla="*/ 0 h 65"/>
              <a:gd name="T10" fmla="*/ 120 w 190"/>
              <a:gd name="T11" fmla="*/ 6 h 65"/>
              <a:gd name="T12" fmla="*/ 124 w 190"/>
              <a:gd name="T13" fmla="*/ 19 h 65"/>
              <a:gd name="T14" fmla="*/ 101 w 190"/>
              <a:gd name="T15" fmla="*/ 31 h 65"/>
              <a:gd name="T16" fmla="*/ 53 w 190"/>
              <a:gd name="T17" fmla="*/ 12 h 65"/>
              <a:gd name="T18" fmla="*/ 0 w 190"/>
              <a:gd name="T19" fmla="*/ 24 h 65"/>
              <a:gd name="T20" fmla="*/ 16 w 190"/>
              <a:gd name="T21" fmla="*/ 65 h 65"/>
              <a:gd name="T22" fmla="*/ 0 w 190"/>
              <a:gd name="T23" fmla="*/ 24 h 65"/>
              <a:gd name="T24" fmla="*/ 0 w 190"/>
              <a:gd name="T25" fmla="*/ 24 h 65"/>
              <a:gd name="T26" fmla="*/ 0 w 190"/>
              <a:gd name="T27" fmla="*/ 24 h 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0"/>
              <a:gd name="T43" fmla="*/ 0 h 65"/>
              <a:gd name="T44" fmla="*/ 190 w 190"/>
              <a:gd name="T45" fmla="*/ 65 h 6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0" h="65">
                <a:moveTo>
                  <a:pt x="0" y="24"/>
                </a:moveTo>
                <a:lnTo>
                  <a:pt x="16" y="65"/>
                </a:lnTo>
                <a:lnTo>
                  <a:pt x="148" y="65"/>
                </a:lnTo>
                <a:lnTo>
                  <a:pt x="190" y="23"/>
                </a:lnTo>
                <a:lnTo>
                  <a:pt x="150" y="0"/>
                </a:lnTo>
                <a:lnTo>
                  <a:pt x="120" y="6"/>
                </a:lnTo>
                <a:lnTo>
                  <a:pt x="124" y="19"/>
                </a:lnTo>
                <a:lnTo>
                  <a:pt x="101" y="31"/>
                </a:lnTo>
                <a:lnTo>
                  <a:pt x="53" y="12"/>
                </a:lnTo>
                <a:lnTo>
                  <a:pt x="0" y="24"/>
                </a:lnTo>
                <a:lnTo>
                  <a:pt x="16" y="65"/>
                </a:lnTo>
                <a:lnTo>
                  <a:pt x="0" y="24"/>
                </a:lnTo>
                <a:close/>
              </a:path>
            </a:pathLst>
          </a:custGeom>
          <a:solidFill>
            <a:schemeClr val="accent3"/>
          </a:solidFill>
          <a:ln w="12700">
            <a:solidFill>
              <a:schemeClr val="bg1"/>
            </a:solidFill>
            <a:round/>
            <a:headEnd/>
            <a:tailEnd/>
          </a:ln>
        </p:spPr>
        <p:txBody>
          <a:bodyPr/>
          <a:lstStyle/>
          <a:p>
            <a:pPr>
              <a:defRPr/>
            </a:pPr>
            <a:endParaRPr lang="nl-NL"/>
          </a:p>
        </p:txBody>
      </p:sp>
      <p:sp>
        <p:nvSpPr>
          <p:cNvPr id="287" name="Freeform 86"/>
          <p:cNvSpPr>
            <a:spLocks/>
          </p:cNvSpPr>
          <p:nvPr/>
        </p:nvSpPr>
        <p:spPr bwMode="auto">
          <a:xfrm>
            <a:off x="5285586" y="5182041"/>
            <a:ext cx="340909" cy="309950"/>
          </a:xfrm>
          <a:custGeom>
            <a:avLst/>
            <a:gdLst>
              <a:gd name="T0" fmla="*/ 82 w 220"/>
              <a:gd name="T1" fmla="*/ 0 h 194"/>
              <a:gd name="T2" fmla="*/ 75 w 220"/>
              <a:gd name="T3" fmla="*/ 35 h 194"/>
              <a:gd name="T4" fmla="*/ 45 w 220"/>
              <a:gd name="T5" fmla="*/ 35 h 194"/>
              <a:gd name="T6" fmla="*/ 66 w 220"/>
              <a:gd name="T7" fmla="*/ 108 h 194"/>
              <a:gd name="T8" fmla="*/ 59 w 220"/>
              <a:gd name="T9" fmla="*/ 124 h 194"/>
              <a:gd name="T10" fmla="*/ 20 w 220"/>
              <a:gd name="T11" fmla="*/ 113 h 194"/>
              <a:gd name="T12" fmla="*/ 0 w 220"/>
              <a:gd name="T13" fmla="*/ 122 h 194"/>
              <a:gd name="T14" fmla="*/ 33 w 220"/>
              <a:gd name="T15" fmla="*/ 194 h 194"/>
              <a:gd name="T16" fmla="*/ 62 w 220"/>
              <a:gd name="T17" fmla="*/ 191 h 194"/>
              <a:gd name="T18" fmla="*/ 105 w 220"/>
              <a:gd name="T19" fmla="*/ 169 h 194"/>
              <a:gd name="T20" fmla="*/ 77 w 220"/>
              <a:gd name="T21" fmla="*/ 134 h 194"/>
              <a:gd name="T22" fmla="*/ 177 w 220"/>
              <a:gd name="T23" fmla="*/ 184 h 194"/>
              <a:gd name="T24" fmla="*/ 194 w 220"/>
              <a:gd name="T25" fmla="*/ 166 h 194"/>
              <a:gd name="T26" fmla="*/ 200 w 220"/>
              <a:gd name="T27" fmla="*/ 97 h 194"/>
              <a:gd name="T28" fmla="*/ 220 w 220"/>
              <a:gd name="T29" fmla="*/ 77 h 194"/>
              <a:gd name="T30" fmla="*/ 204 w 220"/>
              <a:gd name="T31" fmla="*/ 50 h 194"/>
              <a:gd name="T32" fmla="*/ 205 w 220"/>
              <a:gd name="T33" fmla="*/ 26 h 194"/>
              <a:gd name="T34" fmla="*/ 216 w 220"/>
              <a:gd name="T35" fmla="*/ 26 h 194"/>
              <a:gd name="T36" fmla="*/ 214 w 220"/>
              <a:gd name="T37" fmla="*/ 0 h 194"/>
              <a:gd name="T38" fmla="*/ 82 w 220"/>
              <a:gd name="T39" fmla="*/ 0 h 194"/>
              <a:gd name="T40" fmla="*/ 82 w 220"/>
              <a:gd name="T41" fmla="*/ 0 h 194"/>
              <a:gd name="T42" fmla="*/ 82 w 220"/>
              <a:gd name="T43" fmla="*/ 0 h 19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0"/>
              <a:gd name="T67" fmla="*/ 0 h 194"/>
              <a:gd name="T68" fmla="*/ 220 w 220"/>
              <a:gd name="T69" fmla="*/ 194 h 19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0" h="194">
                <a:moveTo>
                  <a:pt x="82" y="0"/>
                </a:moveTo>
                <a:lnTo>
                  <a:pt x="75" y="35"/>
                </a:lnTo>
                <a:lnTo>
                  <a:pt x="45" y="35"/>
                </a:lnTo>
                <a:lnTo>
                  <a:pt x="66" y="108"/>
                </a:lnTo>
                <a:lnTo>
                  <a:pt x="59" y="124"/>
                </a:lnTo>
                <a:lnTo>
                  <a:pt x="20" y="113"/>
                </a:lnTo>
                <a:lnTo>
                  <a:pt x="0" y="122"/>
                </a:lnTo>
                <a:lnTo>
                  <a:pt x="33" y="194"/>
                </a:lnTo>
                <a:lnTo>
                  <a:pt x="62" y="191"/>
                </a:lnTo>
                <a:lnTo>
                  <a:pt x="105" y="169"/>
                </a:lnTo>
                <a:lnTo>
                  <a:pt x="77" y="134"/>
                </a:lnTo>
                <a:lnTo>
                  <a:pt x="177" y="184"/>
                </a:lnTo>
                <a:lnTo>
                  <a:pt x="194" y="166"/>
                </a:lnTo>
                <a:lnTo>
                  <a:pt x="200" y="97"/>
                </a:lnTo>
                <a:lnTo>
                  <a:pt x="220" y="77"/>
                </a:lnTo>
                <a:lnTo>
                  <a:pt x="204" y="50"/>
                </a:lnTo>
                <a:lnTo>
                  <a:pt x="205" y="26"/>
                </a:lnTo>
                <a:lnTo>
                  <a:pt x="216" y="26"/>
                </a:lnTo>
                <a:lnTo>
                  <a:pt x="214" y="0"/>
                </a:lnTo>
                <a:lnTo>
                  <a:pt x="82" y="0"/>
                </a:lnTo>
                <a:close/>
              </a:path>
            </a:pathLst>
          </a:custGeom>
          <a:solidFill>
            <a:schemeClr val="accent3"/>
          </a:solidFill>
          <a:ln w="12700">
            <a:solidFill>
              <a:schemeClr val="bg1"/>
            </a:solidFill>
            <a:round/>
            <a:headEnd/>
            <a:tailEnd/>
          </a:ln>
        </p:spPr>
        <p:txBody>
          <a:bodyPr/>
          <a:lstStyle/>
          <a:p>
            <a:pPr>
              <a:defRPr/>
            </a:pPr>
            <a:endParaRPr lang="nl-NL"/>
          </a:p>
        </p:txBody>
      </p:sp>
      <p:sp>
        <p:nvSpPr>
          <p:cNvPr id="288" name="Freeform 87"/>
          <p:cNvSpPr>
            <a:spLocks/>
          </p:cNvSpPr>
          <p:nvPr/>
        </p:nvSpPr>
        <p:spPr bwMode="auto">
          <a:xfrm>
            <a:off x="5161619" y="5023870"/>
            <a:ext cx="251033" cy="356283"/>
          </a:xfrm>
          <a:custGeom>
            <a:avLst/>
            <a:gdLst>
              <a:gd name="T0" fmla="*/ 120 w 162"/>
              <a:gd name="T1" fmla="*/ 0 h 223"/>
              <a:gd name="T2" fmla="*/ 119 w 162"/>
              <a:gd name="T3" fmla="*/ 32 h 223"/>
              <a:gd name="T4" fmla="*/ 146 w 162"/>
              <a:gd name="T5" fmla="*/ 60 h 223"/>
              <a:gd name="T6" fmla="*/ 162 w 162"/>
              <a:gd name="T7" fmla="*/ 99 h 223"/>
              <a:gd name="T8" fmla="*/ 155 w 162"/>
              <a:gd name="T9" fmla="*/ 134 h 223"/>
              <a:gd name="T10" fmla="*/ 125 w 162"/>
              <a:gd name="T11" fmla="*/ 134 h 223"/>
              <a:gd name="T12" fmla="*/ 146 w 162"/>
              <a:gd name="T13" fmla="*/ 207 h 223"/>
              <a:gd name="T14" fmla="*/ 139 w 162"/>
              <a:gd name="T15" fmla="*/ 223 h 223"/>
              <a:gd name="T16" fmla="*/ 100 w 162"/>
              <a:gd name="T17" fmla="*/ 212 h 223"/>
              <a:gd name="T18" fmla="*/ 80 w 162"/>
              <a:gd name="T19" fmla="*/ 221 h 223"/>
              <a:gd name="T20" fmla="*/ 37 w 162"/>
              <a:gd name="T21" fmla="*/ 220 h 223"/>
              <a:gd name="T22" fmla="*/ 5 w 162"/>
              <a:gd name="T23" fmla="*/ 189 h 223"/>
              <a:gd name="T24" fmla="*/ 11 w 162"/>
              <a:gd name="T25" fmla="*/ 143 h 223"/>
              <a:gd name="T26" fmla="*/ 0 w 162"/>
              <a:gd name="T27" fmla="*/ 119 h 223"/>
              <a:gd name="T28" fmla="*/ 8 w 162"/>
              <a:gd name="T29" fmla="*/ 32 h 223"/>
              <a:gd name="T30" fmla="*/ 120 w 162"/>
              <a:gd name="T31" fmla="*/ 0 h 223"/>
              <a:gd name="T32" fmla="*/ 120 w 162"/>
              <a:gd name="T33" fmla="*/ 0 h 223"/>
              <a:gd name="T34" fmla="*/ 120 w 162"/>
              <a:gd name="T35" fmla="*/ 0 h 2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2"/>
              <a:gd name="T55" fmla="*/ 0 h 223"/>
              <a:gd name="T56" fmla="*/ 162 w 162"/>
              <a:gd name="T57" fmla="*/ 223 h 2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2" h="223">
                <a:moveTo>
                  <a:pt x="120" y="0"/>
                </a:moveTo>
                <a:lnTo>
                  <a:pt x="119" y="32"/>
                </a:lnTo>
                <a:lnTo>
                  <a:pt x="146" y="60"/>
                </a:lnTo>
                <a:lnTo>
                  <a:pt x="162" y="99"/>
                </a:lnTo>
                <a:lnTo>
                  <a:pt x="155" y="134"/>
                </a:lnTo>
                <a:lnTo>
                  <a:pt x="125" y="134"/>
                </a:lnTo>
                <a:lnTo>
                  <a:pt x="146" y="207"/>
                </a:lnTo>
                <a:lnTo>
                  <a:pt x="139" y="223"/>
                </a:lnTo>
                <a:lnTo>
                  <a:pt x="100" y="212"/>
                </a:lnTo>
                <a:lnTo>
                  <a:pt x="80" y="221"/>
                </a:lnTo>
                <a:lnTo>
                  <a:pt x="37" y="220"/>
                </a:lnTo>
                <a:lnTo>
                  <a:pt x="5" y="189"/>
                </a:lnTo>
                <a:lnTo>
                  <a:pt x="11" y="143"/>
                </a:lnTo>
                <a:lnTo>
                  <a:pt x="0" y="119"/>
                </a:lnTo>
                <a:lnTo>
                  <a:pt x="8" y="32"/>
                </a:lnTo>
                <a:lnTo>
                  <a:pt x="120" y="0"/>
                </a:lnTo>
                <a:close/>
              </a:path>
            </a:pathLst>
          </a:custGeom>
          <a:solidFill>
            <a:schemeClr val="accent3"/>
          </a:solidFill>
          <a:ln w="12700">
            <a:solidFill>
              <a:schemeClr val="bg1"/>
            </a:solidFill>
            <a:round/>
            <a:headEnd/>
            <a:tailEnd/>
          </a:ln>
        </p:spPr>
        <p:txBody>
          <a:bodyPr/>
          <a:lstStyle/>
          <a:p>
            <a:pPr>
              <a:defRPr/>
            </a:pPr>
            <a:endParaRPr lang="nl-NL"/>
          </a:p>
        </p:txBody>
      </p:sp>
      <p:sp>
        <p:nvSpPr>
          <p:cNvPr id="289" name="Freeform 88"/>
          <p:cNvSpPr>
            <a:spLocks/>
          </p:cNvSpPr>
          <p:nvPr/>
        </p:nvSpPr>
        <p:spPr bwMode="auto">
          <a:xfrm>
            <a:off x="4994263" y="5325832"/>
            <a:ext cx="342459" cy="265215"/>
          </a:xfrm>
          <a:custGeom>
            <a:avLst/>
            <a:gdLst>
              <a:gd name="T0" fmla="*/ 113 w 221"/>
              <a:gd name="T1" fmla="*/ 0 h 166"/>
              <a:gd name="T2" fmla="*/ 108 w 221"/>
              <a:gd name="T3" fmla="*/ 29 h 166"/>
              <a:gd name="T4" fmla="*/ 92 w 221"/>
              <a:gd name="T5" fmla="*/ 50 h 166"/>
              <a:gd name="T6" fmla="*/ 72 w 221"/>
              <a:gd name="T7" fmla="*/ 42 h 166"/>
              <a:gd name="T8" fmla="*/ 59 w 221"/>
              <a:gd name="T9" fmla="*/ 65 h 166"/>
              <a:gd name="T10" fmla="*/ 0 w 221"/>
              <a:gd name="T11" fmla="*/ 65 h 166"/>
              <a:gd name="T12" fmla="*/ 18 w 221"/>
              <a:gd name="T13" fmla="*/ 105 h 166"/>
              <a:gd name="T14" fmla="*/ 64 w 221"/>
              <a:gd name="T15" fmla="*/ 166 h 166"/>
              <a:gd name="T16" fmla="*/ 102 w 221"/>
              <a:gd name="T17" fmla="*/ 139 h 166"/>
              <a:gd name="T18" fmla="*/ 181 w 221"/>
              <a:gd name="T19" fmla="*/ 146 h 166"/>
              <a:gd name="T20" fmla="*/ 174 w 221"/>
              <a:gd name="T21" fmla="*/ 107 h 166"/>
              <a:gd name="T22" fmla="*/ 221 w 221"/>
              <a:gd name="T23" fmla="*/ 104 h 166"/>
              <a:gd name="T24" fmla="*/ 190 w 221"/>
              <a:gd name="T25" fmla="*/ 32 h 166"/>
              <a:gd name="T26" fmla="*/ 145 w 221"/>
              <a:gd name="T27" fmla="*/ 29 h 166"/>
              <a:gd name="T28" fmla="*/ 113 w 221"/>
              <a:gd name="T29" fmla="*/ 0 h 166"/>
              <a:gd name="T30" fmla="*/ 113 w 221"/>
              <a:gd name="T31" fmla="*/ 0 h 166"/>
              <a:gd name="T32" fmla="*/ 113 w 221"/>
              <a:gd name="T33" fmla="*/ 0 h 16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1"/>
              <a:gd name="T52" fmla="*/ 0 h 166"/>
              <a:gd name="T53" fmla="*/ 221 w 221"/>
              <a:gd name="T54" fmla="*/ 166 h 16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1" h="166">
                <a:moveTo>
                  <a:pt x="113" y="0"/>
                </a:moveTo>
                <a:lnTo>
                  <a:pt x="108" y="29"/>
                </a:lnTo>
                <a:lnTo>
                  <a:pt x="92" y="50"/>
                </a:lnTo>
                <a:lnTo>
                  <a:pt x="72" y="42"/>
                </a:lnTo>
                <a:lnTo>
                  <a:pt x="59" y="65"/>
                </a:lnTo>
                <a:lnTo>
                  <a:pt x="0" y="65"/>
                </a:lnTo>
                <a:lnTo>
                  <a:pt x="18" y="105"/>
                </a:lnTo>
                <a:lnTo>
                  <a:pt x="64" y="166"/>
                </a:lnTo>
                <a:lnTo>
                  <a:pt x="102" y="139"/>
                </a:lnTo>
                <a:lnTo>
                  <a:pt x="181" y="146"/>
                </a:lnTo>
                <a:lnTo>
                  <a:pt x="174" y="107"/>
                </a:lnTo>
                <a:lnTo>
                  <a:pt x="221" y="104"/>
                </a:lnTo>
                <a:lnTo>
                  <a:pt x="190" y="32"/>
                </a:lnTo>
                <a:lnTo>
                  <a:pt x="145" y="29"/>
                </a:lnTo>
                <a:lnTo>
                  <a:pt x="113" y="0"/>
                </a:lnTo>
                <a:close/>
              </a:path>
            </a:pathLst>
          </a:custGeom>
          <a:solidFill>
            <a:schemeClr val="accent3"/>
          </a:solidFill>
          <a:ln w="12700">
            <a:solidFill>
              <a:schemeClr val="bg1"/>
            </a:solidFill>
            <a:round/>
            <a:headEnd/>
            <a:tailEnd/>
          </a:ln>
        </p:spPr>
        <p:txBody>
          <a:bodyPr/>
          <a:lstStyle/>
          <a:p>
            <a:pPr>
              <a:defRPr/>
            </a:pPr>
            <a:endParaRPr lang="nl-NL"/>
          </a:p>
        </p:txBody>
      </p:sp>
      <p:sp>
        <p:nvSpPr>
          <p:cNvPr id="290" name="Freeform 89"/>
          <p:cNvSpPr>
            <a:spLocks/>
          </p:cNvSpPr>
          <p:nvPr/>
        </p:nvSpPr>
        <p:spPr bwMode="auto">
          <a:xfrm>
            <a:off x="4732383" y="5204408"/>
            <a:ext cx="446281" cy="225273"/>
          </a:xfrm>
          <a:custGeom>
            <a:avLst/>
            <a:gdLst>
              <a:gd name="T0" fmla="*/ 147 w 288"/>
              <a:gd name="T1" fmla="*/ 0 h 141"/>
              <a:gd name="T2" fmla="*/ 147 w 288"/>
              <a:gd name="T3" fmla="*/ 45 h 141"/>
              <a:gd name="T4" fmla="*/ 24 w 288"/>
              <a:gd name="T5" fmla="*/ 27 h 141"/>
              <a:gd name="T6" fmla="*/ 15 w 288"/>
              <a:gd name="T7" fmla="*/ 55 h 141"/>
              <a:gd name="T8" fmla="*/ 0 w 288"/>
              <a:gd name="T9" fmla="*/ 55 h 141"/>
              <a:gd name="T10" fmla="*/ 50 w 288"/>
              <a:gd name="T11" fmla="*/ 102 h 141"/>
              <a:gd name="T12" fmla="*/ 72 w 288"/>
              <a:gd name="T13" fmla="*/ 90 h 141"/>
              <a:gd name="T14" fmla="*/ 170 w 288"/>
              <a:gd name="T15" fmla="*/ 141 h 141"/>
              <a:gd name="T16" fmla="*/ 227 w 288"/>
              <a:gd name="T17" fmla="*/ 141 h 141"/>
              <a:gd name="T18" fmla="*/ 241 w 288"/>
              <a:gd name="T19" fmla="*/ 119 h 141"/>
              <a:gd name="T20" fmla="*/ 262 w 288"/>
              <a:gd name="T21" fmla="*/ 126 h 141"/>
              <a:gd name="T22" fmla="*/ 277 w 288"/>
              <a:gd name="T23" fmla="*/ 105 h 141"/>
              <a:gd name="T24" fmla="*/ 282 w 288"/>
              <a:gd name="T25" fmla="*/ 76 h 141"/>
              <a:gd name="T26" fmla="*/ 288 w 288"/>
              <a:gd name="T27" fmla="*/ 28 h 141"/>
              <a:gd name="T28" fmla="*/ 279 w 288"/>
              <a:gd name="T29" fmla="*/ 6 h 141"/>
              <a:gd name="T30" fmla="*/ 245 w 288"/>
              <a:gd name="T31" fmla="*/ 17 h 141"/>
              <a:gd name="T32" fmla="*/ 147 w 288"/>
              <a:gd name="T33" fmla="*/ 0 h 141"/>
              <a:gd name="T34" fmla="*/ 147 w 288"/>
              <a:gd name="T35" fmla="*/ 0 h 141"/>
              <a:gd name="T36" fmla="*/ 147 w 288"/>
              <a:gd name="T37" fmla="*/ 0 h 1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8"/>
              <a:gd name="T58" fmla="*/ 0 h 141"/>
              <a:gd name="T59" fmla="*/ 288 w 288"/>
              <a:gd name="T60" fmla="*/ 141 h 1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8" h="141">
                <a:moveTo>
                  <a:pt x="147" y="0"/>
                </a:moveTo>
                <a:lnTo>
                  <a:pt x="147" y="45"/>
                </a:lnTo>
                <a:lnTo>
                  <a:pt x="24" y="27"/>
                </a:lnTo>
                <a:lnTo>
                  <a:pt x="15" y="55"/>
                </a:lnTo>
                <a:lnTo>
                  <a:pt x="0" y="55"/>
                </a:lnTo>
                <a:lnTo>
                  <a:pt x="50" y="102"/>
                </a:lnTo>
                <a:lnTo>
                  <a:pt x="72" y="90"/>
                </a:lnTo>
                <a:lnTo>
                  <a:pt x="170" y="141"/>
                </a:lnTo>
                <a:lnTo>
                  <a:pt x="227" y="141"/>
                </a:lnTo>
                <a:lnTo>
                  <a:pt x="241" y="119"/>
                </a:lnTo>
                <a:lnTo>
                  <a:pt x="262" y="126"/>
                </a:lnTo>
                <a:lnTo>
                  <a:pt x="277" y="105"/>
                </a:lnTo>
                <a:lnTo>
                  <a:pt x="282" y="76"/>
                </a:lnTo>
                <a:lnTo>
                  <a:pt x="288" y="28"/>
                </a:lnTo>
                <a:lnTo>
                  <a:pt x="279" y="6"/>
                </a:lnTo>
                <a:lnTo>
                  <a:pt x="245" y="17"/>
                </a:lnTo>
                <a:lnTo>
                  <a:pt x="147" y="0"/>
                </a:lnTo>
                <a:close/>
              </a:path>
            </a:pathLst>
          </a:custGeom>
          <a:solidFill>
            <a:schemeClr val="accent3"/>
          </a:solidFill>
          <a:ln w="12700">
            <a:solidFill>
              <a:schemeClr val="bg1"/>
            </a:solidFill>
            <a:round/>
            <a:headEnd/>
            <a:tailEnd/>
          </a:ln>
        </p:spPr>
        <p:txBody>
          <a:bodyPr/>
          <a:lstStyle/>
          <a:p>
            <a:pPr>
              <a:defRPr/>
            </a:pPr>
            <a:endParaRPr lang="nl-NL"/>
          </a:p>
        </p:txBody>
      </p:sp>
      <p:sp>
        <p:nvSpPr>
          <p:cNvPr id="291" name="Freeform 90"/>
          <p:cNvSpPr>
            <a:spLocks/>
          </p:cNvSpPr>
          <p:nvPr/>
        </p:nvSpPr>
        <p:spPr bwMode="auto">
          <a:xfrm>
            <a:off x="4521639" y="5245948"/>
            <a:ext cx="500517" cy="492086"/>
          </a:xfrm>
          <a:custGeom>
            <a:avLst/>
            <a:gdLst>
              <a:gd name="T0" fmla="*/ 161 w 323"/>
              <a:gd name="T1" fmla="*/ 0 h 308"/>
              <a:gd name="T2" fmla="*/ 42 w 323"/>
              <a:gd name="T3" fmla="*/ 24 h 308"/>
              <a:gd name="T4" fmla="*/ 91 w 323"/>
              <a:gd name="T5" fmla="*/ 57 h 308"/>
              <a:gd name="T6" fmla="*/ 44 w 323"/>
              <a:gd name="T7" fmla="*/ 76 h 308"/>
              <a:gd name="T8" fmla="*/ 5 w 323"/>
              <a:gd name="T9" fmla="*/ 55 h 308"/>
              <a:gd name="T10" fmla="*/ 0 w 323"/>
              <a:gd name="T11" fmla="*/ 94 h 308"/>
              <a:gd name="T12" fmla="*/ 22 w 323"/>
              <a:gd name="T13" fmla="*/ 112 h 308"/>
              <a:gd name="T14" fmla="*/ 22 w 323"/>
              <a:gd name="T15" fmla="*/ 134 h 308"/>
              <a:gd name="T16" fmla="*/ 38 w 323"/>
              <a:gd name="T17" fmla="*/ 134 h 308"/>
              <a:gd name="T18" fmla="*/ 62 w 323"/>
              <a:gd name="T19" fmla="*/ 243 h 308"/>
              <a:gd name="T20" fmla="*/ 137 w 323"/>
              <a:gd name="T21" fmla="*/ 308 h 308"/>
              <a:gd name="T22" fmla="*/ 170 w 323"/>
              <a:gd name="T23" fmla="*/ 298 h 308"/>
              <a:gd name="T24" fmla="*/ 170 w 323"/>
              <a:gd name="T25" fmla="*/ 264 h 308"/>
              <a:gd name="T26" fmla="*/ 199 w 323"/>
              <a:gd name="T27" fmla="*/ 270 h 308"/>
              <a:gd name="T28" fmla="*/ 208 w 323"/>
              <a:gd name="T29" fmla="*/ 255 h 308"/>
              <a:gd name="T30" fmla="*/ 187 w 323"/>
              <a:gd name="T31" fmla="*/ 233 h 308"/>
              <a:gd name="T32" fmla="*/ 208 w 323"/>
              <a:gd name="T33" fmla="*/ 166 h 308"/>
              <a:gd name="T34" fmla="*/ 228 w 323"/>
              <a:gd name="T35" fmla="*/ 192 h 308"/>
              <a:gd name="T36" fmla="*/ 323 w 323"/>
              <a:gd name="T37" fmla="*/ 155 h 308"/>
              <a:gd name="T38" fmla="*/ 305 w 323"/>
              <a:gd name="T39" fmla="*/ 115 h 308"/>
              <a:gd name="T40" fmla="*/ 208 w 323"/>
              <a:gd name="T41" fmla="*/ 63 h 308"/>
              <a:gd name="T42" fmla="*/ 187 w 323"/>
              <a:gd name="T43" fmla="*/ 76 h 308"/>
              <a:gd name="T44" fmla="*/ 136 w 323"/>
              <a:gd name="T45" fmla="*/ 29 h 308"/>
              <a:gd name="T46" fmla="*/ 151 w 323"/>
              <a:gd name="T47" fmla="*/ 29 h 308"/>
              <a:gd name="T48" fmla="*/ 161 w 323"/>
              <a:gd name="T49" fmla="*/ 0 h 308"/>
              <a:gd name="T50" fmla="*/ 161 w 323"/>
              <a:gd name="T51" fmla="*/ 0 h 308"/>
              <a:gd name="T52" fmla="*/ 161 w 323"/>
              <a:gd name="T53" fmla="*/ 0 h 3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3"/>
              <a:gd name="T82" fmla="*/ 0 h 308"/>
              <a:gd name="T83" fmla="*/ 323 w 323"/>
              <a:gd name="T84" fmla="*/ 308 h 3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3" h="308">
                <a:moveTo>
                  <a:pt x="161" y="0"/>
                </a:moveTo>
                <a:lnTo>
                  <a:pt x="42" y="24"/>
                </a:lnTo>
                <a:lnTo>
                  <a:pt x="91" y="57"/>
                </a:lnTo>
                <a:lnTo>
                  <a:pt x="44" y="76"/>
                </a:lnTo>
                <a:lnTo>
                  <a:pt x="5" y="55"/>
                </a:lnTo>
                <a:lnTo>
                  <a:pt x="0" y="94"/>
                </a:lnTo>
                <a:lnTo>
                  <a:pt x="22" y="112"/>
                </a:lnTo>
                <a:lnTo>
                  <a:pt x="22" y="134"/>
                </a:lnTo>
                <a:lnTo>
                  <a:pt x="38" y="134"/>
                </a:lnTo>
                <a:lnTo>
                  <a:pt x="62" y="243"/>
                </a:lnTo>
                <a:lnTo>
                  <a:pt x="137" y="308"/>
                </a:lnTo>
                <a:lnTo>
                  <a:pt x="170" y="298"/>
                </a:lnTo>
                <a:lnTo>
                  <a:pt x="170" y="264"/>
                </a:lnTo>
                <a:lnTo>
                  <a:pt x="199" y="270"/>
                </a:lnTo>
                <a:lnTo>
                  <a:pt x="208" y="255"/>
                </a:lnTo>
                <a:lnTo>
                  <a:pt x="187" y="233"/>
                </a:lnTo>
                <a:lnTo>
                  <a:pt x="208" y="166"/>
                </a:lnTo>
                <a:lnTo>
                  <a:pt x="228" y="192"/>
                </a:lnTo>
                <a:lnTo>
                  <a:pt x="323" y="155"/>
                </a:lnTo>
                <a:lnTo>
                  <a:pt x="305" y="115"/>
                </a:lnTo>
                <a:lnTo>
                  <a:pt x="208" y="63"/>
                </a:lnTo>
                <a:lnTo>
                  <a:pt x="187" y="76"/>
                </a:lnTo>
                <a:lnTo>
                  <a:pt x="136" y="29"/>
                </a:lnTo>
                <a:lnTo>
                  <a:pt x="151" y="29"/>
                </a:lnTo>
                <a:lnTo>
                  <a:pt x="161" y="0"/>
                </a:lnTo>
                <a:close/>
              </a:path>
            </a:pathLst>
          </a:custGeom>
          <a:solidFill>
            <a:schemeClr val="accent3"/>
          </a:solidFill>
          <a:ln w="12700">
            <a:solidFill>
              <a:schemeClr val="bg1"/>
            </a:solidFill>
            <a:round/>
            <a:headEnd/>
            <a:tailEnd/>
          </a:ln>
        </p:spPr>
        <p:txBody>
          <a:bodyPr/>
          <a:lstStyle/>
          <a:p>
            <a:pPr>
              <a:defRPr/>
            </a:pPr>
            <a:endParaRPr lang="nl-NL"/>
          </a:p>
        </p:txBody>
      </p:sp>
      <p:sp>
        <p:nvSpPr>
          <p:cNvPr id="292" name="Freeform 91"/>
          <p:cNvSpPr>
            <a:spLocks/>
          </p:cNvSpPr>
          <p:nvPr/>
        </p:nvSpPr>
        <p:spPr bwMode="auto">
          <a:xfrm>
            <a:off x="4182279" y="5396130"/>
            <a:ext cx="440083" cy="461730"/>
          </a:xfrm>
          <a:custGeom>
            <a:avLst/>
            <a:gdLst>
              <a:gd name="T0" fmla="*/ 219 w 284"/>
              <a:gd name="T1" fmla="*/ 0 h 289"/>
              <a:gd name="T2" fmla="*/ 210 w 284"/>
              <a:gd name="T3" fmla="*/ 44 h 289"/>
              <a:gd name="T4" fmla="*/ 165 w 284"/>
              <a:gd name="T5" fmla="*/ 72 h 289"/>
              <a:gd name="T6" fmla="*/ 153 w 284"/>
              <a:gd name="T7" fmla="*/ 113 h 289"/>
              <a:gd name="T8" fmla="*/ 123 w 284"/>
              <a:gd name="T9" fmla="*/ 113 h 289"/>
              <a:gd name="T10" fmla="*/ 95 w 284"/>
              <a:gd name="T11" fmla="*/ 183 h 289"/>
              <a:gd name="T12" fmla="*/ 38 w 284"/>
              <a:gd name="T13" fmla="*/ 219 h 289"/>
              <a:gd name="T14" fmla="*/ 5 w 284"/>
              <a:gd name="T15" fmla="*/ 219 h 289"/>
              <a:gd name="T16" fmla="*/ 0 w 284"/>
              <a:gd name="T17" fmla="*/ 262 h 289"/>
              <a:gd name="T18" fmla="*/ 39 w 284"/>
              <a:gd name="T19" fmla="*/ 242 h 289"/>
              <a:gd name="T20" fmla="*/ 93 w 284"/>
              <a:gd name="T21" fmla="*/ 289 h 289"/>
              <a:gd name="T22" fmla="*/ 115 w 284"/>
              <a:gd name="T23" fmla="*/ 262 h 289"/>
              <a:gd name="T24" fmla="*/ 100 w 284"/>
              <a:gd name="T25" fmla="*/ 245 h 289"/>
              <a:gd name="T26" fmla="*/ 133 w 284"/>
              <a:gd name="T27" fmla="*/ 200 h 289"/>
              <a:gd name="T28" fmla="*/ 153 w 284"/>
              <a:gd name="T29" fmla="*/ 219 h 289"/>
              <a:gd name="T30" fmla="*/ 221 w 284"/>
              <a:gd name="T31" fmla="*/ 173 h 289"/>
              <a:gd name="T32" fmla="*/ 284 w 284"/>
              <a:gd name="T33" fmla="*/ 185 h 289"/>
              <a:gd name="T34" fmla="*/ 282 w 284"/>
              <a:gd name="T35" fmla="*/ 149 h 289"/>
              <a:gd name="T36" fmla="*/ 257 w 284"/>
              <a:gd name="T37" fmla="*/ 40 h 289"/>
              <a:gd name="T38" fmla="*/ 241 w 284"/>
              <a:gd name="T39" fmla="*/ 40 h 289"/>
              <a:gd name="T40" fmla="*/ 241 w 284"/>
              <a:gd name="T41" fmla="*/ 18 h 289"/>
              <a:gd name="T42" fmla="*/ 219 w 284"/>
              <a:gd name="T43" fmla="*/ 0 h 289"/>
              <a:gd name="T44" fmla="*/ 219 w 284"/>
              <a:gd name="T45" fmla="*/ 0 h 289"/>
              <a:gd name="T46" fmla="*/ 219 w 284"/>
              <a:gd name="T47" fmla="*/ 0 h 28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84"/>
              <a:gd name="T73" fmla="*/ 0 h 289"/>
              <a:gd name="T74" fmla="*/ 284 w 284"/>
              <a:gd name="T75" fmla="*/ 289 h 28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84" h="289">
                <a:moveTo>
                  <a:pt x="219" y="0"/>
                </a:moveTo>
                <a:lnTo>
                  <a:pt x="210" y="44"/>
                </a:lnTo>
                <a:lnTo>
                  <a:pt x="165" y="72"/>
                </a:lnTo>
                <a:lnTo>
                  <a:pt x="153" y="113"/>
                </a:lnTo>
                <a:lnTo>
                  <a:pt x="123" y="113"/>
                </a:lnTo>
                <a:lnTo>
                  <a:pt x="95" y="183"/>
                </a:lnTo>
                <a:lnTo>
                  <a:pt x="38" y="219"/>
                </a:lnTo>
                <a:lnTo>
                  <a:pt x="5" y="219"/>
                </a:lnTo>
                <a:lnTo>
                  <a:pt x="0" y="262"/>
                </a:lnTo>
                <a:lnTo>
                  <a:pt x="39" y="242"/>
                </a:lnTo>
                <a:lnTo>
                  <a:pt x="93" y="289"/>
                </a:lnTo>
                <a:lnTo>
                  <a:pt x="115" y="262"/>
                </a:lnTo>
                <a:lnTo>
                  <a:pt x="100" y="245"/>
                </a:lnTo>
                <a:lnTo>
                  <a:pt x="133" y="200"/>
                </a:lnTo>
                <a:lnTo>
                  <a:pt x="153" y="219"/>
                </a:lnTo>
                <a:lnTo>
                  <a:pt x="221" y="173"/>
                </a:lnTo>
                <a:lnTo>
                  <a:pt x="284" y="185"/>
                </a:lnTo>
                <a:lnTo>
                  <a:pt x="282" y="149"/>
                </a:lnTo>
                <a:lnTo>
                  <a:pt x="257" y="40"/>
                </a:lnTo>
                <a:lnTo>
                  <a:pt x="241" y="40"/>
                </a:lnTo>
                <a:lnTo>
                  <a:pt x="241" y="18"/>
                </a:lnTo>
                <a:lnTo>
                  <a:pt x="219" y="0"/>
                </a:lnTo>
                <a:close/>
              </a:path>
            </a:pathLst>
          </a:custGeom>
          <a:solidFill>
            <a:schemeClr val="accent3"/>
          </a:solidFill>
          <a:ln w="12700">
            <a:solidFill>
              <a:schemeClr val="bg1"/>
            </a:solidFill>
            <a:round/>
            <a:headEnd/>
            <a:tailEnd/>
          </a:ln>
        </p:spPr>
        <p:txBody>
          <a:bodyPr/>
          <a:lstStyle/>
          <a:p>
            <a:pPr>
              <a:defRPr/>
            </a:pPr>
            <a:endParaRPr lang="nl-NL"/>
          </a:p>
        </p:txBody>
      </p:sp>
      <p:sp>
        <p:nvSpPr>
          <p:cNvPr id="293" name="Freeform 92"/>
          <p:cNvSpPr>
            <a:spLocks/>
          </p:cNvSpPr>
          <p:nvPr/>
        </p:nvSpPr>
        <p:spPr bwMode="auto">
          <a:xfrm>
            <a:off x="5820193" y="4806586"/>
            <a:ext cx="356405" cy="301962"/>
          </a:xfrm>
          <a:custGeom>
            <a:avLst/>
            <a:gdLst>
              <a:gd name="T0" fmla="*/ 230 w 230"/>
              <a:gd name="T1" fmla="*/ 52 h 189"/>
              <a:gd name="T2" fmla="*/ 178 w 230"/>
              <a:gd name="T3" fmla="*/ 28 h 189"/>
              <a:gd name="T4" fmla="*/ 119 w 230"/>
              <a:gd name="T5" fmla="*/ 0 h 189"/>
              <a:gd name="T6" fmla="*/ 63 w 230"/>
              <a:gd name="T7" fmla="*/ 8 h 189"/>
              <a:gd name="T8" fmla="*/ 37 w 230"/>
              <a:gd name="T9" fmla="*/ 3 h 189"/>
              <a:gd name="T10" fmla="*/ 5 w 230"/>
              <a:gd name="T11" fmla="*/ 18 h 189"/>
              <a:gd name="T12" fmla="*/ 36 w 230"/>
              <a:gd name="T13" fmla="*/ 69 h 189"/>
              <a:gd name="T14" fmla="*/ 0 w 230"/>
              <a:gd name="T15" fmla="*/ 90 h 189"/>
              <a:gd name="T16" fmla="*/ 0 w 230"/>
              <a:gd name="T17" fmla="*/ 124 h 189"/>
              <a:gd name="T18" fmla="*/ 20 w 230"/>
              <a:gd name="T19" fmla="*/ 147 h 189"/>
              <a:gd name="T20" fmla="*/ 54 w 230"/>
              <a:gd name="T21" fmla="*/ 137 h 189"/>
              <a:gd name="T22" fmla="*/ 75 w 230"/>
              <a:gd name="T23" fmla="*/ 157 h 189"/>
              <a:gd name="T24" fmla="*/ 54 w 230"/>
              <a:gd name="T25" fmla="*/ 189 h 189"/>
              <a:gd name="T26" fmla="*/ 71 w 230"/>
              <a:gd name="T27" fmla="*/ 172 h 189"/>
              <a:gd name="T28" fmla="*/ 117 w 230"/>
              <a:gd name="T29" fmla="*/ 165 h 189"/>
              <a:gd name="T30" fmla="*/ 158 w 230"/>
              <a:gd name="T31" fmla="*/ 163 h 189"/>
              <a:gd name="T32" fmla="*/ 133 w 230"/>
              <a:gd name="T33" fmla="*/ 125 h 189"/>
              <a:gd name="T34" fmla="*/ 184 w 230"/>
              <a:gd name="T35" fmla="*/ 134 h 189"/>
              <a:gd name="T36" fmla="*/ 175 w 230"/>
              <a:gd name="T37" fmla="*/ 100 h 189"/>
              <a:gd name="T38" fmla="*/ 142 w 230"/>
              <a:gd name="T39" fmla="*/ 89 h 189"/>
              <a:gd name="T40" fmla="*/ 165 w 230"/>
              <a:gd name="T41" fmla="*/ 74 h 189"/>
              <a:gd name="T42" fmla="*/ 206 w 230"/>
              <a:gd name="T43" fmla="*/ 88 h 189"/>
              <a:gd name="T44" fmla="*/ 230 w 230"/>
              <a:gd name="T45" fmla="*/ 52 h 189"/>
              <a:gd name="T46" fmla="*/ 230 w 230"/>
              <a:gd name="T47" fmla="*/ 52 h 189"/>
              <a:gd name="T48" fmla="*/ 230 w 230"/>
              <a:gd name="T49" fmla="*/ 52 h 1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0"/>
              <a:gd name="T76" fmla="*/ 0 h 189"/>
              <a:gd name="T77" fmla="*/ 230 w 230"/>
              <a:gd name="T78" fmla="*/ 189 h 18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0" h="189">
                <a:moveTo>
                  <a:pt x="230" y="52"/>
                </a:moveTo>
                <a:lnTo>
                  <a:pt x="178" y="28"/>
                </a:lnTo>
                <a:lnTo>
                  <a:pt x="119" y="0"/>
                </a:lnTo>
                <a:lnTo>
                  <a:pt x="63" y="8"/>
                </a:lnTo>
                <a:lnTo>
                  <a:pt x="37" y="3"/>
                </a:lnTo>
                <a:lnTo>
                  <a:pt x="5" y="18"/>
                </a:lnTo>
                <a:lnTo>
                  <a:pt x="36" y="69"/>
                </a:lnTo>
                <a:lnTo>
                  <a:pt x="0" y="90"/>
                </a:lnTo>
                <a:lnTo>
                  <a:pt x="0" y="124"/>
                </a:lnTo>
                <a:lnTo>
                  <a:pt x="20" y="147"/>
                </a:lnTo>
                <a:lnTo>
                  <a:pt x="54" y="137"/>
                </a:lnTo>
                <a:lnTo>
                  <a:pt x="75" y="157"/>
                </a:lnTo>
                <a:lnTo>
                  <a:pt x="54" y="189"/>
                </a:lnTo>
                <a:lnTo>
                  <a:pt x="71" y="172"/>
                </a:lnTo>
                <a:lnTo>
                  <a:pt x="117" y="165"/>
                </a:lnTo>
                <a:lnTo>
                  <a:pt x="158" y="163"/>
                </a:lnTo>
                <a:lnTo>
                  <a:pt x="133" y="125"/>
                </a:lnTo>
                <a:lnTo>
                  <a:pt x="184" y="134"/>
                </a:lnTo>
                <a:lnTo>
                  <a:pt x="175" y="100"/>
                </a:lnTo>
                <a:lnTo>
                  <a:pt x="142" y="89"/>
                </a:lnTo>
                <a:lnTo>
                  <a:pt x="165" y="74"/>
                </a:lnTo>
                <a:lnTo>
                  <a:pt x="206" y="88"/>
                </a:lnTo>
                <a:lnTo>
                  <a:pt x="230" y="52"/>
                </a:lnTo>
                <a:close/>
              </a:path>
            </a:pathLst>
          </a:custGeom>
          <a:solidFill>
            <a:schemeClr val="accent3"/>
          </a:solidFill>
          <a:ln w="12700">
            <a:solidFill>
              <a:schemeClr val="bg1"/>
            </a:solidFill>
            <a:round/>
            <a:headEnd/>
            <a:tailEnd/>
          </a:ln>
        </p:spPr>
        <p:txBody>
          <a:bodyPr/>
          <a:lstStyle/>
          <a:p>
            <a:pPr>
              <a:defRPr/>
            </a:pPr>
            <a:endParaRPr lang="nl-NL"/>
          </a:p>
        </p:txBody>
      </p:sp>
      <p:sp>
        <p:nvSpPr>
          <p:cNvPr id="294" name="Freeform 93"/>
          <p:cNvSpPr>
            <a:spLocks/>
          </p:cNvSpPr>
          <p:nvPr/>
        </p:nvSpPr>
        <p:spPr bwMode="auto">
          <a:xfrm>
            <a:off x="3413684" y="3276007"/>
            <a:ext cx="494318" cy="421788"/>
          </a:xfrm>
          <a:custGeom>
            <a:avLst/>
            <a:gdLst>
              <a:gd name="T0" fmla="*/ 319 w 319"/>
              <a:gd name="T1" fmla="*/ 38 h 264"/>
              <a:gd name="T2" fmla="*/ 259 w 319"/>
              <a:gd name="T3" fmla="*/ 0 h 264"/>
              <a:gd name="T4" fmla="*/ 228 w 319"/>
              <a:gd name="T5" fmla="*/ 34 h 264"/>
              <a:gd name="T6" fmla="*/ 233 w 319"/>
              <a:gd name="T7" fmla="*/ 87 h 264"/>
              <a:gd name="T8" fmla="*/ 197 w 319"/>
              <a:gd name="T9" fmla="*/ 121 h 264"/>
              <a:gd name="T10" fmla="*/ 210 w 319"/>
              <a:gd name="T11" fmla="*/ 34 h 264"/>
              <a:gd name="T12" fmla="*/ 174 w 319"/>
              <a:gd name="T13" fmla="*/ 38 h 264"/>
              <a:gd name="T14" fmla="*/ 175 w 319"/>
              <a:gd name="T15" fmla="*/ 85 h 264"/>
              <a:gd name="T16" fmla="*/ 140 w 319"/>
              <a:gd name="T17" fmla="*/ 45 h 264"/>
              <a:gd name="T18" fmla="*/ 112 w 319"/>
              <a:gd name="T19" fmla="*/ 72 h 264"/>
              <a:gd name="T20" fmla="*/ 85 w 319"/>
              <a:gd name="T21" fmla="*/ 61 h 264"/>
              <a:gd name="T22" fmla="*/ 70 w 319"/>
              <a:gd name="T23" fmla="*/ 145 h 264"/>
              <a:gd name="T24" fmla="*/ 40 w 319"/>
              <a:gd name="T25" fmla="*/ 155 h 264"/>
              <a:gd name="T26" fmla="*/ 61 w 319"/>
              <a:gd name="T27" fmla="*/ 174 h 264"/>
              <a:gd name="T28" fmla="*/ 0 w 319"/>
              <a:gd name="T29" fmla="*/ 196 h 264"/>
              <a:gd name="T30" fmla="*/ 108 w 319"/>
              <a:gd name="T31" fmla="*/ 216 h 264"/>
              <a:gd name="T32" fmla="*/ 77 w 319"/>
              <a:gd name="T33" fmla="*/ 260 h 264"/>
              <a:gd name="T34" fmla="*/ 114 w 319"/>
              <a:gd name="T35" fmla="*/ 264 h 264"/>
              <a:gd name="T36" fmla="*/ 128 w 319"/>
              <a:gd name="T37" fmla="*/ 245 h 264"/>
              <a:gd name="T38" fmla="*/ 189 w 319"/>
              <a:gd name="T39" fmla="*/ 215 h 264"/>
              <a:gd name="T40" fmla="*/ 145 w 319"/>
              <a:gd name="T41" fmla="*/ 215 h 264"/>
              <a:gd name="T42" fmla="*/ 159 w 319"/>
              <a:gd name="T43" fmla="*/ 184 h 264"/>
              <a:gd name="T44" fmla="*/ 217 w 319"/>
              <a:gd name="T45" fmla="*/ 184 h 264"/>
              <a:gd name="T46" fmla="*/ 226 w 319"/>
              <a:gd name="T47" fmla="*/ 134 h 264"/>
              <a:gd name="T48" fmla="*/ 261 w 319"/>
              <a:gd name="T49" fmla="*/ 100 h 264"/>
              <a:gd name="T50" fmla="*/ 319 w 319"/>
              <a:gd name="T51" fmla="*/ 38 h 264"/>
              <a:gd name="T52" fmla="*/ 319 w 319"/>
              <a:gd name="T53" fmla="*/ 38 h 264"/>
              <a:gd name="T54" fmla="*/ 319 w 319"/>
              <a:gd name="T55" fmla="*/ 38 h 26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19"/>
              <a:gd name="T85" fmla="*/ 0 h 264"/>
              <a:gd name="T86" fmla="*/ 319 w 319"/>
              <a:gd name="T87" fmla="*/ 264 h 26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19" h="264">
                <a:moveTo>
                  <a:pt x="319" y="38"/>
                </a:moveTo>
                <a:lnTo>
                  <a:pt x="259" y="0"/>
                </a:lnTo>
                <a:lnTo>
                  <a:pt x="228" y="34"/>
                </a:lnTo>
                <a:lnTo>
                  <a:pt x="233" y="87"/>
                </a:lnTo>
                <a:lnTo>
                  <a:pt x="197" y="121"/>
                </a:lnTo>
                <a:lnTo>
                  <a:pt x="210" y="34"/>
                </a:lnTo>
                <a:lnTo>
                  <a:pt x="174" y="38"/>
                </a:lnTo>
                <a:lnTo>
                  <a:pt x="175" y="85"/>
                </a:lnTo>
                <a:lnTo>
                  <a:pt x="140" y="45"/>
                </a:lnTo>
                <a:lnTo>
                  <a:pt x="112" y="72"/>
                </a:lnTo>
                <a:lnTo>
                  <a:pt x="85" y="61"/>
                </a:lnTo>
                <a:lnTo>
                  <a:pt x="70" y="145"/>
                </a:lnTo>
                <a:lnTo>
                  <a:pt x="40" y="155"/>
                </a:lnTo>
                <a:lnTo>
                  <a:pt x="61" y="174"/>
                </a:lnTo>
                <a:lnTo>
                  <a:pt x="0" y="196"/>
                </a:lnTo>
                <a:lnTo>
                  <a:pt x="108" y="216"/>
                </a:lnTo>
                <a:lnTo>
                  <a:pt x="77" y="260"/>
                </a:lnTo>
                <a:lnTo>
                  <a:pt x="114" y="264"/>
                </a:lnTo>
                <a:lnTo>
                  <a:pt x="128" y="245"/>
                </a:lnTo>
                <a:lnTo>
                  <a:pt x="189" y="215"/>
                </a:lnTo>
                <a:lnTo>
                  <a:pt x="145" y="215"/>
                </a:lnTo>
                <a:lnTo>
                  <a:pt x="159" y="184"/>
                </a:lnTo>
                <a:lnTo>
                  <a:pt x="217" y="184"/>
                </a:lnTo>
                <a:lnTo>
                  <a:pt x="226" y="134"/>
                </a:lnTo>
                <a:lnTo>
                  <a:pt x="261" y="100"/>
                </a:lnTo>
                <a:lnTo>
                  <a:pt x="319" y="38"/>
                </a:lnTo>
                <a:close/>
              </a:path>
            </a:pathLst>
          </a:custGeom>
          <a:solidFill>
            <a:schemeClr val="accent3"/>
          </a:solidFill>
          <a:ln w="12700">
            <a:solidFill>
              <a:schemeClr val="bg1"/>
            </a:solidFill>
            <a:round/>
            <a:headEnd/>
            <a:tailEnd/>
          </a:ln>
        </p:spPr>
        <p:txBody>
          <a:bodyPr/>
          <a:lstStyle/>
          <a:p>
            <a:pPr>
              <a:defRPr/>
            </a:pPr>
            <a:endParaRPr lang="nl-NL"/>
          </a:p>
        </p:txBody>
      </p:sp>
      <p:sp>
        <p:nvSpPr>
          <p:cNvPr id="295" name="Freeform 94"/>
          <p:cNvSpPr>
            <a:spLocks/>
          </p:cNvSpPr>
          <p:nvPr/>
        </p:nvSpPr>
        <p:spPr bwMode="auto">
          <a:xfrm>
            <a:off x="3302114" y="3708978"/>
            <a:ext cx="269628" cy="247641"/>
          </a:xfrm>
          <a:custGeom>
            <a:avLst/>
            <a:gdLst>
              <a:gd name="T0" fmla="*/ 127 w 174"/>
              <a:gd name="T1" fmla="*/ 0 h 155"/>
              <a:gd name="T2" fmla="*/ 87 w 174"/>
              <a:gd name="T3" fmla="*/ 15 h 155"/>
              <a:gd name="T4" fmla="*/ 103 w 174"/>
              <a:gd name="T5" fmla="*/ 59 h 155"/>
              <a:gd name="T6" fmla="*/ 25 w 174"/>
              <a:gd name="T7" fmla="*/ 26 h 155"/>
              <a:gd name="T8" fmla="*/ 0 w 174"/>
              <a:gd name="T9" fmla="*/ 48 h 155"/>
              <a:gd name="T10" fmla="*/ 0 w 174"/>
              <a:gd name="T11" fmla="*/ 74 h 155"/>
              <a:gd name="T12" fmla="*/ 36 w 174"/>
              <a:gd name="T13" fmla="*/ 82 h 155"/>
              <a:gd name="T14" fmla="*/ 25 w 174"/>
              <a:gd name="T15" fmla="*/ 115 h 155"/>
              <a:gd name="T16" fmla="*/ 62 w 174"/>
              <a:gd name="T17" fmla="*/ 134 h 155"/>
              <a:gd name="T18" fmla="*/ 75 w 174"/>
              <a:gd name="T19" fmla="*/ 117 h 155"/>
              <a:gd name="T20" fmla="*/ 85 w 174"/>
              <a:gd name="T21" fmla="*/ 141 h 155"/>
              <a:gd name="T22" fmla="*/ 129 w 174"/>
              <a:gd name="T23" fmla="*/ 155 h 155"/>
              <a:gd name="T24" fmla="*/ 133 w 174"/>
              <a:gd name="T25" fmla="*/ 126 h 155"/>
              <a:gd name="T26" fmla="*/ 174 w 174"/>
              <a:gd name="T27" fmla="*/ 98 h 155"/>
              <a:gd name="T28" fmla="*/ 129 w 174"/>
              <a:gd name="T29" fmla="*/ 42 h 155"/>
              <a:gd name="T30" fmla="*/ 135 w 174"/>
              <a:gd name="T31" fmla="*/ 8 h 155"/>
              <a:gd name="T32" fmla="*/ 127 w 174"/>
              <a:gd name="T33" fmla="*/ 0 h 155"/>
              <a:gd name="T34" fmla="*/ 127 w 174"/>
              <a:gd name="T35" fmla="*/ 0 h 155"/>
              <a:gd name="T36" fmla="*/ 127 w 174"/>
              <a:gd name="T37" fmla="*/ 0 h 1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4"/>
              <a:gd name="T58" fmla="*/ 0 h 155"/>
              <a:gd name="T59" fmla="*/ 174 w 174"/>
              <a:gd name="T60" fmla="*/ 155 h 1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4" h="155">
                <a:moveTo>
                  <a:pt x="127" y="0"/>
                </a:moveTo>
                <a:lnTo>
                  <a:pt x="87" y="15"/>
                </a:lnTo>
                <a:lnTo>
                  <a:pt x="103" y="59"/>
                </a:lnTo>
                <a:lnTo>
                  <a:pt x="25" y="26"/>
                </a:lnTo>
                <a:lnTo>
                  <a:pt x="0" y="48"/>
                </a:lnTo>
                <a:lnTo>
                  <a:pt x="0" y="74"/>
                </a:lnTo>
                <a:lnTo>
                  <a:pt x="36" y="82"/>
                </a:lnTo>
                <a:lnTo>
                  <a:pt x="25" y="115"/>
                </a:lnTo>
                <a:lnTo>
                  <a:pt x="62" y="134"/>
                </a:lnTo>
                <a:lnTo>
                  <a:pt x="75" y="117"/>
                </a:lnTo>
                <a:lnTo>
                  <a:pt x="85" y="141"/>
                </a:lnTo>
                <a:lnTo>
                  <a:pt x="129" y="155"/>
                </a:lnTo>
                <a:lnTo>
                  <a:pt x="133" y="126"/>
                </a:lnTo>
                <a:lnTo>
                  <a:pt x="174" y="98"/>
                </a:lnTo>
                <a:lnTo>
                  <a:pt x="129" y="42"/>
                </a:lnTo>
                <a:lnTo>
                  <a:pt x="135" y="8"/>
                </a:lnTo>
                <a:lnTo>
                  <a:pt x="127" y="0"/>
                </a:lnTo>
                <a:close/>
              </a:path>
            </a:pathLst>
          </a:custGeom>
          <a:solidFill>
            <a:schemeClr val="accent3"/>
          </a:solidFill>
          <a:ln w="12700">
            <a:solidFill>
              <a:schemeClr val="bg1"/>
            </a:solidFill>
            <a:round/>
            <a:headEnd/>
            <a:tailEnd/>
          </a:ln>
        </p:spPr>
        <p:txBody>
          <a:bodyPr/>
          <a:lstStyle/>
          <a:p>
            <a:pPr>
              <a:defRPr/>
            </a:pPr>
            <a:endParaRPr lang="nl-NL"/>
          </a:p>
        </p:txBody>
      </p:sp>
      <p:sp>
        <p:nvSpPr>
          <p:cNvPr id="296" name="Freeform 95"/>
          <p:cNvSpPr>
            <a:spLocks/>
          </p:cNvSpPr>
          <p:nvPr/>
        </p:nvSpPr>
        <p:spPr bwMode="auto">
          <a:xfrm>
            <a:off x="3034035" y="3704185"/>
            <a:ext cx="399794" cy="440960"/>
          </a:xfrm>
          <a:custGeom>
            <a:avLst/>
            <a:gdLst>
              <a:gd name="T0" fmla="*/ 173 w 258"/>
              <a:gd name="T1" fmla="*/ 50 h 276"/>
              <a:gd name="T2" fmla="*/ 146 w 258"/>
              <a:gd name="T3" fmla="*/ 14 h 276"/>
              <a:gd name="T4" fmla="*/ 64 w 258"/>
              <a:gd name="T5" fmla="*/ 0 h 276"/>
              <a:gd name="T6" fmla="*/ 52 w 258"/>
              <a:gd name="T7" fmla="*/ 35 h 276"/>
              <a:gd name="T8" fmla="*/ 27 w 258"/>
              <a:gd name="T9" fmla="*/ 25 h 276"/>
              <a:gd name="T10" fmla="*/ 0 w 258"/>
              <a:gd name="T11" fmla="*/ 54 h 276"/>
              <a:gd name="T12" fmla="*/ 37 w 258"/>
              <a:gd name="T13" fmla="*/ 56 h 276"/>
              <a:gd name="T14" fmla="*/ 33 w 258"/>
              <a:gd name="T15" fmla="*/ 85 h 276"/>
              <a:gd name="T16" fmla="*/ 60 w 258"/>
              <a:gd name="T17" fmla="*/ 81 h 276"/>
              <a:gd name="T18" fmla="*/ 31 w 258"/>
              <a:gd name="T19" fmla="*/ 154 h 276"/>
              <a:gd name="T20" fmla="*/ 90 w 258"/>
              <a:gd name="T21" fmla="*/ 143 h 276"/>
              <a:gd name="T22" fmla="*/ 96 w 258"/>
              <a:gd name="T23" fmla="*/ 186 h 276"/>
              <a:gd name="T24" fmla="*/ 32 w 258"/>
              <a:gd name="T25" fmla="*/ 173 h 276"/>
              <a:gd name="T26" fmla="*/ 41 w 258"/>
              <a:gd name="T27" fmla="*/ 212 h 276"/>
              <a:gd name="T28" fmla="*/ 42 w 258"/>
              <a:gd name="T29" fmla="*/ 230 h 276"/>
              <a:gd name="T30" fmla="*/ 101 w 258"/>
              <a:gd name="T31" fmla="*/ 245 h 276"/>
              <a:gd name="T32" fmla="*/ 134 w 258"/>
              <a:gd name="T33" fmla="*/ 209 h 276"/>
              <a:gd name="T34" fmla="*/ 163 w 258"/>
              <a:gd name="T35" fmla="*/ 276 h 276"/>
              <a:gd name="T36" fmla="*/ 248 w 258"/>
              <a:gd name="T37" fmla="*/ 201 h 276"/>
              <a:gd name="T38" fmla="*/ 258 w 258"/>
              <a:gd name="T39" fmla="*/ 144 h 276"/>
              <a:gd name="T40" fmla="*/ 249 w 258"/>
              <a:gd name="T41" fmla="*/ 120 h 276"/>
              <a:gd name="T42" fmla="*/ 235 w 258"/>
              <a:gd name="T43" fmla="*/ 134 h 276"/>
              <a:gd name="T44" fmla="*/ 198 w 258"/>
              <a:gd name="T45" fmla="*/ 118 h 276"/>
              <a:gd name="T46" fmla="*/ 209 w 258"/>
              <a:gd name="T47" fmla="*/ 85 h 276"/>
              <a:gd name="T48" fmla="*/ 173 w 258"/>
              <a:gd name="T49" fmla="*/ 77 h 276"/>
              <a:gd name="T50" fmla="*/ 173 w 258"/>
              <a:gd name="T51" fmla="*/ 50 h 276"/>
              <a:gd name="T52" fmla="*/ 173 w 258"/>
              <a:gd name="T53" fmla="*/ 50 h 276"/>
              <a:gd name="T54" fmla="*/ 173 w 258"/>
              <a:gd name="T55" fmla="*/ 50 h 27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58"/>
              <a:gd name="T85" fmla="*/ 0 h 276"/>
              <a:gd name="T86" fmla="*/ 258 w 258"/>
              <a:gd name="T87" fmla="*/ 276 h 27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58" h="276">
                <a:moveTo>
                  <a:pt x="173" y="50"/>
                </a:moveTo>
                <a:lnTo>
                  <a:pt x="146" y="14"/>
                </a:lnTo>
                <a:lnTo>
                  <a:pt x="64" y="0"/>
                </a:lnTo>
                <a:lnTo>
                  <a:pt x="52" y="35"/>
                </a:lnTo>
                <a:lnTo>
                  <a:pt x="27" y="25"/>
                </a:lnTo>
                <a:lnTo>
                  <a:pt x="0" y="54"/>
                </a:lnTo>
                <a:lnTo>
                  <a:pt x="37" y="56"/>
                </a:lnTo>
                <a:lnTo>
                  <a:pt x="33" y="85"/>
                </a:lnTo>
                <a:lnTo>
                  <a:pt x="60" y="81"/>
                </a:lnTo>
                <a:lnTo>
                  <a:pt x="31" y="154"/>
                </a:lnTo>
                <a:lnTo>
                  <a:pt x="90" y="143"/>
                </a:lnTo>
                <a:lnTo>
                  <a:pt x="96" y="186"/>
                </a:lnTo>
                <a:lnTo>
                  <a:pt x="32" y="173"/>
                </a:lnTo>
                <a:lnTo>
                  <a:pt x="41" y="212"/>
                </a:lnTo>
                <a:lnTo>
                  <a:pt x="42" y="230"/>
                </a:lnTo>
                <a:lnTo>
                  <a:pt x="101" y="245"/>
                </a:lnTo>
                <a:lnTo>
                  <a:pt x="134" y="209"/>
                </a:lnTo>
                <a:lnTo>
                  <a:pt x="163" y="276"/>
                </a:lnTo>
                <a:lnTo>
                  <a:pt x="248" y="201"/>
                </a:lnTo>
                <a:lnTo>
                  <a:pt x="258" y="144"/>
                </a:lnTo>
                <a:lnTo>
                  <a:pt x="249" y="120"/>
                </a:lnTo>
                <a:lnTo>
                  <a:pt x="235" y="134"/>
                </a:lnTo>
                <a:lnTo>
                  <a:pt x="198" y="118"/>
                </a:lnTo>
                <a:lnTo>
                  <a:pt x="209" y="85"/>
                </a:lnTo>
                <a:lnTo>
                  <a:pt x="173" y="77"/>
                </a:lnTo>
                <a:lnTo>
                  <a:pt x="173" y="50"/>
                </a:lnTo>
                <a:close/>
              </a:path>
            </a:pathLst>
          </a:custGeom>
          <a:solidFill>
            <a:schemeClr val="accent3"/>
          </a:solidFill>
          <a:ln w="12700">
            <a:solidFill>
              <a:schemeClr val="bg1"/>
            </a:solidFill>
            <a:round/>
            <a:headEnd/>
            <a:tailEnd/>
          </a:ln>
        </p:spPr>
        <p:txBody>
          <a:bodyPr/>
          <a:lstStyle/>
          <a:p>
            <a:pPr>
              <a:defRPr/>
            </a:pPr>
            <a:endParaRPr lang="nl-NL"/>
          </a:p>
        </p:txBody>
      </p:sp>
      <p:sp>
        <p:nvSpPr>
          <p:cNvPr id="297" name="Freeform 96"/>
          <p:cNvSpPr>
            <a:spLocks/>
          </p:cNvSpPr>
          <p:nvPr/>
        </p:nvSpPr>
        <p:spPr bwMode="auto">
          <a:xfrm>
            <a:off x="3012341" y="4047687"/>
            <a:ext cx="264979" cy="193319"/>
          </a:xfrm>
          <a:custGeom>
            <a:avLst/>
            <a:gdLst>
              <a:gd name="T0" fmla="*/ 55 w 171"/>
              <a:gd name="T1" fmla="*/ 0 h 121"/>
              <a:gd name="T2" fmla="*/ 10 w 171"/>
              <a:gd name="T3" fmla="*/ 18 h 121"/>
              <a:gd name="T4" fmla="*/ 22 w 171"/>
              <a:gd name="T5" fmla="*/ 56 h 121"/>
              <a:gd name="T6" fmla="*/ 0 w 171"/>
              <a:gd name="T7" fmla="*/ 62 h 121"/>
              <a:gd name="T8" fmla="*/ 31 w 171"/>
              <a:gd name="T9" fmla="*/ 75 h 121"/>
              <a:gd name="T10" fmla="*/ 61 w 171"/>
              <a:gd name="T11" fmla="*/ 59 h 121"/>
              <a:gd name="T12" fmla="*/ 51 w 171"/>
              <a:gd name="T13" fmla="*/ 92 h 121"/>
              <a:gd name="T14" fmla="*/ 66 w 171"/>
              <a:gd name="T15" fmla="*/ 104 h 121"/>
              <a:gd name="T16" fmla="*/ 86 w 171"/>
              <a:gd name="T17" fmla="*/ 79 h 121"/>
              <a:gd name="T18" fmla="*/ 94 w 171"/>
              <a:gd name="T19" fmla="*/ 121 h 121"/>
              <a:gd name="T20" fmla="*/ 171 w 171"/>
              <a:gd name="T21" fmla="*/ 113 h 121"/>
              <a:gd name="T22" fmla="*/ 130 w 171"/>
              <a:gd name="T23" fmla="*/ 58 h 121"/>
              <a:gd name="T24" fmla="*/ 144 w 171"/>
              <a:gd name="T25" fmla="*/ 38 h 121"/>
              <a:gd name="T26" fmla="*/ 114 w 171"/>
              <a:gd name="T27" fmla="*/ 30 h 121"/>
              <a:gd name="T28" fmla="*/ 77 w 171"/>
              <a:gd name="T29" fmla="*/ 18 h 121"/>
              <a:gd name="T30" fmla="*/ 56 w 171"/>
              <a:gd name="T31" fmla="*/ 15 h 121"/>
              <a:gd name="T32" fmla="*/ 55 w 171"/>
              <a:gd name="T33" fmla="*/ 0 h 121"/>
              <a:gd name="T34" fmla="*/ 55 w 171"/>
              <a:gd name="T35" fmla="*/ 0 h 121"/>
              <a:gd name="T36" fmla="*/ 55 w 171"/>
              <a:gd name="T37" fmla="*/ 0 h 1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1"/>
              <a:gd name="T58" fmla="*/ 0 h 121"/>
              <a:gd name="T59" fmla="*/ 171 w 171"/>
              <a:gd name="T60" fmla="*/ 121 h 1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1" h="121">
                <a:moveTo>
                  <a:pt x="55" y="0"/>
                </a:moveTo>
                <a:lnTo>
                  <a:pt x="10" y="18"/>
                </a:lnTo>
                <a:lnTo>
                  <a:pt x="22" y="56"/>
                </a:lnTo>
                <a:lnTo>
                  <a:pt x="0" y="62"/>
                </a:lnTo>
                <a:lnTo>
                  <a:pt x="31" y="75"/>
                </a:lnTo>
                <a:lnTo>
                  <a:pt x="61" y="59"/>
                </a:lnTo>
                <a:lnTo>
                  <a:pt x="51" y="92"/>
                </a:lnTo>
                <a:lnTo>
                  <a:pt x="66" y="104"/>
                </a:lnTo>
                <a:lnTo>
                  <a:pt x="86" y="79"/>
                </a:lnTo>
                <a:lnTo>
                  <a:pt x="94" y="121"/>
                </a:lnTo>
                <a:lnTo>
                  <a:pt x="171" y="113"/>
                </a:lnTo>
                <a:lnTo>
                  <a:pt x="130" y="58"/>
                </a:lnTo>
                <a:lnTo>
                  <a:pt x="144" y="38"/>
                </a:lnTo>
                <a:lnTo>
                  <a:pt x="114" y="30"/>
                </a:lnTo>
                <a:lnTo>
                  <a:pt x="77" y="18"/>
                </a:lnTo>
                <a:lnTo>
                  <a:pt x="56" y="15"/>
                </a:lnTo>
                <a:lnTo>
                  <a:pt x="55" y="0"/>
                </a:lnTo>
                <a:close/>
              </a:path>
            </a:pathLst>
          </a:custGeom>
          <a:solidFill>
            <a:schemeClr val="accent3"/>
          </a:solidFill>
          <a:ln w="12700">
            <a:solidFill>
              <a:schemeClr val="bg1"/>
            </a:solidFill>
            <a:round/>
            <a:headEnd/>
            <a:tailEnd/>
          </a:ln>
        </p:spPr>
        <p:txBody>
          <a:bodyPr/>
          <a:lstStyle/>
          <a:p>
            <a:pPr>
              <a:defRPr/>
            </a:pPr>
            <a:endParaRPr lang="nl-NL"/>
          </a:p>
        </p:txBody>
      </p:sp>
      <p:sp>
        <p:nvSpPr>
          <p:cNvPr id="298" name="Freeform 97"/>
          <p:cNvSpPr>
            <a:spLocks/>
          </p:cNvSpPr>
          <p:nvPr/>
        </p:nvSpPr>
        <p:spPr bwMode="auto">
          <a:xfrm>
            <a:off x="3362547" y="3865551"/>
            <a:ext cx="266529" cy="397823"/>
          </a:xfrm>
          <a:custGeom>
            <a:avLst/>
            <a:gdLst>
              <a:gd name="T0" fmla="*/ 0 w 172"/>
              <a:gd name="T1" fmla="*/ 132 h 249"/>
              <a:gd name="T2" fmla="*/ 72 w 172"/>
              <a:gd name="T3" fmla="*/ 121 h 249"/>
              <a:gd name="T4" fmla="*/ 92 w 172"/>
              <a:gd name="T5" fmla="*/ 163 h 249"/>
              <a:gd name="T6" fmla="*/ 103 w 172"/>
              <a:gd name="T7" fmla="*/ 233 h 249"/>
              <a:gd name="T8" fmla="*/ 144 w 172"/>
              <a:gd name="T9" fmla="*/ 249 h 249"/>
              <a:gd name="T10" fmla="*/ 162 w 172"/>
              <a:gd name="T11" fmla="*/ 219 h 249"/>
              <a:gd name="T12" fmla="*/ 139 w 172"/>
              <a:gd name="T13" fmla="*/ 135 h 249"/>
              <a:gd name="T14" fmla="*/ 172 w 172"/>
              <a:gd name="T15" fmla="*/ 104 h 249"/>
              <a:gd name="T16" fmla="*/ 167 w 172"/>
              <a:gd name="T17" fmla="*/ 79 h 249"/>
              <a:gd name="T18" fmla="*/ 132 w 172"/>
              <a:gd name="T19" fmla="*/ 43 h 249"/>
              <a:gd name="T20" fmla="*/ 146 w 172"/>
              <a:gd name="T21" fmla="*/ 7 h 249"/>
              <a:gd name="T22" fmla="*/ 135 w 172"/>
              <a:gd name="T23" fmla="*/ 0 h 249"/>
              <a:gd name="T24" fmla="*/ 94 w 172"/>
              <a:gd name="T25" fmla="*/ 28 h 249"/>
              <a:gd name="T26" fmla="*/ 90 w 172"/>
              <a:gd name="T27" fmla="*/ 57 h 249"/>
              <a:gd name="T28" fmla="*/ 46 w 172"/>
              <a:gd name="T29" fmla="*/ 43 h 249"/>
              <a:gd name="T30" fmla="*/ 36 w 172"/>
              <a:gd name="T31" fmla="*/ 100 h 249"/>
              <a:gd name="T32" fmla="*/ 0 w 172"/>
              <a:gd name="T33" fmla="*/ 132 h 249"/>
              <a:gd name="T34" fmla="*/ 0 w 172"/>
              <a:gd name="T35" fmla="*/ 132 h 249"/>
              <a:gd name="T36" fmla="*/ 0 w 172"/>
              <a:gd name="T37" fmla="*/ 132 h 2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2"/>
              <a:gd name="T58" fmla="*/ 0 h 249"/>
              <a:gd name="T59" fmla="*/ 172 w 172"/>
              <a:gd name="T60" fmla="*/ 249 h 2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2" h="249">
                <a:moveTo>
                  <a:pt x="0" y="132"/>
                </a:moveTo>
                <a:lnTo>
                  <a:pt x="72" y="121"/>
                </a:lnTo>
                <a:lnTo>
                  <a:pt x="92" y="163"/>
                </a:lnTo>
                <a:lnTo>
                  <a:pt x="103" y="233"/>
                </a:lnTo>
                <a:lnTo>
                  <a:pt x="144" y="249"/>
                </a:lnTo>
                <a:lnTo>
                  <a:pt x="162" y="219"/>
                </a:lnTo>
                <a:lnTo>
                  <a:pt x="139" y="135"/>
                </a:lnTo>
                <a:lnTo>
                  <a:pt x="172" y="104"/>
                </a:lnTo>
                <a:lnTo>
                  <a:pt x="167" y="79"/>
                </a:lnTo>
                <a:lnTo>
                  <a:pt x="132" y="43"/>
                </a:lnTo>
                <a:lnTo>
                  <a:pt x="146" y="7"/>
                </a:lnTo>
                <a:lnTo>
                  <a:pt x="135" y="0"/>
                </a:lnTo>
                <a:lnTo>
                  <a:pt x="94" y="28"/>
                </a:lnTo>
                <a:lnTo>
                  <a:pt x="90" y="57"/>
                </a:lnTo>
                <a:lnTo>
                  <a:pt x="46" y="43"/>
                </a:lnTo>
                <a:lnTo>
                  <a:pt x="36" y="100"/>
                </a:lnTo>
                <a:lnTo>
                  <a:pt x="0" y="132"/>
                </a:lnTo>
                <a:close/>
              </a:path>
            </a:pathLst>
          </a:custGeom>
          <a:solidFill>
            <a:schemeClr val="accent3"/>
          </a:solidFill>
          <a:ln w="12700">
            <a:solidFill>
              <a:schemeClr val="bg1"/>
            </a:solidFill>
            <a:round/>
            <a:headEnd/>
            <a:tailEnd/>
          </a:ln>
        </p:spPr>
        <p:txBody>
          <a:bodyPr/>
          <a:lstStyle/>
          <a:p>
            <a:pPr>
              <a:defRPr/>
            </a:pPr>
            <a:endParaRPr lang="nl-NL"/>
          </a:p>
        </p:txBody>
      </p:sp>
      <p:sp>
        <p:nvSpPr>
          <p:cNvPr id="299" name="Freeform 98"/>
          <p:cNvSpPr>
            <a:spLocks/>
          </p:cNvSpPr>
          <p:nvPr/>
        </p:nvSpPr>
        <p:spPr bwMode="auto">
          <a:xfrm>
            <a:off x="3498911" y="3686611"/>
            <a:ext cx="210744" cy="316341"/>
          </a:xfrm>
          <a:custGeom>
            <a:avLst/>
            <a:gdLst>
              <a:gd name="T0" fmla="*/ 22 w 136"/>
              <a:gd name="T1" fmla="*/ 0 h 198"/>
              <a:gd name="T2" fmla="*/ 17 w 136"/>
              <a:gd name="T3" fmla="*/ 7 h 198"/>
              <a:gd name="T4" fmla="*/ 0 w 136"/>
              <a:gd name="T5" fmla="*/ 14 h 198"/>
              <a:gd name="T6" fmla="*/ 7 w 136"/>
              <a:gd name="T7" fmla="*/ 22 h 198"/>
              <a:gd name="T8" fmla="*/ 2 w 136"/>
              <a:gd name="T9" fmla="*/ 56 h 198"/>
              <a:gd name="T10" fmla="*/ 47 w 136"/>
              <a:gd name="T11" fmla="*/ 112 h 198"/>
              <a:gd name="T12" fmla="*/ 58 w 136"/>
              <a:gd name="T13" fmla="*/ 119 h 198"/>
              <a:gd name="T14" fmla="*/ 43 w 136"/>
              <a:gd name="T15" fmla="*/ 156 h 198"/>
              <a:gd name="T16" fmla="*/ 82 w 136"/>
              <a:gd name="T17" fmla="*/ 192 h 198"/>
              <a:gd name="T18" fmla="*/ 106 w 136"/>
              <a:gd name="T19" fmla="*/ 198 h 198"/>
              <a:gd name="T20" fmla="*/ 136 w 136"/>
              <a:gd name="T21" fmla="*/ 175 h 198"/>
              <a:gd name="T22" fmla="*/ 129 w 136"/>
              <a:gd name="T23" fmla="*/ 123 h 198"/>
              <a:gd name="T24" fmla="*/ 62 w 136"/>
              <a:gd name="T25" fmla="*/ 89 h 198"/>
              <a:gd name="T26" fmla="*/ 88 w 136"/>
              <a:gd name="T27" fmla="*/ 48 h 198"/>
              <a:gd name="T28" fmla="*/ 54 w 136"/>
              <a:gd name="T29" fmla="*/ 12 h 198"/>
              <a:gd name="T30" fmla="*/ 59 w 136"/>
              <a:gd name="T31" fmla="*/ 6 h 198"/>
              <a:gd name="T32" fmla="*/ 22 w 136"/>
              <a:gd name="T33" fmla="*/ 3 h 198"/>
              <a:gd name="T34" fmla="*/ 22 w 136"/>
              <a:gd name="T35" fmla="*/ 0 h 198"/>
              <a:gd name="T36" fmla="*/ 22 w 136"/>
              <a:gd name="T37" fmla="*/ 0 h 198"/>
              <a:gd name="T38" fmla="*/ 22 w 136"/>
              <a:gd name="T39" fmla="*/ 0 h 19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98"/>
              <a:gd name="T62" fmla="*/ 136 w 136"/>
              <a:gd name="T63" fmla="*/ 198 h 19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98">
                <a:moveTo>
                  <a:pt x="22" y="0"/>
                </a:moveTo>
                <a:lnTo>
                  <a:pt x="17" y="7"/>
                </a:lnTo>
                <a:lnTo>
                  <a:pt x="0" y="14"/>
                </a:lnTo>
                <a:lnTo>
                  <a:pt x="7" y="22"/>
                </a:lnTo>
                <a:lnTo>
                  <a:pt x="2" y="56"/>
                </a:lnTo>
                <a:lnTo>
                  <a:pt x="47" y="112"/>
                </a:lnTo>
                <a:lnTo>
                  <a:pt x="58" y="119"/>
                </a:lnTo>
                <a:lnTo>
                  <a:pt x="43" y="156"/>
                </a:lnTo>
                <a:lnTo>
                  <a:pt x="82" y="192"/>
                </a:lnTo>
                <a:lnTo>
                  <a:pt x="106" y="198"/>
                </a:lnTo>
                <a:lnTo>
                  <a:pt x="136" y="175"/>
                </a:lnTo>
                <a:lnTo>
                  <a:pt x="129" y="123"/>
                </a:lnTo>
                <a:lnTo>
                  <a:pt x="62" y="89"/>
                </a:lnTo>
                <a:lnTo>
                  <a:pt x="88" y="48"/>
                </a:lnTo>
                <a:lnTo>
                  <a:pt x="54" y="12"/>
                </a:lnTo>
                <a:lnTo>
                  <a:pt x="59" y="6"/>
                </a:lnTo>
                <a:lnTo>
                  <a:pt x="22" y="3"/>
                </a:lnTo>
                <a:lnTo>
                  <a:pt x="22" y="0"/>
                </a:lnTo>
                <a:close/>
              </a:path>
            </a:pathLst>
          </a:custGeom>
          <a:solidFill>
            <a:schemeClr val="accent3"/>
          </a:solidFill>
          <a:ln w="12700">
            <a:solidFill>
              <a:schemeClr val="bg1"/>
            </a:solidFill>
            <a:round/>
            <a:headEnd/>
            <a:tailEnd/>
          </a:ln>
        </p:spPr>
        <p:txBody>
          <a:bodyPr/>
          <a:lstStyle/>
          <a:p>
            <a:pPr>
              <a:defRPr/>
            </a:pPr>
            <a:endParaRPr lang="nl-NL"/>
          </a:p>
        </p:txBody>
      </p:sp>
      <p:sp>
        <p:nvSpPr>
          <p:cNvPr id="300" name="Freeform 99"/>
          <p:cNvSpPr>
            <a:spLocks/>
          </p:cNvSpPr>
          <p:nvPr/>
        </p:nvSpPr>
        <p:spPr bwMode="auto">
          <a:xfrm>
            <a:off x="3594986" y="3763300"/>
            <a:ext cx="331612" cy="274801"/>
          </a:xfrm>
          <a:custGeom>
            <a:avLst/>
            <a:gdLst>
              <a:gd name="T0" fmla="*/ 26 w 214"/>
              <a:gd name="T1" fmla="*/ 0 h 172"/>
              <a:gd name="T2" fmla="*/ 0 w 214"/>
              <a:gd name="T3" fmla="*/ 41 h 172"/>
              <a:gd name="T4" fmla="*/ 67 w 214"/>
              <a:gd name="T5" fmla="*/ 75 h 172"/>
              <a:gd name="T6" fmla="*/ 74 w 214"/>
              <a:gd name="T7" fmla="*/ 127 h 172"/>
              <a:gd name="T8" fmla="*/ 104 w 214"/>
              <a:gd name="T9" fmla="*/ 172 h 172"/>
              <a:gd name="T10" fmla="*/ 183 w 214"/>
              <a:gd name="T11" fmla="*/ 172 h 172"/>
              <a:gd name="T12" fmla="*/ 181 w 214"/>
              <a:gd name="T13" fmla="*/ 147 h 172"/>
              <a:gd name="T14" fmla="*/ 214 w 214"/>
              <a:gd name="T15" fmla="*/ 136 h 172"/>
              <a:gd name="T16" fmla="*/ 180 w 214"/>
              <a:gd name="T17" fmla="*/ 85 h 172"/>
              <a:gd name="T18" fmla="*/ 126 w 214"/>
              <a:gd name="T19" fmla="*/ 81 h 172"/>
              <a:gd name="T20" fmla="*/ 126 w 214"/>
              <a:gd name="T21" fmla="*/ 61 h 172"/>
              <a:gd name="T22" fmla="*/ 93 w 214"/>
              <a:gd name="T23" fmla="*/ 65 h 172"/>
              <a:gd name="T24" fmla="*/ 26 w 214"/>
              <a:gd name="T25" fmla="*/ 0 h 172"/>
              <a:gd name="T26" fmla="*/ 26 w 214"/>
              <a:gd name="T27" fmla="*/ 0 h 172"/>
              <a:gd name="T28" fmla="*/ 26 w 214"/>
              <a:gd name="T29" fmla="*/ 0 h 1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4"/>
              <a:gd name="T46" fmla="*/ 0 h 172"/>
              <a:gd name="T47" fmla="*/ 214 w 214"/>
              <a:gd name="T48" fmla="*/ 172 h 17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4" h="172">
                <a:moveTo>
                  <a:pt x="26" y="0"/>
                </a:moveTo>
                <a:lnTo>
                  <a:pt x="0" y="41"/>
                </a:lnTo>
                <a:lnTo>
                  <a:pt x="67" y="75"/>
                </a:lnTo>
                <a:lnTo>
                  <a:pt x="74" y="127"/>
                </a:lnTo>
                <a:lnTo>
                  <a:pt x="104" y="172"/>
                </a:lnTo>
                <a:lnTo>
                  <a:pt x="183" y="172"/>
                </a:lnTo>
                <a:lnTo>
                  <a:pt x="181" y="147"/>
                </a:lnTo>
                <a:lnTo>
                  <a:pt x="214" y="136"/>
                </a:lnTo>
                <a:lnTo>
                  <a:pt x="180" y="85"/>
                </a:lnTo>
                <a:lnTo>
                  <a:pt x="126" y="81"/>
                </a:lnTo>
                <a:lnTo>
                  <a:pt x="126" y="61"/>
                </a:lnTo>
                <a:lnTo>
                  <a:pt x="93" y="65"/>
                </a:lnTo>
                <a:lnTo>
                  <a:pt x="26" y="0"/>
                </a:lnTo>
                <a:close/>
              </a:path>
            </a:pathLst>
          </a:custGeom>
          <a:solidFill>
            <a:schemeClr val="accent3"/>
          </a:solidFill>
          <a:ln w="12700">
            <a:solidFill>
              <a:schemeClr val="bg1"/>
            </a:solidFill>
            <a:round/>
            <a:headEnd/>
            <a:tailEnd/>
          </a:ln>
        </p:spPr>
        <p:txBody>
          <a:bodyPr/>
          <a:lstStyle/>
          <a:p>
            <a:pPr>
              <a:defRPr/>
            </a:pPr>
            <a:endParaRPr lang="nl-NL"/>
          </a:p>
        </p:txBody>
      </p:sp>
      <p:sp>
        <p:nvSpPr>
          <p:cNvPr id="301" name="Freeform 100"/>
          <p:cNvSpPr>
            <a:spLocks/>
          </p:cNvSpPr>
          <p:nvPr/>
        </p:nvSpPr>
        <p:spPr bwMode="auto">
          <a:xfrm>
            <a:off x="3790234" y="3744127"/>
            <a:ext cx="195248" cy="238055"/>
          </a:xfrm>
          <a:custGeom>
            <a:avLst/>
            <a:gdLst>
              <a:gd name="T0" fmla="*/ 51 w 126"/>
              <a:gd name="T1" fmla="*/ 0 h 149"/>
              <a:gd name="T2" fmla="*/ 0 w 126"/>
              <a:gd name="T3" fmla="*/ 74 h 149"/>
              <a:gd name="T4" fmla="*/ 0 w 126"/>
              <a:gd name="T5" fmla="*/ 93 h 149"/>
              <a:gd name="T6" fmla="*/ 55 w 126"/>
              <a:gd name="T7" fmla="*/ 98 h 149"/>
              <a:gd name="T8" fmla="*/ 88 w 126"/>
              <a:gd name="T9" fmla="*/ 149 h 149"/>
              <a:gd name="T10" fmla="*/ 108 w 126"/>
              <a:gd name="T11" fmla="*/ 149 h 149"/>
              <a:gd name="T12" fmla="*/ 126 w 126"/>
              <a:gd name="T13" fmla="*/ 125 h 149"/>
              <a:gd name="T14" fmla="*/ 122 w 126"/>
              <a:gd name="T15" fmla="*/ 104 h 149"/>
              <a:gd name="T16" fmla="*/ 95 w 126"/>
              <a:gd name="T17" fmla="*/ 60 h 149"/>
              <a:gd name="T18" fmla="*/ 81 w 126"/>
              <a:gd name="T19" fmla="*/ 20 h 149"/>
              <a:gd name="T20" fmla="*/ 51 w 126"/>
              <a:gd name="T21" fmla="*/ 0 h 149"/>
              <a:gd name="T22" fmla="*/ 51 w 126"/>
              <a:gd name="T23" fmla="*/ 0 h 149"/>
              <a:gd name="T24" fmla="*/ 51 w 126"/>
              <a:gd name="T25" fmla="*/ 0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6"/>
              <a:gd name="T40" fmla="*/ 0 h 149"/>
              <a:gd name="T41" fmla="*/ 126 w 126"/>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6" h="149">
                <a:moveTo>
                  <a:pt x="51" y="0"/>
                </a:moveTo>
                <a:lnTo>
                  <a:pt x="0" y="74"/>
                </a:lnTo>
                <a:lnTo>
                  <a:pt x="0" y="93"/>
                </a:lnTo>
                <a:lnTo>
                  <a:pt x="55" y="98"/>
                </a:lnTo>
                <a:lnTo>
                  <a:pt x="88" y="149"/>
                </a:lnTo>
                <a:lnTo>
                  <a:pt x="108" y="149"/>
                </a:lnTo>
                <a:lnTo>
                  <a:pt x="126" y="125"/>
                </a:lnTo>
                <a:lnTo>
                  <a:pt x="122" y="104"/>
                </a:lnTo>
                <a:lnTo>
                  <a:pt x="95" y="60"/>
                </a:lnTo>
                <a:lnTo>
                  <a:pt x="81" y="20"/>
                </a:lnTo>
                <a:lnTo>
                  <a:pt x="51" y="0"/>
                </a:lnTo>
                <a:close/>
              </a:path>
            </a:pathLst>
          </a:custGeom>
          <a:solidFill>
            <a:schemeClr val="accent3"/>
          </a:solidFill>
          <a:ln w="12700">
            <a:solidFill>
              <a:schemeClr val="bg1"/>
            </a:solidFill>
            <a:round/>
            <a:headEnd/>
            <a:tailEnd/>
          </a:ln>
        </p:spPr>
        <p:txBody>
          <a:bodyPr/>
          <a:lstStyle/>
          <a:p>
            <a:pPr>
              <a:defRPr/>
            </a:pPr>
            <a:endParaRPr lang="nl-NL"/>
          </a:p>
        </p:txBody>
      </p:sp>
      <p:sp>
        <p:nvSpPr>
          <p:cNvPr id="302" name="Freeform 101"/>
          <p:cNvSpPr>
            <a:spLocks/>
          </p:cNvSpPr>
          <p:nvPr/>
        </p:nvSpPr>
        <p:spPr bwMode="auto">
          <a:xfrm>
            <a:off x="3577940" y="3964608"/>
            <a:ext cx="178203" cy="223675"/>
          </a:xfrm>
          <a:custGeom>
            <a:avLst/>
            <a:gdLst>
              <a:gd name="T0" fmla="*/ 85 w 115"/>
              <a:gd name="T1" fmla="*/ 0 h 140"/>
              <a:gd name="T2" fmla="*/ 55 w 115"/>
              <a:gd name="T3" fmla="*/ 24 h 140"/>
              <a:gd name="T4" fmla="*/ 29 w 115"/>
              <a:gd name="T5" fmla="*/ 17 h 140"/>
              <a:gd name="T6" fmla="*/ 34 w 115"/>
              <a:gd name="T7" fmla="*/ 42 h 140"/>
              <a:gd name="T8" fmla="*/ 0 w 115"/>
              <a:gd name="T9" fmla="*/ 73 h 140"/>
              <a:gd name="T10" fmla="*/ 18 w 115"/>
              <a:gd name="T11" fmla="*/ 140 h 140"/>
              <a:gd name="T12" fmla="*/ 53 w 115"/>
              <a:gd name="T13" fmla="*/ 113 h 140"/>
              <a:gd name="T14" fmla="*/ 73 w 115"/>
              <a:gd name="T15" fmla="*/ 116 h 140"/>
              <a:gd name="T16" fmla="*/ 85 w 115"/>
              <a:gd name="T17" fmla="*/ 80 h 140"/>
              <a:gd name="T18" fmla="*/ 115 w 115"/>
              <a:gd name="T19" fmla="*/ 46 h 140"/>
              <a:gd name="T20" fmla="*/ 85 w 115"/>
              <a:gd name="T21" fmla="*/ 0 h 140"/>
              <a:gd name="T22" fmla="*/ 85 w 115"/>
              <a:gd name="T23" fmla="*/ 0 h 140"/>
              <a:gd name="T24" fmla="*/ 85 w 115"/>
              <a:gd name="T25" fmla="*/ 0 h 1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5"/>
              <a:gd name="T40" fmla="*/ 0 h 140"/>
              <a:gd name="T41" fmla="*/ 115 w 115"/>
              <a:gd name="T42" fmla="*/ 140 h 1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5" h="140">
                <a:moveTo>
                  <a:pt x="85" y="0"/>
                </a:moveTo>
                <a:lnTo>
                  <a:pt x="55" y="24"/>
                </a:lnTo>
                <a:lnTo>
                  <a:pt x="29" y="17"/>
                </a:lnTo>
                <a:lnTo>
                  <a:pt x="34" y="42"/>
                </a:lnTo>
                <a:lnTo>
                  <a:pt x="0" y="73"/>
                </a:lnTo>
                <a:lnTo>
                  <a:pt x="18" y="140"/>
                </a:lnTo>
                <a:lnTo>
                  <a:pt x="53" y="113"/>
                </a:lnTo>
                <a:lnTo>
                  <a:pt x="73" y="116"/>
                </a:lnTo>
                <a:lnTo>
                  <a:pt x="85" y="80"/>
                </a:lnTo>
                <a:lnTo>
                  <a:pt x="115" y="46"/>
                </a:lnTo>
                <a:lnTo>
                  <a:pt x="85" y="0"/>
                </a:lnTo>
                <a:close/>
              </a:path>
            </a:pathLst>
          </a:custGeom>
          <a:solidFill>
            <a:schemeClr val="accent3"/>
          </a:solidFill>
          <a:ln w="12700">
            <a:solidFill>
              <a:schemeClr val="bg1"/>
            </a:solidFill>
            <a:round/>
            <a:headEnd/>
            <a:tailEnd/>
          </a:ln>
        </p:spPr>
        <p:txBody>
          <a:bodyPr/>
          <a:lstStyle/>
          <a:p>
            <a:pPr>
              <a:defRPr/>
            </a:pPr>
            <a:endParaRPr lang="nl-NL"/>
          </a:p>
        </p:txBody>
      </p:sp>
      <p:sp>
        <p:nvSpPr>
          <p:cNvPr id="303" name="Freeform 102"/>
          <p:cNvSpPr>
            <a:spLocks/>
          </p:cNvSpPr>
          <p:nvPr/>
        </p:nvSpPr>
        <p:spPr bwMode="auto">
          <a:xfrm>
            <a:off x="3605833" y="4038101"/>
            <a:ext cx="260331" cy="190124"/>
          </a:xfrm>
          <a:custGeom>
            <a:avLst/>
            <a:gdLst>
              <a:gd name="T0" fmla="*/ 97 w 168"/>
              <a:gd name="T1" fmla="*/ 0 h 119"/>
              <a:gd name="T2" fmla="*/ 68 w 168"/>
              <a:gd name="T3" fmla="*/ 32 h 119"/>
              <a:gd name="T4" fmla="*/ 55 w 168"/>
              <a:gd name="T5" fmla="*/ 70 h 119"/>
              <a:gd name="T6" fmla="*/ 35 w 168"/>
              <a:gd name="T7" fmla="*/ 67 h 119"/>
              <a:gd name="T8" fmla="*/ 0 w 168"/>
              <a:gd name="T9" fmla="*/ 94 h 119"/>
              <a:gd name="T10" fmla="*/ 6 w 168"/>
              <a:gd name="T11" fmla="*/ 116 h 119"/>
              <a:gd name="T12" fmla="*/ 33 w 168"/>
              <a:gd name="T13" fmla="*/ 119 h 119"/>
              <a:gd name="T14" fmla="*/ 55 w 168"/>
              <a:gd name="T15" fmla="*/ 107 h 119"/>
              <a:gd name="T16" fmla="*/ 67 w 168"/>
              <a:gd name="T17" fmla="*/ 119 h 119"/>
              <a:gd name="T18" fmla="*/ 114 w 168"/>
              <a:gd name="T19" fmla="*/ 119 h 119"/>
              <a:gd name="T20" fmla="*/ 132 w 168"/>
              <a:gd name="T21" fmla="*/ 107 h 119"/>
              <a:gd name="T22" fmla="*/ 163 w 168"/>
              <a:gd name="T23" fmla="*/ 74 h 119"/>
              <a:gd name="T24" fmla="*/ 168 w 168"/>
              <a:gd name="T25" fmla="*/ 34 h 119"/>
              <a:gd name="T26" fmla="*/ 134 w 168"/>
              <a:gd name="T27" fmla="*/ 31 h 119"/>
              <a:gd name="T28" fmla="*/ 114 w 168"/>
              <a:gd name="T29" fmla="*/ 0 h 119"/>
              <a:gd name="T30" fmla="*/ 97 w 168"/>
              <a:gd name="T31" fmla="*/ 0 h 119"/>
              <a:gd name="T32" fmla="*/ 97 w 168"/>
              <a:gd name="T33" fmla="*/ 0 h 119"/>
              <a:gd name="T34" fmla="*/ 97 w 168"/>
              <a:gd name="T35" fmla="*/ 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8"/>
              <a:gd name="T55" fmla="*/ 0 h 119"/>
              <a:gd name="T56" fmla="*/ 168 w 168"/>
              <a:gd name="T57" fmla="*/ 119 h 1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8" h="119">
                <a:moveTo>
                  <a:pt x="97" y="0"/>
                </a:moveTo>
                <a:lnTo>
                  <a:pt x="68" y="32"/>
                </a:lnTo>
                <a:lnTo>
                  <a:pt x="55" y="70"/>
                </a:lnTo>
                <a:lnTo>
                  <a:pt x="35" y="67"/>
                </a:lnTo>
                <a:lnTo>
                  <a:pt x="0" y="94"/>
                </a:lnTo>
                <a:lnTo>
                  <a:pt x="6" y="116"/>
                </a:lnTo>
                <a:lnTo>
                  <a:pt x="33" y="119"/>
                </a:lnTo>
                <a:lnTo>
                  <a:pt x="55" y="107"/>
                </a:lnTo>
                <a:lnTo>
                  <a:pt x="67" y="119"/>
                </a:lnTo>
                <a:lnTo>
                  <a:pt x="114" y="119"/>
                </a:lnTo>
                <a:lnTo>
                  <a:pt x="132" y="107"/>
                </a:lnTo>
                <a:lnTo>
                  <a:pt x="163" y="74"/>
                </a:lnTo>
                <a:lnTo>
                  <a:pt x="168" y="34"/>
                </a:lnTo>
                <a:lnTo>
                  <a:pt x="134" y="31"/>
                </a:lnTo>
                <a:lnTo>
                  <a:pt x="114" y="0"/>
                </a:lnTo>
                <a:lnTo>
                  <a:pt x="97" y="0"/>
                </a:lnTo>
                <a:close/>
              </a:path>
            </a:pathLst>
          </a:custGeom>
          <a:solidFill>
            <a:schemeClr val="accent3"/>
          </a:solidFill>
          <a:ln w="12700">
            <a:solidFill>
              <a:schemeClr val="bg1"/>
            </a:solidFill>
            <a:round/>
            <a:headEnd/>
            <a:tailEnd/>
          </a:ln>
        </p:spPr>
        <p:txBody>
          <a:bodyPr/>
          <a:lstStyle/>
          <a:p>
            <a:pPr>
              <a:defRPr/>
            </a:pPr>
            <a:endParaRPr lang="nl-NL"/>
          </a:p>
        </p:txBody>
      </p:sp>
      <p:sp>
        <p:nvSpPr>
          <p:cNvPr id="304" name="Freeform 103"/>
          <p:cNvSpPr>
            <a:spLocks/>
          </p:cNvSpPr>
          <p:nvPr/>
        </p:nvSpPr>
        <p:spPr bwMode="auto">
          <a:xfrm>
            <a:off x="3957589" y="3889516"/>
            <a:ext cx="161157" cy="177343"/>
          </a:xfrm>
          <a:custGeom>
            <a:avLst/>
            <a:gdLst>
              <a:gd name="T0" fmla="*/ 75 w 104"/>
              <a:gd name="T1" fmla="*/ 0 h 111"/>
              <a:gd name="T2" fmla="*/ 14 w 104"/>
              <a:gd name="T3" fmla="*/ 12 h 111"/>
              <a:gd name="T4" fmla="*/ 18 w 104"/>
              <a:gd name="T5" fmla="*/ 34 h 111"/>
              <a:gd name="T6" fmla="*/ 0 w 104"/>
              <a:gd name="T7" fmla="*/ 57 h 111"/>
              <a:gd name="T8" fmla="*/ 40 w 104"/>
              <a:gd name="T9" fmla="*/ 111 h 111"/>
              <a:gd name="T10" fmla="*/ 77 w 104"/>
              <a:gd name="T11" fmla="*/ 105 h 111"/>
              <a:gd name="T12" fmla="*/ 77 w 104"/>
              <a:gd name="T13" fmla="*/ 78 h 111"/>
              <a:gd name="T14" fmla="*/ 59 w 104"/>
              <a:gd name="T15" fmla="*/ 37 h 111"/>
              <a:gd name="T16" fmla="*/ 65 w 104"/>
              <a:gd name="T17" fmla="*/ 22 h 111"/>
              <a:gd name="T18" fmla="*/ 104 w 104"/>
              <a:gd name="T19" fmla="*/ 22 h 111"/>
              <a:gd name="T20" fmla="*/ 75 w 104"/>
              <a:gd name="T21" fmla="*/ 0 h 111"/>
              <a:gd name="T22" fmla="*/ 75 w 104"/>
              <a:gd name="T23" fmla="*/ 0 h 111"/>
              <a:gd name="T24" fmla="*/ 75 w 104"/>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11"/>
              <a:gd name="T41" fmla="*/ 104 w 104"/>
              <a:gd name="T42" fmla="*/ 111 h 1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11">
                <a:moveTo>
                  <a:pt x="75" y="0"/>
                </a:moveTo>
                <a:lnTo>
                  <a:pt x="14" y="12"/>
                </a:lnTo>
                <a:lnTo>
                  <a:pt x="18" y="34"/>
                </a:lnTo>
                <a:lnTo>
                  <a:pt x="0" y="57"/>
                </a:lnTo>
                <a:lnTo>
                  <a:pt x="40" y="111"/>
                </a:lnTo>
                <a:lnTo>
                  <a:pt x="77" y="105"/>
                </a:lnTo>
                <a:lnTo>
                  <a:pt x="77" y="78"/>
                </a:lnTo>
                <a:lnTo>
                  <a:pt x="59" y="37"/>
                </a:lnTo>
                <a:lnTo>
                  <a:pt x="65" y="22"/>
                </a:lnTo>
                <a:lnTo>
                  <a:pt x="104" y="22"/>
                </a:lnTo>
                <a:lnTo>
                  <a:pt x="75" y="0"/>
                </a:lnTo>
                <a:close/>
              </a:path>
            </a:pathLst>
          </a:custGeom>
          <a:solidFill>
            <a:schemeClr val="accent3"/>
          </a:solidFill>
          <a:ln w="12700">
            <a:solidFill>
              <a:schemeClr val="bg1"/>
            </a:solidFill>
            <a:round/>
            <a:headEnd/>
            <a:tailEnd/>
          </a:ln>
        </p:spPr>
        <p:txBody>
          <a:bodyPr/>
          <a:lstStyle/>
          <a:p>
            <a:pPr>
              <a:defRPr/>
            </a:pPr>
            <a:endParaRPr lang="nl-NL"/>
          </a:p>
        </p:txBody>
      </p:sp>
      <p:sp>
        <p:nvSpPr>
          <p:cNvPr id="305" name="Freeform 104"/>
          <p:cNvSpPr>
            <a:spLocks/>
          </p:cNvSpPr>
          <p:nvPr/>
        </p:nvSpPr>
        <p:spPr bwMode="auto">
          <a:xfrm>
            <a:off x="3980833" y="4102008"/>
            <a:ext cx="123967" cy="214089"/>
          </a:xfrm>
          <a:custGeom>
            <a:avLst/>
            <a:gdLst>
              <a:gd name="T0" fmla="*/ 65 w 80"/>
              <a:gd name="T1" fmla="*/ 0 h 134"/>
              <a:gd name="T2" fmla="*/ 29 w 80"/>
              <a:gd name="T3" fmla="*/ 28 h 134"/>
              <a:gd name="T4" fmla="*/ 41 w 80"/>
              <a:gd name="T5" fmla="*/ 54 h 134"/>
              <a:gd name="T6" fmla="*/ 0 w 80"/>
              <a:gd name="T7" fmla="*/ 103 h 134"/>
              <a:gd name="T8" fmla="*/ 15 w 80"/>
              <a:gd name="T9" fmla="*/ 128 h 134"/>
              <a:gd name="T10" fmla="*/ 80 w 80"/>
              <a:gd name="T11" fmla="*/ 134 h 134"/>
              <a:gd name="T12" fmla="*/ 67 w 80"/>
              <a:gd name="T13" fmla="*/ 87 h 134"/>
              <a:gd name="T14" fmla="*/ 80 w 80"/>
              <a:gd name="T15" fmla="*/ 60 h 134"/>
              <a:gd name="T16" fmla="*/ 65 w 80"/>
              <a:gd name="T17" fmla="*/ 0 h 134"/>
              <a:gd name="T18" fmla="*/ 65 w 80"/>
              <a:gd name="T19" fmla="*/ 0 h 134"/>
              <a:gd name="T20" fmla="*/ 65 w 80"/>
              <a:gd name="T21" fmla="*/ 0 h 1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0"/>
              <a:gd name="T34" fmla="*/ 0 h 134"/>
              <a:gd name="T35" fmla="*/ 80 w 80"/>
              <a:gd name="T36" fmla="*/ 134 h 1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0" h="134">
                <a:moveTo>
                  <a:pt x="65" y="0"/>
                </a:moveTo>
                <a:lnTo>
                  <a:pt x="29" y="28"/>
                </a:lnTo>
                <a:lnTo>
                  <a:pt x="41" y="54"/>
                </a:lnTo>
                <a:lnTo>
                  <a:pt x="0" y="103"/>
                </a:lnTo>
                <a:lnTo>
                  <a:pt x="15" y="128"/>
                </a:lnTo>
                <a:lnTo>
                  <a:pt x="80" y="134"/>
                </a:lnTo>
                <a:lnTo>
                  <a:pt x="67" y="87"/>
                </a:lnTo>
                <a:lnTo>
                  <a:pt x="80" y="60"/>
                </a:lnTo>
                <a:lnTo>
                  <a:pt x="65" y="0"/>
                </a:lnTo>
                <a:close/>
              </a:path>
            </a:pathLst>
          </a:custGeom>
          <a:solidFill>
            <a:schemeClr val="accent3"/>
          </a:solidFill>
          <a:ln w="12700">
            <a:solidFill>
              <a:schemeClr val="bg1"/>
            </a:solidFill>
            <a:round/>
            <a:headEnd/>
            <a:tailEnd/>
          </a:ln>
        </p:spPr>
        <p:txBody>
          <a:bodyPr/>
          <a:lstStyle/>
          <a:p>
            <a:pPr>
              <a:defRPr/>
            </a:pPr>
            <a:endParaRPr lang="nl-NL"/>
          </a:p>
        </p:txBody>
      </p:sp>
      <p:sp>
        <p:nvSpPr>
          <p:cNvPr id="306" name="Freeform 105"/>
          <p:cNvSpPr>
            <a:spLocks/>
          </p:cNvSpPr>
          <p:nvPr/>
        </p:nvSpPr>
        <p:spPr bwMode="auto">
          <a:xfrm>
            <a:off x="3782486" y="3982182"/>
            <a:ext cx="299070" cy="254031"/>
          </a:xfrm>
          <a:custGeom>
            <a:avLst/>
            <a:gdLst>
              <a:gd name="T0" fmla="*/ 190 w 193"/>
              <a:gd name="T1" fmla="*/ 47 h 159"/>
              <a:gd name="T2" fmla="*/ 153 w 193"/>
              <a:gd name="T3" fmla="*/ 53 h 159"/>
              <a:gd name="T4" fmla="*/ 115 w 193"/>
              <a:gd name="T5" fmla="*/ 0 h 159"/>
              <a:gd name="T6" fmla="*/ 91 w 193"/>
              <a:gd name="T7" fmla="*/ 0 h 159"/>
              <a:gd name="T8" fmla="*/ 60 w 193"/>
              <a:gd name="T9" fmla="*/ 10 h 159"/>
              <a:gd name="T10" fmla="*/ 61 w 193"/>
              <a:gd name="T11" fmla="*/ 35 h 159"/>
              <a:gd name="T12" fmla="*/ 0 w 193"/>
              <a:gd name="T13" fmla="*/ 35 h 159"/>
              <a:gd name="T14" fmla="*/ 20 w 193"/>
              <a:gd name="T15" fmla="*/ 66 h 159"/>
              <a:gd name="T16" fmla="*/ 54 w 193"/>
              <a:gd name="T17" fmla="*/ 69 h 159"/>
              <a:gd name="T18" fmla="*/ 49 w 193"/>
              <a:gd name="T19" fmla="*/ 110 h 159"/>
              <a:gd name="T20" fmla="*/ 19 w 193"/>
              <a:gd name="T21" fmla="*/ 141 h 159"/>
              <a:gd name="T22" fmla="*/ 38 w 193"/>
              <a:gd name="T23" fmla="*/ 151 h 159"/>
              <a:gd name="T24" fmla="*/ 67 w 193"/>
              <a:gd name="T25" fmla="*/ 135 h 159"/>
              <a:gd name="T26" fmla="*/ 79 w 193"/>
              <a:gd name="T27" fmla="*/ 147 h 159"/>
              <a:gd name="T28" fmla="*/ 144 w 193"/>
              <a:gd name="T29" fmla="*/ 159 h 159"/>
              <a:gd name="T30" fmla="*/ 169 w 193"/>
              <a:gd name="T31" fmla="*/ 129 h 159"/>
              <a:gd name="T32" fmla="*/ 158 w 193"/>
              <a:gd name="T33" fmla="*/ 103 h 159"/>
              <a:gd name="T34" fmla="*/ 193 w 193"/>
              <a:gd name="T35" fmla="*/ 75 h 159"/>
              <a:gd name="T36" fmla="*/ 189 w 193"/>
              <a:gd name="T37" fmla="*/ 59 h 159"/>
              <a:gd name="T38" fmla="*/ 190 w 193"/>
              <a:gd name="T39" fmla="*/ 47 h 159"/>
              <a:gd name="T40" fmla="*/ 190 w 193"/>
              <a:gd name="T41" fmla="*/ 47 h 159"/>
              <a:gd name="T42" fmla="*/ 190 w 193"/>
              <a:gd name="T43" fmla="*/ 47 h 15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3"/>
              <a:gd name="T67" fmla="*/ 0 h 159"/>
              <a:gd name="T68" fmla="*/ 193 w 193"/>
              <a:gd name="T69" fmla="*/ 159 h 15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3" h="159">
                <a:moveTo>
                  <a:pt x="190" y="47"/>
                </a:moveTo>
                <a:lnTo>
                  <a:pt x="153" y="53"/>
                </a:lnTo>
                <a:lnTo>
                  <a:pt x="115" y="0"/>
                </a:lnTo>
                <a:lnTo>
                  <a:pt x="91" y="0"/>
                </a:lnTo>
                <a:lnTo>
                  <a:pt x="60" y="10"/>
                </a:lnTo>
                <a:lnTo>
                  <a:pt x="61" y="35"/>
                </a:lnTo>
                <a:lnTo>
                  <a:pt x="0" y="35"/>
                </a:lnTo>
                <a:lnTo>
                  <a:pt x="20" y="66"/>
                </a:lnTo>
                <a:lnTo>
                  <a:pt x="54" y="69"/>
                </a:lnTo>
                <a:lnTo>
                  <a:pt x="49" y="110"/>
                </a:lnTo>
                <a:lnTo>
                  <a:pt x="19" y="141"/>
                </a:lnTo>
                <a:lnTo>
                  <a:pt x="38" y="151"/>
                </a:lnTo>
                <a:lnTo>
                  <a:pt x="67" y="135"/>
                </a:lnTo>
                <a:lnTo>
                  <a:pt x="79" y="147"/>
                </a:lnTo>
                <a:lnTo>
                  <a:pt x="144" y="159"/>
                </a:lnTo>
                <a:lnTo>
                  <a:pt x="169" y="129"/>
                </a:lnTo>
                <a:lnTo>
                  <a:pt x="158" y="103"/>
                </a:lnTo>
                <a:lnTo>
                  <a:pt x="193" y="75"/>
                </a:lnTo>
                <a:lnTo>
                  <a:pt x="189" y="59"/>
                </a:lnTo>
                <a:lnTo>
                  <a:pt x="190" y="47"/>
                </a:lnTo>
                <a:close/>
              </a:path>
            </a:pathLst>
          </a:custGeom>
          <a:solidFill>
            <a:schemeClr val="accent3"/>
          </a:solidFill>
          <a:ln w="12700">
            <a:solidFill>
              <a:schemeClr val="bg1"/>
            </a:solidFill>
            <a:round/>
            <a:headEnd/>
            <a:tailEnd/>
          </a:ln>
        </p:spPr>
        <p:txBody>
          <a:bodyPr/>
          <a:lstStyle/>
          <a:p>
            <a:pPr>
              <a:defRPr/>
            </a:pPr>
            <a:endParaRPr lang="nl-NL"/>
          </a:p>
        </p:txBody>
      </p:sp>
      <p:sp>
        <p:nvSpPr>
          <p:cNvPr id="307" name="Freeform 106"/>
          <p:cNvSpPr>
            <a:spLocks/>
          </p:cNvSpPr>
          <p:nvPr/>
        </p:nvSpPr>
        <p:spPr bwMode="auto">
          <a:xfrm>
            <a:off x="3286618" y="4058871"/>
            <a:ext cx="302170" cy="340306"/>
          </a:xfrm>
          <a:custGeom>
            <a:avLst/>
            <a:gdLst>
              <a:gd name="T0" fmla="*/ 0 w 195"/>
              <a:gd name="T1" fmla="*/ 54 h 213"/>
              <a:gd name="T2" fmla="*/ 34 w 195"/>
              <a:gd name="T3" fmla="*/ 135 h 213"/>
              <a:gd name="T4" fmla="*/ 8 w 195"/>
              <a:gd name="T5" fmla="*/ 150 h 213"/>
              <a:gd name="T6" fmla="*/ 39 w 195"/>
              <a:gd name="T7" fmla="*/ 202 h 213"/>
              <a:gd name="T8" fmla="*/ 93 w 195"/>
              <a:gd name="T9" fmla="*/ 191 h 213"/>
              <a:gd name="T10" fmla="*/ 137 w 195"/>
              <a:gd name="T11" fmla="*/ 213 h 213"/>
              <a:gd name="T12" fmla="*/ 195 w 195"/>
              <a:gd name="T13" fmla="*/ 145 h 213"/>
              <a:gd name="T14" fmla="*/ 193 w 195"/>
              <a:gd name="T15" fmla="*/ 128 h 213"/>
              <a:gd name="T16" fmla="*/ 152 w 195"/>
              <a:gd name="T17" fmla="*/ 112 h 213"/>
              <a:gd name="T18" fmla="*/ 142 w 195"/>
              <a:gd name="T19" fmla="*/ 45 h 213"/>
              <a:gd name="T20" fmla="*/ 122 w 195"/>
              <a:gd name="T21" fmla="*/ 0 h 213"/>
              <a:gd name="T22" fmla="*/ 49 w 195"/>
              <a:gd name="T23" fmla="*/ 11 h 213"/>
              <a:gd name="T24" fmla="*/ 0 w 195"/>
              <a:gd name="T25" fmla="*/ 54 h 213"/>
              <a:gd name="T26" fmla="*/ 0 w 195"/>
              <a:gd name="T27" fmla="*/ 54 h 213"/>
              <a:gd name="T28" fmla="*/ 0 w 195"/>
              <a:gd name="T29" fmla="*/ 54 h 2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5"/>
              <a:gd name="T46" fmla="*/ 0 h 213"/>
              <a:gd name="T47" fmla="*/ 195 w 195"/>
              <a:gd name="T48" fmla="*/ 213 h 2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5" h="213">
                <a:moveTo>
                  <a:pt x="0" y="54"/>
                </a:moveTo>
                <a:lnTo>
                  <a:pt x="34" y="135"/>
                </a:lnTo>
                <a:lnTo>
                  <a:pt x="8" y="150"/>
                </a:lnTo>
                <a:lnTo>
                  <a:pt x="39" y="202"/>
                </a:lnTo>
                <a:lnTo>
                  <a:pt x="93" y="191"/>
                </a:lnTo>
                <a:lnTo>
                  <a:pt x="137" y="213"/>
                </a:lnTo>
                <a:lnTo>
                  <a:pt x="195" y="145"/>
                </a:lnTo>
                <a:lnTo>
                  <a:pt x="193" y="128"/>
                </a:lnTo>
                <a:lnTo>
                  <a:pt x="152" y="112"/>
                </a:lnTo>
                <a:lnTo>
                  <a:pt x="142" y="45"/>
                </a:lnTo>
                <a:lnTo>
                  <a:pt x="122" y="0"/>
                </a:lnTo>
                <a:lnTo>
                  <a:pt x="49" y="11"/>
                </a:lnTo>
                <a:lnTo>
                  <a:pt x="0" y="54"/>
                </a:lnTo>
                <a:close/>
              </a:path>
            </a:pathLst>
          </a:custGeom>
          <a:solidFill>
            <a:schemeClr val="accent3"/>
          </a:solidFill>
          <a:ln w="12700">
            <a:solidFill>
              <a:schemeClr val="bg1"/>
            </a:solidFill>
            <a:round/>
            <a:headEnd/>
            <a:tailEnd/>
          </a:ln>
        </p:spPr>
        <p:txBody>
          <a:bodyPr/>
          <a:lstStyle/>
          <a:p>
            <a:pPr>
              <a:defRPr/>
            </a:pPr>
            <a:endParaRPr lang="nl-NL"/>
          </a:p>
        </p:txBody>
      </p:sp>
      <p:sp>
        <p:nvSpPr>
          <p:cNvPr id="308" name="Freeform 107"/>
          <p:cNvSpPr>
            <a:spLocks/>
          </p:cNvSpPr>
          <p:nvPr/>
        </p:nvSpPr>
        <p:spPr bwMode="auto">
          <a:xfrm>
            <a:off x="3046432" y="4287339"/>
            <a:ext cx="452480" cy="268410"/>
          </a:xfrm>
          <a:custGeom>
            <a:avLst/>
            <a:gdLst>
              <a:gd name="T0" fmla="*/ 163 w 292"/>
              <a:gd name="T1" fmla="*/ 7 h 168"/>
              <a:gd name="T2" fmla="*/ 114 w 292"/>
              <a:gd name="T3" fmla="*/ 0 h 168"/>
              <a:gd name="T4" fmla="*/ 82 w 292"/>
              <a:gd name="T5" fmla="*/ 64 h 168"/>
              <a:gd name="T6" fmla="*/ 111 w 292"/>
              <a:gd name="T7" fmla="*/ 68 h 168"/>
              <a:gd name="T8" fmla="*/ 78 w 292"/>
              <a:gd name="T9" fmla="*/ 113 h 168"/>
              <a:gd name="T10" fmla="*/ 50 w 292"/>
              <a:gd name="T11" fmla="*/ 113 h 168"/>
              <a:gd name="T12" fmla="*/ 0 w 292"/>
              <a:gd name="T13" fmla="*/ 168 h 168"/>
              <a:gd name="T14" fmla="*/ 90 w 292"/>
              <a:gd name="T15" fmla="*/ 140 h 168"/>
              <a:gd name="T16" fmla="*/ 124 w 292"/>
              <a:gd name="T17" fmla="*/ 154 h 168"/>
              <a:gd name="T18" fmla="*/ 173 w 292"/>
              <a:gd name="T19" fmla="*/ 111 h 168"/>
              <a:gd name="T20" fmla="*/ 214 w 292"/>
              <a:gd name="T21" fmla="*/ 156 h 168"/>
              <a:gd name="T22" fmla="*/ 250 w 292"/>
              <a:gd name="T23" fmla="*/ 156 h 168"/>
              <a:gd name="T24" fmla="*/ 292 w 292"/>
              <a:gd name="T25" fmla="*/ 70 h 168"/>
              <a:gd name="T26" fmla="*/ 248 w 292"/>
              <a:gd name="T27" fmla="*/ 48 h 168"/>
              <a:gd name="T28" fmla="*/ 193 w 292"/>
              <a:gd name="T29" fmla="*/ 59 h 168"/>
              <a:gd name="T30" fmla="*/ 163 w 292"/>
              <a:gd name="T31" fmla="*/ 7 h 168"/>
              <a:gd name="T32" fmla="*/ 163 w 292"/>
              <a:gd name="T33" fmla="*/ 7 h 168"/>
              <a:gd name="T34" fmla="*/ 163 w 292"/>
              <a:gd name="T35" fmla="*/ 7 h 16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2"/>
              <a:gd name="T55" fmla="*/ 0 h 168"/>
              <a:gd name="T56" fmla="*/ 292 w 292"/>
              <a:gd name="T57" fmla="*/ 168 h 16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2" h="168">
                <a:moveTo>
                  <a:pt x="163" y="7"/>
                </a:moveTo>
                <a:lnTo>
                  <a:pt x="114" y="0"/>
                </a:lnTo>
                <a:lnTo>
                  <a:pt x="82" y="64"/>
                </a:lnTo>
                <a:lnTo>
                  <a:pt x="111" y="68"/>
                </a:lnTo>
                <a:lnTo>
                  <a:pt x="78" y="113"/>
                </a:lnTo>
                <a:lnTo>
                  <a:pt x="50" y="113"/>
                </a:lnTo>
                <a:lnTo>
                  <a:pt x="0" y="168"/>
                </a:lnTo>
                <a:lnTo>
                  <a:pt x="90" y="140"/>
                </a:lnTo>
                <a:lnTo>
                  <a:pt x="124" y="154"/>
                </a:lnTo>
                <a:lnTo>
                  <a:pt x="173" y="111"/>
                </a:lnTo>
                <a:lnTo>
                  <a:pt x="214" y="156"/>
                </a:lnTo>
                <a:lnTo>
                  <a:pt x="250" y="156"/>
                </a:lnTo>
                <a:lnTo>
                  <a:pt x="292" y="70"/>
                </a:lnTo>
                <a:lnTo>
                  <a:pt x="248" y="48"/>
                </a:lnTo>
                <a:lnTo>
                  <a:pt x="193" y="59"/>
                </a:lnTo>
                <a:lnTo>
                  <a:pt x="163" y="7"/>
                </a:lnTo>
                <a:close/>
              </a:path>
            </a:pathLst>
          </a:custGeom>
          <a:solidFill>
            <a:schemeClr val="accent3"/>
          </a:solidFill>
          <a:ln w="12700">
            <a:solidFill>
              <a:schemeClr val="bg1"/>
            </a:solidFill>
            <a:round/>
            <a:headEnd/>
            <a:tailEnd/>
          </a:ln>
        </p:spPr>
        <p:txBody>
          <a:bodyPr/>
          <a:lstStyle/>
          <a:p>
            <a:pPr>
              <a:defRPr/>
            </a:pPr>
            <a:endParaRPr lang="nl-NL"/>
          </a:p>
        </p:txBody>
      </p:sp>
      <p:sp>
        <p:nvSpPr>
          <p:cNvPr id="309" name="Freeform 108"/>
          <p:cNvSpPr>
            <a:spLocks/>
          </p:cNvSpPr>
          <p:nvPr/>
        </p:nvSpPr>
        <p:spPr bwMode="auto">
          <a:xfrm>
            <a:off x="3567093" y="4207455"/>
            <a:ext cx="289773" cy="239652"/>
          </a:xfrm>
          <a:custGeom>
            <a:avLst/>
            <a:gdLst>
              <a:gd name="T0" fmla="*/ 29 w 187"/>
              <a:gd name="T1" fmla="*/ 5 h 150"/>
              <a:gd name="T2" fmla="*/ 12 w 187"/>
              <a:gd name="T3" fmla="*/ 35 h 150"/>
              <a:gd name="T4" fmla="*/ 14 w 187"/>
              <a:gd name="T5" fmla="*/ 52 h 150"/>
              <a:gd name="T6" fmla="*/ 0 w 187"/>
              <a:gd name="T7" fmla="*/ 68 h 150"/>
              <a:gd name="T8" fmla="*/ 22 w 187"/>
              <a:gd name="T9" fmla="*/ 81 h 150"/>
              <a:gd name="T10" fmla="*/ 12 w 187"/>
              <a:gd name="T11" fmla="*/ 150 h 150"/>
              <a:gd name="T12" fmla="*/ 59 w 187"/>
              <a:gd name="T13" fmla="*/ 129 h 150"/>
              <a:gd name="T14" fmla="*/ 85 w 187"/>
              <a:gd name="T15" fmla="*/ 92 h 150"/>
              <a:gd name="T16" fmla="*/ 85 w 187"/>
              <a:gd name="T17" fmla="*/ 71 h 150"/>
              <a:gd name="T18" fmla="*/ 122 w 187"/>
              <a:gd name="T19" fmla="*/ 60 h 150"/>
              <a:gd name="T20" fmla="*/ 138 w 187"/>
              <a:gd name="T21" fmla="*/ 83 h 150"/>
              <a:gd name="T22" fmla="*/ 168 w 187"/>
              <a:gd name="T23" fmla="*/ 78 h 150"/>
              <a:gd name="T24" fmla="*/ 159 w 187"/>
              <a:gd name="T25" fmla="*/ 62 h 150"/>
              <a:gd name="T26" fmla="*/ 187 w 187"/>
              <a:gd name="T27" fmla="*/ 62 h 150"/>
              <a:gd name="T28" fmla="*/ 187 w 187"/>
              <a:gd name="T29" fmla="*/ 23 h 150"/>
              <a:gd name="T30" fmla="*/ 178 w 187"/>
              <a:gd name="T31" fmla="*/ 10 h 150"/>
              <a:gd name="T32" fmla="*/ 159 w 187"/>
              <a:gd name="T33" fmla="*/ 0 h 150"/>
              <a:gd name="T34" fmla="*/ 141 w 187"/>
              <a:gd name="T35" fmla="*/ 13 h 150"/>
              <a:gd name="T36" fmla="*/ 92 w 187"/>
              <a:gd name="T37" fmla="*/ 13 h 150"/>
              <a:gd name="T38" fmla="*/ 80 w 187"/>
              <a:gd name="T39" fmla="*/ 1 h 150"/>
              <a:gd name="T40" fmla="*/ 59 w 187"/>
              <a:gd name="T41" fmla="*/ 13 h 150"/>
              <a:gd name="T42" fmla="*/ 31 w 187"/>
              <a:gd name="T43" fmla="*/ 10 h 150"/>
              <a:gd name="T44" fmla="*/ 29 w 187"/>
              <a:gd name="T45" fmla="*/ 5 h 150"/>
              <a:gd name="T46" fmla="*/ 29 w 187"/>
              <a:gd name="T47" fmla="*/ 5 h 150"/>
              <a:gd name="T48" fmla="*/ 29 w 187"/>
              <a:gd name="T49" fmla="*/ 5 h 15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87"/>
              <a:gd name="T76" fmla="*/ 0 h 150"/>
              <a:gd name="T77" fmla="*/ 187 w 187"/>
              <a:gd name="T78" fmla="*/ 150 h 15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87" h="150">
                <a:moveTo>
                  <a:pt x="29" y="5"/>
                </a:moveTo>
                <a:lnTo>
                  <a:pt x="12" y="35"/>
                </a:lnTo>
                <a:lnTo>
                  <a:pt x="14" y="52"/>
                </a:lnTo>
                <a:lnTo>
                  <a:pt x="0" y="68"/>
                </a:lnTo>
                <a:lnTo>
                  <a:pt x="22" y="81"/>
                </a:lnTo>
                <a:lnTo>
                  <a:pt x="12" y="150"/>
                </a:lnTo>
                <a:lnTo>
                  <a:pt x="59" y="129"/>
                </a:lnTo>
                <a:lnTo>
                  <a:pt x="85" y="92"/>
                </a:lnTo>
                <a:lnTo>
                  <a:pt x="85" y="71"/>
                </a:lnTo>
                <a:lnTo>
                  <a:pt x="122" y="60"/>
                </a:lnTo>
                <a:lnTo>
                  <a:pt x="138" y="83"/>
                </a:lnTo>
                <a:lnTo>
                  <a:pt x="168" y="78"/>
                </a:lnTo>
                <a:lnTo>
                  <a:pt x="159" y="62"/>
                </a:lnTo>
                <a:lnTo>
                  <a:pt x="187" y="62"/>
                </a:lnTo>
                <a:lnTo>
                  <a:pt x="187" y="23"/>
                </a:lnTo>
                <a:lnTo>
                  <a:pt x="178" y="10"/>
                </a:lnTo>
                <a:lnTo>
                  <a:pt x="159" y="0"/>
                </a:lnTo>
                <a:lnTo>
                  <a:pt x="141" y="13"/>
                </a:lnTo>
                <a:lnTo>
                  <a:pt x="92" y="13"/>
                </a:lnTo>
                <a:lnTo>
                  <a:pt x="80" y="1"/>
                </a:lnTo>
                <a:lnTo>
                  <a:pt x="59" y="13"/>
                </a:lnTo>
                <a:lnTo>
                  <a:pt x="31" y="10"/>
                </a:lnTo>
                <a:lnTo>
                  <a:pt x="29" y="5"/>
                </a:lnTo>
                <a:close/>
              </a:path>
            </a:pathLst>
          </a:custGeom>
          <a:solidFill>
            <a:schemeClr val="accent3"/>
          </a:solidFill>
          <a:ln w="12700">
            <a:solidFill>
              <a:schemeClr val="bg1"/>
            </a:solidFill>
            <a:round/>
            <a:headEnd/>
            <a:tailEnd/>
          </a:ln>
        </p:spPr>
        <p:txBody>
          <a:bodyPr/>
          <a:lstStyle/>
          <a:p>
            <a:pPr>
              <a:defRPr/>
            </a:pPr>
            <a:endParaRPr lang="nl-NL"/>
          </a:p>
        </p:txBody>
      </p:sp>
      <p:sp>
        <p:nvSpPr>
          <p:cNvPr id="310" name="Freeform 109"/>
          <p:cNvSpPr>
            <a:spLocks/>
          </p:cNvSpPr>
          <p:nvPr/>
        </p:nvSpPr>
        <p:spPr bwMode="auto">
          <a:xfrm>
            <a:off x="3652320" y="4304914"/>
            <a:ext cx="226240" cy="186929"/>
          </a:xfrm>
          <a:custGeom>
            <a:avLst/>
            <a:gdLst>
              <a:gd name="T0" fmla="*/ 4 w 146"/>
              <a:gd name="T1" fmla="*/ 69 h 117"/>
              <a:gd name="T2" fmla="*/ 9 w 146"/>
              <a:gd name="T3" fmla="*/ 72 h 117"/>
              <a:gd name="T4" fmla="*/ 0 w 146"/>
              <a:gd name="T5" fmla="*/ 94 h 117"/>
              <a:gd name="T6" fmla="*/ 11 w 146"/>
              <a:gd name="T7" fmla="*/ 114 h 117"/>
              <a:gd name="T8" fmla="*/ 71 w 146"/>
              <a:gd name="T9" fmla="*/ 114 h 117"/>
              <a:gd name="T10" fmla="*/ 93 w 146"/>
              <a:gd name="T11" fmla="*/ 93 h 117"/>
              <a:gd name="T12" fmla="*/ 115 w 146"/>
              <a:gd name="T13" fmla="*/ 117 h 117"/>
              <a:gd name="T14" fmla="*/ 140 w 146"/>
              <a:gd name="T15" fmla="*/ 117 h 117"/>
              <a:gd name="T16" fmla="*/ 146 w 146"/>
              <a:gd name="T17" fmla="*/ 93 h 117"/>
              <a:gd name="T18" fmla="*/ 113 w 146"/>
              <a:gd name="T19" fmla="*/ 17 h 117"/>
              <a:gd name="T20" fmla="*/ 82 w 146"/>
              <a:gd name="T21" fmla="*/ 22 h 117"/>
              <a:gd name="T22" fmla="*/ 68 w 146"/>
              <a:gd name="T23" fmla="*/ 0 h 117"/>
              <a:gd name="T24" fmla="*/ 30 w 146"/>
              <a:gd name="T25" fmla="*/ 10 h 117"/>
              <a:gd name="T26" fmla="*/ 30 w 146"/>
              <a:gd name="T27" fmla="*/ 32 h 117"/>
              <a:gd name="T28" fmla="*/ 4 w 146"/>
              <a:gd name="T29" fmla="*/ 69 h 117"/>
              <a:gd name="T30" fmla="*/ 4 w 146"/>
              <a:gd name="T31" fmla="*/ 69 h 117"/>
              <a:gd name="T32" fmla="*/ 4 w 146"/>
              <a:gd name="T33" fmla="*/ 69 h 1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6"/>
              <a:gd name="T52" fmla="*/ 0 h 117"/>
              <a:gd name="T53" fmla="*/ 146 w 146"/>
              <a:gd name="T54" fmla="*/ 117 h 1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6" h="117">
                <a:moveTo>
                  <a:pt x="4" y="69"/>
                </a:moveTo>
                <a:lnTo>
                  <a:pt x="9" y="72"/>
                </a:lnTo>
                <a:lnTo>
                  <a:pt x="0" y="94"/>
                </a:lnTo>
                <a:lnTo>
                  <a:pt x="11" y="114"/>
                </a:lnTo>
                <a:lnTo>
                  <a:pt x="71" y="114"/>
                </a:lnTo>
                <a:lnTo>
                  <a:pt x="93" y="93"/>
                </a:lnTo>
                <a:lnTo>
                  <a:pt x="115" y="117"/>
                </a:lnTo>
                <a:lnTo>
                  <a:pt x="140" y="117"/>
                </a:lnTo>
                <a:lnTo>
                  <a:pt x="146" y="93"/>
                </a:lnTo>
                <a:lnTo>
                  <a:pt x="113" y="17"/>
                </a:lnTo>
                <a:lnTo>
                  <a:pt x="82" y="22"/>
                </a:lnTo>
                <a:lnTo>
                  <a:pt x="68" y="0"/>
                </a:lnTo>
                <a:lnTo>
                  <a:pt x="30" y="10"/>
                </a:lnTo>
                <a:lnTo>
                  <a:pt x="30" y="32"/>
                </a:lnTo>
                <a:lnTo>
                  <a:pt x="4" y="69"/>
                </a:lnTo>
                <a:close/>
              </a:path>
            </a:pathLst>
          </a:custGeom>
          <a:solidFill>
            <a:schemeClr val="accent3"/>
          </a:solidFill>
          <a:ln w="12700">
            <a:solidFill>
              <a:schemeClr val="bg1"/>
            </a:solidFill>
            <a:round/>
            <a:headEnd/>
            <a:tailEnd/>
          </a:ln>
        </p:spPr>
        <p:txBody>
          <a:bodyPr/>
          <a:lstStyle/>
          <a:p>
            <a:pPr>
              <a:defRPr/>
            </a:pPr>
            <a:endParaRPr lang="nl-NL"/>
          </a:p>
        </p:txBody>
      </p:sp>
      <p:sp>
        <p:nvSpPr>
          <p:cNvPr id="311" name="Freeform 110"/>
          <p:cNvSpPr>
            <a:spLocks/>
          </p:cNvSpPr>
          <p:nvPr/>
        </p:nvSpPr>
        <p:spPr bwMode="auto">
          <a:xfrm>
            <a:off x="3813477" y="4197869"/>
            <a:ext cx="192149" cy="263617"/>
          </a:xfrm>
          <a:custGeom>
            <a:avLst/>
            <a:gdLst>
              <a:gd name="T0" fmla="*/ 19 w 124"/>
              <a:gd name="T1" fmla="*/ 16 h 165"/>
              <a:gd name="T2" fmla="*/ 28 w 124"/>
              <a:gd name="T3" fmla="*/ 29 h 165"/>
              <a:gd name="T4" fmla="*/ 28 w 124"/>
              <a:gd name="T5" fmla="*/ 68 h 165"/>
              <a:gd name="T6" fmla="*/ 0 w 124"/>
              <a:gd name="T7" fmla="*/ 68 h 165"/>
              <a:gd name="T8" fmla="*/ 9 w 124"/>
              <a:gd name="T9" fmla="*/ 84 h 165"/>
              <a:gd name="T10" fmla="*/ 42 w 124"/>
              <a:gd name="T11" fmla="*/ 160 h 165"/>
              <a:gd name="T12" fmla="*/ 42 w 124"/>
              <a:gd name="T13" fmla="*/ 165 h 165"/>
              <a:gd name="T14" fmla="*/ 75 w 124"/>
              <a:gd name="T15" fmla="*/ 161 h 165"/>
              <a:gd name="T16" fmla="*/ 66 w 124"/>
              <a:gd name="T17" fmla="*/ 120 h 165"/>
              <a:gd name="T18" fmla="*/ 123 w 124"/>
              <a:gd name="T19" fmla="*/ 68 h 165"/>
              <a:gd name="T20" fmla="*/ 108 w 124"/>
              <a:gd name="T21" fmla="*/ 43 h 165"/>
              <a:gd name="T22" fmla="*/ 124 w 124"/>
              <a:gd name="T23" fmla="*/ 21 h 165"/>
              <a:gd name="T24" fmla="*/ 59 w 124"/>
              <a:gd name="T25" fmla="*/ 11 h 165"/>
              <a:gd name="T26" fmla="*/ 47 w 124"/>
              <a:gd name="T27" fmla="*/ 0 h 165"/>
              <a:gd name="T28" fmla="*/ 19 w 124"/>
              <a:gd name="T29" fmla="*/ 16 h 165"/>
              <a:gd name="T30" fmla="*/ 19 w 124"/>
              <a:gd name="T31" fmla="*/ 16 h 165"/>
              <a:gd name="T32" fmla="*/ 19 w 124"/>
              <a:gd name="T33" fmla="*/ 16 h 1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4"/>
              <a:gd name="T52" fmla="*/ 0 h 165"/>
              <a:gd name="T53" fmla="*/ 124 w 124"/>
              <a:gd name="T54" fmla="*/ 165 h 16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4" h="165">
                <a:moveTo>
                  <a:pt x="19" y="16"/>
                </a:moveTo>
                <a:lnTo>
                  <a:pt x="28" y="29"/>
                </a:lnTo>
                <a:lnTo>
                  <a:pt x="28" y="68"/>
                </a:lnTo>
                <a:lnTo>
                  <a:pt x="0" y="68"/>
                </a:lnTo>
                <a:lnTo>
                  <a:pt x="9" y="84"/>
                </a:lnTo>
                <a:lnTo>
                  <a:pt x="42" y="160"/>
                </a:lnTo>
                <a:lnTo>
                  <a:pt x="42" y="165"/>
                </a:lnTo>
                <a:lnTo>
                  <a:pt x="75" y="161"/>
                </a:lnTo>
                <a:lnTo>
                  <a:pt x="66" y="120"/>
                </a:lnTo>
                <a:lnTo>
                  <a:pt x="123" y="68"/>
                </a:lnTo>
                <a:lnTo>
                  <a:pt x="108" y="43"/>
                </a:lnTo>
                <a:lnTo>
                  <a:pt x="124" y="21"/>
                </a:lnTo>
                <a:lnTo>
                  <a:pt x="59" y="11"/>
                </a:lnTo>
                <a:lnTo>
                  <a:pt x="47" y="0"/>
                </a:lnTo>
                <a:lnTo>
                  <a:pt x="19" y="16"/>
                </a:lnTo>
                <a:close/>
              </a:path>
            </a:pathLst>
          </a:custGeom>
          <a:solidFill>
            <a:schemeClr val="accent3"/>
          </a:solidFill>
          <a:ln w="12700">
            <a:solidFill>
              <a:schemeClr val="bg1"/>
            </a:solidFill>
            <a:round/>
            <a:headEnd/>
            <a:tailEnd/>
          </a:ln>
        </p:spPr>
        <p:txBody>
          <a:bodyPr/>
          <a:lstStyle/>
          <a:p>
            <a:pPr>
              <a:defRPr/>
            </a:pPr>
            <a:endParaRPr lang="nl-NL"/>
          </a:p>
        </p:txBody>
      </p:sp>
      <p:sp>
        <p:nvSpPr>
          <p:cNvPr id="312" name="Freeform 111"/>
          <p:cNvSpPr>
            <a:spLocks/>
          </p:cNvSpPr>
          <p:nvPr/>
        </p:nvSpPr>
        <p:spPr bwMode="auto">
          <a:xfrm>
            <a:off x="2868229" y="4552554"/>
            <a:ext cx="381199" cy="444155"/>
          </a:xfrm>
          <a:custGeom>
            <a:avLst/>
            <a:gdLst>
              <a:gd name="T0" fmla="*/ 157 w 246"/>
              <a:gd name="T1" fmla="*/ 5 h 278"/>
              <a:gd name="T2" fmla="*/ 153 w 246"/>
              <a:gd name="T3" fmla="*/ 24 h 278"/>
              <a:gd name="T4" fmla="*/ 109 w 246"/>
              <a:gd name="T5" fmla="*/ 51 h 278"/>
              <a:gd name="T6" fmla="*/ 133 w 246"/>
              <a:gd name="T7" fmla="*/ 103 h 278"/>
              <a:gd name="T8" fmla="*/ 100 w 246"/>
              <a:gd name="T9" fmla="*/ 103 h 278"/>
              <a:gd name="T10" fmla="*/ 53 w 246"/>
              <a:gd name="T11" fmla="*/ 81 h 278"/>
              <a:gd name="T12" fmla="*/ 0 w 246"/>
              <a:gd name="T13" fmla="*/ 114 h 278"/>
              <a:gd name="T14" fmla="*/ 2 w 246"/>
              <a:gd name="T15" fmla="*/ 135 h 278"/>
              <a:gd name="T16" fmla="*/ 112 w 246"/>
              <a:gd name="T17" fmla="*/ 139 h 278"/>
              <a:gd name="T18" fmla="*/ 14 w 246"/>
              <a:gd name="T19" fmla="*/ 201 h 278"/>
              <a:gd name="T20" fmla="*/ 28 w 246"/>
              <a:gd name="T21" fmla="*/ 233 h 278"/>
              <a:gd name="T22" fmla="*/ 156 w 246"/>
              <a:gd name="T23" fmla="*/ 208 h 278"/>
              <a:gd name="T24" fmla="*/ 50 w 246"/>
              <a:gd name="T25" fmla="*/ 278 h 278"/>
              <a:gd name="T26" fmla="*/ 171 w 246"/>
              <a:gd name="T27" fmla="*/ 255 h 278"/>
              <a:gd name="T28" fmla="*/ 206 w 246"/>
              <a:gd name="T29" fmla="*/ 215 h 278"/>
              <a:gd name="T30" fmla="*/ 216 w 246"/>
              <a:gd name="T31" fmla="*/ 192 h 278"/>
              <a:gd name="T32" fmla="*/ 246 w 246"/>
              <a:gd name="T33" fmla="*/ 179 h 278"/>
              <a:gd name="T34" fmla="*/ 221 w 246"/>
              <a:gd name="T35" fmla="*/ 136 h 278"/>
              <a:gd name="T36" fmla="*/ 228 w 246"/>
              <a:gd name="T37" fmla="*/ 87 h 278"/>
              <a:gd name="T38" fmla="*/ 211 w 246"/>
              <a:gd name="T39" fmla="*/ 74 h 278"/>
              <a:gd name="T40" fmla="*/ 221 w 246"/>
              <a:gd name="T41" fmla="*/ 28 h 278"/>
              <a:gd name="T42" fmla="*/ 206 w 246"/>
              <a:gd name="T43" fmla="*/ 0 h 278"/>
              <a:gd name="T44" fmla="*/ 157 w 246"/>
              <a:gd name="T45" fmla="*/ 5 h 278"/>
              <a:gd name="T46" fmla="*/ 157 w 246"/>
              <a:gd name="T47" fmla="*/ 5 h 278"/>
              <a:gd name="T48" fmla="*/ 157 w 246"/>
              <a:gd name="T49" fmla="*/ 5 h 2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6"/>
              <a:gd name="T76" fmla="*/ 0 h 278"/>
              <a:gd name="T77" fmla="*/ 246 w 246"/>
              <a:gd name="T78" fmla="*/ 278 h 2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6" h="278">
                <a:moveTo>
                  <a:pt x="157" y="5"/>
                </a:moveTo>
                <a:lnTo>
                  <a:pt x="153" y="24"/>
                </a:lnTo>
                <a:lnTo>
                  <a:pt x="109" y="51"/>
                </a:lnTo>
                <a:lnTo>
                  <a:pt x="133" y="103"/>
                </a:lnTo>
                <a:lnTo>
                  <a:pt x="100" y="103"/>
                </a:lnTo>
                <a:lnTo>
                  <a:pt x="53" y="81"/>
                </a:lnTo>
                <a:lnTo>
                  <a:pt x="0" y="114"/>
                </a:lnTo>
                <a:lnTo>
                  <a:pt x="2" y="135"/>
                </a:lnTo>
                <a:lnTo>
                  <a:pt x="112" y="139"/>
                </a:lnTo>
                <a:lnTo>
                  <a:pt x="14" y="201"/>
                </a:lnTo>
                <a:lnTo>
                  <a:pt x="28" y="233"/>
                </a:lnTo>
                <a:lnTo>
                  <a:pt x="156" y="208"/>
                </a:lnTo>
                <a:lnTo>
                  <a:pt x="50" y="278"/>
                </a:lnTo>
                <a:lnTo>
                  <a:pt x="171" y="255"/>
                </a:lnTo>
                <a:lnTo>
                  <a:pt x="206" y="215"/>
                </a:lnTo>
                <a:lnTo>
                  <a:pt x="216" y="192"/>
                </a:lnTo>
                <a:lnTo>
                  <a:pt x="246" y="179"/>
                </a:lnTo>
                <a:lnTo>
                  <a:pt x="221" y="136"/>
                </a:lnTo>
                <a:lnTo>
                  <a:pt x="228" y="87"/>
                </a:lnTo>
                <a:lnTo>
                  <a:pt x="211" y="74"/>
                </a:lnTo>
                <a:lnTo>
                  <a:pt x="221" y="28"/>
                </a:lnTo>
                <a:lnTo>
                  <a:pt x="206" y="0"/>
                </a:lnTo>
                <a:lnTo>
                  <a:pt x="157" y="5"/>
                </a:lnTo>
                <a:close/>
              </a:path>
            </a:pathLst>
          </a:custGeom>
          <a:solidFill>
            <a:schemeClr val="accent3"/>
          </a:solidFill>
          <a:ln w="12700">
            <a:solidFill>
              <a:schemeClr val="bg1"/>
            </a:solidFill>
            <a:round/>
            <a:headEnd/>
            <a:tailEnd/>
          </a:ln>
        </p:spPr>
        <p:txBody>
          <a:bodyPr/>
          <a:lstStyle/>
          <a:p>
            <a:pPr>
              <a:defRPr/>
            </a:pPr>
            <a:endParaRPr lang="nl-NL"/>
          </a:p>
        </p:txBody>
      </p:sp>
      <p:sp>
        <p:nvSpPr>
          <p:cNvPr id="313" name="Freeform 112"/>
          <p:cNvSpPr>
            <a:spLocks/>
          </p:cNvSpPr>
          <p:nvPr/>
        </p:nvSpPr>
        <p:spPr bwMode="auto">
          <a:xfrm>
            <a:off x="3188994" y="4509417"/>
            <a:ext cx="336260" cy="218882"/>
          </a:xfrm>
          <a:custGeom>
            <a:avLst/>
            <a:gdLst>
              <a:gd name="T0" fmla="*/ 122 w 217"/>
              <a:gd name="T1" fmla="*/ 17 h 137"/>
              <a:gd name="T2" fmla="*/ 0 w 217"/>
              <a:gd name="T3" fmla="*/ 27 h 137"/>
              <a:gd name="T4" fmla="*/ 14 w 217"/>
              <a:gd name="T5" fmla="*/ 57 h 137"/>
              <a:gd name="T6" fmla="*/ 4 w 217"/>
              <a:gd name="T7" fmla="*/ 101 h 137"/>
              <a:gd name="T8" fmla="*/ 21 w 217"/>
              <a:gd name="T9" fmla="*/ 114 h 137"/>
              <a:gd name="T10" fmla="*/ 118 w 217"/>
              <a:gd name="T11" fmla="*/ 111 h 137"/>
              <a:gd name="T12" fmla="*/ 155 w 217"/>
              <a:gd name="T13" fmla="*/ 134 h 137"/>
              <a:gd name="T14" fmla="*/ 174 w 217"/>
              <a:gd name="T15" fmla="*/ 125 h 137"/>
              <a:gd name="T16" fmla="*/ 212 w 217"/>
              <a:gd name="T17" fmla="*/ 137 h 137"/>
              <a:gd name="T18" fmla="*/ 210 w 217"/>
              <a:gd name="T19" fmla="*/ 100 h 137"/>
              <a:gd name="T20" fmla="*/ 182 w 217"/>
              <a:gd name="T21" fmla="*/ 84 h 137"/>
              <a:gd name="T22" fmla="*/ 186 w 217"/>
              <a:gd name="T23" fmla="*/ 64 h 137"/>
              <a:gd name="T24" fmla="*/ 202 w 217"/>
              <a:gd name="T25" fmla="*/ 67 h 137"/>
              <a:gd name="T26" fmla="*/ 217 w 217"/>
              <a:gd name="T27" fmla="*/ 23 h 137"/>
              <a:gd name="T28" fmla="*/ 181 w 217"/>
              <a:gd name="T29" fmla="*/ 15 h 137"/>
              <a:gd name="T30" fmla="*/ 166 w 217"/>
              <a:gd name="T31" fmla="*/ 0 h 137"/>
              <a:gd name="T32" fmla="*/ 156 w 217"/>
              <a:gd name="T33" fmla="*/ 17 h 137"/>
              <a:gd name="T34" fmla="*/ 122 w 217"/>
              <a:gd name="T35" fmla="*/ 17 h 137"/>
              <a:gd name="T36" fmla="*/ 122 w 217"/>
              <a:gd name="T37" fmla="*/ 17 h 137"/>
              <a:gd name="T38" fmla="*/ 122 w 217"/>
              <a:gd name="T39" fmla="*/ 17 h 1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7"/>
              <a:gd name="T61" fmla="*/ 0 h 137"/>
              <a:gd name="T62" fmla="*/ 217 w 217"/>
              <a:gd name="T63" fmla="*/ 137 h 1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7" h="137">
                <a:moveTo>
                  <a:pt x="122" y="17"/>
                </a:moveTo>
                <a:lnTo>
                  <a:pt x="0" y="27"/>
                </a:lnTo>
                <a:lnTo>
                  <a:pt x="14" y="57"/>
                </a:lnTo>
                <a:lnTo>
                  <a:pt x="4" y="101"/>
                </a:lnTo>
                <a:lnTo>
                  <a:pt x="21" y="114"/>
                </a:lnTo>
                <a:lnTo>
                  <a:pt x="118" y="111"/>
                </a:lnTo>
                <a:lnTo>
                  <a:pt x="155" y="134"/>
                </a:lnTo>
                <a:lnTo>
                  <a:pt x="174" y="125"/>
                </a:lnTo>
                <a:lnTo>
                  <a:pt x="212" y="137"/>
                </a:lnTo>
                <a:lnTo>
                  <a:pt x="210" y="100"/>
                </a:lnTo>
                <a:lnTo>
                  <a:pt x="182" y="84"/>
                </a:lnTo>
                <a:lnTo>
                  <a:pt x="186" y="64"/>
                </a:lnTo>
                <a:lnTo>
                  <a:pt x="202" y="67"/>
                </a:lnTo>
                <a:lnTo>
                  <a:pt x="217" y="23"/>
                </a:lnTo>
                <a:lnTo>
                  <a:pt x="181" y="15"/>
                </a:lnTo>
                <a:lnTo>
                  <a:pt x="166" y="0"/>
                </a:lnTo>
                <a:lnTo>
                  <a:pt x="156" y="17"/>
                </a:lnTo>
                <a:lnTo>
                  <a:pt x="122" y="17"/>
                </a:lnTo>
                <a:close/>
              </a:path>
            </a:pathLst>
          </a:custGeom>
          <a:solidFill>
            <a:schemeClr val="accent3"/>
          </a:solidFill>
          <a:ln w="12700">
            <a:solidFill>
              <a:schemeClr val="bg1"/>
            </a:solidFill>
            <a:round/>
            <a:headEnd/>
            <a:tailEnd/>
          </a:ln>
        </p:spPr>
        <p:txBody>
          <a:bodyPr/>
          <a:lstStyle/>
          <a:p>
            <a:pPr>
              <a:defRPr/>
            </a:pPr>
            <a:endParaRPr lang="nl-NL"/>
          </a:p>
        </p:txBody>
      </p:sp>
      <p:sp>
        <p:nvSpPr>
          <p:cNvPr id="314" name="Freeform 113"/>
          <p:cNvSpPr>
            <a:spLocks/>
          </p:cNvSpPr>
          <p:nvPr/>
        </p:nvSpPr>
        <p:spPr bwMode="auto">
          <a:xfrm>
            <a:off x="3018539" y="4686760"/>
            <a:ext cx="585744" cy="404213"/>
          </a:xfrm>
          <a:custGeom>
            <a:avLst/>
            <a:gdLst>
              <a:gd name="T0" fmla="*/ 131 w 378"/>
              <a:gd name="T1" fmla="*/ 3 h 253"/>
              <a:gd name="T2" fmla="*/ 124 w 378"/>
              <a:gd name="T3" fmla="*/ 52 h 253"/>
              <a:gd name="T4" fmla="*/ 149 w 378"/>
              <a:gd name="T5" fmla="*/ 95 h 253"/>
              <a:gd name="T6" fmla="*/ 119 w 378"/>
              <a:gd name="T7" fmla="*/ 108 h 253"/>
              <a:gd name="T8" fmla="*/ 110 w 378"/>
              <a:gd name="T9" fmla="*/ 131 h 253"/>
              <a:gd name="T10" fmla="*/ 75 w 378"/>
              <a:gd name="T11" fmla="*/ 170 h 253"/>
              <a:gd name="T12" fmla="*/ 11 w 378"/>
              <a:gd name="T13" fmla="*/ 215 h 253"/>
              <a:gd name="T14" fmla="*/ 47 w 378"/>
              <a:gd name="T15" fmla="*/ 211 h 253"/>
              <a:gd name="T16" fmla="*/ 0 w 378"/>
              <a:gd name="T17" fmla="*/ 253 h 253"/>
              <a:gd name="T18" fmla="*/ 93 w 378"/>
              <a:gd name="T19" fmla="*/ 219 h 253"/>
              <a:gd name="T20" fmla="*/ 161 w 378"/>
              <a:gd name="T21" fmla="*/ 236 h 253"/>
              <a:gd name="T22" fmla="*/ 219 w 378"/>
              <a:gd name="T23" fmla="*/ 202 h 253"/>
              <a:gd name="T24" fmla="*/ 264 w 378"/>
              <a:gd name="T25" fmla="*/ 209 h 253"/>
              <a:gd name="T26" fmla="*/ 279 w 378"/>
              <a:gd name="T27" fmla="*/ 131 h 253"/>
              <a:gd name="T28" fmla="*/ 304 w 378"/>
              <a:gd name="T29" fmla="*/ 169 h 253"/>
              <a:gd name="T30" fmla="*/ 369 w 378"/>
              <a:gd name="T31" fmla="*/ 147 h 253"/>
              <a:gd name="T32" fmla="*/ 378 w 378"/>
              <a:gd name="T33" fmla="*/ 118 h 253"/>
              <a:gd name="T34" fmla="*/ 327 w 378"/>
              <a:gd name="T35" fmla="*/ 57 h 253"/>
              <a:gd name="T36" fmla="*/ 338 w 378"/>
              <a:gd name="T37" fmla="*/ 45 h 253"/>
              <a:gd name="T38" fmla="*/ 323 w 378"/>
              <a:gd name="T39" fmla="*/ 26 h 253"/>
              <a:gd name="T40" fmla="*/ 284 w 378"/>
              <a:gd name="T41" fmla="*/ 14 h 253"/>
              <a:gd name="T42" fmla="*/ 265 w 378"/>
              <a:gd name="T43" fmla="*/ 23 h 253"/>
              <a:gd name="T44" fmla="*/ 229 w 378"/>
              <a:gd name="T45" fmla="*/ 0 h 253"/>
              <a:gd name="T46" fmla="*/ 131 w 378"/>
              <a:gd name="T47" fmla="*/ 3 h 253"/>
              <a:gd name="T48" fmla="*/ 131 w 378"/>
              <a:gd name="T49" fmla="*/ 3 h 253"/>
              <a:gd name="T50" fmla="*/ 131 w 378"/>
              <a:gd name="T51" fmla="*/ 3 h 25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78"/>
              <a:gd name="T79" fmla="*/ 0 h 253"/>
              <a:gd name="T80" fmla="*/ 378 w 378"/>
              <a:gd name="T81" fmla="*/ 253 h 25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78" h="253">
                <a:moveTo>
                  <a:pt x="131" y="3"/>
                </a:moveTo>
                <a:lnTo>
                  <a:pt x="124" y="52"/>
                </a:lnTo>
                <a:lnTo>
                  <a:pt x="149" y="95"/>
                </a:lnTo>
                <a:lnTo>
                  <a:pt x="119" y="108"/>
                </a:lnTo>
                <a:lnTo>
                  <a:pt x="110" y="131"/>
                </a:lnTo>
                <a:lnTo>
                  <a:pt x="75" y="170"/>
                </a:lnTo>
                <a:lnTo>
                  <a:pt x="11" y="215"/>
                </a:lnTo>
                <a:lnTo>
                  <a:pt x="47" y="211"/>
                </a:lnTo>
                <a:lnTo>
                  <a:pt x="0" y="253"/>
                </a:lnTo>
                <a:lnTo>
                  <a:pt x="93" y="219"/>
                </a:lnTo>
                <a:lnTo>
                  <a:pt x="161" y="236"/>
                </a:lnTo>
                <a:lnTo>
                  <a:pt x="219" y="202"/>
                </a:lnTo>
                <a:lnTo>
                  <a:pt x="264" y="209"/>
                </a:lnTo>
                <a:lnTo>
                  <a:pt x="279" y="131"/>
                </a:lnTo>
                <a:lnTo>
                  <a:pt x="304" y="169"/>
                </a:lnTo>
                <a:lnTo>
                  <a:pt x="369" y="147"/>
                </a:lnTo>
                <a:lnTo>
                  <a:pt x="378" y="118"/>
                </a:lnTo>
                <a:lnTo>
                  <a:pt x="327" y="57"/>
                </a:lnTo>
                <a:lnTo>
                  <a:pt x="338" y="45"/>
                </a:lnTo>
                <a:lnTo>
                  <a:pt x="323" y="26"/>
                </a:lnTo>
                <a:lnTo>
                  <a:pt x="284" y="14"/>
                </a:lnTo>
                <a:lnTo>
                  <a:pt x="265" y="23"/>
                </a:lnTo>
                <a:lnTo>
                  <a:pt x="229" y="0"/>
                </a:lnTo>
                <a:lnTo>
                  <a:pt x="131" y="3"/>
                </a:lnTo>
                <a:close/>
              </a:path>
            </a:pathLst>
          </a:custGeom>
          <a:solidFill>
            <a:schemeClr val="accent3"/>
          </a:solidFill>
          <a:ln w="12700">
            <a:solidFill>
              <a:schemeClr val="bg1"/>
            </a:solidFill>
            <a:round/>
            <a:headEnd/>
            <a:tailEnd/>
          </a:ln>
        </p:spPr>
        <p:txBody>
          <a:bodyPr/>
          <a:lstStyle/>
          <a:p>
            <a:pPr>
              <a:defRPr/>
            </a:pPr>
            <a:endParaRPr lang="nl-NL"/>
          </a:p>
        </p:txBody>
      </p:sp>
      <p:sp>
        <p:nvSpPr>
          <p:cNvPr id="315" name="Freeform 114"/>
          <p:cNvSpPr>
            <a:spLocks/>
          </p:cNvSpPr>
          <p:nvPr/>
        </p:nvSpPr>
        <p:spPr bwMode="auto">
          <a:xfrm>
            <a:off x="3915750" y="4306511"/>
            <a:ext cx="210744" cy="239652"/>
          </a:xfrm>
          <a:custGeom>
            <a:avLst/>
            <a:gdLst>
              <a:gd name="T0" fmla="*/ 122 w 136"/>
              <a:gd name="T1" fmla="*/ 6 h 150"/>
              <a:gd name="T2" fmla="*/ 57 w 136"/>
              <a:gd name="T3" fmla="*/ 0 h 150"/>
              <a:gd name="T4" fmla="*/ 0 w 136"/>
              <a:gd name="T5" fmla="*/ 52 h 150"/>
              <a:gd name="T6" fmla="*/ 9 w 136"/>
              <a:gd name="T7" fmla="*/ 93 h 150"/>
              <a:gd name="T8" fmla="*/ 41 w 136"/>
              <a:gd name="T9" fmla="*/ 97 h 150"/>
              <a:gd name="T10" fmla="*/ 36 w 136"/>
              <a:gd name="T11" fmla="*/ 109 h 150"/>
              <a:gd name="T12" fmla="*/ 14 w 136"/>
              <a:gd name="T13" fmla="*/ 109 h 150"/>
              <a:gd name="T14" fmla="*/ 25 w 136"/>
              <a:gd name="T15" fmla="*/ 148 h 150"/>
              <a:gd name="T16" fmla="*/ 45 w 136"/>
              <a:gd name="T17" fmla="*/ 150 h 150"/>
              <a:gd name="T18" fmla="*/ 83 w 136"/>
              <a:gd name="T19" fmla="*/ 120 h 150"/>
              <a:gd name="T20" fmla="*/ 118 w 136"/>
              <a:gd name="T21" fmla="*/ 137 h 150"/>
              <a:gd name="T22" fmla="*/ 136 w 136"/>
              <a:gd name="T23" fmla="*/ 68 h 150"/>
              <a:gd name="T24" fmla="*/ 122 w 136"/>
              <a:gd name="T25" fmla="*/ 6 h 150"/>
              <a:gd name="T26" fmla="*/ 122 w 136"/>
              <a:gd name="T27" fmla="*/ 6 h 150"/>
              <a:gd name="T28" fmla="*/ 122 w 136"/>
              <a:gd name="T29" fmla="*/ 6 h 1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6"/>
              <a:gd name="T46" fmla="*/ 0 h 150"/>
              <a:gd name="T47" fmla="*/ 136 w 136"/>
              <a:gd name="T48" fmla="*/ 150 h 1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6" h="150">
                <a:moveTo>
                  <a:pt x="122" y="6"/>
                </a:moveTo>
                <a:lnTo>
                  <a:pt x="57" y="0"/>
                </a:lnTo>
                <a:lnTo>
                  <a:pt x="0" y="52"/>
                </a:lnTo>
                <a:lnTo>
                  <a:pt x="9" y="93"/>
                </a:lnTo>
                <a:lnTo>
                  <a:pt x="41" y="97"/>
                </a:lnTo>
                <a:lnTo>
                  <a:pt x="36" y="109"/>
                </a:lnTo>
                <a:lnTo>
                  <a:pt x="14" y="109"/>
                </a:lnTo>
                <a:lnTo>
                  <a:pt x="25" y="148"/>
                </a:lnTo>
                <a:lnTo>
                  <a:pt x="45" y="150"/>
                </a:lnTo>
                <a:lnTo>
                  <a:pt x="83" y="120"/>
                </a:lnTo>
                <a:lnTo>
                  <a:pt x="118" y="137"/>
                </a:lnTo>
                <a:lnTo>
                  <a:pt x="136" y="68"/>
                </a:lnTo>
                <a:lnTo>
                  <a:pt x="122" y="6"/>
                </a:lnTo>
                <a:close/>
              </a:path>
            </a:pathLst>
          </a:custGeom>
          <a:solidFill>
            <a:schemeClr val="accent3"/>
          </a:solidFill>
          <a:ln w="12700">
            <a:solidFill>
              <a:schemeClr val="bg1"/>
            </a:solidFill>
            <a:round/>
            <a:headEnd/>
            <a:tailEnd/>
          </a:ln>
        </p:spPr>
        <p:txBody>
          <a:bodyPr/>
          <a:lstStyle/>
          <a:p>
            <a:pPr>
              <a:defRPr/>
            </a:pPr>
            <a:endParaRPr lang="nl-NL"/>
          </a:p>
        </p:txBody>
      </p:sp>
      <p:sp>
        <p:nvSpPr>
          <p:cNvPr id="316" name="Freeform 115"/>
          <p:cNvSpPr>
            <a:spLocks/>
          </p:cNvSpPr>
          <p:nvPr/>
        </p:nvSpPr>
        <p:spPr bwMode="auto">
          <a:xfrm>
            <a:off x="3446225" y="4316097"/>
            <a:ext cx="299070" cy="442558"/>
          </a:xfrm>
          <a:custGeom>
            <a:avLst/>
            <a:gdLst>
              <a:gd name="T0" fmla="*/ 80 w 193"/>
              <a:gd name="T1" fmla="*/ 0 h 277"/>
              <a:gd name="T2" fmla="*/ 33 w 193"/>
              <a:gd name="T3" fmla="*/ 51 h 277"/>
              <a:gd name="T4" fmla="*/ 0 w 193"/>
              <a:gd name="T5" fmla="*/ 121 h 277"/>
              <a:gd name="T6" fmla="*/ 15 w 193"/>
              <a:gd name="T7" fmla="*/ 136 h 277"/>
              <a:gd name="T8" fmla="*/ 51 w 193"/>
              <a:gd name="T9" fmla="*/ 144 h 277"/>
              <a:gd name="T10" fmla="*/ 36 w 193"/>
              <a:gd name="T11" fmla="*/ 188 h 277"/>
              <a:gd name="T12" fmla="*/ 20 w 193"/>
              <a:gd name="T13" fmla="*/ 185 h 277"/>
              <a:gd name="T14" fmla="*/ 16 w 193"/>
              <a:gd name="T15" fmla="*/ 205 h 277"/>
              <a:gd name="T16" fmla="*/ 44 w 193"/>
              <a:gd name="T17" fmla="*/ 221 h 277"/>
              <a:gd name="T18" fmla="*/ 45 w 193"/>
              <a:gd name="T19" fmla="*/ 258 h 277"/>
              <a:gd name="T20" fmla="*/ 62 w 193"/>
              <a:gd name="T21" fmla="*/ 277 h 277"/>
              <a:gd name="T22" fmla="*/ 118 w 193"/>
              <a:gd name="T23" fmla="*/ 277 h 277"/>
              <a:gd name="T24" fmla="*/ 118 w 193"/>
              <a:gd name="T25" fmla="*/ 245 h 277"/>
              <a:gd name="T26" fmla="*/ 132 w 193"/>
              <a:gd name="T27" fmla="*/ 238 h 277"/>
              <a:gd name="T28" fmla="*/ 193 w 193"/>
              <a:gd name="T29" fmla="*/ 238 h 277"/>
              <a:gd name="T30" fmla="*/ 174 w 193"/>
              <a:gd name="T31" fmla="*/ 143 h 277"/>
              <a:gd name="T32" fmla="*/ 144 w 193"/>
              <a:gd name="T33" fmla="*/ 107 h 277"/>
              <a:gd name="T34" fmla="*/ 134 w 193"/>
              <a:gd name="T35" fmla="*/ 88 h 277"/>
              <a:gd name="T36" fmla="*/ 142 w 193"/>
              <a:gd name="T37" fmla="*/ 66 h 277"/>
              <a:gd name="T38" fmla="*/ 138 w 193"/>
              <a:gd name="T39" fmla="*/ 61 h 277"/>
              <a:gd name="T40" fmla="*/ 90 w 193"/>
              <a:gd name="T41" fmla="*/ 81 h 277"/>
              <a:gd name="T42" fmla="*/ 100 w 193"/>
              <a:gd name="T43" fmla="*/ 13 h 277"/>
              <a:gd name="T44" fmla="*/ 80 w 193"/>
              <a:gd name="T45" fmla="*/ 0 h 277"/>
              <a:gd name="T46" fmla="*/ 80 w 193"/>
              <a:gd name="T47" fmla="*/ 0 h 277"/>
              <a:gd name="T48" fmla="*/ 80 w 193"/>
              <a:gd name="T49" fmla="*/ 0 h 27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3"/>
              <a:gd name="T76" fmla="*/ 0 h 277"/>
              <a:gd name="T77" fmla="*/ 193 w 193"/>
              <a:gd name="T78" fmla="*/ 277 h 27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3" h="277">
                <a:moveTo>
                  <a:pt x="80" y="0"/>
                </a:moveTo>
                <a:lnTo>
                  <a:pt x="33" y="51"/>
                </a:lnTo>
                <a:lnTo>
                  <a:pt x="0" y="121"/>
                </a:lnTo>
                <a:lnTo>
                  <a:pt x="15" y="136"/>
                </a:lnTo>
                <a:lnTo>
                  <a:pt x="51" y="144"/>
                </a:lnTo>
                <a:lnTo>
                  <a:pt x="36" y="188"/>
                </a:lnTo>
                <a:lnTo>
                  <a:pt x="20" y="185"/>
                </a:lnTo>
                <a:lnTo>
                  <a:pt x="16" y="205"/>
                </a:lnTo>
                <a:lnTo>
                  <a:pt x="44" y="221"/>
                </a:lnTo>
                <a:lnTo>
                  <a:pt x="45" y="258"/>
                </a:lnTo>
                <a:lnTo>
                  <a:pt x="62" y="277"/>
                </a:lnTo>
                <a:lnTo>
                  <a:pt x="118" y="277"/>
                </a:lnTo>
                <a:lnTo>
                  <a:pt x="118" y="245"/>
                </a:lnTo>
                <a:lnTo>
                  <a:pt x="132" y="238"/>
                </a:lnTo>
                <a:lnTo>
                  <a:pt x="193" y="238"/>
                </a:lnTo>
                <a:lnTo>
                  <a:pt x="174" y="143"/>
                </a:lnTo>
                <a:lnTo>
                  <a:pt x="144" y="107"/>
                </a:lnTo>
                <a:lnTo>
                  <a:pt x="134" y="88"/>
                </a:lnTo>
                <a:lnTo>
                  <a:pt x="142" y="66"/>
                </a:lnTo>
                <a:lnTo>
                  <a:pt x="138" y="61"/>
                </a:lnTo>
                <a:lnTo>
                  <a:pt x="90" y="81"/>
                </a:lnTo>
                <a:lnTo>
                  <a:pt x="100" y="13"/>
                </a:lnTo>
                <a:lnTo>
                  <a:pt x="80" y="0"/>
                </a:lnTo>
                <a:close/>
              </a:path>
            </a:pathLst>
          </a:custGeom>
          <a:solidFill>
            <a:schemeClr val="accent3"/>
          </a:solidFill>
          <a:ln w="12700">
            <a:solidFill>
              <a:schemeClr val="bg1"/>
            </a:solidFill>
            <a:round/>
            <a:headEnd/>
            <a:tailEnd/>
          </a:ln>
        </p:spPr>
        <p:txBody>
          <a:bodyPr/>
          <a:lstStyle/>
          <a:p>
            <a:pPr>
              <a:defRPr/>
            </a:pPr>
            <a:endParaRPr lang="nl-NL"/>
          </a:p>
        </p:txBody>
      </p:sp>
      <p:sp>
        <p:nvSpPr>
          <p:cNvPr id="317" name="Freeform 116"/>
          <p:cNvSpPr>
            <a:spLocks/>
          </p:cNvSpPr>
          <p:nvPr/>
        </p:nvSpPr>
        <p:spPr bwMode="auto">
          <a:xfrm>
            <a:off x="3669366" y="4453498"/>
            <a:ext cx="199897" cy="305157"/>
          </a:xfrm>
          <a:custGeom>
            <a:avLst/>
            <a:gdLst>
              <a:gd name="T0" fmla="*/ 0 w 129"/>
              <a:gd name="T1" fmla="*/ 21 h 191"/>
              <a:gd name="T2" fmla="*/ 30 w 129"/>
              <a:gd name="T3" fmla="*/ 57 h 191"/>
              <a:gd name="T4" fmla="*/ 49 w 129"/>
              <a:gd name="T5" fmla="*/ 152 h 191"/>
              <a:gd name="T6" fmla="*/ 70 w 129"/>
              <a:gd name="T7" fmla="*/ 183 h 191"/>
              <a:gd name="T8" fmla="*/ 117 w 129"/>
              <a:gd name="T9" fmla="*/ 191 h 191"/>
              <a:gd name="T10" fmla="*/ 129 w 129"/>
              <a:gd name="T11" fmla="*/ 99 h 191"/>
              <a:gd name="T12" fmla="*/ 102 w 129"/>
              <a:gd name="T13" fmla="*/ 48 h 191"/>
              <a:gd name="T14" fmla="*/ 102 w 129"/>
              <a:gd name="T15" fmla="*/ 24 h 191"/>
              <a:gd name="T16" fmla="*/ 82 w 129"/>
              <a:gd name="T17" fmla="*/ 0 h 191"/>
              <a:gd name="T18" fmla="*/ 60 w 129"/>
              <a:gd name="T19" fmla="*/ 21 h 191"/>
              <a:gd name="T20" fmla="*/ 0 w 129"/>
              <a:gd name="T21" fmla="*/ 21 h 191"/>
              <a:gd name="T22" fmla="*/ 0 w 129"/>
              <a:gd name="T23" fmla="*/ 21 h 191"/>
              <a:gd name="T24" fmla="*/ 0 w 129"/>
              <a:gd name="T25" fmla="*/ 21 h 1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9"/>
              <a:gd name="T40" fmla="*/ 0 h 191"/>
              <a:gd name="T41" fmla="*/ 129 w 129"/>
              <a:gd name="T42" fmla="*/ 191 h 1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9" h="191">
                <a:moveTo>
                  <a:pt x="0" y="21"/>
                </a:moveTo>
                <a:lnTo>
                  <a:pt x="30" y="57"/>
                </a:lnTo>
                <a:lnTo>
                  <a:pt x="49" y="152"/>
                </a:lnTo>
                <a:lnTo>
                  <a:pt x="70" y="183"/>
                </a:lnTo>
                <a:lnTo>
                  <a:pt x="117" y="191"/>
                </a:lnTo>
                <a:lnTo>
                  <a:pt x="129" y="99"/>
                </a:lnTo>
                <a:lnTo>
                  <a:pt x="102" y="48"/>
                </a:lnTo>
                <a:lnTo>
                  <a:pt x="102" y="24"/>
                </a:lnTo>
                <a:lnTo>
                  <a:pt x="82" y="0"/>
                </a:lnTo>
                <a:lnTo>
                  <a:pt x="60" y="21"/>
                </a:lnTo>
                <a:lnTo>
                  <a:pt x="0" y="21"/>
                </a:lnTo>
                <a:close/>
              </a:path>
            </a:pathLst>
          </a:custGeom>
          <a:solidFill>
            <a:schemeClr val="accent3"/>
          </a:solidFill>
          <a:ln w="12700">
            <a:solidFill>
              <a:schemeClr val="bg1"/>
            </a:solidFill>
            <a:round/>
            <a:headEnd/>
            <a:tailEnd/>
          </a:ln>
        </p:spPr>
        <p:txBody>
          <a:bodyPr/>
          <a:lstStyle/>
          <a:p>
            <a:pPr>
              <a:defRPr/>
            </a:pPr>
            <a:endParaRPr lang="nl-NL"/>
          </a:p>
        </p:txBody>
      </p:sp>
      <p:sp>
        <p:nvSpPr>
          <p:cNvPr id="318" name="Freeform 117"/>
          <p:cNvSpPr>
            <a:spLocks/>
          </p:cNvSpPr>
          <p:nvPr/>
        </p:nvSpPr>
        <p:spPr bwMode="auto">
          <a:xfrm>
            <a:off x="3827424" y="4455096"/>
            <a:ext cx="151860" cy="156573"/>
          </a:xfrm>
          <a:custGeom>
            <a:avLst/>
            <a:gdLst>
              <a:gd name="T0" fmla="*/ 0 w 98"/>
              <a:gd name="T1" fmla="*/ 23 h 98"/>
              <a:gd name="T2" fmla="*/ 0 w 98"/>
              <a:gd name="T3" fmla="*/ 47 h 98"/>
              <a:gd name="T4" fmla="*/ 27 w 98"/>
              <a:gd name="T5" fmla="*/ 98 h 98"/>
              <a:gd name="T6" fmla="*/ 81 w 98"/>
              <a:gd name="T7" fmla="*/ 55 h 98"/>
              <a:gd name="T8" fmla="*/ 71 w 98"/>
              <a:gd name="T9" fmla="*/ 16 h 98"/>
              <a:gd name="T10" fmla="*/ 93 w 98"/>
              <a:gd name="T11" fmla="*/ 16 h 98"/>
              <a:gd name="T12" fmla="*/ 98 w 98"/>
              <a:gd name="T13" fmla="*/ 4 h 98"/>
              <a:gd name="T14" fmla="*/ 66 w 98"/>
              <a:gd name="T15" fmla="*/ 0 h 98"/>
              <a:gd name="T16" fmla="*/ 32 w 98"/>
              <a:gd name="T17" fmla="*/ 4 h 98"/>
              <a:gd name="T18" fmla="*/ 27 w 98"/>
              <a:gd name="T19" fmla="*/ 23 h 98"/>
              <a:gd name="T20" fmla="*/ 0 w 98"/>
              <a:gd name="T21" fmla="*/ 23 h 98"/>
              <a:gd name="T22" fmla="*/ 0 w 98"/>
              <a:gd name="T23" fmla="*/ 23 h 98"/>
              <a:gd name="T24" fmla="*/ 0 w 98"/>
              <a:gd name="T25" fmla="*/ 23 h 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98"/>
              <a:gd name="T41" fmla="*/ 98 w 98"/>
              <a:gd name="T42" fmla="*/ 98 h 9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98">
                <a:moveTo>
                  <a:pt x="0" y="23"/>
                </a:moveTo>
                <a:lnTo>
                  <a:pt x="0" y="47"/>
                </a:lnTo>
                <a:lnTo>
                  <a:pt x="27" y="98"/>
                </a:lnTo>
                <a:lnTo>
                  <a:pt x="81" y="55"/>
                </a:lnTo>
                <a:lnTo>
                  <a:pt x="71" y="16"/>
                </a:lnTo>
                <a:lnTo>
                  <a:pt x="93" y="16"/>
                </a:lnTo>
                <a:lnTo>
                  <a:pt x="98" y="4"/>
                </a:lnTo>
                <a:lnTo>
                  <a:pt x="66" y="0"/>
                </a:lnTo>
                <a:lnTo>
                  <a:pt x="32" y="4"/>
                </a:lnTo>
                <a:lnTo>
                  <a:pt x="27" y="23"/>
                </a:lnTo>
                <a:lnTo>
                  <a:pt x="0" y="23"/>
                </a:lnTo>
                <a:close/>
              </a:path>
            </a:pathLst>
          </a:custGeom>
          <a:solidFill>
            <a:schemeClr val="accent3"/>
          </a:solidFill>
          <a:ln w="12700">
            <a:solidFill>
              <a:schemeClr val="bg1"/>
            </a:solidFill>
            <a:round/>
            <a:headEnd/>
            <a:tailEnd/>
          </a:ln>
        </p:spPr>
        <p:txBody>
          <a:bodyPr/>
          <a:lstStyle/>
          <a:p>
            <a:pPr>
              <a:defRPr/>
            </a:pPr>
            <a:endParaRPr lang="nl-NL"/>
          </a:p>
        </p:txBody>
      </p:sp>
      <p:sp>
        <p:nvSpPr>
          <p:cNvPr id="319" name="Freeform 118"/>
          <p:cNvSpPr>
            <a:spLocks/>
          </p:cNvSpPr>
          <p:nvPr/>
        </p:nvSpPr>
        <p:spPr bwMode="auto">
          <a:xfrm>
            <a:off x="3525254" y="4696346"/>
            <a:ext cx="325413" cy="178940"/>
          </a:xfrm>
          <a:custGeom>
            <a:avLst/>
            <a:gdLst>
              <a:gd name="T0" fmla="*/ 11 w 210"/>
              <a:gd name="T1" fmla="*/ 39 h 112"/>
              <a:gd name="T2" fmla="*/ 0 w 210"/>
              <a:gd name="T3" fmla="*/ 53 h 112"/>
              <a:gd name="T4" fmla="*/ 52 w 210"/>
              <a:gd name="T5" fmla="*/ 112 h 112"/>
              <a:gd name="T6" fmla="*/ 56 w 210"/>
              <a:gd name="T7" fmla="*/ 106 h 112"/>
              <a:gd name="T8" fmla="*/ 91 w 210"/>
              <a:gd name="T9" fmla="*/ 105 h 112"/>
              <a:gd name="T10" fmla="*/ 112 w 210"/>
              <a:gd name="T11" fmla="*/ 91 h 112"/>
              <a:gd name="T12" fmla="*/ 111 w 210"/>
              <a:gd name="T13" fmla="*/ 71 h 112"/>
              <a:gd name="T14" fmla="*/ 210 w 210"/>
              <a:gd name="T15" fmla="*/ 65 h 112"/>
              <a:gd name="T16" fmla="*/ 210 w 210"/>
              <a:gd name="T17" fmla="*/ 39 h 112"/>
              <a:gd name="T18" fmla="*/ 163 w 210"/>
              <a:gd name="T19" fmla="*/ 31 h 112"/>
              <a:gd name="T20" fmla="*/ 142 w 210"/>
              <a:gd name="T21" fmla="*/ 0 h 112"/>
              <a:gd name="T22" fmla="*/ 80 w 210"/>
              <a:gd name="T23" fmla="*/ 0 h 112"/>
              <a:gd name="T24" fmla="*/ 67 w 210"/>
              <a:gd name="T25" fmla="*/ 7 h 112"/>
              <a:gd name="T26" fmla="*/ 67 w 210"/>
              <a:gd name="T27" fmla="*/ 39 h 112"/>
              <a:gd name="T28" fmla="*/ 11 w 210"/>
              <a:gd name="T29" fmla="*/ 39 h 112"/>
              <a:gd name="T30" fmla="*/ 11 w 210"/>
              <a:gd name="T31" fmla="*/ 39 h 112"/>
              <a:gd name="T32" fmla="*/ 11 w 210"/>
              <a:gd name="T33" fmla="*/ 39 h 1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0"/>
              <a:gd name="T52" fmla="*/ 0 h 112"/>
              <a:gd name="T53" fmla="*/ 210 w 210"/>
              <a:gd name="T54" fmla="*/ 112 h 1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0" h="112">
                <a:moveTo>
                  <a:pt x="11" y="39"/>
                </a:moveTo>
                <a:lnTo>
                  <a:pt x="0" y="53"/>
                </a:lnTo>
                <a:lnTo>
                  <a:pt x="52" y="112"/>
                </a:lnTo>
                <a:lnTo>
                  <a:pt x="56" y="106"/>
                </a:lnTo>
                <a:lnTo>
                  <a:pt x="91" y="105"/>
                </a:lnTo>
                <a:lnTo>
                  <a:pt x="112" y="91"/>
                </a:lnTo>
                <a:lnTo>
                  <a:pt x="111" y="71"/>
                </a:lnTo>
                <a:lnTo>
                  <a:pt x="210" y="65"/>
                </a:lnTo>
                <a:lnTo>
                  <a:pt x="210" y="39"/>
                </a:lnTo>
                <a:lnTo>
                  <a:pt x="163" y="31"/>
                </a:lnTo>
                <a:lnTo>
                  <a:pt x="142" y="0"/>
                </a:lnTo>
                <a:lnTo>
                  <a:pt x="80" y="0"/>
                </a:lnTo>
                <a:lnTo>
                  <a:pt x="67" y="7"/>
                </a:lnTo>
                <a:lnTo>
                  <a:pt x="67" y="39"/>
                </a:lnTo>
                <a:lnTo>
                  <a:pt x="11" y="39"/>
                </a:lnTo>
                <a:close/>
              </a:path>
            </a:pathLst>
          </a:custGeom>
          <a:solidFill>
            <a:schemeClr val="accent3"/>
          </a:solidFill>
          <a:ln w="12700">
            <a:solidFill>
              <a:schemeClr val="bg1"/>
            </a:solidFill>
            <a:round/>
            <a:headEnd/>
            <a:tailEnd/>
          </a:ln>
        </p:spPr>
        <p:txBody>
          <a:bodyPr/>
          <a:lstStyle/>
          <a:p>
            <a:pPr>
              <a:defRPr/>
            </a:pPr>
            <a:endParaRPr lang="nl-NL"/>
          </a:p>
        </p:txBody>
      </p:sp>
      <p:sp>
        <p:nvSpPr>
          <p:cNvPr id="320" name="Freeform 119"/>
          <p:cNvSpPr>
            <a:spLocks/>
          </p:cNvSpPr>
          <p:nvPr/>
        </p:nvSpPr>
        <p:spPr bwMode="auto">
          <a:xfrm>
            <a:off x="3850668" y="4498233"/>
            <a:ext cx="249484" cy="303559"/>
          </a:xfrm>
          <a:custGeom>
            <a:avLst/>
            <a:gdLst>
              <a:gd name="T0" fmla="*/ 161 w 161"/>
              <a:gd name="T1" fmla="*/ 17 h 190"/>
              <a:gd name="T2" fmla="*/ 125 w 161"/>
              <a:gd name="T3" fmla="*/ 0 h 190"/>
              <a:gd name="T4" fmla="*/ 87 w 161"/>
              <a:gd name="T5" fmla="*/ 29 h 190"/>
              <a:gd name="T6" fmla="*/ 67 w 161"/>
              <a:gd name="T7" fmla="*/ 28 h 190"/>
              <a:gd name="T8" fmla="*/ 12 w 161"/>
              <a:gd name="T9" fmla="*/ 71 h 190"/>
              <a:gd name="T10" fmla="*/ 0 w 161"/>
              <a:gd name="T11" fmla="*/ 163 h 190"/>
              <a:gd name="T12" fmla="*/ 23 w 161"/>
              <a:gd name="T13" fmla="*/ 190 h 190"/>
              <a:gd name="T14" fmla="*/ 49 w 161"/>
              <a:gd name="T15" fmla="*/ 168 h 190"/>
              <a:gd name="T16" fmla="*/ 116 w 161"/>
              <a:gd name="T17" fmla="*/ 187 h 190"/>
              <a:gd name="T18" fmla="*/ 95 w 161"/>
              <a:gd name="T19" fmla="*/ 134 h 190"/>
              <a:gd name="T20" fmla="*/ 144 w 161"/>
              <a:gd name="T21" fmla="*/ 81 h 190"/>
              <a:gd name="T22" fmla="*/ 161 w 161"/>
              <a:gd name="T23" fmla="*/ 17 h 190"/>
              <a:gd name="T24" fmla="*/ 161 w 161"/>
              <a:gd name="T25" fmla="*/ 17 h 190"/>
              <a:gd name="T26" fmla="*/ 161 w 161"/>
              <a:gd name="T27" fmla="*/ 17 h 1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1"/>
              <a:gd name="T43" fmla="*/ 0 h 190"/>
              <a:gd name="T44" fmla="*/ 161 w 161"/>
              <a:gd name="T45" fmla="*/ 190 h 1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1" h="190">
                <a:moveTo>
                  <a:pt x="161" y="17"/>
                </a:moveTo>
                <a:lnTo>
                  <a:pt x="125" y="0"/>
                </a:lnTo>
                <a:lnTo>
                  <a:pt x="87" y="29"/>
                </a:lnTo>
                <a:lnTo>
                  <a:pt x="67" y="28"/>
                </a:lnTo>
                <a:lnTo>
                  <a:pt x="12" y="71"/>
                </a:lnTo>
                <a:lnTo>
                  <a:pt x="0" y="163"/>
                </a:lnTo>
                <a:lnTo>
                  <a:pt x="23" y="190"/>
                </a:lnTo>
                <a:lnTo>
                  <a:pt x="49" y="168"/>
                </a:lnTo>
                <a:lnTo>
                  <a:pt x="116" y="187"/>
                </a:lnTo>
                <a:lnTo>
                  <a:pt x="95" y="134"/>
                </a:lnTo>
                <a:lnTo>
                  <a:pt x="144" y="81"/>
                </a:lnTo>
                <a:lnTo>
                  <a:pt x="161" y="17"/>
                </a:lnTo>
                <a:close/>
              </a:path>
            </a:pathLst>
          </a:custGeom>
          <a:solidFill>
            <a:schemeClr val="accent3"/>
          </a:solidFill>
          <a:ln w="12700">
            <a:solidFill>
              <a:schemeClr val="bg1"/>
            </a:solidFill>
            <a:round/>
            <a:headEnd/>
            <a:tailEnd/>
          </a:ln>
        </p:spPr>
        <p:txBody>
          <a:bodyPr/>
          <a:lstStyle/>
          <a:p>
            <a:pPr>
              <a:defRPr/>
            </a:pPr>
            <a:endParaRPr lang="nl-NL"/>
          </a:p>
        </p:txBody>
      </p:sp>
      <p:sp>
        <p:nvSpPr>
          <p:cNvPr id="321" name="Freeform 120"/>
          <p:cNvSpPr>
            <a:spLocks/>
          </p:cNvSpPr>
          <p:nvPr/>
        </p:nvSpPr>
        <p:spPr bwMode="auto">
          <a:xfrm>
            <a:off x="4002527" y="3331926"/>
            <a:ext cx="233988" cy="370662"/>
          </a:xfrm>
          <a:custGeom>
            <a:avLst/>
            <a:gdLst>
              <a:gd name="T0" fmla="*/ 21 w 151"/>
              <a:gd name="T1" fmla="*/ 0 h 232"/>
              <a:gd name="T2" fmla="*/ 93 w 151"/>
              <a:gd name="T3" fmla="*/ 24 h 232"/>
              <a:gd name="T4" fmla="*/ 97 w 151"/>
              <a:gd name="T5" fmla="*/ 61 h 232"/>
              <a:gd name="T6" fmla="*/ 121 w 151"/>
              <a:gd name="T7" fmla="*/ 115 h 232"/>
              <a:gd name="T8" fmla="*/ 141 w 151"/>
              <a:gd name="T9" fmla="*/ 118 h 232"/>
              <a:gd name="T10" fmla="*/ 151 w 151"/>
              <a:gd name="T11" fmla="*/ 150 h 232"/>
              <a:gd name="T12" fmla="*/ 116 w 151"/>
              <a:gd name="T13" fmla="*/ 176 h 232"/>
              <a:gd name="T14" fmla="*/ 111 w 151"/>
              <a:gd name="T15" fmla="*/ 195 h 232"/>
              <a:gd name="T16" fmla="*/ 111 w 151"/>
              <a:gd name="T17" fmla="*/ 211 h 232"/>
              <a:gd name="T18" fmla="*/ 63 w 151"/>
              <a:gd name="T19" fmla="*/ 232 h 232"/>
              <a:gd name="T20" fmla="*/ 46 w 151"/>
              <a:gd name="T21" fmla="*/ 220 h 232"/>
              <a:gd name="T22" fmla="*/ 53 w 151"/>
              <a:gd name="T23" fmla="*/ 186 h 232"/>
              <a:gd name="T24" fmla="*/ 46 w 151"/>
              <a:gd name="T25" fmla="*/ 171 h 232"/>
              <a:gd name="T26" fmla="*/ 57 w 151"/>
              <a:gd name="T27" fmla="*/ 153 h 232"/>
              <a:gd name="T28" fmla="*/ 30 w 151"/>
              <a:gd name="T29" fmla="*/ 156 h 232"/>
              <a:gd name="T30" fmla="*/ 16 w 151"/>
              <a:gd name="T31" fmla="*/ 146 h 232"/>
              <a:gd name="T32" fmla="*/ 10 w 151"/>
              <a:gd name="T33" fmla="*/ 103 h 232"/>
              <a:gd name="T34" fmla="*/ 0 w 151"/>
              <a:gd name="T35" fmla="*/ 60 h 232"/>
              <a:gd name="T36" fmla="*/ 13 w 151"/>
              <a:gd name="T37" fmla="*/ 31 h 232"/>
              <a:gd name="T38" fmla="*/ 7 w 151"/>
              <a:gd name="T39" fmla="*/ 6 h 232"/>
              <a:gd name="T40" fmla="*/ 18 w 151"/>
              <a:gd name="T41" fmla="*/ 3 h 232"/>
              <a:gd name="T42" fmla="*/ 21 w 151"/>
              <a:gd name="T43" fmla="*/ 0 h 232"/>
              <a:gd name="T44" fmla="*/ 21 w 151"/>
              <a:gd name="T45" fmla="*/ 0 h 232"/>
              <a:gd name="T46" fmla="*/ 21 w 151"/>
              <a:gd name="T47" fmla="*/ 0 h 2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1"/>
              <a:gd name="T73" fmla="*/ 0 h 232"/>
              <a:gd name="T74" fmla="*/ 151 w 151"/>
              <a:gd name="T75" fmla="*/ 232 h 23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1" h="232">
                <a:moveTo>
                  <a:pt x="21" y="0"/>
                </a:moveTo>
                <a:lnTo>
                  <a:pt x="93" y="24"/>
                </a:lnTo>
                <a:lnTo>
                  <a:pt x="97" y="61"/>
                </a:lnTo>
                <a:lnTo>
                  <a:pt x="121" y="115"/>
                </a:lnTo>
                <a:lnTo>
                  <a:pt x="141" y="118"/>
                </a:lnTo>
                <a:lnTo>
                  <a:pt x="151" y="150"/>
                </a:lnTo>
                <a:lnTo>
                  <a:pt x="116" y="176"/>
                </a:lnTo>
                <a:lnTo>
                  <a:pt x="111" y="195"/>
                </a:lnTo>
                <a:lnTo>
                  <a:pt x="111" y="211"/>
                </a:lnTo>
                <a:lnTo>
                  <a:pt x="63" y="232"/>
                </a:lnTo>
                <a:lnTo>
                  <a:pt x="46" y="220"/>
                </a:lnTo>
                <a:lnTo>
                  <a:pt x="53" y="186"/>
                </a:lnTo>
                <a:lnTo>
                  <a:pt x="46" y="171"/>
                </a:lnTo>
                <a:lnTo>
                  <a:pt x="57" y="153"/>
                </a:lnTo>
                <a:lnTo>
                  <a:pt x="30" y="156"/>
                </a:lnTo>
                <a:lnTo>
                  <a:pt x="16" y="146"/>
                </a:lnTo>
                <a:lnTo>
                  <a:pt x="10" y="103"/>
                </a:lnTo>
                <a:lnTo>
                  <a:pt x="0" y="60"/>
                </a:lnTo>
                <a:lnTo>
                  <a:pt x="13" y="31"/>
                </a:lnTo>
                <a:lnTo>
                  <a:pt x="7" y="6"/>
                </a:lnTo>
                <a:lnTo>
                  <a:pt x="18" y="3"/>
                </a:lnTo>
                <a:lnTo>
                  <a:pt x="21" y="0"/>
                </a:lnTo>
                <a:close/>
              </a:path>
            </a:pathLst>
          </a:custGeom>
          <a:solidFill>
            <a:schemeClr val="accent3"/>
          </a:solidFill>
          <a:ln w="12700">
            <a:solidFill>
              <a:schemeClr val="bg1"/>
            </a:solidFill>
            <a:round/>
            <a:headEnd/>
            <a:tailEnd/>
          </a:ln>
        </p:spPr>
        <p:txBody>
          <a:bodyPr/>
          <a:lstStyle/>
          <a:p>
            <a:pPr>
              <a:defRPr/>
            </a:pPr>
            <a:endParaRPr lang="nl-NL"/>
          </a:p>
        </p:txBody>
      </p:sp>
      <p:sp>
        <p:nvSpPr>
          <p:cNvPr id="322" name="Freeform 121"/>
          <p:cNvSpPr>
            <a:spLocks/>
          </p:cNvSpPr>
          <p:nvPr/>
        </p:nvSpPr>
        <p:spPr bwMode="auto">
          <a:xfrm>
            <a:off x="3787134" y="3341512"/>
            <a:ext cx="240186" cy="279594"/>
          </a:xfrm>
          <a:custGeom>
            <a:avLst/>
            <a:gdLst>
              <a:gd name="T0" fmla="*/ 146 w 155"/>
              <a:gd name="T1" fmla="*/ 0 h 175"/>
              <a:gd name="T2" fmla="*/ 80 w 155"/>
              <a:gd name="T3" fmla="*/ 21 h 175"/>
              <a:gd name="T4" fmla="*/ 62 w 155"/>
              <a:gd name="T5" fmla="*/ 60 h 175"/>
              <a:gd name="T6" fmla="*/ 20 w 155"/>
              <a:gd name="T7" fmla="*/ 60 h 175"/>
              <a:gd name="T8" fmla="*/ 0 w 155"/>
              <a:gd name="T9" fmla="*/ 78 h 175"/>
              <a:gd name="T10" fmla="*/ 6 w 155"/>
              <a:gd name="T11" fmla="*/ 98 h 175"/>
              <a:gd name="T12" fmla="*/ 26 w 155"/>
              <a:gd name="T13" fmla="*/ 97 h 175"/>
              <a:gd name="T14" fmla="*/ 26 w 155"/>
              <a:gd name="T15" fmla="*/ 109 h 175"/>
              <a:gd name="T16" fmla="*/ 76 w 155"/>
              <a:gd name="T17" fmla="*/ 127 h 175"/>
              <a:gd name="T18" fmla="*/ 72 w 155"/>
              <a:gd name="T19" fmla="*/ 152 h 175"/>
              <a:gd name="T20" fmla="*/ 103 w 155"/>
              <a:gd name="T21" fmla="*/ 152 h 175"/>
              <a:gd name="T22" fmla="*/ 124 w 155"/>
              <a:gd name="T23" fmla="*/ 175 h 175"/>
              <a:gd name="T24" fmla="*/ 149 w 155"/>
              <a:gd name="T25" fmla="*/ 157 h 175"/>
              <a:gd name="T26" fmla="*/ 155 w 155"/>
              <a:gd name="T27" fmla="*/ 140 h 175"/>
              <a:gd name="T28" fmla="*/ 150 w 155"/>
              <a:gd name="T29" fmla="*/ 99 h 175"/>
              <a:gd name="T30" fmla="*/ 139 w 155"/>
              <a:gd name="T31" fmla="*/ 54 h 175"/>
              <a:gd name="T32" fmla="*/ 150 w 155"/>
              <a:gd name="T33" fmla="*/ 25 h 175"/>
              <a:gd name="T34" fmla="*/ 146 w 155"/>
              <a:gd name="T35" fmla="*/ 0 h 175"/>
              <a:gd name="T36" fmla="*/ 146 w 155"/>
              <a:gd name="T37" fmla="*/ 0 h 175"/>
              <a:gd name="T38" fmla="*/ 146 w 155"/>
              <a:gd name="T39" fmla="*/ 0 h 1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5"/>
              <a:gd name="T61" fmla="*/ 0 h 175"/>
              <a:gd name="T62" fmla="*/ 155 w 155"/>
              <a:gd name="T63" fmla="*/ 175 h 1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5" h="175">
                <a:moveTo>
                  <a:pt x="146" y="0"/>
                </a:moveTo>
                <a:lnTo>
                  <a:pt x="80" y="21"/>
                </a:lnTo>
                <a:lnTo>
                  <a:pt x="62" y="60"/>
                </a:lnTo>
                <a:lnTo>
                  <a:pt x="20" y="60"/>
                </a:lnTo>
                <a:lnTo>
                  <a:pt x="0" y="78"/>
                </a:lnTo>
                <a:lnTo>
                  <a:pt x="6" y="98"/>
                </a:lnTo>
                <a:lnTo>
                  <a:pt x="26" y="97"/>
                </a:lnTo>
                <a:lnTo>
                  <a:pt x="26" y="109"/>
                </a:lnTo>
                <a:lnTo>
                  <a:pt x="76" y="127"/>
                </a:lnTo>
                <a:lnTo>
                  <a:pt x="72" y="152"/>
                </a:lnTo>
                <a:lnTo>
                  <a:pt x="103" y="152"/>
                </a:lnTo>
                <a:lnTo>
                  <a:pt x="124" y="175"/>
                </a:lnTo>
                <a:lnTo>
                  <a:pt x="149" y="157"/>
                </a:lnTo>
                <a:lnTo>
                  <a:pt x="155" y="140"/>
                </a:lnTo>
                <a:lnTo>
                  <a:pt x="150" y="99"/>
                </a:lnTo>
                <a:lnTo>
                  <a:pt x="139" y="54"/>
                </a:lnTo>
                <a:lnTo>
                  <a:pt x="150" y="25"/>
                </a:lnTo>
                <a:lnTo>
                  <a:pt x="146" y="0"/>
                </a:lnTo>
                <a:close/>
              </a:path>
            </a:pathLst>
          </a:custGeom>
          <a:solidFill>
            <a:schemeClr val="accent3"/>
          </a:solidFill>
          <a:ln w="12700">
            <a:solidFill>
              <a:schemeClr val="bg1"/>
            </a:solidFill>
            <a:round/>
            <a:headEnd/>
            <a:tailEnd/>
          </a:ln>
        </p:spPr>
        <p:txBody>
          <a:bodyPr/>
          <a:lstStyle/>
          <a:p>
            <a:pPr>
              <a:defRPr/>
            </a:pPr>
            <a:endParaRPr lang="nl-NL"/>
          </a:p>
        </p:txBody>
      </p:sp>
      <p:sp>
        <p:nvSpPr>
          <p:cNvPr id="323" name="Freeform 122"/>
          <p:cNvSpPr>
            <a:spLocks/>
          </p:cNvSpPr>
          <p:nvPr/>
        </p:nvSpPr>
        <p:spPr bwMode="auto">
          <a:xfrm>
            <a:off x="3638374" y="3466131"/>
            <a:ext cx="396694" cy="309950"/>
          </a:xfrm>
          <a:custGeom>
            <a:avLst/>
            <a:gdLst>
              <a:gd name="T0" fmla="*/ 96 w 256"/>
              <a:gd name="T1" fmla="*/ 0 h 194"/>
              <a:gd name="T2" fmla="*/ 81 w 256"/>
              <a:gd name="T3" fmla="*/ 15 h 194"/>
              <a:gd name="T4" fmla="*/ 72 w 256"/>
              <a:gd name="T5" fmla="*/ 65 h 194"/>
              <a:gd name="T6" fmla="*/ 14 w 256"/>
              <a:gd name="T7" fmla="*/ 65 h 194"/>
              <a:gd name="T8" fmla="*/ 0 w 256"/>
              <a:gd name="T9" fmla="*/ 96 h 194"/>
              <a:gd name="T10" fmla="*/ 44 w 256"/>
              <a:gd name="T11" fmla="*/ 96 h 194"/>
              <a:gd name="T12" fmla="*/ 44 w 256"/>
              <a:gd name="T13" fmla="*/ 111 h 194"/>
              <a:gd name="T14" fmla="*/ 62 w 256"/>
              <a:gd name="T15" fmla="*/ 127 h 194"/>
              <a:gd name="T16" fmla="*/ 62 w 256"/>
              <a:gd name="T17" fmla="*/ 155 h 194"/>
              <a:gd name="T18" fmla="*/ 91 w 256"/>
              <a:gd name="T19" fmla="*/ 165 h 194"/>
              <a:gd name="T20" fmla="*/ 107 w 256"/>
              <a:gd name="T21" fmla="*/ 194 h 194"/>
              <a:gd name="T22" fmla="*/ 150 w 256"/>
              <a:gd name="T23" fmla="*/ 175 h 194"/>
              <a:gd name="T24" fmla="*/ 179 w 256"/>
              <a:gd name="T25" fmla="*/ 194 h 194"/>
              <a:gd name="T26" fmla="*/ 191 w 256"/>
              <a:gd name="T27" fmla="*/ 168 h 194"/>
              <a:gd name="T28" fmla="*/ 220 w 256"/>
              <a:gd name="T29" fmla="*/ 164 h 194"/>
              <a:gd name="T30" fmla="*/ 248 w 256"/>
              <a:gd name="T31" fmla="*/ 136 h 194"/>
              <a:gd name="T32" fmla="*/ 237 w 256"/>
              <a:gd name="T33" fmla="*/ 117 h 194"/>
              <a:gd name="T34" fmla="*/ 256 w 256"/>
              <a:gd name="T35" fmla="*/ 108 h 194"/>
              <a:gd name="T36" fmla="*/ 250 w 256"/>
              <a:gd name="T37" fmla="*/ 83 h 194"/>
              <a:gd name="T38" fmla="*/ 245 w 256"/>
              <a:gd name="T39" fmla="*/ 77 h 194"/>
              <a:gd name="T40" fmla="*/ 220 w 256"/>
              <a:gd name="T41" fmla="*/ 97 h 194"/>
              <a:gd name="T42" fmla="*/ 200 w 256"/>
              <a:gd name="T43" fmla="*/ 74 h 194"/>
              <a:gd name="T44" fmla="*/ 168 w 256"/>
              <a:gd name="T45" fmla="*/ 74 h 194"/>
              <a:gd name="T46" fmla="*/ 172 w 256"/>
              <a:gd name="T47" fmla="*/ 49 h 194"/>
              <a:gd name="T48" fmla="*/ 122 w 256"/>
              <a:gd name="T49" fmla="*/ 31 h 194"/>
              <a:gd name="T50" fmla="*/ 122 w 256"/>
              <a:gd name="T51" fmla="*/ 19 h 194"/>
              <a:gd name="T52" fmla="*/ 102 w 256"/>
              <a:gd name="T53" fmla="*/ 20 h 194"/>
              <a:gd name="T54" fmla="*/ 96 w 256"/>
              <a:gd name="T55" fmla="*/ 0 h 194"/>
              <a:gd name="T56" fmla="*/ 96 w 256"/>
              <a:gd name="T57" fmla="*/ 0 h 194"/>
              <a:gd name="T58" fmla="*/ 96 w 256"/>
              <a:gd name="T59" fmla="*/ 0 h 1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6"/>
              <a:gd name="T91" fmla="*/ 0 h 194"/>
              <a:gd name="T92" fmla="*/ 256 w 256"/>
              <a:gd name="T93" fmla="*/ 194 h 1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6" h="194">
                <a:moveTo>
                  <a:pt x="96" y="0"/>
                </a:moveTo>
                <a:lnTo>
                  <a:pt x="81" y="15"/>
                </a:lnTo>
                <a:lnTo>
                  <a:pt x="72" y="65"/>
                </a:lnTo>
                <a:lnTo>
                  <a:pt x="14" y="65"/>
                </a:lnTo>
                <a:lnTo>
                  <a:pt x="0" y="96"/>
                </a:lnTo>
                <a:lnTo>
                  <a:pt x="44" y="96"/>
                </a:lnTo>
                <a:lnTo>
                  <a:pt x="44" y="111"/>
                </a:lnTo>
                <a:lnTo>
                  <a:pt x="62" y="127"/>
                </a:lnTo>
                <a:lnTo>
                  <a:pt x="62" y="155"/>
                </a:lnTo>
                <a:lnTo>
                  <a:pt x="91" y="165"/>
                </a:lnTo>
                <a:lnTo>
                  <a:pt x="107" y="194"/>
                </a:lnTo>
                <a:lnTo>
                  <a:pt x="150" y="175"/>
                </a:lnTo>
                <a:lnTo>
                  <a:pt x="179" y="194"/>
                </a:lnTo>
                <a:lnTo>
                  <a:pt x="191" y="168"/>
                </a:lnTo>
                <a:lnTo>
                  <a:pt x="220" y="164"/>
                </a:lnTo>
                <a:lnTo>
                  <a:pt x="248" y="136"/>
                </a:lnTo>
                <a:lnTo>
                  <a:pt x="237" y="117"/>
                </a:lnTo>
                <a:lnTo>
                  <a:pt x="256" y="108"/>
                </a:lnTo>
                <a:lnTo>
                  <a:pt x="250" y="83"/>
                </a:lnTo>
                <a:lnTo>
                  <a:pt x="245" y="77"/>
                </a:lnTo>
                <a:lnTo>
                  <a:pt x="220" y="97"/>
                </a:lnTo>
                <a:lnTo>
                  <a:pt x="200" y="74"/>
                </a:lnTo>
                <a:lnTo>
                  <a:pt x="168" y="74"/>
                </a:lnTo>
                <a:lnTo>
                  <a:pt x="172" y="49"/>
                </a:lnTo>
                <a:lnTo>
                  <a:pt x="122" y="31"/>
                </a:lnTo>
                <a:lnTo>
                  <a:pt x="122" y="19"/>
                </a:lnTo>
                <a:lnTo>
                  <a:pt x="102" y="20"/>
                </a:lnTo>
                <a:lnTo>
                  <a:pt x="96" y="0"/>
                </a:lnTo>
                <a:close/>
              </a:path>
            </a:pathLst>
          </a:custGeom>
          <a:solidFill>
            <a:schemeClr val="accent3"/>
          </a:solidFill>
          <a:ln w="12700">
            <a:solidFill>
              <a:schemeClr val="bg1"/>
            </a:solidFill>
            <a:round/>
            <a:headEnd/>
            <a:tailEnd/>
          </a:ln>
        </p:spPr>
        <p:txBody>
          <a:bodyPr/>
          <a:lstStyle/>
          <a:p>
            <a:pPr>
              <a:defRPr/>
            </a:pPr>
            <a:endParaRPr lang="nl-NL"/>
          </a:p>
        </p:txBody>
      </p:sp>
      <p:sp>
        <p:nvSpPr>
          <p:cNvPr id="324" name="Freeform 123"/>
          <p:cNvSpPr>
            <a:spLocks/>
          </p:cNvSpPr>
          <p:nvPr/>
        </p:nvSpPr>
        <p:spPr bwMode="auto">
          <a:xfrm>
            <a:off x="3582589" y="3617911"/>
            <a:ext cx="286674" cy="250836"/>
          </a:xfrm>
          <a:custGeom>
            <a:avLst/>
            <a:gdLst>
              <a:gd name="T0" fmla="*/ 80 w 185"/>
              <a:gd name="T1" fmla="*/ 0 h 157"/>
              <a:gd name="T2" fmla="*/ 21 w 185"/>
              <a:gd name="T3" fmla="*/ 28 h 157"/>
              <a:gd name="T4" fmla="*/ 0 w 185"/>
              <a:gd name="T5" fmla="*/ 57 h 157"/>
              <a:gd name="T6" fmla="*/ 101 w 185"/>
              <a:gd name="T7" fmla="*/ 157 h 157"/>
              <a:gd name="T8" fmla="*/ 136 w 185"/>
              <a:gd name="T9" fmla="*/ 152 h 157"/>
              <a:gd name="T10" fmla="*/ 185 w 185"/>
              <a:gd name="T11" fmla="*/ 80 h 157"/>
              <a:gd name="T12" fmla="*/ 143 w 185"/>
              <a:gd name="T13" fmla="*/ 99 h 157"/>
              <a:gd name="T14" fmla="*/ 127 w 185"/>
              <a:gd name="T15" fmla="*/ 70 h 157"/>
              <a:gd name="T16" fmla="*/ 98 w 185"/>
              <a:gd name="T17" fmla="*/ 60 h 157"/>
              <a:gd name="T18" fmla="*/ 98 w 185"/>
              <a:gd name="T19" fmla="*/ 32 h 157"/>
              <a:gd name="T20" fmla="*/ 80 w 185"/>
              <a:gd name="T21" fmla="*/ 16 h 157"/>
              <a:gd name="T22" fmla="*/ 80 w 185"/>
              <a:gd name="T23" fmla="*/ 0 h 157"/>
              <a:gd name="T24" fmla="*/ 80 w 185"/>
              <a:gd name="T25" fmla="*/ 0 h 157"/>
              <a:gd name="T26" fmla="*/ 80 w 185"/>
              <a:gd name="T27" fmla="*/ 0 h 15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5"/>
              <a:gd name="T43" fmla="*/ 0 h 157"/>
              <a:gd name="T44" fmla="*/ 185 w 185"/>
              <a:gd name="T45" fmla="*/ 157 h 15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5" h="157">
                <a:moveTo>
                  <a:pt x="80" y="0"/>
                </a:moveTo>
                <a:lnTo>
                  <a:pt x="21" y="28"/>
                </a:lnTo>
                <a:lnTo>
                  <a:pt x="0" y="57"/>
                </a:lnTo>
                <a:lnTo>
                  <a:pt x="101" y="157"/>
                </a:lnTo>
                <a:lnTo>
                  <a:pt x="136" y="152"/>
                </a:lnTo>
                <a:lnTo>
                  <a:pt x="185" y="80"/>
                </a:lnTo>
                <a:lnTo>
                  <a:pt x="143" y="99"/>
                </a:lnTo>
                <a:lnTo>
                  <a:pt x="127" y="70"/>
                </a:lnTo>
                <a:lnTo>
                  <a:pt x="98" y="60"/>
                </a:lnTo>
                <a:lnTo>
                  <a:pt x="98" y="32"/>
                </a:lnTo>
                <a:lnTo>
                  <a:pt x="80" y="16"/>
                </a:lnTo>
                <a:lnTo>
                  <a:pt x="80" y="0"/>
                </a:lnTo>
                <a:close/>
              </a:path>
            </a:pathLst>
          </a:custGeom>
          <a:solidFill>
            <a:schemeClr val="accent3"/>
          </a:solidFill>
          <a:ln w="12700">
            <a:solidFill>
              <a:schemeClr val="bg1"/>
            </a:solidFill>
            <a:round/>
            <a:headEnd/>
            <a:tailEnd/>
          </a:ln>
        </p:spPr>
        <p:txBody>
          <a:bodyPr/>
          <a:lstStyle/>
          <a:p>
            <a:pPr>
              <a:defRPr/>
            </a:pPr>
            <a:endParaRPr lang="nl-NL"/>
          </a:p>
        </p:txBody>
      </p:sp>
      <p:sp>
        <p:nvSpPr>
          <p:cNvPr id="325" name="Freeform 124"/>
          <p:cNvSpPr>
            <a:spLocks/>
          </p:cNvSpPr>
          <p:nvPr/>
        </p:nvSpPr>
        <p:spPr bwMode="auto">
          <a:xfrm>
            <a:off x="3915750" y="3675427"/>
            <a:ext cx="158058" cy="234859"/>
          </a:xfrm>
          <a:custGeom>
            <a:avLst/>
            <a:gdLst>
              <a:gd name="T0" fmla="*/ 69 w 102"/>
              <a:gd name="T1" fmla="*/ 5 h 147"/>
              <a:gd name="T2" fmla="*/ 41 w 102"/>
              <a:gd name="T3" fmla="*/ 32 h 147"/>
              <a:gd name="T4" fmla="*/ 11 w 102"/>
              <a:gd name="T5" fmla="*/ 37 h 147"/>
              <a:gd name="T6" fmla="*/ 0 w 102"/>
              <a:gd name="T7" fmla="*/ 64 h 147"/>
              <a:gd name="T8" fmla="*/ 14 w 102"/>
              <a:gd name="T9" fmla="*/ 101 h 147"/>
              <a:gd name="T10" fmla="*/ 41 w 102"/>
              <a:gd name="T11" fmla="*/ 147 h 147"/>
              <a:gd name="T12" fmla="*/ 102 w 102"/>
              <a:gd name="T13" fmla="*/ 131 h 147"/>
              <a:gd name="T14" fmla="*/ 86 w 102"/>
              <a:gd name="T15" fmla="*/ 78 h 147"/>
              <a:gd name="T16" fmla="*/ 93 w 102"/>
              <a:gd name="T17" fmla="*/ 52 h 147"/>
              <a:gd name="T18" fmla="*/ 83 w 102"/>
              <a:gd name="T19" fmla="*/ 37 h 147"/>
              <a:gd name="T20" fmla="*/ 102 w 102"/>
              <a:gd name="T21" fmla="*/ 3 h 147"/>
              <a:gd name="T22" fmla="*/ 83 w 102"/>
              <a:gd name="T23" fmla="*/ 0 h 147"/>
              <a:gd name="T24" fmla="*/ 69 w 102"/>
              <a:gd name="T25" fmla="*/ 5 h 147"/>
              <a:gd name="T26" fmla="*/ 69 w 102"/>
              <a:gd name="T27" fmla="*/ 5 h 147"/>
              <a:gd name="T28" fmla="*/ 69 w 102"/>
              <a:gd name="T29" fmla="*/ 5 h 1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2"/>
              <a:gd name="T46" fmla="*/ 0 h 147"/>
              <a:gd name="T47" fmla="*/ 102 w 102"/>
              <a:gd name="T48" fmla="*/ 147 h 1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2" h="147">
                <a:moveTo>
                  <a:pt x="69" y="5"/>
                </a:moveTo>
                <a:lnTo>
                  <a:pt x="41" y="32"/>
                </a:lnTo>
                <a:lnTo>
                  <a:pt x="11" y="37"/>
                </a:lnTo>
                <a:lnTo>
                  <a:pt x="0" y="64"/>
                </a:lnTo>
                <a:lnTo>
                  <a:pt x="14" y="101"/>
                </a:lnTo>
                <a:lnTo>
                  <a:pt x="41" y="147"/>
                </a:lnTo>
                <a:lnTo>
                  <a:pt x="102" y="131"/>
                </a:lnTo>
                <a:lnTo>
                  <a:pt x="86" y="78"/>
                </a:lnTo>
                <a:lnTo>
                  <a:pt x="93" y="52"/>
                </a:lnTo>
                <a:lnTo>
                  <a:pt x="83" y="37"/>
                </a:lnTo>
                <a:lnTo>
                  <a:pt x="102" y="3"/>
                </a:lnTo>
                <a:lnTo>
                  <a:pt x="83" y="0"/>
                </a:lnTo>
                <a:lnTo>
                  <a:pt x="69" y="5"/>
                </a:lnTo>
                <a:close/>
              </a:path>
            </a:pathLst>
          </a:custGeom>
          <a:solidFill>
            <a:schemeClr val="accent3"/>
          </a:solidFill>
          <a:ln w="12700">
            <a:solidFill>
              <a:schemeClr val="bg1"/>
            </a:solidFill>
            <a:round/>
            <a:headEnd/>
            <a:tailEnd/>
          </a:ln>
        </p:spPr>
        <p:txBody>
          <a:bodyPr/>
          <a:lstStyle/>
          <a:p>
            <a:pPr>
              <a:defRPr/>
            </a:pPr>
            <a:endParaRPr lang="nl-NL"/>
          </a:p>
        </p:txBody>
      </p:sp>
      <p:sp>
        <p:nvSpPr>
          <p:cNvPr id="326" name="Freeform 125"/>
          <p:cNvSpPr>
            <a:spLocks/>
          </p:cNvSpPr>
          <p:nvPr/>
        </p:nvSpPr>
        <p:spPr bwMode="auto">
          <a:xfrm>
            <a:off x="4044366" y="3619508"/>
            <a:ext cx="263430" cy="290778"/>
          </a:xfrm>
          <a:custGeom>
            <a:avLst/>
            <a:gdLst>
              <a:gd name="T0" fmla="*/ 19 w 170"/>
              <a:gd name="T1" fmla="*/ 38 h 182"/>
              <a:gd name="T2" fmla="*/ 0 w 170"/>
              <a:gd name="T3" fmla="*/ 72 h 182"/>
              <a:gd name="T4" fmla="*/ 10 w 170"/>
              <a:gd name="T5" fmla="*/ 87 h 182"/>
              <a:gd name="T6" fmla="*/ 3 w 170"/>
              <a:gd name="T7" fmla="*/ 113 h 182"/>
              <a:gd name="T8" fmla="*/ 19 w 170"/>
              <a:gd name="T9" fmla="*/ 169 h 182"/>
              <a:gd name="T10" fmla="*/ 73 w 170"/>
              <a:gd name="T11" fmla="*/ 182 h 182"/>
              <a:gd name="T12" fmla="*/ 94 w 170"/>
              <a:gd name="T13" fmla="*/ 129 h 182"/>
              <a:gd name="T14" fmla="*/ 135 w 170"/>
              <a:gd name="T15" fmla="*/ 136 h 182"/>
              <a:gd name="T16" fmla="*/ 145 w 170"/>
              <a:gd name="T17" fmla="*/ 103 h 182"/>
              <a:gd name="T18" fmla="*/ 119 w 170"/>
              <a:gd name="T19" fmla="*/ 87 h 182"/>
              <a:gd name="T20" fmla="*/ 117 w 170"/>
              <a:gd name="T21" fmla="*/ 37 h 182"/>
              <a:gd name="T22" fmla="*/ 125 w 170"/>
              <a:gd name="T23" fmla="*/ 23 h 182"/>
              <a:gd name="T24" fmla="*/ 154 w 170"/>
              <a:gd name="T25" fmla="*/ 94 h 182"/>
              <a:gd name="T26" fmla="*/ 170 w 170"/>
              <a:gd name="T27" fmla="*/ 71 h 182"/>
              <a:gd name="T28" fmla="*/ 140 w 170"/>
              <a:gd name="T29" fmla="*/ 2 h 182"/>
              <a:gd name="T30" fmla="*/ 110 w 170"/>
              <a:gd name="T31" fmla="*/ 0 h 182"/>
              <a:gd name="T32" fmla="*/ 84 w 170"/>
              <a:gd name="T33" fmla="*/ 14 h 182"/>
              <a:gd name="T34" fmla="*/ 83 w 170"/>
              <a:gd name="T35" fmla="*/ 31 h 182"/>
              <a:gd name="T36" fmla="*/ 36 w 170"/>
              <a:gd name="T37" fmla="*/ 52 h 182"/>
              <a:gd name="T38" fmla="*/ 19 w 170"/>
              <a:gd name="T39" fmla="*/ 38 h 182"/>
              <a:gd name="T40" fmla="*/ 19 w 170"/>
              <a:gd name="T41" fmla="*/ 38 h 182"/>
              <a:gd name="T42" fmla="*/ 19 w 170"/>
              <a:gd name="T43" fmla="*/ 38 h 1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0"/>
              <a:gd name="T67" fmla="*/ 0 h 182"/>
              <a:gd name="T68" fmla="*/ 170 w 170"/>
              <a:gd name="T69" fmla="*/ 182 h 1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0" h="182">
                <a:moveTo>
                  <a:pt x="19" y="38"/>
                </a:moveTo>
                <a:lnTo>
                  <a:pt x="0" y="72"/>
                </a:lnTo>
                <a:lnTo>
                  <a:pt x="10" y="87"/>
                </a:lnTo>
                <a:lnTo>
                  <a:pt x="3" y="113"/>
                </a:lnTo>
                <a:lnTo>
                  <a:pt x="19" y="169"/>
                </a:lnTo>
                <a:lnTo>
                  <a:pt x="73" y="182"/>
                </a:lnTo>
                <a:lnTo>
                  <a:pt x="94" y="129"/>
                </a:lnTo>
                <a:lnTo>
                  <a:pt x="135" y="136"/>
                </a:lnTo>
                <a:lnTo>
                  <a:pt x="145" y="103"/>
                </a:lnTo>
                <a:lnTo>
                  <a:pt x="119" y="87"/>
                </a:lnTo>
                <a:lnTo>
                  <a:pt x="117" y="37"/>
                </a:lnTo>
                <a:lnTo>
                  <a:pt x="125" y="23"/>
                </a:lnTo>
                <a:lnTo>
                  <a:pt x="154" y="94"/>
                </a:lnTo>
                <a:lnTo>
                  <a:pt x="170" y="71"/>
                </a:lnTo>
                <a:lnTo>
                  <a:pt x="140" y="2"/>
                </a:lnTo>
                <a:lnTo>
                  <a:pt x="110" y="0"/>
                </a:lnTo>
                <a:lnTo>
                  <a:pt x="84" y="14"/>
                </a:lnTo>
                <a:lnTo>
                  <a:pt x="83" y="31"/>
                </a:lnTo>
                <a:lnTo>
                  <a:pt x="36" y="52"/>
                </a:lnTo>
                <a:lnTo>
                  <a:pt x="19" y="38"/>
                </a:lnTo>
                <a:close/>
              </a:path>
            </a:pathLst>
          </a:custGeom>
          <a:solidFill>
            <a:schemeClr val="accent3"/>
          </a:solidFill>
          <a:ln w="12700">
            <a:solidFill>
              <a:schemeClr val="bg1"/>
            </a:solidFill>
            <a:round/>
            <a:headEnd/>
            <a:tailEnd/>
          </a:ln>
        </p:spPr>
        <p:txBody>
          <a:bodyPr/>
          <a:lstStyle/>
          <a:p>
            <a:pPr>
              <a:defRPr/>
            </a:pPr>
            <a:endParaRPr lang="nl-NL"/>
          </a:p>
        </p:txBody>
      </p:sp>
      <p:sp>
        <p:nvSpPr>
          <p:cNvPr id="327" name="Freeform 126"/>
          <p:cNvSpPr>
            <a:spLocks/>
          </p:cNvSpPr>
          <p:nvPr/>
        </p:nvSpPr>
        <p:spPr bwMode="auto">
          <a:xfrm>
            <a:off x="4005626" y="3565187"/>
            <a:ext cx="85227" cy="118228"/>
          </a:xfrm>
          <a:custGeom>
            <a:avLst/>
            <a:gdLst>
              <a:gd name="T0" fmla="*/ 14 w 55"/>
              <a:gd name="T1" fmla="*/ 0 h 74"/>
              <a:gd name="T2" fmla="*/ 25 w 55"/>
              <a:gd name="T3" fmla="*/ 10 h 74"/>
              <a:gd name="T4" fmla="*/ 55 w 55"/>
              <a:gd name="T5" fmla="*/ 7 h 74"/>
              <a:gd name="T6" fmla="*/ 44 w 55"/>
              <a:gd name="T7" fmla="*/ 25 h 74"/>
              <a:gd name="T8" fmla="*/ 51 w 55"/>
              <a:gd name="T9" fmla="*/ 40 h 74"/>
              <a:gd name="T10" fmla="*/ 44 w 55"/>
              <a:gd name="T11" fmla="*/ 72 h 74"/>
              <a:gd name="T12" fmla="*/ 25 w 55"/>
              <a:gd name="T13" fmla="*/ 69 h 74"/>
              <a:gd name="T14" fmla="*/ 11 w 55"/>
              <a:gd name="T15" fmla="*/ 74 h 74"/>
              <a:gd name="T16" fmla="*/ 0 w 55"/>
              <a:gd name="T17" fmla="*/ 55 h 74"/>
              <a:gd name="T18" fmla="*/ 19 w 55"/>
              <a:gd name="T19" fmla="*/ 45 h 74"/>
              <a:gd name="T20" fmla="*/ 13 w 55"/>
              <a:gd name="T21" fmla="*/ 21 h 74"/>
              <a:gd name="T22" fmla="*/ 8 w 55"/>
              <a:gd name="T23" fmla="*/ 17 h 74"/>
              <a:gd name="T24" fmla="*/ 14 w 55"/>
              <a:gd name="T25" fmla="*/ 0 h 74"/>
              <a:gd name="T26" fmla="*/ 14 w 55"/>
              <a:gd name="T27" fmla="*/ 0 h 74"/>
              <a:gd name="T28" fmla="*/ 14 w 55"/>
              <a:gd name="T29" fmla="*/ 0 h 7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
              <a:gd name="T46" fmla="*/ 0 h 74"/>
              <a:gd name="T47" fmla="*/ 55 w 55"/>
              <a:gd name="T48" fmla="*/ 74 h 7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 h="74">
                <a:moveTo>
                  <a:pt x="14" y="0"/>
                </a:moveTo>
                <a:lnTo>
                  <a:pt x="25" y="10"/>
                </a:lnTo>
                <a:lnTo>
                  <a:pt x="55" y="7"/>
                </a:lnTo>
                <a:lnTo>
                  <a:pt x="44" y="25"/>
                </a:lnTo>
                <a:lnTo>
                  <a:pt x="51" y="40"/>
                </a:lnTo>
                <a:lnTo>
                  <a:pt x="44" y="72"/>
                </a:lnTo>
                <a:lnTo>
                  <a:pt x="25" y="69"/>
                </a:lnTo>
                <a:lnTo>
                  <a:pt x="11" y="74"/>
                </a:lnTo>
                <a:lnTo>
                  <a:pt x="0" y="55"/>
                </a:lnTo>
                <a:lnTo>
                  <a:pt x="19" y="45"/>
                </a:lnTo>
                <a:lnTo>
                  <a:pt x="13" y="21"/>
                </a:lnTo>
                <a:lnTo>
                  <a:pt x="8" y="17"/>
                </a:lnTo>
                <a:lnTo>
                  <a:pt x="14" y="0"/>
                </a:lnTo>
                <a:close/>
              </a:path>
            </a:pathLst>
          </a:custGeom>
          <a:solidFill>
            <a:schemeClr val="accent3"/>
          </a:solidFill>
          <a:ln w="12700">
            <a:solidFill>
              <a:schemeClr val="bg1"/>
            </a:solidFill>
            <a:round/>
            <a:headEnd/>
            <a:tailEnd/>
          </a:ln>
        </p:spPr>
        <p:txBody>
          <a:bodyPr/>
          <a:lstStyle/>
          <a:p>
            <a:pPr>
              <a:defRPr/>
            </a:pPr>
            <a:endParaRPr lang="nl-NL"/>
          </a:p>
        </p:txBody>
      </p:sp>
      <p:sp>
        <p:nvSpPr>
          <p:cNvPr id="328" name="Freeform 141"/>
          <p:cNvSpPr>
            <a:spLocks/>
          </p:cNvSpPr>
          <p:nvPr/>
        </p:nvSpPr>
        <p:spPr bwMode="auto">
          <a:xfrm>
            <a:off x="5045399" y="1384352"/>
            <a:ext cx="23244" cy="31954"/>
          </a:xfrm>
          <a:custGeom>
            <a:avLst/>
            <a:gdLst>
              <a:gd name="T0" fmla="*/ 0 w 15"/>
              <a:gd name="T1" fmla="*/ 0 h 20"/>
              <a:gd name="T2" fmla="*/ 4 w 15"/>
              <a:gd name="T3" fmla="*/ 20 h 20"/>
              <a:gd name="T4" fmla="*/ 15 w 15"/>
              <a:gd name="T5" fmla="*/ 17 h 20"/>
              <a:gd name="T6" fmla="*/ 0 w 15"/>
              <a:gd name="T7" fmla="*/ 0 h 20"/>
              <a:gd name="T8" fmla="*/ 0 w 15"/>
              <a:gd name="T9" fmla="*/ 0 h 20"/>
              <a:gd name="T10" fmla="*/ 0 w 15"/>
              <a:gd name="T11" fmla="*/ 0 h 20"/>
              <a:gd name="T12" fmla="*/ 0 60000 65536"/>
              <a:gd name="T13" fmla="*/ 0 60000 65536"/>
              <a:gd name="T14" fmla="*/ 0 60000 65536"/>
              <a:gd name="T15" fmla="*/ 0 60000 65536"/>
              <a:gd name="T16" fmla="*/ 0 60000 65536"/>
              <a:gd name="T17" fmla="*/ 0 60000 65536"/>
              <a:gd name="T18" fmla="*/ 0 w 15"/>
              <a:gd name="T19" fmla="*/ 0 h 20"/>
              <a:gd name="T20" fmla="*/ 15 w 15"/>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15" h="20">
                <a:moveTo>
                  <a:pt x="0" y="0"/>
                </a:moveTo>
                <a:lnTo>
                  <a:pt x="4" y="20"/>
                </a:lnTo>
                <a:lnTo>
                  <a:pt x="15" y="17"/>
                </a:lnTo>
                <a:lnTo>
                  <a:pt x="0" y="0"/>
                </a:lnTo>
                <a:close/>
              </a:path>
            </a:pathLst>
          </a:custGeom>
          <a:solidFill>
            <a:schemeClr val="accent3"/>
          </a:solidFill>
          <a:ln w="12700">
            <a:solidFill>
              <a:schemeClr val="bg1"/>
            </a:solidFill>
            <a:round/>
            <a:headEnd/>
            <a:tailEnd/>
          </a:ln>
        </p:spPr>
        <p:txBody>
          <a:bodyPr/>
          <a:lstStyle/>
          <a:p>
            <a:pPr>
              <a:defRPr/>
            </a:pPr>
            <a:endParaRPr lang="nl-NL"/>
          </a:p>
        </p:txBody>
      </p:sp>
      <p:sp>
        <p:nvSpPr>
          <p:cNvPr id="126"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27"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0657" name="Title 1"/>
          <p:cNvSpPr>
            <a:spLocks noGrp="1"/>
          </p:cNvSpPr>
          <p:nvPr>
            <p:ph type="title"/>
          </p:nvPr>
        </p:nvSpPr>
        <p:spPr>
          <a:xfrm>
            <a:off x="414338" y="446038"/>
            <a:ext cx="8330184" cy="333425"/>
          </a:xfrm>
        </p:spPr>
        <p:txBody>
          <a:bodyPr/>
          <a:lstStyle/>
          <a:p>
            <a:r>
              <a:rPr lang="nl-NL"/>
              <a:t>Maps </a:t>
            </a:r>
            <a:r>
              <a:rPr lang="en-US"/>
              <a:t>—</a:t>
            </a:r>
            <a:r>
              <a:rPr lang="nl-NL" smtClean="0"/>
              <a:t> </a:t>
            </a:r>
            <a:r>
              <a:rPr lang="nl-NL"/>
              <a:t>Italy</a:t>
            </a:r>
          </a:p>
        </p:txBody>
      </p:sp>
      <p:sp>
        <p:nvSpPr>
          <p:cNvPr id="6" name="Freeform 6"/>
          <p:cNvSpPr>
            <a:spLocks noChangeAspect="1"/>
          </p:cNvSpPr>
          <p:nvPr/>
        </p:nvSpPr>
        <p:spPr bwMode="auto">
          <a:xfrm>
            <a:off x="2967735" y="1837855"/>
            <a:ext cx="297196" cy="207359"/>
          </a:xfrm>
          <a:custGeom>
            <a:avLst/>
            <a:gdLst>
              <a:gd name="T0" fmla="*/ 180 w 190"/>
              <a:gd name="T1" fmla="*/ 21 h 126"/>
              <a:gd name="T2" fmla="*/ 95 w 190"/>
              <a:gd name="T3" fmla="*/ 0 h 126"/>
              <a:gd name="T4" fmla="*/ 0 w 190"/>
              <a:gd name="T5" fmla="*/ 21 h 126"/>
              <a:gd name="T6" fmla="*/ 32 w 190"/>
              <a:gd name="T7" fmla="*/ 124 h 126"/>
              <a:gd name="T8" fmla="*/ 63 w 190"/>
              <a:gd name="T9" fmla="*/ 126 h 126"/>
              <a:gd name="T10" fmla="*/ 77 w 190"/>
              <a:gd name="T11" fmla="*/ 110 h 126"/>
              <a:gd name="T12" fmla="*/ 158 w 190"/>
              <a:gd name="T13" fmla="*/ 110 h 126"/>
              <a:gd name="T14" fmla="*/ 190 w 190"/>
              <a:gd name="T15" fmla="*/ 85 h 126"/>
              <a:gd name="T16" fmla="*/ 180 w 190"/>
              <a:gd name="T17" fmla="*/ 21 h 126"/>
              <a:gd name="T18" fmla="*/ 180 w 190"/>
              <a:gd name="T19" fmla="*/ 21 h 126"/>
              <a:gd name="T20" fmla="*/ 180 w 190"/>
              <a:gd name="T21" fmla="*/ 21 h 126"/>
              <a:gd name="T22" fmla="*/ 180 w 190"/>
              <a:gd name="T23" fmla="*/ 21 h 1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0"/>
              <a:gd name="T37" fmla="*/ 0 h 126"/>
              <a:gd name="T38" fmla="*/ 190 w 190"/>
              <a:gd name="T39" fmla="*/ 126 h 1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0" h="126">
                <a:moveTo>
                  <a:pt x="180" y="21"/>
                </a:moveTo>
                <a:lnTo>
                  <a:pt x="95" y="0"/>
                </a:lnTo>
                <a:lnTo>
                  <a:pt x="0" y="21"/>
                </a:lnTo>
                <a:lnTo>
                  <a:pt x="32" y="124"/>
                </a:lnTo>
                <a:lnTo>
                  <a:pt x="63" y="126"/>
                </a:lnTo>
                <a:lnTo>
                  <a:pt x="77" y="110"/>
                </a:lnTo>
                <a:lnTo>
                  <a:pt x="158" y="110"/>
                </a:lnTo>
                <a:lnTo>
                  <a:pt x="190" y="85"/>
                </a:lnTo>
                <a:lnTo>
                  <a:pt x="180" y="21"/>
                </a:lnTo>
                <a:close/>
              </a:path>
            </a:pathLst>
          </a:custGeom>
          <a:solidFill>
            <a:schemeClr val="accent3"/>
          </a:solidFill>
          <a:ln w="12700">
            <a:solidFill>
              <a:schemeClr val="bg1"/>
            </a:solidFill>
            <a:round/>
            <a:headEnd/>
            <a:tailEnd/>
          </a:ln>
        </p:spPr>
        <p:txBody>
          <a:bodyPr/>
          <a:lstStyle/>
          <a:p>
            <a:pPr>
              <a:defRPr/>
            </a:pPr>
            <a:endParaRPr lang="nl-NL"/>
          </a:p>
        </p:txBody>
      </p:sp>
      <p:sp>
        <p:nvSpPr>
          <p:cNvPr id="7" name="Freeform 7"/>
          <p:cNvSpPr>
            <a:spLocks noChangeAspect="1"/>
          </p:cNvSpPr>
          <p:nvPr/>
        </p:nvSpPr>
        <p:spPr bwMode="auto">
          <a:xfrm>
            <a:off x="4348734" y="2919865"/>
            <a:ext cx="411047" cy="514501"/>
          </a:xfrm>
          <a:custGeom>
            <a:avLst/>
            <a:gdLst>
              <a:gd name="T0" fmla="*/ 70 w 262"/>
              <a:gd name="T1" fmla="*/ 0 h 312"/>
              <a:gd name="T2" fmla="*/ 43 w 262"/>
              <a:gd name="T3" fmla="*/ 12 h 312"/>
              <a:gd name="T4" fmla="*/ 38 w 262"/>
              <a:gd name="T5" fmla="*/ 43 h 312"/>
              <a:gd name="T6" fmla="*/ 70 w 262"/>
              <a:gd name="T7" fmla="*/ 77 h 312"/>
              <a:gd name="T8" fmla="*/ 37 w 262"/>
              <a:gd name="T9" fmla="*/ 88 h 312"/>
              <a:gd name="T10" fmla="*/ 13 w 262"/>
              <a:gd name="T11" fmla="*/ 118 h 312"/>
              <a:gd name="T12" fmla="*/ 17 w 262"/>
              <a:gd name="T13" fmla="*/ 150 h 312"/>
              <a:gd name="T14" fmla="*/ 0 w 262"/>
              <a:gd name="T15" fmla="*/ 195 h 312"/>
              <a:gd name="T16" fmla="*/ 14 w 262"/>
              <a:gd name="T17" fmla="*/ 199 h 312"/>
              <a:gd name="T18" fmla="*/ 20 w 262"/>
              <a:gd name="T19" fmla="*/ 221 h 312"/>
              <a:gd name="T20" fmla="*/ 14 w 262"/>
              <a:gd name="T21" fmla="*/ 232 h 312"/>
              <a:gd name="T22" fmla="*/ 34 w 262"/>
              <a:gd name="T23" fmla="*/ 253 h 312"/>
              <a:gd name="T24" fmla="*/ 58 w 262"/>
              <a:gd name="T25" fmla="*/ 249 h 312"/>
              <a:gd name="T26" fmla="*/ 94 w 262"/>
              <a:gd name="T27" fmla="*/ 295 h 312"/>
              <a:gd name="T28" fmla="*/ 107 w 262"/>
              <a:gd name="T29" fmla="*/ 293 h 312"/>
              <a:gd name="T30" fmla="*/ 121 w 262"/>
              <a:gd name="T31" fmla="*/ 312 h 312"/>
              <a:gd name="T32" fmla="*/ 136 w 262"/>
              <a:gd name="T33" fmla="*/ 312 h 312"/>
              <a:gd name="T34" fmla="*/ 144 w 262"/>
              <a:gd name="T35" fmla="*/ 295 h 312"/>
              <a:gd name="T36" fmla="*/ 164 w 262"/>
              <a:gd name="T37" fmla="*/ 295 h 312"/>
              <a:gd name="T38" fmla="*/ 197 w 262"/>
              <a:gd name="T39" fmla="*/ 261 h 312"/>
              <a:gd name="T40" fmla="*/ 244 w 262"/>
              <a:gd name="T41" fmla="*/ 249 h 312"/>
              <a:gd name="T42" fmla="*/ 255 w 262"/>
              <a:gd name="T43" fmla="*/ 227 h 312"/>
              <a:gd name="T44" fmla="*/ 247 w 262"/>
              <a:gd name="T45" fmla="*/ 218 h 312"/>
              <a:gd name="T46" fmla="*/ 262 w 262"/>
              <a:gd name="T47" fmla="*/ 199 h 312"/>
              <a:gd name="T48" fmla="*/ 218 w 262"/>
              <a:gd name="T49" fmla="*/ 176 h 312"/>
              <a:gd name="T50" fmla="*/ 208 w 262"/>
              <a:gd name="T51" fmla="*/ 186 h 312"/>
              <a:gd name="T52" fmla="*/ 197 w 262"/>
              <a:gd name="T53" fmla="*/ 133 h 312"/>
              <a:gd name="T54" fmla="*/ 178 w 262"/>
              <a:gd name="T55" fmla="*/ 65 h 312"/>
              <a:gd name="T56" fmla="*/ 178 w 262"/>
              <a:gd name="T57" fmla="*/ 42 h 312"/>
              <a:gd name="T58" fmla="*/ 146 w 262"/>
              <a:gd name="T59" fmla="*/ 42 h 312"/>
              <a:gd name="T60" fmla="*/ 112 w 262"/>
              <a:gd name="T61" fmla="*/ 14 h 312"/>
              <a:gd name="T62" fmla="*/ 94 w 262"/>
              <a:gd name="T63" fmla="*/ 15 h 312"/>
              <a:gd name="T64" fmla="*/ 101 w 262"/>
              <a:gd name="T65" fmla="*/ 0 h 312"/>
              <a:gd name="T66" fmla="*/ 70 w 262"/>
              <a:gd name="T67" fmla="*/ 0 h 312"/>
              <a:gd name="T68" fmla="*/ 70 w 262"/>
              <a:gd name="T69" fmla="*/ 0 h 312"/>
              <a:gd name="T70" fmla="*/ 70 w 262"/>
              <a:gd name="T71" fmla="*/ 0 h 31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62"/>
              <a:gd name="T109" fmla="*/ 0 h 312"/>
              <a:gd name="T110" fmla="*/ 262 w 262"/>
              <a:gd name="T111" fmla="*/ 312 h 31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62" h="312">
                <a:moveTo>
                  <a:pt x="70" y="0"/>
                </a:moveTo>
                <a:lnTo>
                  <a:pt x="43" y="12"/>
                </a:lnTo>
                <a:lnTo>
                  <a:pt x="38" y="43"/>
                </a:lnTo>
                <a:lnTo>
                  <a:pt x="70" y="77"/>
                </a:lnTo>
                <a:lnTo>
                  <a:pt x="37" y="88"/>
                </a:lnTo>
                <a:lnTo>
                  <a:pt x="13" y="118"/>
                </a:lnTo>
                <a:lnTo>
                  <a:pt x="17" y="150"/>
                </a:lnTo>
                <a:lnTo>
                  <a:pt x="0" y="195"/>
                </a:lnTo>
                <a:lnTo>
                  <a:pt x="14" y="199"/>
                </a:lnTo>
                <a:lnTo>
                  <a:pt x="20" y="221"/>
                </a:lnTo>
                <a:lnTo>
                  <a:pt x="14" y="232"/>
                </a:lnTo>
                <a:lnTo>
                  <a:pt x="34" y="253"/>
                </a:lnTo>
                <a:lnTo>
                  <a:pt x="58" y="249"/>
                </a:lnTo>
                <a:lnTo>
                  <a:pt x="94" y="295"/>
                </a:lnTo>
                <a:lnTo>
                  <a:pt x="107" y="293"/>
                </a:lnTo>
                <a:lnTo>
                  <a:pt x="121" y="312"/>
                </a:lnTo>
                <a:lnTo>
                  <a:pt x="136" y="312"/>
                </a:lnTo>
                <a:lnTo>
                  <a:pt x="144" y="295"/>
                </a:lnTo>
                <a:lnTo>
                  <a:pt x="164" y="295"/>
                </a:lnTo>
                <a:lnTo>
                  <a:pt x="197" y="261"/>
                </a:lnTo>
                <a:lnTo>
                  <a:pt x="244" y="249"/>
                </a:lnTo>
                <a:lnTo>
                  <a:pt x="255" y="227"/>
                </a:lnTo>
                <a:lnTo>
                  <a:pt x="247" y="218"/>
                </a:lnTo>
                <a:lnTo>
                  <a:pt x="262" y="199"/>
                </a:lnTo>
                <a:lnTo>
                  <a:pt x="218" y="176"/>
                </a:lnTo>
                <a:lnTo>
                  <a:pt x="208" y="186"/>
                </a:lnTo>
                <a:lnTo>
                  <a:pt x="197" y="133"/>
                </a:lnTo>
                <a:lnTo>
                  <a:pt x="178" y="65"/>
                </a:lnTo>
                <a:lnTo>
                  <a:pt x="178" y="42"/>
                </a:lnTo>
                <a:lnTo>
                  <a:pt x="146" y="42"/>
                </a:lnTo>
                <a:lnTo>
                  <a:pt x="112" y="14"/>
                </a:lnTo>
                <a:lnTo>
                  <a:pt x="94" y="15"/>
                </a:lnTo>
                <a:lnTo>
                  <a:pt x="101" y="0"/>
                </a:lnTo>
                <a:lnTo>
                  <a:pt x="70" y="0"/>
                </a:lnTo>
                <a:close/>
              </a:path>
            </a:pathLst>
          </a:custGeom>
          <a:solidFill>
            <a:schemeClr val="accent3"/>
          </a:solidFill>
          <a:ln w="12700">
            <a:solidFill>
              <a:schemeClr val="bg1"/>
            </a:solidFill>
            <a:round/>
            <a:headEnd/>
            <a:tailEnd/>
          </a:ln>
        </p:spPr>
        <p:txBody>
          <a:bodyPr/>
          <a:lstStyle/>
          <a:p>
            <a:pPr>
              <a:defRPr/>
            </a:pPr>
            <a:endParaRPr lang="nl-NL"/>
          </a:p>
        </p:txBody>
      </p:sp>
      <p:sp>
        <p:nvSpPr>
          <p:cNvPr id="8" name="Freeform 8"/>
          <p:cNvSpPr>
            <a:spLocks noChangeAspect="1"/>
          </p:cNvSpPr>
          <p:nvPr/>
        </p:nvSpPr>
        <p:spPr bwMode="auto">
          <a:xfrm>
            <a:off x="4981569" y="3546621"/>
            <a:ext cx="362254" cy="332087"/>
          </a:xfrm>
          <a:custGeom>
            <a:avLst/>
            <a:gdLst>
              <a:gd name="T0" fmla="*/ 167 w 231"/>
              <a:gd name="T1" fmla="*/ 0 h 201"/>
              <a:gd name="T2" fmla="*/ 110 w 231"/>
              <a:gd name="T3" fmla="*/ 84 h 201"/>
              <a:gd name="T4" fmla="*/ 98 w 231"/>
              <a:gd name="T5" fmla="*/ 93 h 201"/>
              <a:gd name="T6" fmla="*/ 87 w 231"/>
              <a:gd name="T7" fmla="*/ 66 h 201"/>
              <a:gd name="T8" fmla="*/ 60 w 231"/>
              <a:gd name="T9" fmla="*/ 66 h 201"/>
              <a:gd name="T10" fmla="*/ 37 w 231"/>
              <a:gd name="T11" fmla="*/ 88 h 201"/>
              <a:gd name="T12" fmla="*/ 42 w 231"/>
              <a:gd name="T13" fmla="*/ 94 h 201"/>
              <a:gd name="T14" fmla="*/ 13 w 231"/>
              <a:gd name="T15" fmla="*/ 117 h 201"/>
              <a:gd name="T16" fmla="*/ 0 w 231"/>
              <a:gd name="T17" fmla="*/ 117 h 201"/>
              <a:gd name="T18" fmla="*/ 12 w 231"/>
              <a:gd name="T19" fmla="*/ 149 h 201"/>
              <a:gd name="T20" fmla="*/ 6 w 231"/>
              <a:gd name="T21" fmla="*/ 176 h 201"/>
              <a:gd name="T22" fmla="*/ 19 w 231"/>
              <a:gd name="T23" fmla="*/ 192 h 201"/>
              <a:gd name="T24" fmla="*/ 27 w 231"/>
              <a:gd name="T25" fmla="*/ 192 h 201"/>
              <a:gd name="T26" fmla="*/ 27 w 231"/>
              <a:gd name="T27" fmla="*/ 176 h 201"/>
              <a:gd name="T28" fmla="*/ 34 w 231"/>
              <a:gd name="T29" fmla="*/ 169 h 201"/>
              <a:gd name="T30" fmla="*/ 129 w 231"/>
              <a:gd name="T31" fmla="*/ 201 h 201"/>
              <a:gd name="T32" fmla="*/ 163 w 231"/>
              <a:gd name="T33" fmla="*/ 180 h 201"/>
              <a:gd name="T34" fmla="*/ 171 w 231"/>
              <a:gd name="T35" fmla="*/ 182 h 201"/>
              <a:gd name="T36" fmla="*/ 201 w 231"/>
              <a:gd name="T37" fmla="*/ 169 h 201"/>
              <a:gd name="T38" fmla="*/ 183 w 231"/>
              <a:gd name="T39" fmla="*/ 130 h 201"/>
              <a:gd name="T40" fmla="*/ 202 w 231"/>
              <a:gd name="T41" fmla="*/ 130 h 201"/>
              <a:gd name="T42" fmla="*/ 225 w 231"/>
              <a:gd name="T43" fmla="*/ 115 h 201"/>
              <a:gd name="T44" fmla="*/ 227 w 231"/>
              <a:gd name="T45" fmla="*/ 106 h 201"/>
              <a:gd name="T46" fmla="*/ 216 w 231"/>
              <a:gd name="T47" fmla="*/ 92 h 201"/>
              <a:gd name="T48" fmla="*/ 231 w 231"/>
              <a:gd name="T49" fmla="*/ 49 h 201"/>
              <a:gd name="T50" fmla="*/ 167 w 231"/>
              <a:gd name="T51" fmla="*/ 0 h 201"/>
              <a:gd name="T52" fmla="*/ 167 w 231"/>
              <a:gd name="T53" fmla="*/ 0 h 201"/>
              <a:gd name="T54" fmla="*/ 167 w 231"/>
              <a:gd name="T55" fmla="*/ 0 h 20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1"/>
              <a:gd name="T85" fmla="*/ 0 h 201"/>
              <a:gd name="T86" fmla="*/ 231 w 231"/>
              <a:gd name="T87" fmla="*/ 201 h 20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1" h="201">
                <a:moveTo>
                  <a:pt x="167" y="0"/>
                </a:moveTo>
                <a:lnTo>
                  <a:pt x="110" y="84"/>
                </a:lnTo>
                <a:lnTo>
                  <a:pt x="98" y="93"/>
                </a:lnTo>
                <a:lnTo>
                  <a:pt x="87" y="66"/>
                </a:lnTo>
                <a:lnTo>
                  <a:pt x="60" y="66"/>
                </a:lnTo>
                <a:lnTo>
                  <a:pt x="37" y="88"/>
                </a:lnTo>
                <a:lnTo>
                  <a:pt x="42" y="94"/>
                </a:lnTo>
                <a:lnTo>
                  <a:pt x="13" y="117"/>
                </a:lnTo>
                <a:lnTo>
                  <a:pt x="0" y="117"/>
                </a:lnTo>
                <a:lnTo>
                  <a:pt x="12" y="149"/>
                </a:lnTo>
                <a:lnTo>
                  <a:pt x="6" y="176"/>
                </a:lnTo>
                <a:lnTo>
                  <a:pt x="19" y="192"/>
                </a:lnTo>
                <a:lnTo>
                  <a:pt x="27" y="192"/>
                </a:lnTo>
                <a:lnTo>
                  <a:pt x="27" y="176"/>
                </a:lnTo>
                <a:lnTo>
                  <a:pt x="34" y="169"/>
                </a:lnTo>
                <a:lnTo>
                  <a:pt x="129" y="201"/>
                </a:lnTo>
                <a:lnTo>
                  <a:pt x="163" y="180"/>
                </a:lnTo>
                <a:lnTo>
                  <a:pt x="171" y="182"/>
                </a:lnTo>
                <a:lnTo>
                  <a:pt x="201" y="169"/>
                </a:lnTo>
                <a:lnTo>
                  <a:pt x="183" y="130"/>
                </a:lnTo>
                <a:lnTo>
                  <a:pt x="202" y="130"/>
                </a:lnTo>
                <a:lnTo>
                  <a:pt x="225" y="115"/>
                </a:lnTo>
                <a:lnTo>
                  <a:pt x="227" y="106"/>
                </a:lnTo>
                <a:lnTo>
                  <a:pt x="216" y="92"/>
                </a:lnTo>
                <a:lnTo>
                  <a:pt x="231" y="49"/>
                </a:lnTo>
                <a:lnTo>
                  <a:pt x="167" y="0"/>
                </a:lnTo>
                <a:close/>
              </a:path>
            </a:pathLst>
          </a:custGeom>
          <a:solidFill>
            <a:schemeClr val="accent3"/>
          </a:solidFill>
          <a:ln w="12700">
            <a:solidFill>
              <a:schemeClr val="bg1"/>
            </a:solidFill>
            <a:round/>
            <a:headEnd/>
            <a:tailEnd/>
          </a:ln>
        </p:spPr>
        <p:txBody>
          <a:bodyPr/>
          <a:lstStyle/>
          <a:p>
            <a:pPr>
              <a:defRPr/>
            </a:pPr>
            <a:endParaRPr lang="nl-NL"/>
          </a:p>
        </p:txBody>
      </p:sp>
      <p:sp>
        <p:nvSpPr>
          <p:cNvPr id="9" name="Freeform 9"/>
          <p:cNvSpPr>
            <a:spLocks noChangeAspect="1"/>
          </p:cNvSpPr>
          <p:nvPr/>
        </p:nvSpPr>
        <p:spPr bwMode="auto">
          <a:xfrm>
            <a:off x="4407877" y="5121305"/>
            <a:ext cx="1051275" cy="698474"/>
          </a:xfrm>
          <a:custGeom>
            <a:avLst/>
            <a:gdLst>
              <a:gd name="T0" fmla="*/ 671 w 671"/>
              <a:gd name="T1" fmla="*/ 0 h 423"/>
              <a:gd name="T2" fmla="*/ 570 w 671"/>
              <a:gd name="T3" fmla="*/ 222 h 423"/>
              <a:gd name="T4" fmla="*/ 624 w 671"/>
              <a:gd name="T5" fmla="*/ 322 h 423"/>
              <a:gd name="T6" fmla="*/ 576 w 671"/>
              <a:gd name="T7" fmla="*/ 423 h 423"/>
              <a:gd name="T8" fmla="*/ 453 w 671"/>
              <a:gd name="T9" fmla="*/ 383 h 423"/>
              <a:gd name="T10" fmla="*/ 383 w 671"/>
              <a:gd name="T11" fmla="*/ 303 h 423"/>
              <a:gd name="T12" fmla="*/ 313 w 671"/>
              <a:gd name="T13" fmla="*/ 303 h 423"/>
              <a:gd name="T14" fmla="*/ 126 w 671"/>
              <a:gd name="T15" fmla="*/ 182 h 423"/>
              <a:gd name="T16" fmla="*/ 55 w 671"/>
              <a:gd name="T17" fmla="*/ 182 h 423"/>
              <a:gd name="T18" fmla="*/ 0 w 671"/>
              <a:gd name="T19" fmla="*/ 131 h 423"/>
              <a:gd name="T20" fmla="*/ 71 w 671"/>
              <a:gd name="T21" fmla="*/ 9 h 423"/>
              <a:gd name="T22" fmla="*/ 109 w 671"/>
              <a:gd name="T23" fmla="*/ 70 h 423"/>
              <a:gd name="T24" fmla="*/ 204 w 671"/>
              <a:gd name="T25" fmla="*/ 20 h 423"/>
              <a:gd name="T26" fmla="*/ 290 w 671"/>
              <a:gd name="T27" fmla="*/ 80 h 423"/>
              <a:gd name="T28" fmla="*/ 468 w 671"/>
              <a:gd name="T29" fmla="*/ 50 h 423"/>
              <a:gd name="T30" fmla="*/ 624 w 671"/>
              <a:gd name="T31" fmla="*/ 0 h 423"/>
              <a:gd name="T32" fmla="*/ 671 w 671"/>
              <a:gd name="T33" fmla="*/ 0 h 423"/>
              <a:gd name="T34" fmla="*/ 671 w 671"/>
              <a:gd name="T35" fmla="*/ 0 h 423"/>
              <a:gd name="T36" fmla="*/ 671 w 671"/>
              <a:gd name="T37" fmla="*/ 0 h 4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1"/>
              <a:gd name="T58" fmla="*/ 0 h 423"/>
              <a:gd name="T59" fmla="*/ 671 w 671"/>
              <a:gd name="T60" fmla="*/ 423 h 4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1" h="423">
                <a:moveTo>
                  <a:pt x="671" y="0"/>
                </a:moveTo>
                <a:lnTo>
                  <a:pt x="570" y="222"/>
                </a:lnTo>
                <a:lnTo>
                  <a:pt x="624" y="322"/>
                </a:lnTo>
                <a:lnTo>
                  <a:pt x="576" y="423"/>
                </a:lnTo>
                <a:lnTo>
                  <a:pt x="453" y="383"/>
                </a:lnTo>
                <a:lnTo>
                  <a:pt x="383" y="303"/>
                </a:lnTo>
                <a:lnTo>
                  <a:pt x="313" y="303"/>
                </a:lnTo>
                <a:lnTo>
                  <a:pt x="126" y="182"/>
                </a:lnTo>
                <a:lnTo>
                  <a:pt x="55" y="182"/>
                </a:lnTo>
                <a:lnTo>
                  <a:pt x="0" y="131"/>
                </a:lnTo>
                <a:lnTo>
                  <a:pt x="71" y="9"/>
                </a:lnTo>
                <a:lnTo>
                  <a:pt x="109" y="70"/>
                </a:lnTo>
                <a:lnTo>
                  <a:pt x="204" y="20"/>
                </a:lnTo>
                <a:lnTo>
                  <a:pt x="290" y="80"/>
                </a:lnTo>
                <a:lnTo>
                  <a:pt x="468" y="50"/>
                </a:lnTo>
                <a:lnTo>
                  <a:pt x="624" y="0"/>
                </a:lnTo>
                <a:lnTo>
                  <a:pt x="671" y="0"/>
                </a:lnTo>
                <a:close/>
              </a:path>
            </a:pathLst>
          </a:custGeom>
          <a:solidFill>
            <a:schemeClr val="accent3"/>
          </a:solidFill>
          <a:ln w="12700">
            <a:solidFill>
              <a:schemeClr val="bg1"/>
            </a:solidFill>
            <a:round/>
            <a:headEnd/>
            <a:tailEnd/>
          </a:ln>
        </p:spPr>
        <p:txBody>
          <a:bodyPr/>
          <a:lstStyle/>
          <a:p>
            <a:pPr>
              <a:defRPr/>
            </a:pPr>
            <a:endParaRPr lang="nl-NL"/>
          </a:p>
        </p:txBody>
      </p:sp>
      <p:sp>
        <p:nvSpPr>
          <p:cNvPr id="11" name="Freeform 10"/>
          <p:cNvSpPr>
            <a:spLocks noChangeAspect="1"/>
          </p:cNvSpPr>
          <p:nvPr/>
        </p:nvSpPr>
        <p:spPr bwMode="auto">
          <a:xfrm>
            <a:off x="3115593" y="3838171"/>
            <a:ext cx="524898" cy="983788"/>
          </a:xfrm>
          <a:custGeom>
            <a:avLst/>
            <a:gdLst>
              <a:gd name="T0" fmla="*/ 218 w 335"/>
              <a:gd name="T1" fmla="*/ 0 h 596"/>
              <a:gd name="T2" fmla="*/ 304 w 335"/>
              <a:gd name="T3" fmla="*/ 62 h 596"/>
              <a:gd name="T4" fmla="*/ 335 w 335"/>
              <a:gd name="T5" fmla="*/ 213 h 596"/>
              <a:gd name="T6" fmla="*/ 288 w 335"/>
              <a:gd name="T7" fmla="*/ 284 h 596"/>
              <a:gd name="T8" fmla="*/ 265 w 335"/>
              <a:gd name="T9" fmla="*/ 555 h 596"/>
              <a:gd name="T10" fmla="*/ 188 w 335"/>
              <a:gd name="T11" fmla="*/ 515 h 596"/>
              <a:gd name="T12" fmla="*/ 101 w 335"/>
              <a:gd name="T13" fmla="*/ 596 h 596"/>
              <a:gd name="T14" fmla="*/ 15 w 335"/>
              <a:gd name="T15" fmla="*/ 535 h 596"/>
              <a:gd name="T16" fmla="*/ 55 w 335"/>
              <a:gd name="T17" fmla="*/ 233 h 596"/>
              <a:gd name="T18" fmla="*/ 0 w 335"/>
              <a:gd name="T19" fmla="*/ 142 h 596"/>
              <a:gd name="T20" fmla="*/ 7 w 335"/>
              <a:gd name="T21" fmla="*/ 42 h 596"/>
              <a:gd name="T22" fmla="*/ 125 w 335"/>
              <a:gd name="T23" fmla="*/ 72 h 596"/>
              <a:gd name="T24" fmla="*/ 218 w 335"/>
              <a:gd name="T25" fmla="*/ 0 h 596"/>
              <a:gd name="T26" fmla="*/ 218 w 335"/>
              <a:gd name="T27" fmla="*/ 0 h 596"/>
              <a:gd name="T28" fmla="*/ 218 w 335"/>
              <a:gd name="T29" fmla="*/ 0 h 59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5"/>
              <a:gd name="T46" fmla="*/ 0 h 596"/>
              <a:gd name="T47" fmla="*/ 335 w 335"/>
              <a:gd name="T48" fmla="*/ 596 h 59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5" h="596">
                <a:moveTo>
                  <a:pt x="218" y="0"/>
                </a:moveTo>
                <a:lnTo>
                  <a:pt x="304" y="62"/>
                </a:lnTo>
                <a:lnTo>
                  <a:pt x="335" y="213"/>
                </a:lnTo>
                <a:lnTo>
                  <a:pt x="288" y="284"/>
                </a:lnTo>
                <a:lnTo>
                  <a:pt x="265" y="555"/>
                </a:lnTo>
                <a:lnTo>
                  <a:pt x="188" y="515"/>
                </a:lnTo>
                <a:lnTo>
                  <a:pt x="101" y="596"/>
                </a:lnTo>
                <a:lnTo>
                  <a:pt x="15" y="535"/>
                </a:lnTo>
                <a:lnTo>
                  <a:pt x="55" y="233"/>
                </a:lnTo>
                <a:lnTo>
                  <a:pt x="0" y="142"/>
                </a:lnTo>
                <a:lnTo>
                  <a:pt x="7" y="42"/>
                </a:lnTo>
                <a:lnTo>
                  <a:pt x="125" y="72"/>
                </a:lnTo>
                <a:lnTo>
                  <a:pt x="218" y="0"/>
                </a:lnTo>
                <a:close/>
              </a:path>
            </a:pathLst>
          </a:custGeom>
          <a:solidFill>
            <a:schemeClr val="accent3"/>
          </a:solidFill>
          <a:ln w="12700">
            <a:solidFill>
              <a:schemeClr val="bg1"/>
            </a:solidFill>
            <a:round/>
            <a:headEnd/>
            <a:tailEnd/>
          </a:ln>
        </p:spPr>
        <p:txBody>
          <a:bodyPr/>
          <a:lstStyle/>
          <a:p>
            <a:pPr>
              <a:defRPr/>
            </a:pPr>
            <a:endParaRPr lang="nl-NL"/>
          </a:p>
        </p:txBody>
      </p:sp>
      <p:sp>
        <p:nvSpPr>
          <p:cNvPr id="12" name="Freeform 11"/>
          <p:cNvSpPr>
            <a:spLocks noChangeAspect="1"/>
          </p:cNvSpPr>
          <p:nvPr/>
        </p:nvSpPr>
        <p:spPr bwMode="auto">
          <a:xfrm>
            <a:off x="2895284" y="1761459"/>
            <a:ext cx="294239" cy="208919"/>
          </a:xfrm>
          <a:custGeom>
            <a:avLst/>
            <a:gdLst>
              <a:gd name="T0" fmla="*/ 179 w 188"/>
              <a:gd name="T1" fmla="*/ 21 h 126"/>
              <a:gd name="T2" fmla="*/ 94 w 188"/>
              <a:gd name="T3" fmla="*/ 0 h 126"/>
              <a:gd name="T4" fmla="*/ 0 w 188"/>
              <a:gd name="T5" fmla="*/ 21 h 126"/>
              <a:gd name="T6" fmla="*/ 32 w 188"/>
              <a:gd name="T7" fmla="*/ 124 h 126"/>
              <a:gd name="T8" fmla="*/ 61 w 188"/>
              <a:gd name="T9" fmla="*/ 126 h 126"/>
              <a:gd name="T10" fmla="*/ 76 w 188"/>
              <a:gd name="T11" fmla="*/ 109 h 126"/>
              <a:gd name="T12" fmla="*/ 158 w 188"/>
              <a:gd name="T13" fmla="*/ 109 h 126"/>
              <a:gd name="T14" fmla="*/ 188 w 188"/>
              <a:gd name="T15" fmla="*/ 85 h 126"/>
              <a:gd name="T16" fmla="*/ 179 w 188"/>
              <a:gd name="T17" fmla="*/ 21 h 126"/>
              <a:gd name="T18" fmla="*/ 179 w 188"/>
              <a:gd name="T19" fmla="*/ 21 h 126"/>
              <a:gd name="T20" fmla="*/ 179 w 188"/>
              <a:gd name="T21" fmla="*/ 21 h 126"/>
              <a:gd name="T22" fmla="*/ 179 w 188"/>
              <a:gd name="T23" fmla="*/ 21 h 1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8"/>
              <a:gd name="T37" fmla="*/ 0 h 126"/>
              <a:gd name="T38" fmla="*/ 188 w 188"/>
              <a:gd name="T39" fmla="*/ 126 h 1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8" h="126">
                <a:moveTo>
                  <a:pt x="179" y="21"/>
                </a:moveTo>
                <a:lnTo>
                  <a:pt x="94" y="0"/>
                </a:lnTo>
                <a:lnTo>
                  <a:pt x="0" y="21"/>
                </a:lnTo>
                <a:lnTo>
                  <a:pt x="32" y="124"/>
                </a:lnTo>
                <a:lnTo>
                  <a:pt x="61" y="126"/>
                </a:lnTo>
                <a:lnTo>
                  <a:pt x="76" y="109"/>
                </a:lnTo>
                <a:lnTo>
                  <a:pt x="158" y="109"/>
                </a:lnTo>
                <a:lnTo>
                  <a:pt x="188" y="85"/>
                </a:lnTo>
                <a:lnTo>
                  <a:pt x="179" y="21"/>
                </a:lnTo>
                <a:close/>
              </a:path>
            </a:pathLst>
          </a:custGeom>
          <a:solidFill>
            <a:schemeClr val="accent3"/>
          </a:solidFill>
          <a:ln w="12700">
            <a:solidFill>
              <a:schemeClr val="bg1"/>
            </a:solidFill>
            <a:round/>
            <a:headEnd/>
            <a:tailEnd/>
          </a:ln>
        </p:spPr>
        <p:txBody>
          <a:bodyPr/>
          <a:lstStyle/>
          <a:p>
            <a:pPr>
              <a:defRPr/>
            </a:pPr>
            <a:endParaRPr lang="nl-NL"/>
          </a:p>
        </p:txBody>
      </p:sp>
      <p:sp>
        <p:nvSpPr>
          <p:cNvPr id="13" name="Freeform 12"/>
          <p:cNvSpPr>
            <a:spLocks noChangeAspect="1"/>
          </p:cNvSpPr>
          <p:nvPr/>
        </p:nvSpPr>
        <p:spPr bwMode="auto">
          <a:xfrm>
            <a:off x="2816919" y="1593077"/>
            <a:ext cx="720071" cy="975992"/>
          </a:xfrm>
          <a:custGeom>
            <a:avLst/>
            <a:gdLst>
              <a:gd name="T0" fmla="*/ 341 w 460"/>
              <a:gd name="T1" fmla="*/ 0 h 591"/>
              <a:gd name="T2" fmla="*/ 282 w 460"/>
              <a:gd name="T3" fmla="*/ 31 h 591"/>
              <a:gd name="T4" fmla="*/ 229 w 460"/>
              <a:gd name="T5" fmla="*/ 123 h 591"/>
              <a:gd name="T6" fmla="*/ 238 w 460"/>
              <a:gd name="T7" fmla="*/ 187 h 591"/>
              <a:gd name="T8" fmla="*/ 208 w 460"/>
              <a:gd name="T9" fmla="*/ 211 h 591"/>
              <a:gd name="T10" fmla="*/ 126 w 460"/>
              <a:gd name="T11" fmla="*/ 211 h 591"/>
              <a:gd name="T12" fmla="*/ 111 w 460"/>
              <a:gd name="T13" fmla="*/ 228 h 591"/>
              <a:gd name="T14" fmla="*/ 83 w 460"/>
              <a:gd name="T15" fmla="*/ 226 h 591"/>
              <a:gd name="T16" fmla="*/ 94 w 460"/>
              <a:gd name="T17" fmla="*/ 251 h 591"/>
              <a:gd name="T18" fmla="*/ 0 w 460"/>
              <a:gd name="T19" fmla="*/ 324 h 591"/>
              <a:gd name="T20" fmla="*/ 19 w 460"/>
              <a:gd name="T21" fmla="*/ 385 h 591"/>
              <a:gd name="T22" fmla="*/ 57 w 460"/>
              <a:gd name="T23" fmla="*/ 411 h 591"/>
              <a:gd name="T24" fmla="*/ 57 w 460"/>
              <a:gd name="T25" fmla="*/ 420 h 591"/>
              <a:gd name="T26" fmla="*/ 21 w 460"/>
              <a:gd name="T27" fmla="*/ 482 h 591"/>
              <a:gd name="T28" fmla="*/ 73 w 460"/>
              <a:gd name="T29" fmla="*/ 585 h 591"/>
              <a:gd name="T30" fmla="*/ 175 w 460"/>
              <a:gd name="T31" fmla="*/ 585 h 591"/>
              <a:gd name="T32" fmla="*/ 219 w 460"/>
              <a:gd name="T33" fmla="*/ 591 h 591"/>
              <a:gd name="T34" fmla="*/ 253 w 460"/>
              <a:gd name="T35" fmla="*/ 530 h 591"/>
              <a:gd name="T36" fmla="*/ 272 w 460"/>
              <a:gd name="T37" fmla="*/ 491 h 591"/>
              <a:gd name="T38" fmla="*/ 281 w 460"/>
              <a:gd name="T39" fmla="*/ 491 h 591"/>
              <a:gd name="T40" fmla="*/ 303 w 460"/>
              <a:gd name="T41" fmla="*/ 505 h 591"/>
              <a:gd name="T42" fmla="*/ 348 w 460"/>
              <a:gd name="T43" fmla="*/ 485 h 591"/>
              <a:gd name="T44" fmla="*/ 362 w 460"/>
              <a:gd name="T45" fmla="*/ 485 h 591"/>
              <a:gd name="T46" fmla="*/ 374 w 460"/>
              <a:gd name="T47" fmla="*/ 503 h 591"/>
              <a:gd name="T48" fmla="*/ 399 w 460"/>
              <a:gd name="T49" fmla="*/ 480 h 591"/>
              <a:gd name="T50" fmla="*/ 399 w 460"/>
              <a:gd name="T51" fmla="*/ 460 h 591"/>
              <a:gd name="T52" fmla="*/ 417 w 460"/>
              <a:gd name="T53" fmla="*/ 459 h 591"/>
              <a:gd name="T54" fmla="*/ 440 w 460"/>
              <a:gd name="T55" fmla="*/ 487 h 591"/>
              <a:gd name="T56" fmla="*/ 460 w 460"/>
              <a:gd name="T57" fmla="*/ 481 h 591"/>
              <a:gd name="T58" fmla="*/ 460 w 460"/>
              <a:gd name="T59" fmla="*/ 447 h 591"/>
              <a:gd name="T60" fmla="*/ 433 w 460"/>
              <a:gd name="T61" fmla="*/ 420 h 591"/>
              <a:gd name="T62" fmla="*/ 404 w 460"/>
              <a:gd name="T63" fmla="*/ 363 h 591"/>
              <a:gd name="T64" fmla="*/ 382 w 460"/>
              <a:gd name="T65" fmla="*/ 363 h 591"/>
              <a:gd name="T66" fmla="*/ 376 w 460"/>
              <a:gd name="T67" fmla="*/ 372 h 591"/>
              <a:gd name="T68" fmla="*/ 342 w 460"/>
              <a:gd name="T69" fmla="*/ 324 h 591"/>
              <a:gd name="T70" fmla="*/ 342 w 460"/>
              <a:gd name="T71" fmla="*/ 284 h 591"/>
              <a:gd name="T72" fmla="*/ 376 w 460"/>
              <a:gd name="T73" fmla="*/ 286 h 591"/>
              <a:gd name="T74" fmla="*/ 396 w 460"/>
              <a:gd name="T75" fmla="*/ 272 h 591"/>
              <a:gd name="T76" fmla="*/ 365 w 460"/>
              <a:gd name="T77" fmla="*/ 182 h 591"/>
              <a:gd name="T78" fmla="*/ 350 w 460"/>
              <a:gd name="T79" fmla="*/ 167 h 591"/>
              <a:gd name="T80" fmla="*/ 350 w 460"/>
              <a:gd name="T81" fmla="*/ 149 h 591"/>
              <a:gd name="T82" fmla="*/ 396 w 460"/>
              <a:gd name="T83" fmla="*/ 78 h 591"/>
              <a:gd name="T84" fmla="*/ 341 w 460"/>
              <a:gd name="T85" fmla="*/ 0 h 591"/>
              <a:gd name="T86" fmla="*/ 341 w 460"/>
              <a:gd name="T87" fmla="*/ 0 h 591"/>
              <a:gd name="T88" fmla="*/ 341 w 460"/>
              <a:gd name="T89" fmla="*/ 0 h 59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60"/>
              <a:gd name="T136" fmla="*/ 0 h 591"/>
              <a:gd name="T137" fmla="*/ 460 w 460"/>
              <a:gd name="T138" fmla="*/ 591 h 59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60" h="591">
                <a:moveTo>
                  <a:pt x="341" y="0"/>
                </a:moveTo>
                <a:lnTo>
                  <a:pt x="282" y="31"/>
                </a:lnTo>
                <a:lnTo>
                  <a:pt x="229" y="123"/>
                </a:lnTo>
                <a:lnTo>
                  <a:pt x="238" y="187"/>
                </a:lnTo>
                <a:lnTo>
                  <a:pt x="208" y="211"/>
                </a:lnTo>
                <a:lnTo>
                  <a:pt x="126" y="211"/>
                </a:lnTo>
                <a:lnTo>
                  <a:pt x="111" y="228"/>
                </a:lnTo>
                <a:lnTo>
                  <a:pt x="83" y="226"/>
                </a:lnTo>
                <a:lnTo>
                  <a:pt x="94" y="251"/>
                </a:lnTo>
                <a:lnTo>
                  <a:pt x="0" y="324"/>
                </a:lnTo>
                <a:lnTo>
                  <a:pt x="19" y="385"/>
                </a:lnTo>
                <a:lnTo>
                  <a:pt x="57" y="411"/>
                </a:lnTo>
                <a:lnTo>
                  <a:pt x="57" y="420"/>
                </a:lnTo>
                <a:lnTo>
                  <a:pt x="21" y="482"/>
                </a:lnTo>
                <a:lnTo>
                  <a:pt x="73" y="585"/>
                </a:lnTo>
                <a:lnTo>
                  <a:pt x="175" y="585"/>
                </a:lnTo>
                <a:lnTo>
                  <a:pt x="219" y="591"/>
                </a:lnTo>
                <a:lnTo>
                  <a:pt x="253" y="530"/>
                </a:lnTo>
                <a:lnTo>
                  <a:pt x="272" y="491"/>
                </a:lnTo>
                <a:lnTo>
                  <a:pt x="281" y="491"/>
                </a:lnTo>
                <a:lnTo>
                  <a:pt x="303" y="505"/>
                </a:lnTo>
                <a:lnTo>
                  <a:pt x="348" y="485"/>
                </a:lnTo>
                <a:lnTo>
                  <a:pt x="362" y="485"/>
                </a:lnTo>
                <a:lnTo>
                  <a:pt x="374" y="503"/>
                </a:lnTo>
                <a:lnTo>
                  <a:pt x="399" y="480"/>
                </a:lnTo>
                <a:lnTo>
                  <a:pt x="399" y="460"/>
                </a:lnTo>
                <a:lnTo>
                  <a:pt x="417" y="459"/>
                </a:lnTo>
                <a:lnTo>
                  <a:pt x="440" y="487"/>
                </a:lnTo>
                <a:lnTo>
                  <a:pt x="460" y="481"/>
                </a:lnTo>
                <a:lnTo>
                  <a:pt x="460" y="447"/>
                </a:lnTo>
                <a:lnTo>
                  <a:pt x="433" y="420"/>
                </a:lnTo>
                <a:lnTo>
                  <a:pt x="404" y="363"/>
                </a:lnTo>
                <a:lnTo>
                  <a:pt x="382" y="363"/>
                </a:lnTo>
                <a:lnTo>
                  <a:pt x="376" y="372"/>
                </a:lnTo>
                <a:lnTo>
                  <a:pt x="342" y="324"/>
                </a:lnTo>
                <a:lnTo>
                  <a:pt x="342" y="284"/>
                </a:lnTo>
                <a:lnTo>
                  <a:pt x="376" y="286"/>
                </a:lnTo>
                <a:lnTo>
                  <a:pt x="396" y="272"/>
                </a:lnTo>
                <a:lnTo>
                  <a:pt x="365" y="182"/>
                </a:lnTo>
                <a:lnTo>
                  <a:pt x="350" y="167"/>
                </a:lnTo>
                <a:lnTo>
                  <a:pt x="350" y="149"/>
                </a:lnTo>
                <a:lnTo>
                  <a:pt x="396" y="78"/>
                </a:lnTo>
                <a:lnTo>
                  <a:pt x="341" y="0"/>
                </a:lnTo>
                <a:close/>
              </a:path>
            </a:pathLst>
          </a:custGeom>
          <a:solidFill>
            <a:schemeClr val="accent3"/>
          </a:solidFill>
          <a:ln w="12700">
            <a:solidFill>
              <a:schemeClr val="bg1"/>
            </a:solidFill>
            <a:round/>
            <a:headEnd/>
            <a:tailEnd/>
          </a:ln>
        </p:spPr>
        <p:txBody>
          <a:bodyPr/>
          <a:lstStyle/>
          <a:p>
            <a:pPr>
              <a:defRPr/>
            </a:pPr>
            <a:endParaRPr lang="nl-NL"/>
          </a:p>
        </p:txBody>
      </p:sp>
      <p:sp>
        <p:nvSpPr>
          <p:cNvPr id="14" name="Freeform 13"/>
          <p:cNvSpPr>
            <a:spLocks noChangeAspect="1"/>
          </p:cNvSpPr>
          <p:nvPr/>
        </p:nvSpPr>
        <p:spPr bwMode="auto">
          <a:xfrm>
            <a:off x="3352167" y="1529154"/>
            <a:ext cx="819137" cy="813847"/>
          </a:xfrm>
          <a:custGeom>
            <a:avLst/>
            <a:gdLst>
              <a:gd name="T0" fmla="*/ 153 w 523"/>
              <a:gd name="T1" fmla="*/ 29 h 493"/>
              <a:gd name="T2" fmla="*/ 98 w 523"/>
              <a:gd name="T3" fmla="*/ 181 h 493"/>
              <a:gd name="T4" fmla="*/ 52 w 523"/>
              <a:gd name="T5" fmla="*/ 114 h 493"/>
              <a:gd name="T6" fmla="*/ 8 w 523"/>
              <a:gd name="T7" fmla="*/ 190 h 493"/>
              <a:gd name="T8" fmla="*/ 8 w 523"/>
              <a:gd name="T9" fmla="*/ 209 h 493"/>
              <a:gd name="T10" fmla="*/ 23 w 523"/>
              <a:gd name="T11" fmla="*/ 221 h 493"/>
              <a:gd name="T12" fmla="*/ 54 w 523"/>
              <a:gd name="T13" fmla="*/ 311 h 493"/>
              <a:gd name="T14" fmla="*/ 34 w 523"/>
              <a:gd name="T15" fmla="*/ 325 h 493"/>
              <a:gd name="T16" fmla="*/ 0 w 523"/>
              <a:gd name="T17" fmla="*/ 324 h 493"/>
              <a:gd name="T18" fmla="*/ 0 w 523"/>
              <a:gd name="T19" fmla="*/ 363 h 493"/>
              <a:gd name="T20" fmla="*/ 34 w 523"/>
              <a:gd name="T21" fmla="*/ 411 h 493"/>
              <a:gd name="T22" fmla="*/ 40 w 523"/>
              <a:gd name="T23" fmla="*/ 402 h 493"/>
              <a:gd name="T24" fmla="*/ 62 w 523"/>
              <a:gd name="T25" fmla="*/ 402 h 493"/>
              <a:gd name="T26" fmla="*/ 92 w 523"/>
              <a:gd name="T27" fmla="*/ 461 h 493"/>
              <a:gd name="T28" fmla="*/ 118 w 523"/>
              <a:gd name="T29" fmla="*/ 486 h 493"/>
              <a:gd name="T30" fmla="*/ 118 w 523"/>
              <a:gd name="T31" fmla="*/ 493 h 493"/>
              <a:gd name="T32" fmla="*/ 134 w 523"/>
              <a:gd name="T33" fmla="*/ 487 h 493"/>
              <a:gd name="T34" fmla="*/ 143 w 523"/>
              <a:gd name="T35" fmla="*/ 442 h 493"/>
              <a:gd name="T36" fmla="*/ 135 w 523"/>
              <a:gd name="T37" fmla="*/ 438 h 493"/>
              <a:gd name="T38" fmla="*/ 153 w 523"/>
              <a:gd name="T39" fmla="*/ 402 h 493"/>
              <a:gd name="T40" fmla="*/ 190 w 523"/>
              <a:gd name="T41" fmla="*/ 392 h 493"/>
              <a:gd name="T42" fmla="*/ 242 w 523"/>
              <a:gd name="T43" fmla="*/ 402 h 493"/>
              <a:gd name="T44" fmla="*/ 265 w 523"/>
              <a:gd name="T45" fmla="*/ 387 h 493"/>
              <a:gd name="T46" fmla="*/ 284 w 523"/>
              <a:gd name="T47" fmla="*/ 417 h 493"/>
              <a:gd name="T48" fmla="*/ 344 w 523"/>
              <a:gd name="T49" fmla="*/ 430 h 493"/>
              <a:gd name="T50" fmla="*/ 371 w 523"/>
              <a:gd name="T51" fmla="*/ 447 h 493"/>
              <a:gd name="T52" fmla="*/ 385 w 523"/>
              <a:gd name="T53" fmla="*/ 434 h 493"/>
              <a:gd name="T54" fmla="*/ 405 w 523"/>
              <a:gd name="T55" fmla="*/ 434 h 493"/>
              <a:gd name="T56" fmla="*/ 430 w 523"/>
              <a:gd name="T57" fmla="*/ 447 h 493"/>
              <a:gd name="T58" fmla="*/ 451 w 523"/>
              <a:gd name="T59" fmla="*/ 440 h 493"/>
              <a:gd name="T60" fmla="*/ 523 w 523"/>
              <a:gd name="T61" fmla="*/ 442 h 493"/>
              <a:gd name="T62" fmla="*/ 403 w 523"/>
              <a:gd name="T63" fmla="*/ 338 h 493"/>
              <a:gd name="T64" fmla="*/ 386 w 523"/>
              <a:gd name="T65" fmla="*/ 307 h 493"/>
              <a:gd name="T66" fmla="*/ 386 w 523"/>
              <a:gd name="T67" fmla="*/ 272 h 493"/>
              <a:gd name="T68" fmla="*/ 419 w 523"/>
              <a:gd name="T69" fmla="*/ 206 h 493"/>
              <a:gd name="T70" fmla="*/ 390 w 523"/>
              <a:gd name="T71" fmla="*/ 206 h 493"/>
              <a:gd name="T72" fmla="*/ 385 w 523"/>
              <a:gd name="T73" fmla="*/ 220 h 493"/>
              <a:gd name="T74" fmla="*/ 372 w 523"/>
              <a:gd name="T75" fmla="*/ 220 h 493"/>
              <a:gd name="T76" fmla="*/ 372 w 523"/>
              <a:gd name="T77" fmla="*/ 202 h 493"/>
              <a:gd name="T78" fmla="*/ 361 w 523"/>
              <a:gd name="T79" fmla="*/ 159 h 493"/>
              <a:gd name="T80" fmla="*/ 378 w 523"/>
              <a:gd name="T81" fmla="*/ 102 h 493"/>
              <a:gd name="T82" fmla="*/ 378 w 523"/>
              <a:gd name="T83" fmla="*/ 65 h 493"/>
              <a:gd name="T84" fmla="*/ 390 w 523"/>
              <a:gd name="T85" fmla="*/ 53 h 493"/>
              <a:gd name="T86" fmla="*/ 361 w 523"/>
              <a:gd name="T87" fmla="*/ 19 h 493"/>
              <a:gd name="T88" fmla="*/ 339 w 523"/>
              <a:gd name="T89" fmla="*/ 19 h 493"/>
              <a:gd name="T90" fmla="*/ 286 w 523"/>
              <a:gd name="T91" fmla="*/ 0 h 493"/>
              <a:gd name="T92" fmla="*/ 291 w 523"/>
              <a:gd name="T93" fmla="*/ 88 h 493"/>
              <a:gd name="T94" fmla="*/ 166 w 523"/>
              <a:gd name="T95" fmla="*/ 32 h 493"/>
              <a:gd name="T96" fmla="*/ 153 w 523"/>
              <a:gd name="T97" fmla="*/ 29 h 493"/>
              <a:gd name="T98" fmla="*/ 153 w 523"/>
              <a:gd name="T99" fmla="*/ 29 h 493"/>
              <a:gd name="T100" fmla="*/ 153 w 523"/>
              <a:gd name="T101" fmla="*/ 29 h 49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23"/>
              <a:gd name="T154" fmla="*/ 0 h 493"/>
              <a:gd name="T155" fmla="*/ 523 w 523"/>
              <a:gd name="T156" fmla="*/ 493 h 49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23" h="493">
                <a:moveTo>
                  <a:pt x="153" y="29"/>
                </a:moveTo>
                <a:lnTo>
                  <a:pt x="98" y="181"/>
                </a:lnTo>
                <a:lnTo>
                  <a:pt x="52" y="114"/>
                </a:lnTo>
                <a:lnTo>
                  <a:pt x="8" y="190"/>
                </a:lnTo>
                <a:lnTo>
                  <a:pt x="8" y="209"/>
                </a:lnTo>
                <a:lnTo>
                  <a:pt x="23" y="221"/>
                </a:lnTo>
                <a:lnTo>
                  <a:pt x="54" y="311"/>
                </a:lnTo>
                <a:lnTo>
                  <a:pt x="34" y="325"/>
                </a:lnTo>
                <a:lnTo>
                  <a:pt x="0" y="324"/>
                </a:lnTo>
                <a:lnTo>
                  <a:pt x="0" y="363"/>
                </a:lnTo>
                <a:lnTo>
                  <a:pt x="34" y="411"/>
                </a:lnTo>
                <a:lnTo>
                  <a:pt x="40" y="402"/>
                </a:lnTo>
                <a:lnTo>
                  <a:pt x="62" y="402"/>
                </a:lnTo>
                <a:lnTo>
                  <a:pt x="92" y="461"/>
                </a:lnTo>
                <a:lnTo>
                  <a:pt x="118" y="486"/>
                </a:lnTo>
                <a:lnTo>
                  <a:pt x="118" y="493"/>
                </a:lnTo>
                <a:lnTo>
                  <a:pt x="134" y="487"/>
                </a:lnTo>
                <a:lnTo>
                  <a:pt x="143" y="442"/>
                </a:lnTo>
                <a:lnTo>
                  <a:pt x="135" y="438"/>
                </a:lnTo>
                <a:lnTo>
                  <a:pt x="153" y="402"/>
                </a:lnTo>
                <a:lnTo>
                  <a:pt x="190" y="392"/>
                </a:lnTo>
                <a:lnTo>
                  <a:pt x="242" y="402"/>
                </a:lnTo>
                <a:lnTo>
                  <a:pt x="265" y="387"/>
                </a:lnTo>
                <a:lnTo>
                  <a:pt x="284" y="417"/>
                </a:lnTo>
                <a:lnTo>
                  <a:pt x="344" y="430"/>
                </a:lnTo>
                <a:lnTo>
                  <a:pt x="371" y="447"/>
                </a:lnTo>
                <a:lnTo>
                  <a:pt x="385" y="434"/>
                </a:lnTo>
                <a:lnTo>
                  <a:pt x="405" y="434"/>
                </a:lnTo>
                <a:lnTo>
                  <a:pt x="430" y="447"/>
                </a:lnTo>
                <a:lnTo>
                  <a:pt x="451" y="440"/>
                </a:lnTo>
                <a:lnTo>
                  <a:pt x="523" y="442"/>
                </a:lnTo>
                <a:lnTo>
                  <a:pt x="403" y="338"/>
                </a:lnTo>
                <a:lnTo>
                  <a:pt x="386" y="307"/>
                </a:lnTo>
                <a:lnTo>
                  <a:pt x="386" y="272"/>
                </a:lnTo>
                <a:lnTo>
                  <a:pt x="419" y="206"/>
                </a:lnTo>
                <a:lnTo>
                  <a:pt x="390" y="206"/>
                </a:lnTo>
                <a:lnTo>
                  <a:pt x="385" y="220"/>
                </a:lnTo>
                <a:lnTo>
                  <a:pt x="372" y="220"/>
                </a:lnTo>
                <a:lnTo>
                  <a:pt x="372" y="202"/>
                </a:lnTo>
                <a:lnTo>
                  <a:pt x="361" y="159"/>
                </a:lnTo>
                <a:lnTo>
                  <a:pt x="378" y="102"/>
                </a:lnTo>
                <a:lnTo>
                  <a:pt x="378" y="65"/>
                </a:lnTo>
                <a:lnTo>
                  <a:pt x="390" y="53"/>
                </a:lnTo>
                <a:lnTo>
                  <a:pt x="361" y="19"/>
                </a:lnTo>
                <a:lnTo>
                  <a:pt x="339" y="19"/>
                </a:lnTo>
                <a:lnTo>
                  <a:pt x="286" y="0"/>
                </a:lnTo>
                <a:lnTo>
                  <a:pt x="291" y="88"/>
                </a:lnTo>
                <a:lnTo>
                  <a:pt x="166" y="32"/>
                </a:lnTo>
                <a:lnTo>
                  <a:pt x="153" y="29"/>
                </a:lnTo>
                <a:close/>
              </a:path>
            </a:pathLst>
          </a:custGeom>
          <a:solidFill>
            <a:schemeClr val="accent3"/>
          </a:solidFill>
          <a:ln w="12700">
            <a:solidFill>
              <a:schemeClr val="bg1"/>
            </a:solidFill>
            <a:round/>
            <a:headEnd/>
            <a:tailEnd/>
          </a:ln>
        </p:spPr>
        <p:txBody>
          <a:bodyPr/>
          <a:lstStyle/>
          <a:p>
            <a:pPr>
              <a:defRPr/>
            </a:pPr>
            <a:endParaRPr lang="nl-NL"/>
          </a:p>
        </p:txBody>
      </p:sp>
      <p:sp>
        <p:nvSpPr>
          <p:cNvPr id="15" name="Freeform 14"/>
          <p:cNvSpPr>
            <a:spLocks noChangeAspect="1"/>
          </p:cNvSpPr>
          <p:nvPr/>
        </p:nvSpPr>
        <p:spPr bwMode="auto">
          <a:xfrm>
            <a:off x="3882979" y="1376363"/>
            <a:ext cx="600306" cy="551919"/>
          </a:xfrm>
          <a:custGeom>
            <a:avLst/>
            <a:gdLst>
              <a:gd name="T0" fmla="*/ 335 w 383"/>
              <a:gd name="T1" fmla="*/ 0 h 334"/>
              <a:gd name="T2" fmla="*/ 171 w 383"/>
              <a:gd name="T3" fmla="*/ 0 h 334"/>
              <a:gd name="T4" fmla="*/ 126 w 383"/>
              <a:gd name="T5" fmla="*/ 48 h 334"/>
              <a:gd name="T6" fmla="*/ 33 w 383"/>
              <a:gd name="T7" fmla="*/ 29 h 334"/>
              <a:gd name="T8" fmla="*/ 0 w 383"/>
              <a:gd name="T9" fmla="*/ 108 h 334"/>
              <a:gd name="T10" fmla="*/ 22 w 383"/>
              <a:gd name="T11" fmla="*/ 110 h 334"/>
              <a:gd name="T12" fmla="*/ 51 w 383"/>
              <a:gd name="T13" fmla="*/ 145 h 334"/>
              <a:gd name="T14" fmla="*/ 40 w 383"/>
              <a:gd name="T15" fmla="*/ 157 h 334"/>
              <a:gd name="T16" fmla="*/ 40 w 383"/>
              <a:gd name="T17" fmla="*/ 197 h 334"/>
              <a:gd name="T18" fmla="*/ 22 w 383"/>
              <a:gd name="T19" fmla="*/ 254 h 334"/>
              <a:gd name="T20" fmla="*/ 33 w 383"/>
              <a:gd name="T21" fmla="*/ 292 h 334"/>
              <a:gd name="T22" fmla="*/ 33 w 383"/>
              <a:gd name="T23" fmla="*/ 312 h 334"/>
              <a:gd name="T24" fmla="*/ 46 w 383"/>
              <a:gd name="T25" fmla="*/ 312 h 334"/>
              <a:gd name="T26" fmla="*/ 54 w 383"/>
              <a:gd name="T27" fmla="*/ 298 h 334"/>
              <a:gd name="T28" fmla="*/ 79 w 383"/>
              <a:gd name="T29" fmla="*/ 298 h 334"/>
              <a:gd name="T30" fmla="*/ 93 w 383"/>
              <a:gd name="T31" fmla="*/ 312 h 334"/>
              <a:gd name="T32" fmla="*/ 93 w 383"/>
              <a:gd name="T33" fmla="*/ 334 h 334"/>
              <a:gd name="T34" fmla="*/ 130 w 383"/>
              <a:gd name="T35" fmla="*/ 334 h 334"/>
              <a:gd name="T36" fmla="*/ 158 w 383"/>
              <a:gd name="T37" fmla="*/ 277 h 334"/>
              <a:gd name="T38" fmla="*/ 177 w 383"/>
              <a:gd name="T39" fmla="*/ 277 h 334"/>
              <a:gd name="T40" fmla="*/ 200 w 383"/>
              <a:gd name="T41" fmla="*/ 251 h 334"/>
              <a:gd name="T42" fmla="*/ 213 w 383"/>
              <a:gd name="T43" fmla="*/ 251 h 334"/>
              <a:gd name="T44" fmla="*/ 227 w 383"/>
              <a:gd name="T45" fmla="*/ 259 h 334"/>
              <a:gd name="T46" fmla="*/ 277 w 383"/>
              <a:gd name="T47" fmla="*/ 223 h 334"/>
              <a:gd name="T48" fmla="*/ 285 w 383"/>
              <a:gd name="T49" fmla="*/ 200 h 334"/>
              <a:gd name="T50" fmla="*/ 260 w 383"/>
              <a:gd name="T51" fmla="*/ 180 h 334"/>
              <a:gd name="T52" fmla="*/ 254 w 383"/>
              <a:gd name="T53" fmla="*/ 150 h 334"/>
              <a:gd name="T54" fmla="*/ 273 w 383"/>
              <a:gd name="T55" fmla="*/ 139 h 334"/>
              <a:gd name="T56" fmla="*/ 273 w 383"/>
              <a:gd name="T57" fmla="*/ 121 h 334"/>
              <a:gd name="T58" fmla="*/ 299 w 383"/>
              <a:gd name="T59" fmla="*/ 115 h 334"/>
              <a:gd name="T60" fmla="*/ 312 w 383"/>
              <a:gd name="T61" fmla="*/ 90 h 334"/>
              <a:gd name="T62" fmla="*/ 334 w 383"/>
              <a:gd name="T63" fmla="*/ 106 h 334"/>
              <a:gd name="T64" fmla="*/ 383 w 383"/>
              <a:gd name="T65" fmla="*/ 78 h 334"/>
              <a:gd name="T66" fmla="*/ 361 w 383"/>
              <a:gd name="T67" fmla="*/ 71 h 334"/>
              <a:gd name="T68" fmla="*/ 343 w 383"/>
              <a:gd name="T69" fmla="*/ 19 h 334"/>
              <a:gd name="T70" fmla="*/ 335 w 383"/>
              <a:gd name="T71" fmla="*/ 0 h 334"/>
              <a:gd name="T72" fmla="*/ 335 w 383"/>
              <a:gd name="T73" fmla="*/ 0 h 334"/>
              <a:gd name="T74" fmla="*/ 335 w 383"/>
              <a:gd name="T75" fmla="*/ 0 h 3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3"/>
              <a:gd name="T115" fmla="*/ 0 h 334"/>
              <a:gd name="T116" fmla="*/ 383 w 383"/>
              <a:gd name="T117" fmla="*/ 334 h 3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3" h="334">
                <a:moveTo>
                  <a:pt x="335" y="0"/>
                </a:moveTo>
                <a:lnTo>
                  <a:pt x="171" y="0"/>
                </a:lnTo>
                <a:lnTo>
                  <a:pt x="126" y="48"/>
                </a:lnTo>
                <a:lnTo>
                  <a:pt x="33" y="29"/>
                </a:lnTo>
                <a:lnTo>
                  <a:pt x="0" y="108"/>
                </a:lnTo>
                <a:lnTo>
                  <a:pt x="22" y="110"/>
                </a:lnTo>
                <a:lnTo>
                  <a:pt x="51" y="145"/>
                </a:lnTo>
                <a:lnTo>
                  <a:pt x="40" y="157"/>
                </a:lnTo>
                <a:lnTo>
                  <a:pt x="40" y="197"/>
                </a:lnTo>
                <a:lnTo>
                  <a:pt x="22" y="254"/>
                </a:lnTo>
                <a:lnTo>
                  <a:pt x="33" y="292"/>
                </a:lnTo>
                <a:lnTo>
                  <a:pt x="33" y="312"/>
                </a:lnTo>
                <a:lnTo>
                  <a:pt x="46" y="312"/>
                </a:lnTo>
                <a:lnTo>
                  <a:pt x="54" y="298"/>
                </a:lnTo>
                <a:lnTo>
                  <a:pt x="79" y="298"/>
                </a:lnTo>
                <a:lnTo>
                  <a:pt x="93" y="312"/>
                </a:lnTo>
                <a:lnTo>
                  <a:pt x="93" y="334"/>
                </a:lnTo>
                <a:lnTo>
                  <a:pt x="130" y="334"/>
                </a:lnTo>
                <a:lnTo>
                  <a:pt x="158" y="277"/>
                </a:lnTo>
                <a:lnTo>
                  <a:pt x="177" y="277"/>
                </a:lnTo>
                <a:lnTo>
                  <a:pt x="200" y="251"/>
                </a:lnTo>
                <a:lnTo>
                  <a:pt x="213" y="251"/>
                </a:lnTo>
                <a:lnTo>
                  <a:pt x="227" y="259"/>
                </a:lnTo>
                <a:lnTo>
                  <a:pt x="277" y="223"/>
                </a:lnTo>
                <a:lnTo>
                  <a:pt x="285" y="200"/>
                </a:lnTo>
                <a:lnTo>
                  <a:pt x="260" y="180"/>
                </a:lnTo>
                <a:lnTo>
                  <a:pt x="254" y="150"/>
                </a:lnTo>
                <a:lnTo>
                  <a:pt x="273" y="139"/>
                </a:lnTo>
                <a:lnTo>
                  <a:pt x="273" y="121"/>
                </a:lnTo>
                <a:lnTo>
                  <a:pt x="299" y="115"/>
                </a:lnTo>
                <a:lnTo>
                  <a:pt x="312" y="90"/>
                </a:lnTo>
                <a:lnTo>
                  <a:pt x="334" y="106"/>
                </a:lnTo>
                <a:lnTo>
                  <a:pt x="383" y="78"/>
                </a:lnTo>
                <a:lnTo>
                  <a:pt x="361" y="71"/>
                </a:lnTo>
                <a:lnTo>
                  <a:pt x="343" y="19"/>
                </a:lnTo>
                <a:lnTo>
                  <a:pt x="335" y="0"/>
                </a:lnTo>
                <a:close/>
              </a:path>
            </a:pathLst>
          </a:custGeom>
          <a:solidFill>
            <a:schemeClr val="accent3"/>
          </a:solidFill>
          <a:ln w="12700">
            <a:solidFill>
              <a:schemeClr val="bg1"/>
            </a:solidFill>
            <a:round/>
            <a:headEnd/>
            <a:tailEnd/>
          </a:ln>
        </p:spPr>
        <p:txBody>
          <a:bodyPr/>
          <a:lstStyle/>
          <a:p>
            <a:pPr>
              <a:defRPr/>
            </a:pPr>
            <a:endParaRPr lang="nl-NL"/>
          </a:p>
        </p:txBody>
      </p:sp>
      <p:sp>
        <p:nvSpPr>
          <p:cNvPr id="16" name="Freeform 15"/>
          <p:cNvSpPr>
            <a:spLocks noChangeAspect="1"/>
          </p:cNvSpPr>
          <p:nvPr/>
        </p:nvSpPr>
        <p:spPr bwMode="auto">
          <a:xfrm>
            <a:off x="3956909" y="1502650"/>
            <a:ext cx="934466" cy="777988"/>
          </a:xfrm>
          <a:custGeom>
            <a:avLst/>
            <a:gdLst>
              <a:gd name="T0" fmla="*/ 339 w 596"/>
              <a:gd name="T1" fmla="*/ 0 h 471"/>
              <a:gd name="T2" fmla="*/ 287 w 596"/>
              <a:gd name="T3" fmla="*/ 30 h 471"/>
              <a:gd name="T4" fmla="*/ 265 w 596"/>
              <a:gd name="T5" fmla="*/ 14 h 471"/>
              <a:gd name="T6" fmla="*/ 251 w 596"/>
              <a:gd name="T7" fmla="*/ 40 h 471"/>
              <a:gd name="T8" fmla="*/ 226 w 596"/>
              <a:gd name="T9" fmla="*/ 45 h 471"/>
              <a:gd name="T10" fmla="*/ 226 w 596"/>
              <a:gd name="T11" fmla="*/ 63 h 471"/>
              <a:gd name="T12" fmla="*/ 207 w 596"/>
              <a:gd name="T13" fmla="*/ 74 h 471"/>
              <a:gd name="T14" fmla="*/ 213 w 596"/>
              <a:gd name="T15" fmla="*/ 106 h 471"/>
              <a:gd name="T16" fmla="*/ 238 w 596"/>
              <a:gd name="T17" fmla="*/ 124 h 471"/>
              <a:gd name="T18" fmla="*/ 230 w 596"/>
              <a:gd name="T19" fmla="*/ 147 h 471"/>
              <a:gd name="T20" fmla="*/ 180 w 596"/>
              <a:gd name="T21" fmla="*/ 183 h 471"/>
              <a:gd name="T22" fmla="*/ 166 w 596"/>
              <a:gd name="T23" fmla="*/ 175 h 471"/>
              <a:gd name="T24" fmla="*/ 153 w 596"/>
              <a:gd name="T25" fmla="*/ 175 h 471"/>
              <a:gd name="T26" fmla="*/ 130 w 596"/>
              <a:gd name="T27" fmla="*/ 201 h 471"/>
              <a:gd name="T28" fmla="*/ 111 w 596"/>
              <a:gd name="T29" fmla="*/ 201 h 471"/>
              <a:gd name="T30" fmla="*/ 83 w 596"/>
              <a:gd name="T31" fmla="*/ 258 h 471"/>
              <a:gd name="T32" fmla="*/ 46 w 596"/>
              <a:gd name="T33" fmla="*/ 258 h 471"/>
              <a:gd name="T34" fmla="*/ 46 w 596"/>
              <a:gd name="T35" fmla="*/ 236 h 471"/>
              <a:gd name="T36" fmla="*/ 33 w 596"/>
              <a:gd name="T37" fmla="*/ 225 h 471"/>
              <a:gd name="T38" fmla="*/ 0 w 596"/>
              <a:gd name="T39" fmla="*/ 288 h 471"/>
              <a:gd name="T40" fmla="*/ 0 w 596"/>
              <a:gd name="T41" fmla="*/ 323 h 471"/>
              <a:gd name="T42" fmla="*/ 17 w 596"/>
              <a:gd name="T43" fmla="*/ 353 h 471"/>
              <a:gd name="T44" fmla="*/ 137 w 596"/>
              <a:gd name="T45" fmla="*/ 458 h 471"/>
              <a:gd name="T46" fmla="*/ 152 w 596"/>
              <a:gd name="T47" fmla="*/ 458 h 471"/>
              <a:gd name="T48" fmla="*/ 177 w 596"/>
              <a:gd name="T49" fmla="*/ 471 h 471"/>
              <a:gd name="T50" fmla="*/ 207 w 596"/>
              <a:gd name="T51" fmla="*/ 448 h 471"/>
              <a:gd name="T52" fmla="*/ 258 w 596"/>
              <a:gd name="T53" fmla="*/ 454 h 471"/>
              <a:gd name="T54" fmla="*/ 278 w 596"/>
              <a:gd name="T55" fmla="*/ 462 h 471"/>
              <a:gd name="T56" fmla="*/ 343 w 596"/>
              <a:gd name="T57" fmla="*/ 458 h 471"/>
              <a:gd name="T58" fmla="*/ 274 w 596"/>
              <a:gd name="T59" fmla="*/ 368 h 471"/>
              <a:gd name="T60" fmla="*/ 320 w 596"/>
              <a:gd name="T61" fmla="*/ 317 h 471"/>
              <a:gd name="T62" fmla="*/ 483 w 596"/>
              <a:gd name="T63" fmla="*/ 267 h 471"/>
              <a:gd name="T64" fmla="*/ 596 w 596"/>
              <a:gd name="T65" fmla="*/ 297 h 471"/>
              <a:gd name="T66" fmla="*/ 528 w 596"/>
              <a:gd name="T67" fmla="*/ 215 h 471"/>
              <a:gd name="T68" fmla="*/ 507 w 596"/>
              <a:gd name="T69" fmla="*/ 104 h 471"/>
              <a:gd name="T70" fmla="*/ 561 w 596"/>
              <a:gd name="T71" fmla="*/ 54 h 471"/>
              <a:gd name="T72" fmla="*/ 339 w 596"/>
              <a:gd name="T73" fmla="*/ 0 h 471"/>
              <a:gd name="T74" fmla="*/ 339 w 596"/>
              <a:gd name="T75" fmla="*/ 0 h 471"/>
              <a:gd name="T76" fmla="*/ 339 w 596"/>
              <a:gd name="T77" fmla="*/ 0 h 47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96"/>
              <a:gd name="T118" fmla="*/ 0 h 471"/>
              <a:gd name="T119" fmla="*/ 596 w 596"/>
              <a:gd name="T120" fmla="*/ 471 h 47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96" h="471">
                <a:moveTo>
                  <a:pt x="339" y="0"/>
                </a:moveTo>
                <a:lnTo>
                  <a:pt x="287" y="30"/>
                </a:lnTo>
                <a:lnTo>
                  <a:pt x="265" y="14"/>
                </a:lnTo>
                <a:lnTo>
                  <a:pt x="251" y="40"/>
                </a:lnTo>
                <a:lnTo>
                  <a:pt x="226" y="45"/>
                </a:lnTo>
                <a:lnTo>
                  <a:pt x="226" y="63"/>
                </a:lnTo>
                <a:lnTo>
                  <a:pt x="207" y="74"/>
                </a:lnTo>
                <a:lnTo>
                  <a:pt x="213" y="106"/>
                </a:lnTo>
                <a:lnTo>
                  <a:pt x="238" y="124"/>
                </a:lnTo>
                <a:lnTo>
                  <a:pt x="230" y="147"/>
                </a:lnTo>
                <a:lnTo>
                  <a:pt x="180" y="183"/>
                </a:lnTo>
                <a:lnTo>
                  <a:pt x="166" y="175"/>
                </a:lnTo>
                <a:lnTo>
                  <a:pt x="153" y="175"/>
                </a:lnTo>
                <a:lnTo>
                  <a:pt x="130" y="201"/>
                </a:lnTo>
                <a:lnTo>
                  <a:pt x="111" y="201"/>
                </a:lnTo>
                <a:lnTo>
                  <a:pt x="83" y="258"/>
                </a:lnTo>
                <a:lnTo>
                  <a:pt x="46" y="258"/>
                </a:lnTo>
                <a:lnTo>
                  <a:pt x="46" y="236"/>
                </a:lnTo>
                <a:lnTo>
                  <a:pt x="33" y="225"/>
                </a:lnTo>
                <a:lnTo>
                  <a:pt x="0" y="288"/>
                </a:lnTo>
                <a:lnTo>
                  <a:pt x="0" y="323"/>
                </a:lnTo>
                <a:lnTo>
                  <a:pt x="17" y="353"/>
                </a:lnTo>
                <a:lnTo>
                  <a:pt x="137" y="458"/>
                </a:lnTo>
                <a:lnTo>
                  <a:pt x="152" y="458"/>
                </a:lnTo>
                <a:lnTo>
                  <a:pt x="177" y="471"/>
                </a:lnTo>
                <a:lnTo>
                  <a:pt x="207" y="448"/>
                </a:lnTo>
                <a:lnTo>
                  <a:pt x="258" y="454"/>
                </a:lnTo>
                <a:lnTo>
                  <a:pt x="278" y="462"/>
                </a:lnTo>
                <a:lnTo>
                  <a:pt x="343" y="458"/>
                </a:lnTo>
                <a:lnTo>
                  <a:pt x="274" y="368"/>
                </a:lnTo>
                <a:lnTo>
                  <a:pt x="320" y="317"/>
                </a:lnTo>
                <a:lnTo>
                  <a:pt x="483" y="267"/>
                </a:lnTo>
                <a:lnTo>
                  <a:pt x="596" y="297"/>
                </a:lnTo>
                <a:lnTo>
                  <a:pt x="528" y="215"/>
                </a:lnTo>
                <a:lnTo>
                  <a:pt x="507" y="104"/>
                </a:lnTo>
                <a:lnTo>
                  <a:pt x="561" y="54"/>
                </a:lnTo>
                <a:lnTo>
                  <a:pt x="339" y="0"/>
                </a:lnTo>
                <a:close/>
              </a:path>
            </a:pathLst>
          </a:custGeom>
          <a:solidFill>
            <a:schemeClr val="accent3"/>
          </a:solidFill>
          <a:ln w="12700">
            <a:solidFill>
              <a:schemeClr val="bg1"/>
            </a:solidFill>
            <a:round/>
            <a:headEnd/>
            <a:tailEnd/>
          </a:ln>
        </p:spPr>
        <p:txBody>
          <a:bodyPr/>
          <a:lstStyle/>
          <a:p>
            <a:pPr>
              <a:defRPr/>
            </a:pPr>
            <a:endParaRPr lang="nl-NL"/>
          </a:p>
        </p:txBody>
      </p:sp>
      <p:sp>
        <p:nvSpPr>
          <p:cNvPr id="17" name="Freeform 16"/>
          <p:cNvSpPr>
            <a:spLocks noChangeAspect="1"/>
          </p:cNvSpPr>
          <p:nvPr/>
        </p:nvSpPr>
        <p:spPr bwMode="auto">
          <a:xfrm>
            <a:off x="3016528" y="2350796"/>
            <a:ext cx="751122" cy="355473"/>
          </a:xfrm>
          <a:custGeom>
            <a:avLst/>
            <a:gdLst>
              <a:gd name="T0" fmla="*/ 315 w 480"/>
              <a:gd name="T1" fmla="*/ 28 h 215"/>
              <a:gd name="T2" fmla="*/ 292 w 480"/>
              <a:gd name="T3" fmla="*/ 0 h 215"/>
              <a:gd name="T4" fmla="*/ 272 w 480"/>
              <a:gd name="T5" fmla="*/ 3 h 215"/>
              <a:gd name="T6" fmla="*/ 272 w 480"/>
              <a:gd name="T7" fmla="*/ 22 h 215"/>
              <a:gd name="T8" fmla="*/ 247 w 480"/>
              <a:gd name="T9" fmla="*/ 44 h 215"/>
              <a:gd name="T10" fmla="*/ 236 w 480"/>
              <a:gd name="T11" fmla="*/ 26 h 215"/>
              <a:gd name="T12" fmla="*/ 221 w 480"/>
              <a:gd name="T13" fmla="*/ 26 h 215"/>
              <a:gd name="T14" fmla="*/ 176 w 480"/>
              <a:gd name="T15" fmla="*/ 44 h 215"/>
              <a:gd name="T16" fmla="*/ 156 w 480"/>
              <a:gd name="T17" fmla="*/ 32 h 215"/>
              <a:gd name="T18" fmla="*/ 145 w 480"/>
              <a:gd name="T19" fmla="*/ 32 h 215"/>
              <a:gd name="T20" fmla="*/ 93 w 480"/>
              <a:gd name="T21" fmla="*/ 131 h 215"/>
              <a:gd name="T22" fmla="*/ 47 w 480"/>
              <a:gd name="T23" fmla="*/ 126 h 215"/>
              <a:gd name="T24" fmla="*/ 0 w 480"/>
              <a:gd name="T25" fmla="*/ 178 h 215"/>
              <a:gd name="T26" fmla="*/ 0 w 480"/>
              <a:gd name="T27" fmla="*/ 215 h 215"/>
              <a:gd name="T28" fmla="*/ 104 w 480"/>
              <a:gd name="T29" fmla="*/ 206 h 215"/>
              <a:gd name="T30" fmla="*/ 220 w 480"/>
              <a:gd name="T31" fmla="*/ 64 h 215"/>
              <a:gd name="T32" fmla="*/ 476 w 480"/>
              <a:gd name="T33" fmla="*/ 171 h 215"/>
              <a:gd name="T34" fmla="*/ 480 w 480"/>
              <a:gd name="T35" fmla="*/ 153 h 215"/>
              <a:gd name="T36" fmla="*/ 468 w 480"/>
              <a:gd name="T37" fmla="*/ 148 h 215"/>
              <a:gd name="T38" fmla="*/ 465 w 480"/>
              <a:gd name="T39" fmla="*/ 138 h 215"/>
              <a:gd name="T40" fmla="*/ 443 w 480"/>
              <a:gd name="T41" fmla="*/ 128 h 215"/>
              <a:gd name="T42" fmla="*/ 444 w 480"/>
              <a:gd name="T43" fmla="*/ 114 h 215"/>
              <a:gd name="T44" fmla="*/ 415 w 480"/>
              <a:gd name="T45" fmla="*/ 91 h 215"/>
              <a:gd name="T46" fmla="*/ 415 w 480"/>
              <a:gd name="T47" fmla="*/ 82 h 215"/>
              <a:gd name="T48" fmla="*/ 395 w 480"/>
              <a:gd name="T49" fmla="*/ 74 h 215"/>
              <a:gd name="T50" fmla="*/ 373 w 480"/>
              <a:gd name="T51" fmla="*/ 74 h 215"/>
              <a:gd name="T52" fmla="*/ 373 w 480"/>
              <a:gd name="T53" fmla="*/ 63 h 215"/>
              <a:gd name="T54" fmla="*/ 379 w 480"/>
              <a:gd name="T55" fmla="*/ 46 h 215"/>
              <a:gd name="T56" fmla="*/ 379 w 480"/>
              <a:gd name="T57" fmla="*/ 34 h 215"/>
              <a:gd name="T58" fmla="*/ 368 w 480"/>
              <a:gd name="T59" fmla="*/ 26 h 215"/>
              <a:gd name="T60" fmla="*/ 333 w 480"/>
              <a:gd name="T61" fmla="*/ 22 h 215"/>
              <a:gd name="T62" fmla="*/ 315 w 480"/>
              <a:gd name="T63" fmla="*/ 28 h 215"/>
              <a:gd name="T64" fmla="*/ 315 w 480"/>
              <a:gd name="T65" fmla="*/ 28 h 215"/>
              <a:gd name="T66" fmla="*/ 315 w 480"/>
              <a:gd name="T67" fmla="*/ 28 h 21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80"/>
              <a:gd name="T103" fmla="*/ 0 h 215"/>
              <a:gd name="T104" fmla="*/ 480 w 480"/>
              <a:gd name="T105" fmla="*/ 215 h 21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80" h="215">
                <a:moveTo>
                  <a:pt x="315" y="28"/>
                </a:moveTo>
                <a:lnTo>
                  <a:pt x="292" y="0"/>
                </a:lnTo>
                <a:lnTo>
                  <a:pt x="272" y="3"/>
                </a:lnTo>
                <a:lnTo>
                  <a:pt x="272" y="22"/>
                </a:lnTo>
                <a:lnTo>
                  <a:pt x="247" y="44"/>
                </a:lnTo>
                <a:lnTo>
                  <a:pt x="236" y="26"/>
                </a:lnTo>
                <a:lnTo>
                  <a:pt x="221" y="26"/>
                </a:lnTo>
                <a:lnTo>
                  <a:pt x="176" y="44"/>
                </a:lnTo>
                <a:lnTo>
                  <a:pt x="156" y="32"/>
                </a:lnTo>
                <a:lnTo>
                  <a:pt x="145" y="32"/>
                </a:lnTo>
                <a:lnTo>
                  <a:pt x="93" y="131"/>
                </a:lnTo>
                <a:lnTo>
                  <a:pt x="47" y="126"/>
                </a:lnTo>
                <a:lnTo>
                  <a:pt x="0" y="178"/>
                </a:lnTo>
                <a:lnTo>
                  <a:pt x="0" y="215"/>
                </a:lnTo>
                <a:lnTo>
                  <a:pt x="104" y="206"/>
                </a:lnTo>
                <a:lnTo>
                  <a:pt x="220" y="64"/>
                </a:lnTo>
                <a:lnTo>
                  <a:pt x="476" y="171"/>
                </a:lnTo>
                <a:lnTo>
                  <a:pt x="480" y="153"/>
                </a:lnTo>
                <a:lnTo>
                  <a:pt x="468" y="148"/>
                </a:lnTo>
                <a:lnTo>
                  <a:pt x="465" y="138"/>
                </a:lnTo>
                <a:lnTo>
                  <a:pt x="443" y="128"/>
                </a:lnTo>
                <a:lnTo>
                  <a:pt x="444" y="114"/>
                </a:lnTo>
                <a:lnTo>
                  <a:pt x="415" y="91"/>
                </a:lnTo>
                <a:lnTo>
                  <a:pt x="415" y="82"/>
                </a:lnTo>
                <a:lnTo>
                  <a:pt x="395" y="74"/>
                </a:lnTo>
                <a:lnTo>
                  <a:pt x="373" y="74"/>
                </a:lnTo>
                <a:lnTo>
                  <a:pt x="373" y="63"/>
                </a:lnTo>
                <a:lnTo>
                  <a:pt x="379" y="46"/>
                </a:lnTo>
                <a:lnTo>
                  <a:pt x="379" y="34"/>
                </a:lnTo>
                <a:lnTo>
                  <a:pt x="368" y="26"/>
                </a:lnTo>
                <a:lnTo>
                  <a:pt x="333" y="22"/>
                </a:lnTo>
                <a:lnTo>
                  <a:pt x="315" y="28"/>
                </a:lnTo>
                <a:close/>
              </a:path>
            </a:pathLst>
          </a:custGeom>
          <a:solidFill>
            <a:schemeClr val="accent3"/>
          </a:solidFill>
          <a:ln w="12700">
            <a:solidFill>
              <a:schemeClr val="bg1"/>
            </a:solidFill>
            <a:round/>
            <a:headEnd/>
            <a:tailEnd/>
          </a:ln>
        </p:spPr>
        <p:txBody>
          <a:bodyPr/>
          <a:lstStyle/>
          <a:p>
            <a:pPr>
              <a:defRPr/>
            </a:pPr>
            <a:endParaRPr lang="nl-NL"/>
          </a:p>
        </p:txBody>
      </p:sp>
      <p:sp>
        <p:nvSpPr>
          <p:cNvPr id="18" name="Freeform 17"/>
          <p:cNvSpPr>
            <a:spLocks noChangeAspect="1"/>
          </p:cNvSpPr>
          <p:nvPr/>
        </p:nvSpPr>
        <p:spPr bwMode="auto">
          <a:xfrm>
            <a:off x="3536990" y="2168382"/>
            <a:ext cx="1005438" cy="603369"/>
          </a:xfrm>
          <a:custGeom>
            <a:avLst/>
            <a:gdLst>
              <a:gd name="T0" fmla="*/ 613 w 642"/>
              <a:gd name="T1" fmla="*/ 54 h 366"/>
              <a:gd name="T2" fmla="*/ 544 w 642"/>
              <a:gd name="T3" fmla="*/ 60 h 366"/>
              <a:gd name="T4" fmla="*/ 525 w 642"/>
              <a:gd name="T5" fmla="*/ 51 h 366"/>
              <a:gd name="T6" fmla="*/ 478 w 642"/>
              <a:gd name="T7" fmla="*/ 45 h 366"/>
              <a:gd name="T8" fmla="*/ 445 w 642"/>
              <a:gd name="T9" fmla="*/ 68 h 366"/>
              <a:gd name="T10" fmla="*/ 421 w 642"/>
              <a:gd name="T11" fmla="*/ 54 h 366"/>
              <a:gd name="T12" fmla="*/ 389 w 642"/>
              <a:gd name="T13" fmla="*/ 55 h 366"/>
              <a:gd name="T14" fmla="*/ 334 w 642"/>
              <a:gd name="T15" fmla="*/ 52 h 366"/>
              <a:gd name="T16" fmla="*/ 310 w 642"/>
              <a:gd name="T17" fmla="*/ 60 h 366"/>
              <a:gd name="T18" fmla="*/ 288 w 642"/>
              <a:gd name="T19" fmla="*/ 47 h 366"/>
              <a:gd name="T20" fmla="*/ 267 w 642"/>
              <a:gd name="T21" fmla="*/ 47 h 366"/>
              <a:gd name="T22" fmla="*/ 253 w 642"/>
              <a:gd name="T23" fmla="*/ 60 h 366"/>
              <a:gd name="T24" fmla="*/ 227 w 642"/>
              <a:gd name="T25" fmla="*/ 45 h 366"/>
              <a:gd name="T26" fmla="*/ 166 w 642"/>
              <a:gd name="T27" fmla="*/ 30 h 366"/>
              <a:gd name="T28" fmla="*/ 146 w 642"/>
              <a:gd name="T29" fmla="*/ 0 h 366"/>
              <a:gd name="T30" fmla="*/ 123 w 642"/>
              <a:gd name="T31" fmla="*/ 15 h 366"/>
              <a:gd name="T32" fmla="*/ 100 w 642"/>
              <a:gd name="T33" fmla="*/ 9 h 366"/>
              <a:gd name="T34" fmla="*/ 72 w 642"/>
              <a:gd name="T35" fmla="*/ 5 h 366"/>
              <a:gd name="T36" fmla="*/ 35 w 642"/>
              <a:gd name="T37" fmla="*/ 14 h 366"/>
              <a:gd name="T38" fmla="*/ 17 w 642"/>
              <a:gd name="T39" fmla="*/ 51 h 366"/>
              <a:gd name="T40" fmla="*/ 25 w 642"/>
              <a:gd name="T41" fmla="*/ 55 h 366"/>
              <a:gd name="T42" fmla="*/ 16 w 642"/>
              <a:gd name="T43" fmla="*/ 100 h 366"/>
              <a:gd name="T44" fmla="*/ 0 w 642"/>
              <a:gd name="T45" fmla="*/ 106 h 366"/>
              <a:gd name="T46" fmla="*/ 0 w 642"/>
              <a:gd name="T47" fmla="*/ 133 h 366"/>
              <a:gd name="T48" fmla="*/ 35 w 642"/>
              <a:gd name="T49" fmla="*/ 137 h 366"/>
              <a:gd name="T50" fmla="*/ 46 w 642"/>
              <a:gd name="T51" fmla="*/ 145 h 366"/>
              <a:gd name="T52" fmla="*/ 46 w 642"/>
              <a:gd name="T53" fmla="*/ 157 h 366"/>
              <a:gd name="T54" fmla="*/ 40 w 642"/>
              <a:gd name="T55" fmla="*/ 174 h 366"/>
              <a:gd name="T56" fmla="*/ 40 w 642"/>
              <a:gd name="T57" fmla="*/ 184 h 366"/>
              <a:gd name="T58" fmla="*/ 62 w 642"/>
              <a:gd name="T59" fmla="*/ 184 h 366"/>
              <a:gd name="T60" fmla="*/ 82 w 642"/>
              <a:gd name="T61" fmla="*/ 196 h 366"/>
              <a:gd name="T62" fmla="*/ 114 w 642"/>
              <a:gd name="T63" fmla="*/ 166 h 366"/>
              <a:gd name="T64" fmla="*/ 126 w 642"/>
              <a:gd name="T65" fmla="*/ 166 h 366"/>
              <a:gd name="T66" fmla="*/ 150 w 642"/>
              <a:gd name="T67" fmla="*/ 203 h 366"/>
              <a:gd name="T68" fmla="*/ 219 w 642"/>
              <a:gd name="T69" fmla="*/ 235 h 366"/>
              <a:gd name="T70" fmla="*/ 249 w 642"/>
              <a:gd name="T71" fmla="*/ 264 h 366"/>
              <a:gd name="T72" fmla="*/ 268 w 642"/>
              <a:gd name="T73" fmla="*/ 259 h 366"/>
              <a:gd name="T74" fmla="*/ 366 w 642"/>
              <a:gd name="T75" fmla="*/ 273 h 366"/>
              <a:gd name="T76" fmla="*/ 365 w 642"/>
              <a:gd name="T77" fmla="*/ 264 h 366"/>
              <a:gd name="T78" fmla="*/ 403 w 642"/>
              <a:gd name="T79" fmla="*/ 241 h 366"/>
              <a:gd name="T80" fmla="*/ 449 w 642"/>
              <a:gd name="T81" fmla="*/ 278 h 366"/>
              <a:gd name="T82" fmla="*/ 437 w 642"/>
              <a:gd name="T83" fmla="*/ 307 h 366"/>
              <a:gd name="T84" fmla="*/ 508 w 642"/>
              <a:gd name="T85" fmla="*/ 366 h 366"/>
              <a:gd name="T86" fmla="*/ 521 w 642"/>
              <a:gd name="T87" fmla="*/ 360 h 366"/>
              <a:gd name="T88" fmla="*/ 533 w 642"/>
              <a:gd name="T89" fmla="*/ 322 h 366"/>
              <a:gd name="T90" fmla="*/ 555 w 642"/>
              <a:gd name="T91" fmla="*/ 317 h 366"/>
              <a:gd name="T92" fmla="*/ 582 w 642"/>
              <a:gd name="T93" fmla="*/ 316 h 366"/>
              <a:gd name="T94" fmla="*/ 625 w 642"/>
              <a:gd name="T95" fmla="*/ 349 h 366"/>
              <a:gd name="T96" fmla="*/ 642 w 642"/>
              <a:gd name="T97" fmla="*/ 333 h 366"/>
              <a:gd name="T98" fmla="*/ 642 w 642"/>
              <a:gd name="T99" fmla="*/ 313 h 366"/>
              <a:gd name="T100" fmla="*/ 572 w 642"/>
              <a:gd name="T101" fmla="*/ 256 h 366"/>
              <a:gd name="T102" fmla="*/ 541 w 642"/>
              <a:gd name="T103" fmla="*/ 94 h 366"/>
              <a:gd name="T104" fmla="*/ 613 w 642"/>
              <a:gd name="T105" fmla="*/ 54 h 366"/>
              <a:gd name="T106" fmla="*/ 613 w 642"/>
              <a:gd name="T107" fmla="*/ 54 h 366"/>
              <a:gd name="T108" fmla="*/ 613 w 642"/>
              <a:gd name="T109" fmla="*/ 54 h 3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42"/>
              <a:gd name="T166" fmla="*/ 0 h 366"/>
              <a:gd name="T167" fmla="*/ 642 w 642"/>
              <a:gd name="T168" fmla="*/ 366 h 36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42" h="366">
                <a:moveTo>
                  <a:pt x="613" y="54"/>
                </a:moveTo>
                <a:lnTo>
                  <a:pt x="544" y="60"/>
                </a:lnTo>
                <a:lnTo>
                  <a:pt x="525" y="51"/>
                </a:lnTo>
                <a:lnTo>
                  <a:pt x="478" y="45"/>
                </a:lnTo>
                <a:lnTo>
                  <a:pt x="445" y="68"/>
                </a:lnTo>
                <a:lnTo>
                  <a:pt x="421" y="54"/>
                </a:lnTo>
                <a:lnTo>
                  <a:pt x="389" y="55"/>
                </a:lnTo>
                <a:lnTo>
                  <a:pt x="334" y="52"/>
                </a:lnTo>
                <a:lnTo>
                  <a:pt x="310" y="60"/>
                </a:lnTo>
                <a:lnTo>
                  <a:pt x="288" y="47"/>
                </a:lnTo>
                <a:lnTo>
                  <a:pt x="267" y="47"/>
                </a:lnTo>
                <a:lnTo>
                  <a:pt x="253" y="60"/>
                </a:lnTo>
                <a:lnTo>
                  <a:pt x="227" y="45"/>
                </a:lnTo>
                <a:lnTo>
                  <a:pt x="166" y="30"/>
                </a:lnTo>
                <a:lnTo>
                  <a:pt x="146" y="0"/>
                </a:lnTo>
                <a:lnTo>
                  <a:pt x="123" y="15"/>
                </a:lnTo>
                <a:lnTo>
                  <a:pt x="100" y="9"/>
                </a:lnTo>
                <a:lnTo>
                  <a:pt x="72" y="5"/>
                </a:lnTo>
                <a:lnTo>
                  <a:pt x="35" y="14"/>
                </a:lnTo>
                <a:lnTo>
                  <a:pt x="17" y="51"/>
                </a:lnTo>
                <a:lnTo>
                  <a:pt x="25" y="55"/>
                </a:lnTo>
                <a:lnTo>
                  <a:pt x="16" y="100"/>
                </a:lnTo>
                <a:lnTo>
                  <a:pt x="0" y="106"/>
                </a:lnTo>
                <a:lnTo>
                  <a:pt x="0" y="133"/>
                </a:lnTo>
                <a:lnTo>
                  <a:pt x="35" y="137"/>
                </a:lnTo>
                <a:lnTo>
                  <a:pt x="46" y="145"/>
                </a:lnTo>
                <a:lnTo>
                  <a:pt x="46" y="157"/>
                </a:lnTo>
                <a:lnTo>
                  <a:pt x="40" y="174"/>
                </a:lnTo>
                <a:lnTo>
                  <a:pt x="40" y="184"/>
                </a:lnTo>
                <a:lnTo>
                  <a:pt x="62" y="184"/>
                </a:lnTo>
                <a:lnTo>
                  <a:pt x="82" y="196"/>
                </a:lnTo>
                <a:lnTo>
                  <a:pt x="114" y="166"/>
                </a:lnTo>
                <a:lnTo>
                  <a:pt x="126" y="166"/>
                </a:lnTo>
                <a:lnTo>
                  <a:pt x="150" y="203"/>
                </a:lnTo>
                <a:lnTo>
                  <a:pt x="219" y="235"/>
                </a:lnTo>
                <a:lnTo>
                  <a:pt x="249" y="264"/>
                </a:lnTo>
                <a:lnTo>
                  <a:pt x="268" y="259"/>
                </a:lnTo>
                <a:lnTo>
                  <a:pt x="366" y="273"/>
                </a:lnTo>
                <a:lnTo>
                  <a:pt x="365" y="264"/>
                </a:lnTo>
                <a:lnTo>
                  <a:pt x="403" y="241"/>
                </a:lnTo>
                <a:lnTo>
                  <a:pt x="449" y="278"/>
                </a:lnTo>
                <a:lnTo>
                  <a:pt x="437" y="307"/>
                </a:lnTo>
                <a:lnTo>
                  <a:pt x="508" y="366"/>
                </a:lnTo>
                <a:lnTo>
                  <a:pt x="521" y="360"/>
                </a:lnTo>
                <a:lnTo>
                  <a:pt x="533" y="322"/>
                </a:lnTo>
                <a:lnTo>
                  <a:pt x="555" y="317"/>
                </a:lnTo>
                <a:lnTo>
                  <a:pt x="582" y="316"/>
                </a:lnTo>
                <a:lnTo>
                  <a:pt x="625" y="349"/>
                </a:lnTo>
                <a:lnTo>
                  <a:pt x="642" y="333"/>
                </a:lnTo>
                <a:lnTo>
                  <a:pt x="642" y="313"/>
                </a:lnTo>
                <a:lnTo>
                  <a:pt x="572" y="256"/>
                </a:lnTo>
                <a:lnTo>
                  <a:pt x="541" y="94"/>
                </a:lnTo>
                <a:lnTo>
                  <a:pt x="613" y="54"/>
                </a:lnTo>
                <a:close/>
              </a:path>
            </a:pathLst>
          </a:custGeom>
          <a:solidFill>
            <a:schemeClr val="accent3"/>
          </a:solidFill>
          <a:ln w="12700">
            <a:solidFill>
              <a:schemeClr val="bg1"/>
            </a:solidFill>
            <a:round/>
            <a:headEnd/>
            <a:tailEnd/>
          </a:ln>
        </p:spPr>
        <p:txBody>
          <a:bodyPr/>
          <a:lstStyle/>
          <a:p>
            <a:pPr>
              <a:defRPr/>
            </a:pPr>
            <a:endParaRPr lang="nl-NL"/>
          </a:p>
        </p:txBody>
      </p:sp>
      <p:sp>
        <p:nvSpPr>
          <p:cNvPr id="19" name="Freeform 18"/>
          <p:cNvSpPr>
            <a:spLocks noChangeAspect="1"/>
          </p:cNvSpPr>
          <p:nvPr/>
        </p:nvSpPr>
        <p:spPr bwMode="auto">
          <a:xfrm>
            <a:off x="3665627" y="2438106"/>
            <a:ext cx="752600" cy="916747"/>
          </a:xfrm>
          <a:custGeom>
            <a:avLst/>
            <a:gdLst>
              <a:gd name="T0" fmla="*/ 439 w 480"/>
              <a:gd name="T1" fmla="*/ 196 h 555"/>
              <a:gd name="T2" fmla="*/ 428 w 480"/>
              <a:gd name="T3" fmla="*/ 201 h 555"/>
              <a:gd name="T4" fmla="*/ 355 w 480"/>
              <a:gd name="T5" fmla="*/ 143 h 555"/>
              <a:gd name="T6" fmla="*/ 367 w 480"/>
              <a:gd name="T7" fmla="*/ 114 h 555"/>
              <a:gd name="T8" fmla="*/ 321 w 480"/>
              <a:gd name="T9" fmla="*/ 77 h 555"/>
              <a:gd name="T10" fmla="*/ 283 w 480"/>
              <a:gd name="T11" fmla="*/ 100 h 555"/>
              <a:gd name="T12" fmla="*/ 286 w 480"/>
              <a:gd name="T13" fmla="*/ 110 h 555"/>
              <a:gd name="T14" fmla="*/ 190 w 480"/>
              <a:gd name="T15" fmla="*/ 94 h 555"/>
              <a:gd name="T16" fmla="*/ 171 w 480"/>
              <a:gd name="T17" fmla="*/ 100 h 555"/>
              <a:gd name="T18" fmla="*/ 161 w 480"/>
              <a:gd name="T19" fmla="*/ 94 h 555"/>
              <a:gd name="T20" fmla="*/ 142 w 480"/>
              <a:gd name="T21" fmla="*/ 72 h 555"/>
              <a:gd name="T22" fmla="*/ 68 w 480"/>
              <a:gd name="T23" fmla="*/ 40 h 555"/>
              <a:gd name="T24" fmla="*/ 45 w 480"/>
              <a:gd name="T25" fmla="*/ 0 h 555"/>
              <a:gd name="T26" fmla="*/ 33 w 480"/>
              <a:gd name="T27" fmla="*/ 0 h 555"/>
              <a:gd name="T28" fmla="*/ 0 w 480"/>
              <a:gd name="T29" fmla="*/ 32 h 555"/>
              <a:gd name="T30" fmla="*/ 0 w 480"/>
              <a:gd name="T31" fmla="*/ 37 h 555"/>
              <a:gd name="T32" fmla="*/ 28 w 480"/>
              <a:gd name="T33" fmla="*/ 61 h 555"/>
              <a:gd name="T34" fmla="*/ 28 w 480"/>
              <a:gd name="T35" fmla="*/ 74 h 555"/>
              <a:gd name="T36" fmla="*/ 39 w 480"/>
              <a:gd name="T37" fmla="*/ 83 h 555"/>
              <a:gd name="T38" fmla="*/ 50 w 480"/>
              <a:gd name="T39" fmla="*/ 83 h 555"/>
              <a:gd name="T40" fmla="*/ 55 w 480"/>
              <a:gd name="T41" fmla="*/ 94 h 555"/>
              <a:gd name="T42" fmla="*/ 65 w 480"/>
              <a:gd name="T43" fmla="*/ 100 h 555"/>
              <a:gd name="T44" fmla="*/ 61 w 480"/>
              <a:gd name="T45" fmla="*/ 118 h 555"/>
              <a:gd name="T46" fmla="*/ 92 w 480"/>
              <a:gd name="T47" fmla="*/ 133 h 555"/>
              <a:gd name="T48" fmla="*/ 139 w 480"/>
              <a:gd name="T49" fmla="*/ 414 h 555"/>
              <a:gd name="T50" fmla="*/ 251 w 480"/>
              <a:gd name="T51" fmla="*/ 536 h 555"/>
              <a:gd name="T52" fmla="*/ 252 w 480"/>
              <a:gd name="T53" fmla="*/ 549 h 555"/>
              <a:gd name="T54" fmla="*/ 321 w 480"/>
              <a:gd name="T55" fmla="*/ 555 h 555"/>
              <a:gd name="T56" fmla="*/ 333 w 480"/>
              <a:gd name="T57" fmla="*/ 541 h 555"/>
              <a:gd name="T58" fmla="*/ 329 w 480"/>
              <a:gd name="T59" fmla="*/ 518 h 555"/>
              <a:gd name="T60" fmla="*/ 374 w 480"/>
              <a:gd name="T61" fmla="*/ 498 h 555"/>
              <a:gd name="T62" fmla="*/ 380 w 480"/>
              <a:gd name="T63" fmla="*/ 463 h 555"/>
              <a:gd name="T64" fmla="*/ 369 w 480"/>
              <a:gd name="T65" fmla="*/ 440 h 555"/>
              <a:gd name="T66" fmla="*/ 390 w 480"/>
              <a:gd name="T67" fmla="*/ 440 h 555"/>
              <a:gd name="T68" fmla="*/ 407 w 480"/>
              <a:gd name="T69" fmla="*/ 397 h 555"/>
              <a:gd name="T70" fmla="*/ 402 w 480"/>
              <a:gd name="T71" fmla="*/ 363 h 555"/>
              <a:gd name="T72" fmla="*/ 425 w 480"/>
              <a:gd name="T73" fmla="*/ 332 h 555"/>
              <a:gd name="T74" fmla="*/ 459 w 480"/>
              <a:gd name="T75" fmla="*/ 321 h 555"/>
              <a:gd name="T76" fmla="*/ 428 w 480"/>
              <a:gd name="T77" fmla="*/ 287 h 555"/>
              <a:gd name="T78" fmla="*/ 433 w 480"/>
              <a:gd name="T79" fmla="*/ 256 h 555"/>
              <a:gd name="T80" fmla="*/ 459 w 480"/>
              <a:gd name="T81" fmla="*/ 244 h 555"/>
              <a:gd name="T82" fmla="*/ 450 w 480"/>
              <a:gd name="T83" fmla="*/ 230 h 555"/>
              <a:gd name="T84" fmla="*/ 480 w 480"/>
              <a:gd name="T85" fmla="*/ 215 h 555"/>
              <a:gd name="T86" fmla="*/ 460 w 480"/>
              <a:gd name="T87" fmla="*/ 196 h 555"/>
              <a:gd name="T88" fmla="*/ 450 w 480"/>
              <a:gd name="T89" fmla="*/ 205 h 555"/>
              <a:gd name="T90" fmla="*/ 439 w 480"/>
              <a:gd name="T91" fmla="*/ 196 h 555"/>
              <a:gd name="T92" fmla="*/ 439 w 480"/>
              <a:gd name="T93" fmla="*/ 196 h 555"/>
              <a:gd name="T94" fmla="*/ 439 w 480"/>
              <a:gd name="T95" fmla="*/ 196 h 5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80"/>
              <a:gd name="T145" fmla="*/ 0 h 555"/>
              <a:gd name="T146" fmla="*/ 480 w 480"/>
              <a:gd name="T147" fmla="*/ 555 h 5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80" h="555">
                <a:moveTo>
                  <a:pt x="439" y="196"/>
                </a:moveTo>
                <a:lnTo>
                  <a:pt x="428" y="201"/>
                </a:lnTo>
                <a:lnTo>
                  <a:pt x="355" y="143"/>
                </a:lnTo>
                <a:lnTo>
                  <a:pt x="367" y="114"/>
                </a:lnTo>
                <a:lnTo>
                  <a:pt x="321" y="77"/>
                </a:lnTo>
                <a:lnTo>
                  <a:pt x="283" y="100"/>
                </a:lnTo>
                <a:lnTo>
                  <a:pt x="286" y="110"/>
                </a:lnTo>
                <a:lnTo>
                  <a:pt x="190" y="94"/>
                </a:lnTo>
                <a:lnTo>
                  <a:pt x="171" y="100"/>
                </a:lnTo>
                <a:lnTo>
                  <a:pt x="161" y="94"/>
                </a:lnTo>
                <a:lnTo>
                  <a:pt x="142" y="72"/>
                </a:lnTo>
                <a:lnTo>
                  <a:pt x="68" y="40"/>
                </a:lnTo>
                <a:lnTo>
                  <a:pt x="45" y="0"/>
                </a:lnTo>
                <a:lnTo>
                  <a:pt x="33" y="0"/>
                </a:lnTo>
                <a:lnTo>
                  <a:pt x="0" y="32"/>
                </a:lnTo>
                <a:lnTo>
                  <a:pt x="0" y="37"/>
                </a:lnTo>
                <a:lnTo>
                  <a:pt x="28" y="61"/>
                </a:lnTo>
                <a:lnTo>
                  <a:pt x="28" y="74"/>
                </a:lnTo>
                <a:lnTo>
                  <a:pt x="39" y="83"/>
                </a:lnTo>
                <a:lnTo>
                  <a:pt x="50" y="83"/>
                </a:lnTo>
                <a:lnTo>
                  <a:pt x="55" y="94"/>
                </a:lnTo>
                <a:lnTo>
                  <a:pt x="65" y="100"/>
                </a:lnTo>
                <a:lnTo>
                  <a:pt x="61" y="118"/>
                </a:lnTo>
                <a:lnTo>
                  <a:pt x="92" y="133"/>
                </a:lnTo>
                <a:lnTo>
                  <a:pt x="139" y="414"/>
                </a:lnTo>
                <a:lnTo>
                  <a:pt x="251" y="536"/>
                </a:lnTo>
                <a:lnTo>
                  <a:pt x="252" y="549"/>
                </a:lnTo>
                <a:lnTo>
                  <a:pt x="321" y="555"/>
                </a:lnTo>
                <a:lnTo>
                  <a:pt x="333" y="541"/>
                </a:lnTo>
                <a:lnTo>
                  <a:pt x="329" y="518"/>
                </a:lnTo>
                <a:lnTo>
                  <a:pt x="374" y="498"/>
                </a:lnTo>
                <a:lnTo>
                  <a:pt x="380" y="463"/>
                </a:lnTo>
                <a:lnTo>
                  <a:pt x="369" y="440"/>
                </a:lnTo>
                <a:lnTo>
                  <a:pt x="390" y="440"/>
                </a:lnTo>
                <a:lnTo>
                  <a:pt x="407" y="397"/>
                </a:lnTo>
                <a:lnTo>
                  <a:pt x="402" y="363"/>
                </a:lnTo>
                <a:lnTo>
                  <a:pt x="425" y="332"/>
                </a:lnTo>
                <a:lnTo>
                  <a:pt x="459" y="321"/>
                </a:lnTo>
                <a:lnTo>
                  <a:pt x="428" y="287"/>
                </a:lnTo>
                <a:lnTo>
                  <a:pt x="433" y="256"/>
                </a:lnTo>
                <a:lnTo>
                  <a:pt x="459" y="244"/>
                </a:lnTo>
                <a:lnTo>
                  <a:pt x="450" y="230"/>
                </a:lnTo>
                <a:lnTo>
                  <a:pt x="480" y="215"/>
                </a:lnTo>
                <a:lnTo>
                  <a:pt x="460" y="196"/>
                </a:lnTo>
                <a:lnTo>
                  <a:pt x="450" y="205"/>
                </a:lnTo>
                <a:lnTo>
                  <a:pt x="439" y="196"/>
                </a:lnTo>
                <a:close/>
              </a:path>
            </a:pathLst>
          </a:custGeom>
          <a:solidFill>
            <a:schemeClr val="accent3"/>
          </a:solidFill>
          <a:ln w="12700">
            <a:solidFill>
              <a:schemeClr val="bg1"/>
            </a:solidFill>
            <a:round/>
            <a:headEnd/>
            <a:tailEnd/>
          </a:ln>
        </p:spPr>
        <p:txBody>
          <a:bodyPr/>
          <a:lstStyle/>
          <a:p>
            <a:pPr>
              <a:defRPr/>
            </a:pPr>
            <a:endParaRPr lang="nl-NL"/>
          </a:p>
        </p:txBody>
      </p:sp>
      <p:sp>
        <p:nvSpPr>
          <p:cNvPr id="20" name="Freeform 19"/>
          <p:cNvSpPr>
            <a:spLocks noChangeAspect="1"/>
          </p:cNvSpPr>
          <p:nvPr/>
        </p:nvSpPr>
        <p:spPr bwMode="auto">
          <a:xfrm>
            <a:off x="4276283" y="2841911"/>
            <a:ext cx="411047" cy="516060"/>
          </a:xfrm>
          <a:custGeom>
            <a:avLst/>
            <a:gdLst>
              <a:gd name="T0" fmla="*/ 69 w 262"/>
              <a:gd name="T1" fmla="*/ 0 h 313"/>
              <a:gd name="T2" fmla="*/ 43 w 262"/>
              <a:gd name="T3" fmla="*/ 12 h 313"/>
              <a:gd name="T4" fmla="*/ 38 w 262"/>
              <a:gd name="T5" fmla="*/ 43 h 313"/>
              <a:gd name="T6" fmla="*/ 69 w 262"/>
              <a:gd name="T7" fmla="*/ 78 h 313"/>
              <a:gd name="T8" fmla="*/ 36 w 262"/>
              <a:gd name="T9" fmla="*/ 88 h 313"/>
              <a:gd name="T10" fmla="*/ 12 w 262"/>
              <a:gd name="T11" fmla="*/ 119 h 313"/>
              <a:gd name="T12" fmla="*/ 17 w 262"/>
              <a:gd name="T13" fmla="*/ 151 h 313"/>
              <a:gd name="T14" fmla="*/ 0 w 262"/>
              <a:gd name="T15" fmla="*/ 196 h 313"/>
              <a:gd name="T16" fmla="*/ 14 w 262"/>
              <a:gd name="T17" fmla="*/ 199 h 313"/>
              <a:gd name="T18" fmla="*/ 20 w 262"/>
              <a:gd name="T19" fmla="*/ 222 h 313"/>
              <a:gd name="T20" fmla="*/ 14 w 262"/>
              <a:gd name="T21" fmla="*/ 232 h 313"/>
              <a:gd name="T22" fmla="*/ 34 w 262"/>
              <a:gd name="T23" fmla="*/ 254 h 313"/>
              <a:gd name="T24" fmla="*/ 58 w 262"/>
              <a:gd name="T25" fmla="*/ 249 h 313"/>
              <a:gd name="T26" fmla="*/ 93 w 262"/>
              <a:gd name="T27" fmla="*/ 295 h 313"/>
              <a:gd name="T28" fmla="*/ 107 w 262"/>
              <a:gd name="T29" fmla="*/ 292 h 313"/>
              <a:gd name="T30" fmla="*/ 121 w 262"/>
              <a:gd name="T31" fmla="*/ 313 h 313"/>
              <a:gd name="T32" fmla="*/ 135 w 262"/>
              <a:gd name="T33" fmla="*/ 313 h 313"/>
              <a:gd name="T34" fmla="*/ 144 w 262"/>
              <a:gd name="T35" fmla="*/ 295 h 313"/>
              <a:gd name="T36" fmla="*/ 164 w 262"/>
              <a:gd name="T37" fmla="*/ 295 h 313"/>
              <a:gd name="T38" fmla="*/ 196 w 262"/>
              <a:gd name="T39" fmla="*/ 261 h 313"/>
              <a:gd name="T40" fmla="*/ 244 w 262"/>
              <a:gd name="T41" fmla="*/ 249 h 313"/>
              <a:gd name="T42" fmla="*/ 254 w 262"/>
              <a:gd name="T43" fmla="*/ 228 h 313"/>
              <a:gd name="T44" fmla="*/ 245 w 262"/>
              <a:gd name="T45" fmla="*/ 219 h 313"/>
              <a:gd name="T46" fmla="*/ 262 w 262"/>
              <a:gd name="T47" fmla="*/ 199 h 313"/>
              <a:gd name="T48" fmla="*/ 216 w 262"/>
              <a:gd name="T49" fmla="*/ 176 h 313"/>
              <a:gd name="T50" fmla="*/ 207 w 262"/>
              <a:gd name="T51" fmla="*/ 186 h 313"/>
              <a:gd name="T52" fmla="*/ 196 w 262"/>
              <a:gd name="T53" fmla="*/ 133 h 313"/>
              <a:gd name="T54" fmla="*/ 176 w 262"/>
              <a:gd name="T55" fmla="*/ 65 h 313"/>
              <a:gd name="T56" fmla="*/ 176 w 262"/>
              <a:gd name="T57" fmla="*/ 42 h 313"/>
              <a:gd name="T58" fmla="*/ 145 w 262"/>
              <a:gd name="T59" fmla="*/ 42 h 313"/>
              <a:gd name="T60" fmla="*/ 111 w 262"/>
              <a:gd name="T61" fmla="*/ 14 h 313"/>
              <a:gd name="T62" fmla="*/ 93 w 262"/>
              <a:gd name="T63" fmla="*/ 15 h 313"/>
              <a:gd name="T64" fmla="*/ 101 w 262"/>
              <a:gd name="T65" fmla="*/ 0 h 313"/>
              <a:gd name="T66" fmla="*/ 69 w 262"/>
              <a:gd name="T67" fmla="*/ 0 h 313"/>
              <a:gd name="T68" fmla="*/ 69 w 262"/>
              <a:gd name="T69" fmla="*/ 0 h 313"/>
              <a:gd name="T70" fmla="*/ 69 w 262"/>
              <a:gd name="T71" fmla="*/ 0 h 31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62"/>
              <a:gd name="T109" fmla="*/ 0 h 313"/>
              <a:gd name="T110" fmla="*/ 262 w 262"/>
              <a:gd name="T111" fmla="*/ 313 h 31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62" h="313">
                <a:moveTo>
                  <a:pt x="69" y="0"/>
                </a:moveTo>
                <a:lnTo>
                  <a:pt x="43" y="12"/>
                </a:lnTo>
                <a:lnTo>
                  <a:pt x="38" y="43"/>
                </a:lnTo>
                <a:lnTo>
                  <a:pt x="69" y="78"/>
                </a:lnTo>
                <a:lnTo>
                  <a:pt x="36" y="88"/>
                </a:lnTo>
                <a:lnTo>
                  <a:pt x="12" y="119"/>
                </a:lnTo>
                <a:lnTo>
                  <a:pt x="17" y="151"/>
                </a:lnTo>
                <a:lnTo>
                  <a:pt x="0" y="196"/>
                </a:lnTo>
                <a:lnTo>
                  <a:pt x="14" y="199"/>
                </a:lnTo>
                <a:lnTo>
                  <a:pt x="20" y="222"/>
                </a:lnTo>
                <a:lnTo>
                  <a:pt x="14" y="232"/>
                </a:lnTo>
                <a:lnTo>
                  <a:pt x="34" y="254"/>
                </a:lnTo>
                <a:lnTo>
                  <a:pt x="58" y="249"/>
                </a:lnTo>
                <a:lnTo>
                  <a:pt x="93" y="295"/>
                </a:lnTo>
                <a:lnTo>
                  <a:pt x="107" y="292"/>
                </a:lnTo>
                <a:lnTo>
                  <a:pt x="121" y="313"/>
                </a:lnTo>
                <a:lnTo>
                  <a:pt x="135" y="313"/>
                </a:lnTo>
                <a:lnTo>
                  <a:pt x="144" y="295"/>
                </a:lnTo>
                <a:lnTo>
                  <a:pt x="164" y="295"/>
                </a:lnTo>
                <a:lnTo>
                  <a:pt x="196" y="261"/>
                </a:lnTo>
                <a:lnTo>
                  <a:pt x="244" y="249"/>
                </a:lnTo>
                <a:lnTo>
                  <a:pt x="254" y="228"/>
                </a:lnTo>
                <a:lnTo>
                  <a:pt x="245" y="219"/>
                </a:lnTo>
                <a:lnTo>
                  <a:pt x="262" y="199"/>
                </a:lnTo>
                <a:lnTo>
                  <a:pt x="216" y="176"/>
                </a:lnTo>
                <a:lnTo>
                  <a:pt x="207" y="186"/>
                </a:lnTo>
                <a:lnTo>
                  <a:pt x="196" y="133"/>
                </a:lnTo>
                <a:lnTo>
                  <a:pt x="176" y="65"/>
                </a:lnTo>
                <a:lnTo>
                  <a:pt x="176" y="42"/>
                </a:lnTo>
                <a:lnTo>
                  <a:pt x="145" y="42"/>
                </a:lnTo>
                <a:lnTo>
                  <a:pt x="111" y="14"/>
                </a:lnTo>
                <a:lnTo>
                  <a:pt x="93" y="15"/>
                </a:lnTo>
                <a:lnTo>
                  <a:pt x="101" y="0"/>
                </a:lnTo>
                <a:lnTo>
                  <a:pt x="69" y="0"/>
                </a:lnTo>
                <a:close/>
              </a:path>
            </a:pathLst>
          </a:custGeom>
          <a:solidFill>
            <a:schemeClr val="accent3"/>
          </a:solidFill>
          <a:ln w="12700">
            <a:solidFill>
              <a:schemeClr val="bg1"/>
            </a:solidFill>
            <a:round/>
            <a:headEnd/>
            <a:tailEnd/>
          </a:ln>
        </p:spPr>
        <p:txBody>
          <a:bodyPr/>
          <a:lstStyle/>
          <a:p>
            <a:pPr>
              <a:defRPr/>
            </a:pPr>
            <a:endParaRPr lang="nl-NL"/>
          </a:p>
        </p:txBody>
      </p:sp>
      <p:sp>
        <p:nvSpPr>
          <p:cNvPr id="21" name="Freeform 20"/>
          <p:cNvSpPr>
            <a:spLocks noChangeAspect="1"/>
          </p:cNvSpPr>
          <p:nvPr/>
        </p:nvSpPr>
        <p:spPr bwMode="auto">
          <a:xfrm>
            <a:off x="4353170" y="2682883"/>
            <a:ext cx="548555" cy="558155"/>
          </a:xfrm>
          <a:custGeom>
            <a:avLst/>
            <a:gdLst>
              <a:gd name="T0" fmla="*/ 121 w 350"/>
              <a:gd name="T1" fmla="*/ 0 h 338"/>
              <a:gd name="T2" fmla="*/ 121 w 350"/>
              <a:gd name="T3" fmla="*/ 21 h 338"/>
              <a:gd name="T4" fmla="*/ 104 w 350"/>
              <a:gd name="T5" fmla="*/ 37 h 338"/>
              <a:gd name="T6" fmla="*/ 61 w 350"/>
              <a:gd name="T7" fmla="*/ 4 h 338"/>
              <a:gd name="T8" fmla="*/ 33 w 350"/>
              <a:gd name="T9" fmla="*/ 4 h 338"/>
              <a:gd name="T10" fmla="*/ 12 w 350"/>
              <a:gd name="T11" fmla="*/ 10 h 338"/>
              <a:gd name="T12" fmla="*/ 0 w 350"/>
              <a:gd name="T13" fmla="*/ 48 h 338"/>
              <a:gd name="T14" fmla="*/ 11 w 350"/>
              <a:gd name="T15" fmla="*/ 57 h 338"/>
              <a:gd name="T16" fmla="*/ 21 w 350"/>
              <a:gd name="T17" fmla="*/ 48 h 338"/>
              <a:gd name="T18" fmla="*/ 40 w 350"/>
              <a:gd name="T19" fmla="*/ 67 h 338"/>
              <a:gd name="T20" fmla="*/ 10 w 350"/>
              <a:gd name="T21" fmla="*/ 82 h 338"/>
              <a:gd name="T22" fmla="*/ 20 w 350"/>
              <a:gd name="T23" fmla="*/ 96 h 338"/>
              <a:gd name="T24" fmla="*/ 51 w 350"/>
              <a:gd name="T25" fmla="*/ 96 h 338"/>
              <a:gd name="T26" fmla="*/ 45 w 350"/>
              <a:gd name="T27" fmla="*/ 111 h 338"/>
              <a:gd name="T28" fmla="*/ 63 w 350"/>
              <a:gd name="T29" fmla="*/ 110 h 338"/>
              <a:gd name="T30" fmla="*/ 96 w 350"/>
              <a:gd name="T31" fmla="*/ 138 h 338"/>
              <a:gd name="T32" fmla="*/ 127 w 350"/>
              <a:gd name="T33" fmla="*/ 138 h 338"/>
              <a:gd name="T34" fmla="*/ 127 w 350"/>
              <a:gd name="T35" fmla="*/ 162 h 338"/>
              <a:gd name="T36" fmla="*/ 148 w 350"/>
              <a:gd name="T37" fmla="*/ 230 h 338"/>
              <a:gd name="T38" fmla="*/ 158 w 350"/>
              <a:gd name="T39" fmla="*/ 282 h 338"/>
              <a:gd name="T40" fmla="*/ 167 w 350"/>
              <a:gd name="T41" fmla="*/ 272 h 338"/>
              <a:gd name="T42" fmla="*/ 213 w 350"/>
              <a:gd name="T43" fmla="*/ 295 h 338"/>
              <a:gd name="T44" fmla="*/ 198 w 350"/>
              <a:gd name="T45" fmla="*/ 315 h 338"/>
              <a:gd name="T46" fmla="*/ 207 w 350"/>
              <a:gd name="T47" fmla="*/ 324 h 338"/>
              <a:gd name="T48" fmla="*/ 229 w 350"/>
              <a:gd name="T49" fmla="*/ 329 h 338"/>
              <a:gd name="T50" fmla="*/ 234 w 350"/>
              <a:gd name="T51" fmla="*/ 338 h 338"/>
              <a:gd name="T52" fmla="*/ 244 w 350"/>
              <a:gd name="T53" fmla="*/ 338 h 338"/>
              <a:gd name="T54" fmla="*/ 269 w 350"/>
              <a:gd name="T55" fmla="*/ 305 h 338"/>
              <a:gd name="T56" fmla="*/ 292 w 350"/>
              <a:gd name="T57" fmla="*/ 302 h 338"/>
              <a:gd name="T58" fmla="*/ 300 w 350"/>
              <a:gd name="T59" fmla="*/ 293 h 338"/>
              <a:gd name="T60" fmla="*/ 350 w 350"/>
              <a:gd name="T61" fmla="*/ 280 h 338"/>
              <a:gd name="T62" fmla="*/ 279 w 350"/>
              <a:gd name="T63" fmla="*/ 75 h 338"/>
              <a:gd name="T64" fmla="*/ 223 w 350"/>
              <a:gd name="T65" fmla="*/ 86 h 338"/>
              <a:gd name="T66" fmla="*/ 121 w 350"/>
              <a:gd name="T67" fmla="*/ 0 h 338"/>
              <a:gd name="T68" fmla="*/ 121 w 350"/>
              <a:gd name="T69" fmla="*/ 0 h 338"/>
              <a:gd name="T70" fmla="*/ 121 w 350"/>
              <a:gd name="T71" fmla="*/ 0 h 3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50"/>
              <a:gd name="T109" fmla="*/ 0 h 338"/>
              <a:gd name="T110" fmla="*/ 350 w 350"/>
              <a:gd name="T111" fmla="*/ 338 h 3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50" h="338">
                <a:moveTo>
                  <a:pt x="121" y="0"/>
                </a:moveTo>
                <a:lnTo>
                  <a:pt x="121" y="21"/>
                </a:lnTo>
                <a:lnTo>
                  <a:pt x="104" y="37"/>
                </a:lnTo>
                <a:lnTo>
                  <a:pt x="61" y="4"/>
                </a:lnTo>
                <a:lnTo>
                  <a:pt x="33" y="4"/>
                </a:lnTo>
                <a:lnTo>
                  <a:pt x="12" y="10"/>
                </a:lnTo>
                <a:lnTo>
                  <a:pt x="0" y="48"/>
                </a:lnTo>
                <a:lnTo>
                  <a:pt x="11" y="57"/>
                </a:lnTo>
                <a:lnTo>
                  <a:pt x="21" y="48"/>
                </a:lnTo>
                <a:lnTo>
                  <a:pt x="40" y="67"/>
                </a:lnTo>
                <a:lnTo>
                  <a:pt x="10" y="82"/>
                </a:lnTo>
                <a:lnTo>
                  <a:pt x="20" y="96"/>
                </a:lnTo>
                <a:lnTo>
                  <a:pt x="51" y="96"/>
                </a:lnTo>
                <a:lnTo>
                  <a:pt x="45" y="111"/>
                </a:lnTo>
                <a:lnTo>
                  <a:pt x="63" y="110"/>
                </a:lnTo>
                <a:lnTo>
                  <a:pt x="96" y="138"/>
                </a:lnTo>
                <a:lnTo>
                  <a:pt x="127" y="138"/>
                </a:lnTo>
                <a:lnTo>
                  <a:pt x="127" y="162"/>
                </a:lnTo>
                <a:lnTo>
                  <a:pt x="148" y="230"/>
                </a:lnTo>
                <a:lnTo>
                  <a:pt x="158" y="282"/>
                </a:lnTo>
                <a:lnTo>
                  <a:pt x="167" y="272"/>
                </a:lnTo>
                <a:lnTo>
                  <a:pt x="213" y="295"/>
                </a:lnTo>
                <a:lnTo>
                  <a:pt x="198" y="315"/>
                </a:lnTo>
                <a:lnTo>
                  <a:pt x="207" y="324"/>
                </a:lnTo>
                <a:lnTo>
                  <a:pt x="229" y="329"/>
                </a:lnTo>
                <a:lnTo>
                  <a:pt x="234" y="338"/>
                </a:lnTo>
                <a:lnTo>
                  <a:pt x="244" y="338"/>
                </a:lnTo>
                <a:lnTo>
                  <a:pt x="269" y="305"/>
                </a:lnTo>
                <a:lnTo>
                  <a:pt x="292" y="302"/>
                </a:lnTo>
                <a:lnTo>
                  <a:pt x="300" y="293"/>
                </a:lnTo>
                <a:lnTo>
                  <a:pt x="350" y="280"/>
                </a:lnTo>
                <a:lnTo>
                  <a:pt x="279" y="75"/>
                </a:lnTo>
                <a:lnTo>
                  <a:pt x="223" y="86"/>
                </a:lnTo>
                <a:lnTo>
                  <a:pt x="121" y="0"/>
                </a:lnTo>
                <a:close/>
              </a:path>
            </a:pathLst>
          </a:custGeom>
          <a:solidFill>
            <a:schemeClr val="accent3"/>
          </a:solidFill>
          <a:ln w="12700">
            <a:solidFill>
              <a:schemeClr val="bg1"/>
            </a:solidFill>
            <a:round/>
            <a:headEnd/>
            <a:tailEnd/>
          </a:ln>
        </p:spPr>
        <p:txBody>
          <a:bodyPr/>
          <a:lstStyle/>
          <a:p>
            <a:pPr>
              <a:defRPr/>
            </a:pPr>
            <a:endParaRPr lang="nl-NL"/>
          </a:p>
        </p:txBody>
      </p:sp>
      <p:sp>
        <p:nvSpPr>
          <p:cNvPr id="22" name="Freeform 21"/>
          <p:cNvSpPr>
            <a:spLocks noChangeAspect="1"/>
          </p:cNvSpPr>
          <p:nvPr/>
        </p:nvSpPr>
        <p:spPr bwMode="auto">
          <a:xfrm>
            <a:off x="4166868" y="3164643"/>
            <a:ext cx="759993" cy="690678"/>
          </a:xfrm>
          <a:custGeom>
            <a:avLst/>
            <a:gdLst>
              <a:gd name="T0" fmla="*/ 355 w 485"/>
              <a:gd name="T1" fmla="*/ 44 h 418"/>
              <a:gd name="T2" fmla="*/ 349 w 485"/>
              <a:gd name="T3" fmla="*/ 37 h 418"/>
              <a:gd name="T4" fmla="*/ 324 w 485"/>
              <a:gd name="T5" fmla="*/ 31 h 418"/>
              <a:gd name="T6" fmla="*/ 314 w 485"/>
              <a:gd name="T7" fmla="*/ 53 h 418"/>
              <a:gd name="T8" fmla="*/ 267 w 485"/>
              <a:gd name="T9" fmla="*/ 65 h 418"/>
              <a:gd name="T10" fmla="*/ 234 w 485"/>
              <a:gd name="T11" fmla="*/ 99 h 418"/>
              <a:gd name="T12" fmla="*/ 214 w 485"/>
              <a:gd name="T13" fmla="*/ 99 h 418"/>
              <a:gd name="T14" fmla="*/ 205 w 485"/>
              <a:gd name="T15" fmla="*/ 117 h 418"/>
              <a:gd name="T16" fmla="*/ 191 w 485"/>
              <a:gd name="T17" fmla="*/ 117 h 418"/>
              <a:gd name="T18" fmla="*/ 177 w 485"/>
              <a:gd name="T19" fmla="*/ 96 h 418"/>
              <a:gd name="T20" fmla="*/ 163 w 485"/>
              <a:gd name="T21" fmla="*/ 99 h 418"/>
              <a:gd name="T22" fmla="*/ 128 w 485"/>
              <a:gd name="T23" fmla="*/ 53 h 418"/>
              <a:gd name="T24" fmla="*/ 104 w 485"/>
              <a:gd name="T25" fmla="*/ 56 h 418"/>
              <a:gd name="T26" fmla="*/ 84 w 485"/>
              <a:gd name="T27" fmla="*/ 36 h 418"/>
              <a:gd name="T28" fmla="*/ 90 w 485"/>
              <a:gd name="T29" fmla="*/ 26 h 418"/>
              <a:gd name="T30" fmla="*/ 84 w 485"/>
              <a:gd name="T31" fmla="*/ 3 h 418"/>
              <a:gd name="T32" fmla="*/ 70 w 485"/>
              <a:gd name="T33" fmla="*/ 0 h 418"/>
              <a:gd name="T34" fmla="*/ 49 w 485"/>
              <a:gd name="T35" fmla="*/ 0 h 418"/>
              <a:gd name="T36" fmla="*/ 60 w 485"/>
              <a:gd name="T37" fmla="*/ 23 h 418"/>
              <a:gd name="T38" fmla="*/ 54 w 485"/>
              <a:gd name="T39" fmla="*/ 58 h 418"/>
              <a:gd name="T40" fmla="*/ 9 w 485"/>
              <a:gd name="T41" fmla="*/ 78 h 418"/>
              <a:gd name="T42" fmla="*/ 13 w 485"/>
              <a:gd name="T43" fmla="*/ 101 h 418"/>
              <a:gd name="T44" fmla="*/ 0 w 485"/>
              <a:gd name="T45" fmla="*/ 116 h 418"/>
              <a:gd name="T46" fmla="*/ 21 w 485"/>
              <a:gd name="T47" fmla="*/ 117 h 418"/>
              <a:gd name="T48" fmla="*/ 304 w 485"/>
              <a:gd name="T49" fmla="*/ 418 h 418"/>
              <a:gd name="T50" fmla="*/ 430 w 485"/>
              <a:gd name="T51" fmla="*/ 418 h 418"/>
              <a:gd name="T52" fmla="*/ 455 w 485"/>
              <a:gd name="T53" fmla="*/ 407 h 418"/>
              <a:gd name="T54" fmla="*/ 463 w 485"/>
              <a:gd name="T55" fmla="*/ 365 h 418"/>
              <a:gd name="T56" fmla="*/ 481 w 485"/>
              <a:gd name="T57" fmla="*/ 361 h 418"/>
              <a:gd name="T58" fmla="*/ 485 w 485"/>
              <a:gd name="T59" fmla="*/ 332 h 418"/>
              <a:gd name="T60" fmla="*/ 473 w 485"/>
              <a:gd name="T61" fmla="*/ 300 h 418"/>
              <a:gd name="T62" fmla="*/ 421 w 485"/>
              <a:gd name="T63" fmla="*/ 272 h 418"/>
              <a:gd name="T64" fmla="*/ 403 w 485"/>
              <a:gd name="T65" fmla="*/ 284 h 418"/>
              <a:gd name="T66" fmla="*/ 360 w 485"/>
              <a:gd name="T67" fmla="*/ 263 h 418"/>
              <a:gd name="T68" fmla="*/ 360 w 485"/>
              <a:gd name="T69" fmla="*/ 242 h 418"/>
              <a:gd name="T70" fmla="*/ 315 w 485"/>
              <a:gd name="T71" fmla="*/ 215 h 418"/>
              <a:gd name="T72" fmla="*/ 300 w 485"/>
              <a:gd name="T73" fmla="*/ 215 h 418"/>
              <a:gd name="T74" fmla="*/ 291 w 485"/>
              <a:gd name="T75" fmla="*/ 186 h 418"/>
              <a:gd name="T76" fmla="*/ 300 w 485"/>
              <a:gd name="T77" fmla="*/ 180 h 418"/>
              <a:gd name="T78" fmla="*/ 334 w 485"/>
              <a:gd name="T79" fmla="*/ 184 h 418"/>
              <a:gd name="T80" fmla="*/ 349 w 485"/>
              <a:gd name="T81" fmla="*/ 171 h 418"/>
              <a:gd name="T82" fmla="*/ 320 w 485"/>
              <a:gd name="T83" fmla="*/ 132 h 418"/>
              <a:gd name="T84" fmla="*/ 315 w 485"/>
              <a:gd name="T85" fmla="*/ 84 h 418"/>
              <a:gd name="T86" fmla="*/ 321 w 485"/>
              <a:gd name="T87" fmla="*/ 73 h 418"/>
              <a:gd name="T88" fmla="*/ 350 w 485"/>
              <a:gd name="T89" fmla="*/ 73 h 418"/>
              <a:gd name="T90" fmla="*/ 364 w 485"/>
              <a:gd name="T91" fmla="*/ 64 h 418"/>
              <a:gd name="T92" fmla="*/ 363 w 485"/>
              <a:gd name="T93" fmla="*/ 56 h 418"/>
              <a:gd name="T94" fmla="*/ 355 w 485"/>
              <a:gd name="T95" fmla="*/ 44 h 418"/>
              <a:gd name="T96" fmla="*/ 355 w 485"/>
              <a:gd name="T97" fmla="*/ 44 h 418"/>
              <a:gd name="T98" fmla="*/ 355 w 485"/>
              <a:gd name="T99" fmla="*/ 44 h 4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85"/>
              <a:gd name="T151" fmla="*/ 0 h 418"/>
              <a:gd name="T152" fmla="*/ 485 w 485"/>
              <a:gd name="T153" fmla="*/ 418 h 4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85" h="418">
                <a:moveTo>
                  <a:pt x="355" y="44"/>
                </a:moveTo>
                <a:lnTo>
                  <a:pt x="349" y="37"/>
                </a:lnTo>
                <a:lnTo>
                  <a:pt x="324" y="31"/>
                </a:lnTo>
                <a:lnTo>
                  <a:pt x="314" y="53"/>
                </a:lnTo>
                <a:lnTo>
                  <a:pt x="267" y="65"/>
                </a:lnTo>
                <a:lnTo>
                  <a:pt x="234" y="99"/>
                </a:lnTo>
                <a:lnTo>
                  <a:pt x="214" y="99"/>
                </a:lnTo>
                <a:lnTo>
                  <a:pt x="205" y="117"/>
                </a:lnTo>
                <a:lnTo>
                  <a:pt x="191" y="117"/>
                </a:lnTo>
                <a:lnTo>
                  <a:pt x="177" y="96"/>
                </a:lnTo>
                <a:lnTo>
                  <a:pt x="163" y="99"/>
                </a:lnTo>
                <a:lnTo>
                  <a:pt x="128" y="53"/>
                </a:lnTo>
                <a:lnTo>
                  <a:pt x="104" y="56"/>
                </a:lnTo>
                <a:lnTo>
                  <a:pt x="84" y="36"/>
                </a:lnTo>
                <a:lnTo>
                  <a:pt x="90" y="26"/>
                </a:lnTo>
                <a:lnTo>
                  <a:pt x="84" y="3"/>
                </a:lnTo>
                <a:lnTo>
                  <a:pt x="70" y="0"/>
                </a:lnTo>
                <a:lnTo>
                  <a:pt x="49" y="0"/>
                </a:lnTo>
                <a:lnTo>
                  <a:pt x="60" y="23"/>
                </a:lnTo>
                <a:lnTo>
                  <a:pt x="54" y="58"/>
                </a:lnTo>
                <a:lnTo>
                  <a:pt x="9" y="78"/>
                </a:lnTo>
                <a:lnTo>
                  <a:pt x="13" y="101"/>
                </a:lnTo>
                <a:lnTo>
                  <a:pt x="0" y="116"/>
                </a:lnTo>
                <a:lnTo>
                  <a:pt x="21" y="117"/>
                </a:lnTo>
                <a:lnTo>
                  <a:pt x="304" y="418"/>
                </a:lnTo>
                <a:lnTo>
                  <a:pt x="430" y="418"/>
                </a:lnTo>
                <a:lnTo>
                  <a:pt x="455" y="407"/>
                </a:lnTo>
                <a:lnTo>
                  <a:pt x="463" y="365"/>
                </a:lnTo>
                <a:lnTo>
                  <a:pt x="481" y="361"/>
                </a:lnTo>
                <a:lnTo>
                  <a:pt x="485" y="332"/>
                </a:lnTo>
                <a:lnTo>
                  <a:pt x="473" y="300"/>
                </a:lnTo>
                <a:lnTo>
                  <a:pt x="421" y="272"/>
                </a:lnTo>
                <a:lnTo>
                  <a:pt x="403" y="284"/>
                </a:lnTo>
                <a:lnTo>
                  <a:pt x="360" y="263"/>
                </a:lnTo>
                <a:lnTo>
                  <a:pt x="360" y="242"/>
                </a:lnTo>
                <a:lnTo>
                  <a:pt x="315" y="215"/>
                </a:lnTo>
                <a:lnTo>
                  <a:pt x="300" y="215"/>
                </a:lnTo>
                <a:lnTo>
                  <a:pt x="291" y="186"/>
                </a:lnTo>
                <a:lnTo>
                  <a:pt x="300" y="180"/>
                </a:lnTo>
                <a:lnTo>
                  <a:pt x="334" y="184"/>
                </a:lnTo>
                <a:lnTo>
                  <a:pt x="349" y="171"/>
                </a:lnTo>
                <a:lnTo>
                  <a:pt x="320" y="132"/>
                </a:lnTo>
                <a:lnTo>
                  <a:pt x="315" y="84"/>
                </a:lnTo>
                <a:lnTo>
                  <a:pt x="321" y="73"/>
                </a:lnTo>
                <a:lnTo>
                  <a:pt x="350" y="73"/>
                </a:lnTo>
                <a:lnTo>
                  <a:pt x="364" y="64"/>
                </a:lnTo>
                <a:lnTo>
                  <a:pt x="363" y="56"/>
                </a:lnTo>
                <a:lnTo>
                  <a:pt x="355" y="44"/>
                </a:lnTo>
                <a:close/>
              </a:path>
            </a:pathLst>
          </a:custGeom>
          <a:solidFill>
            <a:schemeClr val="accent3"/>
          </a:solidFill>
          <a:ln w="12700">
            <a:solidFill>
              <a:schemeClr val="bg1"/>
            </a:solidFill>
            <a:round/>
            <a:headEnd/>
            <a:tailEnd/>
          </a:ln>
        </p:spPr>
        <p:txBody>
          <a:bodyPr/>
          <a:lstStyle/>
          <a:p>
            <a:pPr>
              <a:defRPr/>
            </a:pPr>
            <a:endParaRPr lang="nl-NL"/>
          </a:p>
        </p:txBody>
      </p:sp>
      <p:sp>
        <p:nvSpPr>
          <p:cNvPr id="23" name="Freeform 22"/>
          <p:cNvSpPr>
            <a:spLocks noChangeAspect="1"/>
          </p:cNvSpPr>
          <p:nvPr/>
        </p:nvSpPr>
        <p:spPr bwMode="auto">
          <a:xfrm>
            <a:off x="4622272" y="3145934"/>
            <a:ext cx="547077" cy="517619"/>
          </a:xfrm>
          <a:custGeom>
            <a:avLst/>
            <a:gdLst>
              <a:gd name="T0" fmla="*/ 178 w 349"/>
              <a:gd name="T1" fmla="*/ 0 h 314"/>
              <a:gd name="T2" fmla="*/ 128 w 349"/>
              <a:gd name="T3" fmla="*/ 13 h 314"/>
              <a:gd name="T4" fmla="*/ 119 w 349"/>
              <a:gd name="T5" fmla="*/ 22 h 314"/>
              <a:gd name="T6" fmla="*/ 97 w 349"/>
              <a:gd name="T7" fmla="*/ 25 h 314"/>
              <a:gd name="T8" fmla="*/ 73 w 349"/>
              <a:gd name="T9" fmla="*/ 56 h 314"/>
              <a:gd name="T10" fmla="*/ 64 w 349"/>
              <a:gd name="T11" fmla="*/ 56 h 314"/>
              <a:gd name="T12" fmla="*/ 72 w 349"/>
              <a:gd name="T13" fmla="*/ 67 h 314"/>
              <a:gd name="T14" fmla="*/ 73 w 349"/>
              <a:gd name="T15" fmla="*/ 76 h 314"/>
              <a:gd name="T16" fmla="*/ 58 w 349"/>
              <a:gd name="T17" fmla="*/ 85 h 314"/>
              <a:gd name="T18" fmla="*/ 30 w 349"/>
              <a:gd name="T19" fmla="*/ 85 h 314"/>
              <a:gd name="T20" fmla="*/ 24 w 349"/>
              <a:gd name="T21" fmla="*/ 96 h 314"/>
              <a:gd name="T22" fmla="*/ 29 w 349"/>
              <a:gd name="T23" fmla="*/ 144 h 314"/>
              <a:gd name="T24" fmla="*/ 58 w 349"/>
              <a:gd name="T25" fmla="*/ 183 h 314"/>
              <a:gd name="T26" fmla="*/ 44 w 349"/>
              <a:gd name="T27" fmla="*/ 196 h 314"/>
              <a:gd name="T28" fmla="*/ 9 w 349"/>
              <a:gd name="T29" fmla="*/ 192 h 314"/>
              <a:gd name="T30" fmla="*/ 0 w 349"/>
              <a:gd name="T31" fmla="*/ 198 h 314"/>
              <a:gd name="T32" fmla="*/ 9 w 349"/>
              <a:gd name="T33" fmla="*/ 227 h 314"/>
              <a:gd name="T34" fmla="*/ 24 w 349"/>
              <a:gd name="T35" fmla="*/ 227 h 314"/>
              <a:gd name="T36" fmla="*/ 69 w 349"/>
              <a:gd name="T37" fmla="*/ 254 h 314"/>
              <a:gd name="T38" fmla="*/ 69 w 349"/>
              <a:gd name="T39" fmla="*/ 274 h 314"/>
              <a:gd name="T40" fmla="*/ 110 w 349"/>
              <a:gd name="T41" fmla="*/ 295 h 314"/>
              <a:gd name="T42" fmla="*/ 130 w 349"/>
              <a:gd name="T43" fmla="*/ 286 h 314"/>
              <a:gd name="T44" fmla="*/ 184 w 349"/>
              <a:gd name="T45" fmla="*/ 314 h 314"/>
              <a:gd name="T46" fmla="*/ 197 w 349"/>
              <a:gd name="T47" fmla="*/ 314 h 314"/>
              <a:gd name="T48" fmla="*/ 224 w 349"/>
              <a:gd name="T49" fmla="*/ 291 h 314"/>
              <a:gd name="T50" fmla="*/ 220 w 349"/>
              <a:gd name="T51" fmla="*/ 284 h 314"/>
              <a:gd name="T52" fmla="*/ 242 w 349"/>
              <a:gd name="T53" fmla="*/ 263 h 314"/>
              <a:gd name="T54" fmla="*/ 268 w 349"/>
              <a:gd name="T55" fmla="*/ 263 h 314"/>
              <a:gd name="T56" fmla="*/ 278 w 349"/>
              <a:gd name="T57" fmla="*/ 290 h 314"/>
              <a:gd name="T58" fmla="*/ 289 w 349"/>
              <a:gd name="T59" fmla="*/ 284 h 314"/>
              <a:gd name="T60" fmla="*/ 349 w 349"/>
              <a:gd name="T61" fmla="*/ 198 h 314"/>
              <a:gd name="T62" fmla="*/ 205 w 349"/>
              <a:gd name="T63" fmla="*/ 85 h 314"/>
              <a:gd name="T64" fmla="*/ 178 w 349"/>
              <a:gd name="T65" fmla="*/ 0 h 314"/>
              <a:gd name="T66" fmla="*/ 178 w 349"/>
              <a:gd name="T67" fmla="*/ 0 h 314"/>
              <a:gd name="T68" fmla="*/ 178 w 349"/>
              <a:gd name="T69" fmla="*/ 0 h 3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9"/>
              <a:gd name="T106" fmla="*/ 0 h 314"/>
              <a:gd name="T107" fmla="*/ 349 w 349"/>
              <a:gd name="T108" fmla="*/ 314 h 3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9" h="314">
                <a:moveTo>
                  <a:pt x="178" y="0"/>
                </a:moveTo>
                <a:lnTo>
                  <a:pt x="128" y="13"/>
                </a:lnTo>
                <a:lnTo>
                  <a:pt x="119" y="22"/>
                </a:lnTo>
                <a:lnTo>
                  <a:pt x="97" y="25"/>
                </a:lnTo>
                <a:lnTo>
                  <a:pt x="73" y="56"/>
                </a:lnTo>
                <a:lnTo>
                  <a:pt x="64" y="56"/>
                </a:lnTo>
                <a:lnTo>
                  <a:pt x="72" y="67"/>
                </a:lnTo>
                <a:lnTo>
                  <a:pt x="73" y="76"/>
                </a:lnTo>
                <a:lnTo>
                  <a:pt x="58" y="85"/>
                </a:lnTo>
                <a:lnTo>
                  <a:pt x="30" y="85"/>
                </a:lnTo>
                <a:lnTo>
                  <a:pt x="24" y="96"/>
                </a:lnTo>
                <a:lnTo>
                  <a:pt x="29" y="144"/>
                </a:lnTo>
                <a:lnTo>
                  <a:pt x="58" y="183"/>
                </a:lnTo>
                <a:lnTo>
                  <a:pt x="44" y="196"/>
                </a:lnTo>
                <a:lnTo>
                  <a:pt x="9" y="192"/>
                </a:lnTo>
                <a:lnTo>
                  <a:pt x="0" y="198"/>
                </a:lnTo>
                <a:lnTo>
                  <a:pt x="9" y="227"/>
                </a:lnTo>
                <a:lnTo>
                  <a:pt x="24" y="227"/>
                </a:lnTo>
                <a:lnTo>
                  <a:pt x="69" y="254"/>
                </a:lnTo>
                <a:lnTo>
                  <a:pt x="69" y="274"/>
                </a:lnTo>
                <a:lnTo>
                  <a:pt x="110" y="295"/>
                </a:lnTo>
                <a:lnTo>
                  <a:pt x="130" y="286"/>
                </a:lnTo>
                <a:lnTo>
                  <a:pt x="184" y="314"/>
                </a:lnTo>
                <a:lnTo>
                  <a:pt x="197" y="314"/>
                </a:lnTo>
                <a:lnTo>
                  <a:pt x="224" y="291"/>
                </a:lnTo>
                <a:lnTo>
                  <a:pt x="220" y="284"/>
                </a:lnTo>
                <a:lnTo>
                  <a:pt x="242" y="263"/>
                </a:lnTo>
                <a:lnTo>
                  <a:pt x="268" y="263"/>
                </a:lnTo>
                <a:lnTo>
                  <a:pt x="278" y="290"/>
                </a:lnTo>
                <a:lnTo>
                  <a:pt x="289" y="284"/>
                </a:lnTo>
                <a:lnTo>
                  <a:pt x="349" y="198"/>
                </a:lnTo>
                <a:lnTo>
                  <a:pt x="205" y="85"/>
                </a:lnTo>
                <a:lnTo>
                  <a:pt x="178" y="0"/>
                </a:lnTo>
                <a:close/>
              </a:path>
            </a:pathLst>
          </a:custGeom>
          <a:solidFill>
            <a:schemeClr val="accent3"/>
          </a:solidFill>
          <a:ln w="12700">
            <a:solidFill>
              <a:schemeClr val="bg1"/>
            </a:solidFill>
            <a:round/>
            <a:headEnd/>
            <a:tailEnd/>
          </a:ln>
        </p:spPr>
        <p:txBody>
          <a:bodyPr/>
          <a:lstStyle/>
          <a:p>
            <a:pPr>
              <a:defRPr/>
            </a:pPr>
            <a:endParaRPr lang="nl-NL"/>
          </a:p>
        </p:txBody>
      </p:sp>
      <p:sp>
        <p:nvSpPr>
          <p:cNvPr id="24" name="Freeform 23"/>
          <p:cNvSpPr>
            <a:spLocks noChangeAspect="1"/>
          </p:cNvSpPr>
          <p:nvPr/>
        </p:nvSpPr>
        <p:spPr bwMode="auto">
          <a:xfrm>
            <a:off x="4907640" y="3470225"/>
            <a:ext cx="362254" cy="328969"/>
          </a:xfrm>
          <a:custGeom>
            <a:avLst/>
            <a:gdLst>
              <a:gd name="T0" fmla="*/ 167 w 231"/>
              <a:gd name="T1" fmla="*/ 0 h 199"/>
              <a:gd name="T2" fmla="*/ 110 w 231"/>
              <a:gd name="T3" fmla="*/ 83 h 199"/>
              <a:gd name="T4" fmla="*/ 96 w 231"/>
              <a:gd name="T5" fmla="*/ 93 h 199"/>
              <a:gd name="T6" fmla="*/ 87 w 231"/>
              <a:gd name="T7" fmla="*/ 66 h 199"/>
              <a:gd name="T8" fmla="*/ 60 w 231"/>
              <a:gd name="T9" fmla="*/ 66 h 199"/>
              <a:gd name="T10" fmla="*/ 37 w 231"/>
              <a:gd name="T11" fmla="*/ 87 h 199"/>
              <a:gd name="T12" fmla="*/ 42 w 231"/>
              <a:gd name="T13" fmla="*/ 93 h 199"/>
              <a:gd name="T14" fmla="*/ 14 w 231"/>
              <a:gd name="T15" fmla="*/ 117 h 199"/>
              <a:gd name="T16" fmla="*/ 0 w 231"/>
              <a:gd name="T17" fmla="*/ 117 h 199"/>
              <a:gd name="T18" fmla="*/ 12 w 231"/>
              <a:gd name="T19" fmla="*/ 147 h 199"/>
              <a:gd name="T20" fmla="*/ 8 w 231"/>
              <a:gd name="T21" fmla="*/ 176 h 199"/>
              <a:gd name="T22" fmla="*/ 19 w 231"/>
              <a:gd name="T23" fmla="*/ 192 h 199"/>
              <a:gd name="T24" fmla="*/ 26 w 231"/>
              <a:gd name="T25" fmla="*/ 192 h 199"/>
              <a:gd name="T26" fmla="*/ 26 w 231"/>
              <a:gd name="T27" fmla="*/ 176 h 199"/>
              <a:gd name="T28" fmla="*/ 36 w 231"/>
              <a:gd name="T29" fmla="*/ 168 h 199"/>
              <a:gd name="T30" fmla="*/ 129 w 231"/>
              <a:gd name="T31" fmla="*/ 199 h 199"/>
              <a:gd name="T32" fmla="*/ 164 w 231"/>
              <a:gd name="T33" fmla="*/ 179 h 199"/>
              <a:gd name="T34" fmla="*/ 172 w 231"/>
              <a:gd name="T35" fmla="*/ 182 h 199"/>
              <a:gd name="T36" fmla="*/ 202 w 231"/>
              <a:gd name="T37" fmla="*/ 168 h 199"/>
              <a:gd name="T38" fmla="*/ 184 w 231"/>
              <a:gd name="T39" fmla="*/ 129 h 199"/>
              <a:gd name="T40" fmla="*/ 203 w 231"/>
              <a:gd name="T41" fmla="*/ 129 h 199"/>
              <a:gd name="T42" fmla="*/ 225 w 231"/>
              <a:gd name="T43" fmla="*/ 115 h 199"/>
              <a:gd name="T44" fmla="*/ 227 w 231"/>
              <a:gd name="T45" fmla="*/ 106 h 199"/>
              <a:gd name="T46" fmla="*/ 216 w 231"/>
              <a:gd name="T47" fmla="*/ 92 h 199"/>
              <a:gd name="T48" fmla="*/ 231 w 231"/>
              <a:gd name="T49" fmla="*/ 49 h 199"/>
              <a:gd name="T50" fmla="*/ 167 w 231"/>
              <a:gd name="T51" fmla="*/ 0 h 199"/>
              <a:gd name="T52" fmla="*/ 167 w 231"/>
              <a:gd name="T53" fmla="*/ 0 h 199"/>
              <a:gd name="T54" fmla="*/ 167 w 231"/>
              <a:gd name="T55" fmla="*/ 0 h 19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1"/>
              <a:gd name="T85" fmla="*/ 0 h 199"/>
              <a:gd name="T86" fmla="*/ 231 w 231"/>
              <a:gd name="T87" fmla="*/ 199 h 19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1" h="199">
                <a:moveTo>
                  <a:pt x="167" y="0"/>
                </a:moveTo>
                <a:lnTo>
                  <a:pt x="110" y="83"/>
                </a:lnTo>
                <a:lnTo>
                  <a:pt x="96" y="93"/>
                </a:lnTo>
                <a:lnTo>
                  <a:pt x="87" y="66"/>
                </a:lnTo>
                <a:lnTo>
                  <a:pt x="60" y="66"/>
                </a:lnTo>
                <a:lnTo>
                  <a:pt x="37" y="87"/>
                </a:lnTo>
                <a:lnTo>
                  <a:pt x="42" y="93"/>
                </a:lnTo>
                <a:lnTo>
                  <a:pt x="14" y="117"/>
                </a:lnTo>
                <a:lnTo>
                  <a:pt x="0" y="117"/>
                </a:lnTo>
                <a:lnTo>
                  <a:pt x="12" y="147"/>
                </a:lnTo>
                <a:lnTo>
                  <a:pt x="8" y="176"/>
                </a:lnTo>
                <a:lnTo>
                  <a:pt x="19" y="192"/>
                </a:lnTo>
                <a:lnTo>
                  <a:pt x="26" y="192"/>
                </a:lnTo>
                <a:lnTo>
                  <a:pt x="26" y="176"/>
                </a:lnTo>
                <a:lnTo>
                  <a:pt x="36" y="168"/>
                </a:lnTo>
                <a:lnTo>
                  <a:pt x="129" y="199"/>
                </a:lnTo>
                <a:lnTo>
                  <a:pt x="164" y="179"/>
                </a:lnTo>
                <a:lnTo>
                  <a:pt x="172" y="182"/>
                </a:lnTo>
                <a:lnTo>
                  <a:pt x="202" y="168"/>
                </a:lnTo>
                <a:lnTo>
                  <a:pt x="184" y="129"/>
                </a:lnTo>
                <a:lnTo>
                  <a:pt x="203" y="129"/>
                </a:lnTo>
                <a:lnTo>
                  <a:pt x="225" y="115"/>
                </a:lnTo>
                <a:lnTo>
                  <a:pt x="227" y="106"/>
                </a:lnTo>
                <a:lnTo>
                  <a:pt x="216" y="92"/>
                </a:lnTo>
                <a:lnTo>
                  <a:pt x="231" y="49"/>
                </a:lnTo>
                <a:lnTo>
                  <a:pt x="167" y="0"/>
                </a:lnTo>
                <a:close/>
              </a:path>
            </a:pathLst>
          </a:custGeom>
          <a:solidFill>
            <a:schemeClr val="accent3"/>
          </a:solidFill>
          <a:ln w="12700">
            <a:solidFill>
              <a:schemeClr val="bg1"/>
            </a:solidFill>
            <a:round/>
            <a:headEnd/>
            <a:tailEnd/>
          </a:ln>
        </p:spPr>
        <p:txBody>
          <a:bodyPr/>
          <a:lstStyle/>
          <a:p>
            <a:pPr>
              <a:defRPr/>
            </a:pPr>
            <a:endParaRPr lang="nl-NL"/>
          </a:p>
        </p:txBody>
      </p:sp>
      <p:sp>
        <p:nvSpPr>
          <p:cNvPr id="25" name="Freeform 24"/>
          <p:cNvSpPr>
            <a:spLocks noChangeAspect="1"/>
          </p:cNvSpPr>
          <p:nvPr/>
        </p:nvSpPr>
        <p:spPr bwMode="auto">
          <a:xfrm>
            <a:off x="4844060" y="3747744"/>
            <a:ext cx="635792" cy="623637"/>
          </a:xfrm>
          <a:custGeom>
            <a:avLst/>
            <a:gdLst>
              <a:gd name="T0" fmla="*/ 242 w 406"/>
              <a:gd name="T1" fmla="*/ 0 h 377"/>
              <a:gd name="T2" fmla="*/ 213 w 406"/>
              <a:gd name="T3" fmla="*/ 16 h 377"/>
              <a:gd name="T4" fmla="*/ 204 w 406"/>
              <a:gd name="T5" fmla="*/ 11 h 377"/>
              <a:gd name="T6" fmla="*/ 170 w 406"/>
              <a:gd name="T7" fmla="*/ 31 h 377"/>
              <a:gd name="T8" fmla="*/ 77 w 406"/>
              <a:gd name="T9" fmla="*/ 0 h 377"/>
              <a:gd name="T10" fmla="*/ 67 w 406"/>
              <a:gd name="T11" fmla="*/ 8 h 377"/>
              <a:gd name="T12" fmla="*/ 67 w 406"/>
              <a:gd name="T13" fmla="*/ 24 h 377"/>
              <a:gd name="T14" fmla="*/ 60 w 406"/>
              <a:gd name="T15" fmla="*/ 24 h 377"/>
              <a:gd name="T16" fmla="*/ 49 w 406"/>
              <a:gd name="T17" fmla="*/ 8 h 377"/>
              <a:gd name="T18" fmla="*/ 31 w 406"/>
              <a:gd name="T19" fmla="*/ 12 h 377"/>
              <a:gd name="T20" fmla="*/ 23 w 406"/>
              <a:gd name="T21" fmla="*/ 54 h 377"/>
              <a:gd name="T22" fmla="*/ 0 w 406"/>
              <a:gd name="T23" fmla="*/ 65 h 377"/>
              <a:gd name="T24" fmla="*/ 52 w 406"/>
              <a:gd name="T25" fmla="*/ 167 h 377"/>
              <a:gd name="T26" fmla="*/ 130 w 406"/>
              <a:gd name="T27" fmla="*/ 177 h 377"/>
              <a:gd name="T28" fmla="*/ 142 w 406"/>
              <a:gd name="T29" fmla="*/ 227 h 377"/>
              <a:gd name="T30" fmla="*/ 221 w 406"/>
              <a:gd name="T31" fmla="*/ 214 h 377"/>
              <a:gd name="T32" fmla="*/ 237 w 406"/>
              <a:gd name="T33" fmla="*/ 321 h 377"/>
              <a:gd name="T34" fmla="*/ 323 w 406"/>
              <a:gd name="T35" fmla="*/ 377 h 377"/>
              <a:gd name="T36" fmla="*/ 384 w 406"/>
              <a:gd name="T37" fmla="*/ 356 h 377"/>
              <a:gd name="T38" fmla="*/ 406 w 406"/>
              <a:gd name="T39" fmla="*/ 317 h 377"/>
              <a:gd name="T40" fmla="*/ 390 w 406"/>
              <a:gd name="T41" fmla="*/ 279 h 377"/>
              <a:gd name="T42" fmla="*/ 372 w 406"/>
              <a:gd name="T43" fmla="*/ 265 h 377"/>
              <a:gd name="T44" fmla="*/ 355 w 406"/>
              <a:gd name="T45" fmla="*/ 232 h 377"/>
              <a:gd name="T46" fmla="*/ 320 w 406"/>
              <a:gd name="T47" fmla="*/ 186 h 377"/>
              <a:gd name="T48" fmla="*/ 319 w 406"/>
              <a:gd name="T49" fmla="*/ 155 h 377"/>
              <a:gd name="T50" fmla="*/ 343 w 406"/>
              <a:gd name="T51" fmla="*/ 155 h 377"/>
              <a:gd name="T52" fmla="*/ 359 w 406"/>
              <a:gd name="T53" fmla="*/ 121 h 377"/>
              <a:gd name="T54" fmla="*/ 349 w 406"/>
              <a:gd name="T55" fmla="*/ 98 h 377"/>
              <a:gd name="T56" fmla="*/ 332 w 406"/>
              <a:gd name="T57" fmla="*/ 91 h 377"/>
              <a:gd name="T58" fmla="*/ 304 w 406"/>
              <a:gd name="T59" fmla="*/ 97 h 377"/>
              <a:gd name="T60" fmla="*/ 292 w 406"/>
              <a:gd name="T61" fmla="*/ 80 h 377"/>
              <a:gd name="T62" fmla="*/ 288 w 406"/>
              <a:gd name="T63" fmla="*/ 51 h 377"/>
              <a:gd name="T64" fmla="*/ 262 w 406"/>
              <a:gd name="T65" fmla="*/ 35 h 377"/>
              <a:gd name="T66" fmla="*/ 262 w 406"/>
              <a:gd name="T67" fmla="*/ 14 h 377"/>
              <a:gd name="T68" fmla="*/ 242 w 406"/>
              <a:gd name="T69" fmla="*/ 0 h 377"/>
              <a:gd name="T70" fmla="*/ 242 w 406"/>
              <a:gd name="T71" fmla="*/ 0 h 377"/>
              <a:gd name="T72" fmla="*/ 242 w 406"/>
              <a:gd name="T73" fmla="*/ 0 h 3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6"/>
              <a:gd name="T112" fmla="*/ 0 h 377"/>
              <a:gd name="T113" fmla="*/ 406 w 406"/>
              <a:gd name="T114" fmla="*/ 377 h 3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6" h="377">
                <a:moveTo>
                  <a:pt x="242" y="0"/>
                </a:moveTo>
                <a:lnTo>
                  <a:pt x="213" y="16"/>
                </a:lnTo>
                <a:lnTo>
                  <a:pt x="204" y="11"/>
                </a:lnTo>
                <a:lnTo>
                  <a:pt x="170" y="31"/>
                </a:lnTo>
                <a:lnTo>
                  <a:pt x="77" y="0"/>
                </a:lnTo>
                <a:lnTo>
                  <a:pt x="67" y="8"/>
                </a:lnTo>
                <a:lnTo>
                  <a:pt x="67" y="24"/>
                </a:lnTo>
                <a:lnTo>
                  <a:pt x="60" y="24"/>
                </a:lnTo>
                <a:lnTo>
                  <a:pt x="49" y="8"/>
                </a:lnTo>
                <a:lnTo>
                  <a:pt x="31" y="12"/>
                </a:lnTo>
                <a:lnTo>
                  <a:pt x="23" y="54"/>
                </a:lnTo>
                <a:lnTo>
                  <a:pt x="0" y="65"/>
                </a:lnTo>
                <a:lnTo>
                  <a:pt x="52" y="167"/>
                </a:lnTo>
                <a:lnTo>
                  <a:pt x="130" y="177"/>
                </a:lnTo>
                <a:lnTo>
                  <a:pt x="142" y="227"/>
                </a:lnTo>
                <a:lnTo>
                  <a:pt x="221" y="214"/>
                </a:lnTo>
                <a:lnTo>
                  <a:pt x="237" y="321"/>
                </a:lnTo>
                <a:lnTo>
                  <a:pt x="323" y="377"/>
                </a:lnTo>
                <a:lnTo>
                  <a:pt x="384" y="356"/>
                </a:lnTo>
                <a:lnTo>
                  <a:pt x="406" y="317"/>
                </a:lnTo>
                <a:lnTo>
                  <a:pt x="390" y="279"/>
                </a:lnTo>
                <a:lnTo>
                  <a:pt x="372" y="265"/>
                </a:lnTo>
                <a:lnTo>
                  <a:pt x="355" y="232"/>
                </a:lnTo>
                <a:lnTo>
                  <a:pt x="320" y="186"/>
                </a:lnTo>
                <a:lnTo>
                  <a:pt x="319" y="155"/>
                </a:lnTo>
                <a:lnTo>
                  <a:pt x="343" y="155"/>
                </a:lnTo>
                <a:lnTo>
                  <a:pt x="359" y="121"/>
                </a:lnTo>
                <a:lnTo>
                  <a:pt x="349" y="98"/>
                </a:lnTo>
                <a:lnTo>
                  <a:pt x="332" y="91"/>
                </a:lnTo>
                <a:lnTo>
                  <a:pt x="304" y="97"/>
                </a:lnTo>
                <a:lnTo>
                  <a:pt x="292" y="80"/>
                </a:lnTo>
                <a:lnTo>
                  <a:pt x="288" y="51"/>
                </a:lnTo>
                <a:lnTo>
                  <a:pt x="262" y="35"/>
                </a:lnTo>
                <a:lnTo>
                  <a:pt x="262" y="14"/>
                </a:lnTo>
                <a:lnTo>
                  <a:pt x="242" y="0"/>
                </a:lnTo>
                <a:close/>
              </a:path>
            </a:pathLst>
          </a:custGeom>
          <a:solidFill>
            <a:schemeClr val="accent3"/>
          </a:solidFill>
          <a:ln w="12700">
            <a:solidFill>
              <a:schemeClr val="bg1"/>
            </a:solidFill>
            <a:round/>
            <a:headEnd/>
            <a:tailEnd/>
          </a:ln>
        </p:spPr>
        <p:txBody>
          <a:bodyPr/>
          <a:lstStyle/>
          <a:p>
            <a:pPr>
              <a:defRPr/>
            </a:pPr>
            <a:endParaRPr lang="nl-NL"/>
          </a:p>
        </p:txBody>
      </p:sp>
      <p:sp>
        <p:nvSpPr>
          <p:cNvPr id="26" name="Freeform 25"/>
          <p:cNvSpPr>
            <a:spLocks noChangeAspect="1"/>
          </p:cNvSpPr>
          <p:nvPr/>
        </p:nvSpPr>
        <p:spPr bwMode="auto">
          <a:xfrm>
            <a:off x="5343822" y="3888062"/>
            <a:ext cx="480540" cy="526974"/>
          </a:xfrm>
          <a:custGeom>
            <a:avLst/>
            <a:gdLst>
              <a:gd name="T0" fmla="*/ 30 w 307"/>
              <a:gd name="T1" fmla="*/ 13 h 319"/>
              <a:gd name="T2" fmla="*/ 40 w 307"/>
              <a:gd name="T3" fmla="*/ 36 h 319"/>
              <a:gd name="T4" fmla="*/ 23 w 307"/>
              <a:gd name="T5" fmla="*/ 70 h 319"/>
              <a:gd name="T6" fmla="*/ 0 w 307"/>
              <a:gd name="T7" fmla="*/ 70 h 319"/>
              <a:gd name="T8" fmla="*/ 1 w 307"/>
              <a:gd name="T9" fmla="*/ 103 h 319"/>
              <a:gd name="T10" fmla="*/ 36 w 307"/>
              <a:gd name="T11" fmla="*/ 146 h 319"/>
              <a:gd name="T12" fmla="*/ 51 w 307"/>
              <a:gd name="T13" fmla="*/ 180 h 319"/>
              <a:gd name="T14" fmla="*/ 73 w 307"/>
              <a:gd name="T15" fmla="*/ 196 h 319"/>
              <a:gd name="T16" fmla="*/ 86 w 307"/>
              <a:gd name="T17" fmla="*/ 231 h 319"/>
              <a:gd name="T18" fmla="*/ 64 w 307"/>
              <a:gd name="T19" fmla="*/ 273 h 319"/>
              <a:gd name="T20" fmla="*/ 82 w 307"/>
              <a:gd name="T21" fmla="*/ 314 h 319"/>
              <a:gd name="T22" fmla="*/ 98 w 307"/>
              <a:gd name="T23" fmla="*/ 295 h 319"/>
              <a:gd name="T24" fmla="*/ 133 w 307"/>
              <a:gd name="T25" fmla="*/ 295 h 319"/>
              <a:gd name="T26" fmla="*/ 149 w 307"/>
              <a:gd name="T27" fmla="*/ 319 h 319"/>
              <a:gd name="T28" fmla="*/ 189 w 307"/>
              <a:gd name="T29" fmla="*/ 309 h 319"/>
              <a:gd name="T30" fmla="*/ 205 w 307"/>
              <a:gd name="T31" fmla="*/ 313 h 319"/>
              <a:gd name="T32" fmla="*/ 202 w 307"/>
              <a:gd name="T33" fmla="*/ 300 h 319"/>
              <a:gd name="T34" fmla="*/ 214 w 307"/>
              <a:gd name="T35" fmla="*/ 267 h 319"/>
              <a:gd name="T36" fmla="*/ 214 w 307"/>
              <a:gd name="T37" fmla="*/ 253 h 319"/>
              <a:gd name="T38" fmla="*/ 276 w 307"/>
              <a:gd name="T39" fmla="*/ 254 h 319"/>
              <a:gd name="T40" fmla="*/ 307 w 307"/>
              <a:gd name="T41" fmla="*/ 192 h 319"/>
              <a:gd name="T42" fmla="*/ 294 w 307"/>
              <a:gd name="T43" fmla="*/ 174 h 319"/>
              <a:gd name="T44" fmla="*/ 277 w 307"/>
              <a:gd name="T45" fmla="*/ 171 h 319"/>
              <a:gd name="T46" fmla="*/ 264 w 307"/>
              <a:gd name="T47" fmla="*/ 99 h 319"/>
              <a:gd name="T48" fmla="*/ 225 w 307"/>
              <a:gd name="T49" fmla="*/ 94 h 319"/>
              <a:gd name="T50" fmla="*/ 215 w 307"/>
              <a:gd name="T51" fmla="*/ 105 h 319"/>
              <a:gd name="T52" fmla="*/ 157 w 307"/>
              <a:gd name="T53" fmla="*/ 53 h 319"/>
              <a:gd name="T54" fmla="*/ 146 w 307"/>
              <a:gd name="T55" fmla="*/ 57 h 319"/>
              <a:gd name="T56" fmla="*/ 121 w 307"/>
              <a:gd name="T57" fmla="*/ 40 h 319"/>
              <a:gd name="T58" fmla="*/ 129 w 307"/>
              <a:gd name="T59" fmla="*/ 25 h 319"/>
              <a:gd name="T60" fmla="*/ 98 w 307"/>
              <a:gd name="T61" fmla="*/ 0 h 319"/>
              <a:gd name="T62" fmla="*/ 82 w 307"/>
              <a:gd name="T63" fmla="*/ 13 h 319"/>
              <a:gd name="T64" fmla="*/ 57 w 307"/>
              <a:gd name="T65" fmla="*/ 11 h 319"/>
              <a:gd name="T66" fmla="*/ 30 w 307"/>
              <a:gd name="T67" fmla="*/ 13 h 319"/>
              <a:gd name="T68" fmla="*/ 30 w 307"/>
              <a:gd name="T69" fmla="*/ 13 h 319"/>
              <a:gd name="T70" fmla="*/ 30 w 307"/>
              <a:gd name="T71" fmla="*/ 13 h 31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7"/>
              <a:gd name="T109" fmla="*/ 0 h 319"/>
              <a:gd name="T110" fmla="*/ 307 w 307"/>
              <a:gd name="T111" fmla="*/ 319 h 31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7" h="319">
                <a:moveTo>
                  <a:pt x="30" y="13"/>
                </a:moveTo>
                <a:lnTo>
                  <a:pt x="40" y="36"/>
                </a:lnTo>
                <a:lnTo>
                  <a:pt x="23" y="70"/>
                </a:lnTo>
                <a:lnTo>
                  <a:pt x="0" y="70"/>
                </a:lnTo>
                <a:lnTo>
                  <a:pt x="1" y="103"/>
                </a:lnTo>
                <a:lnTo>
                  <a:pt x="36" y="146"/>
                </a:lnTo>
                <a:lnTo>
                  <a:pt x="51" y="180"/>
                </a:lnTo>
                <a:lnTo>
                  <a:pt x="73" y="196"/>
                </a:lnTo>
                <a:lnTo>
                  <a:pt x="86" y="231"/>
                </a:lnTo>
                <a:lnTo>
                  <a:pt x="64" y="273"/>
                </a:lnTo>
                <a:lnTo>
                  <a:pt x="82" y="314"/>
                </a:lnTo>
                <a:lnTo>
                  <a:pt x="98" y="295"/>
                </a:lnTo>
                <a:lnTo>
                  <a:pt x="133" y="295"/>
                </a:lnTo>
                <a:lnTo>
                  <a:pt x="149" y="319"/>
                </a:lnTo>
                <a:lnTo>
                  <a:pt x="189" y="309"/>
                </a:lnTo>
                <a:lnTo>
                  <a:pt x="205" y="313"/>
                </a:lnTo>
                <a:lnTo>
                  <a:pt x="202" y="300"/>
                </a:lnTo>
                <a:lnTo>
                  <a:pt x="214" y="267"/>
                </a:lnTo>
                <a:lnTo>
                  <a:pt x="214" y="253"/>
                </a:lnTo>
                <a:lnTo>
                  <a:pt x="276" y="254"/>
                </a:lnTo>
                <a:lnTo>
                  <a:pt x="307" y="192"/>
                </a:lnTo>
                <a:lnTo>
                  <a:pt x="294" y="174"/>
                </a:lnTo>
                <a:lnTo>
                  <a:pt x="277" y="171"/>
                </a:lnTo>
                <a:lnTo>
                  <a:pt x="264" y="99"/>
                </a:lnTo>
                <a:lnTo>
                  <a:pt x="225" y="94"/>
                </a:lnTo>
                <a:lnTo>
                  <a:pt x="215" y="105"/>
                </a:lnTo>
                <a:lnTo>
                  <a:pt x="157" y="53"/>
                </a:lnTo>
                <a:lnTo>
                  <a:pt x="146" y="57"/>
                </a:lnTo>
                <a:lnTo>
                  <a:pt x="121" y="40"/>
                </a:lnTo>
                <a:lnTo>
                  <a:pt x="129" y="25"/>
                </a:lnTo>
                <a:lnTo>
                  <a:pt x="98" y="0"/>
                </a:lnTo>
                <a:lnTo>
                  <a:pt x="82" y="13"/>
                </a:lnTo>
                <a:lnTo>
                  <a:pt x="57" y="11"/>
                </a:lnTo>
                <a:lnTo>
                  <a:pt x="30" y="13"/>
                </a:lnTo>
                <a:close/>
              </a:path>
            </a:pathLst>
          </a:custGeom>
          <a:solidFill>
            <a:schemeClr val="accent3"/>
          </a:solidFill>
          <a:ln w="12700">
            <a:solidFill>
              <a:schemeClr val="bg1"/>
            </a:solidFill>
            <a:round/>
            <a:headEnd/>
            <a:tailEnd/>
          </a:ln>
        </p:spPr>
        <p:txBody>
          <a:bodyPr/>
          <a:lstStyle/>
          <a:p>
            <a:pPr>
              <a:defRPr/>
            </a:pPr>
            <a:endParaRPr lang="nl-NL"/>
          </a:p>
        </p:txBody>
      </p:sp>
      <p:sp>
        <p:nvSpPr>
          <p:cNvPr id="27" name="Freeform 26"/>
          <p:cNvSpPr>
            <a:spLocks noChangeAspect="1"/>
          </p:cNvSpPr>
          <p:nvPr/>
        </p:nvSpPr>
        <p:spPr bwMode="auto">
          <a:xfrm>
            <a:off x="5197442" y="3545062"/>
            <a:ext cx="1129640" cy="926101"/>
          </a:xfrm>
          <a:custGeom>
            <a:avLst/>
            <a:gdLst>
              <a:gd name="T0" fmla="*/ 45 w 721"/>
              <a:gd name="T1" fmla="*/ 3 h 561"/>
              <a:gd name="T2" fmla="*/ 31 w 721"/>
              <a:gd name="T3" fmla="*/ 46 h 561"/>
              <a:gd name="T4" fmla="*/ 42 w 721"/>
              <a:gd name="T5" fmla="*/ 61 h 561"/>
              <a:gd name="T6" fmla="*/ 41 w 721"/>
              <a:gd name="T7" fmla="*/ 70 h 561"/>
              <a:gd name="T8" fmla="*/ 18 w 721"/>
              <a:gd name="T9" fmla="*/ 83 h 561"/>
              <a:gd name="T10" fmla="*/ 0 w 721"/>
              <a:gd name="T11" fmla="*/ 84 h 561"/>
              <a:gd name="T12" fmla="*/ 16 w 721"/>
              <a:gd name="T13" fmla="*/ 124 h 561"/>
              <a:gd name="T14" fmla="*/ 36 w 721"/>
              <a:gd name="T15" fmla="*/ 139 h 561"/>
              <a:gd name="T16" fmla="*/ 36 w 721"/>
              <a:gd name="T17" fmla="*/ 158 h 561"/>
              <a:gd name="T18" fmla="*/ 63 w 721"/>
              <a:gd name="T19" fmla="*/ 175 h 561"/>
              <a:gd name="T20" fmla="*/ 64 w 721"/>
              <a:gd name="T21" fmla="*/ 202 h 561"/>
              <a:gd name="T22" fmla="*/ 77 w 721"/>
              <a:gd name="T23" fmla="*/ 220 h 561"/>
              <a:gd name="T24" fmla="*/ 106 w 721"/>
              <a:gd name="T25" fmla="*/ 215 h 561"/>
              <a:gd name="T26" fmla="*/ 123 w 721"/>
              <a:gd name="T27" fmla="*/ 221 h 561"/>
              <a:gd name="T28" fmla="*/ 151 w 721"/>
              <a:gd name="T29" fmla="*/ 220 h 561"/>
              <a:gd name="T30" fmla="*/ 173 w 721"/>
              <a:gd name="T31" fmla="*/ 221 h 561"/>
              <a:gd name="T32" fmla="*/ 192 w 721"/>
              <a:gd name="T33" fmla="*/ 208 h 561"/>
              <a:gd name="T34" fmla="*/ 221 w 721"/>
              <a:gd name="T35" fmla="*/ 235 h 561"/>
              <a:gd name="T36" fmla="*/ 215 w 721"/>
              <a:gd name="T37" fmla="*/ 249 h 561"/>
              <a:gd name="T38" fmla="*/ 242 w 721"/>
              <a:gd name="T39" fmla="*/ 267 h 561"/>
              <a:gd name="T40" fmla="*/ 250 w 721"/>
              <a:gd name="T41" fmla="*/ 262 h 561"/>
              <a:gd name="T42" fmla="*/ 310 w 721"/>
              <a:gd name="T43" fmla="*/ 315 h 561"/>
              <a:gd name="T44" fmla="*/ 318 w 721"/>
              <a:gd name="T45" fmla="*/ 302 h 561"/>
              <a:gd name="T46" fmla="*/ 357 w 721"/>
              <a:gd name="T47" fmla="*/ 307 h 561"/>
              <a:gd name="T48" fmla="*/ 371 w 721"/>
              <a:gd name="T49" fmla="*/ 381 h 561"/>
              <a:gd name="T50" fmla="*/ 383 w 721"/>
              <a:gd name="T51" fmla="*/ 381 h 561"/>
              <a:gd name="T52" fmla="*/ 400 w 721"/>
              <a:gd name="T53" fmla="*/ 399 h 561"/>
              <a:gd name="T54" fmla="*/ 417 w 721"/>
              <a:gd name="T55" fmla="*/ 371 h 561"/>
              <a:gd name="T56" fmla="*/ 598 w 721"/>
              <a:gd name="T57" fmla="*/ 411 h 561"/>
              <a:gd name="T58" fmla="*/ 705 w 721"/>
              <a:gd name="T59" fmla="*/ 561 h 561"/>
              <a:gd name="T60" fmla="*/ 721 w 721"/>
              <a:gd name="T61" fmla="*/ 419 h 561"/>
              <a:gd name="T62" fmla="*/ 561 w 721"/>
              <a:gd name="T63" fmla="*/ 268 h 561"/>
              <a:gd name="T64" fmla="*/ 218 w 721"/>
              <a:gd name="T65" fmla="*/ 131 h 561"/>
              <a:gd name="T66" fmla="*/ 183 w 721"/>
              <a:gd name="T67" fmla="*/ 98 h 561"/>
              <a:gd name="T68" fmla="*/ 252 w 721"/>
              <a:gd name="T69" fmla="*/ 19 h 561"/>
              <a:gd name="T70" fmla="*/ 222 w 721"/>
              <a:gd name="T71" fmla="*/ 0 h 561"/>
              <a:gd name="T72" fmla="*/ 132 w 721"/>
              <a:gd name="T73" fmla="*/ 1 h 561"/>
              <a:gd name="T74" fmla="*/ 45 w 721"/>
              <a:gd name="T75" fmla="*/ 3 h 561"/>
              <a:gd name="T76" fmla="*/ 45 w 721"/>
              <a:gd name="T77" fmla="*/ 3 h 561"/>
              <a:gd name="T78" fmla="*/ 45 w 721"/>
              <a:gd name="T79" fmla="*/ 3 h 5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1"/>
              <a:gd name="T121" fmla="*/ 0 h 561"/>
              <a:gd name="T122" fmla="*/ 721 w 721"/>
              <a:gd name="T123" fmla="*/ 561 h 56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1" h="561">
                <a:moveTo>
                  <a:pt x="45" y="3"/>
                </a:moveTo>
                <a:lnTo>
                  <a:pt x="31" y="46"/>
                </a:lnTo>
                <a:lnTo>
                  <a:pt x="42" y="61"/>
                </a:lnTo>
                <a:lnTo>
                  <a:pt x="41" y="70"/>
                </a:lnTo>
                <a:lnTo>
                  <a:pt x="18" y="83"/>
                </a:lnTo>
                <a:lnTo>
                  <a:pt x="0" y="84"/>
                </a:lnTo>
                <a:lnTo>
                  <a:pt x="16" y="124"/>
                </a:lnTo>
                <a:lnTo>
                  <a:pt x="36" y="139"/>
                </a:lnTo>
                <a:lnTo>
                  <a:pt x="36" y="158"/>
                </a:lnTo>
                <a:lnTo>
                  <a:pt x="63" y="175"/>
                </a:lnTo>
                <a:lnTo>
                  <a:pt x="64" y="202"/>
                </a:lnTo>
                <a:lnTo>
                  <a:pt x="77" y="220"/>
                </a:lnTo>
                <a:lnTo>
                  <a:pt x="106" y="215"/>
                </a:lnTo>
                <a:lnTo>
                  <a:pt x="123" y="221"/>
                </a:lnTo>
                <a:lnTo>
                  <a:pt x="151" y="220"/>
                </a:lnTo>
                <a:lnTo>
                  <a:pt x="173" y="221"/>
                </a:lnTo>
                <a:lnTo>
                  <a:pt x="192" y="208"/>
                </a:lnTo>
                <a:lnTo>
                  <a:pt x="221" y="235"/>
                </a:lnTo>
                <a:lnTo>
                  <a:pt x="215" y="249"/>
                </a:lnTo>
                <a:lnTo>
                  <a:pt x="242" y="267"/>
                </a:lnTo>
                <a:lnTo>
                  <a:pt x="250" y="262"/>
                </a:lnTo>
                <a:lnTo>
                  <a:pt x="310" y="315"/>
                </a:lnTo>
                <a:lnTo>
                  <a:pt x="318" y="302"/>
                </a:lnTo>
                <a:lnTo>
                  <a:pt x="357" y="307"/>
                </a:lnTo>
                <a:lnTo>
                  <a:pt x="371" y="381"/>
                </a:lnTo>
                <a:lnTo>
                  <a:pt x="383" y="381"/>
                </a:lnTo>
                <a:lnTo>
                  <a:pt x="400" y="399"/>
                </a:lnTo>
                <a:lnTo>
                  <a:pt x="417" y="371"/>
                </a:lnTo>
                <a:lnTo>
                  <a:pt x="598" y="411"/>
                </a:lnTo>
                <a:lnTo>
                  <a:pt x="705" y="561"/>
                </a:lnTo>
                <a:lnTo>
                  <a:pt x="721" y="419"/>
                </a:lnTo>
                <a:lnTo>
                  <a:pt x="561" y="268"/>
                </a:lnTo>
                <a:lnTo>
                  <a:pt x="218" y="131"/>
                </a:lnTo>
                <a:lnTo>
                  <a:pt x="183" y="98"/>
                </a:lnTo>
                <a:lnTo>
                  <a:pt x="252" y="19"/>
                </a:lnTo>
                <a:lnTo>
                  <a:pt x="222" y="0"/>
                </a:lnTo>
                <a:lnTo>
                  <a:pt x="132" y="1"/>
                </a:lnTo>
                <a:lnTo>
                  <a:pt x="45" y="3"/>
                </a:lnTo>
                <a:close/>
              </a:path>
            </a:pathLst>
          </a:custGeom>
          <a:solidFill>
            <a:schemeClr val="accent3"/>
          </a:solidFill>
          <a:ln w="12700">
            <a:solidFill>
              <a:schemeClr val="bg1"/>
            </a:solidFill>
            <a:round/>
            <a:headEnd/>
            <a:tailEnd/>
          </a:ln>
        </p:spPr>
        <p:txBody>
          <a:bodyPr/>
          <a:lstStyle/>
          <a:p>
            <a:pPr>
              <a:defRPr/>
            </a:pPr>
            <a:endParaRPr lang="nl-NL"/>
          </a:p>
        </p:txBody>
      </p:sp>
      <p:sp>
        <p:nvSpPr>
          <p:cNvPr id="28" name="Freeform 27"/>
          <p:cNvSpPr>
            <a:spLocks noChangeAspect="1"/>
          </p:cNvSpPr>
          <p:nvPr/>
        </p:nvSpPr>
        <p:spPr bwMode="auto">
          <a:xfrm>
            <a:off x="5472459" y="4305899"/>
            <a:ext cx="477583" cy="965079"/>
          </a:xfrm>
          <a:custGeom>
            <a:avLst/>
            <a:gdLst>
              <a:gd name="T0" fmla="*/ 195 w 305"/>
              <a:gd name="T1" fmla="*/ 1 h 584"/>
              <a:gd name="T2" fmla="*/ 162 w 305"/>
              <a:gd name="T3" fmla="*/ 0 h 584"/>
              <a:gd name="T4" fmla="*/ 132 w 305"/>
              <a:gd name="T5" fmla="*/ 0 h 584"/>
              <a:gd name="T6" fmla="*/ 132 w 305"/>
              <a:gd name="T7" fmla="*/ 15 h 584"/>
              <a:gd name="T8" fmla="*/ 120 w 305"/>
              <a:gd name="T9" fmla="*/ 46 h 584"/>
              <a:gd name="T10" fmla="*/ 123 w 305"/>
              <a:gd name="T11" fmla="*/ 58 h 584"/>
              <a:gd name="T12" fmla="*/ 107 w 305"/>
              <a:gd name="T13" fmla="*/ 56 h 584"/>
              <a:gd name="T14" fmla="*/ 67 w 305"/>
              <a:gd name="T15" fmla="*/ 66 h 584"/>
              <a:gd name="T16" fmla="*/ 51 w 305"/>
              <a:gd name="T17" fmla="*/ 42 h 584"/>
              <a:gd name="T18" fmla="*/ 16 w 305"/>
              <a:gd name="T19" fmla="*/ 42 h 584"/>
              <a:gd name="T20" fmla="*/ 0 w 305"/>
              <a:gd name="T21" fmla="*/ 61 h 584"/>
              <a:gd name="T22" fmla="*/ 100 w 305"/>
              <a:gd name="T23" fmla="*/ 343 h 584"/>
              <a:gd name="T24" fmla="*/ 56 w 305"/>
              <a:gd name="T25" fmla="*/ 370 h 584"/>
              <a:gd name="T26" fmla="*/ 31 w 305"/>
              <a:gd name="T27" fmla="*/ 412 h 584"/>
              <a:gd name="T28" fmla="*/ 41 w 305"/>
              <a:gd name="T29" fmla="*/ 444 h 584"/>
              <a:gd name="T30" fmla="*/ 8 w 305"/>
              <a:gd name="T31" fmla="*/ 480 h 584"/>
              <a:gd name="T32" fmla="*/ 8 w 305"/>
              <a:gd name="T33" fmla="*/ 573 h 584"/>
              <a:gd name="T34" fmla="*/ 79 w 305"/>
              <a:gd name="T35" fmla="*/ 584 h 584"/>
              <a:gd name="T36" fmla="*/ 165 w 305"/>
              <a:gd name="T37" fmla="*/ 449 h 584"/>
              <a:gd name="T38" fmla="*/ 179 w 305"/>
              <a:gd name="T39" fmla="*/ 353 h 584"/>
              <a:gd name="T40" fmla="*/ 305 w 305"/>
              <a:gd name="T41" fmla="*/ 291 h 584"/>
              <a:gd name="T42" fmla="*/ 296 w 305"/>
              <a:gd name="T43" fmla="*/ 191 h 584"/>
              <a:gd name="T44" fmla="*/ 219 w 305"/>
              <a:gd name="T45" fmla="*/ 130 h 584"/>
              <a:gd name="T46" fmla="*/ 162 w 305"/>
              <a:gd name="T47" fmla="*/ 130 h 584"/>
              <a:gd name="T48" fmla="*/ 149 w 305"/>
              <a:gd name="T49" fmla="*/ 98 h 584"/>
              <a:gd name="T50" fmla="*/ 182 w 305"/>
              <a:gd name="T51" fmla="*/ 26 h 584"/>
              <a:gd name="T52" fmla="*/ 195 w 305"/>
              <a:gd name="T53" fmla="*/ 1 h 584"/>
              <a:gd name="T54" fmla="*/ 195 w 305"/>
              <a:gd name="T55" fmla="*/ 1 h 584"/>
              <a:gd name="T56" fmla="*/ 195 w 305"/>
              <a:gd name="T57" fmla="*/ 1 h 58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05"/>
              <a:gd name="T88" fmla="*/ 0 h 584"/>
              <a:gd name="T89" fmla="*/ 305 w 305"/>
              <a:gd name="T90" fmla="*/ 584 h 58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05" h="584">
                <a:moveTo>
                  <a:pt x="195" y="1"/>
                </a:moveTo>
                <a:lnTo>
                  <a:pt x="162" y="0"/>
                </a:lnTo>
                <a:lnTo>
                  <a:pt x="132" y="0"/>
                </a:lnTo>
                <a:lnTo>
                  <a:pt x="132" y="15"/>
                </a:lnTo>
                <a:lnTo>
                  <a:pt x="120" y="46"/>
                </a:lnTo>
                <a:lnTo>
                  <a:pt x="123" y="58"/>
                </a:lnTo>
                <a:lnTo>
                  <a:pt x="107" y="56"/>
                </a:lnTo>
                <a:lnTo>
                  <a:pt x="67" y="66"/>
                </a:lnTo>
                <a:lnTo>
                  <a:pt x="51" y="42"/>
                </a:lnTo>
                <a:lnTo>
                  <a:pt x="16" y="42"/>
                </a:lnTo>
                <a:lnTo>
                  <a:pt x="0" y="61"/>
                </a:lnTo>
                <a:lnTo>
                  <a:pt x="100" y="343"/>
                </a:lnTo>
                <a:lnTo>
                  <a:pt x="56" y="370"/>
                </a:lnTo>
                <a:lnTo>
                  <a:pt x="31" y="412"/>
                </a:lnTo>
                <a:lnTo>
                  <a:pt x="41" y="444"/>
                </a:lnTo>
                <a:lnTo>
                  <a:pt x="8" y="480"/>
                </a:lnTo>
                <a:lnTo>
                  <a:pt x="8" y="573"/>
                </a:lnTo>
                <a:lnTo>
                  <a:pt x="79" y="584"/>
                </a:lnTo>
                <a:lnTo>
                  <a:pt x="165" y="449"/>
                </a:lnTo>
                <a:lnTo>
                  <a:pt x="179" y="353"/>
                </a:lnTo>
                <a:lnTo>
                  <a:pt x="305" y="291"/>
                </a:lnTo>
                <a:lnTo>
                  <a:pt x="296" y="191"/>
                </a:lnTo>
                <a:lnTo>
                  <a:pt x="219" y="130"/>
                </a:lnTo>
                <a:lnTo>
                  <a:pt x="162" y="130"/>
                </a:lnTo>
                <a:lnTo>
                  <a:pt x="149" y="98"/>
                </a:lnTo>
                <a:lnTo>
                  <a:pt x="182" y="26"/>
                </a:lnTo>
                <a:lnTo>
                  <a:pt x="195" y="1"/>
                </a:lnTo>
                <a:close/>
              </a:path>
            </a:pathLst>
          </a:custGeom>
          <a:solidFill>
            <a:schemeClr val="accent3"/>
          </a:solidFill>
          <a:ln w="12700">
            <a:solidFill>
              <a:schemeClr val="bg1"/>
            </a:solidFill>
            <a:round/>
            <a:headEnd/>
            <a:tailEnd/>
          </a:ln>
        </p:spPr>
        <p:txBody>
          <a:bodyPr/>
          <a:lstStyle/>
          <a:p>
            <a:pPr>
              <a:defRPr/>
            </a:pPr>
            <a:endParaRPr lang="nl-NL"/>
          </a:p>
        </p:txBody>
      </p:sp>
      <p:sp>
        <p:nvSpPr>
          <p:cNvPr id="29"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1681" name="Title 1"/>
          <p:cNvSpPr>
            <a:spLocks noGrp="1"/>
          </p:cNvSpPr>
          <p:nvPr>
            <p:ph type="title"/>
          </p:nvPr>
        </p:nvSpPr>
        <p:spPr>
          <a:xfrm>
            <a:off x="414338" y="446038"/>
            <a:ext cx="8330184" cy="333425"/>
          </a:xfrm>
        </p:spPr>
        <p:txBody>
          <a:bodyPr/>
          <a:lstStyle/>
          <a:p>
            <a:r>
              <a:rPr lang="nl-NL"/>
              <a:t>Maps </a:t>
            </a:r>
            <a:r>
              <a:rPr lang="en-US"/>
              <a:t>—</a:t>
            </a:r>
            <a:r>
              <a:rPr lang="nl-NL" smtClean="0"/>
              <a:t> </a:t>
            </a:r>
            <a:r>
              <a:rPr lang="nl-NL"/>
              <a:t>France</a:t>
            </a:r>
          </a:p>
        </p:txBody>
      </p:sp>
      <p:sp>
        <p:nvSpPr>
          <p:cNvPr id="6" name="Freeform 8"/>
          <p:cNvSpPr>
            <a:spLocks noChangeAspect="1"/>
          </p:cNvSpPr>
          <p:nvPr/>
        </p:nvSpPr>
        <p:spPr bwMode="auto">
          <a:xfrm>
            <a:off x="4502101" y="1447414"/>
            <a:ext cx="464269" cy="418827"/>
          </a:xfrm>
          <a:custGeom>
            <a:avLst/>
            <a:gdLst>
              <a:gd name="T0" fmla="*/ 176 w 537"/>
              <a:gd name="T1" fmla="*/ 0 h 447"/>
              <a:gd name="T2" fmla="*/ 11 w 537"/>
              <a:gd name="T3" fmla="*/ 44 h 447"/>
              <a:gd name="T4" fmla="*/ 0 w 537"/>
              <a:gd name="T5" fmla="*/ 301 h 447"/>
              <a:gd name="T6" fmla="*/ 133 w 537"/>
              <a:gd name="T7" fmla="*/ 310 h 447"/>
              <a:gd name="T8" fmla="*/ 189 w 537"/>
              <a:gd name="T9" fmla="*/ 373 h 447"/>
              <a:gd name="T10" fmla="*/ 299 w 537"/>
              <a:gd name="T11" fmla="*/ 373 h 447"/>
              <a:gd name="T12" fmla="*/ 299 w 537"/>
              <a:gd name="T13" fmla="*/ 418 h 447"/>
              <a:gd name="T14" fmla="*/ 387 w 537"/>
              <a:gd name="T15" fmla="*/ 418 h 447"/>
              <a:gd name="T16" fmla="*/ 387 w 537"/>
              <a:gd name="T17" fmla="*/ 447 h 447"/>
              <a:gd name="T18" fmla="*/ 508 w 537"/>
              <a:gd name="T19" fmla="*/ 447 h 447"/>
              <a:gd name="T20" fmla="*/ 537 w 537"/>
              <a:gd name="T21" fmla="*/ 379 h 447"/>
              <a:gd name="T22" fmla="*/ 501 w 537"/>
              <a:gd name="T23" fmla="*/ 350 h 447"/>
              <a:gd name="T24" fmla="*/ 504 w 537"/>
              <a:gd name="T25" fmla="*/ 274 h 447"/>
              <a:gd name="T26" fmla="*/ 451 w 537"/>
              <a:gd name="T27" fmla="*/ 251 h 447"/>
              <a:gd name="T28" fmla="*/ 419 w 537"/>
              <a:gd name="T29" fmla="*/ 195 h 447"/>
              <a:gd name="T30" fmla="*/ 375 w 537"/>
              <a:gd name="T31" fmla="*/ 190 h 447"/>
              <a:gd name="T32" fmla="*/ 246 w 537"/>
              <a:gd name="T33" fmla="*/ 158 h 447"/>
              <a:gd name="T34" fmla="*/ 271 w 537"/>
              <a:gd name="T35" fmla="*/ 101 h 447"/>
              <a:gd name="T36" fmla="*/ 203 w 537"/>
              <a:gd name="T37" fmla="*/ 84 h 447"/>
              <a:gd name="T38" fmla="*/ 176 w 537"/>
              <a:gd name="T39" fmla="*/ 0 h 447"/>
              <a:gd name="T40" fmla="*/ 176 w 537"/>
              <a:gd name="T41" fmla="*/ 0 h 4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7"/>
              <a:gd name="T64" fmla="*/ 0 h 447"/>
              <a:gd name="T65" fmla="*/ 537 w 537"/>
              <a:gd name="T66" fmla="*/ 447 h 44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7" h="447">
                <a:moveTo>
                  <a:pt x="176" y="0"/>
                </a:moveTo>
                <a:lnTo>
                  <a:pt x="11" y="44"/>
                </a:lnTo>
                <a:lnTo>
                  <a:pt x="0" y="301"/>
                </a:lnTo>
                <a:lnTo>
                  <a:pt x="133" y="310"/>
                </a:lnTo>
                <a:lnTo>
                  <a:pt x="189" y="373"/>
                </a:lnTo>
                <a:lnTo>
                  <a:pt x="299" y="373"/>
                </a:lnTo>
                <a:lnTo>
                  <a:pt x="299" y="418"/>
                </a:lnTo>
                <a:lnTo>
                  <a:pt x="387" y="418"/>
                </a:lnTo>
                <a:lnTo>
                  <a:pt x="387" y="447"/>
                </a:lnTo>
                <a:lnTo>
                  <a:pt x="508" y="447"/>
                </a:lnTo>
                <a:lnTo>
                  <a:pt x="537" y="379"/>
                </a:lnTo>
                <a:lnTo>
                  <a:pt x="501" y="350"/>
                </a:lnTo>
                <a:lnTo>
                  <a:pt x="504" y="274"/>
                </a:lnTo>
                <a:lnTo>
                  <a:pt x="451" y="251"/>
                </a:lnTo>
                <a:lnTo>
                  <a:pt x="419" y="195"/>
                </a:lnTo>
                <a:lnTo>
                  <a:pt x="375" y="190"/>
                </a:lnTo>
                <a:lnTo>
                  <a:pt x="246" y="158"/>
                </a:lnTo>
                <a:lnTo>
                  <a:pt x="271" y="101"/>
                </a:lnTo>
                <a:lnTo>
                  <a:pt x="203" y="84"/>
                </a:lnTo>
                <a:lnTo>
                  <a:pt x="176" y="0"/>
                </a:lnTo>
                <a:close/>
              </a:path>
            </a:pathLst>
          </a:custGeom>
          <a:solidFill>
            <a:schemeClr val="accent3"/>
          </a:solidFill>
          <a:ln w="12700">
            <a:solidFill>
              <a:schemeClr val="bg1"/>
            </a:solidFill>
            <a:round/>
            <a:headEnd/>
            <a:tailEnd/>
          </a:ln>
        </p:spPr>
        <p:txBody>
          <a:bodyPr/>
          <a:lstStyle/>
          <a:p>
            <a:pPr>
              <a:defRPr/>
            </a:pPr>
            <a:endParaRPr lang="nl-NL"/>
          </a:p>
        </p:txBody>
      </p:sp>
      <p:sp>
        <p:nvSpPr>
          <p:cNvPr id="7" name="Freeform 9"/>
          <p:cNvSpPr>
            <a:spLocks noChangeAspect="1"/>
          </p:cNvSpPr>
          <p:nvPr/>
        </p:nvSpPr>
        <p:spPr bwMode="auto">
          <a:xfrm>
            <a:off x="5611858" y="2522527"/>
            <a:ext cx="498787" cy="317860"/>
          </a:xfrm>
          <a:custGeom>
            <a:avLst/>
            <a:gdLst>
              <a:gd name="T0" fmla="*/ 539 w 580"/>
              <a:gd name="T1" fmla="*/ 0 h 340"/>
              <a:gd name="T2" fmla="*/ 539 w 580"/>
              <a:gd name="T3" fmla="*/ 55 h 340"/>
              <a:gd name="T4" fmla="*/ 580 w 580"/>
              <a:gd name="T5" fmla="*/ 91 h 340"/>
              <a:gd name="T6" fmla="*/ 528 w 580"/>
              <a:gd name="T7" fmla="*/ 165 h 340"/>
              <a:gd name="T8" fmla="*/ 524 w 580"/>
              <a:gd name="T9" fmla="*/ 170 h 340"/>
              <a:gd name="T10" fmla="*/ 475 w 580"/>
              <a:gd name="T11" fmla="*/ 340 h 340"/>
              <a:gd name="T12" fmla="*/ 396 w 580"/>
              <a:gd name="T13" fmla="*/ 292 h 340"/>
              <a:gd name="T14" fmla="*/ 342 w 580"/>
              <a:gd name="T15" fmla="*/ 287 h 340"/>
              <a:gd name="T16" fmla="*/ 247 w 580"/>
              <a:gd name="T17" fmla="*/ 287 h 340"/>
              <a:gd name="T18" fmla="*/ 228 w 580"/>
              <a:gd name="T19" fmla="*/ 260 h 340"/>
              <a:gd name="T20" fmla="*/ 121 w 580"/>
              <a:gd name="T21" fmla="*/ 296 h 340"/>
              <a:gd name="T22" fmla="*/ 114 w 580"/>
              <a:gd name="T23" fmla="*/ 243 h 340"/>
              <a:gd name="T24" fmla="*/ 72 w 580"/>
              <a:gd name="T25" fmla="*/ 222 h 340"/>
              <a:gd name="T26" fmla="*/ 76 w 580"/>
              <a:gd name="T27" fmla="*/ 155 h 340"/>
              <a:gd name="T28" fmla="*/ 30 w 580"/>
              <a:gd name="T29" fmla="*/ 114 h 340"/>
              <a:gd name="T30" fmla="*/ 4 w 580"/>
              <a:gd name="T31" fmla="*/ 114 h 340"/>
              <a:gd name="T32" fmla="*/ 0 w 580"/>
              <a:gd name="T33" fmla="*/ 76 h 340"/>
              <a:gd name="T34" fmla="*/ 142 w 580"/>
              <a:gd name="T35" fmla="*/ 18 h 340"/>
              <a:gd name="T36" fmla="*/ 180 w 580"/>
              <a:gd name="T37" fmla="*/ 112 h 340"/>
              <a:gd name="T38" fmla="*/ 440 w 580"/>
              <a:gd name="T39" fmla="*/ 55 h 340"/>
              <a:gd name="T40" fmla="*/ 539 w 580"/>
              <a:gd name="T41" fmla="*/ 0 h 340"/>
              <a:gd name="T42" fmla="*/ 539 w 580"/>
              <a:gd name="T43" fmla="*/ 0 h 3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80"/>
              <a:gd name="T67" fmla="*/ 0 h 340"/>
              <a:gd name="T68" fmla="*/ 580 w 580"/>
              <a:gd name="T69" fmla="*/ 340 h 3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80" h="340">
                <a:moveTo>
                  <a:pt x="539" y="0"/>
                </a:moveTo>
                <a:lnTo>
                  <a:pt x="539" y="55"/>
                </a:lnTo>
                <a:lnTo>
                  <a:pt x="580" y="91"/>
                </a:lnTo>
                <a:lnTo>
                  <a:pt x="528" y="165"/>
                </a:lnTo>
                <a:lnTo>
                  <a:pt x="524" y="170"/>
                </a:lnTo>
                <a:lnTo>
                  <a:pt x="475" y="340"/>
                </a:lnTo>
                <a:lnTo>
                  <a:pt x="396" y="292"/>
                </a:lnTo>
                <a:lnTo>
                  <a:pt x="342" y="287"/>
                </a:lnTo>
                <a:lnTo>
                  <a:pt x="247" y="287"/>
                </a:lnTo>
                <a:lnTo>
                  <a:pt x="228" y="260"/>
                </a:lnTo>
                <a:lnTo>
                  <a:pt x="121" y="296"/>
                </a:lnTo>
                <a:lnTo>
                  <a:pt x="114" y="243"/>
                </a:lnTo>
                <a:lnTo>
                  <a:pt x="72" y="222"/>
                </a:lnTo>
                <a:lnTo>
                  <a:pt x="76" y="155"/>
                </a:lnTo>
                <a:lnTo>
                  <a:pt x="30" y="114"/>
                </a:lnTo>
                <a:lnTo>
                  <a:pt x="4" y="114"/>
                </a:lnTo>
                <a:lnTo>
                  <a:pt x="0" y="76"/>
                </a:lnTo>
                <a:lnTo>
                  <a:pt x="142" y="18"/>
                </a:lnTo>
                <a:lnTo>
                  <a:pt x="180" y="112"/>
                </a:lnTo>
                <a:lnTo>
                  <a:pt x="440" y="55"/>
                </a:lnTo>
                <a:lnTo>
                  <a:pt x="539" y="0"/>
                </a:lnTo>
                <a:close/>
              </a:path>
            </a:pathLst>
          </a:custGeom>
          <a:solidFill>
            <a:schemeClr val="accent3"/>
          </a:solidFill>
          <a:ln w="12700">
            <a:solidFill>
              <a:schemeClr val="bg1"/>
            </a:solidFill>
            <a:round/>
            <a:headEnd/>
            <a:tailEnd/>
          </a:ln>
        </p:spPr>
        <p:txBody>
          <a:bodyPr/>
          <a:lstStyle/>
          <a:p>
            <a:pPr>
              <a:defRPr/>
            </a:pPr>
            <a:endParaRPr lang="nl-NL"/>
          </a:p>
        </p:txBody>
      </p:sp>
      <p:sp>
        <p:nvSpPr>
          <p:cNvPr id="8" name="Freeform 10"/>
          <p:cNvSpPr>
            <a:spLocks noChangeAspect="1"/>
          </p:cNvSpPr>
          <p:nvPr/>
        </p:nvSpPr>
        <p:spPr bwMode="auto">
          <a:xfrm>
            <a:off x="4453775" y="1727878"/>
            <a:ext cx="498787" cy="349646"/>
          </a:xfrm>
          <a:custGeom>
            <a:avLst/>
            <a:gdLst>
              <a:gd name="T0" fmla="*/ 57 w 579"/>
              <a:gd name="T1" fmla="*/ 0 h 373"/>
              <a:gd name="T2" fmla="*/ 57 w 579"/>
              <a:gd name="T3" fmla="*/ 40 h 373"/>
              <a:gd name="T4" fmla="*/ 120 w 579"/>
              <a:gd name="T5" fmla="*/ 108 h 373"/>
              <a:gd name="T6" fmla="*/ 38 w 579"/>
              <a:gd name="T7" fmla="*/ 78 h 373"/>
              <a:gd name="T8" fmla="*/ 0 w 579"/>
              <a:gd name="T9" fmla="*/ 160 h 373"/>
              <a:gd name="T10" fmla="*/ 44 w 579"/>
              <a:gd name="T11" fmla="*/ 160 h 373"/>
              <a:gd name="T12" fmla="*/ 117 w 579"/>
              <a:gd name="T13" fmla="*/ 236 h 373"/>
              <a:gd name="T14" fmla="*/ 125 w 579"/>
              <a:gd name="T15" fmla="*/ 306 h 373"/>
              <a:gd name="T16" fmla="*/ 189 w 579"/>
              <a:gd name="T17" fmla="*/ 336 h 373"/>
              <a:gd name="T18" fmla="*/ 313 w 579"/>
              <a:gd name="T19" fmla="*/ 336 h 373"/>
              <a:gd name="T20" fmla="*/ 401 w 579"/>
              <a:gd name="T21" fmla="*/ 373 h 373"/>
              <a:gd name="T22" fmla="*/ 485 w 579"/>
              <a:gd name="T23" fmla="*/ 325 h 373"/>
              <a:gd name="T24" fmla="*/ 565 w 579"/>
              <a:gd name="T25" fmla="*/ 333 h 373"/>
              <a:gd name="T26" fmla="*/ 550 w 579"/>
              <a:gd name="T27" fmla="*/ 249 h 373"/>
              <a:gd name="T28" fmla="*/ 579 w 579"/>
              <a:gd name="T29" fmla="*/ 146 h 373"/>
              <a:gd name="T30" fmla="*/ 444 w 579"/>
              <a:gd name="T31" fmla="*/ 146 h 373"/>
              <a:gd name="T32" fmla="*/ 444 w 579"/>
              <a:gd name="T33" fmla="*/ 117 h 373"/>
              <a:gd name="T34" fmla="*/ 357 w 579"/>
              <a:gd name="T35" fmla="*/ 117 h 373"/>
              <a:gd name="T36" fmla="*/ 357 w 579"/>
              <a:gd name="T37" fmla="*/ 73 h 373"/>
              <a:gd name="T38" fmla="*/ 246 w 579"/>
              <a:gd name="T39" fmla="*/ 73 h 373"/>
              <a:gd name="T40" fmla="*/ 189 w 579"/>
              <a:gd name="T41" fmla="*/ 9 h 373"/>
              <a:gd name="T42" fmla="*/ 57 w 579"/>
              <a:gd name="T43" fmla="*/ 0 h 373"/>
              <a:gd name="T44" fmla="*/ 57 w 579"/>
              <a:gd name="T45" fmla="*/ 0 h 37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79"/>
              <a:gd name="T70" fmla="*/ 0 h 373"/>
              <a:gd name="T71" fmla="*/ 579 w 579"/>
              <a:gd name="T72" fmla="*/ 373 h 37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79" h="373">
                <a:moveTo>
                  <a:pt x="57" y="0"/>
                </a:moveTo>
                <a:lnTo>
                  <a:pt x="57" y="40"/>
                </a:lnTo>
                <a:lnTo>
                  <a:pt x="120" y="108"/>
                </a:lnTo>
                <a:lnTo>
                  <a:pt x="38" y="78"/>
                </a:lnTo>
                <a:lnTo>
                  <a:pt x="0" y="160"/>
                </a:lnTo>
                <a:lnTo>
                  <a:pt x="44" y="160"/>
                </a:lnTo>
                <a:lnTo>
                  <a:pt x="117" y="236"/>
                </a:lnTo>
                <a:lnTo>
                  <a:pt x="125" y="306"/>
                </a:lnTo>
                <a:lnTo>
                  <a:pt x="189" y="336"/>
                </a:lnTo>
                <a:lnTo>
                  <a:pt x="313" y="336"/>
                </a:lnTo>
                <a:lnTo>
                  <a:pt x="401" y="373"/>
                </a:lnTo>
                <a:lnTo>
                  <a:pt x="485" y="325"/>
                </a:lnTo>
                <a:lnTo>
                  <a:pt x="565" y="333"/>
                </a:lnTo>
                <a:lnTo>
                  <a:pt x="550" y="249"/>
                </a:lnTo>
                <a:lnTo>
                  <a:pt x="579" y="146"/>
                </a:lnTo>
                <a:lnTo>
                  <a:pt x="444" y="146"/>
                </a:lnTo>
                <a:lnTo>
                  <a:pt x="444" y="117"/>
                </a:lnTo>
                <a:lnTo>
                  <a:pt x="357" y="117"/>
                </a:lnTo>
                <a:lnTo>
                  <a:pt x="357" y="73"/>
                </a:lnTo>
                <a:lnTo>
                  <a:pt x="246" y="73"/>
                </a:lnTo>
                <a:lnTo>
                  <a:pt x="189" y="9"/>
                </a:lnTo>
                <a:lnTo>
                  <a:pt x="57" y="0"/>
                </a:lnTo>
                <a:close/>
              </a:path>
            </a:pathLst>
          </a:custGeom>
          <a:solidFill>
            <a:schemeClr val="accent3"/>
          </a:solidFill>
          <a:ln w="12700">
            <a:solidFill>
              <a:schemeClr val="bg1"/>
            </a:solidFill>
            <a:round/>
            <a:headEnd/>
            <a:tailEnd/>
          </a:ln>
        </p:spPr>
        <p:txBody>
          <a:bodyPr/>
          <a:lstStyle/>
          <a:p>
            <a:pPr>
              <a:defRPr/>
            </a:pPr>
            <a:endParaRPr lang="nl-NL"/>
          </a:p>
        </p:txBody>
      </p:sp>
      <p:sp>
        <p:nvSpPr>
          <p:cNvPr id="9" name="Freeform 11"/>
          <p:cNvSpPr>
            <a:spLocks noChangeAspect="1"/>
          </p:cNvSpPr>
          <p:nvPr/>
        </p:nvSpPr>
        <p:spPr bwMode="auto">
          <a:xfrm>
            <a:off x="4911141" y="1840064"/>
            <a:ext cx="331374" cy="575887"/>
          </a:xfrm>
          <a:custGeom>
            <a:avLst/>
            <a:gdLst>
              <a:gd name="T0" fmla="*/ 50 w 386"/>
              <a:gd name="T1" fmla="*/ 26 h 616"/>
              <a:gd name="T2" fmla="*/ 21 w 386"/>
              <a:gd name="T3" fmla="*/ 129 h 616"/>
              <a:gd name="T4" fmla="*/ 36 w 386"/>
              <a:gd name="T5" fmla="*/ 214 h 616"/>
              <a:gd name="T6" fmla="*/ 46 w 386"/>
              <a:gd name="T7" fmla="*/ 317 h 616"/>
              <a:gd name="T8" fmla="*/ 0 w 386"/>
              <a:gd name="T9" fmla="*/ 391 h 616"/>
              <a:gd name="T10" fmla="*/ 14 w 386"/>
              <a:gd name="T11" fmla="*/ 427 h 616"/>
              <a:gd name="T12" fmla="*/ 8 w 386"/>
              <a:gd name="T13" fmla="*/ 456 h 616"/>
              <a:gd name="T14" fmla="*/ 74 w 386"/>
              <a:gd name="T15" fmla="*/ 564 h 616"/>
              <a:gd name="T16" fmla="*/ 166 w 386"/>
              <a:gd name="T17" fmla="*/ 616 h 616"/>
              <a:gd name="T18" fmla="*/ 232 w 386"/>
              <a:gd name="T19" fmla="*/ 535 h 616"/>
              <a:gd name="T20" fmla="*/ 187 w 386"/>
              <a:gd name="T21" fmla="*/ 508 h 616"/>
              <a:gd name="T22" fmla="*/ 252 w 386"/>
              <a:gd name="T23" fmla="*/ 470 h 616"/>
              <a:gd name="T24" fmla="*/ 214 w 386"/>
              <a:gd name="T25" fmla="*/ 399 h 616"/>
              <a:gd name="T26" fmla="*/ 290 w 386"/>
              <a:gd name="T27" fmla="*/ 350 h 616"/>
              <a:gd name="T28" fmla="*/ 339 w 386"/>
              <a:gd name="T29" fmla="*/ 336 h 616"/>
              <a:gd name="T30" fmla="*/ 339 w 386"/>
              <a:gd name="T31" fmla="*/ 230 h 616"/>
              <a:gd name="T32" fmla="*/ 386 w 386"/>
              <a:gd name="T33" fmla="*/ 157 h 616"/>
              <a:gd name="T34" fmla="*/ 386 w 386"/>
              <a:gd name="T35" fmla="*/ 41 h 616"/>
              <a:gd name="T36" fmla="*/ 226 w 386"/>
              <a:gd name="T37" fmla="*/ 0 h 616"/>
              <a:gd name="T38" fmla="*/ 192 w 386"/>
              <a:gd name="T39" fmla="*/ 26 h 616"/>
              <a:gd name="T40" fmla="*/ 50 w 386"/>
              <a:gd name="T41" fmla="*/ 26 h 616"/>
              <a:gd name="T42" fmla="*/ 50 w 386"/>
              <a:gd name="T43" fmla="*/ 26 h 61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86"/>
              <a:gd name="T67" fmla="*/ 0 h 616"/>
              <a:gd name="T68" fmla="*/ 386 w 386"/>
              <a:gd name="T69" fmla="*/ 616 h 61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86" h="616">
                <a:moveTo>
                  <a:pt x="50" y="26"/>
                </a:moveTo>
                <a:lnTo>
                  <a:pt x="21" y="129"/>
                </a:lnTo>
                <a:lnTo>
                  <a:pt x="36" y="214"/>
                </a:lnTo>
                <a:lnTo>
                  <a:pt x="46" y="317"/>
                </a:lnTo>
                <a:lnTo>
                  <a:pt x="0" y="391"/>
                </a:lnTo>
                <a:lnTo>
                  <a:pt x="14" y="427"/>
                </a:lnTo>
                <a:lnTo>
                  <a:pt x="8" y="456"/>
                </a:lnTo>
                <a:lnTo>
                  <a:pt x="74" y="564"/>
                </a:lnTo>
                <a:lnTo>
                  <a:pt x="166" y="616"/>
                </a:lnTo>
                <a:lnTo>
                  <a:pt x="232" y="535"/>
                </a:lnTo>
                <a:lnTo>
                  <a:pt x="187" y="508"/>
                </a:lnTo>
                <a:lnTo>
                  <a:pt x="252" y="470"/>
                </a:lnTo>
                <a:lnTo>
                  <a:pt x="214" y="399"/>
                </a:lnTo>
                <a:lnTo>
                  <a:pt x="290" y="350"/>
                </a:lnTo>
                <a:lnTo>
                  <a:pt x="339" y="336"/>
                </a:lnTo>
                <a:lnTo>
                  <a:pt x="339" y="230"/>
                </a:lnTo>
                <a:lnTo>
                  <a:pt x="386" y="157"/>
                </a:lnTo>
                <a:lnTo>
                  <a:pt x="386" y="41"/>
                </a:lnTo>
                <a:lnTo>
                  <a:pt x="226" y="0"/>
                </a:lnTo>
                <a:lnTo>
                  <a:pt x="192" y="26"/>
                </a:lnTo>
                <a:lnTo>
                  <a:pt x="50" y="26"/>
                </a:lnTo>
                <a:close/>
              </a:path>
            </a:pathLst>
          </a:custGeom>
          <a:solidFill>
            <a:schemeClr val="accent3"/>
          </a:solidFill>
          <a:ln w="12700">
            <a:solidFill>
              <a:schemeClr val="bg1"/>
            </a:solidFill>
            <a:round/>
            <a:headEnd/>
            <a:tailEnd/>
          </a:ln>
        </p:spPr>
        <p:txBody>
          <a:bodyPr/>
          <a:lstStyle/>
          <a:p>
            <a:pPr>
              <a:defRPr/>
            </a:pPr>
            <a:endParaRPr lang="nl-NL"/>
          </a:p>
        </p:txBody>
      </p:sp>
      <p:sp>
        <p:nvSpPr>
          <p:cNvPr id="11" name="Freeform 12"/>
          <p:cNvSpPr>
            <a:spLocks noChangeAspect="1"/>
          </p:cNvSpPr>
          <p:nvPr/>
        </p:nvSpPr>
        <p:spPr bwMode="auto">
          <a:xfrm>
            <a:off x="4106868" y="1877459"/>
            <a:ext cx="472898" cy="368343"/>
          </a:xfrm>
          <a:custGeom>
            <a:avLst/>
            <a:gdLst>
              <a:gd name="T0" fmla="*/ 405 w 549"/>
              <a:gd name="T1" fmla="*/ 0 h 393"/>
              <a:gd name="T2" fmla="*/ 29 w 549"/>
              <a:gd name="T3" fmla="*/ 147 h 393"/>
              <a:gd name="T4" fmla="*/ 0 w 549"/>
              <a:gd name="T5" fmla="*/ 243 h 393"/>
              <a:gd name="T6" fmla="*/ 112 w 549"/>
              <a:gd name="T7" fmla="*/ 298 h 393"/>
              <a:gd name="T8" fmla="*/ 223 w 549"/>
              <a:gd name="T9" fmla="*/ 302 h 393"/>
              <a:gd name="T10" fmla="*/ 266 w 549"/>
              <a:gd name="T11" fmla="*/ 328 h 393"/>
              <a:gd name="T12" fmla="*/ 249 w 549"/>
              <a:gd name="T13" fmla="*/ 363 h 393"/>
              <a:gd name="T14" fmla="*/ 285 w 549"/>
              <a:gd name="T15" fmla="*/ 393 h 393"/>
              <a:gd name="T16" fmla="*/ 410 w 549"/>
              <a:gd name="T17" fmla="*/ 294 h 393"/>
              <a:gd name="T18" fmla="*/ 522 w 549"/>
              <a:gd name="T19" fmla="*/ 317 h 393"/>
              <a:gd name="T20" fmla="*/ 549 w 549"/>
              <a:gd name="T21" fmla="*/ 277 h 393"/>
              <a:gd name="T22" fmla="*/ 510 w 549"/>
              <a:gd name="T23" fmla="*/ 211 h 393"/>
              <a:gd name="T24" fmla="*/ 528 w 549"/>
              <a:gd name="T25" fmla="*/ 146 h 393"/>
              <a:gd name="T26" fmla="*/ 520 w 549"/>
              <a:gd name="T27" fmla="*/ 77 h 393"/>
              <a:gd name="T28" fmla="*/ 451 w 549"/>
              <a:gd name="T29" fmla="*/ 0 h 393"/>
              <a:gd name="T30" fmla="*/ 405 w 549"/>
              <a:gd name="T31" fmla="*/ 0 h 393"/>
              <a:gd name="T32" fmla="*/ 405 w 549"/>
              <a:gd name="T33" fmla="*/ 0 h 39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49"/>
              <a:gd name="T52" fmla="*/ 0 h 393"/>
              <a:gd name="T53" fmla="*/ 549 w 549"/>
              <a:gd name="T54" fmla="*/ 393 h 39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49" h="393">
                <a:moveTo>
                  <a:pt x="405" y="0"/>
                </a:moveTo>
                <a:lnTo>
                  <a:pt x="29" y="147"/>
                </a:lnTo>
                <a:lnTo>
                  <a:pt x="0" y="243"/>
                </a:lnTo>
                <a:lnTo>
                  <a:pt x="112" y="298"/>
                </a:lnTo>
                <a:lnTo>
                  <a:pt x="223" y="302"/>
                </a:lnTo>
                <a:lnTo>
                  <a:pt x="266" y="328"/>
                </a:lnTo>
                <a:lnTo>
                  <a:pt x="249" y="363"/>
                </a:lnTo>
                <a:lnTo>
                  <a:pt x="285" y="393"/>
                </a:lnTo>
                <a:lnTo>
                  <a:pt x="410" y="294"/>
                </a:lnTo>
                <a:lnTo>
                  <a:pt x="522" y="317"/>
                </a:lnTo>
                <a:lnTo>
                  <a:pt x="549" y="277"/>
                </a:lnTo>
                <a:lnTo>
                  <a:pt x="510" y="211"/>
                </a:lnTo>
                <a:lnTo>
                  <a:pt x="528" y="146"/>
                </a:lnTo>
                <a:lnTo>
                  <a:pt x="520" y="77"/>
                </a:lnTo>
                <a:lnTo>
                  <a:pt x="451" y="0"/>
                </a:lnTo>
                <a:lnTo>
                  <a:pt x="405" y="0"/>
                </a:lnTo>
                <a:close/>
              </a:path>
            </a:pathLst>
          </a:custGeom>
          <a:solidFill>
            <a:schemeClr val="accent3"/>
          </a:solidFill>
          <a:ln w="12700">
            <a:solidFill>
              <a:schemeClr val="bg1"/>
            </a:solidFill>
            <a:round/>
            <a:headEnd/>
            <a:tailEnd/>
          </a:ln>
        </p:spPr>
        <p:txBody>
          <a:bodyPr/>
          <a:lstStyle/>
          <a:p>
            <a:pPr>
              <a:defRPr/>
            </a:pPr>
            <a:endParaRPr lang="nl-NL"/>
          </a:p>
        </p:txBody>
      </p:sp>
      <p:sp>
        <p:nvSpPr>
          <p:cNvPr id="12" name="Freeform 13"/>
          <p:cNvSpPr>
            <a:spLocks noChangeAspect="1"/>
          </p:cNvSpPr>
          <p:nvPr/>
        </p:nvSpPr>
        <p:spPr bwMode="auto">
          <a:xfrm>
            <a:off x="5030228" y="2152314"/>
            <a:ext cx="460817" cy="411348"/>
          </a:xfrm>
          <a:custGeom>
            <a:avLst/>
            <a:gdLst>
              <a:gd name="T0" fmla="*/ 201 w 535"/>
              <a:gd name="T1" fmla="*/ 0 h 440"/>
              <a:gd name="T2" fmla="*/ 158 w 535"/>
              <a:gd name="T3" fmla="*/ 16 h 440"/>
              <a:gd name="T4" fmla="*/ 76 w 535"/>
              <a:gd name="T5" fmla="*/ 65 h 440"/>
              <a:gd name="T6" fmla="*/ 117 w 535"/>
              <a:gd name="T7" fmla="*/ 136 h 440"/>
              <a:gd name="T8" fmla="*/ 49 w 535"/>
              <a:gd name="T9" fmla="*/ 174 h 440"/>
              <a:gd name="T10" fmla="*/ 96 w 535"/>
              <a:gd name="T11" fmla="*/ 201 h 440"/>
              <a:gd name="T12" fmla="*/ 28 w 535"/>
              <a:gd name="T13" fmla="*/ 282 h 440"/>
              <a:gd name="T14" fmla="*/ 34 w 535"/>
              <a:gd name="T15" fmla="*/ 299 h 440"/>
              <a:gd name="T16" fmla="*/ 0 w 535"/>
              <a:gd name="T17" fmla="*/ 320 h 440"/>
              <a:gd name="T18" fmla="*/ 38 w 535"/>
              <a:gd name="T19" fmla="*/ 409 h 440"/>
              <a:gd name="T20" fmla="*/ 98 w 535"/>
              <a:gd name="T21" fmla="*/ 440 h 440"/>
              <a:gd name="T22" fmla="*/ 158 w 535"/>
              <a:gd name="T23" fmla="*/ 440 h 440"/>
              <a:gd name="T24" fmla="*/ 216 w 535"/>
              <a:gd name="T25" fmla="*/ 358 h 440"/>
              <a:gd name="T26" fmla="*/ 303 w 535"/>
              <a:gd name="T27" fmla="*/ 358 h 440"/>
              <a:gd name="T28" fmla="*/ 332 w 535"/>
              <a:gd name="T29" fmla="*/ 413 h 440"/>
              <a:gd name="T30" fmla="*/ 421 w 535"/>
              <a:gd name="T31" fmla="*/ 432 h 440"/>
              <a:gd name="T32" fmla="*/ 468 w 535"/>
              <a:gd name="T33" fmla="*/ 418 h 440"/>
              <a:gd name="T34" fmla="*/ 467 w 535"/>
              <a:gd name="T35" fmla="*/ 364 h 440"/>
              <a:gd name="T36" fmla="*/ 535 w 535"/>
              <a:gd name="T37" fmla="*/ 344 h 440"/>
              <a:gd name="T38" fmla="*/ 493 w 535"/>
              <a:gd name="T39" fmla="*/ 271 h 440"/>
              <a:gd name="T40" fmla="*/ 528 w 535"/>
              <a:gd name="T41" fmla="*/ 174 h 440"/>
              <a:gd name="T42" fmla="*/ 512 w 535"/>
              <a:gd name="T43" fmla="*/ 174 h 440"/>
              <a:gd name="T44" fmla="*/ 512 w 535"/>
              <a:gd name="T45" fmla="*/ 72 h 440"/>
              <a:gd name="T46" fmla="*/ 397 w 535"/>
              <a:gd name="T47" fmla="*/ 74 h 440"/>
              <a:gd name="T48" fmla="*/ 201 w 535"/>
              <a:gd name="T49" fmla="*/ 0 h 440"/>
              <a:gd name="T50" fmla="*/ 201 w 535"/>
              <a:gd name="T51" fmla="*/ 0 h 4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35"/>
              <a:gd name="T79" fmla="*/ 0 h 440"/>
              <a:gd name="T80" fmla="*/ 535 w 535"/>
              <a:gd name="T81" fmla="*/ 440 h 44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35" h="440">
                <a:moveTo>
                  <a:pt x="201" y="0"/>
                </a:moveTo>
                <a:lnTo>
                  <a:pt x="158" y="16"/>
                </a:lnTo>
                <a:lnTo>
                  <a:pt x="76" y="65"/>
                </a:lnTo>
                <a:lnTo>
                  <a:pt x="117" y="136"/>
                </a:lnTo>
                <a:lnTo>
                  <a:pt x="49" y="174"/>
                </a:lnTo>
                <a:lnTo>
                  <a:pt x="96" y="201"/>
                </a:lnTo>
                <a:lnTo>
                  <a:pt x="28" y="282"/>
                </a:lnTo>
                <a:lnTo>
                  <a:pt x="34" y="299"/>
                </a:lnTo>
                <a:lnTo>
                  <a:pt x="0" y="320"/>
                </a:lnTo>
                <a:lnTo>
                  <a:pt x="38" y="409"/>
                </a:lnTo>
                <a:lnTo>
                  <a:pt x="98" y="440"/>
                </a:lnTo>
                <a:lnTo>
                  <a:pt x="158" y="440"/>
                </a:lnTo>
                <a:lnTo>
                  <a:pt x="216" y="358"/>
                </a:lnTo>
                <a:lnTo>
                  <a:pt x="303" y="358"/>
                </a:lnTo>
                <a:lnTo>
                  <a:pt x="332" y="413"/>
                </a:lnTo>
                <a:lnTo>
                  <a:pt x="421" y="432"/>
                </a:lnTo>
                <a:lnTo>
                  <a:pt x="468" y="418"/>
                </a:lnTo>
                <a:lnTo>
                  <a:pt x="467" y="364"/>
                </a:lnTo>
                <a:lnTo>
                  <a:pt x="535" y="344"/>
                </a:lnTo>
                <a:lnTo>
                  <a:pt x="493" y="271"/>
                </a:lnTo>
                <a:lnTo>
                  <a:pt x="528" y="174"/>
                </a:lnTo>
                <a:lnTo>
                  <a:pt x="512" y="174"/>
                </a:lnTo>
                <a:lnTo>
                  <a:pt x="512" y="72"/>
                </a:lnTo>
                <a:lnTo>
                  <a:pt x="397" y="74"/>
                </a:lnTo>
                <a:lnTo>
                  <a:pt x="201" y="0"/>
                </a:lnTo>
                <a:close/>
              </a:path>
            </a:pathLst>
          </a:custGeom>
          <a:solidFill>
            <a:schemeClr val="accent3"/>
          </a:solidFill>
          <a:ln w="12700">
            <a:solidFill>
              <a:schemeClr val="bg1"/>
            </a:solidFill>
            <a:round/>
            <a:headEnd/>
            <a:tailEnd/>
          </a:ln>
        </p:spPr>
        <p:txBody>
          <a:bodyPr/>
          <a:lstStyle/>
          <a:p>
            <a:pPr>
              <a:defRPr/>
            </a:pPr>
            <a:endParaRPr lang="nl-NL"/>
          </a:p>
        </p:txBody>
      </p:sp>
      <p:sp>
        <p:nvSpPr>
          <p:cNvPr id="13" name="Freeform 14"/>
          <p:cNvSpPr>
            <a:spLocks noChangeAspect="1"/>
          </p:cNvSpPr>
          <p:nvPr/>
        </p:nvSpPr>
        <p:spPr bwMode="auto">
          <a:xfrm>
            <a:off x="5454801" y="2068175"/>
            <a:ext cx="260612" cy="525403"/>
          </a:xfrm>
          <a:custGeom>
            <a:avLst/>
            <a:gdLst>
              <a:gd name="T0" fmla="*/ 56 w 302"/>
              <a:gd name="T1" fmla="*/ 0 h 563"/>
              <a:gd name="T2" fmla="*/ 19 w 302"/>
              <a:gd name="T3" fmla="*/ 165 h 563"/>
              <a:gd name="T4" fmla="*/ 19 w 302"/>
              <a:gd name="T5" fmla="*/ 266 h 563"/>
              <a:gd name="T6" fmla="*/ 33 w 302"/>
              <a:gd name="T7" fmla="*/ 266 h 563"/>
              <a:gd name="T8" fmla="*/ 0 w 302"/>
              <a:gd name="T9" fmla="*/ 365 h 563"/>
              <a:gd name="T10" fmla="*/ 40 w 302"/>
              <a:gd name="T11" fmla="*/ 437 h 563"/>
              <a:gd name="T12" fmla="*/ 40 w 302"/>
              <a:gd name="T13" fmla="*/ 470 h 563"/>
              <a:gd name="T14" fmla="*/ 149 w 302"/>
              <a:gd name="T15" fmla="*/ 513 h 563"/>
              <a:gd name="T16" fmla="*/ 185 w 302"/>
              <a:gd name="T17" fmla="*/ 563 h 563"/>
              <a:gd name="T18" fmla="*/ 281 w 302"/>
              <a:gd name="T19" fmla="*/ 523 h 563"/>
              <a:gd name="T20" fmla="*/ 276 w 302"/>
              <a:gd name="T21" fmla="*/ 373 h 563"/>
              <a:gd name="T22" fmla="*/ 302 w 302"/>
              <a:gd name="T23" fmla="*/ 254 h 563"/>
              <a:gd name="T24" fmla="*/ 263 w 302"/>
              <a:gd name="T25" fmla="*/ 222 h 563"/>
              <a:gd name="T26" fmla="*/ 243 w 302"/>
              <a:gd name="T27" fmla="*/ 167 h 563"/>
              <a:gd name="T28" fmla="*/ 264 w 302"/>
              <a:gd name="T29" fmla="*/ 129 h 563"/>
              <a:gd name="T30" fmla="*/ 220 w 302"/>
              <a:gd name="T31" fmla="*/ 70 h 563"/>
              <a:gd name="T32" fmla="*/ 105 w 302"/>
              <a:gd name="T33" fmla="*/ 13 h 563"/>
              <a:gd name="T34" fmla="*/ 56 w 302"/>
              <a:gd name="T35" fmla="*/ 0 h 563"/>
              <a:gd name="T36" fmla="*/ 56 w 302"/>
              <a:gd name="T37" fmla="*/ 0 h 56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2"/>
              <a:gd name="T58" fmla="*/ 0 h 563"/>
              <a:gd name="T59" fmla="*/ 302 w 302"/>
              <a:gd name="T60" fmla="*/ 563 h 56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2" h="563">
                <a:moveTo>
                  <a:pt x="56" y="0"/>
                </a:moveTo>
                <a:lnTo>
                  <a:pt x="19" y="165"/>
                </a:lnTo>
                <a:lnTo>
                  <a:pt x="19" y="266"/>
                </a:lnTo>
                <a:lnTo>
                  <a:pt x="33" y="266"/>
                </a:lnTo>
                <a:lnTo>
                  <a:pt x="0" y="365"/>
                </a:lnTo>
                <a:lnTo>
                  <a:pt x="40" y="437"/>
                </a:lnTo>
                <a:lnTo>
                  <a:pt x="40" y="470"/>
                </a:lnTo>
                <a:lnTo>
                  <a:pt x="149" y="513"/>
                </a:lnTo>
                <a:lnTo>
                  <a:pt x="185" y="563"/>
                </a:lnTo>
                <a:lnTo>
                  <a:pt x="281" y="523"/>
                </a:lnTo>
                <a:lnTo>
                  <a:pt x="276" y="373"/>
                </a:lnTo>
                <a:lnTo>
                  <a:pt x="302" y="254"/>
                </a:lnTo>
                <a:lnTo>
                  <a:pt x="263" y="222"/>
                </a:lnTo>
                <a:lnTo>
                  <a:pt x="243" y="167"/>
                </a:lnTo>
                <a:lnTo>
                  <a:pt x="264" y="129"/>
                </a:lnTo>
                <a:lnTo>
                  <a:pt x="220" y="70"/>
                </a:lnTo>
                <a:lnTo>
                  <a:pt x="105" y="13"/>
                </a:lnTo>
                <a:lnTo>
                  <a:pt x="56" y="0"/>
                </a:lnTo>
                <a:close/>
              </a:path>
            </a:pathLst>
          </a:custGeom>
          <a:solidFill>
            <a:schemeClr val="accent3"/>
          </a:solidFill>
          <a:ln w="12700">
            <a:solidFill>
              <a:schemeClr val="bg1"/>
            </a:solidFill>
            <a:round/>
            <a:headEnd/>
            <a:tailEnd/>
          </a:ln>
        </p:spPr>
        <p:txBody>
          <a:bodyPr/>
          <a:lstStyle/>
          <a:p>
            <a:pPr>
              <a:defRPr/>
            </a:pPr>
            <a:endParaRPr lang="nl-NL"/>
          </a:p>
        </p:txBody>
      </p:sp>
      <p:sp>
        <p:nvSpPr>
          <p:cNvPr id="14" name="Freeform 15"/>
          <p:cNvSpPr>
            <a:spLocks noChangeAspect="1"/>
          </p:cNvSpPr>
          <p:nvPr/>
        </p:nvSpPr>
        <p:spPr bwMode="auto">
          <a:xfrm>
            <a:off x="4546974" y="2015822"/>
            <a:ext cx="403862" cy="308511"/>
          </a:xfrm>
          <a:custGeom>
            <a:avLst/>
            <a:gdLst>
              <a:gd name="T0" fmla="*/ 15 w 469"/>
              <a:gd name="T1" fmla="*/ 0 h 331"/>
              <a:gd name="T2" fmla="*/ 0 w 469"/>
              <a:gd name="T3" fmla="*/ 67 h 331"/>
              <a:gd name="T4" fmla="*/ 39 w 469"/>
              <a:gd name="T5" fmla="*/ 131 h 331"/>
              <a:gd name="T6" fmla="*/ 13 w 469"/>
              <a:gd name="T7" fmla="*/ 171 h 331"/>
              <a:gd name="T8" fmla="*/ 36 w 469"/>
              <a:gd name="T9" fmla="*/ 213 h 331"/>
              <a:gd name="T10" fmla="*/ 21 w 469"/>
              <a:gd name="T11" fmla="*/ 258 h 331"/>
              <a:gd name="T12" fmla="*/ 44 w 469"/>
              <a:gd name="T13" fmla="*/ 278 h 331"/>
              <a:gd name="T14" fmla="*/ 174 w 469"/>
              <a:gd name="T15" fmla="*/ 270 h 331"/>
              <a:gd name="T16" fmla="*/ 291 w 469"/>
              <a:gd name="T17" fmla="*/ 325 h 331"/>
              <a:gd name="T18" fmla="*/ 350 w 469"/>
              <a:gd name="T19" fmla="*/ 331 h 331"/>
              <a:gd name="T20" fmla="*/ 452 w 469"/>
              <a:gd name="T21" fmla="*/ 308 h 331"/>
              <a:gd name="T22" fmla="*/ 430 w 469"/>
              <a:gd name="T23" fmla="*/ 270 h 331"/>
              <a:gd name="T24" fmla="*/ 437 w 469"/>
              <a:gd name="T25" fmla="*/ 241 h 331"/>
              <a:gd name="T26" fmla="*/ 422 w 469"/>
              <a:gd name="T27" fmla="*/ 205 h 331"/>
              <a:gd name="T28" fmla="*/ 469 w 469"/>
              <a:gd name="T29" fmla="*/ 131 h 331"/>
              <a:gd name="T30" fmla="*/ 460 w 469"/>
              <a:gd name="T31" fmla="*/ 27 h 331"/>
              <a:gd name="T32" fmla="*/ 378 w 469"/>
              <a:gd name="T33" fmla="*/ 19 h 331"/>
              <a:gd name="T34" fmla="*/ 294 w 469"/>
              <a:gd name="T35" fmla="*/ 67 h 331"/>
              <a:gd name="T36" fmla="*/ 203 w 469"/>
              <a:gd name="T37" fmla="*/ 30 h 331"/>
              <a:gd name="T38" fmla="*/ 82 w 469"/>
              <a:gd name="T39" fmla="*/ 30 h 331"/>
              <a:gd name="T40" fmla="*/ 15 w 469"/>
              <a:gd name="T41" fmla="*/ 0 h 331"/>
              <a:gd name="T42" fmla="*/ 15 w 469"/>
              <a:gd name="T43" fmla="*/ 0 h 3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69"/>
              <a:gd name="T67" fmla="*/ 0 h 331"/>
              <a:gd name="T68" fmla="*/ 469 w 469"/>
              <a:gd name="T69" fmla="*/ 331 h 3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69" h="331">
                <a:moveTo>
                  <a:pt x="15" y="0"/>
                </a:moveTo>
                <a:lnTo>
                  <a:pt x="0" y="67"/>
                </a:lnTo>
                <a:lnTo>
                  <a:pt x="39" y="131"/>
                </a:lnTo>
                <a:lnTo>
                  <a:pt x="13" y="171"/>
                </a:lnTo>
                <a:lnTo>
                  <a:pt x="36" y="213"/>
                </a:lnTo>
                <a:lnTo>
                  <a:pt x="21" y="258"/>
                </a:lnTo>
                <a:lnTo>
                  <a:pt x="44" y="278"/>
                </a:lnTo>
                <a:lnTo>
                  <a:pt x="174" y="270"/>
                </a:lnTo>
                <a:lnTo>
                  <a:pt x="291" y="325"/>
                </a:lnTo>
                <a:lnTo>
                  <a:pt x="350" y="331"/>
                </a:lnTo>
                <a:lnTo>
                  <a:pt x="452" y="308"/>
                </a:lnTo>
                <a:lnTo>
                  <a:pt x="430" y="270"/>
                </a:lnTo>
                <a:lnTo>
                  <a:pt x="437" y="241"/>
                </a:lnTo>
                <a:lnTo>
                  <a:pt x="422" y="205"/>
                </a:lnTo>
                <a:lnTo>
                  <a:pt x="469" y="131"/>
                </a:lnTo>
                <a:lnTo>
                  <a:pt x="460" y="27"/>
                </a:lnTo>
                <a:lnTo>
                  <a:pt x="378" y="19"/>
                </a:lnTo>
                <a:lnTo>
                  <a:pt x="294" y="67"/>
                </a:lnTo>
                <a:lnTo>
                  <a:pt x="203" y="30"/>
                </a:lnTo>
                <a:lnTo>
                  <a:pt x="82" y="30"/>
                </a:lnTo>
                <a:lnTo>
                  <a:pt x="15" y="0"/>
                </a:lnTo>
                <a:close/>
              </a:path>
            </a:pathLst>
          </a:custGeom>
          <a:solidFill>
            <a:schemeClr val="accent3"/>
          </a:solidFill>
          <a:ln w="12700">
            <a:solidFill>
              <a:schemeClr val="bg1"/>
            </a:solidFill>
            <a:round/>
            <a:headEnd/>
            <a:tailEnd/>
          </a:ln>
        </p:spPr>
        <p:txBody>
          <a:bodyPr/>
          <a:lstStyle/>
          <a:p>
            <a:pPr>
              <a:defRPr/>
            </a:pPr>
            <a:endParaRPr lang="nl-NL"/>
          </a:p>
        </p:txBody>
      </p:sp>
      <p:sp>
        <p:nvSpPr>
          <p:cNvPr id="15" name="Freeform 16"/>
          <p:cNvSpPr>
            <a:spLocks noChangeAspect="1"/>
          </p:cNvSpPr>
          <p:nvPr/>
        </p:nvSpPr>
        <p:spPr bwMode="auto">
          <a:xfrm>
            <a:off x="3751332" y="2165403"/>
            <a:ext cx="448736" cy="291683"/>
          </a:xfrm>
          <a:custGeom>
            <a:avLst/>
            <a:gdLst>
              <a:gd name="T0" fmla="*/ 64 w 519"/>
              <a:gd name="T1" fmla="*/ 0 h 313"/>
              <a:gd name="T2" fmla="*/ 0 w 519"/>
              <a:gd name="T3" fmla="*/ 38 h 313"/>
              <a:gd name="T4" fmla="*/ 58 w 519"/>
              <a:gd name="T5" fmla="*/ 105 h 313"/>
              <a:gd name="T6" fmla="*/ 88 w 519"/>
              <a:gd name="T7" fmla="*/ 88 h 313"/>
              <a:gd name="T8" fmla="*/ 99 w 519"/>
              <a:gd name="T9" fmla="*/ 185 h 313"/>
              <a:gd name="T10" fmla="*/ 5 w 519"/>
              <a:gd name="T11" fmla="*/ 281 h 313"/>
              <a:gd name="T12" fmla="*/ 26 w 519"/>
              <a:gd name="T13" fmla="*/ 302 h 313"/>
              <a:gd name="T14" fmla="*/ 113 w 519"/>
              <a:gd name="T15" fmla="*/ 313 h 313"/>
              <a:gd name="T16" fmla="*/ 157 w 519"/>
              <a:gd name="T17" fmla="*/ 284 h 313"/>
              <a:gd name="T18" fmla="*/ 158 w 519"/>
              <a:gd name="T19" fmla="*/ 263 h 313"/>
              <a:gd name="T20" fmla="*/ 321 w 519"/>
              <a:gd name="T21" fmla="*/ 284 h 313"/>
              <a:gd name="T22" fmla="*/ 432 w 519"/>
              <a:gd name="T23" fmla="*/ 225 h 313"/>
              <a:gd name="T24" fmla="*/ 519 w 519"/>
              <a:gd name="T25" fmla="*/ 225 h 313"/>
              <a:gd name="T26" fmla="*/ 496 w 519"/>
              <a:gd name="T27" fmla="*/ 86 h 313"/>
              <a:gd name="T28" fmla="*/ 516 w 519"/>
              <a:gd name="T29" fmla="*/ 74 h 313"/>
              <a:gd name="T30" fmla="*/ 478 w 519"/>
              <a:gd name="T31" fmla="*/ 61 h 313"/>
              <a:gd name="T32" fmla="*/ 473 w 519"/>
              <a:gd name="T33" fmla="*/ 0 h 313"/>
              <a:gd name="T34" fmla="*/ 407 w 519"/>
              <a:gd name="T35" fmla="*/ 15 h 313"/>
              <a:gd name="T36" fmla="*/ 280 w 519"/>
              <a:gd name="T37" fmla="*/ 61 h 313"/>
              <a:gd name="T38" fmla="*/ 64 w 519"/>
              <a:gd name="T39" fmla="*/ 0 h 313"/>
              <a:gd name="T40" fmla="*/ 64 w 519"/>
              <a:gd name="T41" fmla="*/ 0 h 3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19"/>
              <a:gd name="T64" fmla="*/ 0 h 313"/>
              <a:gd name="T65" fmla="*/ 519 w 519"/>
              <a:gd name="T66" fmla="*/ 313 h 3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19" h="313">
                <a:moveTo>
                  <a:pt x="64" y="0"/>
                </a:moveTo>
                <a:lnTo>
                  <a:pt x="0" y="38"/>
                </a:lnTo>
                <a:lnTo>
                  <a:pt x="58" y="105"/>
                </a:lnTo>
                <a:lnTo>
                  <a:pt x="88" y="88"/>
                </a:lnTo>
                <a:lnTo>
                  <a:pt x="99" y="185"/>
                </a:lnTo>
                <a:lnTo>
                  <a:pt x="5" y="281"/>
                </a:lnTo>
                <a:lnTo>
                  <a:pt x="26" y="302"/>
                </a:lnTo>
                <a:lnTo>
                  <a:pt x="113" y="313"/>
                </a:lnTo>
                <a:lnTo>
                  <a:pt x="157" y="284"/>
                </a:lnTo>
                <a:lnTo>
                  <a:pt x="158" y="263"/>
                </a:lnTo>
                <a:lnTo>
                  <a:pt x="321" y="284"/>
                </a:lnTo>
                <a:lnTo>
                  <a:pt x="432" y="225"/>
                </a:lnTo>
                <a:lnTo>
                  <a:pt x="519" y="225"/>
                </a:lnTo>
                <a:lnTo>
                  <a:pt x="496" y="86"/>
                </a:lnTo>
                <a:lnTo>
                  <a:pt x="516" y="74"/>
                </a:lnTo>
                <a:lnTo>
                  <a:pt x="478" y="61"/>
                </a:lnTo>
                <a:lnTo>
                  <a:pt x="473" y="0"/>
                </a:lnTo>
                <a:lnTo>
                  <a:pt x="407" y="15"/>
                </a:lnTo>
                <a:lnTo>
                  <a:pt x="280" y="61"/>
                </a:lnTo>
                <a:lnTo>
                  <a:pt x="64" y="0"/>
                </a:lnTo>
                <a:close/>
              </a:path>
            </a:pathLst>
          </a:custGeom>
          <a:solidFill>
            <a:schemeClr val="accent3"/>
          </a:solidFill>
          <a:ln w="12700">
            <a:solidFill>
              <a:schemeClr val="bg1"/>
            </a:solidFill>
            <a:round/>
            <a:headEnd/>
            <a:tailEnd/>
          </a:ln>
        </p:spPr>
        <p:txBody>
          <a:bodyPr/>
          <a:lstStyle/>
          <a:p>
            <a:pPr>
              <a:defRPr/>
            </a:pPr>
            <a:endParaRPr lang="nl-NL"/>
          </a:p>
        </p:txBody>
      </p:sp>
      <p:sp>
        <p:nvSpPr>
          <p:cNvPr id="16" name="Freeform 17"/>
          <p:cNvSpPr>
            <a:spLocks noChangeAspect="1"/>
          </p:cNvSpPr>
          <p:nvPr/>
        </p:nvSpPr>
        <p:spPr bwMode="auto">
          <a:xfrm>
            <a:off x="4160371" y="2152314"/>
            <a:ext cx="417669" cy="360864"/>
          </a:xfrm>
          <a:custGeom>
            <a:avLst/>
            <a:gdLst>
              <a:gd name="T0" fmla="*/ 48 w 484"/>
              <a:gd name="T1" fmla="*/ 4 h 386"/>
              <a:gd name="T2" fmla="*/ 0 w 484"/>
              <a:gd name="T3" fmla="*/ 15 h 386"/>
              <a:gd name="T4" fmla="*/ 5 w 484"/>
              <a:gd name="T5" fmla="*/ 76 h 386"/>
              <a:gd name="T6" fmla="*/ 41 w 484"/>
              <a:gd name="T7" fmla="*/ 89 h 386"/>
              <a:gd name="T8" fmla="*/ 21 w 484"/>
              <a:gd name="T9" fmla="*/ 101 h 386"/>
              <a:gd name="T10" fmla="*/ 46 w 484"/>
              <a:gd name="T11" fmla="*/ 238 h 386"/>
              <a:gd name="T12" fmla="*/ 27 w 484"/>
              <a:gd name="T13" fmla="*/ 238 h 386"/>
              <a:gd name="T14" fmla="*/ 43 w 484"/>
              <a:gd name="T15" fmla="*/ 278 h 386"/>
              <a:gd name="T16" fmla="*/ 129 w 484"/>
              <a:gd name="T17" fmla="*/ 310 h 386"/>
              <a:gd name="T18" fmla="*/ 167 w 484"/>
              <a:gd name="T19" fmla="*/ 386 h 386"/>
              <a:gd name="T20" fmla="*/ 280 w 484"/>
              <a:gd name="T21" fmla="*/ 325 h 386"/>
              <a:gd name="T22" fmla="*/ 325 w 484"/>
              <a:gd name="T23" fmla="*/ 352 h 386"/>
              <a:gd name="T24" fmla="*/ 396 w 484"/>
              <a:gd name="T25" fmla="*/ 247 h 386"/>
              <a:gd name="T26" fmla="*/ 374 w 484"/>
              <a:gd name="T27" fmla="*/ 215 h 386"/>
              <a:gd name="T28" fmla="*/ 431 w 484"/>
              <a:gd name="T29" fmla="*/ 176 h 386"/>
              <a:gd name="T30" fmla="*/ 450 w 484"/>
              <a:gd name="T31" fmla="*/ 111 h 386"/>
              <a:gd name="T32" fmla="*/ 469 w 484"/>
              <a:gd name="T33" fmla="*/ 111 h 386"/>
              <a:gd name="T34" fmla="*/ 484 w 484"/>
              <a:gd name="T35" fmla="*/ 65 h 386"/>
              <a:gd name="T36" fmla="*/ 463 w 484"/>
              <a:gd name="T37" fmla="*/ 27 h 386"/>
              <a:gd name="T38" fmla="*/ 347 w 484"/>
              <a:gd name="T39" fmla="*/ 0 h 386"/>
              <a:gd name="T40" fmla="*/ 223 w 484"/>
              <a:gd name="T41" fmla="*/ 101 h 386"/>
              <a:gd name="T42" fmla="*/ 187 w 484"/>
              <a:gd name="T43" fmla="*/ 71 h 386"/>
              <a:gd name="T44" fmla="*/ 204 w 484"/>
              <a:gd name="T45" fmla="*/ 36 h 386"/>
              <a:gd name="T46" fmla="*/ 161 w 484"/>
              <a:gd name="T47" fmla="*/ 10 h 386"/>
              <a:gd name="T48" fmla="*/ 48 w 484"/>
              <a:gd name="T49" fmla="*/ 4 h 386"/>
              <a:gd name="T50" fmla="*/ 48 w 484"/>
              <a:gd name="T51" fmla="*/ 4 h 3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4"/>
              <a:gd name="T79" fmla="*/ 0 h 386"/>
              <a:gd name="T80" fmla="*/ 484 w 484"/>
              <a:gd name="T81" fmla="*/ 386 h 38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4" h="386">
                <a:moveTo>
                  <a:pt x="48" y="4"/>
                </a:moveTo>
                <a:lnTo>
                  <a:pt x="0" y="15"/>
                </a:lnTo>
                <a:lnTo>
                  <a:pt x="5" y="76"/>
                </a:lnTo>
                <a:lnTo>
                  <a:pt x="41" y="89"/>
                </a:lnTo>
                <a:lnTo>
                  <a:pt x="21" y="101"/>
                </a:lnTo>
                <a:lnTo>
                  <a:pt x="46" y="238"/>
                </a:lnTo>
                <a:lnTo>
                  <a:pt x="27" y="238"/>
                </a:lnTo>
                <a:lnTo>
                  <a:pt x="43" y="278"/>
                </a:lnTo>
                <a:lnTo>
                  <a:pt x="129" y="310"/>
                </a:lnTo>
                <a:lnTo>
                  <a:pt x="167" y="386"/>
                </a:lnTo>
                <a:lnTo>
                  <a:pt x="280" y="325"/>
                </a:lnTo>
                <a:lnTo>
                  <a:pt x="325" y="352"/>
                </a:lnTo>
                <a:lnTo>
                  <a:pt x="396" y="247"/>
                </a:lnTo>
                <a:lnTo>
                  <a:pt x="374" y="215"/>
                </a:lnTo>
                <a:lnTo>
                  <a:pt x="431" y="176"/>
                </a:lnTo>
                <a:lnTo>
                  <a:pt x="450" y="111"/>
                </a:lnTo>
                <a:lnTo>
                  <a:pt x="469" y="111"/>
                </a:lnTo>
                <a:lnTo>
                  <a:pt x="484" y="65"/>
                </a:lnTo>
                <a:lnTo>
                  <a:pt x="463" y="27"/>
                </a:lnTo>
                <a:lnTo>
                  <a:pt x="347" y="0"/>
                </a:lnTo>
                <a:lnTo>
                  <a:pt x="223" y="101"/>
                </a:lnTo>
                <a:lnTo>
                  <a:pt x="187" y="71"/>
                </a:lnTo>
                <a:lnTo>
                  <a:pt x="204" y="36"/>
                </a:lnTo>
                <a:lnTo>
                  <a:pt x="161" y="10"/>
                </a:lnTo>
                <a:lnTo>
                  <a:pt x="48" y="4"/>
                </a:lnTo>
                <a:close/>
              </a:path>
            </a:pathLst>
          </a:custGeom>
          <a:solidFill>
            <a:schemeClr val="accent3"/>
          </a:solidFill>
          <a:ln w="12700">
            <a:solidFill>
              <a:schemeClr val="bg1"/>
            </a:solidFill>
            <a:round/>
            <a:headEnd/>
            <a:tailEnd/>
          </a:ln>
        </p:spPr>
        <p:txBody>
          <a:bodyPr/>
          <a:lstStyle/>
          <a:p>
            <a:pPr>
              <a:defRPr/>
            </a:pPr>
            <a:endParaRPr lang="nl-NL"/>
          </a:p>
        </p:txBody>
      </p:sp>
      <p:sp>
        <p:nvSpPr>
          <p:cNvPr id="17" name="Freeform 18"/>
          <p:cNvSpPr>
            <a:spLocks noChangeAspect="1"/>
          </p:cNvSpPr>
          <p:nvPr/>
        </p:nvSpPr>
        <p:spPr bwMode="auto">
          <a:xfrm>
            <a:off x="3407876" y="2479523"/>
            <a:ext cx="371070" cy="471180"/>
          </a:xfrm>
          <a:custGeom>
            <a:avLst/>
            <a:gdLst>
              <a:gd name="T0" fmla="*/ 112 w 430"/>
              <a:gd name="T1" fmla="*/ 0 h 502"/>
              <a:gd name="T2" fmla="*/ 71 w 430"/>
              <a:gd name="T3" fmla="*/ 29 h 502"/>
              <a:gd name="T4" fmla="*/ 72 w 430"/>
              <a:gd name="T5" fmla="*/ 87 h 502"/>
              <a:gd name="T6" fmla="*/ 127 w 430"/>
              <a:gd name="T7" fmla="*/ 84 h 502"/>
              <a:gd name="T8" fmla="*/ 114 w 430"/>
              <a:gd name="T9" fmla="*/ 178 h 502"/>
              <a:gd name="T10" fmla="*/ 63 w 430"/>
              <a:gd name="T11" fmla="*/ 192 h 502"/>
              <a:gd name="T12" fmla="*/ 6 w 430"/>
              <a:gd name="T13" fmla="*/ 264 h 502"/>
              <a:gd name="T14" fmla="*/ 44 w 430"/>
              <a:gd name="T15" fmla="*/ 310 h 502"/>
              <a:gd name="T16" fmla="*/ 0 w 430"/>
              <a:gd name="T17" fmla="*/ 327 h 502"/>
              <a:gd name="T18" fmla="*/ 65 w 430"/>
              <a:gd name="T19" fmla="*/ 356 h 502"/>
              <a:gd name="T20" fmla="*/ 53 w 430"/>
              <a:gd name="T21" fmla="*/ 395 h 502"/>
              <a:gd name="T22" fmla="*/ 78 w 430"/>
              <a:gd name="T23" fmla="*/ 411 h 502"/>
              <a:gd name="T24" fmla="*/ 53 w 430"/>
              <a:gd name="T25" fmla="*/ 441 h 502"/>
              <a:gd name="T26" fmla="*/ 53 w 430"/>
              <a:gd name="T27" fmla="*/ 502 h 502"/>
              <a:gd name="T28" fmla="*/ 211 w 430"/>
              <a:gd name="T29" fmla="*/ 473 h 502"/>
              <a:gd name="T30" fmla="*/ 285 w 430"/>
              <a:gd name="T31" fmla="*/ 415 h 502"/>
              <a:gd name="T32" fmla="*/ 360 w 430"/>
              <a:gd name="T33" fmla="*/ 441 h 502"/>
              <a:gd name="T34" fmla="*/ 382 w 430"/>
              <a:gd name="T35" fmla="*/ 348 h 502"/>
              <a:gd name="T36" fmla="*/ 425 w 430"/>
              <a:gd name="T37" fmla="*/ 344 h 502"/>
              <a:gd name="T38" fmla="*/ 405 w 430"/>
              <a:gd name="T39" fmla="*/ 211 h 502"/>
              <a:gd name="T40" fmla="*/ 430 w 430"/>
              <a:gd name="T41" fmla="*/ 90 h 502"/>
              <a:gd name="T42" fmla="*/ 371 w 430"/>
              <a:gd name="T43" fmla="*/ 82 h 502"/>
              <a:gd name="T44" fmla="*/ 348 w 430"/>
              <a:gd name="T45" fmla="*/ 101 h 502"/>
              <a:gd name="T46" fmla="*/ 284 w 430"/>
              <a:gd name="T47" fmla="*/ 101 h 502"/>
              <a:gd name="T48" fmla="*/ 261 w 430"/>
              <a:gd name="T49" fmla="*/ 34 h 502"/>
              <a:gd name="T50" fmla="*/ 238 w 430"/>
              <a:gd name="T51" fmla="*/ 41 h 502"/>
              <a:gd name="T52" fmla="*/ 158 w 430"/>
              <a:gd name="T53" fmla="*/ 34 h 502"/>
              <a:gd name="T54" fmla="*/ 112 w 430"/>
              <a:gd name="T55" fmla="*/ 0 h 502"/>
              <a:gd name="T56" fmla="*/ 112 w 430"/>
              <a:gd name="T57" fmla="*/ 0 h 50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0"/>
              <a:gd name="T88" fmla="*/ 0 h 502"/>
              <a:gd name="T89" fmla="*/ 430 w 430"/>
              <a:gd name="T90" fmla="*/ 502 h 50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0" h="502">
                <a:moveTo>
                  <a:pt x="112" y="0"/>
                </a:moveTo>
                <a:lnTo>
                  <a:pt x="71" y="29"/>
                </a:lnTo>
                <a:lnTo>
                  <a:pt x="72" y="87"/>
                </a:lnTo>
                <a:lnTo>
                  <a:pt x="127" y="84"/>
                </a:lnTo>
                <a:lnTo>
                  <a:pt x="114" y="178"/>
                </a:lnTo>
                <a:lnTo>
                  <a:pt x="63" y="192"/>
                </a:lnTo>
                <a:lnTo>
                  <a:pt x="6" y="264"/>
                </a:lnTo>
                <a:lnTo>
                  <a:pt x="44" y="310"/>
                </a:lnTo>
                <a:lnTo>
                  <a:pt x="0" y="327"/>
                </a:lnTo>
                <a:lnTo>
                  <a:pt x="65" y="356"/>
                </a:lnTo>
                <a:lnTo>
                  <a:pt x="53" y="395"/>
                </a:lnTo>
                <a:lnTo>
                  <a:pt x="78" y="411"/>
                </a:lnTo>
                <a:lnTo>
                  <a:pt x="53" y="441"/>
                </a:lnTo>
                <a:lnTo>
                  <a:pt x="53" y="502"/>
                </a:lnTo>
                <a:lnTo>
                  <a:pt x="211" y="473"/>
                </a:lnTo>
                <a:lnTo>
                  <a:pt x="285" y="415"/>
                </a:lnTo>
                <a:lnTo>
                  <a:pt x="360" y="441"/>
                </a:lnTo>
                <a:lnTo>
                  <a:pt x="382" y="348"/>
                </a:lnTo>
                <a:lnTo>
                  <a:pt x="425" y="344"/>
                </a:lnTo>
                <a:lnTo>
                  <a:pt x="405" y="211"/>
                </a:lnTo>
                <a:lnTo>
                  <a:pt x="430" y="90"/>
                </a:lnTo>
                <a:lnTo>
                  <a:pt x="371" y="82"/>
                </a:lnTo>
                <a:lnTo>
                  <a:pt x="348" y="101"/>
                </a:lnTo>
                <a:lnTo>
                  <a:pt x="284" y="101"/>
                </a:lnTo>
                <a:lnTo>
                  <a:pt x="261" y="34"/>
                </a:lnTo>
                <a:lnTo>
                  <a:pt x="238" y="41"/>
                </a:lnTo>
                <a:lnTo>
                  <a:pt x="158" y="34"/>
                </a:lnTo>
                <a:lnTo>
                  <a:pt x="112" y="0"/>
                </a:lnTo>
                <a:close/>
              </a:path>
            </a:pathLst>
          </a:custGeom>
          <a:solidFill>
            <a:schemeClr val="accent3"/>
          </a:solidFill>
          <a:ln w="12700">
            <a:solidFill>
              <a:schemeClr val="bg1"/>
            </a:solidFill>
            <a:round/>
            <a:headEnd/>
            <a:tailEnd/>
          </a:ln>
        </p:spPr>
        <p:txBody>
          <a:bodyPr/>
          <a:lstStyle/>
          <a:p>
            <a:pPr>
              <a:defRPr/>
            </a:pPr>
            <a:endParaRPr lang="nl-NL"/>
          </a:p>
        </p:txBody>
      </p:sp>
      <p:sp>
        <p:nvSpPr>
          <p:cNvPr id="18" name="Freeform 19"/>
          <p:cNvSpPr>
            <a:spLocks noChangeAspect="1"/>
          </p:cNvSpPr>
          <p:nvPr/>
        </p:nvSpPr>
        <p:spPr bwMode="auto">
          <a:xfrm>
            <a:off x="3716814" y="2543095"/>
            <a:ext cx="350359" cy="377692"/>
          </a:xfrm>
          <a:custGeom>
            <a:avLst/>
            <a:gdLst>
              <a:gd name="T0" fmla="*/ 343 w 404"/>
              <a:gd name="T1" fmla="*/ 0 h 403"/>
              <a:gd name="T2" fmla="*/ 319 w 404"/>
              <a:gd name="T3" fmla="*/ 33 h 403"/>
              <a:gd name="T4" fmla="*/ 208 w 404"/>
              <a:gd name="T5" fmla="*/ 67 h 403"/>
              <a:gd name="T6" fmla="*/ 190 w 404"/>
              <a:gd name="T7" fmla="*/ 48 h 403"/>
              <a:gd name="T8" fmla="*/ 155 w 404"/>
              <a:gd name="T9" fmla="*/ 67 h 403"/>
              <a:gd name="T10" fmla="*/ 138 w 404"/>
              <a:gd name="T11" fmla="*/ 31 h 403"/>
              <a:gd name="T12" fmla="*/ 70 w 404"/>
              <a:gd name="T13" fmla="*/ 23 h 403"/>
              <a:gd name="T14" fmla="*/ 45 w 404"/>
              <a:gd name="T15" fmla="*/ 145 h 403"/>
              <a:gd name="T16" fmla="*/ 65 w 404"/>
              <a:gd name="T17" fmla="*/ 276 h 403"/>
              <a:gd name="T18" fmla="*/ 22 w 404"/>
              <a:gd name="T19" fmla="*/ 280 h 403"/>
              <a:gd name="T20" fmla="*/ 0 w 404"/>
              <a:gd name="T21" fmla="*/ 373 h 403"/>
              <a:gd name="T22" fmla="*/ 178 w 404"/>
              <a:gd name="T23" fmla="*/ 403 h 403"/>
              <a:gd name="T24" fmla="*/ 283 w 404"/>
              <a:gd name="T25" fmla="*/ 397 h 403"/>
              <a:gd name="T26" fmla="*/ 283 w 404"/>
              <a:gd name="T27" fmla="*/ 327 h 403"/>
              <a:gd name="T28" fmla="*/ 305 w 404"/>
              <a:gd name="T29" fmla="*/ 315 h 403"/>
              <a:gd name="T30" fmla="*/ 294 w 404"/>
              <a:gd name="T31" fmla="*/ 259 h 403"/>
              <a:gd name="T32" fmla="*/ 357 w 404"/>
              <a:gd name="T33" fmla="*/ 177 h 403"/>
              <a:gd name="T34" fmla="*/ 357 w 404"/>
              <a:gd name="T35" fmla="*/ 107 h 403"/>
              <a:gd name="T36" fmla="*/ 404 w 404"/>
              <a:gd name="T37" fmla="*/ 101 h 403"/>
              <a:gd name="T38" fmla="*/ 343 w 404"/>
              <a:gd name="T39" fmla="*/ 0 h 403"/>
              <a:gd name="T40" fmla="*/ 343 w 404"/>
              <a:gd name="T41" fmla="*/ 0 h 4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4"/>
              <a:gd name="T64" fmla="*/ 0 h 403"/>
              <a:gd name="T65" fmla="*/ 404 w 404"/>
              <a:gd name="T66" fmla="*/ 403 h 4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4" h="403">
                <a:moveTo>
                  <a:pt x="343" y="0"/>
                </a:moveTo>
                <a:lnTo>
                  <a:pt x="319" y="33"/>
                </a:lnTo>
                <a:lnTo>
                  <a:pt x="208" y="67"/>
                </a:lnTo>
                <a:lnTo>
                  <a:pt x="190" y="48"/>
                </a:lnTo>
                <a:lnTo>
                  <a:pt x="155" y="67"/>
                </a:lnTo>
                <a:lnTo>
                  <a:pt x="138" y="31"/>
                </a:lnTo>
                <a:lnTo>
                  <a:pt x="70" y="23"/>
                </a:lnTo>
                <a:lnTo>
                  <a:pt x="45" y="145"/>
                </a:lnTo>
                <a:lnTo>
                  <a:pt x="65" y="276"/>
                </a:lnTo>
                <a:lnTo>
                  <a:pt x="22" y="280"/>
                </a:lnTo>
                <a:lnTo>
                  <a:pt x="0" y="373"/>
                </a:lnTo>
                <a:lnTo>
                  <a:pt x="178" y="403"/>
                </a:lnTo>
                <a:lnTo>
                  <a:pt x="283" y="397"/>
                </a:lnTo>
                <a:lnTo>
                  <a:pt x="283" y="327"/>
                </a:lnTo>
                <a:lnTo>
                  <a:pt x="305" y="315"/>
                </a:lnTo>
                <a:lnTo>
                  <a:pt x="294" y="259"/>
                </a:lnTo>
                <a:lnTo>
                  <a:pt x="357" y="177"/>
                </a:lnTo>
                <a:lnTo>
                  <a:pt x="357" y="107"/>
                </a:lnTo>
                <a:lnTo>
                  <a:pt x="404" y="101"/>
                </a:lnTo>
                <a:lnTo>
                  <a:pt x="343" y="0"/>
                </a:lnTo>
                <a:close/>
              </a:path>
            </a:pathLst>
          </a:custGeom>
          <a:solidFill>
            <a:schemeClr val="accent3"/>
          </a:solidFill>
          <a:ln w="12700">
            <a:solidFill>
              <a:schemeClr val="bg1"/>
            </a:solidFill>
            <a:round/>
            <a:headEnd/>
            <a:tailEnd/>
          </a:ln>
        </p:spPr>
        <p:txBody>
          <a:bodyPr/>
          <a:lstStyle/>
          <a:p>
            <a:pPr>
              <a:defRPr/>
            </a:pPr>
            <a:endParaRPr lang="nl-NL"/>
          </a:p>
        </p:txBody>
      </p:sp>
      <p:sp>
        <p:nvSpPr>
          <p:cNvPr id="19" name="Freeform 20"/>
          <p:cNvSpPr>
            <a:spLocks noChangeAspect="1"/>
          </p:cNvSpPr>
          <p:nvPr/>
        </p:nvSpPr>
        <p:spPr bwMode="auto">
          <a:xfrm>
            <a:off x="3839353" y="2376686"/>
            <a:ext cx="498787" cy="360864"/>
          </a:xfrm>
          <a:custGeom>
            <a:avLst/>
            <a:gdLst>
              <a:gd name="T0" fmla="*/ 399 w 580"/>
              <a:gd name="T1" fmla="*/ 0 h 387"/>
              <a:gd name="T2" fmla="*/ 329 w 580"/>
              <a:gd name="T3" fmla="*/ 0 h 387"/>
              <a:gd name="T4" fmla="*/ 220 w 580"/>
              <a:gd name="T5" fmla="*/ 59 h 387"/>
              <a:gd name="T6" fmla="*/ 57 w 580"/>
              <a:gd name="T7" fmla="*/ 38 h 387"/>
              <a:gd name="T8" fmla="*/ 56 w 580"/>
              <a:gd name="T9" fmla="*/ 59 h 387"/>
              <a:gd name="T10" fmla="*/ 15 w 580"/>
              <a:gd name="T11" fmla="*/ 89 h 387"/>
              <a:gd name="T12" fmla="*/ 29 w 580"/>
              <a:gd name="T13" fmla="*/ 180 h 387"/>
              <a:gd name="T14" fmla="*/ 0 w 580"/>
              <a:gd name="T15" fmla="*/ 211 h 387"/>
              <a:gd name="T16" fmla="*/ 13 w 580"/>
              <a:gd name="T17" fmla="*/ 245 h 387"/>
              <a:gd name="T18" fmla="*/ 50 w 580"/>
              <a:gd name="T19" fmla="*/ 234 h 387"/>
              <a:gd name="T20" fmla="*/ 68 w 580"/>
              <a:gd name="T21" fmla="*/ 245 h 387"/>
              <a:gd name="T22" fmla="*/ 179 w 580"/>
              <a:gd name="T23" fmla="*/ 213 h 387"/>
              <a:gd name="T24" fmla="*/ 203 w 580"/>
              <a:gd name="T25" fmla="*/ 180 h 387"/>
              <a:gd name="T26" fmla="*/ 261 w 580"/>
              <a:gd name="T27" fmla="*/ 281 h 387"/>
              <a:gd name="T28" fmla="*/ 287 w 580"/>
              <a:gd name="T29" fmla="*/ 285 h 387"/>
              <a:gd name="T30" fmla="*/ 329 w 580"/>
              <a:gd name="T31" fmla="*/ 237 h 387"/>
              <a:gd name="T32" fmla="*/ 378 w 580"/>
              <a:gd name="T33" fmla="*/ 237 h 387"/>
              <a:gd name="T34" fmla="*/ 443 w 580"/>
              <a:gd name="T35" fmla="*/ 342 h 387"/>
              <a:gd name="T36" fmla="*/ 486 w 580"/>
              <a:gd name="T37" fmla="*/ 334 h 387"/>
              <a:gd name="T38" fmla="*/ 512 w 580"/>
              <a:gd name="T39" fmla="*/ 387 h 387"/>
              <a:gd name="T40" fmla="*/ 544 w 580"/>
              <a:gd name="T41" fmla="*/ 369 h 387"/>
              <a:gd name="T42" fmla="*/ 544 w 580"/>
              <a:gd name="T43" fmla="*/ 327 h 387"/>
              <a:gd name="T44" fmla="*/ 523 w 580"/>
              <a:gd name="T45" fmla="*/ 313 h 387"/>
              <a:gd name="T46" fmla="*/ 580 w 580"/>
              <a:gd name="T47" fmla="*/ 203 h 387"/>
              <a:gd name="T48" fmla="*/ 539 w 580"/>
              <a:gd name="T49" fmla="*/ 144 h 387"/>
              <a:gd name="T50" fmla="*/ 501 w 580"/>
              <a:gd name="T51" fmla="*/ 70 h 387"/>
              <a:gd name="T52" fmla="*/ 413 w 580"/>
              <a:gd name="T53" fmla="*/ 36 h 387"/>
              <a:gd name="T54" fmla="*/ 399 w 580"/>
              <a:gd name="T55" fmla="*/ 0 h 387"/>
              <a:gd name="T56" fmla="*/ 399 w 580"/>
              <a:gd name="T57" fmla="*/ 0 h 38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80"/>
              <a:gd name="T88" fmla="*/ 0 h 387"/>
              <a:gd name="T89" fmla="*/ 580 w 580"/>
              <a:gd name="T90" fmla="*/ 387 h 38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80" h="387">
                <a:moveTo>
                  <a:pt x="399" y="0"/>
                </a:moveTo>
                <a:lnTo>
                  <a:pt x="329" y="0"/>
                </a:lnTo>
                <a:lnTo>
                  <a:pt x="220" y="59"/>
                </a:lnTo>
                <a:lnTo>
                  <a:pt x="57" y="38"/>
                </a:lnTo>
                <a:lnTo>
                  <a:pt x="56" y="59"/>
                </a:lnTo>
                <a:lnTo>
                  <a:pt x="15" y="89"/>
                </a:lnTo>
                <a:lnTo>
                  <a:pt x="29" y="180"/>
                </a:lnTo>
                <a:lnTo>
                  <a:pt x="0" y="211"/>
                </a:lnTo>
                <a:lnTo>
                  <a:pt x="13" y="245"/>
                </a:lnTo>
                <a:lnTo>
                  <a:pt x="50" y="234"/>
                </a:lnTo>
                <a:lnTo>
                  <a:pt x="68" y="245"/>
                </a:lnTo>
                <a:lnTo>
                  <a:pt x="179" y="213"/>
                </a:lnTo>
                <a:lnTo>
                  <a:pt x="203" y="180"/>
                </a:lnTo>
                <a:lnTo>
                  <a:pt x="261" y="281"/>
                </a:lnTo>
                <a:lnTo>
                  <a:pt x="287" y="285"/>
                </a:lnTo>
                <a:lnTo>
                  <a:pt x="329" y="237"/>
                </a:lnTo>
                <a:lnTo>
                  <a:pt x="378" y="237"/>
                </a:lnTo>
                <a:lnTo>
                  <a:pt x="443" y="342"/>
                </a:lnTo>
                <a:lnTo>
                  <a:pt x="486" y="334"/>
                </a:lnTo>
                <a:lnTo>
                  <a:pt x="512" y="387"/>
                </a:lnTo>
                <a:lnTo>
                  <a:pt x="544" y="369"/>
                </a:lnTo>
                <a:lnTo>
                  <a:pt x="544" y="327"/>
                </a:lnTo>
                <a:lnTo>
                  <a:pt x="523" y="313"/>
                </a:lnTo>
                <a:lnTo>
                  <a:pt x="580" y="203"/>
                </a:lnTo>
                <a:lnTo>
                  <a:pt x="539" y="144"/>
                </a:lnTo>
                <a:lnTo>
                  <a:pt x="501" y="70"/>
                </a:lnTo>
                <a:lnTo>
                  <a:pt x="413" y="36"/>
                </a:lnTo>
                <a:lnTo>
                  <a:pt x="399" y="0"/>
                </a:lnTo>
                <a:close/>
              </a:path>
            </a:pathLst>
          </a:custGeom>
          <a:solidFill>
            <a:schemeClr val="accent3"/>
          </a:solidFill>
          <a:ln w="12700">
            <a:solidFill>
              <a:schemeClr val="bg1"/>
            </a:solidFill>
            <a:round/>
            <a:headEnd/>
            <a:tailEnd/>
          </a:ln>
        </p:spPr>
        <p:txBody>
          <a:bodyPr/>
          <a:lstStyle/>
          <a:p>
            <a:pPr>
              <a:defRPr/>
            </a:pPr>
            <a:endParaRPr lang="nl-NL"/>
          </a:p>
        </p:txBody>
      </p:sp>
      <p:sp>
        <p:nvSpPr>
          <p:cNvPr id="20" name="Freeform 21"/>
          <p:cNvSpPr>
            <a:spLocks noChangeAspect="1"/>
          </p:cNvSpPr>
          <p:nvPr/>
        </p:nvSpPr>
        <p:spPr bwMode="auto">
          <a:xfrm>
            <a:off x="3961892" y="2597318"/>
            <a:ext cx="350359" cy="418827"/>
          </a:xfrm>
          <a:custGeom>
            <a:avLst/>
            <a:gdLst>
              <a:gd name="T0" fmla="*/ 235 w 407"/>
              <a:gd name="T1" fmla="*/ 0 h 447"/>
              <a:gd name="T2" fmla="*/ 186 w 407"/>
              <a:gd name="T3" fmla="*/ 0 h 447"/>
              <a:gd name="T4" fmla="*/ 144 w 407"/>
              <a:gd name="T5" fmla="*/ 48 h 447"/>
              <a:gd name="T6" fmla="*/ 115 w 407"/>
              <a:gd name="T7" fmla="*/ 44 h 447"/>
              <a:gd name="T8" fmla="*/ 76 w 407"/>
              <a:gd name="T9" fmla="*/ 50 h 447"/>
              <a:gd name="T10" fmla="*/ 76 w 407"/>
              <a:gd name="T11" fmla="*/ 120 h 447"/>
              <a:gd name="T12" fmla="*/ 11 w 407"/>
              <a:gd name="T13" fmla="*/ 202 h 447"/>
              <a:gd name="T14" fmla="*/ 22 w 407"/>
              <a:gd name="T15" fmla="*/ 255 h 447"/>
              <a:gd name="T16" fmla="*/ 0 w 407"/>
              <a:gd name="T17" fmla="*/ 270 h 447"/>
              <a:gd name="T18" fmla="*/ 0 w 407"/>
              <a:gd name="T19" fmla="*/ 360 h 447"/>
              <a:gd name="T20" fmla="*/ 60 w 407"/>
              <a:gd name="T21" fmla="*/ 375 h 447"/>
              <a:gd name="T22" fmla="*/ 68 w 407"/>
              <a:gd name="T23" fmla="*/ 404 h 447"/>
              <a:gd name="T24" fmla="*/ 255 w 407"/>
              <a:gd name="T25" fmla="*/ 447 h 447"/>
              <a:gd name="T26" fmla="*/ 249 w 407"/>
              <a:gd name="T27" fmla="*/ 400 h 447"/>
              <a:gd name="T28" fmla="*/ 285 w 407"/>
              <a:gd name="T29" fmla="*/ 407 h 447"/>
              <a:gd name="T30" fmla="*/ 323 w 407"/>
              <a:gd name="T31" fmla="*/ 386 h 447"/>
              <a:gd name="T32" fmla="*/ 366 w 407"/>
              <a:gd name="T33" fmla="*/ 286 h 447"/>
              <a:gd name="T34" fmla="*/ 407 w 407"/>
              <a:gd name="T35" fmla="*/ 264 h 447"/>
              <a:gd name="T36" fmla="*/ 393 w 407"/>
              <a:gd name="T37" fmla="*/ 202 h 447"/>
              <a:gd name="T38" fmla="*/ 404 w 407"/>
              <a:gd name="T39" fmla="*/ 177 h 447"/>
              <a:gd name="T40" fmla="*/ 401 w 407"/>
              <a:gd name="T41" fmla="*/ 132 h 447"/>
              <a:gd name="T42" fmla="*/ 369 w 407"/>
              <a:gd name="T43" fmla="*/ 150 h 447"/>
              <a:gd name="T44" fmla="*/ 343 w 407"/>
              <a:gd name="T45" fmla="*/ 97 h 447"/>
              <a:gd name="T46" fmla="*/ 296 w 407"/>
              <a:gd name="T47" fmla="*/ 105 h 447"/>
              <a:gd name="T48" fmla="*/ 261 w 407"/>
              <a:gd name="T49" fmla="*/ 42 h 447"/>
              <a:gd name="T50" fmla="*/ 235 w 407"/>
              <a:gd name="T51" fmla="*/ 0 h 447"/>
              <a:gd name="T52" fmla="*/ 235 w 407"/>
              <a:gd name="T53" fmla="*/ 0 h 44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7"/>
              <a:gd name="T82" fmla="*/ 0 h 447"/>
              <a:gd name="T83" fmla="*/ 407 w 407"/>
              <a:gd name="T84" fmla="*/ 447 h 44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7" h="447">
                <a:moveTo>
                  <a:pt x="235" y="0"/>
                </a:moveTo>
                <a:lnTo>
                  <a:pt x="186" y="0"/>
                </a:lnTo>
                <a:lnTo>
                  <a:pt x="144" y="48"/>
                </a:lnTo>
                <a:lnTo>
                  <a:pt x="115" y="44"/>
                </a:lnTo>
                <a:lnTo>
                  <a:pt x="76" y="50"/>
                </a:lnTo>
                <a:lnTo>
                  <a:pt x="76" y="120"/>
                </a:lnTo>
                <a:lnTo>
                  <a:pt x="11" y="202"/>
                </a:lnTo>
                <a:lnTo>
                  <a:pt x="22" y="255"/>
                </a:lnTo>
                <a:lnTo>
                  <a:pt x="0" y="270"/>
                </a:lnTo>
                <a:lnTo>
                  <a:pt x="0" y="360"/>
                </a:lnTo>
                <a:lnTo>
                  <a:pt x="60" y="375"/>
                </a:lnTo>
                <a:lnTo>
                  <a:pt x="68" y="404"/>
                </a:lnTo>
                <a:lnTo>
                  <a:pt x="255" y="447"/>
                </a:lnTo>
                <a:lnTo>
                  <a:pt x="249" y="400"/>
                </a:lnTo>
                <a:lnTo>
                  <a:pt x="285" y="407"/>
                </a:lnTo>
                <a:lnTo>
                  <a:pt x="323" y="386"/>
                </a:lnTo>
                <a:lnTo>
                  <a:pt x="366" y="286"/>
                </a:lnTo>
                <a:lnTo>
                  <a:pt x="407" y="264"/>
                </a:lnTo>
                <a:lnTo>
                  <a:pt x="393" y="202"/>
                </a:lnTo>
                <a:lnTo>
                  <a:pt x="404" y="177"/>
                </a:lnTo>
                <a:lnTo>
                  <a:pt x="401" y="132"/>
                </a:lnTo>
                <a:lnTo>
                  <a:pt x="369" y="150"/>
                </a:lnTo>
                <a:lnTo>
                  <a:pt x="343" y="97"/>
                </a:lnTo>
                <a:lnTo>
                  <a:pt x="296" y="105"/>
                </a:lnTo>
                <a:lnTo>
                  <a:pt x="261" y="42"/>
                </a:lnTo>
                <a:lnTo>
                  <a:pt x="235" y="0"/>
                </a:lnTo>
                <a:close/>
              </a:path>
            </a:pathLst>
          </a:custGeom>
          <a:solidFill>
            <a:schemeClr val="accent3"/>
          </a:solidFill>
          <a:ln w="12700">
            <a:solidFill>
              <a:schemeClr val="bg1"/>
            </a:solidFill>
            <a:round/>
            <a:headEnd/>
            <a:tailEnd/>
          </a:ln>
        </p:spPr>
        <p:txBody>
          <a:bodyPr/>
          <a:lstStyle/>
          <a:p>
            <a:pPr>
              <a:defRPr/>
            </a:pPr>
            <a:endParaRPr lang="nl-NL"/>
          </a:p>
        </p:txBody>
      </p:sp>
      <p:sp>
        <p:nvSpPr>
          <p:cNvPr id="21" name="Freeform 22"/>
          <p:cNvSpPr>
            <a:spLocks noChangeAspect="1"/>
          </p:cNvSpPr>
          <p:nvPr/>
        </p:nvSpPr>
        <p:spPr bwMode="auto">
          <a:xfrm>
            <a:off x="4289814" y="2382295"/>
            <a:ext cx="350359" cy="450613"/>
          </a:xfrm>
          <a:custGeom>
            <a:avLst/>
            <a:gdLst>
              <a:gd name="T0" fmla="*/ 243 w 407"/>
              <a:gd name="T1" fmla="*/ 0 h 483"/>
              <a:gd name="T2" fmla="*/ 174 w 407"/>
              <a:gd name="T3" fmla="*/ 105 h 483"/>
              <a:gd name="T4" fmla="*/ 130 w 407"/>
              <a:gd name="T5" fmla="*/ 75 h 483"/>
              <a:gd name="T6" fmla="*/ 15 w 407"/>
              <a:gd name="T7" fmla="*/ 137 h 483"/>
              <a:gd name="T8" fmla="*/ 53 w 407"/>
              <a:gd name="T9" fmla="*/ 198 h 483"/>
              <a:gd name="T10" fmla="*/ 0 w 407"/>
              <a:gd name="T11" fmla="*/ 306 h 483"/>
              <a:gd name="T12" fmla="*/ 19 w 407"/>
              <a:gd name="T13" fmla="*/ 321 h 483"/>
              <a:gd name="T14" fmla="*/ 19 w 407"/>
              <a:gd name="T15" fmla="*/ 364 h 483"/>
              <a:gd name="T16" fmla="*/ 24 w 407"/>
              <a:gd name="T17" fmla="*/ 407 h 483"/>
              <a:gd name="T18" fmla="*/ 82 w 407"/>
              <a:gd name="T19" fmla="*/ 407 h 483"/>
              <a:gd name="T20" fmla="*/ 148 w 407"/>
              <a:gd name="T21" fmla="*/ 483 h 483"/>
              <a:gd name="T22" fmla="*/ 223 w 407"/>
              <a:gd name="T23" fmla="*/ 467 h 483"/>
              <a:gd name="T24" fmla="*/ 348 w 407"/>
              <a:gd name="T25" fmla="*/ 418 h 483"/>
              <a:gd name="T26" fmla="*/ 400 w 407"/>
              <a:gd name="T27" fmla="*/ 326 h 483"/>
              <a:gd name="T28" fmla="*/ 407 w 407"/>
              <a:gd name="T29" fmla="*/ 257 h 483"/>
              <a:gd name="T30" fmla="*/ 339 w 407"/>
              <a:gd name="T31" fmla="*/ 227 h 483"/>
              <a:gd name="T32" fmla="*/ 303 w 407"/>
              <a:gd name="T33" fmla="*/ 151 h 483"/>
              <a:gd name="T34" fmla="*/ 268 w 407"/>
              <a:gd name="T35" fmla="*/ 130 h 483"/>
              <a:gd name="T36" fmla="*/ 281 w 407"/>
              <a:gd name="T37" fmla="*/ 97 h 483"/>
              <a:gd name="T38" fmla="*/ 243 w 407"/>
              <a:gd name="T39" fmla="*/ 0 h 483"/>
              <a:gd name="T40" fmla="*/ 243 w 407"/>
              <a:gd name="T41" fmla="*/ 0 h 48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7"/>
              <a:gd name="T64" fmla="*/ 0 h 483"/>
              <a:gd name="T65" fmla="*/ 407 w 407"/>
              <a:gd name="T66" fmla="*/ 483 h 48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7" h="483">
                <a:moveTo>
                  <a:pt x="243" y="0"/>
                </a:moveTo>
                <a:lnTo>
                  <a:pt x="174" y="105"/>
                </a:lnTo>
                <a:lnTo>
                  <a:pt x="130" y="75"/>
                </a:lnTo>
                <a:lnTo>
                  <a:pt x="15" y="137"/>
                </a:lnTo>
                <a:lnTo>
                  <a:pt x="53" y="198"/>
                </a:lnTo>
                <a:lnTo>
                  <a:pt x="0" y="306"/>
                </a:lnTo>
                <a:lnTo>
                  <a:pt x="19" y="321"/>
                </a:lnTo>
                <a:lnTo>
                  <a:pt x="19" y="364"/>
                </a:lnTo>
                <a:lnTo>
                  <a:pt x="24" y="407"/>
                </a:lnTo>
                <a:lnTo>
                  <a:pt x="82" y="407"/>
                </a:lnTo>
                <a:lnTo>
                  <a:pt x="148" y="483"/>
                </a:lnTo>
                <a:lnTo>
                  <a:pt x="223" y="467"/>
                </a:lnTo>
                <a:lnTo>
                  <a:pt x="348" y="418"/>
                </a:lnTo>
                <a:lnTo>
                  <a:pt x="400" y="326"/>
                </a:lnTo>
                <a:lnTo>
                  <a:pt x="407" y="257"/>
                </a:lnTo>
                <a:lnTo>
                  <a:pt x="339" y="227"/>
                </a:lnTo>
                <a:lnTo>
                  <a:pt x="303" y="151"/>
                </a:lnTo>
                <a:lnTo>
                  <a:pt x="268" y="130"/>
                </a:lnTo>
                <a:lnTo>
                  <a:pt x="281" y="97"/>
                </a:lnTo>
                <a:lnTo>
                  <a:pt x="243" y="0"/>
                </a:lnTo>
                <a:close/>
              </a:path>
            </a:pathLst>
          </a:custGeom>
          <a:solidFill>
            <a:schemeClr val="accent3"/>
          </a:solidFill>
          <a:ln w="12700">
            <a:solidFill>
              <a:schemeClr val="bg1"/>
            </a:solidFill>
            <a:round/>
            <a:headEnd/>
            <a:tailEnd/>
          </a:ln>
        </p:spPr>
        <p:txBody>
          <a:bodyPr/>
          <a:lstStyle/>
          <a:p>
            <a:pPr>
              <a:defRPr/>
            </a:pPr>
            <a:endParaRPr lang="nl-NL"/>
          </a:p>
        </p:txBody>
      </p:sp>
      <p:sp>
        <p:nvSpPr>
          <p:cNvPr id="22" name="Freeform 23"/>
          <p:cNvSpPr>
            <a:spLocks noChangeAspect="1"/>
          </p:cNvSpPr>
          <p:nvPr/>
        </p:nvSpPr>
        <p:spPr bwMode="auto">
          <a:xfrm>
            <a:off x="4527989" y="2251412"/>
            <a:ext cx="267515" cy="138362"/>
          </a:xfrm>
          <a:custGeom>
            <a:avLst/>
            <a:gdLst>
              <a:gd name="T0" fmla="*/ 308 w 308"/>
              <a:gd name="T1" fmla="*/ 73 h 149"/>
              <a:gd name="T2" fmla="*/ 197 w 308"/>
              <a:gd name="T3" fmla="*/ 18 h 149"/>
              <a:gd name="T4" fmla="*/ 62 w 308"/>
              <a:gd name="T5" fmla="*/ 26 h 149"/>
              <a:gd name="T6" fmla="*/ 41 w 308"/>
              <a:gd name="T7" fmla="*/ 3 h 149"/>
              <a:gd name="T8" fmla="*/ 22 w 308"/>
              <a:gd name="T9" fmla="*/ 0 h 149"/>
              <a:gd name="T10" fmla="*/ 0 w 308"/>
              <a:gd name="T11" fmla="*/ 71 h 149"/>
              <a:gd name="T12" fmla="*/ 159 w 308"/>
              <a:gd name="T13" fmla="*/ 117 h 149"/>
              <a:gd name="T14" fmla="*/ 188 w 308"/>
              <a:gd name="T15" fmla="*/ 149 h 149"/>
              <a:gd name="T16" fmla="*/ 307 w 308"/>
              <a:gd name="T17" fmla="*/ 103 h 149"/>
              <a:gd name="T18" fmla="*/ 308 w 308"/>
              <a:gd name="T19" fmla="*/ 73 h 149"/>
              <a:gd name="T20" fmla="*/ 308 w 308"/>
              <a:gd name="T21" fmla="*/ 73 h 1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8"/>
              <a:gd name="T34" fmla="*/ 0 h 149"/>
              <a:gd name="T35" fmla="*/ 308 w 308"/>
              <a:gd name="T36" fmla="*/ 149 h 1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8" h="149">
                <a:moveTo>
                  <a:pt x="308" y="73"/>
                </a:moveTo>
                <a:lnTo>
                  <a:pt x="197" y="18"/>
                </a:lnTo>
                <a:lnTo>
                  <a:pt x="62" y="26"/>
                </a:lnTo>
                <a:lnTo>
                  <a:pt x="41" y="3"/>
                </a:lnTo>
                <a:lnTo>
                  <a:pt x="22" y="0"/>
                </a:lnTo>
                <a:lnTo>
                  <a:pt x="0" y="71"/>
                </a:lnTo>
                <a:lnTo>
                  <a:pt x="159" y="117"/>
                </a:lnTo>
                <a:lnTo>
                  <a:pt x="188" y="149"/>
                </a:lnTo>
                <a:lnTo>
                  <a:pt x="307" y="103"/>
                </a:lnTo>
                <a:lnTo>
                  <a:pt x="308" y="73"/>
                </a:lnTo>
                <a:close/>
              </a:path>
            </a:pathLst>
          </a:custGeom>
          <a:solidFill>
            <a:schemeClr val="accent3"/>
          </a:solidFill>
          <a:ln w="12700">
            <a:solidFill>
              <a:schemeClr val="bg1"/>
            </a:solidFill>
            <a:round/>
            <a:headEnd/>
            <a:tailEnd/>
          </a:ln>
        </p:spPr>
        <p:txBody>
          <a:bodyPr/>
          <a:lstStyle/>
          <a:p>
            <a:pPr>
              <a:defRPr/>
            </a:pPr>
            <a:endParaRPr lang="nl-NL"/>
          </a:p>
        </p:txBody>
      </p:sp>
      <p:sp>
        <p:nvSpPr>
          <p:cNvPr id="23" name="Freeform 24"/>
          <p:cNvSpPr>
            <a:spLocks noChangeAspect="1"/>
          </p:cNvSpPr>
          <p:nvPr/>
        </p:nvSpPr>
        <p:spPr bwMode="auto">
          <a:xfrm>
            <a:off x="4479664" y="2313114"/>
            <a:ext cx="231271" cy="295422"/>
          </a:xfrm>
          <a:custGeom>
            <a:avLst/>
            <a:gdLst>
              <a:gd name="T0" fmla="*/ 58 w 268"/>
              <a:gd name="T1" fmla="*/ 0 h 316"/>
              <a:gd name="T2" fmla="*/ 0 w 268"/>
              <a:gd name="T3" fmla="*/ 41 h 316"/>
              <a:gd name="T4" fmla="*/ 23 w 268"/>
              <a:gd name="T5" fmla="*/ 76 h 316"/>
              <a:gd name="T6" fmla="*/ 61 w 268"/>
              <a:gd name="T7" fmla="*/ 171 h 316"/>
              <a:gd name="T8" fmla="*/ 46 w 268"/>
              <a:gd name="T9" fmla="*/ 204 h 316"/>
              <a:gd name="T10" fmla="*/ 84 w 268"/>
              <a:gd name="T11" fmla="*/ 225 h 316"/>
              <a:gd name="T12" fmla="*/ 119 w 268"/>
              <a:gd name="T13" fmla="*/ 304 h 316"/>
              <a:gd name="T14" fmla="*/ 154 w 268"/>
              <a:gd name="T15" fmla="*/ 316 h 316"/>
              <a:gd name="T16" fmla="*/ 210 w 268"/>
              <a:gd name="T17" fmla="*/ 173 h 316"/>
              <a:gd name="T18" fmla="*/ 268 w 268"/>
              <a:gd name="T19" fmla="*/ 171 h 316"/>
              <a:gd name="T20" fmla="*/ 219 w 268"/>
              <a:gd name="T21" fmla="*/ 109 h 316"/>
              <a:gd name="T22" fmla="*/ 245 w 268"/>
              <a:gd name="T23" fmla="*/ 82 h 316"/>
              <a:gd name="T24" fmla="*/ 216 w 268"/>
              <a:gd name="T25" fmla="*/ 50 h 316"/>
              <a:gd name="T26" fmla="*/ 58 w 268"/>
              <a:gd name="T27" fmla="*/ 0 h 316"/>
              <a:gd name="T28" fmla="*/ 58 w 268"/>
              <a:gd name="T29" fmla="*/ 0 h 3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8"/>
              <a:gd name="T46" fmla="*/ 0 h 316"/>
              <a:gd name="T47" fmla="*/ 268 w 268"/>
              <a:gd name="T48" fmla="*/ 316 h 3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8" h="316">
                <a:moveTo>
                  <a:pt x="58" y="0"/>
                </a:moveTo>
                <a:lnTo>
                  <a:pt x="0" y="41"/>
                </a:lnTo>
                <a:lnTo>
                  <a:pt x="23" y="76"/>
                </a:lnTo>
                <a:lnTo>
                  <a:pt x="61" y="171"/>
                </a:lnTo>
                <a:lnTo>
                  <a:pt x="46" y="204"/>
                </a:lnTo>
                <a:lnTo>
                  <a:pt x="84" y="225"/>
                </a:lnTo>
                <a:lnTo>
                  <a:pt x="119" y="304"/>
                </a:lnTo>
                <a:lnTo>
                  <a:pt x="154" y="316"/>
                </a:lnTo>
                <a:lnTo>
                  <a:pt x="210" y="173"/>
                </a:lnTo>
                <a:lnTo>
                  <a:pt x="268" y="171"/>
                </a:lnTo>
                <a:lnTo>
                  <a:pt x="219" y="109"/>
                </a:lnTo>
                <a:lnTo>
                  <a:pt x="245" y="82"/>
                </a:lnTo>
                <a:lnTo>
                  <a:pt x="216" y="50"/>
                </a:lnTo>
                <a:lnTo>
                  <a:pt x="58" y="0"/>
                </a:lnTo>
                <a:close/>
              </a:path>
            </a:pathLst>
          </a:custGeom>
          <a:solidFill>
            <a:schemeClr val="accent3"/>
          </a:solidFill>
          <a:ln w="12700">
            <a:solidFill>
              <a:schemeClr val="bg1"/>
            </a:solidFill>
            <a:round/>
            <a:headEnd/>
            <a:tailEnd/>
          </a:ln>
        </p:spPr>
        <p:txBody>
          <a:bodyPr/>
          <a:lstStyle/>
          <a:p>
            <a:pPr>
              <a:defRPr/>
            </a:pPr>
            <a:endParaRPr lang="nl-NL"/>
          </a:p>
        </p:txBody>
      </p:sp>
      <p:sp>
        <p:nvSpPr>
          <p:cNvPr id="24" name="Freeform 25"/>
          <p:cNvSpPr>
            <a:spLocks noChangeAspect="1"/>
          </p:cNvSpPr>
          <p:nvPr/>
        </p:nvSpPr>
        <p:spPr bwMode="auto">
          <a:xfrm>
            <a:off x="4757535" y="2301895"/>
            <a:ext cx="305485" cy="458092"/>
          </a:xfrm>
          <a:custGeom>
            <a:avLst/>
            <a:gdLst>
              <a:gd name="T0" fmla="*/ 42 w 352"/>
              <a:gd name="T1" fmla="*/ 17 h 488"/>
              <a:gd name="T2" fmla="*/ 41 w 352"/>
              <a:gd name="T3" fmla="*/ 47 h 488"/>
              <a:gd name="T4" fmla="*/ 51 w 352"/>
              <a:gd name="T5" fmla="*/ 139 h 488"/>
              <a:gd name="T6" fmla="*/ 48 w 352"/>
              <a:gd name="T7" fmla="*/ 192 h 488"/>
              <a:gd name="T8" fmla="*/ 33 w 352"/>
              <a:gd name="T9" fmla="*/ 285 h 488"/>
              <a:gd name="T10" fmla="*/ 0 w 352"/>
              <a:gd name="T11" fmla="*/ 394 h 488"/>
              <a:gd name="T12" fmla="*/ 27 w 352"/>
              <a:gd name="T13" fmla="*/ 443 h 488"/>
              <a:gd name="T14" fmla="*/ 3 w 352"/>
              <a:gd name="T15" fmla="*/ 488 h 488"/>
              <a:gd name="T16" fmla="*/ 167 w 352"/>
              <a:gd name="T17" fmla="*/ 458 h 488"/>
              <a:gd name="T18" fmla="*/ 197 w 352"/>
              <a:gd name="T19" fmla="*/ 376 h 488"/>
              <a:gd name="T20" fmla="*/ 238 w 352"/>
              <a:gd name="T21" fmla="*/ 348 h 488"/>
              <a:gd name="T22" fmla="*/ 320 w 352"/>
              <a:gd name="T23" fmla="*/ 348 h 488"/>
              <a:gd name="T24" fmla="*/ 319 w 352"/>
              <a:gd name="T25" fmla="*/ 285 h 488"/>
              <a:gd name="T26" fmla="*/ 352 w 352"/>
              <a:gd name="T27" fmla="*/ 245 h 488"/>
              <a:gd name="T28" fmla="*/ 314 w 352"/>
              <a:gd name="T29" fmla="*/ 161 h 488"/>
              <a:gd name="T30" fmla="*/ 349 w 352"/>
              <a:gd name="T31" fmla="*/ 137 h 488"/>
              <a:gd name="T32" fmla="*/ 337 w 352"/>
              <a:gd name="T33" fmla="*/ 123 h 488"/>
              <a:gd name="T34" fmla="*/ 250 w 352"/>
              <a:gd name="T35" fmla="*/ 67 h 488"/>
              <a:gd name="T36" fmla="*/ 206 w 352"/>
              <a:gd name="T37" fmla="*/ 0 h 488"/>
              <a:gd name="T38" fmla="*/ 102 w 352"/>
              <a:gd name="T39" fmla="*/ 23 h 488"/>
              <a:gd name="T40" fmla="*/ 42 w 352"/>
              <a:gd name="T41" fmla="*/ 17 h 488"/>
              <a:gd name="T42" fmla="*/ 42 w 352"/>
              <a:gd name="T43" fmla="*/ 17 h 4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2"/>
              <a:gd name="T67" fmla="*/ 0 h 488"/>
              <a:gd name="T68" fmla="*/ 352 w 352"/>
              <a:gd name="T69" fmla="*/ 488 h 4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2" h="488">
                <a:moveTo>
                  <a:pt x="42" y="17"/>
                </a:moveTo>
                <a:lnTo>
                  <a:pt x="41" y="47"/>
                </a:lnTo>
                <a:lnTo>
                  <a:pt x="51" y="139"/>
                </a:lnTo>
                <a:lnTo>
                  <a:pt x="48" y="192"/>
                </a:lnTo>
                <a:lnTo>
                  <a:pt x="33" y="285"/>
                </a:lnTo>
                <a:lnTo>
                  <a:pt x="0" y="394"/>
                </a:lnTo>
                <a:lnTo>
                  <a:pt x="27" y="443"/>
                </a:lnTo>
                <a:lnTo>
                  <a:pt x="3" y="488"/>
                </a:lnTo>
                <a:lnTo>
                  <a:pt x="167" y="458"/>
                </a:lnTo>
                <a:lnTo>
                  <a:pt x="197" y="376"/>
                </a:lnTo>
                <a:lnTo>
                  <a:pt x="238" y="348"/>
                </a:lnTo>
                <a:lnTo>
                  <a:pt x="320" y="348"/>
                </a:lnTo>
                <a:lnTo>
                  <a:pt x="319" y="285"/>
                </a:lnTo>
                <a:lnTo>
                  <a:pt x="352" y="245"/>
                </a:lnTo>
                <a:lnTo>
                  <a:pt x="314" y="161"/>
                </a:lnTo>
                <a:lnTo>
                  <a:pt x="349" y="137"/>
                </a:lnTo>
                <a:lnTo>
                  <a:pt x="337" y="123"/>
                </a:lnTo>
                <a:lnTo>
                  <a:pt x="250" y="67"/>
                </a:lnTo>
                <a:lnTo>
                  <a:pt x="206" y="0"/>
                </a:lnTo>
                <a:lnTo>
                  <a:pt x="102" y="23"/>
                </a:lnTo>
                <a:lnTo>
                  <a:pt x="42" y="17"/>
                </a:lnTo>
                <a:close/>
              </a:path>
            </a:pathLst>
          </a:custGeom>
          <a:solidFill>
            <a:schemeClr val="accent3"/>
          </a:solidFill>
          <a:ln w="12700">
            <a:solidFill>
              <a:schemeClr val="bg1"/>
            </a:solidFill>
            <a:round/>
            <a:headEnd/>
            <a:tailEnd/>
          </a:ln>
        </p:spPr>
        <p:txBody>
          <a:bodyPr/>
          <a:lstStyle/>
          <a:p>
            <a:pPr>
              <a:defRPr/>
            </a:pPr>
            <a:endParaRPr lang="nl-NL"/>
          </a:p>
        </p:txBody>
      </p:sp>
      <p:sp>
        <p:nvSpPr>
          <p:cNvPr id="25" name="Freeform 26"/>
          <p:cNvSpPr>
            <a:spLocks noChangeAspect="1"/>
          </p:cNvSpPr>
          <p:nvPr/>
        </p:nvSpPr>
        <p:spPr bwMode="auto">
          <a:xfrm>
            <a:off x="5033680" y="2487002"/>
            <a:ext cx="410766" cy="345906"/>
          </a:xfrm>
          <a:custGeom>
            <a:avLst/>
            <a:gdLst>
              <a:gd name="T0" fmla="*/ 33 w 477"/>
              <a:gd name="T1" fmla="*/ 51 h 370"/>
              <a:gd name="T2" fmla="*/ 0 w 477"/>
              <a:gd name="T3" fmla="*/ 85 h 370"/>
              <a:gd name="T4" fmla="*/ 0 w 477"/>
              <a:gd name="T5" fmla="*/ 150 h 370"/>
              <a:gd name="T6" fmla="*/ 49 w 477"/>
              <a:gd name="T7" fmla="*/ 173 h 370"/>
              <a:gd name="T8" fmla="*/ 85 w 477"/>
              <a:gd name="T9" fmla="*/ 277 h 370"/>
              <a:gd name="T10" fmla="*/ 112 w 477"/>
              <a:gd name="T11" fmla="*/ 256 h 370"/>
              <a:gd name="T12" fmla="*/ 164 w 477"/>
              <a:gd name="T13" fmla="*/ 348 h 370"/>
              <a:gd name="T14" fmla="*/ 241 w 477"/>
              <a:gd name="T15" fmla="*/ 370 h 370"/>
              <a:gd name="T16" fmla="*/ 437 w 477"/>
              <a:gd name="T17" fmla="*/ 313 h 370"/>
              <a:gd name="T18" fmla="*/ 477 w 477"/>
              <a:gd name="T19" fmla="*/ 277 h 370"/>
              <a:gd name="T20" fmla="*/ 477 w 477"/>
              <a:gd name="T21" fmla="*/ 208 h 370"/>
              <a:gd name="T22" fmla="*/ 416 w 477"/>
              <a:gd name="T23" fmla="*/ 114 h 370"/>
              <a:gd name="T24" fmla="*/ 416 w 477"/>
              <a:gd name="T25" fmla="*/ 74 h 370"/>
              <a:gd name="T26" fmla="*/ 328 w 477"/>
              <a:gd name="T27" fmla="*/ 55 h 370"/>
              <a:gd name="T28" fmla="*/ 298 w 477"/>
              <a:gd name="T29" fmla="*/ 0 h 370"/>
              <a:gd name="T30" fmla="*/ 211 w 477"/>
              <a:gd name="T31" fmla="*/ 0 h 370"/>
              <a:gd name="T32" fmla="*/ 153 w 477"/>
              <a:gd name="T33" fmla="*/ 82 h 370"/>
              <a:gd name="T34" fmla="*/ 91 w 477"/>
              <a:gd name="T35" fmla="*/ 82 h 370"/>
              <a:gd name="T36" fmla="*/ 33 w 477"/>
              <a:gd name="T37" fmla="*/ 51 h 370"/>
              <a:gd name="T38" fmla="*/ 33 w 477"/>
              <a:gd name="T39" fmla="*/ 51 h 3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7"/>
              <a:gd name="T61" fmla="*/ 0 h 370"/>
              <a:gd name="T62" fmla="*/ 477 w 477"/>
              <a:gd name="T63" fmla="*/ 370 h 3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7" h="370">
                <a:moveTo>
                  <a:pt x="33" y="51"/>
                </a:moveTo>
                <a:lnTo>
                  <a:pt x="0" y="85"/>
                </a:lnTo>
                <a:lnTo>
                  <a:pt x="0" y="150"/>
                </a:lnTo>
                <a:lnTo>
                  <a:pt x="49" y="173"/>
                </a:lnTo>
                <a:lnTo>
                  <a:pt x="85" y="277"/>
                </a:lnTo>
                <a:lnTo>
                  <a:pt x="112" y="256"/>
                </a:lnTo>
                <a:lnTo>
                  <a:pt x="164" y="348"/>
                </a:lnTo>
                <a:lnTo>
                  <a:pt x="241" y="370"/>
                </a:lnTo>
                <a:lnTo>
                  <a:pt x="437" y="313"/>
                </a:lnTo>
                <a:lnTo>
                  <a:pt x="477" y="277"/>
                </a:lnTo>
                <a:lnTo>
                  <a:pt x="477" y="208"/>
                </a:lnTo>
                <a:lnTo>
                  <a:pt x="416" y="114"/>
                </a:lnTo>
                <a:lnTo>
                  <a:pt x="416" y="74"/>
                </a:lnTo>
                <a:lnTo>
                  <a:pt x="328" y="55"/>
                </a:lnTo>
                <a:lnTo>
                  <a:pt x="298" y="0"/>
                </a:lnTo>
                <a:lnTo>
                  <a:pt x="211" y="0"/>
                </a:lnTo>
                <a:lnTo>
                  <a:pt x="153" y="82"/>
                </a:lnTo>
                <a:lnTo>
                  <a:pt x="91" y="82"/>
                </a:lnTo>
                <a:lnTo>
                  <a:pt x="33" y="51"/>
                </a:lnTo>
                <a:close/>
              </a:path>
            </a:pathLst>
          </a:custGeom>
          <a:solidFill>
            <a:schemeClr val="accent3"/>
          </a:solidFill>
          <a:ln w="12700">
            <a:solidFill>
              <a:schemeClr val="bg1"/>
            </a:solidFill>
            <a:round/>
            <a:headEnd/>
            <a:tailEnd/>
          </a:ln>
        </p:spPr>
        <p:txBody>
          <a:bodyPr/>
          <a:lstStyle/>
          <a:p>
            <a:pPr>
              <a:defRPr/>
            </a:pPr>
            <a:endParaRPr lang="nl-NL"/>
          </a:p>
        </p:txBody>
      </p:sp>
      <p:sp>
        <p:nvSpPr>
          <p:cNvPr id="26" name="Freeform 27"/>
          <p:cNvSpPr>
            <a:spLocks noChangeAspect="1"/>
          </p:cNvSpPr>
          <p:nvPr/>
        </p:nvSpPr>
        <p:spPr bwMode="auto">
          <a:xfrm>
            <a:off x="4612559" y="2472044"/>
            <a:ext cx="188124" cy="215023"/>
          </a:xfrm>
          <a:custGeom>
            <a:avLst/>
            <a:gdLst>
              <a:gd name="T0" fmla="*/ 117 w 217"/>
              <a:gd name="T1" fmla="*/ 5 h 229"/>
              <a:gd name="T2" fmla="*/ 111 w 217"/>
              <a:gd name="T3" fmla="*/ 0 h 229"/>
              <a:gd name="T4" fmla="*/ 56 w 217"/>
              <a:gd name="T5" fmla="*/ 0 h 229"/>
              <a:gd name="T6" fmla="*/ 0 w 217"/>
              <a:gd name="T7" fmla="*/ 145 h 229"/>
              <a:gd name="T8" fmla="*/ 33 w 217"/>
              <a:gd name="T9" fmla="*/ 162 h 229"/>
              <a:gd name="T10" fmla="*/ 26 w 217"/>
              <a:gd name="T11" fmla="*/ 229 h 229"/>
              <a:gd name="T12" fmla="*/ 169 w 217"/>
              <a:gd name="T13" fmla="*/ 212 h 229"/>
              <a:gd name="T14" fmla="*/ 202 w 217"/>
              <a:gd name="T15" fmla="*/ 101 h 229"/>
              <a:gd name="T16" fmla="*/ 217 w 217"/>
              <a:gd name="T17" fmla="*/ 10 h 229"/>
              <a:gd name="T18" fmla="*/ 117 w 217"/>
              <a:gd name="T19" fmla="*/ 5 h 229"/>
              <a:gd name="T20" fmla="*/ 117 w 217"/>
              <a:gd name="T21" fmla="*/ 5 h 2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7"/>
              <a:gd name="T34" fmla="*/ 0 h 229"/>
              <a:gd name="T35" fmla="*/ 217 w 217"/>
              <a:gd name="T36" fmla="*/ 229 h 2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7" h="229">
                <a:moveTo>
                  <a:pt x="117" y="5"/>
                </a:moveTo>
                <a:lnTo>
                  <a:pt x="111" y="0"/>
                </a:lnTo>
                <a:lnTo>
                  <a:pt x="56" y="0"/>
                </a:lnTo>
                <a:lnTo>
                  <a:pt x="0" y="145"/>
                </a:lnTo>
                <a:lnTo>
                  <a:pt x="33" y="162"/>
                </a:lnTo>
                <a:lnTo>
                  <a:pt x="26" y="229"/>
                </a:lnTo>
                <a:lnTo>
                  <a:pt x="169" y="212"/>
                </a:lnTo>
                <a:lnTo>
                  <a:pt x="202" y="101"/>
                </a:lnTo>
                <a:lnTo>
                  <a:pt x="217" y="10"/>
                </a:lnTo>
                <a:lnTo>
                  <a:pt x="117" y="5"/>
                </a:lnTo>
                <a:close/>
              </a:path>
            </a:pathLst>
          </a:custGeom>
          <a:solidFill>
            <a:schemeClr val="accent3"/>
          </a:solidFill>
          <a:ln w="12700">
            <a:solidFill>
              <a:schemeClr val="bg1"/>
            </a:solidFill>
            <a:round/>
            <a:headEnd/>
            <a:tailEnd/>
          </a:ln>
        </p:spPr>
        <p:txBody>
          <a:bodyPr/>
          <a:lstStyle/>
          <a:p>
            <a:pPr>
              <a:defRPr/>
            </a:pPr>
            <a:endParaRPr lang="nl-NL"/>
          </a:p>
        </p:txBody>
      </p:sp>
      <p:sp>
        <p:nvSpPr>
          <p:cNvPr id="27" name="Freeform 28"/>
          <p:cNvSpPr>
            <a:spLocks noChangeAspect="1"/>
          </p:cNvSpPr>
          <p:nvPr/>
        </p:nvSpPr>
        <p:spPr bwMode="auto">
          <a:xfrm>
            <a:off x="4490019" y="2670239"/>
            <a:ext cx="471172" cy="370213"/>
          </a:xfrm>
          <a:custGeom>
            <a:avLst/>
            <a:gdLst>
              <a:gd name="T0" fmla="*/ 168 w 546"/>
              <a:gd name="T1" fmla="*/ 17 h 395"/>
              <a:gd name="T2" fmla="*/ 113 w 546"/>
              <a:gd name="T3" fmla="*/ 108 h 395"/>
              <a:gd name="T4" fmla="*/ 0 w 546"/>
              <a:gd name="T5" fmla="*/ 153 h 395"/>
              <a:gd name="T6" fmla="*/ 24 w 546"/>
              <a:gd name="T7" fmla="*/ 239 h 395"/>
              <a:gd name="T8" fmla="*/ 75 w 546"/>
              <a:gd name="T9" fmla="*/ 278 h 395"/>
              <a:gd name="T10" fmla="*/ 86 w 546"/>
              <a:gd name="T11" fmla="*/ 311 h 395"/>
              <a:gd name="T12" fmla="*/ 198 w 546"/>
              <a:gd name="T13" fmla="*/ 311 h 395"/>
              <a:gd name="T14" fmla="*/ 256 w 546"/>
              <a:gd name="T15" fmla="*/ 334 h 395"/>
              <a:gd name="T16" fmla="*/ 324 w 546"/>
              <a:gd name="T17" fmla="*/ 342 h 395"/>
              <a:gd name="T18" fmla="*/ 396 w 546"/>
              <a:gd name="T19" fmla="*/ 395 h 395"/>
              <a:gd name="T20" fmla="*/ 499 w 546"/>
              <a:gd name="T21" fmla="*/ 357 h 395"/>
              <a:gd name="T22" fmla="*/ 446 w 546"/>
              <a:gd name="T23" fmla="*/ 277 h 395"/>
              <a:gd name="T24" fmla="*/ 511 w 546"/>
              <a:gd name="T25" fmla="*/ 250 h 395"/>
              <a:gd name="T26" fmla="*/ 496 w 546"/>
              <a:gd name="T27" fmla="*/ 212 h 395"/>
              <a:gd name="T28" fmla="*/ 546 w 546"/>
              <a:gd name="T29" fmla="*/ 140 h 395"/>
              <a:gd name="T30" fmla="*/ 478 w 546"/>
              <a:gd name="T31" fmla="*/ 64 h 395"/>
              <a:gd name="T32" fmla="*/ 314 w 546"/>
              <a:gd name="T33" fmla="*/ 94 h 395"/>
              <a:gd name="T34" fmla="*/ 338 w 546"/>
              <a:gd name="T35" fmla="*/ 49 h 395"/>
              <a:gd name="T36" fmla="*/ 314 w 546"/>
              <a:gd name="T37" fmla="*/ 0 h 395"/>
              <a:gd name="T38" fmla="*/ 168 w 546"/>
              <a:gd name="T39" fmla="*/ 17 h 395"/>
              <a:gd name="T40" fmla="*/ 168 w 546"/>
              <a:gd name="T41" fmla="*/ 17 h 39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6"/>
              <a:gd name="T64" fmla="*/ 0 h 395"/>
              <a:gd name="T65" fmla="*/ 546 w 546"/>
              <a:gd name="T66" fmla="*/ 395 h 39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6" h="395">
                <a:moveTo>
                  <a:pt x="168" y="17"/>
                </a:moveTo>
                <a:lnTo>
                  <a:pt x="113" y="108"/>
                </a:lnTo>
                <a:lnTo>
                  <a:pt x="0" y="153"/>
                </a:lnTo>
                <a:lnTo>
                  <a:pt x="24" y="239"/>
                </a:lnTo>
                <a:lnTo>
                  <a:pt x="75" y="278"/>
                </a:lnTo>
                <a:lnTo>
                  <a:pt x="86" y="311"/>
                </a:lnTo>
                <a:lnTo>
                  <a:pt x="198" y="311"/>
                </a:lnTo>
                <a:lnTo>
                  <a:pt x="256" y="334"/>
                </a:lnTo>
                <a:lnTo>
                  <a:pt x="324" y="342"/>
                </a:lnTo>
                <a:lnTo>
                  <a:pt x="396" y="395"/>
                </a:lnTo>
                <a:lnTo>
                  <a:pt x="499" y="357"/>
                </a:lnTo>
                <a:lnTo>
                  <a:pt x="446" y="277"/>
                </a:lnTo>
                <a:lnTo>
                  <a:pt x="511" y="250"/>
                </a:lnTo>
                <a:lnTo>
                  <a:pt x="496" y="212"/>
                </a:lnTo>
                <a:lnTo>
                  <a:pt x="546" y="140"/>
                </a:lnTo>
                <a:lnTo>
                  <a:pt x="478" y="64"/>
                </a:lnTo>
                <a:lnTo>
                  <a:pt x="314" y="94"/>
                </a:lnTo>
                <a:lnTo>
                  <a:pt x="338" y="49"/>
                </a:lnTo>
                <a:lnTo>
                  <a:pt x="314" y="0"/>
                </a:lnTo>
                <a:lnTo>
                  <a:pt x="168" y="17"/>
                </a:lnTo>
                <a:close/>
              </a:path>
            </a:pathLst>
          </a:custGeom>
          <a:solidFill>
            <a:schemeClr val="accent3"/>
          </a:solidFill>
          <a:ln w="12700">
            <a:solidFill>
              <a:schemeClr val="bg1"/>
            </a:solidFill>
            <a:round/>
            <a:headEnd/>
            <a:tailEnd/>
          </a:ln>
        </p:spPr>
        <p:txBody>
          <a:bodyPr/>
          <a:lstStyle/>
          <a:p>
            <a:pPr>
              <a:defRPr/>
            </a:pPr>
            <a:endParaRPr lang="nl-NL"/>
          </a:p>
        </p:txBody>
      </p:sp>
      <p:sp>
        <p:nvSpPr>
          <p:cNvPr id="28" name="Freeform 29"/>
          <p:cNvSpPr>
            <a:spLocks noChangeAspect="1"/>
          </p:cNvSpPr>
          <p:nvPr/>
        </p:nvSpPr>
        <p:spPr bwMode="auto">
          <a:xfrm>
            <a:off x="4874897" y="2627234"/>
            <a:ext cx="431476" cy="480529"/>
          </a:xfrm>
          <a:custGeom>
            <a:avLst/>
            <a:gdLst>
              <a:gd name="T0" fmla="*/ 184 w 500"/>
              <a:gd name="T1" fmla="*/ 0 h 513"/>
              <a:gd name="T2" fmla="*/ 102 w 500"/>
              <a:gd name="T3" fmla="*/ 0 h 513"/>
              <a:gd name="T4" fmla="*/ 62 w 500"/>
              <a:gd name="T5" fmla="*/ 26 h 513"/>
              <a:gd name="T6" fmla="*/ 32 w 500"/>
              <a:gd name="T7" fmla="*/ 110 h 513"/>
              <a:gd name="T8" fmla="*/ 100 w 500"/>
              <a:gd name="T9" fmla="*/ 186 h 513"/>
              <a:gd name="T10" fmla="*/ 50 w 500"/>
              <a:gd name="T11" fmla="*/ 258 h 513"/>
              <a:gd name="T12" fmla="*/ 65 w 500"/>
              <a:gd name="T13" fmla="*/ 296 h 513"/>
              <a:gd name="T14" fmla="*/ 0 w 500"/>
              <a:gd name="T15" fmla="*/ 323 h 513"/>
              <a:gd name="T16" fmla="*/ 53 w 500"/>
              <a:gd name="T17" fmla="*/ 403 h 513"/>
              <a:gd name="T18" fmla="*/ 109 w 500"/>
              <a:gd name="T19" fmla="*/ 403 h 513"/>
              <a:gd name="T20" fmla="*/ 159 w 500"/>
              <a:gd name="T21" fmla="*/ 437 h 513"/>
              <a:gd name="T22" fmla="*/ 237 w 500"/>
              <a:gd name="T23" fmla="*/ 410 h 513"/>
              <a:gd name="T24" fmla="*/ 327 w 500"/>
              <a:gd name="T25" fmla="*/ 477 h 513"/>
              <a:gd name="T26" fmla="*/ 351 w 500"/>
              <a:gd name="T27" fmla="*/ 465 h 513"/>
              <a:gd name="T28" fmla="*/ 400 w 500"/>
              <a:gd name="T29" fmla="*/ 513 h 513"/>
              <a:gd name="T30" fmla="*/ 421 w 500"/>
              <a:gd name="T31" fmla="*/ 500 h 513"/>
              <a:gd name="T32" fmla="*/ 421 w 500"/>
              <a:gd name="T33" fmla="*/ 467 h 513"/>
              <a:gd name="T34" fmla="*/ 442 w 500"/>
              <a:gd name="T35" fmla="*/ 458 h 513"/>
              <a:gd name="T36" fmla="*/ 427 w 500"/>
              <a:gd name="T37" fmla="*/ 414 h 513"/>
              <a:gd name="T38" fmla="*/ 500 w 500"/>
              <a:gd name="T39" fmla="*/ 286 h 513"/>
              <a:gd name="T40" fmla="*/ 479 w 500"/>
              <a:gd name="T41" fmla="*/ 243 h 513"/>
              <a:gd name="T42" fmla="*/ 488 w 500"/>
              <a:gd name="T43" fmla="*/ 199 h 513"/>
              <a:gd name="T44" fmla="*/ 427 w 500"/>
              <a:gd name="T45" fmla="*/ 220 h 513"/>
              <a:gd name="T46" fmla="*/ 343 w 500"/>
              <a:gd name="T47" fmla="*/ 195 h 513"/>
              <a:gd name="T48" fmla="*/ 298 w 500"/>
              <a:gd name="T49" fmla="*/ 106 h 513"/>
              <a:gd name="T50" fmla="*/ 269 w 500"/>
              <a:gd name="T51" fmla="*/ 127 h 513"/>
              <a:gd name="T52" fmla="*/ 231 w 500"/>
              <a:gd name="T53" fmla="*/ 19 h 513"/>
              <a:gd name="T54" fmla="*/ 184 w 500"/>
              <a:gd name="T55" fmla="*/ 0 h 513"/>
              <a:gd name="T56" fmla="*/ 184 w 500"/>
              <a:gd name="T57" fmla="*/ 0 h 51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0"/>
              <a:gd name="T88" fmla="*/ 0 h 513"/>
              <a:gd name="T89" fmla="*/ 500 w 500"/>
              <a:gd name="T90" fmla="*/ 513 h 51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0" h="513">
                <a:moveTo>
                  <a:pt x="184" y="0"/>
                </a:moveTo>
                <a:lnTo>
                  <a:pt x="102" y="0"/>
                </a:lnTo>
                <a:lnTo>
                  <a:pt x="62" y="26"/>
                </a:lnTo>
                <a:lnTo>
                  <a:pt x="32" y="110"/>
                </a:lnTo>
                <a:lnTo>
                  <a:pt x="100" y="186"/>
                </a:lnTo>
                <a:lnTo>
                  <a:pt x="50" y="258"/>
                </a:lnTo>
                <a:lnTo>
                  <a:pt x="65" y="296"/>
                </a:lnTo>
                <a:lnTo>
                  <a:pt x="0" y="323"/>
                </a:lnTo>
                <a:lnTo>
                  <a:pt x="53" y="403"/>
                </a:lnTo>
                <a:lnTo>
                  <a:pt x="109" y="403"/>
                </a:lnTo>
                <a:lnTo>
                  <a:pt x="159" y="437"/>
                </a:lnTo>
                <a:lnTo>
                  <a:pt x="237" y="410"/>
                </a:lnTo>
                <a:lnTo>
                  <a:pt x="327" y="477"/>
                </a:lnTo>
                <a:lnTo>
                  <a:pt x="351" y="465"/>
                </a:lnTo>
                <a:lnTo>
                  <a:pt x="400" y="513"/>
                </a:lnTo>
                <a:lnTo>
                  <a:pt x="421" y="500"/>
                </a:lnTo>
                <a:lnTo>
                  <a:pt x="421" y="467"/>
                </a:lnTo>
                <a:lnTo>
                  <a:pt x="442" y="458"/>
                </a:lnTo>
                <a:lnTo>
                  <a:pt x="427" y="414"/>
                </a:lnTo>
                <a:lnTo>
                  <a:pt x="500" y="286"/>
                </a:lnTo>
                <a:lnTo>
                  <a:pt x="479" y="243"/>
                </a:lnTo>
                <a:lnTo>
                  <a:pt x="488" y="199"/>
                </a:lnTo>
                <a:lnTo>
                  <a:pt x="427" y="220"/>
                </a:lnTo>
                <a:lnTo>
                  <a:pt x="343" y="195"/>
                </a:lnTo>
                <a:lnTo>
                  <a:pt x="298" y="106"/>
                </a:lnTo>
                <a:lnTo>
                  <a:pt x="269" y="127"/>
                </a:lnTo>
                <a:lnTo>
                  <a:pt x="231" y="19"/>
                </a:lnTo>
                <a:lnTo>
                  <a:pt x="184" y="0"/>
                </a:lnTo>
                <a:close/>
              </a:path>
            </a:pathLst>
          </a:custGeom>
          <a:solidFill>
            <a:schemeClr val="accent3"/>
          </a:solidFill>
          <a:ln w="12700">
            <a:solidFill>
              <a:schemeClr val="bg1"/>
            </a:solidFill>
            <a:round/>
            <a:headEnd/>
            <a:tailEnd/>
          </a:ln>
        </p:spPr>
        <p:txBody>
          <a:bodyPr/>
          <a:lstStyle/>
          <a:p>
            <a:pPr>
              <a:defRPr/>
            </a:pPr>
            <a:endParaRPr lang="nl-NL"/>
          </a:p>
        </p:txBody>
      </p:sp>
      <p:sp>
        <p:nvSpPr>
          <p:cNvPr id="29" name="Freeform 30"/>
          <p:cNvSpPr>
            <a:spLocks noChangeAspect="1"/>
          </p:cNvSpPr>
          <p:nvPr/>
        </p:nvSpPr>
        <p:spPr bwMode="auto">
          <a:xfrm>
            <a:off x="5392668" y="2477653"/>
            <a:ext cx="322744" cy="491748"/>
          </a:xfrm>
          <a:custGeom>
            <a:avLst/>
            <a:gdLst>
              <a:gd name="T0" fmla="*/ 112 w 374"/>
              <a:gd name="T1" fmla="*/ 0 h 527"/>
              <a:gd name="T2" fmla="*/ 46 w 374"/>
              <a:gd name="T3" fmla="*/ 18 h 527"/>
              <a:gd name="T4" fmla="*/ 49 w 374"/>
              <a:gd name="T5" fmla="*/ 72 h 527"/>
              <a:gd name="T6" fmla="*/ 0 w 374"/>
              <a:gd name="T7" fmla="*/ 86 h 527"/>
              <a:gd name="T8" fmla="*/ 0 w 374"/>
              <a:gd name="T9" fmla="*/ 127 h 527"/>
              <a:gd name="T10" fmla="*/ 61 w 374"/>
              <a:gd name="T11" fmla="*/ 226 h 527"/>
              <a:gd name="T12" fmla="*/ 61 w 374"/>
              <a:gd name="T13" fmla="*/ 289 h 527"/>
              <a:gd name="T14" fmla="*/ 19 w 374"/>
              <a:gd name="T15" fmla="*/ 327 h 527"/>
              <a:gd name="T16" fmla="*/ 87 w 374"/>
              <a:gd name="T17" fmla="*/ 375 h 527"/>
              <a:gd name="T18" fmla="*/ 125 w 374"/>
              <a:gd name="T19" fmla="*/ 485 h 527"/>
              <a:gd name="T20" fmla="*/ 205 w 374"/>
              <a:gd name="T21" fmla="*/ 501 h 527"/>
              <a:gd name="T22" fmla="*/ 213 w 374"/>
              <a:gd name="T23" fmla="*/ 527 h 527"/>
              <a:gd name="T24" fmla="*/ 245 w 374"/>
              <a:gd name="T25" fmla="*/ 527 h 527"/>
              <a:gd name="T26" fmla="*/ 269 w 374"/>
              <a:gd name="T27" fmla="*/ 495 h 527"/>
              <a:gd name="T28" fmla="*/ 312 w 374"/>
              <a:gd name="T29" fmla="*/ 495 h 527"/>
              <a:gd name="T30" fmla="*/ 350 w 374"/>
              <a:gd name="T31" fmla="*/ 469 h 527"/>
              <a:gd name="T32" fmla="*/ 350 w 374"/>
              <a:gd name="T33" fmla="*/ 422 h 527"/>
              <a:gd name="T34" fmla="*/ 374 w 374"/>
              <a:gd name="T35" fmla="*/ 346 h 527"/>
              <a:gd name="T36" fmla="*/ 367 w 374"/>
              <a:gd name="T37" fmla="*/ 293 h 527"/>
              <a:gd name="T38" fmla="*/ 325 w 374"/>
              <a:gd name="T39" fmla="*/ 272 h 527"/>
              <a:gd name="T40" fmla="*/ 327 w 374"/>
              <a:gd name="T41" fmla="*/ 203 h 527"/>
              <a:gd name="T42" fmla="*/ 283 w 374"/>
              <a:gd name="T43" fmla="*/ 162 h 527"/>
              <a:gd name="T44" fmla="*/ 257 w 374"/>
              <a:gd name="T45" fmla="*/ 162 h 527"/>
              <a:gd name="T46" fmla="*/ 253 w 374"/>
              <a:gd name="T47" fmla="*/ 126 h 527"/>
              <a:gd name="T48" fmla="*/ 222 w 374"/>
              <a:gd name="T49" fmla="*/ 76 h 527"/>
              <a:gd name="T50" fmla="*/ 112 w 374"/>
              <a:gd name="T51" fmla="*/ 30 h 527"/>
              <a:gd name="T52" fmla="*/ 112 w 374"/>
              <a:gd name="T53" fmla="*/ 0 h 527"/>
              <a:gd name="T54" fmla="*/ 112 w 374"/>
              <a:gd name="T55" fmla="*/ 0 h 52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74"/>
              <a:gd name="T85" fmla="*/ 0 h 527"/>
              <a:gd name="T86" fmla="*/ 374 w 374"/>
              <a:gd name="T87" fmla="*/ 527 h 52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74" h="527">
                <a:moveTo>
                  <a:pt x="112" y="0"/>
                </a:moveTo>
                <a:lnTo>
                  <a:pt x="46" y="18"/>
                </a:lnTo>
                <a:lnTo>
                  <a:pt x="49" y="72"/>
                </a:lnTo>
                <a:lnTo>
                  <a:pt x="0" y="86"/>
                </a:lnTo>
                <a:lnTo>
                  <a:pt x="0" y="127"/>
                </a:lnTo>
                <a:lnTo>
                  <a:pt x="61" y="226"/>
                </a:lnTo>
                <a:lnTo>
                  <a:pt x="61" y="289"/>
                </a:lnTo>
                <a:lnTo>
                  <a:pt x="19" y="327"/>
                </a:lnTo>
                <a:lnTo>
                  <a:pt x="87" y="375"/>
                </a:lnTo>
                <a:lnTo>
                  <a:pt x="125" y="485"/>
                </a:lnTo>
                <a:lnTo>
                  <a:pt x="205" y="501"/>
                </a:lnTo>
                <a:lnTo>
                  <a:pt x="213" y="527"/>
                </a:lnTo>
                <a:lnTo>
                  <a:pt x="245" y="527"/>
                </a:lnTo>
                <a:lnTo>
                  <a:pt x="269" y="495"/>
                </a:lnTo>
                <a:lnTo>
                  <a:pt x="312" y="495"/>
                </a:lnTo>
                <a:lnTo>
                  <a:pt x="350" y="469"/>
                </a:lnTo>
                <a:lnTo>
                  <a:pt x="350" y="422"/>
                </a:lnTo>
                <a:lnTo>
                  <a:pt x="374" y="346"/>
                </a:lnTo>
                <a:lnTo>
                  <a:pt x="367" y="293"/>
                </a:lnTo>
                <a:lnTo>
                  <a:pt x="325" y="272"/>
                </a:lnTo>
                <a:lnTo>
                  <a:pt x="327" y="203"/>
                </a:lnTo>
                <a:lnTo>
                  <a:pt x="283" y="162"/>
                </a:lnTo>
                <a:lnTo>
                  <a:pt x="257" y="162"/>
                </a:lnTo>
                <a:lnTo>
                  <a:pt x="253" y="126"/>
                </a:lnTo>
                <a:lnTo>
                  <a:pt x="222" y="76"/>
                </a:lnTo>
                <a:lnTo>
                  <a:pt x="112" y="30"/>
                </a:lnTo>
                <a:lnTo>
                  <a:pt x="112" y="0"/>
                </a:lnTo>
                <a:close/>
              </a:path>
            </a:pathLst>
          </a:custGeom>
          <a:solidFill>
            <a:schemeClr val="accent3"/>
          </a:solidFill>
          <a:ln w="12700">
            <a:solidFill>
              <a:schemeClr val="bg1"/>
            </a:solidFill>
            <a:round/>
            <a:headEnd/>
            <a:tailEnd/>
          </a:ln>
        </p:spPr>
        <p:txBody>
          <a:bodyPr/>
          <a:lstStyle/>
          <a:p>
            <a:pPr>
              <a:defRPr/>
            </a:pPr>
            <a:endParaRPr lang="nl-NL"/>
          </a:p>
        </p:txBody>
      </p:sp>
      <p:sp>
        <p:nvSpPr>
          <p:cNvPr id="30" name="Freeform 31"/>
          <p:cNvSpPr>
            <a:spLocks noChangeAspect="1"/>
          </p:cNvSpPr>
          <p:nvPr/>
        </p:nvSpPr>
        <p:spPr bwMode="auto">
          <a:xfrm>
            <a:off x="5242514" y="2778685"/>
            <a:ext cx="405588" cy="512315"/>
          </a:xfrm>
          <a:custGeom>
            <a:avLst/>
            <a:gdLst>
              <a:gd name="T0" fmla="*/ 192 w 470"/>
              <a:gd name="T1" fmla="*/ 0 h 548"/>
              <a:gd name="T2" fmla="*/ 61 w 470"/>
              <a:gd name="T3" fmla="*/ 38 h 548"/>
              <a:gd name="T4" fmla="*/ 52 w 470"/>
              <a:gd name="T5" fmla="*/ 82 h 548"/>
              <a:gd name="T6" fmla="*/ 73 w 470"/>
              <a:gd name="T7" fmla="*/ 128 h 548"/>
              <a:gd name="T8" fmla="*/ 0 w 470"/>
              <a:gd name="T9" fmla="*/ 253 h 548"/>
              <a:gd name="T10" fmla="*/ 17 w 470"/>
              <a:gd name="T11" fmla="*/ 295 h 548"/>
              <a:gd name="T12" fmla="*/ 17 w 470"/>
              <a:gd name="T13" fmla="*/ 377 h 548"/>
              <a:gd name="T14" fmla="*/ 46 w 470"/>
              <a:gd name="T15" fmla="*/ 438 h 548"/>
              <a:gd name="T16" fmla="*/ 146 w 470"/>
              <a:gd name="T17" fmla="*/ 483 h 548"/>
              <a:gd name="T18" fmla="*/ 208 w 470"/>
              <a:gd name="T19" fmla="*/ 548 h 548"/>
              <a:gd name="T20" fmla="*/ 400 w 470"/>
              <a:gd name="T21" fmla="*/ 499 h 548"/>
              <a:gd name="T22" fmla="*/ 462 w 470"/>
              <a:gd name="T23" fmla="*/ 420 h 548"/>
              <a:gd name="T24" fmla="*/ 470 w 470"/>
              <a:gd name="T25" fmla="*/ 339 h 548"/>
              <a:gd name="T26" fmla="*/ 432 w 470"/>
              <a:gd name="T27" fmla="*/ 276 h 548"/>
              <a:gd name="T28" fmla="*/ 460 w 470"/>
              <a:gd name="T29" fmla="*/ 225 h 548"/>
              <a:gd name="T30" fmla="*/ 430 w 470"/>
              <a:gd name="T31" fmla="*/ 187 h 548"/>
              <a:gd name="T32" fmla="*/ 416 w 470"/>
              <a:gd name="T33" fmla="*/ 201 h 548"/>
              <a:gd name="T34" fmla="*/ 386 w 470"/>
              <a:gd name="T35" fmla="*/ 201 h 548"/>
              <a:gd name="T36" fmla="*/ 384 w 470"/>
              <a:gd name="T37" fmla="*/ 178 h 548"/>
              <a:gd name="T38" fmla="*/ 298 w 470"/>
              <a:gd name="T39" fmla="*/ 162 h 548"/>
              <a:gd name="T40" fmla="*/ 260 w 470"/>
              <a:gd name="T41" fmla="*/ 52 h 548"/>
              <a:gd name="T42" fmla="*/ 192 w 470"/>
              <a:gd name="T43" fmla="*/ 0 h 548"/>
              <a:gd name="T44" fmla="*/ 192 w 470"/>
              <a:gd name="T45" fmla="*/ 0 h 54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0"/>
              <a:gd name="T70" fmla="*/ 0 h 548"/>
              <a:gd name="T71" fmla="*/ 470 w 470"/>
              <a:gd name="T72" fmla="*/ 548 h 54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0" h="548">
                <a:moveTo>
                  <a:pt x="192" y="0"/>
                </a:moveTo>
                <a:lnTo>
                  <a:pt x="61" y="38"/>
                </a:lnTo>
                <a:lnTo>
                  <a:pt x="52" y="82"/>
                </a:lnTo>
                <a:lnTo>
                  <a:pt x="73" y="128"/>
                </a:lnTo>
                <a:lnTo>
                  <a:pt x="0" y="253"/>
                </a:lnTo>
                <a:lnTo>
                  <a:pt x="17" y="295"/>
                </a:lnTo>
                <a:lnTo>
                  <a:pt x="17" y="377"/>
                </a:lnTo>
                <a:lnTo>
                  <a:pt x="46" y="438"/>
                </a:lnTo>
                <a:lnTo>
                  <a:pt x="146" y="483"/>
                </a:lnTo>
                <a:lnTo>
                  <a:pt x="208" y="548"/>
                </a:lnTo>
                <a:lnTo>
                  <a:pt x="400" y="499"/>
                </a:lnTo>
                <a:lnTo>
                  <a:pt x="462" y="420"/>
                </a:lnTo>
                <a:lnTo>
                  <a:pt x="470" y="339"/>
                </a:lnTo>
                <a:lnTo>
                  <a:pt x="432" y="276"/>
                </a:lnTo>
                <a:lnTo>
                  <a:pt x="460" y="225"/>
                </a:lnTo>
                <a:lnTo>
                  <a:pt x="430" y="187"/>
                </a:lnTo>
                <a:lnTo>
                  <a:pt x="416" y="201"/>
                </a:lnTo>
                <a:lnTo>
                  <a:pt x="386" y="201"/>
                </a:lnTo>
                <a:lnTo>
                  <a:pt x="384" y="178"/>
                </a:lnTo>
                <a:lnTo>
                  <a:pt x="298" y="162"/>
                </a:lnTo>
                <a:lnTo>
                  <a:pt x="260" y="52"/>
                </a:lnTo>
                <a:lnTo>
                  <a:pt x="192" y="0"/>
                </a:lnTo>
                <a:close/>
              </a:path>
            </a:pathLst>
          </a:custGeom>
          <a:solidFill>
            <a:schemeClr val="accent3"/>
          </a:solidFill>
          <a:ln w="12700">
            <a:solidFill>
              <a:schemeClr val="bg1"/>
            </a:solidFill>
            <a:round/>
            <a:headEnd/>
            <a:tailEnd/>
          </a:ln>
        </p:spPr>
        <p:txBody>
          <a:bodyPr/>
          <a:lstStyle/>
          <a:p>
            <a:pPr>
              <a:defRPr/>
            </a:pPr>
            <a:endParaRPr lang="nl-NL"/>
          </a:p>
        </p:txBody>
      </p:sp>
      <p:sp>
        <p:nvSpPr>
          <p:cNvPr id="31" name="Freeform 32"/>
          <p:cNvSpPr>
            <a:spLocks noChangeAspect="1"/>
          </p:cNvSpPr>
          <p:nvPr/>
        </p:nvSpPr>
        <p:spPr bwMode="auto">
          <a:xfrm>
            <a:off x="5613584" y="2763727"/>
            <a:ext cx="407314" cy="364604"/>
          </a:xfrm>
          <a:custGeom>
            <a:avLst/>
            <a:gdLst>
              <a:gd name="T0" fmla="*/ 471 w 471"/>
              <a:gd name="T1" fmla="*/ 82 h 388"/>
              <a:gd name="T2" fmla="*/ 395 w 471"/>
              <a:gd name="T3" fmla="*/ 34 h 388"/>
              <a:gd name="T4" fmla="*/ 336 w 471"/>
              <a:gd name="T5" fmla="*/ 29 h 388"/>
              <a:gd name="T6" fmla="*/ 243 w 471"/>
              <a:gd name="T7" fmla="*/ 29 h 388"/>
              <a:gd name="T8" fmla="*/ 224 w 471"/>
              <a:gd name="T9" fmla="*/ 0 h 388"/>
              <a:gd name="T10" fmla="*/ 117 w 471"/>
              <a:gd name="T11" fmla="*/ 38 h 388"/>
              <a:gd name="T12" fmla="*/ 91 w 471"/>
              <a:gd name="T13" fmla="*/ 116 h 388"/>
              <a:gd name="T14" fmla="*/ 91 w 471"/>
              <a:gd name="T15" fmla="*/ 161 h 388"/>
              <a:gd name="T16" fmla="*/ 56 w 471"/>
              <a:gd name="T17" fmla="*/ 187 h 388"/>
              <a:gd name="T18" fmla="*/ 11 w 471"/>
              <a:gd name="T19" fmla="*/ 183 h 388"/>
              <a:gd name="T20" fmla="*/ 0 w 471"/>
              <a:gd name="T21" fmla="*/ 202 h 388"/>
              <a:gd name="T22" fmla="*/ 30 w 471"/>
              <a:gd name="T23" fmla="*/ 242 h 388"/>
              <a:gd name="T24" fmla="*/ 2 w 471"/>
              <a:gd name="T25" fmla="*/ 287 h 388"/>
              <a:gd name="T26" fmla="*/ 40 w 471"/>
              <a:gd name="T27" fmla="*/ 356 h 388"/>
              <a:gd name="T28" fmla="*/ 73 w 471"/>
              <a:gd name="T29" fmla="*/ 388 h 388"/>
              <a:gd name="T30" fmla="*/ 225 w 471"/>
              <a:gd name="T31" fmla="*/ 329 h 388"/>
              <a:gd name="T32" fmla="*/ 353 w 471"/>
              <a:gd name="T33" fmla="*/ 234 h 388"/>
              <a:gd name="T34" fmla="*/ 389 w 471"/>
              <a:gd name="T35" fmla="*/ 249 h 388"/>
              <a:gd name="T36" fmla="*/ 430 w 471"/>
              <a:gd name="T37" fmla="*/ 207 h 388"/>
              <a:gd name="T38" fmla="*/ 471 w 471"/>
              <a:gd name="T39" fmla="*/ 205 h 388"/>
              <a:gd name="T40" fmla="*/ 450 w 471"/>
              <a:gd name="T41" fmla="*/ 135 h 388"/>
              <a:gd name="T42" fmla="*/ 471 w 471"/>
              <a:gd name="T43" fmla="*/ 82 h 388"/>
              <a:gd name="T44" fmla="*/ 471 w 471"/>
              <a:gd name="T45" fmla="*/ 82 h 3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1"/>
              <a:gd name="T70" fmla="*/ 0 h 388"/>
              <a:gd name="T71" fmla="*/ 471 w 471"/>
              <a:gd name="T72" fmla="*/ 388 h 38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1" h="388">
                <a:moveTo>
                  <a:pt x="471" y="82"/>
                </a:moveTo>
                <a:lnTo>
                  <a:pt x="395" y="34"/>
                </a:lnTo>
                <a:lnTo>
                  <a:pt x="336" y="29"/>
                </a:lnTo>
                <a:lnTo>
                  <a:pt x="243" y="29"/>
                </a:lnTo>
                <a:lnTo>
                  <a:pt x="224" y="0"/>
                </a:lnTo>
                <a:lnTo>
                  <a:pt x="117" y="38"/>
                </a:lnTo>
                <a:lnTo>
                  <a:pt x="91" y="116"/>
                </a:lnTo>
                <a:lnTo>
                  <a:pt x="91" y="161"/>
                </a:lnTo>
                <a:lnTo>
                  <a:pt x="56" y="187"/>
                </a:lnTo>
                <a:lnTo>
                  <a:pt x="11" y="183"/>
                </a:lnTo>
                <a:lnTo>
                  <a:pt x="0" y="202"/>
                </a:lnTo>
                <a:lnTo>
                  <a:pt x="30" y="242"/>
                </a:lnTo>
                <a:lnTo>
                  <a:pt x="2" y="287"/>
                </a:lnTo>
                <a:lnTo>
                  <a:pt x="40" y="356"/>
                </a:lnTo>
                <a:lnTo>
                  <a:pt x="73" y="388"/>
                </a:lnTo>
                <a:lnTo>
                  <a:pt x="225" y="329"/>
                </a:lnTo>
                <a:lnTo>
                  <a:pt x="353" y="234"/>
                </a:lnTo>
                <a:lnTo>
                  <a:pt x="389" y="249"/>
                </a:lnTo>
                <a:lnTo>
                  <a:pt x="430" y="207"/>
                </a:lnTo>
                <a:lnTo>
                  <a:pt x="471" y="205"/>
                </a:lnTo>
                <a:lnTo>
                  <a:pt x="450" y="135"/>
                </a:lnTo>
                <a:lnTo>
                  <a:pt x="471" y="82"/>
                </a:lnTo>
                <a:close/>
              </a:path>
            </a:pathLst>
          </a:custGeom>
          <a:solidFill>
            <a:schemeClr val="accent3"/>
          </a:solidFill>
          <a:ln w="12700">
            <a:solidFill>
              <a:schemeClr val="bg1"/>
            </a:solidFill>
            <a:round/>
            <a:headEnd/>
            <a:tailEnd/>
          </a:ln>
        </p:spPr>
        <p:txBody>
          <a:bodyPr/>
          <a:lstStyle/>
          <a:p>
            <a:pPr>
              <a:defRPr/>
            </a:pPr>
            <a:endParaRPr lang="nl-NL"/>
          </a:p>
        </p:txBody>
      </p:sp>
      <p:sp>
        <p:nvSpPr>
          <p:cNvPr id="32" name="Freeform 33"/>
          <p:cNvSpPr>
            <a:spLocks noChangeAspect="1"/>
          </p:cNvSpPr>
          <p:nvPr/>
        </p:nvSpPr>
        <p:spPr bwMode="auto">
          <a:xfrm>
            <a:off x="5114797" y="3188163"/>
            <a:ext cx="538483" cy="441264"/>
          </a:xfrm>
          <a:custGeom>
            <a:avLst/>
            <a:gdLst>
              <a:gd name="T0" fmla="*/ 194 w 626"/>
              <a:gd name="T1" fmla="*/ 0 h 472"/>
              <a:gd name="T2" fmla="*/ 135 w 626"/>
              <a:gd name="T3" fmla="*/ 53 h 472"/>
              <a:gd name="T4" fmla="*/ 141 w 626"/>
              <a:gd name="T5" fmla="*/ 184 h 472"/>
              <a:gd name="T6" fmla="*/ 68 w 626"/>
              <a:gd name="T7" fmla="*/ 230 h 472"/>
              <a:gd name="T8" fmla="*/ 21 w 626"/>
              <a:gd name="T9" fmla="*/ 205 h 472"/>
              <a:gd name="T10" fmla="*/ 0 w 626"/>
              <a:gd name="T11" fmla="*/ 229 h 472"/>
              <a:gd name="T12" fmla="*/ 130 w 626"/>
              <a:gd name="T13" fmla="*/ 338 h 472"/>
              <a:gd name="T14" fmla="*/ 130 w 626"/>
              <a:gd name="T15" fmla="*/ 403 h 472"/>
              <a:gd name="T16" fmla="*/ 89 w 626"/>
              <a:gd name="T17" fmla="*/ 424 h 472"/>
              <a:gd name="T18" fmla="*/ 150 w 626"/>
              <a:gd name="T19" fmla="*/ 472 h 472"/>
              <a:gd name="T20" fmla="*/ 276 w 626"/>
              <a:gd name="T21" fmla="*/ 451 h 472"/>
              <a:gd name="T22" fmla="*/ 279 w 626"/>
              <a:gd name="T23" fmla="*/ 411 h 472"/>
              <a:gd name="T24" fmla="*/ 369 w 626"/>
              <a:gd name="T25" fmla="*/ 403 h 472"/>
              <a:gd name="T26" fmla="*/ 422 w 626"/>
              <a:gd name="T27" fmla="*/ 452 h 472"/>
              <a:gd name="T28" fmla="*/ 451 w 626"/>
              <a:gd name="T29" fmla="*/ 308 h 472"/>
              <a:gd name="T30" fmla="*/ 545 w 626"/>
              <a:gd name="T31" fmla="*/ 299 h 472"/>
              <a:gd name="T32" fmla="*/ 582 w 626"/>
              <a:gd name="T33" fmla="*/ 318 h 472"/>
              <a:gd name="T34" fmla="*/ 623 w 626"/>
              <a:gd name="T35" fmla="*/ 310 h 472"/>
              <a:gd name="T36" fmla="*/ 592 w 626"/>
              <a:gd name="T37" fmla="*/ 265 h 472"/>
              <a:gd name="T38" fmla="*/ 626 w 626"/>
              <a:gd name="T39" fmla="*/ 219 h 472"/>
              <a:gd name="T40" fmla="*/ 551 w 626"/>
              <a:gd name="T41" fmla="*/ 87 h 472"/>
              <a:gd name="T42" fmla="*/ 551 w 626"/>
              <a:gd name="T43" fmla="*/ 58 h 472"/>
              <a:gd name="T44" fmla="*/ 358 w 626"/>
              <a:gd name="T45" fmla="*/ 110 h 472"/>
              <a:gd name="T46" fmla="*/ 296 w 626"/>
              <a:gd name="T47" fmla="*/ 43 h 472"/>
              <a:gd name="T48" fmla="*/ 194 w 626"/>
              <a:gd name="T49" fmla="*/ 0 h 472"/>
              <a:gd name="T50" fmla="*/ 194 w 626"/>
              <a:gd name="T51" fmla="*/ 0 h 47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6"/>
              <a:gd name="T79" fmla="*/ 0 h 472"/>
              <a:gd name="T80" fmla="*/ 626 w 626"/>
              <a:gd name="T81" fmla="*/ 472 h 47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6" h="472">
                <a:moveTo>
                  <a:pt x="194" y="0"/>
                </a:moveTo>
                <a:lnTo>
                  <a:pt x="135" y="53"/>
                </a:lnTo>
                <a:lnTo>
                  <a:pt x="141" y="184"/>
                </a:lnTo>
                <a:lnTo>
                  <a:pt x="68" y="230"/>
                </a:lnTo>
                <a:lnTo>
                  <a:pt x="21" y="205"/>
                </a:lnTo>
                <a:lnTo>
                  <a:pt x="0" y="229"/>
                </a:lnTo>
                <a:lnTo>
                  <a:pt x="130" y="338"/>
                </a:lnTo>
                <a:lnTo>
                  <a:pt x="130" y="403"/>
                </a:lnTo>
                <a:lnTo>
                  <a:pt x="89" y="424"/>
                </a:lnTo>
                <a:lnTo>
                  <a:pt x="150" y="472"/>
                </a:lnTo>
                <a:lnTo>
                  <a:pt x="276" y="451"/>
                </a:lnTo>
                <a:lnTo>
                  <a:pt x="279" y="411"/>
                </a:lnTo>
                <a:lnTo>
                  <a:pt x="369" y="403"/>
                </a:lnTo>
                <a:lnTo>
                  <a:pt x="422" y="452"/>
                </a:lnTo>
                <a:lnTo>
                  <a:pt x="451" y="308"/>
                </a:lnTo>
                <a:lnTo>
                  <a:pt x="545" y="299"/>
                </a:lnTo>
                <a:lnTo>
                  <a:pt x="582" y="318"/>
                </a:lnTo>
                <a:lnTo>
                  <a:pt x="623" y="310"/>
                </a:lnTo>
                <a:lnTo>
                  <a:pt x="592" y="265"/>
                </a:lnTo>
                <a:lnTo>
                  <a:pt x="626" y="219"/>
                </a:lnTo>
                <a:lnTo>
                  <a:pt x="551" y="87"/>
                </a:lnTo>
                <a:lnTo>
                  <a:pt x="551" y="58"/>
                </a:lnTo>
                <a:lnTo>
                  <a:pt x="358" y="110"/>
                </a:lnTo>
                <a:lnTo>
                  <a:pt x="296" y="43"/>
                </a:lnTo>
                <a:lnTo>
                  <a:pt x="194" y="0"/>
                </a:lnTo>
                <a:close/>
              </a:path>
            </a:pathLst>
          </a:custGeom>
          <a:solidFill>
            <a:schemeClr val="accent3"/>
          </a:solidFill>
          <a:ln w="12700">
            <a:solidFill>
              <a:schemeClr val="bg1"/>
            </a:solidFill>
            <a:round/>
            <a:headEnd/>
            <a:tailEnd/>
          </a:ln>
        </p:spPr>
        <p:txBody>
          <a:bodyPr/>
          <a:lstStyle/>
          <a:p>
            <a:pPr>
              <a:defRPr/>
            </a:pPr>
            <a:endParaRPr lang="nl-NL"/>
          </a:p>
        </p:txBody>
      </p:sp>
      <p:sp>
        <p:nvSpPr>
          <p:cNvPr id="33" name="Freeform 34"/>
          <p:cNvSpPr>
            <a:spLocks noChangeAspect="1"/>
          </p:cNvSpPr>
          <p:nvPr/>
        </p:nvSpPr>
        <p:spPr bwMode="auto">
          <a:xfrm>
            <a:off x="4881800" y="3003056"/>
            <a:ext cx="402136" cy="418827"/>
          </a:xfrm>
          <a:custGeom>
            <a:avLst/>
            <a:gdLst>
              <a:gd name="T0" fmla="*/ 0 w 465"/>
              <a:gd name="T1" fmla="*/ 17 h 449"/>
              <a:gd name="T2" fmla="*/ 8 w 465"/>
              <a:gd name="T3" fmla="*/ 118 h 449"/>
              <a:gd name="T4" fmla="*/ 74 w 465"/>
              <a:gd name="T5" fmla="*/ 222 h 449"/>
              <a:gd name="T6" fmla="*/ 56 w 465"/>
              <a:gd name="T7" fmla="*/ 385 h 449"/>
              <a:gd name="T8" fmla="*/ 125 w 465"/>
              <a:gd name="T9" fmla="*/ 437 h 449"/>
              <a:gd name="T10" fmla="*/ 236 w 465"/>
              <a:gd name="T11" fmla="*/ 449 h 449"/>
              <a:gd name="T12" fmla="*/ 268 w 465"/>
              <a:gd name="T13" fmla="*/ 428 h 449"/>
              <a:gd name="T14" fmla="*/ 289 w 465"/>
              <a:gd name="T15" fmla="*/ 403 h 449"/>
              <a:gd name="T16" fmla="*/ 336 w 465"/>
              <a:gd name="T17" fmla="*/ 428 h 449"/>
              <a:gd name="T18" fmla="*/ 412 w 465"/>
              <a:gd name="T19" fmla="*/ 385 h 449"/>
              <a:gd name="T20" fmla="*/ 403 w 465"/>
              <a:gd name="T21" fmla="*/ 251 h 449"/>
              <a:gd name="T22" fmla="*/ 465 w 465"/>
              <a:gd name="T23" fmla="*/ 198 h 449"/>
              <a:gd name="T24" fmla="*/ 435 w 465"/>
              <a:gd name="T25" fmla="*/ 140 h 449"/>
              <a:gd name="T26" fmla="*/ 435 w 465"/>
              <a:gd name="T27" fmla="*/ 55 h 449"/>
              <a:gd name="T28" fmla="*/ 412 w 465"/>
              <a:gd name="T29" fmla="*/ 64 h 449"/>
              <a:gd name="T30" fmla="*/ 412 w 465"/>
              <a:gd name="T31" fmla="*/ 96 h 449"/>
              <a:gd name="T32" fmla="*/ 391 w 465"/>
              <a:gd name="T33" fmla="*/ 112 h 449"/>
              <a:gd name="T34" fmla="*/ 340 w 465"/>
              <a:gd name="T35" fmla="*/ 64 h 449"/>
              <a:gd name="T36" fmla="*/ 318 w 465"/>
              <a:gd name="T37" fmla="*/ 76 h 449"/>
              <a:gd name="T38" fmla="*/ 226 w 465"/>
              <a:gd name="T39" fmla="*/ 9 h 449"/>
              <a:gd name="T40" fmla="*/ 154 w 465"/>
              <a:gd name="T41" fmla="*/ 36 h 449"/>
              <a:gd name="T42" fmla="*/ 102 w 465"/>
              <a:gd name="T43" fmla="*/ 0 h 449"/>
              <a:gd name="T44" fmla="*/ 41 w 465"/>
              <a:gd name="T45" fmla="*/ 0 h 449"/>
              <a:gd name="T46" fmla="*/ 0 w 465"/>
              <a:gd name="T47" fmla="*/ 17 h 449"/>
              <a:gd name="T48" fmla="*/ 0 w 465"/>
              <a:gd name="T49" fmla="*/ 17 h 44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5"/>
              <a:gd name="T76" fmla="*/ 0 h 449"/>
              <a:gd name="T77" fmla="*/ 465 w 465"/>
              <a:gd name="T78" fmla="*/ 449 h 44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5" h="449">
                <a:moveTo>
                  <a:pt x="0" y="17"/>
                </a:moveTo>
                <a:lnTo>
                  <a:pt x="8" y="118"/>
                </a:lnTo>
                <a:lnTo>
                  <a:pt x="74" y="222"/>
                </a:lnTo>
                <a:lnTo>
                  <a:pt x="56" y="385"/>
                </a:lnTo>
                <a:lnTo>
                  <a:pt x="125" y="437"/>
                </a:lnTo>
                <a:lnTo>
                  <a:pt x="236" y="449"/>
                </a:lnTo>
                <a:lnTo>
                  <a:pt x="268" y="428"/>
                </a:lnTo>
                <a:lnTo>
                  <a:pt x="289" y="403"/>
                </a:lnTo>
                <a:lnTo>
                  <a:pt x="336" y="428"/>
                </a:lnTo>
                <a:lnTo>
                  <a:pt x="412" y="385"/>
                </a:lnTo>
                <a:lnTo>
                  <a:pt x="403" y="251"/>
                </a:lnTo>
                <a:lnTo>
                  <a:pt x="465" y="198"/>
                </a:lnTo>
                <a:lnTo>
                  <a:pt x="435" y="140"/>
                </a:lnTo>
                <a:lnTo>
                  <a:pt x="435" y="55"/>
                </a:lnTo>
                <a:lnTo>
                  <a:pt x="412" y="64"/>
                </a:lnTo>
                <a:lnTo>
                  <a:pt x="412" y="96"/>
                </a:lnTo>
                <a:lnTo>
                  <a:pt x="391" y="112"/>
                </a:lnTo>
                <a:lnTo>
                  <a:pt x="340" y="64"/>
                </a:lnTo>
                <a:lnTo>
                  <a:pt x="318" y="76"/>
                </a:lnTo>
                <a:lnTo>
                  <a:pt x="226" y="9"/>
                </a:lnTo>
                <a:lnTo>
                  <a:pt x="154" y="36"/>
                </a:lnTo>
                <a:lnTo>
                  <a:pt x="102" y="0"/>
                </a:lnTo>
                <a:lnTo>
                  <a:pt x="41" y="0"/>
                </a:lnTo>
                <a:lnTo>
                  <a:pt x="0" y="17"/>
                </a:lnTo>
                <a:close/>
              </a:path>
            </a:pathLst>
          </a:custGeom>
          <a:solidFill>
            <a:schemeClr val="accent3"/>
          </a:solidFill>
          <a:ln w="12700">
            <a:solidFill>
              <a:schemeClr val="bg1"/>
            </a:solidFill>
            <a:round/>
            <a:headEnd/>
            <a:tailEnd/>
          </a:ln>
        </p:spPr>
        <p:txBody>
          <a:bodyPr/>
          <a:lstStyle/>
          <a:p>
            <a:pPr>
              <a:defRPr/>
            </a:pPr>
            <a:endParaRPr lang="nl-NL"/>
          </a:p>
        </p:txBody>
      </p:sp>
      <p:sp>
        <p:nvSpPr>
          <p:cNvPr id="34" name="Freeform 35"/>
          <p:cNvSpPr>
            <a:spLocks noChangeAspect="1"/>
          </p:cNvSpPr>
          <p:nvPr/>
        </p:nvSpPr>
        <p:spPr bwMode="auto">
          <a:xfrm>
            <a:off x="4714387" y="3363920"/>
            <a:ext cx="512594" cy="377692"/>
          </a:xfrm>
          <a:custGeom>
            <a:avLst/>
            <a:gdLst>
              <a:gd name="T0" fmla="*/ 252 w 594"/>
              <a:gd name="T1" fmla="*/ 0 h 406"/>
              <a:gd name="T2" fmla="*/ 114 w 594"/>
              <a:gd name="T3" fmla="*/ 64 h 406"/>
              <a:gd name="T4" fmla="*/ 111 w 594"/>
              <a:gd name="T5" fmla="*/ 119 h 406"/>
              <a:gd name="T6" fmla="*/ 40 w 594"/>
              <a:gd name="T7" fmla="*/ 127 h 406"/>
              <a:gd name="T8" fmla="*/ 0 w 594"/>
              <a:gd name="T9" fmla="*/ 178 h 406"/>
              <a:gd name="T10" fmla="*/ 105 w 594"/>
              <a:gd name="T11" fmla="*/ 318 h 406"/>
              <a:gd name="T12" fmla="*/ 225 w 594"/>
              <a:gd name="T13" fmla="*/ 260 h 406"/>
              <a:gd name="T14" fmla="*/ 285 w 594"/>
              <a:gd name="T15" fmla="*/ 367 h 406"/>
              <a:gd name="T16" fmla="*/ 410 w 594"/>
              <a:gd name="T17" fmla="*/ 352 h 406"/>
              <a:gd name="T18" fmla="*/ 514 w 594"/>
              <a:gd name="T19" fmla="*/ 406 h 406"/>
              <a:gd name="T20" fmla="*/ 544 w 594"/>
              <a:gd name="T21" fmla="*/ 373 h 406"/>
              <a:gd name="T22" fmla="*/ 523 w 594"/>
              <a:gd name="T23" fmla="*/ 264 h 406"/>
              <a:gd name="T24" fmla="*/ 553 w 594"/>
              <a:gd name="T25" fmla="*/ 237 h 406"/>
              <a:gd name="T26" fmla="*/ 594 w 594"/>
              <a:gd name="T27" fmla="*/ 216 h 406"/>
              <a:gd name="T28" fmla="*/ 594 w 594"/>
              <a:gd name="T29" fmla="*/ 151 h 406"/>
              <a:gd name="T30" fmla="*/ 468 w 594"/>
              <a:gd name="T31" fmla="*/ 43 h 406"/>
              <a:gd name="T32" fmla="*/ 438 w 594"/>
              <a:gd name="T33" fmla="*/ 60 h 406"/>
              <a:gd name="T34" fmla="*/ 318 w 594"/>
              <a:gd name="T35" fmla="*/ 52 h 406"/>
              <a:gd name="T36" fmla="*/ 252 w 594"/>
              <a:gd name="T37" fmla="*/ 0 h 406"/>
              <a:gd name="T38" fmla="*/ 252 w 594"/>
              <a:gd name="T39" fmla="*/ 0 h 4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4"/>
              <a:gd name="T61" fmla="*/ 0 h 406"/>
              <a:gd name="T62" fmla="*/ 594 w 594"/>
              <a:gd name="T63" fmla="*/ 406 h 40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4" h="406">
                <a:moveTo>
                  <a:pt x="252" y="0"/>
                </a:moveTo>
                <a:lnTo>
                  <a:pt x="114" y="64"/>
                </a:lnTo>
                <a:lnTo>
                  <a:pt x="111" y="119"/>
                </a:lnTo>
                <a:lnTo>
                  <a:pt x="40" y="127"/>
                </a:lnTo>
                <a:lnTo>
                  <a:pt x="0" y="178"/>
                </a:lnTo>
                <a:lnTo>
                  <a:pt x="105" y="318"/>
                </a:lnTo>
                <a:lnTo>
                  <a:pt x="225" y="260"/>
                </a:lnTo>
                <a:lnTo>
                  <a:pt x="285" y="367"/>
                </a:lnTo>
                <a:lnTo>
                  <a:pt x="410" y="352"/>
                </a:lnTo>
                <a:lnTo>
                  <a:pt x="514" y="406"/>
                </a:lnTo>
                <a:lnTo>
                  <a:pt x="544" y="373"/>
                </a:lnTo>
                <a:lnTo>
                  <a:pt x="523" y="264"/>
                </a:lnTo>
                <a:lnTo>
                  <a:pt x="553" y="237"/>
                </a:lnTo>
                <a:lnTo>
                  <a:pt x="594" y="216"/>
                </a:lnTo>
                <a:lnTo>
                  <a:pt x="594" y="151"/>
                </a:lnTo>
                <a:lnTo>
                  <a:pt x="468" y="43"/>
                </a:lnTo>
                <a:lnTo>
                  <a:pt x="438" y="60"/>
                </a:lnTo>
                <a:lnTo>
                  <a:pt x="318" y="52"/>
                </a:lnTo>
                <a:lnTo>
                  <a:pt x="252" y="0"/>
                </a:lnTo>
                <a:close/>
              </a:path>
            </a:pathLst>
          </a:custGeom>
          <a:solidFill>
            <a:schemeClr val="accent3"/>
          </a:solidFill>
          <a:ln w="12700">
            <a:solidFill>
              <a:schemeClr val="bg1"/>
            </a:solidFill>
            <a:round/>
            <a:headEnd/>
            <a:tailEnd/>
          </a:ln>
        </p:spPr>
        <p:txBody>
          <a:bodyPr/>
          <a:lstStyle/>
          <a:p>
            <a:pPr>
              <a:defRPr/>
            </a:pPr>
            <a:endParaRPr lang="nl-NL"/>
          </a:p>
        </p:txBody>
      </p:sp>
      <p:sp>
        <p:nvSpPr>
          <p:cNvPr id="35" name="Freeform 36"/>
          <p:cNvSpPr>
            <a:spLocks noChangeAspect="1"/>
          </p:cNvSpPr>
          <p:nvPr/>
        </p:nvSpPr>
        <p:spPr bwMode="auto">
          <a:xfrm>
            <a:off x="5304647" y="3563985"/>
            <a:ext cx="269241" cy="396390"/>
          </a:xfrm>
          <a:custGeom>
            <a:avLst/>
            <a:gdLst>
              <a:gd name="T0" fmla="*/ 202 w 314"/>
              <a:gd name="T1" fmla="*/ 49 h 423"/>
              <a:gd name="T2" fmla="*/ 152 w 314"/>
              <a:gd name="T3" fmla="*/ 0 h 423"/>
              <a:gd name="T4" fmla="*/ 59 w 314"/>
              <a:gd name="T5" fmla="*/ 4 h 423"/>
              <a:gd name="T6" fmla="*/ 56 w 314"/>
              <a:gd name="T7" fmla="*/ 48 h 423"/>
              <a:gd name="T8" fmla="*/ 68 w 314"/>
              <a:gd name="T9" fmla="*/ 75 h 423"/>
              <a:gd name="T10" fmla="*/ 0 w 314"/>
              <a:gd name="T11" fmla="*/ 130 h 423"/>
              <a:gd name="T12" fmla="*/ 59 w 314"/>
              <a:gd name="T13" fmla="*/ 216 h 423"/>
              <a:gd name="T14" fmla="*/ 56 w 314"/>
              <a:gd name="T15" fmla="*/ 301 h 423"/>
              <a:gd name="T16" fmla="*/ 97 w 314"/>
              <a:gd name="T17" fmla="*/ 364 h 423"/>
              <a:gd name="T18" fmla="*/ 167 w 314"/>
              <a:gd name="T19" fmla="*/ 352 h 423"/>
              <a:gd name="T20" fmla="*/ 188 w 314"/>
              <a:gd name="T21" fmla="*/ 423 h 423"/>
              <a:gd name="T22" fmla="*/ 246 w 314"/>
              <a:gd name="T23" fmla="*/ 356 h 423"/>
              <a:gd name="T24" fmla="*/ 314 w 314"/>
              <a:gd name="T25" fmla="*/ 320 h 423"/>
              <a:gd name="T26" fmla="*/ 314 w 314"/>
              <a:gd name="T27" fmla="*/ 257 h 423"/>
              <a:gd name="T28" fmla="*/ 172 w 314"/>
              <a:gd name="T29" fmla="*/ 181 h 423"/>
              <a:gd name="T30" fmla="*/ 202 w 314"/>
              <a:gd name="T31" fmla="*/ 49 h 423"/>
              <a:gd name="T32" fmla="*/ 202 w 314"/>
              <a:gd name="T33" fmla="*/ 49 h 4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14"/>
              <a:gd name="T52" fmla="*/ 0 h 423"/>
              <a:gd name="T53" fmla="*/ 314 w 314"/>
              <a:gd name="T54" fmla="*/ 423 h 4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14" h="423">
                <a:moveTo>
                  <a:pt x="202" y="49"/>
                </a:moveTo>
                <a:lnTo>
                  <a:pt x="152" y="0"/>
                </a:lnTo>
                <a:lnTo>
                  <a:pt x="59" y="4"/>
                </a:lnTo>
                <a:lnTo>
                  <a:pt x="56" y="48"/>
                </a:lnTo>
                <a:lnTo>
                  <a:pt x="68" y="75"/>
                </a:lnTo>
                <a:lnTo>
                  <a:pt x="0" y="130"/>
                </a:lnTo>
                <a:lnTo>
                  <a:pt x="59" y="216"/>
                </a:lnTo>
                <a:lnTo>
                  <a:pt x="56" y="301"/>
                </a:lnTo>
                <a:lnTo>
                  <a:pt x="97" y="364"/>
                </a:lnTo>
                <a:lnTo>
                  <a:pt x="167" y="352"/>
                </a:lnTo>
                <a:lnTo>
                  <a:pt x="188" y="423"/>
                </a:lnTo>
                <a:lnTo>
                  <a:pt x="246" y="356"/>
                </a:lnTo>
                <a:lnTo>
                  <a:pt x="314" y="320"/>
                </a:lnTo>
                <a:lnTo>
                  <a:pt x="314" y="257"/>
                </a:lnTo>
                <a:lnTo>
                  <a:pt x="172" y="181"/>
                </a:lnTo>
                <a:lnTo>
                  <a:pt x="202" y="49"/>
                </a:lnTo>
                <a:close/>
              </a:path>
            </a:pathLst>
          </a:custGeom>
          <a:solidFill>
            <a:schemeClr val="accent3"/>
          </a:solidFill>
          <a:ln w="12700">
            <a:solidFill>
              <a:schemeClr val="bg1"/>
            </a:solidFill>
            <a:round/>
            <a:headEnd/>
            <a:tailEnd/>
          </a:ln>
        </p:spPr>
        <p:txBody>
          <a:bodyPr/>
          <a:lstStyle/>
          <a:p>
            <a:pPr>
              <a:defRPr/>
            </a:pPr>
            <a:endParaRPr lang="nl-NL"/>
          </a:p>
        </p:txBody>
      </p:sp>
      <p:sp>
        <p:nvSpPr>
          <p:cNvPr id="36" name="Freeform 37"/>
          <p:cNvSpPr>
            <a:spLocks noChangeAspect="1"/>
          </p:cNvSpPr>
          <p:nvPr/>
        </p:nvSpPr>
        <p:spPr bwMode="auto">
          <a:xfrm>
            <a:off x="5156219" y="3582683"/>
            <a:ext cx="310663" cy="474920"/>
          </a:xfrm>
          <a:custGeom>
            <a:avLst/>
            <a:gdLst>
              <a:gd name="T0" fmla="*/ 226 w 358"/>
              <a:gd name="T1" fmla="*/ 29 h 507"/>
              <a:gd name="T2" fmla="*/ 243 w 358"/>
              <a:gd name="T3" fmla="*/ 59 h 507"/>
              <a:gd name="T4" fmla="*/ 170 w 358"/>
              <a:gd name="T5" fmla="*/ 112 h 507"/>
              <a:gd name="T6" fmla="*/ 231 w 358"/>
              <a:gd name="T7" fmla="*/ 203 h 507"/>
              <a:gd name="T8" fmla="*/ 226 w 358"/>
              <a:gd name="T9" fmla="*/ 279 h 507"/>
              <a:gd name="T10" fmla="*/ 269 w 358"/>
              <a:gd name="T11" fmla="*/ 343 h 507"/>
              <a:gd name="T12" fmla="*/ 337 w 358"/>
              <a:gd name="T13" fmla="*/ 334 h 507"/>
              <a:gd name="T14" fmla="*/ 358 w 358"/>
              <a:gd name="T15" fmla="*/ 404 h 507"/>
              <a:gd name="T16" fmla="*/ 358 w 358"/>
              <a:gd name="T17" fmla="*/ 437 h 507"/>
              <a:gd name="T18" fmla="*/ 269 w 358"/>
              <a:gd name="T19" fmla="*/ 507 h 507"/>
              <a:gd name="T20" fmla="*/ 188 w 358"/>
              <a:gd name="T21" fmla="*/ 443 h 507"/>
              <a:gd name="T22" fmla="*/ 56 w 358"/>
              <a:gd name="T23" fmla="*/ 449 h 507"/>
              <a:gd name="T24" fmla="*/ 73 w 358"/>
              <a:gd name="T25" fmla="*/ 361 h 507"/>
              <a:gd name="T26" fmla="*/ 3 w 358"/>
              <a:gd name="T27" fmla="*/ 272 h 507"/>
              <a:gd name="T28" fmla="*/ 0 w 358"/>
              <a:gd name="T29" fmla="*/ 170 h 507"/>
              <a:gd name="T30" fmla="*/ 30 w 358"/>
              <a:gd name="T31" fmla="*/ 135 h 507"/>
              <a:gd name="T32" fmla="*/ 9 w 358"/>
              <a:gd name="T33" fmla="*/ 29 h 507"/>
              <a:gd name="T34" fmla="*/ 45 w 358"/>
              <a:gd name="T35" fmla="*/ 0 h 507"/>
              <a:gd name="T36" fmla="*/ 103 w 358"/>
              <a:gd name="T37" fmla="*/ 50 h 507"/>
              <a:gd name="T38" fmla="*/ 226 w 358"/>
              <a:gd name="T39" fmla="*/ 29 h 507"/>
              <a:gd name="T40" fmla="*/ 226 w 358"/>
              <a:gd name="T41" fmla="*/ 29 h 50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8"/>
              <a:gd name="T64" fmla="*/ 0 h 507"/>
              <a:gd name="T65" fmla="*/ 358 w 358"/>
              <a:gd name="T66" fmla="*/ 507 h 50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8" h="507">
                <a:moveTo>
                  <a:pt x="226" y="29"/>
                </a:moveTo>
                <a:lnTo>
                  <a:pt x="243" y="59"/>
                </a:lnTo>
                <a:lnTo>
                  <a:pt x="170" y="112"/>
                </a:lnTo>
                <a:lnTo>
                  <a:pt x="231" y="203"/>
                </a:lnTo>
                <a:lnTo>
                  <a:pt x="226" y="279"/>
                </a:lnTo>
                <a:lnTo>
                  <a:pt x="269" y="343"/>
                </a:lnTo>
                <a:lnTo>
                  <a:pt x="337" y="334"/>
                </a:lnTo>
                <a:lnTo>
                  <a:pt x="358" y="404"/>
                </a:lnTo>
                <a:lnTo>
                  <a:pt x="358" y="437"/>
                </a:lnTo>
                <a:lnTo>
                  <a:pt x="269" y="507"/>
                </a:lnTo>
                <a:lnTo>
                  <a:pt x="188" y="443"/>
                </a:lnTo>
                <a:lnTo>
                  <a:pt x="56" y="449"/>
                </a:lnTo>
                <a:lnTo>
                  <a:pt x="73" y="361"/>
                </a:lnTo>
                <a:lnTo>
                  <a:pt x="3" y="272"/>
                </a:lnTo>
                <a:lnTo>
                  <a:pt x="0" y="170"/>
                </a:lnTo>
                <a:lnTo>
                  <a:pt x="30" y="135"/>
                </a:lnTo>
                <a:lnTo>
                  <a:pt x="9" y="29"/>
                </a:lnTo>
                <a:lnTo>
                  <a:pt x="45" y="0"/>
                </a:lnTo>
                <a:lnTo>
                  <a:pt x="103" y="50"/>
                </a:lnTo>
                <a:lnTo>
                  <a:pt x="226" y="29"/>
                </a:lnTo>
                <a:close/>
              </a:path>
            </a:pathLst>
          </a:custGeom>
          <a:solidFill>
            <a:schemeClr val="accent3"/>
          </a:solidFill>
          <a:ln w="12700">
            <a:solidFill>
              <a:schemeClr val="bg1"/>
            </a:solidFill>
            <a:round/>
            <a:headEnd/>
            <a:tailEnd/>
          </a:ln>
        </p:spPr>
        <p:txBody>
          <a:bodyPr/>
          <a:lstStyle/>
          <a:p>
            <a:pPr>
              <a:defRPr/>
            </a:pPr>
            <a:endParaRPr lang="nl-NL"/>
          </a:p>
        </p:txBody>
      </p:sp>
      <p:sp>
        <p:nvSpPr>
          <p:cNvPr id="37" name="Freeform 38"/>
          <p:cNvSpPr>
            <a:spLocks noChangeAspect="1"/>
          </p:cNvSpPr>
          <p:nvPr/>
        </p:nvSpPr>
        <p:spPr bwMode="auto">
          <a:xfrm>
            <a:off x="4760987" y="3605120"/>
            <a:ext cx="460817" cy="431915"/>
          </a:xfrm>
          <a:custGeom>
            <a:avLst/>
            <a:gdLst>
              <a:gd name="T0" fmla="*/ 170 w 535"/>
              <a:gd name="T1" fmla="*/ 0 h 460"/>
              <a:gd name="T2" fmla="*/ 50 w 535"/>
              <a:gd name="T3" fmla="*/ 58 h 460"/>
              <a:gd name="T4" fmla="*/ 71 w 535"/>
              <a:gd name="T5" fmla="*/ 146 h 460"/>
              <a:gd name="T6" fmla="*/ 0 w 535"/>
              <a:gd name="T7" fmla="*/ 200 h 460"/>
              <a:gd name="T8" fmla="*/ 30 w 535"/>
              <a:gd name="T9" fmla="*/ 344 h 460"/>
              <a:gd name="T10" fmla="*/ 111 w 535"/>
              <a:gd name="T11" fmla="*/ 412 h 460"/>
              <a:gd name="T12" fmla="*/ 164 w 535"/>
              <a:gd name="T13" fmla="*/ 412 h 460"/>
              <a:gd name="T14" fmla="*/ 213 w 535"/>
              <a:gd name="T15" fmla="*/ 460 h 460"/>
              <a:gd name="T16" fmla="*/ 316 w 535"/>
              <a:gd name="T17" fmla="*/ 403 h 460"/>
              <a:gd name="T18" fmla="*/ 399 w 535"/>
              <a:gd name="T19" fmla="*/ 403 h 460"/>
              <a:gd name="T20" fmla="*/ 425 w 535"/>
              <a:gd name="T21" fmla="*/ 437 h 460"/>
              <a:gd name="T22" fmla="*/ 515 w 535"/>
              <a:gd name="T23" fmla="*/ 428 h 460"/>
              <a:gd name="T24" fmla="*/ 535 w 535"/>
              <a:gd name="T25" fmla="*/ 341 h 460"/>
              <a:gd name="T26" fmla="*/ 462 w 535"/>
              <a:gd name="T27" fmla="*/ 247 h 460"/>
              <a:gd name="T28" fmla="*/ 459 w 535"/>
              <a:gd name="T29" fmla="*/ 145 h 460"/>
              <a:gd name="T30" fmla="*/ 355 w 535"/>
              <a:gd name="T31" fmla="*/ 92 h 460"/>
              <a:gd name="T32" fmla="*/ 226 w 535"/>
              <a:gd name="T33" fmla="*/ 104 h 460"/>
              <a:gd name="T34" fmla="*/ 170 w 535"/>
              <a:gd name="T35" fmla="*/ 0 h 460"/>
              <a:gd name="T36" fmla="*/ 170 w 535"/>
              <a:gd name="T37" fmla="*/ 0 h 4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5"/>
              <a:gd name="T58" fmla="*/ 0 h 460"/>
              <a:gd name="T59" fmla="*/ 535 w 535"/>
              <a:gd name="T60" fmla="*/ 460 h 46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5" h="460">
                <a:moveTo>
                  <a:pt x="170" y="0"/>
                </a:moveTo>
                <a:lnTo>
                  <a:pt x="50" y="58"/>
                </a:lnTo>
                <a:lnTo>
                  <a:pt x="71" y="146"/>
                </a:lnTo>
                <a:lnTo>
                  <a:pt x="0" y="200"/>
                </a:lnTo>
                <a:lnTo>
                  <a:pt x="30" y="344"/>
                </a:lnTo>
                <a:lnTo>
                  <a:pt x="111" y="412"/>
                </a:lnTo>
                <a:lnTo>
                  <a:pt x="164" y="412"/>
                </a:lnTo>
                <a:lnTo>
                  <a:pt x="213" y="460"/>
                </a:lnTo>
                <a:lnTo>
                  <a:pt x="316" y="403"/>
                </a:lnTo>
                <a:lnTo>
                  <a:pt x="399" y="403"/>
                </a:lnTo>
                <a:lnTo>
                  <a:pt x="425" y="437"/>
                </a:lnTo>
                <a:lnTo>
                  <a:pt x="515" y="428"/>
                </a:lnTo>
                <a:lnTo>
                  <a:pt x="535" y="341"/>
                </a:lnTo>
                <a:lnTo>
                  <a:pt x="462" y="247"/>
                </a:lnTo>
                <a:lnTo>
                  <a:pt x="459" y="145"/>
                </a:lnTo>
                <a:lnTo>
                  <a:pt x="355" y="92"/>
                </a:lnTo>
                <a:lnTo>
                  <a:pt x="226" y="104"/>
                </a:lnTo>
                <a:lnTo>
                  <a:pt x="170" y="0"/>
                </a:lnTo>
                <a:close/>
              </a:path>
            </a:pathLst>
          </a:custGeom>
          <a:solidFill>
            <a:schemeClr val="accent3"/>
          </a:solidFill>
          <a:ln w="12700">
            <a:solidFill>
              <a:schemeClr val="bg1"/>
            </a:solidFill>
            <a:round/>
            <a:headEnd/>
            <a:tailEnd/>
          </a:ln>
        </p:spPr>
        <p:txBody>
          <a:bodyPr/>
          <a:lstStyle/>
          <a:p>
            <a:pPr>
              <a:defRPr/>
            </a:pPr>
            <a:endParaRPr lang="nl-NL"/>
          </a:p>
        </p:txBody>
      </p:sp>
      <p:sp>
        <p:nvSpPr>
          <p:cNvPr id="38" name="Freeform 39"/>
          <p:cNvSpPr>
            <a:spLocks noChangeAspect="1"/>
          </p:cNvSpPr>
          <p:nvPr/>
        </p:nvSpPr>
        <p:spPr bwMode="auto">
          <a:xfrm>
            <a:off x="4238037" y="2761857"/>
            <a:ext cx="472898" cy="411348"/>
          </a:xfrm>
          <a:custGeom>
            <a:avLst/>
            <a:gdLst>
              <a:gd name="T0" fmla="*/ 84 w 549"/>
              <a:gd name="T1" fmla="*/ 0 h 440"/>
              <a:gd name="T2" fmla="*/ 73 w 549"/>
              <a:gd name="T3" fmla="*/ 27 h 440"/>
              <a:gd name="T4" fmla="*/ 88 w 549"/>
              <a:gd name="T5" fmla="*/ 86 h 440"/>
              <a:gd name="T6" fmla="*/ 43 w 549"/>
              <a:gd name="T7" fmla="*/ 109 h 440"/>
              <a:gd name="T8" fmla="*/ 0 w 549"/>
              <a:gd name="T9" fmla="*/ 209 h 440"/>
              <a:gd name="T10" fmla="*/ 152 w 549"/>
              <a:gd name="T11" fmla="*/ 266 h 440"/>
              <a:gd name="T12" fmla="*/ 170 w 549"/>
              <a:gd name="T13" fmla="*/ 407 h 440"/>
              <a:gd name="T14" fmla="*/ 250 w 549"/>
              <a:gd name="T15" fmla="*/ 440 h 440"/>
              <a:gd name="T16" fmla="*/ 332 w 549"/>
              <a:gd name="T17" fmla="*/ 422 h 440"/>
              <a:gd name="T18" fmla="*/ 416 w 549"/>
              <a:gd name="T19" fmla="*/ 429 h 440"/>
              <a:gd name="T20" fmla="*/ 513 w 549"/>
              <a:gd name="T21" fmla="*/ 394 h 440"/>
              <a:gd name="T22" fmla="*/ 513 w 549"/>
              <a:gd name="T23" fmla="*/ 338 h 440"/>
              <a:gd name="T24" fmla="*/ 549 w 549"/>
              <a:gd name="T25" fmla="*/ 338 h 440"/>
              <a:gd name="T26" fmla="*/ 521 w 549"/>
              <a:gd name="T27" fmla="*/ 266 h 440"/>
              <a:gd name="T28" fmla="*/ 545 w 549"/>
              <a:gd name="T29" fmla="*/ 238 h 440"/>
              <a:gd name="T30" fmla="*/ 499 w 549"/>
              <a:gd name="T31" fmla="*/ 215 h 440"/>
              <a:gd name="T32" fmla="*/ 378 w 549"/>
              <a:gd name="T33" fmla="*/ 215 h 440"/>
              <a:gd name="T34" fmla="*/ 364 w 549"/>
              <a:gd name="T35" fmla="*/ 175 h 440"/>
              <a:gd name="T36" fmla="*/ 318 w 549"/>
              <a:gd name="T37" fmla="*/ 141 h 440"/>
              <a:gd name="T38" fmla="*/ 292 w 549"/>
              <a:gd name="T39" fmla="*/ 55 h 440"/>
              <a:gd name="T40" fmla="*/ 208 w 549"/>
              <a:gd name="T41" fmla="*/ 76 h 440"/>
              <a:gd name="T42" fmla="*/ 146 w 549"/>
              <a:gd name="T43" fmla="*/ 0 h 440"/>
              <a:gd name="T44" fmla="*/ 84 w 549"/>
              <a:gd name="T45" fmla="*/ 0 h 440"/>
              <a:gd name="T46" fmla="*/ 84 w 549"/>
              <a:gd name="T47" fmla="*/ 0 h 4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9"/>
              <a:gd name="T73" fmla="*/ 0 h 440"/>
              <a:gd name="T74" fmla="*/ 549 w 549"/>
              <a:gd name="T75" fmla="*/ 440 h 4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9" h="440">
                <a:moveTo>
                  <a:pt x="84" y="0"/>
                </a:moveTo>
                <a:lnTo>
                  <a:pt x="73" y="27"/>
                </a:lnTo>
                <a:lnTo>
                  <a:pt x="88" y="86"/>
                </a:lnTo>
                <a:lnTo>
                  <a:pt x="43" y="109"/>
                </a:lnTo>
                <a:lnTo>
                  <a:pt x="0" y="209"/>
                </a:lnTo>
                <a:lnTo>
                  <a:pt x="152" y="266"/>
                </a:lnTo>
                <a:lnTo>
                  <a:pt x="170" y="407"/>
                </a:lnTo>
                <a:lnTo>
                  <a:pt x="250" y="440"/>
                </a:lnTo>
                <a:lnTo>
                  <a:pt x="332" y="422"/>
                </a:lnTo>
                <a:lnTo>
                  <a:pt x="416" y="429"/>
                </a:lnTo>
                <a:lnTo>
                  <a:pt x="513" y="394"/>
                </a:lnTo>
                <a:lnTo>
                  <a:pt x="513" y="338"/>
                </a:lnTo>
                <a:lnTo>
                  <a:pt x="549" y="338"/>
                </a:lnTo>
                <a:lnTo>
                  <a:pt x="521" y="266"/>
                </a:lnTo>
                <a:lnTo>
                  <a:pt x="545" y="238"/>
                </a:lnTo>
                <a:lnTo>
                  <a:pt x="499" y="215"/>
                </a:lnTo>
                <a:lnTo>
                  <a:pt x="378" y="215"/>
                </a:lnTo>
                <a:lnTo>
                  <a:pt x="364" y="175"/>
                </a:lnTo>
                <a:lnTo>
                  <a:pt x="318" y="141"/>
                </a:lnTo>
                <a:lnTo>
                  <a:pt x="292" y="55"/>
                </a:lnTo>
                <a:lnTo>
                  <a:pt x="208" y="76"/>
                </a:lnTo>
                <a:lnTo>
                  <a:pt x="146" y="0"/>
                </a:lnTo>
                <a:lnTo>
                  <a:pt x="84" y="0"/>
                </a:lnTo>
                <a:close/>
              </a:path>
            </a:pathLst>
          </a:custGeom>
          <a:solidFill>
            <a:schemeClr val="accent3"/>
          </a:solidFill>
          <a:ln w="12700">
            <a:solidFill>
              <a:schemeClr val="bg1"/>
            </a:solidFill>
            <a:round/>
            <a:headEnd/>
            <a:tailEnd/>
          </a:ln>
        </p:spPr>
        <p:txBody>
          <a:bodyPr/>
          <a:lstStyle/>
          <a:p>
            <a:pPr>
              <a:defRPr/>
            </a:pPr>
            <a:endParaRPr lang="nl-NL"/>
          </a:p>
        </p:txBody>
      </p:sp>
      <p:sp>
        <p:nvSpPr>
          <p:cNvPr id="39" name="Freeform 40"/>
          <p:cNvSpPr>
            <a:spLocks noChangeAspect="1"/>
          </p:cNvSpPr>
          <p:nvPr/>
        </p:nvSpPr>
        <p:spPr bwMode="auto">
          <a:xfrm>
            <a:off x="4075802" y="2958182"/>
            <a:ext cx="377973" cy="426306"/>
          </a:xfrm>
          <a:custGeom>
            <a:avLst/>
            <a:gdLst>
              <a:gd name="T0" fmla="*/ 192 w 437"/>
              <a:gd name="T1" fmla="*/ 0 h 456"/>
              <a:gd name="T2" fmla="*/ 152 w 437"/>
              <a:gd name="T3" fmla="*/ 19 h 456"/>
              <a:gd name="T4" fmla="*/ 116 w 437"/>
              <a:gd name="T5" fmla="*/ 15 h 456"/>
              <a:gd name="T6" fmla="*/ 122 w 437"/>
              <a:gd name="T7" fmla="*/ 59 h 456"/>
              <a:gd name="T8" fmla="*/ 66 w 437"/>
              <a:gd name="T9" fmla="*/ 50 h 456"/>
              <a:gd name="T10" fmla="*/ 46 w 437"/>
              <a:gd name="T11" fmla="*/ 67 h 456"/>
              <a:gd name="T12" fmla="*/ 0 w 437"/>
              <a:gd name="T13" fmla="*/ 253 h 456"/>
              <a:gd name="T14" fmla="*/ 101 w 437"/>
              <a:gd name="T15" fmla="*/ 365 h 456"/>
              <a:gd name="T16" fmla="*/ 201 w 437"/>
              <a:gd name="T17" fmla="*/ 346 h 456"/>
              <a:gd name="T18" fmla="*/ 269 w 437"/>
              <a:gd name="T19" fmla="*/ 456 h 456"/>
              <a:gd name="T20" fmla="*/ 312 w 437"/>
              <a:gd name="T21" fmla="*/ 448 h 456"/>
              <a:gd name="T22" fmla="*/ 351 w 437"/>
              <a:gd name="T23" fmla="*/ 329 h 456"/>
              <a:gd name="T24" fmla="*/ 394 w 437"/>
              <a:gd name="T25" fmla="*/ 324 h 456"/>
              <a:gd name="T26" fmla="*/ 437 w 437"/>
              <a:gd name="T27" fmla="*/ 231 h 456"/>
              <a:gd name="T28" fmla="*/ 357 w 437"/>
              <a:gd name="T29" fmla="*/ 198 h 456"/>
              <a:gd name="T30" fmla="*/ 339 w 437"/>
              <a:gd name="T31" fmla="*/ 57 h 456"/>
              <a:gd name="T32" fmla="*/ 192 w 437"/>
              <a:gd name="T33" fmla="*/ 0 h 456"/>
              <a:gd name="T34" fmla="*/ 192 w 437"/>
              <a:gd name="T35" fmla="*/ 0 h 4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7"/>
              <a:gd name="T55" fmla="*/ 0 h 456"/>
              <a:gd name="T56" fmla="*/ 437 w 437"/>
              <a:gd name="T57" fmla="*/ 456 h 4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7" h="456">
                <a:moveTo>
                  <a:pt x="192" y="0"/>
                </a:moveTo>
                <a:lnTo>
                  <a:pt x="152" y="19"/>
                </a:lnTo>
                <a:lnTo>
                  <a:pt x="116" y="15"/>
                </a:lnTo>
                <a:lnTo>
                  <a:pt x="122" y="59"/>
                </a:lnTo>
                <a:lnTo>
                  <a:pt x="66" y="50"/>
                </a:lnTo>
                <a:lnTo>
                  <a:pt x="46" y="67"/>
                </a:lnTo>
                <a:lnTo>
                  <a:pt x="0" y="253"/>
                </a:lnTo>
                <a:lnTo>
                  <a:pt x="101" y="365"/>
                </a:lnTo>
                <a:lnTo>
                  <a:pt x="201" y="346"/>
                </a:lnTo>
                <a:lnTo>
                  <a:pt x="269" y="456"/>
                </a:lnTo>
                <a:lnTo>
                  <a:pt x="312" y="448"/>
                </a:lnTo>
                <a:lnTo>
                  <a:pt x="351" y="329"/>
                </a:lnTo>
                <a:lnTo>
                  <a:pt x="394" y="324"/>
                </a:lnTo>
                <a:lnTo>
                  <a:pt x="437" y="231"/>
                </a:lnTo>
                <a:lnTo>
                  <a:pt x="357" y="198"/>
                </a:lnTo>
                <a:lnTo>
                  <a:pt x="339" y="57"/>
                </a:lnTo>
                <a:lnTo>
                  <a:pt x="192" y="0"/>
                </a:lnTo>
                <a:close/>
              </a:path>
            </a:pathLst>
          </a:custGeom>
          <a:solidFill>
            <a:schemeClr val="accent3"/>
          </a:solidFill>
          <a:ln w="12700">
            <a:solidFill>
              <a:schemeClr val="bg1"/>
            </a:solidFill>
            <a:round/>
            <a:headEnd/>
            <a:tailEnd/>
          </a:ln>
        </p:spPr>
        <p:txBody>
          <a:bodyPr/>
          <a:lstStyle/>
          <a:p>
            <a:pPr>
              <a:defRPr/>
            </a:pPr>
            <a:endParaRPr lang="nl-NL"/>
          </a:p>
        </p:txBody>
      </p:sp>
      <p:sp>
        <p:nvSpPr>
          <p:cNvPr id="40" name="Freeform 41"/>
          <p:cNvSpPr>
            <a:spLocks noChangeAspect="1"/>
          </p:cNvSpPr>
          <p:nvPr/>
        </p:nvSpPr>
        <p:spPr bwMode="auto">
          <a:xfrm>
            <a:off x="3685747" y="2890871"/>
            <a:ext cx="450461" cy="370213"/>
          </a:xfrm>
          <a:custGeom>
            <a:avLst/>
            <a:gdLst>
              <a:gd name="T0" fmla="*/ 37 w 523"/>
              <a:gd name="T1" fmla="*/ 0 h 396"/>
              <a:gd name="T2" fmla="*/ 48 w 523"/>
              <a:gd name="T3" fmla="*/ 80 h 396"/>
              <a:gd name="T4" fmla="*/ 93 w 523"/>
              <a:gd name="T5" fmla="*/ 101 h 396"/>
              <a:gd name="T6" fmla="*/ 63 w 523"/>
              <a:gd name="T7" fmla="*/ 125 h 396"/>
              <a:gd name="T8" fmla="*/ 105 w 523"/>
              <a:gd name="T9" fmla="*/ 198 h 396"/>
              <a:gd name="T10" fmla="*/ 0 w 523"/>
              <a:gd name="T11" fmla="*/ 222 h 396"/>
              <a:gd name="T12" fmla="*/ 49 w 523"/>
              <a:gd name="T13" fmla="*/ 289 h 396"/>
              <a:gd name="T14" fmla="*/ 17 w 523"/>
              <a:gd name="T15" fmla="*/ 336 h 396"/>
              <a:gd name="T16" fmla="*/ 102 w 523"/>
              <a:gd name="T17" fmla="*/ 391 h 396"/>
              <a:gd name="T18" fmla="*/ 215 w 523"/>
              <a:gd name="T19" fmla="*/ 396 h 396"/>
              <a:gd name="T20" fmla="*/ 257 w 523"/>
              <a:gd name="T21" fmla="*/ 359 h 396"/>
              <a:gd name="T22" fmla="*/ 396 w 523"/>
              <a:gd name="T23" fmla="*/ 373 h 396"/>
              <a:gd name="T24" fmla="*/ 456 w 523"/>
              <a:gd name="T25" fmla="*/ 330 h 396"/>
              <a:gd name="T26" fmla="*/ 499 w 523"/>
              <a:gd name="T27" fmla="*/ 139 h 396"/>
              <a:gd name="T28" fmla="*/ 523 w 523"/>
              <a:gd name="T29" fmla="*/ 122 h 396"/>
              <a:gd name="T30" fmla="*/ 392 w 523"/>
              <a:gd name="T31" fmla="*/ 87 h 396"/>
              <a:gd name="T32" fmla="*/ 380 w 523"/>
              <a:gd name="T33" fmla="*/ 58 h 396"/>
              <a:gd name="T34" fmla="*/ 320 w 523"/>
              <a:gd name="T35" fmla="*/ 46 h 396"/>
              <a:gd name="T36" fmla="*/ 320 w 523"/>
              <a:gd name="T37" fmla="*/ 28 h 396"/>
              <a:gd name="T38" fmla="*/ 206 w 523"/>
              <a:gd name="T39" fmla="*/ 32 h 396"/>
              <a:gd name="T40" fmla="*/ 108 w 523"/>
              <a:gd name="T41" fmla="*/ 10 h 396"/>
              <a:gd name="T42" fmla="*/ 37 w 523"/>
              <a:gd name="T43" fmla="*/ 0 h 396"/>
              <a:gd name="T44" fmla="*/ 37 w 523"/>
              <a:gd name="T45" fmla="*/ 0 h 39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23"/>
              <a:gd name="T70" fmla="*/ 0 h 396"/>
              <a:gd name="T71" fmla="*/ 523 w 523"/>
              <a:gd name="T72" fmla="*/ 396 h 39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23" h="396">
                <a:moveTo>
                  <a:pt x="37" y="0"/>
                </a:moveTo>
                <a:lnTo>
                  <a:pt x="48" y="80"/>
                </a:lnTo>
                <a:lnTo>
                  <a:pt x="93" y="101"/>
                </a:lnTo>
                <a:lnTo>
                  <a:pt x="63" y="125"/>
                </a:lnTo>
                <a:lnTo>
                  <a:pt x="105" y="198"/>
                </a:lnTo>
                <a:lnTo>
                  <a:pt x="0" y="222"/>
                </a:lnTo>
                <a:lnTo>
                  <a:pt x="49" y="289"/>
                </a:lnTo>
                <a:lnTo>
                  <a:pt x="17" y="336"/>
                </a:lnTo>
                <a:lnTo>
                  <a:pt x="102" y="391"/>
                </a:lnTo>
                <a:lnTo>
                  <a:pt x="215" y="396"/>
                </a:lnTo>
                <a:lnTo>
                  <a:pt x="257" y="359"/>
                </a:lnTo>
                <a:lnTo>
                  <a:pt x="396" y="373"/>
                </a:lnTo>
                <a:lnTo>
                  <a:pt x="456" y="330"/>
                </a:lnTo>
                <a:lnTo>
                  <a:pt x="499" y="139"/>
                </a:lnTo>
                <a:lnTo>
                  <a:pt x="523" y="122"/>
                </a:lnTo>
                <a:lnTo>
                  <a:pt x="392" y="87"/>
                </a:lnTo>
                <a:lnTo>
                  <a:pt x="380" y="58"/>
                </a:lnTo>
                <a:lnTo>
                  <a:pt x="320" y="46"/>
                </a:lnTo>
                <a:lnTo>
                  <a:pt x="320" y="28"/>
                </a:lnTo>
                <a:lnTo>
                  <a:pt x="206" y="32"/>
                </a:lnTo>
                <a:lnTo>
                  <a:pt x="108" y="10"/>
                </a:lnTo>
                <a:lnTo>
                  <a:pt x="37" y="0"/>
                </a:lnTo>
                <a:close/>
              </a:path>
            </a:pathLst>
          </a:custGeom>
          <a:solidFill>
            <a:schemeClr val="accent3"/>
          </a:solidFill>
          <a:ln w="12700">
            <a:solidFill>
              <a:schemeClr val="bg1"/>
            </a:solidFill>
            <a:round/>
            <a:headEnd/>
            <a:tailEnd/>
          </a:ln>
        </p:spPr>
        <p:txBody>
          <a:bodyPr/>
          <a:lstStyle/>
          <a:p>
            <a:pPr>
              <a:defRPr/>
            </a:pPr>
            <a:endParaRPr lang="nl-NL"/>
          </a:p>
        </p:txBody>
      </p:sp>
      <p:sp>
        <p:nvSpPr>
          <p:cNvPr id="41" name="Freeform 42"/>
          <p:cNvSpPr>
            <a:spLocks noChangeAspect="1"/>
          </p:cNvSpPr>
          <p:nvPr/>
        </p:nvSpPr>
        <p:spPr bwMode="auto">
          <a:xfrm>
            <a:off x="3428587" y="3229298"/>
            <a:ext cx="467721" cy="334687"/>
          </a:xfrm>
          <a:custGeom>
            <a:avLst/>
            <a:gdLst>
              <a:gd name="T0" fmla="*/ 55 w 542"/>
              <a:gd name="T1" fmla="*/ 21 h 360"/>
              <a:gd name="T2" fmla="*/ 0 w 542"/>
              <a:gd name="T3" fmla="*/ 95 h 360"/>
              <a:gd name="T4" fmla="*/ 84 w 542"/>
              <a:gd name="T5" fmla="*/ 196 h 360"/>
              <a:gd name="T6" fmla="*/ 84 w 542"/>
              <a:gd name="T7" fmla="*/ 256 h 360"/>
              <a:gd name="T8" fmla="*/ 347 w 542"/>
              <a:gd name="T9" fmla="*/ 360 h 360"/>
              <a:gd name="T10" fmla="*/ 462 w 542"/>
              <a:gd name="T11" fmla="*/ 359 h 360"/>
              <a:gd name="T12" fmla="*/ 542 w 542"/>
              <a:gd name="T13" fmla="*/ 341 h 360"/>
              <a:gd name="T14" fmla="*/ 504 w 542"/>
              <a:gd name="T15" fmla="*/ 305 h 360"/>
              <a:gd name="T16" fmla="*/ 481 w 542"/>
              <a:gd name="T17" fmla="*/ 116 h 360"/>
              <a:gd name="T18" fmla="*/ 403 w 542"/>
              <a:gd name="T19" fmla="*/ 29 h 360"/>
              <a:gd name="T20" fmla="*/ 357 w 542"/>
              <a:gd name="T21" fmla="*/ 0 h 360"/>
              <a:gd name="T22" fmla="*/ 304 w 542"/>
              <a:gd name="T23" fmla="*/ 0 h 360"/>
              <a:gd name="T24" fmla="*/ 243 w 542"/>
              <a:gd name="T25" fmla="*/ 61 h 360"/>
              <a:gd name="T26" fmla="*/ 233 w 542"/>
              <a:gd name="T27" fmla="*/ 19 h 360"/>
              <a:gd name="T28" fmla="*/ 198 w 542"/>
              <a:gd name="T29" fmla="*/ 4 h 360"/>
              <a:gd name="T30" fmla="*/ 228 w 542"/>
              <a:gd name="T31" fmla="*/ 86 h 360"/>
              <a:gd name="T32" fmla="*/ 55 w 542"/>
              <a:gd name="T33" fmla="*/ 21 h 360"/>
              <a:gd name="T34" fmla="*/ 55 w 542"/>
              <a:gd name="T35" fmla="*/ 21 h 3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2"/>
              <a:gd name="T55" fmla="*/ 0 h 360"/>
              <a:gd name="T56" fmla="*/ 542 w 542"/>
              <a:gd name="T57" fmla="*/ 360 h 3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2" h="360">
                <a:moveTo>
                  <a:pt x="55" y="21"/>
                </a:moveTo>
                <a:lnTo>
                  <a:pt x="0" y="95"/>
                </a:lnTo>
                <a:lnTo>
                  <a:pt x="84" y="196"/>
                </a:lnTo>
                <a:lnTo>
                  <a:pt x="84" y="256"/>
                </a:lnTo>
                <a:lnTo>
                  <a:pt x="347" y="360"/>
                </a:lnTo>
                <a:lnTo>
                  <a:pt x="462" y="359"/>
                </a:lnTo>
                <a:lnTo>
                  <a:pt x="542" y="341"/>
                </a:lnTo>
                <a:lnTo>
                  <a:pt x="504" y="305"/>
                </a:lnTo>
                <a:lnTo>
                  <a:pt x="481" y="116"/>
                </a:lnTo>
                <a:lnTo>
                  <a:pt x="403" y="29"/>
                </a:lnTo>
                <a:lnTo>
                  <a:pt x="357" y="0"/>
                </a:lnTo>
                <a:lnTo>
                  <a:pt x="304" y="0"/>
                </a:lnTo>
                <a:lnTo>
                  <a:pt x="243" y="61"/>
                </a:lnTo>
                <a:lnTo>
                  <a:pt x="233" y="19"/>
                </a:lnTo>
                <a:lnTo>
                  <a:pt x="198" y="4"/>
                </a:lnTo>
                <a:lnTo>
                  <a:pt x="228" y="86"/>
                </a:lnTo>
                <a:lnTo>
                  <a:pt x="55" y="21"/>
                </a:lnTo>
                <a:close/>
              </a:path>
            </a:pathLst>
          </a:custGeom>
          <a:solidFill>
            <a:schemeClr val="accent3"/>
          </a:solidFill>
          <a:ln w="12700">
            <a:solidFill>
              <a:schemeClr val="bg1"/>
            </a:solidFill>
            <a:round/>
            <a:headEnd/>
            <a:tailEnd/>
          </a:ln>
        </p:spPr>
        <p:txBody>
          <a:bodyPr/>
          <a:lstStyle/>
          <a:p>
            <a:pPr>
              <a:defRPr/>
            </a:pPr>
            <a:endParaRPr lang="nl-NL"/>
          </a:p>
        </p:txBody>
      </p:sp>
      <p:sp>
        <p:nvSpPr>
          <p:cNvPr id="42" name="Freeform 43"/>
          <p:cNvSpPr>
            <a:spLocks noChangeAspect="1"/>
          </p:cNvSpPr>
          <p:nvPr/>
        </p:nvSpPr>
        <p:spPr bwMode="auto">
          <a:xfrm>
            <a:off x="3773768" y="3227428"/>
            <a:ext cx="340003" cy="497357"/>
          </a:xfrm>
          <a:custGeom>
            <a:avLst/>
            <a:gdLst>
              <a:gd name="T0" fmla="*/ 0 w 394"/>
              <a:gd name="T1" fmla="*/ 31 h 533"/>
              <a:gd name="T2" fmla="*/ 81 w 394"/>
              <a:gd name="T3" fmla="*/ 118 h 533"/>
              <a:gd name="T4" fmla="*/ 104 w 394"/>
              <a:gd name="T5" fmla="*/ 315 h 533"/>
              <a:gd name="T6" fmla="*/ 143 w 394"/>
              <a:gd name="T7" fmla="*/ 343 h 533"/>
              <a:gd name="T8" fmla="*/ 62 w 394"/>
              <a:gd name="T9" fmla="*/ 358 h 533"/>
              <a:gd name="T10" fmla="*/ 108 w 394"/>
              <a:gd name="T11" fmla="*/ 452 h 533"/>
              <a:gd name="T12" fmla="*/ 295 w 394"/>
              <a:gd name="T13" fmla="*/ 533 h 533"/>
              <a:gd name="T14" fmla="*/ 315 w 394"/>
              <a:gd name="T15" fmla="*/ 486 h 533"/>
              <a:gd name="T16" fmla="*/ 394 w 394"/>
              <a:gd name="T17" fmla="*/ 480 h 533"/>
              <a:gd name="T18" fmla="*/ 379 w 394"/>
              <a:gd name="T19" fmla="*/ 362 h 533"/>
              <a:gd name="T20" fmla="*/ 339 w 394"/>
              <a:gd name="T21" fmla="*/ 358 h 533"/>
              <a:gd name="T22" fmla="*/ 307 w 394"/>
              <a:gd name="T23" fmla="*/ 277 h 533"/>
              <a:gd name="T24" fmla="*/ 339 w 394"/>
              <a:gd name="T25" fmla="*/ 160 h 533"/>
              <a:gd name="T26" fmla="*/ 298 w 394"/>
              <a:gd name="T27" fmla="*/ 14 h 533"/>
              <a:gd name="T28" fmla="*/ 153 w 394"/>
              <a:gd name="T29" fmla="*/ 0 h 533"/>
              <a:gd name="T30" fmla="*/ 113 w 394"/>
              <a:gd name="T31" fmla="*/ 38 h 533"/>
              <a:gd name="T32" fmla="*/ 0 w 394"/>
              <a:gd name="T33" fmla="*/ 31 h 533"/>
              <a:gd name="T34" fmla="*/ 0 w 394"/>
              <a:gd name="T35" fmla="*/ 31 h 5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94"/>
              <a:gd name="T55" fmla="*/ 0 h 533"/>
              <a:gd name="T56" fmla="*/ 394 w 394"/>
              <a:gd name="T57" fmla="*/ 533 h 53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94" h="533">
                <a:moveTo>
                  <a:pt x="0" y="31"/>
                </a:moveTo>
                <a:lnTo>
                  <a:pt x="81" y="118"/>
                </a:lnTo>
                <a:lnTo>
                  <a:pt x="104" y="315"/>
                </a:lnTo>
                <a:lnTo>
                  <a:pt x="143" y="343"/>
                </a:lnTo>
                <a:lnTo>
                  <a:pt x="62" y="358"/>
                </a:lnTo>
                <a:lnTo>
                  <a:pt x="108" y="452"/>
                </a:lnTo>
                <a:lnTo>
                  <a:pt x="295" y="533"/>
                </a:lnTo>
                <a:lnTo>
                  <a:pt x="315" y="486"/>
                </a:lnTo>
                <a:lnTo>
                  <a:pt x="394" y="480"/>
                </a:lnTo>
                <a:lnTo>
                  <a:pt x="379" y="362"/>
                </a:lnTo>
                <a:lnTo>
                  <a:pt x="339" y="358"/>
                </a:lnTo>
                <a:lnTo>
                  <a:pt x="307" y="277"/>
                </a:lnTo>
                <a:lnTo>
                  <a:pt x="339" y="160"/>
                </a:lnTo>
                <a:lnTo>
                  <a:pt x="298" y="14"/>
                </a:lnTo>
                <a:lnTo>
                  <a:pt x="153" y="0"/>
                </a:lnTo>
                <a:lnTo>
                  <a:pt x="113" y="38"/>
                </a:lnTo>
                <a:lnTo>
                  <a:pt x="0" y="31"/>
                </a:lnTo>
                <a:close/>
              </a:path>
            </a:pathLst>
          </a:custGeom>
          <a:solidFill>
            <a:schemeClr val="accent3"/>
          </a:solidFill>
          <a:ln w="12700">
            <a:solidFill>
              <a:schemeClr val="bg1"/>
            </a:solidFill>
            <a:round/>
            <a:headEnd/>
            <a:tailEnd/>
          </a:ln>
        </p:spPr>
        <p:txBody>
          <a:bodyPr/>
          <a:lstStyle/>
          <a:p>
            <a:pPr>
              <a:defRPr/>
            </a:pPr>
            <a:endParaRPr lang="nl-NL"/>
          </a:p>
        </p:txBody>
      </p:sp>
      <p:sp>
        <p:nvSpPr>
          <p:cNvPr id="43" name="Freeform 44"/>
          <p:cNvSpPr>
            <a:spLocks noChangeAspect="1"/>
          </p:cNvSpPr>
          <p:nvPr/>
        </p:nvSpPr>
        <p:spPr bwMode="auto">
          <a:xfrm>
            <a:off x="4029203" y="3199381"/>
            <a:ext cx="372796" cy="506706"/>
          </a:xfrm>
          <a:custGeom>
            <a:avLst/>
            <a:gdLst>
              <a:gd name="T0" fmla="*/ 61 w 433"/>
              <a:gd name="T1" fmla="*/ 0 h 543"/>
              <a:gd name="T2" fmla="*/ 0 w 433"/>
              <a:gd name="T3" fmla="*/ 41 h 543"/>
              <a:gd name="T4" fmla="*/ 44 w 433"/>
              <a:gd name="T5" fmla="*/ 189 h 543"/>
              <a:gd name="T6" fmla="*/ 12 w 433"/>
              <a:gd name="T7" fmla="*/ 306 h 543"/>
              <a:gd name="T8" fmla="*/ 44 w 433"/>
              <a:gd name="T9" fmla="*/ 391 h 543"/>
              <a:gd name="T10" fmla="*/ 84 w 433"/>
              <a:gd name="T11" fmla="*/ 395 h 543"/>
              <a:gd name="T12" fmla="*/ 99 w 433"/>
              <a:gd name="T13" fmla="*/ 511 h 543"/>
              <a:gd name="T14" fmla="*/ 173 w 433"/>
              <a:gd name="T15" fmla="*/ 543 h 543"/>
              <a:gd name="T16" fmla="*/ 307 w 433"/>
              <a:gd name="T17" fmla="*/ 493 h 543"/>
              <a:gd name="T18" fmla="*/ 313 w 433"/>
              <a:gd name="T19" fmla="*/ 443 h 543"/>
              <a:gd name="T20" fmla="*/ 433 w 433"/>
              <a:gd name="T21" fmla="*/ 363 h 543"/>
              <a:gd name="T22" fmla="*/ 415 w 433"/>
              <a:gd name="T23" fmla="*/ 321 h 543"/>
              <a:gd name="T24" fmla="*/ 351 w 433"/>
              <a:gd name="T25" fmla="*/ 281 h 543"/>
              <a:gd name="T26" fmla="*/ 327 w 433"/>
              <a:gd name="T27" fmla="*/ 198 h 543"/>
              <a:gd name="T28" fmla="*/ 255 w 433"/>
              <a:gd name="T29" fmla="*/ 84 h 543"/>
              <a:gd name="T30" fmla="*/ 158 w 433"/>
              <a:gd name="T31" fmla="*/ 107 h 543"/>
              <a:gd name="T32" fmla="*/ 61 w 433"/>
              <a:gd name="T33" fmla="*/ 0 h 543"/>
              <a:gd name="T34" fmla="*/ 61 w 433"/>
              <a:gd name="T35" fmla="*/ 0 h 5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3"/>
              <a:gd name="T55" fmla="*/ 0 h 543"/>
              <a:gd name="T56" fmla="*/ 433 w 433"/>
              <a:gd name="T57" fmla="*/ 543 h 5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3" h="543">
                <a:moveTo>
                  <a:pt x="61" y="0"/>
                </a:moveTo>
                <a:lnTo>
                  <a:pt x="0" y="41"/>
                </a:lnTo>
                <a:lnTo>
                  <a:pt x="44" y="189"/>
                </a:lnTo>
                <a:lnTo>
                  <a:pt x="12" y="306"/>
                </a:lnTo>
                <a:lnTo>
                  <a:pt x="44" y="391"/>
                </a:lnTo>
                <a:lnTo>
                  <a:pt x="84" y="395"/>
                </a:lnTo>
                <a:lnTo>
                  <a:pt x="99" y="511"/>
                </a:lnTo>
                <a:lnTo>
                  <a:pt x="173" y="543"/>
                </a:lnTo>
                <a:lnTo>
                  <a:pt x="307" y="493"/>
                </a:lnTo>
                <a:lnTo>
                  <a:pt x="313" y="443"/>
                </a:lnTo>
                <a:lnTo>
                  <a:pt x="433" y="363"/>
                </a:lnTo>
                <a:lnTo>
                  <a:pt x="415" y="321"/>
                </a:lnTo>
                <a:lnTo>
                  <a:pt x="351" y="281"/>
                </a:lnTo>
                <a:lnTo>
                  <a:pt x="327" y="198"/>
                </a:lnTo>
                <a:lnTo>
                  <a:pt x="255" y="84"/>
                </a:lnTo>
                <a:lnTo>
                  <a:pt x="158" y="107"/>
                </a:lnTo>
                <a:lnTo>
                  <a:pt x="61" y="0"/>
                </a:lnTo>
                <a:close/>
              </a:path>
            </a:pathLst>
          </a:custGeom>
          <a:solidFill>
            <a:schemeClr val="accent3"/>
          </a:solidFill>
          <a:ln w="12700">
            <a:solidFill>
              <a:schemeClr val="bg1"/>
            </a:solidFill>
            <a:round/>
            <a:headEnd/>
            <a:tailEnd/>
          </a:ln>
        </p:spPr>
        <p:txBody>
          <a:bodyPr/>
          <a:lstStyle/>
          <a:p>
            <a:pPr>
              <a:defRPr/>
            </a:pPr>
            <a:endParaRPr lang="nl-NL"/>
          </a:p>
        </p:txBody>
      </p:sp>
      <p:sp>
        <p:nvSpPr>
          <p:cNvPr id="44" name="Freeform 45"/>
          <p:cNvSpPr>
            <a:spLocks noChangeAspect="1"/>
          </p:cNvSpPr>
          <p:nvPr/>
        </p:nvSpPr>
        <p:spPr bwMode="auto">
          <a:xfrm>
            <a:off x="4310525" y="3156377"/>
            <a:ext cx="395232" cy="400129"/>
          </a:xfrm>
          <a:custGeom>
            <a:avLst/>
            <a:gdLst>
              <a:gd name="T0" fmla="*/ 164 w 458"/>
              <a:gd name="T1" fmla="*/ 21 h 429"/>
              <a:gd name="T2" fmla="*/ 123 w 458"/>
              <a:gd name="T3" fmla="*/ 114 h 429"/>
              <a:gd name="T4" fmla="*/ 80 w 458"/>
              <a:gd name="T5" fmla="*/ 118 h 429"/>
              <a:gd name="T6" fmla="*/ 41 w 458"/>
              <a:gd name="T7" fmla="*/ 240 h 429"/>
              <a:gd name="T8" fmla="*/ 0 w 458"/>
              <a:gd name="T9" fmla="*/ 245 h 429"/>
              <a:gd name="T10" fmla="*/ 24 w 458"/>
              <a:gd name="T11" fmla="*/ 332 h 429"/>
              <a:gd name="T12" fmla="*/ 90 w 458"/>
              <a:gd name="T13" fmla="*/ 373 h 429"/>
              <a:gd name="T14" fmla="*/ 111 w 458"/>
              <a:gd name="T15" fmla="*/ 410 h 429"/>
              <a:gd name="T16" fmla="*/ 188 w 458"/>
              <a:gd name="T17" fmla="*/ 429 h 429"/>
              <a:gd name="T18" fmla="*/ 309 w 458"/>
              <a:gd name="T19" fmla="*/ 385 h 429"/>
              <a:gd name="T20" fmla="*/ 441 w 458"/>
              <a:gd name="T21" fmla="*/ 396 h 429"/>
              <a:gd name="T22" fmla="*/ 458 w 458"/>
              <a:gd name="T23" fmla="*/ 303 h 429"/>
              <a:gd name="T24" fmla="*/ 397 w 458"/>
              <a:gd name="T25" fmla="*/ 250 h 429"/>
              <a:gd name="T26" fmla="*/ 421 w 458"/>
              <a:gd name="T27" fmla="*/ 166 h 429"/>
              <a:gd name="T28" fmla="*/ 388 w 458"/>
              <a:gd name="T29" fmla="*/ 59 h 429"/>
              <a:gd name="T30" fmla="*/ 307 w 458"/>
              <a:gd name="T31" fmla="*/ 59 h 429"/>
              <a:gd name="T32" fmla="*/ 333 w 458"/>
              <a:gd name="T33" fmla="*/ 8 h 429"/>
              <a:gd name="T34" fmla="*/ 249 w 458"/>
              <a:gd name="T35" fmla="*/ 0 h 429"/>
              <a:gd name="T36" fmla="*/ 164 w 458"/>
              <a:gd name="T37" fmla="*/ 21 h 429"/>
              <a:gd name="T38" fmla="*/ 164 w 458"/>
              <a:gd name="T39" fmla="*/ 21 h 4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8"/>
              <a:gd name="T61" fmla="*/ 0 h 429"/>
              <a:gd name="T62" fmla="*/ 458 w 458"/>
              <a:gd name="T63" fmla="*/ 429 h 4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8" h="429">
                <a:moveTo>
                  <a:pt x="164" y="21"/>
                </a:moveTo>
                <a:lnTo>
                  <a:pt x="123" y="114"/>
                </a:lnTo>
                <a:lnTo>
                  <a:pt x="80" y="118"/>
                </a:lnTo>
                <a:lnTo>
                  <a:pt x="41" y="240"/>
                </a:lnTo>
                <a:lnTo>
                  <a:pt x="0" y="245"/>
                </a:lnTo>
                <a:lnTo>
                  <a:pt x="24" y="332"/>
                </a:lnTo>
                <a:lnTo>
                  <a:pt x="90" y="373"/>
                </a:lnTo>
                <a:lnTo>
                  <a:pt x="111" y="410"/>
                </a:lnTo>
                <a:lnTo>
                  <a:pt x="188" y="429"/>
                </a:lnTo>
                <a:lnTo>
                  <a:pt x="309" y="385"/>
                </a:lnTo>
                <a:lnTo>
                  <a:pt x="441" y="396"/>
                </a:lnTo>
                <a:lnTo>
                  <a:pt x="458" y="303"/>
                </a:lnTo>
                <a:lnTo>
                  <a:pt x="397" y="250"/>
                </a:lnTo>
                <a:lnTo>
                  <a:pt x="421" y="166"/>
                </a:lnTo>
                <a:lnTo>
                  <a:pt x="388" y="59"/>
                </a:lnTo>
                <a:lnTo>
                  <a:pt x="307" y="59"/>
                </a:lnTo>
                <a:lnTo>
                  <a:pt x="333" y="8"/>
                </a:lnTo>
                <a:lnTo>
                  <a:pt x="249" y="0"/>
                </a:lnTo>
                <a:lnTo>
                  <a:pt x="164" y="21"/>
                </a:lnTo>
                <a:close/>
              </a:path>
            </a:pathLst>
          </a:custGeom>
          <a:solidFill>
            <a:schemeClr val="accent3"/>
          </a:solidFill>
          <a:ln w="12700">
            <a:solidFill>
              <a:schemeClr val="bg1"/>
            </a:solidFill>
            <a:round/>
            <a:headEnd/>
            <a:tailEnd/>
          </a:ln>
        </p:spPr>
        <p:txBody>
          <a:bodyPr/>
          <a:lstStyle/>
          <a:p>
            <a:pPr>
              <a:defRPr/>
            </a:pPr>
            <a:endParaRPr lang="nl-NL"/>
          </a:p>
        </p:txBody>
      </p:sp>
      <p:sp>
        <p:nvSpPr>
          <p:cNvPr id="45" name="Freeform 46"/>
          <p:cNvSpPr>
            <a:spLocks noChangeAspect="1"/>
          </p:cNvSpPr>
          <p:nvPr/>
        </p:nvSpPr>
        <p:spPr bwMode="auto">
          <a:xfrm>
            <a:off x="4574589" y="2980619"/>
            <a:ext cx="371070" cy="547840"/>
          </a:xfrm>
          <a:custGeom>
            <a:avLst/>
            <a:gdLst>
              <a:gd name="T0" fmla="*/ 158 w 431"/>
              <a:gd name="T1" fmla="*/ 0 h 587"/>
              <a:gd name="T2" fmla="*/ 132 w 431"/>
              <a:gd name="T3" fmla="*/ 33 h 587"/>
              <a:gd name="T4" fmla="*/ 155 w 431"/>
              <a:gd name="T5" fmla="*/ 105 h 587"/>
              <a:gd name="T6" fmla="*/ 123 w 431"/>
              <a:gd name="T7" fmla="*/ 105 h 587"/>
              <a:gd name="T8" fmla="*/ 123 w 431"/>
              <a:gd name="T9" fmla="*/ 161 h 587"/>
              <a:gd name="T10" fmla="*/ 27 w 431"/>
              <a:gd name="T11" fmla="*/ 196 h 587"/>
              <a:gd name="T12" fmla="*/ 0 w 431"/>
              <a:gd name="T13" fmla="*/ 246 h 587"/>
              <a:gd name="T14" fmla="*/ 82 w 431"/>
              <a:gd name="T15" fmla="*/ 246 h 587"/>
              <a:gd name="T16" fmla="*/ 114 w 431"/>
              <a:gd name="T17" fmla="*/ 353 h 587"/>
              <a:gd name="T18" fmla="*/ 91 w 431"/>
              <a:gd name="T19" fmla="*/ 435 h 587"/>
              <a:gd name="T20" fmla="*/ 152 w 431"/>
              <a:gd name="T21" fmla="*/ 492 h 587"/>
              <a:gd name="T22" fmla="*/ 137 w 431"/>
              <a:gd name="T23" fmla="*/ 583 h 587"/>
              <a:gd name="T24" fmla="*/ 167 w 431"/>
              <a:gd name="T25" fmla="*/ 587 h 587"/>
              <a:gd name="T26" fmla="*/ 201 w 431"/>
              <a:gd name="T27" fmla="*/ 536 h 587"/>
              <a:gd name="T28" fmla="*/ 272 w 431"/>
              <a:gd name="T29" fmla="*/ 528 h 587"/>
              <a:gd name="T30" fmla="*/ 273 w 431"/>
              <a:gd name="T31" fmla="*/ 473 h 587"/>
              <a:gd name="T32" fmla="*/ 418 w 431"/>
              <a:gd name="T33" fmla="*/ 409 h 587"/>
              <a:gd name="T34" fmla="*/ 431 w 431"/>
              <a:gd name="T35" fmla="*/ 250 h 587"/>
              <a:gd name="T36" fmla="*/ 366 w 431"/>
              <a:gd name="T37" fmla="*/ 138 h 587"/>
              <a:gd name="T38" fmla="*/ 359 w 431"/>
              <a:gd name="T39" fmla="*/ 37 h 587"/>
              <a:gd name="T40" fmla="*/ 298 w 431"/>
              <a:gd name="T41" fmla="*/ 64 h 587"/>
              <a:gd name="T42" fmla="*/ 220 w 431"/>
              <a:gd name="T43" fmla="*/ 6 h 587"/>
              <a:gd name="T44" fmla="*/ 158 w 431"/>
              <a:gd name="T45" fmla="*/ 0 h 587"/>
              <a:gd name="T46" fmla="*/ 158 w 431"/>
              <a:gd name="T47" fmla="*/ 0 h 58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1"/>
              <a:gd name="T73" fmla="*/ 0 h 587"/>
              <a:gd name="T74" fmla="*/ 431 w 431"/>
              <a:gd name="T75" fmla="*/ 587 h 58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1" h="587">
                <a:moveTo>
                  <a:pt x="158" y="0"/>
                </a:moveTo>
                <a:lnTo>
                  <a:pt x="132" y="33"/>
                </a:lnTo>
                <a:lnTo>
                  <a:pt x="155" y="105"/>
                </a:lnTo>
                <a:lnTo>
                  <a:pt x="123" y="105"/>
                </a:lnTo>
                <a:lnTo>
                  <a:pt x="123" y="161"/>
                </a:lnTo>
                <a:lnTo>
                  <a:pt x="27" y="196"/>
                </a:lnTo>
                <a:lnTo>
                  <a:pt x="0" y="246"/>
                </a:lnTo>
                <a:lnTo>
                  <a:pt x="82" y="246"/>
                </a:lnTo>
                <a:lnTo>
                  <a:pt x="114" y="353"/>
                </a:lnTo>
                <a:lnTo>
                  <a:pt x="91" y="435"/>
                </a:lnTo>
                <a:lnTo>
                  <a:pt x="152" y="492"/>
                </a:lnTo>
                <a:lnTo>
                  <a:pt x="137" y="583"/>
                </a:lnTo>
                <a:lnTo>
                  <a:pt x="167" y="587"/>
                </a:lnTo>
                <a:lnTo>
                  <a:pt x="201" y="536"/>
                </a:lnTo>
                <a:lnTo>
                  <a:pt x="272" y="528"/>
                </a:lnTo>
                <a:lnTo>
                  <a:pt x="273" y="473"/>
                </a:lnTo>
                <a:lnTo>
                  <a:pt x="418" y="409"/>
                </a:lnTo>
                <a:lnTo>
                  <a:pt x="431" y="250"/>
                </a:lnTo>
                <a:lnTo>
                  <a:pt x="366" y="138"/>
                </a:lnTo>
                <a:lnTo>
                  <a:pt x="359" y="37"/>
                </a:lnTo>
                <a:lnTo>
                  <a:pt x="298" y="64"/>
                </a:lnTo>
                <a:lnTo>
                  <a:pt x="220" y="6"/>
                </a:lnTo>
                <a:lnTo>
                  <a:pt x="158" y="0"/>
                </a:lnTo>
                <a:close/>
              </a:path>
            </a:pathLst>
          </a:custGeom>
          <a:solidFill>
            <a:schemeClr val="accent3"/>
          </a:solidFill>
          <a:ln w="12700">
            <a:solidFill>
              <a:schemeClr val="bg1"/>
            </a:solidFill>
            <a:round/>
            <a:headEnd/>
            <a:tailEnd/>
          </a:ln>
        </p:spPr>
        <p:txBody>
          <a:bodyPr/>
          <a:lstStyle/>
          <a:p>
            <a:pPr>
              <a:defRPr/>
            </a:pPr>
            <a:endParaRPr lang="nl-NL"/>
          </a:p>
        </p:txBody>
      </p:sp>
      <p:sp>
        <p:nvSpPr>
          <p:cNvPr id="46" name="Freeform 47"/>
          <p:cNvSpPr>
            <a:spLocks noChangeAspect="1"/>
          </p:cNvSpPr>
          <p:nvPr/>
        </p:nvSpPr>
        <p:spPr bwMode="auto">
          <a:xfrm>
            <a:off x="4462405" y="3515371"/>
            <a:ext cx="358988" cy="357125"/>
          </a:xfrm>
          <a:custGeom>
            <a:avLst/>
            <a:gdLst>
              <a:gd name="T0" fmla="*/ 296 w 416"/>
              <a:gd name="T1" fmla="*/ 15 h 382"/>
              <a:gd name="T2" fmla="*/ 401 w 416"/>
              <a:gd name="T3" fmla="*/ 163 h 382"/>
              <a:gd name="T4" fmla="*/ 416 w 416"/>
              <a:gd name="T5" fmla="*/ 253 h 382"/>
              <a:gd name="T6" fmla="*/ 345 w 416"/>
              <a:gd name="T7" fmla="*/ 297 h 382"/>
              <a:gd name="T8" fmla="*/ 358 w 416"/>
              <a:gd name="T9" fmla="*/ 362 h 382"/>
              <a:gd name="T10" fmla="*/ 298 w 416"/>
              <a:gd name="T11" fmla="*/ 382 h 382"/>
              <a:gd name="T12" fmla="*/ 173 w 416"/>
              <a:gd name="T13" fmla="*/ 365 h 382"/>
              <a:gd name="T14" fmla="*/ 149 w 416"/>
              <a:gd name="T15" fmla="*/ 301 h 382"/>
              <a:gd name="T16" fmla="*/ 69 w 416"/>
              <a:gd name="T17" fmla="*/ 297 h 382"/>
              <a:gd name="T18" fmla="*/ 80 w 416"/>
              <a:gd name="T19" fmla="*/ 259 h 382"/>
              <a:gd name="T20" fmla="*/ 46 w 416"/>
              <a:gd name="T21" fmla="*/ 259 h 382"/>
              <a:gd name="T22" fmla="*/ 37 w 416"/>
              <a:gd name="T23" fmla="*/ 173 h 382"/>
              <a:gd name="T24" fmla="*/ 0 w 416"/>
              <a:gd name="T25" fmla="*/ 135 h 382"/>
              <a:gd name="T26" fmla="*/ 4 w 416"/>
              <a:gd name="T27" fmla="*/ 47 h 382"/>
              <a:gd name="T28" fmla="*/ 126 w 416"/>
              <a:gd name="T29" fmla="*/ 0 h 382"/>
              <a:gd name="T30" fmla="*/ 296 w 416"/>
              <a:gd name="T31" fmla="*/ 15 h 382"/>
              <a:gd name="T32" fmla="*/ 296 w 416"/>
              <a:gd name="T33" fmla="*/ 15 h 38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6"/>
              <a:gd name="T52" fmla="*/ 0 h 382"/>
              <a:gd name="T53" fmla="*/ 416 w 416"/>
              <a:gd name="T54" fmla="*/ 382 h 38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6" h="382">
                <a:moveTo>
                  <a:pt x="296" y="15"/>
                </a:moveTo>
                <a:lnTo>
                  <a:pt x="401" y="163"/>
                </a:lnTo>
                <a:lnTo>
                  <a:pt x="416" y="253"/>
                </a:lnTo>
                <a:lnTo>
                  <a:pt x="345" y="297"/>
                </a:lnTo>
                <a:lnTo>
                  <a:pt x="358" y="362"/>
                </a:lnTo>
                <a:lnTo>
                  <a:pt x="298" y="382"/>
                </a:lnTo>
                <a:lnTo>
                  <a:pt x="173" y="365"/>
                </a:lnTo>
                <a:lnTo>
                  <a:pt x="149" y="301"/>
                </a:lnTo>
                <a:lnTo>
                  <a:pt x="69" y="297"/>
                </a:lnTo>
                <a:lnTo>
                  <a:pt x="80" y="259"/>
                </a:lnTo>
                <a:lnTo>
                  <a:pt x="46" y="259"/>
                </a:lnTo>
                <a:lnTo>
                  <a:pt x="37" y="173"/>
                </a:lnTo>
                <a:lnTo>
                  <a:pt x="0" y="135"/>
                </a:lnTo>
                <a:lnTo>
                  <a:pt x="4" y="47"/>
                </a:lnTo>
                <a:lnTo>
                  <a:pt x="126" y="0"/>
                </a:lnTo>
                <a:lnTo>
                  <a:pt x="296" y="15"/>
                </a:lnTo>
                <a:close/>
              </a:path>
            </a:pathLst>
          </a:custGeom>
          <a:solidFill>
            <a:schemeClr val="accent3"/>
          </a:solidFill>
          <a:ln w="12700">
            <a:solidFill>
              <a:schemeClr val="bg1"/>
            </a:solidFill>
            <a:round/>
            <a:headEnd/>
            <a:tailEnd/>
          </a:ln>
        </p:spPr>
        <p:txBody>
          <a:bodyPr/>
          <a:lstStyle/>
          <a:p>
            <a:pPr>
              <a:defRPr/>
            </a:pPr>
            <a:endParaRPr lang="nl-NL"/>
          </a:p>
        </p:txBody>
      </p:sp>
      <p:sp>
        <p:nvSpPr>
          <p:cNvPr id="47" name="Freeform 48"/>
          <p:cNvSpPr>
            <a:spLocks noChangeAspect="1"/>
          </p:cNvSpPr>
          <p:nvPr/>
        </p:nvSpPr>
        <p:spPr bwMode="auto">
          <a:xfrm>
            <a:off x="4222504" y="3535939"/>
            <a:ext cx="390055" cy="430045"/>
          </a:xfrm>
          <a:custGeom>
            <a:avLst/>
            <a:gdLst>
              <a:gd name="T0" fmla="*/ 208 w 452"/>
              <a:gd name="T1" fmla="*/ 0 h 458"/>
              <a:gd name="T2" fmla="*/ 88 w 452"/>
              <a:gd name="T3" fmla="*/ 82 h 458"/>
              <a:gd name="T4" fmla="*/ 79 w 452"/>
              <a:gd name="T5" fmla="*/ 132 h 458"/>
              <a:gd name="T6" fmla="*/ 116 w 452"/>
              <a:gd name="T7" fmla="*/ 220 h 458"/>
              <a:gd name="T8" fmla="*/ 0 w 452"/>
              <a:gd name="T9" fmla="*/ 345 h 458"/>
              <a:gd name="T10" fmla="*/ 213 w 452"/>
              <a:gd name="T11" fmla="*/ 458 h 458"/>
              <a:gd name="T12" fmla="*/ 452 w 452"/>
              <a:gd name="T13" fmla="*/ 345 h 458"/>
              <a:gd name="T14" fmla="*/ 428 w 452"/>
              <a:gd name="T15" fmla="*/ 278 h 458"/>
              <a:gd name="T16" fmla="*/ 351 w 452"/>
              <a:gd name="T17" fmla="*/ 269 h 458"/>
              <a:gd name="T18" fmla="*/ 359 w 452"/>
              <a:gd name="T19" fmla="*/ 236 h 458"/>
              <a:gd name="T20" fmla="*/ 325 w 452"/>
              <a:gd name="T21" fmla="*/ 236 h 458"/>
              <a:gd name="T22" fmla="*/ 316 w 452"/>
              <a:gd name="T23" fmla="*/ 144 h 458"/>
              <a:gd name="T24" fmla="*/ 279 w 452"/>
              <a:gd name="T25" fmla="*/ 112 h 458"/>
              <a:gd name="T26" fmla="*/ 284 w 452"/>
              <a:gd name="T27" fmla="*/ 18 h 458"/>
              <a:gd name="T28" fmla="*/ 208 w 452"/>
              <a:gd name="T29" fmla="*/ 0 h 458"/>
              <a:gd name="T30" fmla="*/ 208 w 452"/>
              <a:gd name="T31" fmla="*/ 0 h 45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2"/>
              <a:gd name="T49" fmla="*/ 0 h 458"/>
              <a:gd name="T50" fmla="*/ 452 w 452"/>
              <a:gd name="T51" fmla="*/ 458 h 45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2" h="458">
                <a:moveTo>
                  <a:pt x="208" y="0"/>
                </a:moveTo>
                <a:lnTo>
                  <a:pt x="88" y="82"/>
                </a:lnTo>
                <a:lnTo>
                  <a:pt x="79" y="132"/>
                </a:lnTo>
                <a:lnTo>
                  <a:pt x="116" y="220"/>
                </a:lnTo>
                <a:lnTo>
                  <a:pt x="0" y="345"/>
                </a:lnTo>
                <a:lnTo>
                  <a:pt x="213" y="458"/>
                </a:lnTo>
                <a:lnTo>
                  <a:pt x="452" y="345"/>
                </a:lnTo>
                <a:lnTo>
                  <a:pt x="428" y="278"/>
                </a:lnTo>
                <a:lnTo>
                  <a:pt x="351" y="269"/>
                </a:lnTo>
                <a:lnTo>
                  <a:pt x="359" y="236"/>
                </a:lnTo>
                <a:lnTo>
                  <a:pt x="325" y="236"/>
                </a:lnTo>
                <a:lnTo>
                  <a:pt x="316" y="144"/>
                </a:lnTo>
                <a:lnTo>
                  <a:pt x="279" y="112"/>
                </a:lnTo>
                <a:lnTo>
                  <a:pt x="284" y="18"/>
                </a:lnTo>
                <a:lnTo>
                  <a:pt x="208" y="0"/>
                </a:lnTo>
                <a:close/>
              </a:path>
            </a:pathLst>
          </a:custGeom>
          <a:solidFill>
            <a:schemeClr val="accent3"/>
          </a:solidFill>
          <a:ln w="12700">
            <a:solidFill>
              <a:schemeClr val="bg1"/>
            </a:solidFill>
            <a:round/>
            <a:headEnd/>
            <a:tailEnd/>
          </a:ln>
        </p:spPr>
        <p:txBody>
          <a:bodyPr/>
          <a:lstStyle/>
          <a:p>
            <a:pPr>
              <a:defRPr/>
            </a:pPr>
            <a:endParaRPr lang="nl-NL"/>
          </a:p>
        </p:txBody>
      </p:sp>
      <p:sp>
        <p:nvSpPr>
          <p:cNvPr id="48" name="Freeform 49"/>
          <p:cNvSpPr>
            <a:spLocks noChangeAspect="1"/>
          </p:cNvSpPr>
          <p:nvPr/>
        </p:nvSpPr>
        <p:spPr bwMode="auto">
          <a:xfrm>
            <a:off x="3903211" y="3661213"/>
            <a:ext cx="419395" cy="416957"/>
          </a:xfrm>
          <a:custGeom>
            <a:avLst/>
            <a:gdLst>
              <a:gd name="T0" fmla="*/ 166 w 487"/>
              <a:gd name="T1" fmla="*/ 22 h 447"/>
              <a:gd name="T2" fmla="*/ 143 w 487"/>
              <a:gd name="T3" fmla="*/ 69 h 447"/>
              <a:gd name="T4" fmla="*/ 114 w 487"/>
              <a:gd name="T5" fmla="*/ 157 h 447"/>
              <a:gd name="T6" fmla="*/ 63 w 487"/>
              <a:gd name="T7" fmla="*/ 146 h 447"/>
              <a:gd name="T8" fmla="*/ 0 w 487"/>
              <a:gd name="T9" fmla="*/ 210 h 447"/>
              <a:gd name="T10" fmla="*/ 59 w 487"/>
              <a:gd name="T11" fmla="*/ 272 h 447"/>
              <a:gd name="T12" fmla="*/ 63 w 487"/>
              <a:gd name="T13" fmla="*/ 389 h 447"/>
              <a:gd name="T14" fmla="*/ 166 w 487"/>
              <a:gd name="T15" fmla="*/ 447 h 447"/>
              <a:gd name="T16" fmla="*/ 248 w 487"/>
              <a:gd name="T17" fmla="*/ 408 h 447"/>
              <a:gd name="T18" fmla="*/ 248 w 487"/>
              <a:gd name="T19" fmla="*/ 343 h 447"/>
              <a:gd name="T20" fmla="*/ 333 w 487"/>
              <a:gd name="T21" fmla="*/ 290 h 447"/>
              <a:gd name="T22" fmla="*/ 346 w 487"/>
              <a:gd name="T23" fmla="*/ 227 h 447"/>
              <a:gd name="T24" fmla="*/ 374 w 487"/>
              <a:gd name="T25" fmla="*/ 213 h 447"/>
              <a:gd name="T26" fmla="*/ 487 w 487"/>
              <a:gd name="T27" fmla="*/ 88 h 447"/>
              <a:gd name="T28" fmla="*/ 455 w 487"/>
              <a:gd name="T29" fmla="*/ 0 h 447"/>
              <a:gd name="T30" fmla="*/ 318 w 487"/>
              <a:gd name="T31" fmla="*/ 49 h 447"/>
              <a:gd name="T32" fmla="*/ 245 w 487"/>
              <a:gd name="T33" fmla="*/ 18 h 447"/>
              <a:gd name="T34" fmla="*/ 166 w 487"/>
              <a:gd name="T35" fmla="*/ 22 h 447"/>
              <a:gd name="T36" fmla="*/ 166 w 487"/>
              <a:gd name="T37" fmla="*/ 22 h 44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87"/>
              <a:gd name="T58" fmla="*/ 0 h 447"/>
              <a:gd name="T59" fmla="*/ 487 w 487"/>
              <a:gd name="T60" fmla="*/ 447 h 44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87" h="447">
                <a:moveTo>
                  <a:pt x="166" y="22"/>
                </a:moveTo>
                <a:lnTo>
                  <a:pt x="143" y="69"/>
                </a:lnTo>
                <a:lnTo>
                  <a:pt x="114" y="157"/>
                </a:lnTo>
                <a:lnTo>
                  <a:pt x="63" y="146"/>
                </a:lnTo>
                <a:lnTo>
                  <a:pt x="0" y="210"/>
                </a:lnTo>
                <a:lnTo>
                  <a:pt x="59" y="272"/>
                </a:lnTo>
                <a:lnTo>
                  <a:pt x="63" y="389"/>
                </a:lnTo>
                <a:lnTo>
                  <a:pt x="166" y="447"/>
                </a:lnTo>
                <a:lnTo>
                  <a:pt x="248" y="408"/>
                </a:lnTo>
                <a:lnTo>
                  <a:pt x="248" y="343"/>
                </a:lnTo>
                <a:lnTo>
                  <a:pt x="333" y="290"/>
                </a:lnTo>
                <a:lnTo>
                  <a:pt x="346" y="227"/>
                </a:lnTo>
                <a:lnTo>
                  <a:pt x="374" y="213"/>
                </a:lnTo>
                <a:lnTo>
                  <a:pt x="487" y="88"/>
                </a:lnTo>
                <a:lnTo>
                  <a:pt x="455" y="0"/>
                </a:lnTo>
                <a:lnTo>
                  <a:pt x="318" y="49"/>
                </a:lnTo>
                <a:lnTo>
                  <a:pt x="245" y="18"/>
                </a:lnTo>
                <a:lnTo>
                  <a:pt x="166" y="22"/>
                </a:lnTo>
                <a:close/>
              </a:path>
            </a:pathLst>
          </a:custGeom>
          <a:solidFill>
            <a:schemeClr val="accent3"/>
          </a:solidFill>
          <a:ln w="12700">
            <a:solidFill>
              <a:schemeClr val="bg1"/>
            </a:solidFill>
            <a:round/>
            <a:headEnd/>
            <a:tailEnd/>
          </a:ln>
        </p:spPr>
        <p:txBody>
          <a:bodyPr/>
          <a:lstStyle/>
          <a:p>
            <a:pPr>
              <a:defRPr/>
            </a:pPr>
            <a:endParaRPr lang="nl-NL"/>
          </a:p>
        </p:txBody>
      </p:sp>
      <p:sp>
        <p:nvSpPr>
          <p:cNvPr id="49" name="Freeform 50"/>
          <p:cNvSpPr>
            <a:spLocks noChangeAspect="1"/>
          </p:cNvSpPr>
          <p:nvPr/>
        </p:nvSpPr>
        <p:spPr bwMode="auto">
          <a:xfrm>
            <a:off x="3682295" y="3563985"/>
            <a:ext cx="364166" cy="564668"/>
          </a:xfrm>
          <a:custGeom>
            <a:avLst/>
            <a:gdLst>
              <a:gd name="T0" fmla="*/ 401 w 422"/>
              <a:gd name="T1" fmla="*/ 172 h 603"/>
              <a:gd name="T2" fmla="*/ 214 w 422"/>
              <a:gd name="T3" fmla="*/ 87 h 603"/>
              <a:gd name="T4" fmla="*/ 172 w 422"/>
              <a:gd name="T5" fmla="*/ 0 h 603"/>
              <a:gd name="T6" fmla="*/ 50 w 422"/>
              <a:gd name="T7" fmla="*/ 3 h 603"/>
              <a:gd name="T8" fmla="*/ 10 w 422"/>
              <a:gd name="T9" fmla="*/ 70 h 603"/>
              <a:gd name="T10" fmla="*/ 73 w 422"/>
              <a:gd name="T11" fmla="*/ 125 h 603"/>
              <a:gd name="T12" fmla="*/ 0 w 422"/>
              <a:gd name="T13" fmla="*/ 278 h 603"/>
              <a:gd name="T14" fmla="*/ 156 w 422"/>
              <a:gd name="T15" fmla="*/ 380 h 603"/>
              <a:gd name="T16" fmla="*/ 187 w 422"/>
              <a:gd name="T17" fmla="*/ 480 h 603"/>
              <a:gd name="T18" fmla="*/ 261 w 422"/>
              <a:gd name="T19" fmla="*/ 511 h 603"/>
              <a:gd name="T20" fmla="*/ 276 w 422"/>
              <a:gd name="T21" fmla="*/ 560 h 603"/>
              <a:gd name="T22" fmla="*/ 340 w 422"/>
              <a:gd name="T23" fmla="*/ 600 h 603"/>
              <a:gd name="T24" fmla="*/ 404 w 422"/>
              <a:gd name="T25" fmla="*/ 603 h 603"/>
              <a:gd name="T26" fmla="*/ 422 w 422"/>
              <a:gd name="T27" fmla="*/ 550 h 603"/>
              <a:gd name="T28" fmla="*/ 320 w 422"/>
              <a:gd name="T29" fmla="*/ 495 h 603"/>
              <a:gd name="T30" fmla="*/ 316 w 422"/>
              <a:gd name="T31" fmla="*/ 372 h 603"/>
              <a:gd name="T32" fmla="*/ 253 w 422"/>
              <a:gd name="T33" fmla="*/ 311 h 603"/>
              <a:gd name="T34" fmla="*/ 318 w 422"/>
              <a:gd name="T35" fmla="*/ 254 h 603"/>
              <a:gd name="T36" fmla="*/ 369 w 422"/>
              <a:gd name="T37" fmla="*/ 258 h 603"/>
              <a:gd name="T38" fmla="*/ 401 w 422"/>
              <a:gd name="T39" fmla="*/ 172 h 603"/>
              <a:gd name="T40" fmla="*/ 211 w 422"/>
              <a:gd name="T41" fmla="*/ 87 h 603"/>
              <a:gd name="T42" fmla="*/ 401 w 422"/>
              <a:gd name="T43" fmla="*/ 172 h 603"/>
              <a:gd name="T44" fmla="*/ 401 w 422"/>
              <a:gd name="T45" fmla="*/ 172 h 60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22"/>
              <a:gd name="T70" fmla="*/ 0 h 603"/>
              <a:gd name="T71" fmla="*/ 422 w 422"/>
              <a:gd name="T72" fmla="*/ 603 h 60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22" h="603">
                <a:moveTo>
                  <a:pt x="401" y="172"/>
                </a:moveTo>
                <a:lnTo>
                  <a:pt x="214" y="87"/>
                </a:lnTo>
                <a:lnTo>
                  <a:pt x="172" y="0"/>
                </a:lnTo>
                <a:lnTo>
                  <a:pt x="50" y="3"/>
                </a:lnTo>
                <a:lnTo>
                  <a:pt x="10" y="70"/>
                </a:lnTo>
                <a:lnTo>
                  <a:pt x="73" y="125"/>
                </a:lnTo>
                <a:lnTo>
                  <a:pt x="0" y="278"/>
                </a:lnTo>
                <a:lnTo>
                  <a:pt x="156" y="380"/>
                </a:lnTo>
                <a:lnTo>
                  <a:pt x="187" y="480"/>
                </a:lnTo>
                <a:lnTo>
                  <a:pt x="261" y="511"/>
                </a:lnTo>
                <a:lnTo>
                  <a:pt x="276" y="560"/>
                </a:lnTo>
                <a:lnTo>
                  <a:pt x="340" y="600"/>
                </a:lnTo>
                <a:lnTo>
                  <a:pt x="404" y="603"/>
                </a:lnTo>
                <a:lnTo>
                  <a:pt x="422" y="550"/>
                </a:lnTo>
                <a:lnTo>
                  <a:pt x="320" y="495"/>
                </a:lnTo>
                <a:lnTo>
                  <a:pt x="316" y="372"/>
                </a:lnTo>
                <a:lnTo>
                  <a:pt x="253" y="311"/>
                </a:lnTo>
                <a:lnTo>
                  <a:pt x="318" y="254"/>
                </a:lnTo>
                <a:lnTo>
                  <a:pt x="369" y="258"/>
                </a:lnTo>
                <a:lnTo>
                  <a:pt x="401" y="172"/>
                </a:lnTo>
                <a:lnTo>
                  <a:pt x="211" y="87"/>
                </a:lnTo>
                <a:lnTo>
                  <a:pt x="401" y="172"/>
                </a:lnTo>
                <a:close/>
              </a:path>
            </a:pathLst>
          </a:custGeom>
          <a:solidFill>
            <a:schemeClr val="accent3"/>
          </a:solidFill>
          <a:ln w="12700">
            <a:solidFill>
              <a:schemeClr val="bg1"/>
            </a:solidFill>
            <a:round/>
            <a:headEnd/>
            <a:tailEnd/>
          </a:ln>
        </p:spPr>
        <p:txBody>
          <a:bodyPr/>
          <a:lstStyle/>
          <a:p>
            <a:pPr>
              <a:defRPr/>
            </a:pPr>
            <a:endParaRPr lang="nl-NL"/>
          </a:p>
        </p:txBody>
      </p:sp>
      <p:sp>
        <p:nvSpPr>
          <p:cNvPr id="50" name="Freeform 51"/>
          <p:cNvSpPr>
            <a:spLocks noChangeAspect="1"/>
          </p:cNvSpPr>
          <p:nvPr/>
        </p:nvSpPr>
        <p:spPr bwMode="auto">
          <a:xfrm>
            <a:off x="4030928" y="3859407"/>
            <a:ext cx="450461" cy="504836"/>
          </a:xfrm>
          <a:custGeom>
            <a:avLst/>
            <a:gdLst>
              <a:gd name="T0" fmla="*/ 225 w 523"/>
              <a:gd name="T1" fmla="*/ 0 h 542"/>
              <a:gd name="T2" fmla="*/ 195 w 523"/>
              <a:gd name="T3" fmla="*/ 15 h 542"/>
              <a:gd name="T4" fmla="*/ 187 w 523"/>
              <a:gd name="T5" fmla="*/ 76 h 542"/>
              <a:gd name="T6" fmla="*/ 99 w 523"/>
              <a:gd name="T7" fmla="*/ 133 h 542"/>
              <a:gd name="T8" fmla="*/ 99 w 523"/>
              <a:gd name="T9" fmla="*/ 196 h 542"/>
              <a:gd name="T10" fmla="*/ 17 w 523"/>
              <a:gd name="T11" fmla="*/ 232 h 542"/>
              <a:gd name="T12" fmla="*/ 0 w 523"/>
              <a:gd name="T13" fmla="*/ 285 h 542"/>
              <a:gd name="T14" fmla="*/ 35 w 523"/>
              <a:gd name="T15" fmla="*/ 299 h 542"/>
              <a:gd name="T16" fmla="*/ 3 w 523"/>
              <a:gd name="T17" fmla="*/ 395 h 542"/>
              <a:gd name="T18" fmla="*/ 121 w 523"/>
              <a:gd name="T19" fmla="*/ 401 h 542"/>
              <a:gd name="T20" fmla="*/ 96 w 523"/>
              <a:gd name="T21" fmla="*/ 460 h 542"/>
              <a:gd name="T22" fmla="*/ 132 w 523"/>
              <a:gd name="T23" fmla="*/ 506 h 542"/>
              <a:gd name="T24" fmla="*/ 295 w 523"/>
              <a:gd name="T25" fmla="*/ 496 h 542"/>
              <a:gd name="T26" fmla="*/ 306 w 523"/>
              <a:gd name="T27" fmla="*/ 538 h 542"/>
              <a:gd name="T28" fmla="*/ 412 w 523"/>
              <a:gd name="T29" fmla="*/ 542 h 542"/>
              <a:gd name="T30" fmla="*/ 412 w 523"/>
              <a:gd name="T31" fmla="*/ 506 h 542"/>
              <a:gd name="T32" fmla="*/ 477 w 523"/>
              <a:gd name="T33" fmla="*/ 474 h 542"/>
              <a:gd name="T34" fmla="*/ 523 w 523"/>
              <a:gd name="T35" fmla="*/ 340 h 542"/>
              <a:gd name="T36" fmla="*/ 447 w 523"/>
              <a:gd name="T37" fmla="*/ 243 h 542"/>
              <a:gd name="T38" fmla="*/ 471 w 523"/>
              <a:gd name="T39" fmla="*/ 156 h 542"/>
              <a:gd name="T40" fmla="*/ 436 w 523"/>
              <a:gd name="T41" fmla="*/ 112 h 542"/>
              <a:gd name="T42" fmla="*/ 322 w 523"/>
              <a:gd name="T43" fmla="*/ 54 h 542"/>
              <a:gd name="T44" fmla="*/ 225 w 523"/>
              <a:gd name="T45" fmla="*/ 0 h 542"/>
              <a:gd name="T46" fmla="*/ 225 w 523"/>
              <a:gd name="T47" fmla="*/ 0 h 54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3"/>
              <a:gd name="T73" fmla="*/ 0 h 542"/>
              <a:gd name="T74" fmla="*/ 523 w 523"/>
              <a:gd name="T75" fmla="*/ 542 h 54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3" h="542">
                <a:moveTo>
                  <a:pt x="225" y="0"/>
                </a:moveTo>
                <a:lnTo>
                  <a:pt x="195" y="15"/>
                </a:lnTo>
                <a:lnTo>
                  <a:pt x="187" y="76"/>
                </a:lnTo>
                <a:lnTo>
                  <a:pt x="99" y="133"/>
                </a:lnTo>
                <a:lnTo>
                  <a:pt x="99" y="196"/>
                </a:lnTo>
                <a:lnTo>
                  <a:pt x="17" y="232"/>
                </a:lnTo>
                <a:lnTo>
                  <a:pt x="0" y="285"/>
                </a:lnTo>
                <a:lnTo>
                  <a:pt x="35" y="299"/>
                </a:lnTo>
                <a:lnTo>
                  <a:pt x="3" y="395"/>
                </a:lnTo>
                <a:lnTo>
                  <a:pt x="121" y="401"/>
                </a:lnTo>
                <a:lnTo>
                  <a:pt x="96" y="460"/>
                </a:lnTo>
                <a:lnTo>
                  <a:pt x="132" y="506"/>
                </a:lnTo>
                <a:lnTo>
                  <a:pt x="295" y="496"/>
                </a:lnTo>
                <a:lnTo>
                  <a:pt x="306" y="538"/>
                </a:lnTo>
                <a:lnTo>
                  <a:pt x="412" y="542"/>
                </a:lnTo>
                <a:lnTo>
                  <a:pt x="412" y="506"/>
                </a:lnTo>
                <a:lnTo>
                  <a:pt x="477" y="474"/>
                </a:lnTo>
                <a:lnTo>
                  <a:pt x="523" y="340"/>
                </a:lnTo>
                <a:lnTo>
                  <a:pt x="447" y="243"/>
                </a:lnTo>
                <a:lnTo>
                  <a:pt x="471" y="156"/>
                </a:lnTo>
                <a:lnTo>
                  <a:pt x="436" y="112"/>
                </a:lnTo>
                <a:lnTo>
                  <a:pt x="322" y="54"/>
                </a:lnTo>
                <a:lnTo>
                  <a:pt x="225" y="0"/>
                </a:lnTo>
                <a:close/>
              </a:path>
            </a:pathLst>
          </a:custGeom>
          <a:solidFill>
            <a:schemeClr val="accent3"/>
          </a:solidFill>
          <a:ln w="12700">
            <a:solidFill>
              <a:schemeClr val="bg1"/>
            </a:solidFill>
            <a:round/>
            <a:headEnd/>
            <a:tailEnd/>
          </a:ln>
        </p:spPr>
        <p:txBody>
          <a:bodyPr/>
          <a:lstStyle/>
          <a:p>
            <a:pPr>
              <a:defRPr/>
            </a:pPr>
            <a:endParaRPr lang="nl-NL"/>
          </a:p>
        </p:txBody>
      </p:sp>
      <p:sp>
        <p:nvSpPr>
          <p:cNvPr id="51" name="Freeform 52"/>
          <p:cNvSpPr>
            <a:spLocks noChangeAspect="1"/>
          </p:cNvSpPr>
          <p:nvPr/>
        </p:nvSpPr>
        <p:spPr bwMode="auto">
          <a:xfrm>
            <a:off x="4407176" y="3848189"/>
            <a:ext cx="402136" cy="379562"/>
          </a:xfrm>
          <a:custGeom>
            <a:avLst/>
            <a:gdLst>
              <a:gd name="T0" fmla="*/ 239 w 467"/>
              <a:gd name="T1" fmla="*/ 7 h 406"/>
              <a:gd name="T2" fmla="*/ 0 w 467"/>
              <a:gd name="T3" fmla="*/ 123 h 406"/>
              <a:gd name="T4" fmla="*/ 35 w 467"/>
              <a:gd name="T5" fmla="*/ 170 h 406"/>
              <a:gd name="T6" fmla="*/ 11 w 467"/>
              <a:gd name="T7" fmla="*/ 254 h 406"/>
              <a:gd name="T8" fmla="*/ 87 w 467"/>
              <a:gd name="T9" fmla="*/ 355 h 406"/>
              <a:gd name="T10" fmla="*/ 157 w 467"/>
              <a:gd name="T11" fmla="*/ 355 h 406"/>
              <a:gd name="T12" fmla="*/ 224 w 467"/>
              <a:gd name="T13" fmla="*/ 406 h 406"/>
              <a:gd name="T14" fmla="*/ 326 w 467"/>
              <a:gd name="T15" fmla="*/ 363 h 406"/>
              <a:gd name="T16" fmla="*/ 302 w 467"/>
              <a:gd name="T17" fmla="*/ 328 h 406"/>
              <a:gd name="T18" fmla="*/ 349 w 467"/>
              <a:gd name="T19" fmla="*/ 284 h 406"/>
              <a:gd name="T20" fmla="*/ 347 w 467"/>
              <a:gd name="T21" fmla="*/ 235 h 406"/>
              <a:gd name="T22" fmla="*/ 420 w 467"/>
              <a:gd name="T23" fmla="*/ 147 h 406"/>
              <a:gd name="T24" fmla="*/ 467 w 467"/>
              <a:gd name="T25" fmla="*/ 176 h 406"/>
              <a:gd name="T26" fmla="*/ 443 w 467"/>
              <a:gd name="T27" fmla="*/ 83 h 406"/>
              <a:gd name="T28" fmla="*/ 425 w 467"/>
              <a:gd name="T29" fmla="*/ 0 h 406"/>
              <a:gd name="T30" fmla="*/ 361 w 467"/>
              <a:gd name="T31" fmla="*/ 30 h 406"/>
              <a:gd name="T32" fmla="*/ 239 w 467"/>
              <a:gd name="T33" fmla="*/ 7 h 406"/>
              <a:gd name="T34" fmla="*/ 239 w 467"/>
              <a:gd name="T35" fmla="*/ 7 h 4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7"/>
              <a:gd name="T55" fmla="*/ 0 h 406"/>
              <a:gd name="T56" fmla="*/ 467 w 467"/>
              <a:gd name="T57" fmla="*/ 406 h 4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7" h="406">
                <a:moveTo>
                  <a:pt x="239" y="7"/>
                </a:moveTo>
                <a:lnTo>
                  <a:pt x="0" y="123"/>
                </a:lnTo>
                <a:lnTo>
                  <a:pt x="35" y="170"/>
                </a:lnTo>
                <a:lnTo>
                  <a:pt x="11" y="254"/>
                </a:lnTo>
                <a:lnTo>
                  <a:pt x="87" y="355"/>
                </a:lnTo>
                <a:lnTo>
                  <a:pt x="157" y="355"/>
                </a:lnTo>
                <a:lnTo>
                  <a:pt x="224" y="406"/>
                </a:lnTo>
                <a:lnTo>
                  <a:pt x="326" y="363"/>
                </a:lnTo>
                <a:lnTo>
                  <a:pt x="302" y="328"/>
                </a:lnTo>
                <a:lnTo>
                  <a:pt x="349" y="284"/>
                </a:lnTo>
                <a:lnTo>
                  <a:pt x="347" y="235"/>
                </a:lnTo>
                <a:lnTo>
                  <a:pt x="420" y="147"/>
                </a:lnTo>
                <a:lnTo>
                  <a:pt x="467" y="176"/>
                </a:lnTo>
                <a:lnTo>
                  <a:pt x="443" y="83"/>
                </a:lnTo>
                <a:lnTo>
                  <a:pt x="425" y="0"/>
                </a:lnTo>
                <a:lnTo>
                  <a:pt x="361" y="30"/>
                </a:lnTo>
                <a:lnTo>
                  <a:pt x="239" y="7"/>
                </a:lnTo>
                <a:close/>
              </a:path>
            </a:pathLst>
          </a:custGeom>
          <a:solidFill>
            <a:schemeClr val="accent3"/>
          </a:solidFill>
          <a:ln w="12700">
            <a:solidFill>
              <a:schemeClr val="bg1"/>
            </a:solidFill>
            <a:round/>
            <a:headEnd/>
            <a:tailEnd/>
          </a:ln>
        </p:spPr>
        <p:txBody>
          <a:bodyPr/>
          <a:lstStyle/>
          <a:p>
            <a:pPr>
              <a:defRPr/>
            </a:pPr>
            <a:endParaRPr lang="nl-NL"/>
          </a:p>
        </p:txBody>
      </p:sp>
      <p:sp>
        <p:nvSpPr>
          <p:cNvPr id="52" name="Freeform 53"/>
          <p:cNvSpPr>
            <a:spLocks noChangeAspect="1"/>
          </p:cNvSpPr>
          <p:nvPr/>
        </p:nvSpPr>
        <p:spPr bwMode="auto">
          <a:xfrm>
            <a:off x="4338140" y="4179137"/>
            <a:ext cx="365892" cy="366473"/>
          </a:xfrm>
          <a:custGeom>
            <a:avLst/>
            <a:gdLst>
              <a:gd name="T0" fmla="*/ 161 w 422"/>
              <a:gd name="T1" fmla="*/ 0 h 390"/>
              <a:gd name="T2" fmla="*/ 120 w 422"/>
              <a:gd name="T3" fmla="*/ 130 h 390"/>
              <a:gd name="T4" fmla="*/ 55 w 422"/>
              <a:gd name="T5" fmla="*/ 162 h 390"/>
              <a:gd name="T6" fmla="*/ 55 w 422"/>
              <a:gd name="T7" fmla="*/ 198 h 390"/>
              <a:gd name="T8" fmla="*/ 0 w 422"/>
              <a:gd name="T9" fmla="*/ 236 h 390"/>
              <a:gd name="T10" fmla="*/ 17 w 422"/>
              <a:gd name="T11" fmla="*/ 304 h 390"/>
              <a:gd name="T12" fmla="*/ 120 w 422"/>
              <a:gd name="T13" fmla="*/ 390 h 390"/>
              <a:gd name="T14" fmla="*/ 184 w 422"/>
              <a:gd name="T15" fmla="*/ 353 h 390"/>
              <a:gd name="T16" fmla="*/ 312 w 422"/>
              <a:gd name="T17" fmla="*/ 329 h 390"/>
              <a:gd name="T18" fmla="*/ 334 w 422"/>
              <a:gd name="T19" fmla="*/ 304 h 390"/>
              <a:gd name="T20" fmla="*/ 299 w 422"/>
              <a:gd name="T21" fmla="*/ 260 h 390"/>
              <a:gd name="T22" fmla="*/ 422 w 422"/>
              <a:gd name="T23" fmla="*/ 184 h 390"/>
              <a:gd name="T24" fmla="*/ 375 w 422"/>
              <a:gd name="T25" fmla="*/ 20 h 390"/>
              <a:gd name="T26" fmla="*/ 305 w 422"/>
              <a:gd name="T27" fmla="*/ 51 h 390"/>
              <a:gd name="T28" fmla="*/ 236 w 422"/>
              <a:gd name="T29" fmla="*/ 0 h 390"/>
              <a:gd name="T30" fmla="*/ 161 w 422"/>
              <a:gd name="T31" fmla="*/ 0 h 390"/>
              <a:gd name="T32" fmla="*/ 161 w 422"/>
              <a:gd name="T33" fmla="*/ 0 h 3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2"/>
              <a:gd name="T52" fmla="*/ 0 h 390"/>
              <a:gd name="T53" fmla="*/ 422 w 422"/>
              <a:gd name="T54" fmla="*/ 390 h 3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2" h="390">
                <a:moveTo>
                  <a:pt x="161" y="0"/>
                </a:moveTo>
                <a:lnTo>
                  <a:pt x="120" y="130"/>
                </a:lnTo>
                <a:lnTo>
                  <a:pt x="55" y="162"/>
                </a:lnTo>
                <a:lnTo>
                  <a:pt x="55" y="198"/>
                </a:lnTo>
                <a:lnTo>
                  <a:pt x="0" y="236"/>
                </a:lnTo>
                <a:lnTo>
                  <a:pt x="17" y="304"/>
                </a:lnTo>
                <a:lnTo>
                  <a:pt x="120" y="390"/>
                </a:lnTo>
                <a:lnTo>
                  <a:pt x="184" y="353"/>
                </a:lnTo>
                <a:lnTo>
                  <a:pt x="312" y="329"/>
                </a:lnTo>
                <a:lnTo>
                  <a:pt x="334" y="304"/>
                </a:lnTo>
                <a:lnTo>
                  <a:pt x="299" y="260"/>
                </a:lnTo>
                <a:lnTo>
                  <a:pt x="422" y="184"/>
                </a:lnTo>
                <a:lnTo>
                  <a:pt x="375" y="20"/>
                </a:lnTo>
                <a:lnTo>
                  <a:pt x="305" y="51"/>
                </a:lnTo>
                <a:lnTo>
                  <a:pt x="236" y="0"/>
                </a:lnTo>
                <a:lnTo>
                  <a:pt x="161" y="0"/>
                </a:lnTo>
                <a:close/>
              </a:path>
            </a:pathLst>
          </a:custGeom>
          <a:solidFill>
            <a:schemeClr val="accent3"/>
          </a:solidFill>
          <a:ln w="12700">
            <a:solidFill>
              <a:schemeClr val="bg1"/>
            </a:solidFill>
            <a:round/>
            <a:headEnd/>
            <a:tailEnd/>
          </a:ln>
        </p:spPr>
        <p:txBody>
          <a:bodyPr/>
          <a:lstStyle/>
          <a:p>
            <a:pPr>
              <a:defRPr/>
            </a:pPr>
            <a:endParaRPr lang="nl-NL"/>
          </a:p>
        </p:txBody>
      </p:sp>
      <p:sp>
        <p:nvSpPr>
          <p:cNvPr id="53" name="Freeform 54"/>
          <p:cNvSpPr>
            <a:spLocks noChangeAspect="1"/>
          </p:cNvSpPr>
          <p:nvPr/>
        </p:nvSpPr>
        <p:spPr bwMode="auto">
          <a:xfrm>
            <a:off x="4660884" y="3930458"/>
            <a:ext cx="398684" cy="424436"/>
          </a:xfrm>
          <a:custGeom>
            <a:avLst/>
            <a:gdLst>
              <a:gd name="T0" fmla="*/ 152 w 462"/>
              <a:gd name="T1" fmla="*/ 0 h 454"/>
              <a:gd name="T2" fmla="*/ 173 w 462"/>
              <a:gd name="T3" fmla="*/ 89 h 454"/>
              <a:gd name="T4" fmla="*/ 128 w 462"/>
              <a:gd name="T5" fmla="*/ 60 h 454"/>
              <a:gd name="T6" fmla="*/ 52 w 462"/>
              <a:gd name="T7" fmla="*/ 148 h 454"/>
              <a:gd name="T8" fmla="*/ 55 w 462"/>
              <a:gd name="T9" fmla="*/ 200 h 454"/>
              <a:gd name="T10" fmla="*/ 6 w 462"/>
              <a:gd name="T11" fmla="*/ 241 h 454"/>
              <a:gd name="T12" fmla="*/ 32 w 462"/>
              <a:gd name="T13" fmla="*/ 276 h 454"/>
              <a:gd name="T14" fmla="*/ 0 w 462"/>
              <a:gd name="T15" fmla="*/ 288 h 454"/>
              <a:gd name="T16" fmla="*/ 49 w 462"/>
              <a:gd name="T17" fmla="*/ 454 h 454"/>
              <a:gd name="T18" fmla="*/ 85 w 462"/>
              <a:gd name="T19" fmla="*/ 430 h 454"/>
              <a:gd name="T20" fmla="*/ 146 w 462"/>
              <a:gd name="T21" fmla="*/ 443 h 454"/>
              <a:gd name="T22" fmla="*/ 248 w 462"/>
              <a:gd name="T23" fmla="*/ 304 h 454"/>
              <a:gd name="T24" fmla="*/ 280 w 462"/>
              <a:gd name="T25" fmla="*/ 325 h 454"/>
              <a:gd name="T26" fmla="*/ 339 w 462"/>
              <a:gd name="T27" fmla="*/ 443 h 454"/>
              <a:gd name="T28" fmla="*/ 380 w 462"/>
              <a:gd name="T29" fmla="*/ 310 h 454"/>
              <a:gd name="T30" fmla="*/ 407 w 462"/>
              <a:gd name="T31" fmla="*/ 334 h 454"/>
              <a:gd name="T32" fmla="*/ 462 w 462"/>
              <a:gd name="T33" fmla="*/ 279 h 454"/>
              <a:gd name="T34" fmla="*/ 411 w 462"/>
              <a:gd name="T35" fmla="*/ 131 h 454"/>
              <a:gd name="T36" fmla="*/ 362 w 462"/>
              <a:gd name="T37" fmla="*/ 124 h 454"/>
              <a:gd name="T38" fmla="*/ 374 w 462"/>
              <a:gd name="T39" fmla="*/ 89 h 454"/>
              <a:gd name="T40" fmla="*/ 329 w 462"/>
              <a:gd name="T41" fmla="*/ 112 h 454"/>
              <a:gd name="T42" fmla="*/ 280 w 462"/>
              <a:gd name="T43" fmla="*/ 66 h 454"/>
              <a:gd name="T44" fmla="*/ 225 w 462"/>
              <a:gd name="T45" fmla="*/ 66 h 454"/>
              <a:gd name="T46" fmla="*/ 152 w 462"/>
              <a:gd name="T47" fmla="*/ 0 h 454"/>
              <a:gd name="T48" fmla="*/ 152 w 462"/>
              <a:gd name="T49" fmla="*/ 0 h 45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2"/>
              <a:gd name="T76" fmla="*/ 0 h 454"/>
              <a:gd name="T77" fmla="*/ 462 w 462"/>
              <a:gd name="T78" fmla="*/ 454 h 45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2" h="454">
                <a:moveTo>
                  <a:pt x="152" y="0"/>
                </a:moveTo>
                <a:lnTo>
                  <a:pt x="173" y="89"/>
                </a:lnTo>
                <a:lnTo>
                  <a:pt x="128" y="60"/>
                </a:lnTo>
                <a:lnTo>
                  <a:pt x="52" y="148"/>
                </a:lnTo>
                <a:lnTo>
                  <a:pt x="55" y="200"/>
                </a:lnTo>
                <a:lnTo>
                  <a:pt x="6" y="241"/>
                </a:lnTo>
                <a:lnTo>
                  <a:pt x="32" y="276"/>
                </a:lnTo>
                <a:lnTo>
                  <a:pt x="0" y="288"/>
                </a:lnTo>
                <a:lnTo>
                  <a:pt x="49" y="454"/>
                </a:lnTo>
                <a:lnTo>
                  <a:pt x="85" y="430"/>
                </a:lnTo>
                <a:lnTo>
                  <a:pt x="146" y="443"/>
                </a:lnTo>
                <a:lnTo>
                  <a:pt x="248" y="304"/>
                </a:lnTo>
                <a:lnTo>
                  <a:pt x="280" y="325"/>
                </a:lnTo>
                <a:lnTo>
                  <a:pt x="339" y="443"/>
                </a:lnTo>
                <a:lnTo>
                  <a:pt x="380" y="310"/>
                </a:lnTo>
                <a:lnTo>
                  <a:pt x="407" y="334"/>
                </a:lnTo>
                <a:lnTo>
                  <a:pt x="462" y="279"/>
                </a:lnTo>
                <a:lnTo>
                  <a:pt x="411" y="131"/>
                </a:lnTo>
                <a:lnTo>
                  <a:pt x="362" y="124"/>
                </a:lnTo>
                <a:lnTo>
                  <a:pt x="374" y="89"/>
                </a:lnTo>
                <a:lnTo>
                  <a:pt x="329" y="112"/>
                </a:lnTo>
                <a:lnTo>
                  <a:pt x="280" y="66"/>
                </a:lnTo>
                <a:lnTo>
                  <a:pt x="225" y="66"/>
                </a:lnTo>
                <a:lnTo>
                  <a:pt x="152" y="0"/>
                </a:lnTo>
                <a:close/>
              </a:path>
            </a:pathLst>
          </a:custGeom>
          <a:solidFill>
            <a:schemeClr val="accent3"/>
          </a:solidFill>
          <a:ln w="12700">
            <a:solidFill>
              <a:schemeClr val="bg1"/>
            </a:solidFill>
            <a:round/>
            <a:headEnd/>
            <a:tailEnd/>
          </a:ln>
        </p:spPr>
        <p:txBody>
          <a:bodyPr/>
          <a:lstStyle/>
          <a:p>
            <a:pPr>
              <a:defRPr/>
            </a:pPr>
            <a:endParaRPr lang="nl-NL"/>
          </a:p>
        </p:txBody>
      </p:sp>
      <p:sp>
        <p:nvSpPr>
          <p:cNvPr id="54" name="Freeform 55"/>
          <p:cNvSpPr>
            <a:spLocks noChangeAspect="1"/>
          </p:cNvSpPr>
          <p:nvPr/>
        </p:nvSpPr>
        <p:spPr bwMode="auto">
          <a:xfrm>
            <a:off x="4973273" y="3980942"/>
            <a:ext cx="415943" cy="299162"/>
          </a:xfrm>
          <a:custGeom>
            <a:avLst/>
            <a:gdLst>
              <a:gd name="T0" fmla="*/ 155 w 482"/>
              <a:gd name="T1" fmla="*/ 0 h 321"/>
              <a:gd name="T2" fmla="*/ 70 w 482"/>
              <a:gd name="T3" fmla="*/ 0 h 321"/>
              <a:gd name="T4" fmla="*/ 12 w 482"/>
              <a:gd name="T5" fmla="*/ 34 h 321"/>
              <a:gd name="T6" fmla="*/ 0 w 482"/>
              <a:gd name="T7" fmla="*/ 69 h 321"/>
              <a:gd name="T8" fmla="*/ 47 w 482"/>
              <a:gd name="T9" fmla="*/ 80 h 321"/>
              <a:gd name="T10" fmla="*/ 100 w 482"/>
              <a:gd name="T11" fmla="*/ 223 h 321"/>
              <a:gd name="T12" fmla="*/ 147 w 482"/>
              <a:gd name="T13" fmla="*/ 300 h 321"/>
              <a:gd name="T14" fmla="*/ 213 w 482"/>
              <a:gd name="T15" fmla="*/ 274 h 321"/>
              <a:gd name="T16" fmla="*/ 275 w 482"/>
              <a:gd name="T17" fmla="*/ 321 h 321"/>
              <a:gd name="T18" fmla="*/ 290 w 482"/>
              <a:gd name="T19" fmla="*/ 283 h 321"/>
              <a:gd name="T20" fmla="*/ 319 w 482"/>
              <a:gd name="T21" fmla="*/ 274 h 321"/>
              <a:gd name="T22" fmla="*/ 430 w 482"/>
              <a:gd name="T23" fmla="*/ 207 h 321"/>
              <a:gd name="T24" fmla="*/ 448 w 482"/>
              <a:gd name="T25" fmla="*/ 125 h 321"/>
              <a:gd name="T26" fmla="*/ 471 w 482"/>
              <a:gd name="T27" fmla="*/ 137 h 321"/>
              <a:gd name="T28" fmla="*/ 482 w 482"/>
              <a:gd name="T29" fmla="*/ 81 h 321"/>
              <a:gd name="T30" fmla="*/ 403 w 482"/>
              <a:gd name="T31" fmla="*/ 17 h 321"/>
              <a:gd name="T32" fmla="*/ 273 w 482"/>
              <a:gd name="T33" fmla="*/ 23 h 321"/>
              <a:gd name="T34" fmla="*/ 182 w 482"/>
              <a:gd name="T35" fmla="*/ 36 h 321"/>
              <a:gd name="T36" fmla="*/ 155 w 482"/>
              <a:gd name="T37" fmla="*/ 0 h 321"/>
              <a:gd name="T38" fmla="*/ 155 w 482"/>
              <a:gd name="T39" fmla="*/ 0 h 32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2"/>
              <a:gd name="T61" fmla="*/ 0 h 321"/>
              <a:gd name="T62" fmla="*/ 482 w 482"/>
              <a:gd name="T63" fmla="*/ 321 h 32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2" h="321">
                <a:moveTo>
                  <a:pt x="155" y="0"/>
                </a:moveTo>
                <a:lnTo>
                  <a:pt x="70" y="0"/>
                </a:lnTo>
                <a:lnTo>
                  <a:pt x="12" y="34"/>
                </a:lnTo>
                <a:lnTo>
                  <a:pt x="0" y="69"/>
                </a:lnTo>
                <a:lnTo>
                  <a:pt x="47" y="80"/>
                </a:lnTo>
                <a:lnTo>
                  <a:pt x="100" y="223"/>
                </a:lnTo>
                <a:lnTo>
                  <a:pt x="147" y="300"/>
                </a:lnTo>
                <a:lnTo>
                  <a:pt x="213" y="274"/>
                </a:lnTo>
                <a:lnTo>
                  <a:pt x="275" y="321"/>
                </a:lnTo>
                <a:lnTo>
                  <a:pt x="290" y="283"/>
                </a:lnTo>
                <a:lnTo>
                  <a:pt x="319" y="274"/>
                </a:lnTo>
                <a:lnTo>
                  <a:pt x="430" y="207"/>
                </a:lnTo>
                <a:lnTo>
                  <a:pt x="448" y="125"/>
                </a:lnTo>
                <a:lnTo>
                  <a:pt x="471" y="137"/>
                </a:lnTo>
                <a:lnTo>
                  <a:pt x="482" y="81"/>
                </a:lnTo>
                <a:lnTo>
                  <a:pt x="403" y="17"/>
                </a:lnTo>
                <a:lnTo>
                  <a:pt x="273" y="23"/>
                </a:lnTo>
                <a:lnTo>
                  <a:pt x="182" y="36"/>
                </a:lnTo>
                <a:lnTo>
                  <a:pt x="155" y="0"/>
                </a:lnTo>
                <a:close/>
              </a:path>
            </a:pathLst>
          </a:custGeom>
          <a:solidFill>
            <a:schemeClr val="accent3"/>
          </a:solidFill>
          <a:ln w="12700">
            <a:solidFill>
              <a:schemeClr val="bg1"/>
            </a:solidFill>
            <a:round/>
            <a:headEnd/>
            <a:tailEnd/>
          </a:ln>
        </p:spPr>
        <p:txBody>
          <a:bodyPr/>
          <a:lstStyle/>
          <a:p>
            <a:pPr>
              <a:defRPr/>
            </a:pPr>
            <a:endParaRPr lang="nl-NL"/>
          </a:p>
        </p:txBody>
      </p:sp>
      <p:sp>
        <p:nvSpPr>
          <p:cNvPr id="55" name="Freeform 56"/>
          <p:cNvSpPr>
            <a:spLocks noChangeAspect="1"/>
          </p:cNvSpPr>
          <p:nvPr/>
        </p:nvSpPr>
        <p:spPr bwMode="auto">
          <a:xfrm>
            <a:off x="4950836" y="4188486"/>
            <a:ext cx="312389" cy="388911"/>
          </a:xfrm>
          <a:custGeom>
            <a:avLst/>
            <a:gdLst>
              <a:gd name="T0" fmla="*/ 126 w 362"/>
              <a:gd name="T1" fmla="*/ 0 h 416"/>
              <a:gd name="T2" fmla="*/ 71 w 362"/>
              <a:gd name="T3" fmla="*/ 56 h 416"/>
              <a:gd name="T4" fmla="*/ 44 w 362"/>
              <a:gd name="T5" fmla="*/ 32 h 416"/>
              <a:gd name="T6" fmla="*/ 0 w 362"/>
              <a:gd name="T7" fmla="*/ 161 h 416"/>
              <a:gd name="T8" fmla="*/ 41 w 362"/>
              <a:gd name="T9" fmla="*/ 229 h 416"/>
              <a:gd name="T10" fmla="*/ 38 w 362"/>
              <a:gd name="T11" fmla="*/ 346 h 416"/>
              <a:gd name="T12" fmla="*/ 81 w 362"/>
              <a:gd name="T13" fmla="*/ 387 h 416"/>
              <a:gd name="T14" fmla="*/ 126 w 362"/>
              <a:gd name="T15" fmla="*/ 374 h 416"/>
              <a:gd name="T16" fmla="*/ 217 w 362"/>
              <a:gd name="T17" fmla="*/ 416 h 416"/>
              <a:gd name="T18" fmla="*/ 240 w 362"/>
              <a:gd name="T19" fmla="*/ 387 h 416"/>
              <a:gd name="T20" fmla="*/ 330 w 362"/>
              <a:gd name="T21" fmla="*/ 402 h 416"/>
              <a:gd name="T22" fmla="*/ 362 w 362"/>
              <a:gd name="T23" fmla="*/ 380 h 416"/>
              <a:gd name="T24" fmla="*/ 336 w 362"/>
              <a:gd name="T25" fmla="*/ 266 h 416"/>
              <a:gd name="T26" fmla="*/ 354 w 362"/>
              <a:gd name="T27" fmla="*/ 244 h 416"/>
              <a:gd name="T28" fmla="*/ 303 w 362"/>
              <a:gd name="T29" fmla="*/ 98 h 416"/>
              <a:gd name="T30" fmla="*/ 239 w 362"/>
              <a:gd name="T31" fmla="*/ 51 h 416"/>
              <a:gd name="T32" fmla="*/ 175 w 362"/>
              <a:gd name="T33" fmla="*/ 76 h 416"/>
              <a:gd name="T34" fmla="*/ 126 w 362"/>
              <a:gd name="T35" fmla="*/ 0 h 416"/>
              <a:gd name="T36" fmla="*/ 126 w 362"/>
              <a:gd name="T37" fmla="*/ 0 h 4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2"/>
              <a:gd name="T58" fmla="*/ 0 h 416"/>
              <a:gd name="T59" fmla="*/ 362 w 362"/>
              <a:gd name="T60" fmla="*/ 416 h 41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2" h="416">
                <a:moveTo>
                  <a:pt x="126" y="0"/>
                </a:moveTo>
                <a:lnTo>
                  <a:pt x="71" y="56"/>
                </a:lnTo>
                <a:lnTo>
                  <a:pt x="44" y="32"/>
                </a:lnTo>
                <a:lnTo>
                  <a:pt x="0" y="161"/>
                </a:lnTo>
                <a:lnTo>
                  <a:pt x="41" y="229"/>
                </a:lnTo>
                <a:lnTo>
                  <a:pt x="38" y="346"/>
                </a:lnTo>
                <a:lnTo>
                  <a:pt x="81" y="387"/>
                </a:lnTo>
                <a:lnTo>
                  <a:pt x="126" y="374"/>
                </a:lnTo>
                <a:lnTo>
                  <a:pt x="217" y="416"/>
                </a:lnTo>
                <a:lnTo>
                  <a:pt x="240" y="387"/>
                </a:lnTo>
                <a:lnTo>
                  <a:pt x="330" y="402"/>
                </a:lnTo>
                <a:lnTo>
                  <a:pt x="362" y="380"/>
                </a:lnTo>
                <a:lnTo>
                  <a:pt x="336" y="266"/>
                </a:lnTo>
                <a:lnTo>
                  <a:pt x="354" y="244"/>
                </a:lnTo>
                <a:lnTo>
                  <a:pt x="303" y="98"/>
                </a:lnTo>
                <a:lnTo>
                  <a:pt x="239" y="51"/>
                </a:lnTo>
                <a:lnTo>
                  <a:pt x="175" y="76"/>
                </a:lnTo>
                <a:lnTo>
                  <a:pt x="126" y="0"/>
                </a:lnTo>
                <a:close/>
              </a:path>
            </a:pathLst>
          </a:custGeom>
          <a:solidFill>
            <a:schemeClr val="accent3"/>
          </a:solidFill>
          <a:ln w="12700">
            <a:solidFill>
              <a:schemeClr val="bg1"/>
            </a:solidFill>
            <a:round/>
            <a:headEnd/>
            <a:tailEnd/>
          </a:ln>
        </p:spPr>
        <p:txBody>
          <a:bodyPr/>
          <a:lstStyle/>
          <a:p>
            <a:pPr>
              <a:defRPr/>
            </a:pPr>
            <a:endParaRPr lang="nl-NL"/>
          </a:p>
        </p:txBody>
      </p:sp>
      <p:sp>
        <p:nvSpPr>
          <p:cNvPr id="56" name="Freeform 57"/>
          <p:cNvSpPr>
            <a:spLocks noChangeAspect="1"/>
          </p:cNvSpPr>
          <p:nvPr/>
        </p:nvSpPr>
        <p:spPr bwMode="auto">
          <a:xfrm>
            <a:off x="4001588" y="4287583"/>
            <a:ext cx="386603" cy="357125"/>
          </a:xfrm>
          <a:custGeom>
            <a:avLst/>
            <a:gdLst>
              <a:gd name="T0" fmla="*/ 131 w 449"/>
              <a:gd name="T1" fmla="*/ 0 h 380"/>
              <a:gd name="T2" fmla="*/ 82 w 449"/>
              <a:gd name="T3" fmla="*/ 36 h 380"/>
              <a:gd name="T4" fmla="*/ 108 w 449"/>
              <a:gd name="T5" fmla="*/ 67 h 380"/>
              <a:gd name="T6" fmla="*/ 32 w 449"/>
              <a:gd name="T7" fmla="*/ 149 h 380"/>
              <a:gd name="T8" fmla="*/ 27 w 449"/>
              <a:gd name="T9" fmla="*/ 237 h 380"/>
              <a:gd name="T10" fmla="*/ 0 w 449"/>
              <a:gd name="T11" fmla="*/ 266 h 380"/>
              <a:gd name="T12" fmla="*/ 0 w 449"/>
              <a:gd name="T13" fmla="*/ 302 h 380"/>
              <a:gd name="T14" fmla="*/ 76 w 449"/>
              <a:gd name="T15" fmla="*/ 316 h 380"/>
              <a:gd name="T16" fmla="*/ 63 w 449"/>
              <a:gd name="T17" fmla="*/ 380 h 380"/>
              <a:gd name="T18" fmla="*/ 149 w 449"/>
              <a:gd name="T19" fmla="*/ 380 h 380"/>
              <a:gd name="T20" fmla="*/ 204 w 449"/>
              <a:gd name="T21" fmla="*/ 327 h 380"/>
              <a:gd name="T22" fmla="*/ 298 w 449"/>
              <a:gd name="T23" fmla="*/ 354 h 380"/>
              <a:gd name="T24" fmla="*/ 295 w 449"/>
              <a:gd name="T25" fmla="*/ 316 h 380"/>
              <a:gd name="T26" fmla="*/ 363 w 449"/>
              <a:gd name="T27" fmla="*/ 293 h 380"/>
              <a:gd name="T28" fmla="*/ 357 w 449"/>
              <a:gd name="T29" fmla="*/ 196 h 380"/>
              <a:gd name="T30" fmla="*/ 409 w 449"/>
              <a:gd name="T31" fmla="*/ 188 h 380"/>
              <a:gd name="T32" fmla="*/ 392 w 449"/>
              <a:gd name="T33" fmla="*/ 120 h 380"/>
              <a:gd name="T34" fmla="*/ 449 w 449"/>
              <a:gd name="T35" fmla="*/ 82 h 380"/>
              <a:gd name="T36" fmla="*/ 341 w 449"/>
              <a:gd name="T37" fmla="*/ 78 h 380"/>
              <a:gd name="T38" fmla="*/ 327 w 449"/>
              <a:gd name="T39" fmla="*/ 36 h 380"/>
              <a:gd name="T40" fmla="*/ 167 w 449"/>
              <a:gd name="T41" fmla="*/ 46 h 380"/>
              <a:gd name="T42" fmla="*/ 131 w 449"/>
              <a:gd name="T43" fmla="*/ 0 h 380"/>
              <a:gd name="T44" fmla="*/ 131 w 449"/>
              <a:gd name="T45" fmla="*/ 0 h 3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49"/>
              <a:gd name="T70" fmla="*/ 0 h 380"/>
              <a:gd name="T71" fmla="*/ 449 w 449"/>
              <a:gd name="T72" fmla="*/ 380 h 3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49" h="380">
                <a:moveTo>
                  <a:pt x="131" y="0"/>
                </a:moveTo>
                <a:lnTo>
                  <a:pt x="82" y="36"/>
                </a:lnTo>
                <a:lnTo>
                  <a:pt x="108" y="67"/>
                </a:lnTo>
                <a:lnTo>
                  <a:pt x="32" y="149"/>
                </a:lnTo>
                <a:lnTo>
                  <a:pt x="27" y="237"/>
                </a:lnTo>
                <a:lnTo>
                  <a:pt x="0" y="266"/>
                </a:lnTo>
                <a:lnTo>
                  <a:pt x="0" y="302"/>
                </a:lnTo>
                <a:lnTo>
                  <a:pt x="76" y="316"/>
                </a:lnTo>
                <a:lnTo>
                  <a:pt x="63" y="380"/>
                </a:lnTo>
                <a:lnTo>
                  <a:pt x="149" y="380"/>
                </a:lnTo>
                <a:lnTo>
                  <a:pt x="204" y="327"/>
                </a:lnTo>
                <a:lnTo>
                  <a:pt x="298" y="354"/>
                </a:lnTo>
                <a:lnTo>
                  <a:pt x="295" y="316"/>
                </a:lnTo>
                <a:lnTo>
                  <a:pt x="363" y="293"/>
                </a:lnTo>
                <a:lnTo>
                  <a:pt x="357" y="196"/>
                </a:lnTo>
                <a:lnTo>
                  <a:pt x="409" y="188"/>
                </a:lnTo>
                <a:lnTo>
                  <a:pt x="392" y="120"/>
                </a:lnTo>
                <a:lnTo>
                  <a:pt x="449" y="82"/>
                </a:lnTo>
                <a:lnTo>
                  <a:pt x="341" y="78"/>
                </a:lnTo>
                <a:lnTo>
                  <a:pt x="327" y="36"/>
                </a:lnTo>
                <a:lnTo>
                  <a:pt x="167" y="46"/>
                </a:lnTo>
                <a:lnTo>
                  <a:pt x="131" y="0"/>
                </a:lnTo>
                <a:close/>
              </a:path>
            </a:pathLst>
          </a:custGeom>
          <a:solidFill>
            <a:schemeClr val="accent3"/>
          </a:solidFill>
          <a:ln w="12700">
            <a:solidFill>
              <a:schemeClr val="bg1"/>
            </a:solidFill>
            <a:round/>
            <a:headEnd/>
            <a:tailEnd/>
          </a:ln>
        </p:spPr>
        <p:txBody>
          <a:bodyPr/>
          <a:lstStyle/>
          <a:p>
            <a:pPr>
              <a:defRPr/>
            </a:pPr>
            <a:endParaRPr lang="nl-NL"/>
          </a:p>
        </p:txBody>
      </p:sp>
      <p:sp>
        <p:nvSpPr>
          <p:cNvPr id="57" name="Freeform 58"/>
          <p:cNvSpPr>
            <a:spLocks noChangeAspect="1"/>
          </p:cNvSpPr>
          <p:nvPr/>
        </p:nvSpPr>
        <p:spPr bwMode="auto">
          <a:xfrm>
            <a:off x="3570112" y="4386680"/>
            <a:ext cx="498787" cy="471180"/>
          </a:xfrm>
          <a:custGeom>
            <a:avLst/>
            <a:gdLst>
              <a:gd name="T0" fmla="*/ 108 w 580"/>
              <a:gd name="T1" fmla="*/ 18 h 503"/>
              <a:gd name="T2" fmla="*/ 90 w 580"/>
              <a:gd name="T3" fmla="*/ 65 h 503"/>
              <a:gd name="T4" fmla="*/ 20 w 580"/>
              <a:gd name="T5" fmla="*/ 471 h 503"/>
              <a:gd name="T6" fmla="*/ 0 w 580"/>
              <a:gd name="T7" fmla="*/ 480 h 503"/>
              <a:gd name="T8" fmla="*/ 37 w 580"/>
              <a:gd name="T9" fmla="*/ 503 h 503"/>
              <a:gd name="T10" fmla="*/ 111 w 580"/>
              <a:gd name="T11" fmla="*/ 474 h 503"/>
              <a:gd name="T12" fmla="*/ 145 w 580"/>
              <a:gd name="T13" fmla="*/ 503 h 503"/>
              <a:gd name="T14" fmla="*/ 259 w 580"/>
              <a:gd name="T15" fmla="*/ 473 h 503"/>
              <a:gd name="T16" fmla="*/ 318 w 580"/>
              <a:gd name="T17" fmla="*/ 486 h 503"/>
              <a:gd name="T18" fmla="*/ 350 w 580"/>
              <a:gd name="T19" fmla="*/ 451 h 503"/>
              <a:gd name="T20" fmla="*/ 406 w 580"/>
              <a:gd name="T21" fmla="*/ 474 h 503"/>
              <a:gd name="T22" fmla="*/ 471 w 580"/>
              <a:gd name="T23" fmla="*/ 471 h 503"/>
              <a:gd name="T24" fmla="*/ 426 w 580"/>
              <a:gd name="T25" fmla="*/ 436 h 503"/>
              <a:gd name="T26" fmla="*/ 456 w 580"/>
              <a:gd name="T27" fmla="*/ 317 h 503"/>
              <a:gd name="T28" fmla="*/ 520 w 580"/>
              <a:gd name="T29" fmla="*/ 272 h 503"/>
              <a:gd name="T30" fmla="*/ 538 w 580"/>
              <a:gd name="T31" fmla="*/ 272 h 503"/>
              <a:gd name="T32" fmla="*/ 535 w 580"/>
              <a:gd name="T33" fmla="*/ 337 h 503"/>
              <a:gd name="T34" fmla="*/ 563 w 580"/>
              <a:gd name="T35" fmla="*/ 321 h 503"/>
              <a:gd name="T36" fmla="*/ 563 w 580"/>
              <a:gd name="T37" fmla="*/ 275 h 503"/>
              <a:gd name="T38" fmla="*/ 580 w 580"/>
              <a:gd name="T39" fmla="*/ 211 h 503"/>
              <a:gd name="T40" fmla="*/ 500 w 580"/>
              <a:gd name="T41" fmla="*/ 197 h 503"/>
              <a:gd name="T42" fmla="*/ 500 w 580"/>
              <a:gd name="T43" fmla="*/ 161 h 503"/>
              <a:gd name="T44" fmla="*/ 527 w 580"/>
              <a:gd name="T45" fmla="*/ 132 h 503"/>
              <a:gd name="T46" fmla="*/ 466 w 580"/>
              <a:gd name="T47" fmla="*/ 132 h 503"/>
              <a:gd name="T48" fmla="*/ 455 w 580"/>
              <a:gd name="T49" fmla="*/ 175 h 503"/>
              <a:gd name="T50" fmla="*/ 417 w 580"/>
              <a:gd name="T51" fmla="*/ 165 h 503"/>
              <a:gd name="T52" fmla="*/ 398 w 580"/>
              <a:gd name="T53" fmla="*/ 121 h 503"/>
              <a:gd name="T54" fmla="*/ 325 w 580"/>
              <a:gd name="T55" fmla="*/ 44 h 503"/>
              <a:gd name="T56" fmla="*/ 184 w 580"/>
              <a:gd name="T57" fmla="*/ 49 h 503"/>
              <a:gd name="T58" fmla="*/ 194 w 580"/>
              <a:gd name="T59" fmla="*/ 12 h 503"/>
              <a:gd name="T60" fmla="*/ 167 w 580"/>
              <a:gd name="T61" fmla="*/ 0 h 503"/>
              <a:gd name="T62" fmla="*/ 135 w 580"/>
              <a:gd name="T63" fmla="*/ 44 h 503"/>
              <a:gd name="T64" fmla="*/ 108 w 580"/>
              <a:gd name="T65" fmla="*/ 18 h 503"/>
              <a:gd name="T66" fmla="*/ 108 w 580"/>
              <a:gd name="T67" fmla="*/ 18 h 50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0"/>
              <a:gd name="T103" fmla="*/ 0 h 503"/>
              <a:gd name="T104" fmla="*/ 580 w 580"/>
              <a:gd name="T105" fmla="*/ 503 h 50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0" h="503">
                <a:moveTo>
                  <a:pt x="108" y="18"/>
                </a:moveTo>
                <a:lnTo>
                  <a:pt x="90" y="65"/>
                </a:lnTo>
                <a:lnTo>
                  <a:pt x="20" y="471"/>
                </a:lnTo>
                <a:lnTo>
                  <a:pt x="0" y="480"/>
                </a:lnTo>
                <a:lnTo>
                  <a:pt x="37" y="503"/>
                </a:lnTo>
                <a:lnTo>
                  <a:pt x="111" y="474"/>
                </a:lnTo>
                <a:lnTo>
                  <a:pt x="145" y="503"/>
                </a:lnTo>
                <a:lnTo>
                  <a:pt x="259" y="473"/>
                </a:lnTo>
                <a:lnTo>
                  <a:pt x="318" y="486"/>
                </a:lnTo>
                <a:lnTo>
                  <a:pt x="350" y="451"/>
                </a:lnTo>
                <a:lnTo>
                  <a:pt x="406" y="474"/>
                </a:lnTo>
                <a:lnTo>
                  <a:pt x="471" y="471"/>
                </a:lnTo>
                <a:lnTo>
                  <a:pt x="426" y="436"/>
                </a:lnTo>
                <a:lnTo>
                  <a:pt x="456" y="317"/>
                </a:lnTo>
                <a:lnTo>
                  <a:pt x="520" y="272"/>
                </a:lnTo>
                <a:lnTo>
                  <a:pt x="538" y="272"/>
                </a:lnTo>
                <a:lnTo>
                  <a:pt x="535" y="337"/>
                </a:lnTo>
                <a:lnTo>
                  <a:pt x="563" y="321"/>
                </a:lnTo>
                <a:lnTo>
                  <a:pt x="563" y="275"/>
                </a:lnTo>
                <a:lnTo>
                  <a:pt x="580" y="211"/>
                </a:lnTo>
                <a:lnTo>
                  <a:pt x="500" y="197"/>
                </a:lnTo>
                <a:lnTo>
                  <a:pt x="500" y="161"/>
                </a:lnTo>
                <a:lnTo>
                  <a:pt x="527" y="132"/>
                </a:lnTo>
                <a:lnTo>
                  <a:pt x="466" y="132"/>
                </a:lnTo>
                <a:lnTo>
                  <a:pt x="455" y="175"/>
                </a:lnTo>
                <a:lnTo>
                  <a:pt x="417" y="165"/>
                </a:lnTo>
                <a:lnTo>
                  <a:pt x="398" y="121"/>
                </a:lnTo>
                <a:lnTo>
                  <a:pt x="325" y="44"/>
                </a:lnTo>
                <a:lnTo>
                  <a:pt x="184" y="49"/>
                </a:lnTo>
                <a:lnTo>
                  <a:pt x="194" y="12"/>
                </a:lnTo>
                <a:lnTo>
                  <a:pt x="167" y="0"/>
                </a:lnTo>
                <a:lnTo>
                  <a:pt x="135" y="44"/>
                </a:lnTo>
                <a:lnTo>
                  <a:pt x="108" y="18"/>
                </a:lnTo>
                <a:close/>
              </a:path>
            </a:pathLst>
          </a:custGeom>
          <a:solidFill>
            <a:schemeClr val="accent3"/>
          </a:solidFill>
          <a:ln w="12700">
            <a:solidFill>
              <a:schemeClr val="bg1"/>
            </a:solidFill>
            <a:round/>
            <a:headEnd/>
            <a:tailEnd/>
          </a:ln>
        </p:spPr>
        <p:txBody>
          <a:bodyPr/>
          <a:lstStyle/>
          <a:p>
            <a:pPr>
              <a:defRPr/>
            </a:pPr>
            <a:endParaRPr lang="nl-NL"/>
          </a:p>
        </p:txBody>
      </p:sp>
      <p:sp>
        <p:nvSpPr>
          <p:cNvPr id="58" name="Freeform 59"/>
          <p:cNvSpPr>
            <a:spLocks noChangeAspect="1"/>
          </p:cNvSpPr>
          <p:nvPr/>
        </p:nvSpPr>
        <p:spPr bwMode="auto">
          <a:xfrm>
            <a:off x="3937730" y="4594224"/>
            <a:ext cx="464269" cy="353385"/>
          </a:xfrm>
          <a:custGeom>
            <a:avLst/>
            <a:gdLst>
              <a:gd name="T0" fmla="*/ 112 w 538"/>
              <a:gd name="T1" fmla="*/ 50 h 378"/>
              <a:gd name="T2" fmla="*/ 94 w 538"/>
              <a:gd name="T3" fmla="*/ 50 h 378"/>
              <a:gd name="T4" fmla="*/ 29 w 538"/>
              <a:gd name="T5" fmla="*/ 95 h 378"/>
              <a:gd name="T6" fmla="*/ 0 w 538"/>
              <a:gd name="T7" fmla="*/ 214 h 378"/>
              <a:gd name="T8" fmla="*/ 45 w 538"/>
              <a:gd name="T9" fmla="*/ 249 h 378"/>
              <a:gd name="T10" fmla="*/ 103 w 538"/>
              <a:gd name="T11" fmla="*/ 241 h 378"/>
              <a:gd name="T12" fmla="*/ 173 w 538"/>
              <a:gd name="T13" fmla="*/ 354 h 378"/>
              <a:gd name="T14" fmla="*/ 333 w 538"/>
              <a:gd name="T15" fmla="*/ 378 h 378"/>
              <a:gd name="T16" fmla="*/ 375 w 538"/>
              <a:gd name="T17" fmla="*/ 333 h 378"/>
              <a:gd name="T18" fmla="*/ 458 w 538"/>
              <a:gd name="T19" fmla="*/ 346 h 378"/>
              <a:gd name="T20" fmla="*/ 477 w 538"/>
              <a:gd name="T21" fmla="*/ 284 h 378"/>
              <a:gd name="T22" fmla="*/ 538 w 538"/>
              <a:gd name="T23" fmla="*/ 252 h 378"/>
              <a:gd name="T24" fmla="*/ 448 w 538"/>
              <a:gd name="T25" fmla="*/ 167 h 378"/>
              <a:gd name="T26" fmla="*/ 431 w 538"/>
              <a:gd name="T27" fmla="*/ 100 h 378"/>
              <a:gd name="T28" fmla="*/ 384 w 538"/>
              <a:gd name="T29" fmla="*/ 83 h 378"/>
              <a:gd name="T30" fmla="*/ 413 w 538"/>
              <a:gd name="T31" fmla="*/ 27 h 378"/>
              <a:gd name="T32" fmla="*/ 372 w 538"/>
              <a:gd name="T33" fmla="*/ 27 h 378"/>
              <a:gd name="T34" fmla="*/ 279 w 538"/>
              <a:gd name="T35" fmla="*/ 0 h 378"/>
              <a:gd name="T36" fmla="*/ 223 w 538"/>
              <a:gd name="T37" fmla="*/ 53 h 378"/>
              <a:gd name="T38" fmla="*/ 135 w 538"/>
              <a:gd name="T39" fmla="*/ 53 h 378"/>
              <a:gd name="T40" fmla="*/ 135 w 538"/>
              <a:gd name="T41" fmla="*/ 99 h 378"/>
              <a:gd name="T42" fmla="*/ 109 w 538"/>
              <a:gd name="T43" fmla="*/ 115 h 378"/>
              <a:gd name="T44" fmla="*/ 112 w 538"/>
              <a:gd name="T45" fmla="*/ 50 h 378"/>
              <a:gd name="T46" fmla="*/ 112 w 538"/>
              <a:gd name="T47" fmla="*/ 50 h 37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8"/>
              <a:gd name="T73" fmla="*/ 0 h 378"/>
              <a:gd name="T74" fmla="*/ 538 w 538"/>
              <a:gd name="T75" fmla="*/ 378 h 37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8" h="378">
                <a:moveTo>
                  <a:pt x="112" y="50"/>
                </a:moveTo>
                <a:lnTo>
                  <a:pt x="94" y="50"/>
                </a:lnTo>
                <a:lnTo>
                  <a:pt x="29" y="95"/>
                </a:lnTo>
                <a:lnTo>
                  <a:pt x="0" y="214"/>
                </a:lnTo>
                <a:lnTo>
                  <a:pt x="45" y="249"/>
                </a:lnTo>
                <a:lnTo>
                  <a:pt x="103" y="241"/>
                </a:lnTo>
                <a:lnTo>
                  <a:pt x="173" y="354"/>
                </a:lnTo>
                <a:lnTo>
                  <a:pt x="333" y="378"/>
                </a:lnTo>
                <a:lnTo>
                  <a:pt x="375" y="333"/>
                </a:lnTo>
                <a:lnTo>
                  <a:pt x="458" y="346"/>
                </a:lnTo>
                <a:lnTo>
                  <a:pt x="477" y="284"/>
                </a:lnTo>
                <a:lnTo>
                  <a:pt x="538" y="252"/>
                </a:lnTo>
                <a:lnTo>
                  <a:pt x="448" y="167"/>
                </a:lnTo>
                <a:lnTo>
                  <a:pt x="431" y="100"/>
                </a:lnTo>
                <a:lnTo>
                  <a:pt x="384" y="83"/>
                </a:lnTo>
                <a:lnTo>
                  <a:pt x="413" y="27"/>
                </a:lnTo>
                <a:lnTo>
                  <a:pt x="372" y="27"/>
                </a:lnTo>
                <a:lnTo>
                  <a:pt x="279" y="0"/>
                </a:lnTo>
                <a:lnTo>
                  <a:pt x="223" y="53"/>
                </a:lnTo>
                <a:lnTo>
                  <a:pt x="135" y="53"/>
                </a:lnTo>
                <a:lnTo>
                  <a:pt x="135" y="99"/>
                </a:lnTo>
                <a:lnTo>
                  <a:pt x="109" y="115"/>
                </a:lnTo>
                <a:lnTo>
                  <a:pt x="112" y="50"/>
                </a:lnTo>
                <a:close/>
              </a:path>
            </a:pathLst>
          </a:custGeom>
          <a:solidFill>
            <a:schemeClr val="accent3"/>
          </a:solidFill>
          <a:ln w="12700">
            <a:solidFill>
              <a:schemeClr val="bg1"/>
            </a:solidFill>
            <a:round/>
            <a:headEnd/>
            <a:tailEnd/>
          </a:ln>
        </p:spPr>
        <p:txBody>
          <a:bodyPr/>
          <a:lstStyle/>
          <a:p>
            <a:pPr>
              <a:defRPr/>
            </a:pPr>
            <a:endParaRPr lang="nl-NL"/>
          </a:p>
        </p:txBody>
      </p:sp>
      <p:sp>
        <p:nvSpPr>
          <p:cNvPr id="59" name="Freeform 60"/>
          <p:cNvSpPr>
            <a:spLocks noChangeAspect="1"/>
          </p:cNvSpPr>
          <p:nvPr/>
        </p:nvSpPr>
        <p:spPr bwMode="auto">
          <a:xfrm>
            <a:off x="4255296" y="4463341"/>
            <a:ext cx="372796" cy="282334"/>
          </a:xfrm>
          <a:custGeom>
            <a:avLst/>
            <a:gdLst>
              <a:gd name="T0" fmla="*/ 114 w 432"/>
              <a:gd name="T1" fmla="*/ 0 h 300"/>
              <a:gd name="T2" fmla="*/ 62 w 432"/>
              <a:gd name="T3" fmla="*/ 2 h 300"/>
              <a:gd name="T4" fmla="*/ 68 w 432"/>
              <a:gd name="T5" fmla="*/ 102 h 300"/>
              <a:gd name="T6" fmla="*/ 0 w 432"/>
              <a:gd name="T7" fmla="*/ 130 h 300"/>
              <a:gd name="T8" fmla="*/ 3 w 432"/>
              <a:gd name="T9" fmla="*/ 166 h 300"/>
              <a:gd name="T10" fmla="*/ 41 w 432"/>
              <a:gd name="T11" fmla="*/ 168 h 300"/>
              <a:gd name="T12" fmla="*/ 13 w 432"/>
              <a:gd name="T13" fmla="*/ 222 h 300"/>
              <a:gd name="T14" fmla="*/ 64 w 432"/>
              <a:gd name="T15" fmla="*/ 242 h 300"/>
              <a:gd name="T16" fmla="*/ 74 w 432"/>
              <a:gd name="T17" fmla="*/ 292 h 300"/>
              <a:gd name="T18" fmla="*/ 152 w 432"/>
              <a:gd name="T19" fmla="*/ 280 h 300"/>
              <a:gd name="T20" fmla="*/ 167 w 432"/>
              <a:gd name="T21" fmla="*/ 300 h 300"/>
              <a:gd name="T22" fmla="*/ 222 w 432"/>
              <a:gd name="T23" fmla="*/ 282 h 300"/>
              <a:gd name="T24" fmla="*/ 225 w 432"/>
              <a:gd name="T25" fmla="*/ 259 h 300"/>
              <a:gd name="T26" fmla="*/ 283 w 432"/>
              <a:gd name="T27" fmla="*/ 234 h 300"/>
              <a:gd name="T28" fmla="*/ 283 w 432"/>
              <a:gd name="T29" fmla="*/ 211 h 300"/>
              <a:gd name="T30" fmla="*/ 358 w 432"/>
              <a:gd name="T31" fmla="*/ 177 h 300"/>
              <a:gd name="T32" fmla="*/ 327 w 432"/>
              <a:gd name="T33" fmla="*/ 128 h 300"/>
              <a:gd name="T34" fmla="*/ 426 w 432"/>
              <a:gd name="T35" fmla="*/ 114 h 300"/>
              <a:gd name="T36" fmla="*/ 432 w 432"/>
              <a:gd name="T37" fmla="*/ 48 h 300"/>
              <a:gd name="T38" fmla="*/ 409 w 432"/>
              <a:gd name="T39" fmla="*/ 25 h 300"/>
              <a:gd name="T40" fmla="*/ 279 w 432"/>
              <a:gd name="T41" fmla="*/ 49 h 300"/>
              <a:gd name="T42" fmla="*/ 217 w 432"/>
              <a:gd name="T43" fmla="*/ 87 h 300"/>
              <a:gd name="T44" fmla="*/ 114 w 432"/>
              <a:gd name="T45" fmla="*/ 0 h 300"/>
              <a:gd name="T46" fmla="*/ 114 w 432"/>
              <a:gd name="T47" fmla="*/ 0 h 3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2"/>
              <a:gd name="T73" fmla="*/ 0 h 300"/>
              <a:gd name="T74" fmla="*/ 432 w 432"/>
              <a:gd name="T75" fmla="*/ 300 h 30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2" h="300">
                <a:moveTo>
                  <a:pt x="114" y="0"/>
                </a:moveTo>
                <a:lnTo>
                  <a:pt x="62" y="2"/>
                </a:lnTo>
                <a:lnTo>
                  <a:pt x="68" y="102"/>
                </a:lnTo>
                <a:lnTo>
                  <a:pt x="0" y="130"/>
                </a:lnTo>
                <a:lnTo>
                  <a:pt x="3" y="166"/>
                </a:lnTo>
                <a:lnTo>
                  <a:pt x="41" y="168"/>
                </a:lnTo>
                <a:lnTo>
                  <a:pt x="13" y="222"/>
                </a:lnTo>
                <a:lnTo>
                  <a:pt x="64" y="242"/>
                </a:lnTo>
                <a:lnTo>
                  <a:pt x="74" y="292"/>
                </a:lnTo>
                <a:lnTo>
                  <a:pt x="152" y="280"/>
                </a:lnTo>
                <a:lnTo>
                  <a:pt x="167" y="300"/>
                </a:lnTo>
                <a:lnTo>
                  <a:pt x="222" y="282"/>
                </a:lnTo>
                <a:lnTo>
                  <a:pt x="225" y="259"/>
                </a:lnTo>
                <a:lnTo>
                  <a:pt x="283" y="234"/>
                </a:lnTo>
                <a:lnTo>
                  <a:pt x="283" y="211"/>
                </a:lnTo>
                <a:lnTo>
                  <a:pt x="358" y="177"/>
                </a:lnTo>
                <a:lnTo>
                  <a:pt x="327" y="128"/>
                </a:lnTo>
                <a:lnTo>
                  <a:pt x="426" y="114"/>
                </a:lnTo>
                <a:lnTo>
                  <a:pt x="432" y="48"/>
                </a:lnTo>
                <a:lnTo>
                  <a:pt x="409" y="25"/>
                </a:lnTo>
                <a:lnTo>
                  <a:pt x="279" y="49"/>
                </a:lnTo>
                <a:lnTo>
                  <a:pt x="217" y="87"/>
                </a:lnTo>
                <a:lnTo>
                  <a:pt x="114" y="0"/>
                </a:lnTo>
                <a:close/>
              </a:path>
            </a:pathLst>
          </a:custGeom>
          <a:solidFill>
            <a:schemeClr val="accent3"/>
          </a:solidFill>
          <a:ln w="12700">
            <a:solidFill>
              <a:schemeClr val="bg1"/>
            </a:solidFill>
            <a:round/>
            <a:headEnd/>
            <a:tailEnd/>
          </a:ln>
        </p:spPr>
        <p:txBody>
          <a:bodyPr/>
          <a:lstStyle/>
          <a:p>
            <a:pPr>
              <a:defRPr/>
            </a:pPr>
            <a:endParaRPr lang="nl-NL"/>
          </a:p>
        </p:txBody>
      </p:sp>
      <p:sp>
        <p:nvSpPr>
          <p:cNvPr id="60" name="Freeform 61"/>
          <p:cNvSpPr>
            <a:spLocks noChangeAspect="1"/>
          </p:cNvSpPr>
          <p:nvPr/>
        </p:nvSpPr>
        <p:spPr bwMode="auto">
          <a:xfrm>
            <a:off x="4500375" y="4540001"/>
            <a:ext cx="438380" cy="377692"/>
          </a:xfrm>
          <a:custGeom>
            <a:avLst/>
            <a:gdLst>
              <a:gd name="T0" fmla="*/ 148 w 508"/>
              <a:gd name="T1" fmla="*/ 32 h 403"/>
              <a:gd name="T2" fmla="*/ 44 w 508"/>
              <a:gd name="T3" fmla="*/ 46 h 403"/>
              <a:gd name="T4" fmla="*/ 75 w 508"/>
              <a:gd name="T5" fmla="*/ 95 h 403"/>
              <a:gd name="T6" fmla="*/ 0 w 508"/>
              <a:gd name="T7" fmla="*/ 129 h 403"/>
              <a:gd name="T8" fmla="*/ 0 w 508"/>
              <a:gd name="T9" fmla="*/ 156 h 403"/>
              <a:gd name="T10" fmla="*/ 66 w 508"/>
              <a:gd name="T11" fmla="*/ 232 h 403"/>
              <a:gd name="T12" fmla="*/ 34 w 508"/>
              <a:gd name="T13" fmla="*/ 285 h 403"/>
              <a:gd name="T14" fmla="*/ 131 w 508"/>
              <a:gd name="T15" fmla="*/ 350 h 403"/>
              <a:gd name="T16" fmla="*/ 174 w 508"/>
              <a:gd name="T17" fmla="*/ 341 h 403"/>
              <a:gd name="T18" fmla="*/ 180 w 508"/>
              <a:gd name="T19" fmla="*/ 390 h 403"/>
              <a:gd name="T20" fmla="*/ 242 w 508"/>
              <a:gd name="T21" fmla="*/ 403 h 403"/>
              <a:gd name="T22" fmla="*/ 277 w 508"/>
              <a:gd name="T23" fmla="*/ 368 h 403"/>
              <a:gd name="T24" fmla="*/ 326 w 508"/>
              <a:gd name="T25" fmla="*/ 394 h 403"/>
              <a:gd name="T26" fmla="*/ 389 w 508"/>
              <a:gd name="T27" fmla="*/ 384 h 403"/>
              <a:gd name="T28" fmla="*/ 423 w 508"/>
              <a:gd name="T29" fmla="*/ 320 h 403"/>
              <a:gd name="T30" fmla="*/ 386 w 508"/>
              <a:gd name="T31" fmla="*/ 306 h 403"/>
              <a:gd name="T32" fmla="*/ 415 w 508"/>
              <a:gd name="T33" fmla="*/ 276 h 403"/>
              <a:gd name="T34" fmla="*/ 461 w 508"/>
              <a:gd name="T35" fmla="*/ 286 h 403"/>
              <a:gd name="T36" fmla="*/ 508 w 508"/>
              <a:gd name="T37" fmla="*/ 248 h 403"/>
              <a:gd name="T38" fmla="*/ 488 w 508"/>
              <a:gd name="T39" fmla="*/ 221 h 403"/>
              <a:gd name="T40" fmla="*/ 418 w 508"/>
              <a:gd name="T41" fmla="*/ 216 h 403"/>
              <a:gd name="T42" fmla="*/ 368 w 508"/>
              <a:gd name="T43" fmla="*/ 175 h 403"/>
              <a:gd name="T44" fmla="*/ 310 w 508"/>
              <a:gd name="T45" fmla="*/ 57 h 403"/>
              <a:gd name="T46" fmla="*/ 212 w 508"/>
              <a:gd name="T47" fmla="*/ 0 h 403"/>
              <a:gd name="T48" fmla="*/ 148 w 508"/>
              <a:gd name="T49" fmla="*/ 32 h 403"/>
              <a:gd name="T50" fmla="*/ 148 w 508"/>
              <a:gd name="T51" fmla="*/ 32 h 40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08"/>
              <a:gd name="T79" fmla="*/ 0 h 403"/>
              <a:gd name="T80" fmla="*/ 508 w 508"/>
              <a:gd name="T81" fmla="*/ 403 h 40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08" h="403">
                <a:moveTo>
                  <a:pt x="148" y="32"/>
                </a:moveTo>
                <a:lnTo>
                  <a:pt x="44" y="46"/>
                </a:lnTo>
                <a:lnTo>
                  <a:pt x="75" y="95"/>
                </a:lnTo>
                <a:lnTo>
                  <a:pt x="0" y="129"/>
                </a:lnTo>
                <a:lnTo>
                  <a:pt x="0" y="156"/>
                </a:lnTo>
                <a:lnTo>
                  <a:pt x="66" y="232"/>
                </a:lnTo>
                <a:lnTo>
                  <a:pt x="34" y="285"/>
                </a:lnTo>
                <a:lnTo>
                  <a:pt x="131" y="350"/>
                </a:lnTo>
                <a:lnTo>
                  <a:pt x="174" y="341"/>
                </a:lnTo>
                <a:lnTo>
                  <a:pt x="180" y="390"/>
                </a:lnTo>
                <a:lnTo>
                  <a:pt x="242" y="403"/>
                </a:lnTo>
                <a:lnTo>
                  <a:pt x="277" y="368"/>
                </a:lnTo>
                <a:lnTo>
                  <a:pt x="326" y="394"/>
                </a:lnTo>
                <a:lnTo>
                  <a:pt x="389" y="384"/>
                </a:lnTo>
                <a:lnTo>
                  <a:pt x="423" y="320"/>
                </a:lnTo>
                <a:lnTo>
                  <a:pt x="386" y="306"/>
                </a:lnTo>
                <a:lnTo>
                  <a:pt x="415" y="276"/>
                </a:lnTo>
                <a:lnTo>
                  <a:pt x="461" y="286"/>
                </a:lnTo>
                <a:lnTo>
                  <a:pt x="508" y="248"/>
                </a:lnTo>
                <a:lnTo>
                  <a:pt x="488" y="221"/>
                </a:lnTo>
                <a:lnTo>
                  <a:pt x="418" y="216"/>
                </a:lnTo>
                <a:lnTo>
                  <a:pt x="368" y="175"/>
                </a:lnTo>
                <a:lnTo>
                  <a:pt x="310" y="57"/>
                </a:lnTo>
                <a:lnTo>
                  <a:pt x="212" y="0"/>
                </a:lnTo>
                <a:lnTo>
                  <a:pt x="148" y="32"/>
                </a:lnTo>
                <a:close/>
              </a:path>
            </a:pathLst>
          </a:custGeom>
          <a:solidFill>
            <a:schemeClr val="accent3"/>
          </a:solidFill>
          <a:ln w="12700">
            <a:solidFill>
              <a:schemeClr val="bg1"/>
            </a:solidFill>
            <a:round/>
            <a:headEnd/>
            <a:tailEnd/>
          </a:ln>
        </p:spPr>
        <p:txBody>
          <a:bodyPr/>
          <a:lstStyle/>
          <a:p>
            <a:pPr>
              <a:defRPr/>
            </a:pPr>
            <a:endParaRPr lang="nl-NL"/>
          </a:p>
        </p:txBody>
      </p:sp>
      <p:sp>
        <p:nvSpPr>
          <p:cNvPr id="61" name="Freeform 62"/>
          <p:cNvSpPr>
            <a:spLocks noChangeAspect="1"/>
          </p:cNvSpPr>
          <p:nvPr/>
        </p:nvSpPr>
        <p:spPr bwMode="auto">
          <a:xfrm>
            <a:off x="4597026" y="4212793"/>
            <a:ext cx="488431" cy="566538"/>
          </a:xfrm>
          <a:custGeom>
            <a:avLst/>
            <a:gdLst>
              <a:gd name="T0" fmla="*/ 322 w 567"/>
              <a:gd name="T1" fmla="*/ 0 h 606"/>
              <a:gd name="T2" fmla="*/ 220 w 567"/>
              <a:gd name="T3" fmla="*/ 138 h 606"/>
              <a:gd name="T4" fmla="*/ 158 w 567"/>
              <a:gd name="T5" fmla="*/ 128 h 606"/>
              <a:gd name="T6" fmla="*/ 0 w 567"/>
              <a:gd name="T7" fmla="*/ 228 h 606"/>
              <a:gd name="T8" fmla="*/ 30 w 567"/>
              <a:gd name="T9" fmla="*/ 270 h 606"/>
              <a:gd name="T10" fmla="*/ 13 w 567"/>
              <a:gd name="T11" fmla="*/ 295 h 606"/>
              <a:gd name="T12" fmla="*/ 36 w 567"/>
              <a:gd name="T13" fmla="*/ 318 h 606"/>
              <a:gd name="T14" fmla="*/ 30 w 567"/>
              <a:gd name="T15" fmla="*/ 384 h 606"/>
              <a:gd name="T16" fmla="*/ 103 w 567"/>
              <a:gd name="T17" fmla="*/ 350 h 606"/>
              <a:gd name="T18" fmla="*/ 203 w 567"/>
              <a:gd name="T19" fmla="*/ 413 h 606"/>
              <a:gd name="T20" fmla="*/ 255 w 567"/>
              <a:gd name="T21" fmla="*/ 535 h 606"/>
              <a:gd name="T22" fmla="*/ 305 w 567"/>
              <a:gd name="T23" fmla="*/ 573 h 606"/>
              <a:gd name="T24" fmla="*/ 377 w 567"/>
              <a:gd name="T25" fmla="*/ 574 h 606"/>
              <a:gd name="T26" fmla="*/ 395 w 567"/>
              <a:gd name="T27" fmla="*/ 606 h 606"/>
              <a:gd name="T28" fmla="*/ 443 w 567"/>
              <a:gd name="T29" fmla="*/ 597 h 606"/>
              <a:gd name="T30" fmla="*/ 443 w 567"/>
              <a:gd name="T31" fmla="*/ 535 h 606"/>
              <a:gd name="T32" fmla="*/ 504 w 567"/>
              <a:gd name="T33" fmla="*/ 535 h 606"/>
              <a:gd name="T34" fmla="*/ 504 w 567"/>
              <a:gd name="T35" fmla="*/ 502 h 606"/>
              <a:gd name="T36" fmla="*/ 565 w 567"/>
              <a:gd name="T37" fmla="*/ 489 h 606"/>
              <a:gd name="T38" fmla="*/ 567 w 567"/>
              <a:gd name="T39" fmla="*/ 439 h 606"/>
              <a:gd name="T40" fmla="*/ 506 w 567"/>
              <a:gd name="T41" fmla="*/ 422 h 606"/>
              <a:gd name="T42" fmla="*/ 538 w 567"/>
              <a:gd name="T43" fmla="*/ 350 h 606"/>
              <a:gd name="T44" fmla="*/ 494 w 567"/>
              <a:gd name="T45" fmla="*/ 363 h 606"/>
              <a:gd name="T46" fmla="*/ 448 w 567"/>
              <a:gd name="T47" fmla="*/ 322 h 606"/>
              <a:gd name="T48" fmla="*/ 454 w 567"/>
              <a:gd name="T49" fmla="*/ 205 h 606"/>
              <a:gd name="T50" fmla="*/ 410 w 567"/>
              <a:gd name="T51" fmla="*/ 137 h 606"/>
              <a:gd name="T52" fmla="*/ 354 w 567"/>
              <a:gd name="T53" fmla="*/ 21 h 606"/>
              <a:gd name="T54" fmla="*/ 322 w 567"/>
              <a:gd name="T55" fmla="*/ 0 h 606"/>
              <a:gd name="T56" fmla="*/ 322 w 567"/>
              <a:gd name="T57" fmla="*/ 0 h 60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67"/>
              <a:gd name="T88" fmla="*/ 0 h 606"/>
              <a:gd name="T89" fmla="*/ 567 w 567"/>
              <a:gd name="T90" fmla="*/ 606 h 60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67" h="606">
                <a:moveTo>
                  <a:pt x="322" y="0"/>
                </a:moveTo>
                <a:lnTo>
                  <a:pt x="220" y="138"/>
                </a:lnTo>
                <a:lnTo>
                  <a:pt x="158" y="128"/>
                </a:lnTo>
                <a:lnTo>
                  <a:pt x="0" y="228"/>
                </a:lnTo>
                <a:lnTo>
                  <a:pt x="30" y="270"/>
                </a:lnTo>
                <a:lnTo>
                  <a:pt x="13" y="295"/>
                </a:lnTo>
                <a:lnTo>
                  <a:pt x="36" y="318"/>
                </a:lnTo>
                <a:lnTo>
                  <a:pt x="30" y="384"/>
                </a:lnTo>
                <a:lnTo>
                  <a:pt x="103" y="350"/>
                </a:lnTo>
                <a:lnTo>
                  <a:pt x="203" y="413"/>
                </a:lnTo>
                <a:lnTo>
                  <a:pt x="255" y="535"/>
                </a:lnTo>
                <a:lnTo>
                  <a:pt x="305" y="573"/>
                </a:lnTo>
                <a:lnTo>
                  <a:pt x="377" y="574"/>
                </a:lnTo>
                <a:lnTo>
                  <a:pt x="395" y="606"/>
                </a:lnTo>
                <a:lnTo>
                  <a:pt x="443" y="597"/>
                </a:lnTo>
                <a:lnTo>
                  <a:pt x="443" y="535"/>
                </a:lnTo>
                <a:lnTo>
                  <a:pt x="504" y="535"/>
                </a:lnTo>
                <a:lnTo>
                  <a:pt x="504" y="502"/>
                </a:lnTo>
                <a:lnTo>
                  <a:pt x="565" y="489"/>
                </a:lnTo>
                <a:lnTo>
                  <a:pt x="567" y="439"/>
                </a:lnTo>
                <a:lnTo>
                  <a:pt x="506" y="422"/>
                </a:lnTo>
                <a:lnTo>
                  <a:pt x="538" y="350"/>
                </a:lnTo>
                <a:lnTo>
                  <a:pt x="494" y="363"/>
                </a:lnTo>
                <a:lnTo>
                  <a:pt x="448" y="322"/>
                </a:lnTo>
                <a:lnTo>
                  <a:pt x="454" y="205"/>
                </a:lnTo>
                <a:lnTo>
                  <a:pt x="410" y="137"/>
                </a:lnTo>
                <a:lnTo>
                  <a:pt x="354" y="21"/>
                </a:lnTo>
                <a:lnTo>
                  <a:pt x="322" y="0"/>
                </a:lnTo>
                <a:close/>
              </a:path>
            </a:pathLst>
          </a:custGeom>
          <a:solidFill>
            <a:schemeClr val="accent3"/>
          </a:solidFill>
          <a:ln w="12700">
            <a:solidFill>
              <a:schemeClr val="bg1"/>
            </a:solidFill>
            <a:round/>
            <a:headEnd/>
            <a:tailEnd/>
          </a:ln>
        </p:spPr>
        <p:txBody>
          <a:bodyPr/>
          <a:lstStyle/>
          <a:p>
            <a:pPr>
              <a:defRPr/>
            </a:pPr>
            <a:endParaRPr lang="nl-NL"/>
          </a:p>
        </p:txBody>
      </p:sp>
      <p:sp>
        <p:nvSpPr>
          <p:cNvPr id="62" name="Freeform 63"/>
          <p:cNvSpPr>
            <a:spLocks noChangeAspect="1"/>
          </p:cNvSpPr>
          <p:nvPr/>
        </p:nvSpPr>
        <p:spPr bwMode="auto">
          <a:xfrm>
            <a:off x="5466882" y="3745352"/>
            <a:ext cx="483254" cy="545971"/>
          </a:xfrm>
          <a:custGeom>
            <a:avLst/>
            <a:gdLst>
              <a:gd name="T0" fmla="*/ 215 w 561"/>
              <a:gd name="T1" fmla="*/ 0 h 585"/>
              <a:gd name="T2" fmla="*/ 126 w 561"/>
              <a:gd name="T3" fmla="*/ 67 h 585"/>
              <a:gd name="T4" fmla="*/ 126 w 561"/>
              <a:gd name="T5" fmla="*/ 128 h 585"/>
              <a:gd name="T6" fmla="*/ 58 w 561"/>
              <a:gd name="T7" fmla="*/ 164 h 585"/>
              <a:gd name="T8" fmla="*/ 0 w 561"/>
              <a:gd name="T9" fmla="*/ 228 h 585"/>
              <a:gd name="T10" fmla="*/ 2 w 561"/>
              <a:gd name="T11" fmla="*/ 272 h 585"/>
              <a:gd name="T12" fmla="*/ 14 w 561"/>
              <a:gd name="T13" fmla="*/ 307 h 585"/>
              <a:gd name="T14" fmla="*/ 93 w 561"/>
              <a:gd name="T15" fmla="*/ 281 h 585"/>
              <a:gd name="T16" fmla="*/ 146 w 561"/>
              <a:gd name="T17" fmla="*/ 304 h 585"/>
              <a:gd name="T18" fmla="*/ 146 w 561"/>
              <a:gd name="T19" fmla="*/ 407 h 585"/>
              <a:gd name="T20" fmla="*/ 260 w 561"/>
              <a:gd name="T21" fmla="*/ 418 h 585"/>
              <a:gd name="T22" fmla="*/ 266 w 561"/>
              <a:gd name="T23" fmla="*/ 541 h 585"/>
              <a:gd name="T24" fmla="*/ 385 w 561"/>
              <a:gd name="T25" fmla="*/ 585 h 585"/>
              <a:gd name="T26" fmla="*/ 429 w 561"/>
              <a:gd name="T27" fmla="*/ 508 h 585"/>
              <a:gd name="T28" fmla="*/ 482 w 561"/>
              <a:gd name="T29" fmla="*/ 523 h 585"/>
              <a:gd name="T30" fmla="*/ 561 w 561"/>
              <a:gd name="T31" fmla="*/ 474 h 585"/>
              <a:gd name="T32" fmla="*/ 561 w 561"/>
              <a:gd name="T33" fmla="*/ 436 h 585"/>
              <a:gd name="T34" fmla="*/ 522 w 561"/>
              <a:gd name="T35" fmla="*/ 416 h 585"/>
              <a:gd name="T36" fmla="*/ 531 w 561"/>
              <a:gd name="T37" fmla="*/ 363 h 585"/>
              <a:gd name="T38" fmla="*/ 478 w 561"/>
              <a:gd name="T39" fmla="*/ 296 h 585"/>
              <a:gd name="T40" fmla="*/ 491 w 561"/>
              <a:gd name="T41" fmla="*/ 225 h 585"/>
              <a:gd name="T42" fmla="*/ 412 w 561"/>
              <a:gd name="T43" fmla="*/ 194 h 585"/>
              <a:gd name="T44" fmla="*/ 377 w 561"/>
              <a:gd name="T45" fmla="*/ 236 h 585"/>
              <a:gd name="T46" fmla="*/ 286 w 561"/>
              <a:gd name="T47" fmla="*/ 128 h 585"/>
              <a:gd name="T48" fmla="*/ 215 w 561"/>
              <a:gd name="T49" fmla="*/ 0 h 585"/>
              <a:gd name="T50" fmla="*/ 215 w 561"/>
              <a:gd name="T51" fmla="*/ 0 h 5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1"/>
              <a:gd name="T79" fmla="*/ 0 h 585"/>
              <a:gd name="T80" fmla="*/ 561 w 561"/>
              <a:gd name="T81" fmla="*/ 585 h 5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1" h="585">
                <a:moveTo>
                  <a:pt x="215" y="0"/>
                </a:moveTo>
                <a:lnTo>
                  <a:pt x="126" y="67"/>
                </a:lnTo>
                <a:lnTo>
                  <a:pt x="126" y="128"/>
                </a:lnTo>
                <a:lnTo>
                  <a:pt x="58" y="164"/>
                </a:lnTo>
                <a:lnTo>
                  <a:pt x="0" y="228"/>
                </a:lnTo>
                <a:lnTo>
                  <a:pt x="2" y="272"/>
                </a:lnTo>
                <a:lnTo>
                  <a:pt x="14" y="307"/>
                </a:lnTo>
                <a:lnTo>
                  <a:pt x="93" y="281"/>
                </a:lnTo>
                <a:lnTo>
                  <a:pt x="146" y="304"/>
                </a:lnTo>
                <a:lnTo>
                  <a:pt x="146" y="407"/>
                </a:lnTo>
                <a:lnTo>
                  <a:pt x="260" y="418"/>
                </a:lnTo>
                <a:lnTo>
                  <a:pt x="266" y="541"/>
                </a:lnTo>
                <a:lnTo>
                  <a:pt x="385" y="585"/>
                </a:lnTo>
                <a:lnTo>
                  <a:pt x="429" y="508"/>
                </a:lnTo>
                <a:lnTo>
                  <a:pt x="482" y="523"/>
                </a:lnTo>
                <a:lnTo>
                  <a:pt x="561" y="474"/>
                </a:lnTo>
                <a:lnTo>
                  <a:pt x="561" y="436"/>
                </a:lnTo>
                <a:lnTo>
                  <a:pt x="522" y="416"/>
                </a:lnTo>
                <a:lnTo>
                  <a:pt x="531" y="363"/>
                </a:lnTo>
                <a:lnTo>
                  <a:pt x="478" y="296"/>
                </a:lnTo>
                <a:lnTo>
                  <a:pt x="491" y="225"/>
                </a:lnTo>
                <a:lnTo>
                  <a:pt x="412" y="194"/>
                </a:lnTo>
                <a:lnTo>
                  <a:pt x="377" y="236"/>
                </a:lnTo>
                <a:lnTo>
                  <a:pt x="286" y="128"/>
                </a:lnTo>
                <a:lnTo>
                  <a:pt x="215" y="0"/>
                </a:lnTo>
                <a:close/>
              </a:path>
            </a:pathLst>
          </a:custGeom>
          <a:solidFill>
            <a:schemeClr val="accent3"/>
          </a:solidFill>
          <a:ln w="12700">
            <a:solidFill>
              <a:schemeClr val="bg1"/>
            </a:solidFill>
            <a:round/>
            <a:headEnd/>
            <a:tailEnd/>
          </a:ln>
        </p:spPr>
        <p:txBody>
          <a:bodyPr/>
          <a:lstStyle/>
          <a:p>
            <a:pPr>
              <a:defRPr/>
            </a:pPr>
            <a:endParaRPr lang="nl-NL"/>
          </a:p>
        </p:txBody>
      </p:sp>
      <p:sp>
        <p:nvSpPr>
          <p:cNvPr id="63" name="Freeform 64"/>
          <p:cNvSpPr>
            <a:spLocks noChangeAspect="1"/>
          </p:cNvSpPr>
          <p:nvPr/>
        </p:nvSpPr>
        <p:spPr bwMode="auto">
          <a:xfrm>
            <a:off x="5209722" y="3990291"/>
            <a:ext cx="317567" cy="508575"/>
          </a:xfrm>
          <a:custGeom>
            <a:avLst/>
            <a:gdLst>
              <a:gd name="T0" fmla="*/ 298 w 366"/>
              <a:gd name="T1" fmla="*/ 0 h 544"/>
              <a:gd name="T2" fmla="*/ 207 w 366"/>
              <a:gd name="T3" fmla="*/ 74 h 544"/>
              <a:gd name="T4" fmla="*/ 196 w 366"/>
              <a:gd name="T5" fmla="*/ 127 h 544"/>
              <a:gd name="T6" fmla="*/ 173 w 366"/>
              <a:gd name="T7" fmla="*/ 112 h 544"/>
              <a:gd name="T8" fmla="*/ 155 w 366"/>
              <a:gd name="T9" fmla="*/ 197 h 544"/>
              <a:gd name="T10" fmla="*/ 38 w 366"/>
              <a:gd name="T11" fmla="*/ 266 h 544"/>
              <a:gd name="T12" fmla="*/ 14 w 366"/>
              <a:gd name="T13" fmla="*/ 273 h 544"/>
              <a:gd name="T14" fmla="*/ 0 w 366"/>
              <a:gd name="T15" fmla="*/ 310 h 544"/>
              <a:gd name="T16" fmla="*/ 78 w 366"/>
              <a:gd name="T17" fmla="*/ 518 h 544"/>
              <a:gd name="T18" fmla="*/ 108 w 366"/>
              <a:gd name="T19" fmla="*/ 509 h 544"/>
              <a:gd name="T20" fmla="*/ 155 w 366"/>
              <a:gd name="T21" fmla="*/ 521 h 544"/>
              <a:gd name="T22" fmla="*/ 176 w 366"/>
              <a:gd name="T23" fmla="*/ 515 h 544"/>
              <a:gd name="T24" fmla="*/ 213 w 366"/>
              <a:gd name="T25" fmla="*/ 544 h 544"/>
              <a:gd name="T26" fmla="*/ 232 w 366"/>
              <a:gd name="T27" fmla="*/ 513 h 544"/>
              <a:gd name="T28" fmla="*/ 281 w 366"/>
              <a:gd name="T29" fmla="*/ 539 h 544"/>
              <a:gd name="T30" fmla="*/ 310 w 366"/>
              <a:gd name="T31" fmla="*/ 302 h 544"/>
              <a:gd name="T32" fmla="*/ 366 w 366"/>
              <a:gd name="T33" fmla="*/ 237 h 544"/>
              <a:gd name="T34" fmla="*/ 298 w 366"/>
              <a:gd name="T35" fmla="*/ 0 h 544"/>
              <a:gd name="T36" fmla="*/ 298 w 366"/>
              <a:gd name="T37" fmla="*/ 0 h 5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6"/>
              <a:gd name="T58" fmla="*/ 0 h 544"/>
              <a:gd name="T59" fmla="*/ 366 w 366"/>
              <a:gd name="T60" fmla="*/ 544 h 5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6" h="544">
                <a:moveTo>
                  <a:pt x="298" y="0"/>
                </a:moveTo>
                <a:lnTo>
                  <a:pt x="207" y="74"/>
                </a:lnTo>
                <a:lnTo>
                  <a:pt x="196" y="127"/>
                </a:lnTo>
                <a:lnTo>
                  <a:pt x="173" y="112"/>
                </a:lnTo>
                <a:lnTo>
                  <a:pt x="155" y="197"/>
                </a:lnTo>
                <a:lnTo>
                  <a:pt x="38" y="266"/>
                </a:lnTo>
                <a:lnTo>
                  <a:pt x="14" y="273"/>
                </a:lnTo>
                <a:lnTo>
                  <a:pt x="0" y="310"/>
                </a:lnTo>
                <a:lnTo>
                  <a:pt x="78" y="518"/>
                </a:lnTo>
                <a:lnTo>
                  <a:pt x="108" y="509"/>
                </a:lnTo>
                <a:lnTo>
                  <a:pt x="155" y="521"/>
                </a:lnTo>
                <a:lnTo>
                  <a:pt x="176" y="515"/>
                </a:lnTo>
                <a:lnTo>
                  <a:pt x="213" y="544"/>
                </a:lnTo>
                <a:lnTo>
                  <a:pt x="232" y="513"/>
                </a:lnTo>
                <a:lnTo>
                  <a:pt x="281" y="539"/>
                </a:lnTo>
                <a:lnTo>
                  <a:pt x="310" y="302"/>
                </a:lnTo>
                <a:lnTo>
                  <a:pt x="366" y="237"/>
                </a:lnTo>
                <a:lnTo>
                  <a:pt x="298" y="0"/>
                </a:lnTo>
                <a:close/>
              </a:path>
            </a:pathLst>
          </a:custGeom>
          <a:solidFill>
            <a:schemeClr val="accent3"/>
          </a:solidFill>
          <a:ln w="12700">
            <a:solidFill>
              <a:schemeClr val="bg1"/>
            </a:solidFill>
            <a:round/>
            <a:headEnd/>
            <a:tailEnd/>
          </a:ln>
        </p:spPr>
        <p:txBody>
          <a:bodyPr/>
          <a:lstStyle/>
          <a:p>
            <a:pPr>
              <a:defRPr/>
            </a:pPr>
            <a:endParaRPr lang="nl-NL"/>
          </a:p>
        </p:txBody>
      </p:sp>
      <p:sp>
        <p:nvSpPr>
          <p:cNvPr id="64" name="Freeform 65"/>
          <p:cNvSpPr>
            <a:spLocks noChangeAspect="1"/>
          </p:cNvSpPr>
          <p:nvPr/>
        </p:nvSpPr>
        <p:spPr bwMode="auto">
          <a:xfrm>
            <a:off x="5454801" y="4007119"/>
            <a:ext cx="341729" cy="557189"/>
          </a:xfrm>
          <a:custGeom>
            <a:avLst/>
            <a:gdLst>
              <a:gd name="T0" fmla="*/ 106 w 395"/>
              <a:gd name="T1" fmla="*/ 0 h 596"/>
              <a:gd name="T2" fmla="*/ 30 w 395"/>
              <a:gd name="T3" fmla="*/ 27 h 596"/>
              <a:gd name="T4" fmla="*/ 83 w 395"/>
              <a:gd name="T5" fmla="*/ 221 h 596"/>
              <a:gd name="T6" fmla="*/ 27 w 395"/>
              <a:gd name="T7" fmla="*/ 284 h 596"/>
              <a:gd name="T8" fmla="*/ 0 w 395"/>
              <a:gd name="T9" fmla="*/ 497 h 596"/>
              <a:gd name="T10" fmla="*/ 38 w 395"/>
              <a:gd name="T11" fmla="*/ 497 h 596"/>
              <a:gd name="T12" fmla="*/ 82 w 395"/>
              <a:gd name="T13" fmla="*/ 531 h 596"/>
              <a:gd name="T14" fmla="*/ 97 w 395"/>
              <a:gd name="T15" fmla="*/ 505 h 596"/>
              <a:gd name="T16" fmla="*/ 181 w 395"/>
              <a:gd name="T17" fmla="*/ 497 h 596"/>
              <a:gd name="T18" fmla="*/ 181 w 395"/>
              <a:gd name="T19" fmla="*/ 544 h 596"/>
              <a:gd name="T20" fmla="*/ 247 w 395"/>
              <a:gd name="T21" fmla="*/ 544 h 596"/>
              <a:gd name="T22" fmla="*/ 293 w 395"/>
              <a:gd name="T23" fmla="*/ 596 h 596"/>
              <a:gd name="T24" fmla="*/ 325 w 395"/>
              <a:gd name="T25" fmla="*/ 543 h 596"/>
              <a:gd name="T26" fmla="*/ 372 w 395"/>
              <a:gd name="T27" fmla="*/ 552 h 596"/>
              <a:gd name="T28" fmla="*/ 339 w 395"/>
              <a:gd name="T29" fmla="*/ 482 h 596"/>
              <a:gd name="T30" fmla="*/ 261 w 395"/>
              <a:gd name="T31" fmla="*/ 451 h 596"/>
              <a:gd name="T32" fmla="*/ 281 w 395"/>
              <a:gd name="T33" fmla="*/ 407 h 596"/>
              <a:gd name="T34" fmla="*/ 348 w 395"/>
              <a:gd name="T35" fmla="*/ 407 h 596"/>
              <a:gd name="T36" fmla="*/ 317 w 395"/>
              <a:gd name="T37" fmla="*/ 375 h 596"/>
              <a:gd name="T38" fmla="*/ 357 w 395"/>
              <a:gd name="T39" fmla="*/ 331 h 596"/>
              <a:gd name="T40" fmla="*/ 395 w 395"/>
              <a:gd name="T41" fmla="*/ 327 h 596"/>
              <a:gd name="T42" fmla="*/ 395 w 395"/>
              <a:gd name="T43" fmla="*/ 303 h 596"/>
              <a:gd name="T44" fmla="*/ 279 w 395"/>
              <a:gd name="T45" fmla="*/ 260 h 596"/>
              <a:gd name="T46" fmla="*/ 273 w 395"/>
              <a:gd name="T47" fmla="*/ 137 h 596"/>
              <a:gd name="T48" fmla="*/ 159 w 395"/>
              <a:gd name="T49" fmla="*/ 126 h 596"/>
              <a:gd name="T50" fmla="*/ 159 w 395"/>
              <a:gd name="T51" fmla="*/ 23 h 596"/>
              <a:gd name="T52" fmla="*/ 106 w 395"/>
              <a:gd name="T53" fmla="*/ 0 h 596"/>
              <a:gd name="T54" fmla="*/ 106 w 395"/>
              <a:gd name="T55" fmla="*/ 0 h 59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95"/>
              <a:gd name="T85" fmla="*/ 0 h 596"/>
              <a:gd name="T86" fmla="*/ 395 w 395"/>
              <a:gd name="T87" fmla="*/ 596 h 59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95" h="596">
                <a:moveTo>
                  <a:pt x="106" y="0"/>
                </a:moveTo>
                <a:lnTo>
                  <a:pt x="30" y="27"/>
                </a:lnTo>
                <a:lnTo>
                  <a:pt x="83" y="221"/>
                </a:lnTo>
                <a:lnTo>
                  <a:pt x="27" y="284"/>
                </a:lnTo>
                <a:lnTo>
                  <a:pt x="0" y="497"/>
                </a:lnTo>
                <a:lnTo>
                  <a:pt x="38" y="497"/>
                </a:lnTo>
                <a:lnTo>
                  <a:pt x="82" y="531"/>
                </a:lnTo>
                <a:lnTo>
                  <a:pt x="97" y="505"/>
                </a:lnTo>
                <a:lnTo>
                  <a:pt x="181" y="497"/>
                </a:lnTo>
                <a:lnTo>
                  <a:pt x="181" y="544"/>
                </a:lnTo>
                <a:lnTo>
                  <a:pt x="247" y="544"/>
                </a:lnTo>
                <a:lnTo>
                  <a:pt x="293" y="596"/>
                </a:lnTo>
                <a:lnTo>
                  <a:pt x="325" y="543"/>
                </a:lnTo>
                <a:lnTo>
                  <a:pt x="372" y="552"/>
                </a:lnTo>
                <a:lnTo>
                  <a:pt x="339" y="482"/>
                </a:lnTo>
                <a:lnTo>
                  <a:pt x="261" y="451"/>
                </a:lnTo>
                <a:lnTo>
                  <a:pt x="281" y="407"/>
                </a:lnTo>
                <a:lnTo>
                  <a:pt x="348" y="407"/>
                </a:lnTo>
                <a:lnTo>
                  <a:pt x="317" y="375"/>
                </a:lnTo>
                <a:lnTo>
                  <a:pt x="357" y="331"/>
                </a:lnTo>
                <a:lnTo>
                  <a:pt x="395" y="327"/>
                </a:lnTo>
                <a:lnTo>
                  <a:pt x="395" y="303"/>
                </a:lnTo>
                <a:lnTo>
                  <a:pt x="279" y="260"/>
                </a:lnTo>
                <a:lnTo>
                  <a:pt x="273" y="137"/>
                </a:lnTo>
                <a:lnTo>
                  <a:pt x="159" y="126"/>
                </a:lnTo>
                <a:lnTo>
                  <a:pt x="159" y="23"/>
                </a:lnTo>
                <a:lnTo>
                  <a:pt x="106" y="0"/>
                </a:lnTo>
                <a:close/>
              </a:path>
            </a:pathLst>
          </a:custGeom>
          <a:solidFill>
            <a:schemeClr val="accent3"/>
          </a:solidFill>
          <a:ln w="12700">
            <a:solidFill>
              <a:schemeClr val="bg1"/>
            </a:solidFill>
            <a:round/>
            <a:headEnd/>
            <a:tailEnd/>
          </a:ln>
        </p:spPr>
        <p:txBody>
          <a:bodyPr/>
          <a:lstStyle/>
          <a:p>
            <a:pPr>
              <a:defRPr/>
            </a:pPr>
            <a:endParaRPr lang="nl-NL"/>
          </a:p>
        </p:txBody>
      </p:sp>
      <p:sp>
        <p:nvSpPr>
          <p:cNvPr id="65" name="Freeform 66"/>
          <p:cNvSpPr>
            <a:spLocks noChangeAspect="1"/>
          </p:cNvSpPr>
          <p:nvPr/>
        </p:nvSpPr>
        <p:spPr bwMode="auto">
          <a:xfrm>
            <a:off x="5453075" y="4470820"/>
            <a:ext cx="338278" cy="297292"/>
          </a:xfrm>
          <a:custGeom>
            <a:avLst/>
            <a:gdLst>
              <a:gd name="T0" fmla="*/ 38 w 392"/>
              <a:gd name="T1" fmla="*/ 0 h 318"/>
              <a:gd name="T2" fmla="*/ 0 w 392"/>
              <a:gd name="T3" fmla="*/ 0 h 318"/>
              <a:gd name="T4" fmla="*/ 0 w 392"/>
              <a:gd name="T5" fmla="*/ 24 h 318"/>
              <a:gd name="T6" fmla="*/ 73 w 392"/>
              <a:gd name="T7" fmla="*/ 163 h 318"/>
              <a:gd name="T8" fmla="*/ 50 w 392"/>
              <a:gd name="T9" fmla="*/ 182 h 318"/>
              <a:gd name="T10" fmla="*/ 160 w 392"/>
              <a:gd name="T11" fmla="*/ 266 h 318"/>
              <a:gd name="T12" fmla="*/ 333 w 392"/>
              <a:gd name="T13" fmla="*/ 318 h 318"/>
              <a:gd name="T14" fmla="*/ 392 w 392"/>
              <a:gd name="T15" fmla="*/ 272 h 318"/>
              <a:gd name="T16" fmla="*/ 316 w 392"/>
              <a:gd name="T17" fmla="*/ 236 h 318"/>
              <a:gd name="T18" fmla="*/ 344 w 392"/>
              <a:gd name="T19" fmla="*/ 188 h 318"/>
              <a:gd name="T20" fmla="*/ 301 w 392"/>
              <a:gd name="T21" fmla="*/ 173 h 318"/>
              <a:gd name="T22" fmla="*/ 318 w 392"/>
              <a:gd name="T23" fmla="*/ 117 h 318"/>
              <a:gd name="T24" fmla="*/ 293 w 392"/>
              <a:gd name="T25" fmla="*/ 97 h 318"/>
              <a:gd name="T26" fmla="*/ 248 w 392"/>
              <a:gd name="T27" fmla="*/ 47 h 318"/>
              <a:gd name="T28" fmla="*/ 183 w 392"/>
              <a:gd name="T29" fmla="*/ 47 h 318"/>
              <a:gd name="T30" fmla="*/ 183 w 392"/>
              <a:gd name="T31" fmla="*/ 0 h 318"/>
              <a:gd name="T32" fmla="*/ 99 w 392"/>
              <a:gd name="T33" fmla="*/ 8 h 318"/>
              <a:gd name="T34" fmla="*/ 85 w 392"/>
              <a:gd name="T35" fmla="*/ 34 h 318"/>
              <a:gd name="T36" fmla="*/ 38 w 392"/>
              <a:gd name="T37" fmla="*/ 0 h 318"/>
              <a:gd name="T38" fmla="*/ 38 w 392"/>
              <a:gd name="T39" fmla="*/ 0 h 3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92"/>
              <a:gd name="T61" fmla="*/ 0 h 318"/>
              <a:gd name="T62" fmla="*/ 392 w 392"/>
              <a:gd name="T63" fmla="*/ 318 h 3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92" h="318">
                <a:moveTo>
                  <a:pt x="38" y="0"/>
                </a:moveTo>
                <a:lnTo>
                  <a:pt x="0" y="0"/>
                </a:lnTo>
                <a:lnTo>
                  <a:pt x="0" y="24"/>
                </a:lnTo>
                <a:lnTo>
                  <a:pt x="73" y="163"/>
                </a:lnTo>
                <a:lnTo>
                  <a:pt x="50" y="182"/>
                </a:lnTo>
                <a:lnTo>
                  <a:pt x="160" y="266"/>
                </a:lnTo>
                <a:lnTo>
                  <a:pt x="333" y="318"/>
                </a:lnTo>
                <a:lnTo>
                  <a:pt x="392" y="272"/>
                </a:lnTo>
                <a:lnTo>
                  <a:pt x="316" y="236"/>
                </a:lnTo>
                <a:lnTo>
                  <a:pt x="344" y="188"/>
                </a:lnTo>
                <a:lnTo>
                  <a:pt x="301" y="173"/>
                </a:lnTo>
                <a:lnTo>
                  <a:pt x="318" y="117"/>
                </a:lnTo>
                <a:lnTo>
                  <a:pt x="293" y="97"/>
                </a:lnTo>
                <a:lnTo>
                  <a:pt x="248" y="47"/>
                </a:lnTo>
                <a:lnTo>
                  <a:pt x="183" y="47"/>
                </a:lnTo>
                <a:lnTo>
                  <a:pt x="183" y="0"/>
                </a:lnTo>
                <a:lnTo>
                  <a:pt x="99" y="8"/>
                </a:lnTo>
                <a:lnTo>
                  <a:pt x="85" y="34"/>
                </a:lnTo>
                <a:lnTo>
                  <a:pt x="38" y="0"/>
                </a:lnTo>
                <a:close/>
              </a:path>
            </a:pathLst>
          </a:custGeom>
          <a:solidFill>
            <a:schemeClr val="accent3"/>
          </a:solidFill>
          <a:ln w="12700">
            <a:solidFill>
              <a:schemeClr val="bg1"/>
            </a:solidFill>
            <a:round/>
            <a:headEnd/>
            <a:tailEnd/>
          </a:ln>
        </p:spPr>
        <p:txBody>
          <a:bodyPr/>
          <a:lstStyle/>
          <a:p>
            <a:pPr>
              <a:defRPr/>
            </a:pPr>
            <a:endParaRPr lang="nl-NL"/>
          </a:p>
        </p:txBody>
      </p:sp>
      <p:sp>
        <p:nvSpPr>
          <p:cNvPr id="66" name="Freeform 67"/>
          <p:cNvSpPr>
            <a:spLocks noChangeAspect="1"/>
          </p:cNvSpPr>
          <p:nvPr/>
        </p:nvSpPr>
        <p:spPr bwMode="auto">
          <a:xfrm>
            <a:off x="4669514" y="2372946"/>
            <a:ext cx="58681" cy="104707"/>
          </a:xfrm>
          <a:custGeom>
            <a:avLst/>
            <a:gdLst>
              <a:gd name="T0" fmla="*/ 69 w 69"/>
              <a:gd name="T1" fmla="*/ 0 h 110"/>
              <a:gd name="T2" fmla="*/ 26 w 69"/>
              <a:gd name="T3" fmla="*/ 17 h 110"/>
              <a:gd name="T4" fmla="*/ 0 w 69"/>
              <a:gd name="T5" fmla="*/ 44 h 110"/>
              <a:gd name="T6" fmla="*/ 49 w 69"/>
              <a:gd name="T7" fmla="*/ 110 h 110"/>
              <a:gd name="T8" fmla="*/ 64 w 69"/>
              <a:gd name="T9" fmla="*/ 70 h 110"/>
              <a:gd name="T10" fmla="*/ 40 w 69"/>
              <a:gd name="T11" fmla="*/ 52 h 110"/>
              <a:gd name="T12" fmla="*/ 54 w 69"/>
              <a:gd name="T13" fmla="*/ 32 h 110"/>
              <a:gd name="T14" fmla="*/ 69 w 69"/>
              <a:gd name="T15" fmla="*/ 0 h 110"/>
              <a:gd name="T16" fmla="*/ 69 w 69"/>
              <a:gd name="T17" fmla="*/ 0 h 1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110"/>
              <a:gd name="T29" fmla="*/ 69 w 69"/>
              <a:gd name="T30" fmla="*/ 110 h 1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110">
                <a:moveTo>
                  <a:pt x="69" y="0"/>
                </a:moveTo>
                <a:lnTo>
                  <a:pt x="26" y="17"/>
                </a:lnTo>
                <a:lnTo>
                  <a:pt x="0" y="44"/>
                </a:lnTo>
                <a:lnTo>
                  <a:pt x="49" y="110"/>
                </a:lnTo>
                <a:lnTo>
                  <a:pt x="64" y="70"/>
                </a:lnTo>
                <a:lnTo>
                  <a:pt x="40" y="52"/>
                </a:lnTo>
                <a:lnTo>
                  <a:pt x="54" y="32"/>
                </a:lnTo>
                <a:lnTo>
                  <a:pt x="69" y="0"/>
                </a:lnTo>
                <a:close/>
              </a:path>
            </a:pathLst>
          </a:custGeom>
          <a:solidFill>
            <a:schemeClr val="accent3"/>
          </a:solidFill>
          <a:ln w="12700">
            <a:solidFill>
              <a:schemeClr val="bg1"/>
            </a:solidFill>
            <a:round/>
            <a:headEnd/>
            <a:tailEnd/>
          </a:ln>
        </p:spPr>
        <p:txBody>
          <a:bodyPr/>
          <a:lstStyle/>
          <a:p>
            <a:pPr>
              <a:defRPr/>
            </a:pPr>
            <a:endParaRPr lang="nl-NL"/>
          </a:p>
        </p:txBody>
      </p:sp>
      <p:sp>
        <p:nvSpPr>
          <p:cNvPr id="67" name="Freeform 68"/>
          <p:cNvSpPr>
            <a:spLocks noChangeAspect="1"/>
          </p:cNvSpPr>
          <p:nvPr/>
        </p:nvSpPr>
        <p:spPr bwMode="auto">
          <a:xfrm>
            <a:off x="4716113" y="2346770"/>
            <a:ext cx="84569" cy="84139"/>
          </a:xfrm>
          <a:custGeom>
            <a:avLst/>
            <a:gdLst>
              <a:gd name="T0" fmla="*/ 91 w 98"/>
              <a:gd name="T1" fmla="*/ 0 h 90"/>
              <a:gd name="T2" fmla="*/ 15 w 98"/>
              <a:gd name="T3" fmla="*/ 26 h 90"/>
              <a:gd name="T4" fmla="*/ 0 w 98"/>
              <a:gd name="T5" fmla="*/ 61 h 90"/>
              <a:gd name="T6" fmla="*/ 98 w 98"/>
              <a:gd name="T7" fmla="*/ 90 h 90"/>
              <a:gd name="T8" fmla="*/ 91 w 98"/>
              <a:gd name="T9" fmla="*/ 0 h 90"/>
              <a:gd name="T10" fmla="*/ 91 w 98"/>
              <a:gd name="T11" fmla="*/ 0 h 90"/>
              <a:gd name="T12" fmla="*/ 0 60000 65536"/>
              <a:gd name="T13" fmla="*/ 0 60000 65536"/>
              <a:gd name="T14" fmla="*/ 0 60000 65536"/>
              <a:gd name="T15" fmla="*/ 0 60000 65536"/>
              <a:gd name="T16" fmla="*/ 0 60000 65536"/>
              <a:gd name="T17" fmla="*/ 0 60000 65536"/>
              <a:gd name="T18" fmla="*/ 0 w 98"/>
              <a:gd name="T19" fmla="*/ 0 h 90"/>
              <a:gd name="T20" fmla="*/ 98 w 98"/>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98" h="90">
                <a:moveTo>
                  <a:pt x="91" y="0"/>
                </a:moveTo>
                <a:lnTo>
                  <a:pt x="15" y="26"/>
                </a:lnTo>
                <a:lnTo>
                  <a:pt x="0" y="61"/>
                </a:lnTo>
                <a:lnTo>
                  <a:pt x="98" y="90"/>
                </a:lnTo>
                <a:lnTo>
                  <a:pt x="91" y="0"/>
                </a:lnTo>
                <a:close/>
              </a:path>
            </a:pathLst>
          </a:custGeom>
          <a:solidFill>
            <a:schemeClr val="accent3"/>
          </a:solidFill>
          <a:ln w="12700">
            <a:solidFill>
              <a:schemeClr val="bg1"/>
            </a:solidFill>
            <a:round/>
            <a:headEnd/>
            <a:tailEnd/>
          </a:ln>
        </p:spPr>
        <p:txBody>
          <a:bodyPr/>
          <a:lstStyle/>
          <a:p>
            <a:pPr>
              <a:defRPr/>
            </a:pPr>
            <a:endParaRPr lang="nl-NL"/>
          </a:p>
        </p:txBody>
      </p:sp>
      <p:sp>
        <p:nvSpPr>
          <p:cNvPr id="68" name="Freeform 69"/>
          <p:cNvSpPr>
            <a:spLocks noChangeAspect="1"/>
          </p:cNvSpPr>
          <p:nvPr/>
        </p:nvSpPr>
        <p:spPr bwMode="auto">
          <a:xfrm>
            <a:off x="4704032" y="2402863"/>
            <a:ext cx="60407" cy="37395"/>
          </a:xfrm>
          <a:custGeom>
            <a:avLst/>
            <a:gdLst>
              <a:gd name="T0" fmla="*/ 14 w 71"/>
              <a:gd name="T1" fmla="*/ 0 h 38"/>
              <a:gd name="T2" fmla="*/ 0 w 71"/>
              <a:gd name="T3" fmla="*/ 20 h 38"/>
              <a:gd name="T4" fmla="*/ 24 w 71"/>
              <a:gd name="T5" fmla="*/ 38 h 38"/>
              <a:gd name="T6" fmla="*/ 71 w 71"/>
              <a:gd name="T7" fmla="*/ 17 h 38"/>
              <a:gd name="T8" fmla="*/ 14 w 71"/>
              <a:gd name="T9" fmla="*/ 0 h 38"/>
              <a:gd name="T10" fmla="*/ 14 w 71"/>
              <a:gd name="T11" fmla="*/ 0 h 38"/>
              <a:gd name="T12" fmla="*/ 0 60000 65536"/>
              <a:gd name="T13" fmla="*/ 0 60000 65536"/>
              <a:gd name="T14" fmla="*/ 0 60000 65536"/>
              <a:gd name="T15" fmla="*/ 0 60000 65536"/>
              <a:gd name="T16" fmla="*/ 0 60000 65536"/>
              <a:gd name="T17" fmla="*/ 0 60000 65536"/>
              <a:gd name="T18" fmla="*/ 0 w 71"/>
              <a:gd name="T19" fmla="*/ 0 h 38"/>
              <a:gd name="T20" fmla="*/ 71 w 71"/>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71" h="38">
                <a:moveTo>
                  <a:pt x="14" y="0"/>
                </a:moveTo>
                <a:lnTo>
                  <a:pt x="0" y="20"/>
                </a:lnTo>
                <a:lnTo>
                  <a:pt x="24" y="38"/>
                </a:lnTo>
                <a:lnTo>
                  <a:pt x="71" y="17"/>
                </a:lnTo>
                <a:lnTo>
                  <a:pt x="14" y="0"/>
                </a:lnTo>
                <a:close/>
              </a:path>
            </a:pathLst>
          </a:custGeom>
          <a:solidFill>
            <a:schemeClr val="accent3"/>
          </a:solidFill>
          <a:ln w="12700">
            <a:solidFill>
              <a:schemeClr val="bg1"/>
            </a:solidFill>
            <a:round/>
            <a:headEnd/>
            <a:tailEnd/>
          </a:ln>
        </p:spPr>
        <p:txBody>
          <a:bodyPr/>
          <a:lstStyle/>
          <a:p>
            <a:pPr>
              <a:defRPr/>
            </a:pPr>
            <a:endParaRPr lang="nl-NL"/>
          </a:p>
        </p:txBody>
      </p:sp>
      <p:sp>
        <p:nvSpPr>
          <p:cNvPr id="69" name="Freeform 70"/>
          <p:cNvSpPr>
            <a:spLocks noChangeAspect="1"/>
          </p:cNvSpPr>
          <p:nvPr/>
        </p:nvSpPr>
        <p:spPr bwMode="auto">
          <a:xfrm>
            <a:off x="4710935" y="2419690"/>
            <a:ext cx="91473" cy="63572"/>
          </a:xfrm>
          <a:custGeom>
            <a:avLst/>
            <a:gdLst>
              <a:gd name="T0" fmla="*/ 106 w 106"/>
              <a:gd name="T1" fmla="*/ 14 h 67"/>
              <a:gd name="T2" fmla="*/ 62 w 106"/>
              <a:gd name="T3" fmla="*/ 0 h 67"/>
              <a:gd name="T4" fmla="*/ 15 w 106"/>
              <a:gd name="T5" fmla="*/ 21 h 67"/>
              <a:gd name="T6" fmla="*/ 0 w 106"/>
              <a:gd name="T7" fmla="*/ 62 h 67"/>
              <a:gd name="T8" fmla="*/ 106 w 106"/>
              <a:gd name="T9" fmla="*/ 67 h 67"/>
              <a:gd name="T10" fmla="*/ 106 w 106"/>
              <a:gd name="T11" fmla="*/ 14 h 67"/>
              <a:gd name="T12" fmla="*/ 106 w 106"/>
              <a:gd name="T13" fmla="*/ 14 h 67"/>
              <a:gd name="T14" fmla="*/ 0 60000 65536"/>
              <a:gd name="T15" fmla="*/ 0 60000 65536"/>
              <a:gd name="T16" fmla="*/ 0 60000 65536"/>
              <a:gd name="T17" fmla="*/ 0 60000 65536"/>
              <a:gd name="T18" fmla="*/ 0 60000 65536"/>
              <a:gd name="T19" fmla="*/ 0 60000 65536"/>
              <a:gd name="T20" fmla="*/ 0 60000 65536"/>
              <a:gd name="T21" fmla="*/ 0 w 106"/>
              <a:gd name="T22" fmla="*/ 0 h 67"/>
              <a:gd name="T23" fmla="*/ 106 w 106"/>
              <a:gd name="T24" fmla="*/ 67 h 6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6" h="67">
                <a:moveTo>
                  <a:pt x="106" y="14"/>
                </a:moveTo>
                <a:lnTo>
                  <a:pt x="62" y="0"/>
                </a:lnTo>
                <a:lnTo>
                  <a:pt x="15" y="21"/>
                </a:lnTo>
                <a:lnTo>
                  <a:pt x="0" y="62"/>
                </a:lnTo>
                <a:lnTo>
                  <a:pt x="106" y="67"/>
                </a:lnTo>
                <a:lnTo>
                  <a:pt x="106" y="14"/>
                </a:lnTo>
                <a:close/>
              </a:path>
            </a:pathLst>
          </a:custGeom>
          <a:solidFill>
            <a:schemeClr val="accent3"/>
          </a:solidFill>
          <a:ln w="12700">
            <a:solidFill>
              <a:schemeClr val="bg1"/>
            </a:solidFill>
            <a:round/>
            <a:headEnd/>
            <a:tailEnd/>
          </a:ln>
        </p:spPr>
        <p:txBody>
          <a:bodyPr/>
          <a:lstStyle/>
          <a:p>
            <a:pPr>
              <a:defRPr/>
            </a:pPr>
            <a:endParaRPr lang="nl-NL"/>
          </a:p>
        </p:txBody>
      </p:sp>
      <p:sp>
        <p:nvSpPr>
          <p:cNvPr id="70" name="Freeform 71"/>
          <p:cNvSpPr>
            <a:spLocks noChangeAspect="1"/>
          </p:cNvSpPr>
          <p:nvPr/>
        </p:nvSpPr>
        <p:spPr bwMode="auto">
          <a:xfrm>
            <a:off x="4584944" y="1376363"/>
            <a:ext cx="590260" cy="471180"/>
          </a:xfrm>
          <a:custGeom>
            <a:avLst/>
            <a:gdLst>
              <a:gd name="T0" fmla="*/ 136 w 685"/>
              <a:gd name="T1" fmla="*/ 0 h 505"/>
              <a:gd name="T2" fmla="*/ 0 w 685"/>
              <a:gd name="T3" fmla="*/ 38 h 505"/>
              <a:gd name="T4" fmla="*/ 27 w 685"/>
              <a:gd name="T5" fmla="*/ 124 h 505"/>
              <a:gd name="T6" fmla="*/ 95 w 685"/>
              <a:gd name="T7" fmla="*/ 141 h 505"/>
              <a:gd name="T8" fmla="*/ 71 w 685"/>
              <a:gd name="T9" fmla="*/ 196 h 505"/>
              <a:gd name="T10" fmla="*/ 205 w 685"/>
              <a:gd name="T11" fmla="*/ 233 h 505"/>
              <a:gd name="T12" fmla="*/ 247 w 685"/>
              <a:gd name="T13" fmla="*/ 234 h 505"/>
              <a:gd name="T14" fmla="*/ 276 w 685"/>
              <a:gd name="T15" fmla="*/ 291 h 505"/>
              <a:gd name="T16" fmla="*/ 329 w 685"/>
              <a:gd name="T17" fmla="*/ 314 h 505"/>
              <a:gd name="T18" fmla="*/ 325 w 685"/>
              <a:gd name="T19" fmla="*/ 391 h 505"/>
              <a:gd name="T20" fmla="*/ 359 w 685"/>
              <a:gd name="T21" fmla="*/ 418 h 505"/>
              <a:gd name="T22" fmla="*/ 334 w 685"/>
              <a:gd name="T23" fmla="*/ 485 h 505"/>
              <a:gd name="T24" fmla="*/ 489 w 685"/>
              <a:gd name="T25" fmla="*/ 487 h 505"/>
              <a:gd name="T26" fmla="*/ 522 w 685"/>
              <a:gd name="T27" fmla="*/ 462 h 505"/>
              <a:gd name="T28" fmla="*/ 685 w 685"/>
              <a:gd name="T29" fmla="*/ 505 h 505"/>
              <a:gd name="T30" fmla="*/ 667 w 685"/>
              <a:gd name="T31" fmla="*/ 397 h 505"/>
              <a:gd name="T32" fmla="*/ 676 w 685"/>
              <a:gd name="T33" fmla="*/ 371 h 505"/>
              <a:gd name="T34" fmla="*/ 583 w 685"/>
              <a:gd name="T35" fmla="*/ 326 h 505"/>
              <a:gd name="T36" fmla="*/ 477 w 685"/>
              <a:gd name="T37" fmla="*/ 358 h 505"/>
              <a:gd name="T38" fmla="*/ 463 w 685"/>
              <a:gd name="T39" fmla="*/ 266 h 505"/>
              <a:gd name="T40" fmla="*/ 332 w 685"/>
              <a:gd name="T41" fmla="*/ 260 h 505"/>
              <a:gd name="T42" fmla="*/ 316 w 685"/>
              <a:gd name="T43" fmla="*/ 139 h 505"/>
              <a:gd name="T44" fmla="*/ 234 w 685"/>
              <a:gd name="T45" fmla="*/ 164 h 505"/>
              <a:gd name="T46" fmla="*/ 156 w 685"/>
              <a:gd name="T47" fmla="*/ 116 h 505"/>
              <a:gd name="T48" fmla="*/ 135 w 685"/>
              <a:gd name="T49" fmla="*/ 5 h 505"/>
              <a:gd name="T50" fmla="*/ 136 w 685"/>
              <a:gd name="T51" fmla="*/ 0 h 505"/>
              <a:gd name="T52" fmla="*/ 136 w 685"/>
              <a:gd name="T53" fmla="*/ 0 h 5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85"/>
              <a:gd name="T82" fmla="*/ 0 h 505"/>
              <a:gd name="T83" fmla="*/ 685 w 685"/>
              <a:gd name="T84" fmla="*/ 505 h 50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85" h="505">
                <a:moveTo>
                  <a:pt x="136" y="0"/>
                </a:moveTo>
                <a:lnTo>
                  <a:pt x="0" y="38"/>
                </a:lnTo>
                <a:lnTo>
                  <a:pt x="27" y="124"/>
                </a:lnTo>
                <a:lnTo>
                  <a:pt x="95" y="141"/>
                </a:lnTo>
                <a:lnTo>
                  <a:pt x="71" y="196"/>
                </a:lnTo>
                <a:lnTo>
                  <a:pt x="205" y="233"/>
                </a:lnTo>
                <a:lnTo>
                  <a:pt x="247" y="234"/>
                </a:lnTo>
                <a:lnTo>
                  <a:pt x="276" y="291"/>
                </a:lnTo>
                <a:lnTo>
                  <a:pt x="329" y="314"/>
                </a:lnTo>
                <a:lnTo>
                  <a:pt x="325" y="391"/>
                </a:lnTo>
                <a:lnTo>
                  <a:pt x="359" y="418"/>
                </a:lnTo>
                <a:lnTo>
                  <a:pt x="334" y="485"/>
                </a:lnTo>
                <a:lnTo>
                  <a:pt x="489" y="487"/>
                </a:lnTo>
                <a:lnTo>
                  <a:pt x="522" y="462"/>
                </a:lnTo>
                <a:lnTo>
                  <a:pt x="685" y="505"/>
                </a:lnTo>
                <a:lnTo>
                  <a:pt x="667" y="397"/>
                </a:lnTo>
                <a:lnTo>
                  <a:pt x="676" y="371"/>
                </a:lnTo>
                <a:lnTo>
                  <a:pt x="583" y="326"/>
                </a:lnTo>
                <a:lnTo>
                  <a:pt x="477" y="358"/>
                </a:lnTo>
                <a:lnTo>
                  <a:pt x="463" y="266"/>
                </a:lnTo>
                <a:lnTo>
                  <a:pt x="332" y="260"/>
                </a:lnTo>
                <a:lnTo>
                  <a:pt x="316" y="139"/>
                </a:lnTo>
                <a:lnTo>
                  <a:pt x="234" y="164"/>
                </a:lnTo>
                <a:lnTo>
                  <a:pt x="156" y="116"/>
                </a:lnTo>
                <a:lnTo>
                  <a:pt x="135" y="5"/>
                </a:lnTo>
                <a:lnTo>
                  <a:pt x="136" y="0"/>
                </a:lnTo>
                <a:close/>
              </a:path>
            </a:pathLst>
          </a:custGeom>
          <a:solidFill>
            <a:schemeClr val="accent3"/>
          </a:solidFill>
          <a:ln w="12700">
            <a:solidFill>
              <a:schemeClr val="bg1"/>
            </a:solidFill>
            <a:round/>
            <a:headEnd/>
            <a:tailEnd/>
          </a:ln>
        </p:spPr>
        <p:txBody>
          <a:bodyPr/>
          <a:lstStyle/>
          <a:p>
            <a:pPr>
              <a:defRPr/>
            </a:pPr>
            <a:endParaRPr lang="nl-NL"/>
          </a:p>
        </p:txBody>
      </p:sp>
      <p:sp>
        <p:nvSpPr>
          <p:cNvPr id="71" name="Freeform 72"/>
          <p:cNvSpPr>
            <a:spLocks noChangeAspect="1"/>
          </p:cNvSpPr>
          <p:nvPr/>
        </p:nvSpPr>
        <p:spPr bwMode="auto">
          <a:xfrm>
            <a:off x="4434790" y="1411888"/>
            <a:ext cx="462543" cy="420697"/>
          </a:xfrm>
          <a:custGeom>
            <a:avLst/>
            <a:gdLst>
              <a:gd name="T0" fmla="*/ 174 w 537"/>
              <a:gd name="T1" fmla="*/ 0 h 449"/>
              <a:gd name="T2" fmla="*/ 12 w 537"/>
              <a:gd name="T3" fmla="*/ 46 h 449"/>
              <a:gd name="T4" fmla="*/ 0 w 537"/>
              <a:gd name="T5" fmla="*/ 303 h 449"/>
              <a:gd name="T6" fmla="*/ 132 w 537"/>
              <a:gd name="T7" fmla="*/ 310 h 449"/>
              <a:gd name="T8" fmla="*/ 189 w 537"/>
              <a:gd name="T9" fmla="*/ 371 h 449"/>
              <a:gd name="T10" fmla="*/ 300 w 537"/>
              <a:gd name="T11" fmla="*/ 371 h 449"/>
              <a:gd name="T12" fmla="*/ 300 w 537"/>
              <a:gd name="T13" fmla="*/ 417 h 449"/>
              <a:gd name="T14" fmla="*/ 389 w 537"/>
              <a:gd name="T15" fmla="*/ 420 h 449"/>
              <a:gd name="T16" fmla="*/ 389 w 537"/>
              <a:gd name="T17" fmla="*/ 449 h 449"/>
              <a:gd name="T18" fmla="*/ 508 w 537"/>
              <a:gd name="T19" fmla="*/ 447 h 449"/>
              <a:gd name="T20" fmla="*/ 537 w 537"/>
              <a:gd name="T21" fmla="*/ 380 h 449"/>
              <a:gd name="T22" fmla="*/ 499 w 537"/>
              <a:gd name="T23" fmla="*/ 353 h 449"/>
              <a:gd name="T24" fmla="*/ 503 w 537"/>
              <a:gd name="T25" fmla="*/ 276 h 449"/>
              <a:gd name="T26" fmla="*/ 450 w 537"/>
              <a:gd name="T27" fmla="*/ 253 h 449"/>
              <a:gd name="T28" fmla="*/ 421 w 537"/>
              <a:gd name="T29" fmla="*/ 196 h 449"/>
              <a:gd name="T30" fmla="*/ 376 w 537"/>
              <a:gd name="T31" fmla="*/ 192 h 449"/>
              <a:gd name="T32" fmla="*/ 245 w 537"/>
              <a:gd name="T33" fmla="*/ 158 h 449"/>
              <a:gd name="T34" fmla="*/ 269 w 537"/>
              <a:gd name="T35" fmla="*/ 103 h 449"/>
              <a:gd name="T36" fmla="*/ 201 w 537"/>
              <a:gd name="T37" fmla="*/ 86 h 449"/>
              <a:gd name="T38" fmla="*/ 174 w 537"/>
              <a:gd name="T39" fmla="*/ 0 h 449"/>
              <a:gd name="T40" fmla="*/ 174 w 537"/>
              <a:gd name="T41" fmla="*/ 0 h 4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7"/>
              <a:gd name="T64" fmla="*/ 0 h 449"/>
              <a:gd name="T65" fmla="*/ 537 w 537"/>
              <a:gd name="T66" fmla="*/ 449 h 4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7" h="449">
                <a:moveTo>
                  <a:pt x="174" y="0"/>
                </a:moveTo>
                <a:lnTo>
                  <a:pt x="12" y="46"/>
                </a:lnTo>
                <a:lnTo>
                  <a:pt x="0" y="303"/>
                </a:lnTo>
                <a:lnTo>
                  <a:pt x="132" y="310"/>
                </a:lnTo>
                <a:lnTo>
                  <a:pt x="189" y="371"/>
                </a:lnTo>
                <a:lnTo>
                  <a:pt x="300" y="371"/>
                </a:lnTo>
                <a:lnTo>
                  <a:pt x="300" y="417"/>
                </a:lnTo>
                <a:lnTo>
                  <a:pt x="389" y="420"/>
                </a:lnTo>
                <a:lnTo>
                  <a:pt x="389" y="449"/>
                </a:lnTo>
                <a:lnTo>
                  <a:pt x="508" y="447"/>
                </a:lnTo>
                <a:lnTo>
                  <a:pt x="537" y="380"/>
                </a:lnTo>
                <a:lnTo>
                  <a:pt x="499" y="353"/>
                </a:lnTo>
                <a:lnTo>
                  <a:pt x="503" y="276"/>
                </a:lnTo>
                <a:lnTo>
                  <a:pt x="450" y="253"/>
                </a:lnTo>
                <a:lnTo>
                  <a:pt x="421" y="196"/>
                </a:lnTo>
                <a:lnTo>
                  <a:pt x="376" y="192"/>
                </a:lnTo>
                <a:lnTo>
                  <a:pt x="245" y="158"/>
                </a:lnTo>
                <a:lnTo>
                  <a:pt x="269" y="103"/>
                </a:lnTo>
                <a:lnTo>
                  <a:pt x="201" y="86"/>
                </a:lnTo>
                <a:lnTo>
                  <a:pt x="174" y="0"/>
                </a:lnTo>
                <a:close/>
              </a:path>
            </a:pathLst>
          </a:custGeom>
          <a:solidFill>
            <a:schemeClr val="accent3"/>
          </a:solidFill>
          <a:ln w="12700">
            <a:solidFill>
              <a:schemeClr val="bg1"/>
            </a:solidFill>
            <a:round/>
            <a:headEnd/>
            <a:tailEnd/>
          </a:ln>
        </p:spPr>
        <p:txBody>
          <a:bodyPr/>
          <a:lstStyle/>
          <a:p>
            <a:pPr>
              <a:defRPr/>
            </a:pPr>
            <a:endParaRPr lang="nl-NL"/>
          </a:p>
        </p:txBody>
      </p:sp>
      <p:sp>
        <p:nvSpPr>
          <p:cNvPr id="72" name="Freeform 73"/>
          <p:cNvSpPr>
            <a:spLocks noChangeAspect="1"/>
          </p:cNvSpPr>
          <p:nvPr/>
        </p:nvSpPr>
        <p:spPr bwMode="auto">
          <a:xfrm>
            <a:off x="5132056" y="1797060"/>
            <a:ext cx="395232" cy="390780"/>
          </a:xfrm>
          <a:custGeom>
            <a:avLst/>
            <a:gdLst>
              <a:gd name="T0" fmla="*/ 50 w 457"/>
              <a:gd name="T1" fmla="*/ 52 h 417"/>
              <a:gd name="T2" fmla="*/ 50 w 457"/>
              <a:gd name="T3" fmla="*/ 163 h 417"/>
              <a:gd name="T4" fmla="*/ 0 w 457"/>
              <a:gd name="T5" fmla="*/ 240 h 417"/>
              <a:gd name="T6" fmla="*/ 1 w 457"/>
              <a:gd name="T7" fmla="*/ 345 h 417"/>
              <a:gd name="T8" fmla="*/ 197 w 457"/>
              <a:gd name="T9" fmla="*/ 417 h 417"/>
              <a:gd name="T10" fmla="*/ 313 w 457"/>
              <a:gd name="T11" fmla="*/ 415 h 417"/>
              <a:gd name="T12" fmla="*/ 349 w 457"/>
              <a:gd name="T13" fmla="*/ 254 h 417"/>
              <a:gd name="T14" fmla="*/ 401 w 457"/>
              <a:gd name="T15" fmla="*/ 265 h 417"/>
              <a:gd name="T16" fmla="*/ 457 w 457"/>
              <a:gd name="T17" fmla="*/ 196 h 417"/>
              <a:gd name="T18" fmla="*/ 252 w 457"/>
              <a:gd name="T19" fmla="*/ 108 h 417"/>
              <a:gd name="T20" fmla="*/ 281 w 457"/>
              <a:gd name="T21" fmla="*/ 0 h 417"/>
              <a:gd name="T22" fmla="*/ 152 w 457"/>
              <a:gd name="T23" fmla="*/ 55 h 417"/>
              <a:gd name="T24" fmla="*/ 50 w 457"/>
              <a:gd name="T25" fmla="*/ 52 h 417"/>
              <a:gd name="T26" fmla="*/ 50 w 457"/>
              <a:gd name="T27" fmla="*/ 52 h 4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57"/>
              <a:gd name="T43" fmla="*/ 0 h 417"/>
              <a:gd name="T44" fmla="*/ 457 w 457"/>
              <a:gd name="T45" fmla="*/ 417 h 4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57" h="417">
                <a:moveTo>
                  <a:pt x="50" y="52"/>
                </a:moveTo>
                <a:lnTo>
                  <a:pt x="50" y="163"/>
                </a:lnTo>
                <a:lnTo>
                  <a:pt x="0" y="240"/>
                </a:lnTo>
                <a:lnTo>
                  <a:pt x="1" y="345"/>
                </a:lnTo>
                <a:lnTo>
                  <a:pt x="197" y="417"/>
                </a:lnTo>
                <a:lnTo>
                  <a:pt x="313" y="415"/>
                </a:lnTo>
                <a:lnTo>
                  <a:pt x="349" y="254"/>
                </a:lnTo>
                <a:lnTo>
                  <a:pt x="401" y="265"/>
                </a:lnTo>
                <a:lnTo>
                  <a:pt x="457" y="196"/>
                </a:lnTo>
                <a:lnTo>
                  <a:pt x="252" y="108"/>
                </a:lnTo>
                <a:lnTo>
                  <a:pt x="281" y="0"/>
                </a:lnTo>
                <a:lnTo>
                  <a:pt x="152" y="55"/>
                </a:lnTo>
                <a:lnTo>
                  <a:pt x="50" y="52"/>
                </a:lnTo>
                <a:close/>
              </a:path>
            </a:pathLst>
          </a:custGeom>
          <a:solidFill>
            <a:schemeClr val="accent3"/>
          </a:solidFill>
          <a:ln w="12700">
            <a:solidFill>
              <a:schemeClr val="bg1"/>
            </a:solidFill>
            <a:round/>
            <a:headEnd/>
            <a:tailEnd/>
          </a:ln>
        </p:spPr>
        <p:txBody>
          <a:bodyPr/>
          <a:lstStyle/>
          <a:p>
            <a:pPr>
              <a:defRPr/>
            </a:pPr>
            <a:endParaRPr lang="nl-NL"/>
          </a:p>
        </p:txBody>
      </p:sp>
      <p:sp>
        <p:nvSpPr>
          <p:cNvPr id="73" name="Freeform 74"/>
          <p:cNvSpPr>
            <a:spLocks noChangeAspect="1"/>
          </p:cNvSpPr>
          <p:nvPr/>
        </p:nvSpPr>
        <p:spPr bwMode="auto">
          <a:xfrm>
            <a:off x="5475512" y="1980296"/>
            <a:ext cx="531579" cy="611412"/>
          </a:xfrm>
          <a:custGeom>
            <a:avLst/>
            <a:gdLst>
              <a:gd name="T0" fmla="*/ 0 w 616"/>
              <a:gd name="T1" fmla="*/ 69 h 655"/>
              <a:gd name="T2" fmla="*/ 114 w 616"/>
              <a:gd name="T3" fmla="*/ 128 h 655"/>
              <a:gd name="T4" fmla="*/ 156 w 616"/>
              <a:gd name="T5" fmla="*/ 185 h 655"/>
              <a:gd name="T6" fmla="*/ 139 w 616"/>
              <a:gd name="T7" fmla="*/ 223 h 655"/>
              <a:gd name="T8" fmla="*/ 156 w 616"/>
              <a:gd name="T9" fmla="*/ 280 h 655"/>
              <a:gd name="T10" fmla="*/ 194 w 616"/>
              <a:gd name="T11" fmla="*/ 310 h 655"/>
              <a:gd name="T12" fmla="*/ 180 w 616"/>
              <a:gd name="T13" fmla="*/ 370 h 655"/>
              <a:gd name="T14" fmla="*/ 169 w 616"/>
              <a:gd name="T15" fmla="*/ 432 h 655"/>
              <a:gd name="T16" fmla="*/ 175 w 616"/>
              <a:gd name="T17" fmla="*/ 579 h 655"/>
              <a:gd name="T18" fmla="*/ 215 w 616"/>
              <a:gd name="T19" fmla="*/ 565 h 655"/>
              <a:gd name="T20" fmla="*/ 253 w 616"/>
              <a:gd name="T21" fmla="*/ 655 h 655"/>
              <a:gd name="T22" fmla="*/ 508 w 616"/>
              <a:gd name="T23" fmla="*/ 603 h 655"/>
              <a:gd name="T24" fmla="*/ 616 w 616"/>
              <a:gd name="T25" fmla="*/ 544 h 655"/>
              <a:gd name="T26" fmla="*/ 570 w 616"/>
              <a:gd name="T27" fmla="*/ 499 h 655"/>
              <a:gd name="T28" fmla="*/ 359 w 616"/>
              <a:gd name="T29" fmla="*/ 424 h 655"/>
              <a:gd name="T30" fmla="*/ 338 w 616"/>
              <a:gd name="T31" fmla="*/ 370 h 655"/>
              <a:gd name="T32" fmla="*/ 338 w 616"/>
              <a:gd name="T33" fmla="*/ 350 h 655"/>
              <a:gd name="T34" fmla="*/ 266 w 616"/>
              <a:gd name="T35" fmla="*/ 337 h 655"/>
              <a:gd name="T36" fmla="*/ 230 w 616"/>
              <a:gd name="T37" fmla="*/ 278 h 655"/>
              <a:gd name="T38" fmla="*/ 248 w 616"/>
              <a:gd name="T39" fmla="*/ 261 h 655"/>
              <a:gd name="T40" fmla="*/ 248 w 616"/>
              <a:gd name="T41" fmla="*/ 92 h 655"/>
              <a:gd name="T42" fmla="*/ 178 w 616"/>
              <a:gd name="T43" fmla="*/ 0 h 655"/>
              <a:gd name="T44" fmla="*/ 61 w 616"/>
              <a:gd name="T45" fmla="*/ 0 h 655"/>
              <a:gd name="T46" fmla="*/ 0 w 616"/>
              <a:gd name="T47" fmla="*/ 69 h 655"/>
              <a:gd name="T48" fmla="*/ 0 w 616"/>
              <a:gd name="T49" fmla="*/ 69 h 65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6"/>
              <a:gd name="T76" fmla="*/ 0 h 655"/>
              <a:gd name="T77" fmla="*/ 616 w 616"/>
              <a:gd name="T78" fmla="*/ 655 h 65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6" h="655">
                <a:moveTo>
                  <a:pt x="0" y="69"/>
                </a:moveTo>
                <a:lnTo>
                  <a:pt x="114" y="128"/>
                </a:lnTo>
                <a:lnTo>
                  <a:pt x="156" y="185"/>
                </a:lnTo>
                <a:lnTo>
                  <a:pt x="139" y="223"/>
                </a:lnTo>
                <a:lnTo>
                  <a:pt x="156" y="280"/>
                </a:lnTo>
                <a:lnTo>
                  <a:pt x="194" y="310"/>
                </a:lnTo>
                <a:lnTo>
                  <a:pt x="180" y="370"/>
                </a:lnTo>
                <a:lnTo>
                  <a:pt x="169" y="432"/>
                </a:lnTo>
                <a:lnTo>
                  <a:pt x="175" y="579"/>
                </a:lnTo>
                <a:lnTo>
                  <a:pt x="215" y="565"/>
                </a:lnTo>
                <a:lnTo>
                  <a:pt x="253" y="655"/>
                </a:lnTo>
                <a:lnTo>
                  <a:pt x="508" y="603"/>
                </a:lnTo>
                <a:lnTo>
                  <a:pt x="616" y="544"/>
                </a:lnTo>
                <a:lnTo>
                  <a:pt x="570" y="499"/>
                </a:lnTo>
                <a:lnTo>
                  <a:pt x="359" y="424"/>
                </a:lnTo>
                <a:lnTo>
                  <a:pt x="338" y="370"/>
                </a:lnTo>
                <a:lnTo>
                  <a:pt x="338" y="350"/>
                </a:lnTo>
                <a:lnTo>
                  <a:pt x="266" y="337"/>
                </a:lnTo>
                <a:lnTo>
                  <a:pt x="230" y="278"/>
                </a:lnTo>
                <a:lnTo>
                  <a:pt x="248" y="261"/>
                </a:lnTo>
                <a:lnTo>
                  <a:pt x="248" y="92"/>
                </a:lnTo>
                <a:lnTo>
                  <a:pt x="178" y="0"/>
                </a:lnTo>
                <a:lnTo>
                  <a:pt x="61" y="0"/>
                </a:lnTo>
                <a:lnTo>
                  <a:pt x="0" y="69"/>
                </a:lnTo>
                <a:close/>
              </a:path>
            </a:pathLst>
          </a:custGeom>
          <a:solidFill>
            <a:schemeClr val="accent3"/>
          </a:solidFill>
          <a:ln w="12700">
            <a:solidFill>
              <a:schemeClr val="bg1"/>
            </a:solidFill>
            <a:round/>
            <a:headEnd/>
            <a:tailEnd/>
          </a:ln>
        </p:spPr>
        <p:txBody>
          <a:bodyPr/>
          <a:lstStyle/>
          <a:p>
            <a:pPr>
              <a:defRPr/>
            </a:pPr>
            <a:endParaRPr lang="nl-NL"/>
          </a:p>
        </p:txBody>
      </p:sp>
      <p:sp>
        <p:nvSpPr>
          <p:cNvPr id="74" name="Freeform 75"/>
          <p:cNvSpPr>
            <a:spLocks noChangeAspect="1"/>
          </p:cNvSpPr>
          <p:nvPr/>
        </p:nvSpPr>
        <p:spPr bwMode="auto">
          <a:xfrm>
            <a:off x="5673991" y="2040129"/>
            <a:ext cx="488431" cy="448743"/>
          </a:xfrm>
          <a:custGeom>
            <a:avLst/>
            <a:gdLst>
              <a:gd name="T0" fmla="*/ 18 w 564"/>
              <a:gd name="T1" fmla="*/ 25 h 479"/>
              <a:gd name="T2" fmla="*/ 18 w 564"/>
              <a:gd name="T3" fmla="*/ 194 h 479"/>
              <a:gd name="T4" fmla="*/ 0 w 564"/>
              <a:gd name="T5" fmla="*/ 212 h 479"/>
              <a:gd name="T6" fmla="*/ 34 w 564"/>
              <a:gd name="T7" fmla="*/ 274 h 479"/>
              <a:gd name="T8" fmla="*/ 108 w 564"/>
              <a:gd name="T9" fmla="*/ 285 h 479"/>
              <a:gd name="T10" fmla="*/ 108 w 564"/>
              <a:gd name="T11" fmla="*/ 309 h 479"/>
              <a:gd name="T12" fmla="*/ 129 w 564"/>
              <a:gd name="T13" fmla="*/ 362 h 479"/>
              <a:gd name="T14" fmla="*/ 340 w 564"/>
              <a:gd name="T15" fmla="*/ 434 h 479"/>
              <a:gd name="T16" fmla="*/ 382 w 564"/>
              <a:gd name="T17" fmla="*/ 479 h 479"/>
              <a:gd name="T18" fmla="*/ 433 w 564"/>
              <a:gd name="T19" fmla="*/ 441 h 479"/>
              <a:gd name="T20" fmla="*/ 442 w 564"/>
              <a:gd name="T21" fmla="*/ 347 h 479"/>
              <a:gd name="T22" fmla="*/ 374 w 564"/>
              <a:gd name="T23" fmla="*/ 303 h 479"/>
              <a:gd name="T24" fmla="*/ 327 w 564"/>
              <a:gd name="T25" fmla="*/ 294 h 479"/>
              <a:gd name="T26" fmla="*/ 354 w 564"/>
              <a:gd name="T27" fmla="*/ 223 h 479"/>
              <a:gd name="T28" fmla="*/ 453 w 564"/>
              <a:gd name="T29" fmla="*/ 257 h 479"/>
              <a:gd name="T30" fmla="*/ 514 w 564"/>
              <a:gd name="T31" fmla="*/ 256 h 479"/>
              <a:gd name="T32" fmla="*/ 564 w 564"/>
              <a:gd name="T33" fmla="*/ 204 h 479"/>
              <a:gd name="T34" fmla="*/ 412 w 564"/>
              <a:gd name="T35" fmla="*/ 128 h 479"/>
              <a:gd name="T36" fmla="*/ 274 w 564"/>
              <a:gd name="T37" fmla="*/ 177 h 479"/>
              <a:gd name="T38" fmla="*/ 245 w 564"/>
              <a:gd name="T39" fmla="*/ 93 h 479"/>
              <a:gd name="T40" fmla="*/ 106 w 564"/>
              <a:gd name="T41" fmla="*/ 0 h 479"/>
              <a:gd name="T42" fmla="*/ 18 w 564"/>
              <a:gd name="T43" fmla="*/ 25 h 479"/>
              <a:gd name="T44" fmla="*/ 18 w 564"/>
              <a:gd name="T45" fmla="*/ 25 h 47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64"/>
              <a:gd name="T70" fmla="*/ 0 h 479"/>
              <a:gd name="T71" fmla="*/ 564 w 564"/>
              <a:gd name="T72" fmla="*/ 479 h 47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64" h="479">
                <a:moveTo>
                  <a:pt x="18" y="25"/>
                </a:moveTo>
                <a:lnTo>
                  <a:pt x="18" y="194"/>
                </a:lnTo>
                <a:lnTo>
                  <a:pt x="0" y="212"/>
                </a:lnTo>
                <a:lnTo>
                  <a:pt x="34" y="274"/>
                </a:lnTo>
                <a:lnTo>
                  <a:pt x="108" y="285"/>
                </a:lnTo>
                <a:lnTo>
                  <a:pt x="108" y="309"/>
                </a:lnTo>
                <a:lnTo>
                  <a:pt x="129" y="362"/>
                </a:lnTo>
                <a:lnTo>
                  <a:pt x="340" y="434"/>
                </a:lnTo>
                <a:lnTo>
                  <a:pt x="382" y="479"/>
                </a:lnTo>
                <a:lnTo>
                  <a:pt x="433" y="441"/>
                </a:lnTo>
                <a:lnTo>
                  <a:pt x="442" y="347"/>
                </a:lnTo>
                <a:lnTo>
                  <a:pt x="374" y="303"/>
                </a:lnTo>
                <a:lnTo>
                  <a:pt x="327" y="294"/>
                </a:lnTo>
                <a:lnTo>
                  <a:pt x="354" y="223"/>
                </a:lnTo>
                <a:lnTo>
                  <a:pt x="453" y="257"/>
                </a:lnTo>
                <a:lnTo>
                  <a:pt x="514" y="256"/>
                </a:lnTo>
                <a:lnTo>
                  <a:pt x="564" y="204"/>
                </a:lnTo>
                <a:lnTo>
                  <a:pt x="412" y="128"/>
                </a:lnTo>
                <a:lnTo>
                  <a:pt x="274" y="177"/>
                </a:lnTo>
                <a:lnTo>
                  <a:pt x="245" y="93"/>
                </a:lnTo>
                <a:lnTo>
                  <a:pt x="106" y="0"/>
                </a:lnTo>
                <a:lnTo>
                  <a:pt x="18" y="25"/>
                </a:lnTo>
                <a:close/>
              </a:path>
            </a:pathLst>
          </a:custGeom>
          <a:solidFill>
            <a:schemeClr val="accent3"/>
          </a:solidFill>
          <a:ln w="12700">
            <a:solidFill>
              <a:schemeClr val="bg1"/>
            </a:solidFill>
            <a:round/>
            <a:headEnd/>
            <a:tailEnd/>
          </a:ln>
        </p:spPr>
        <p:txBody>
          <a:bodyPr/>
          <a:lstStyle/>
          <a:p>
            <a:pPr>
              <a:defRPr/>
            </a:pPr>
            <a:endParaRPr lang="nl-NL"/>
          </a:p>
        </p:txBody>
      </p:sp>
      <p:sp>
        <p:nvSpPr>
          <p:cNvPr id="75" name="Freeform 76"/>
          <p:cNvSpPr>
            <a:spLocks noChangeAspect="1"/>
          </p:cNvSpPr>
          <p:nvPr/>
        </p:nvSpPr>
        <p:spPr bwMode="auto">
          <a:xfrm>
            <a:off x="5957040" y="2230844"/>
            <a:ext cx="343455" cy="456222"/>
          </a:xfrm>
          <a:custGeom>
            <a:avLst/>
            <a:gdLst>
              <a:gd name="T0" fmla="*/ 235 w 397"/>
              <a:gd name="T1" fmla="*/ 0 h 487"/>
              <a:gd name="T2" fmla="*/ 188 w 397"/>
              <a:gd name="T3" fmla="*/ 49 h 487"/>
              <a:gd name="T4" fmla="*/ 126 w 397"/>
              <a:gd name="T5" fmla="*/ 53 h 487"/>
              <a:gd name="T6" fmla="*/ 27 w 397"/>
              <a:gd name="T7" fmla="*/ 19 h 487"/>
              <a:gd name="T8" fmla="*/ 0 w 397"/>
              <a:gd name="T9" fmla="*/ 90 h 487"/>
              <a:gd name="T10" fmla="*/ 45 w 397"/>
              <a:gd name="T11" fmla="*/ 99 h 487"/>
              <a:gd name="T12" fmla="*/ 114 w 397"/>
              <a:gd name="T13" fmla="*/ 143 h 487"/>
              <a:gd name="T14" fmla="*/ 105 w 397"/>
              <a:gd name="T15" fmla="*/ 237 h 487"/>
              <a:gd name="T16" fmla="*/ 56 w 397"/>
              <a:gd name="T17" fmla="*/ 275 h 487"/>
              <a:gd name="T18" fmla="*/ 59 w 397"/>
              <a:gd name="T19" fmla="*/ 329 h 487"/>
              <a:gd name="T20" fmla="*/ 97 w 397"/>
              <a:gd name="T21" fmla="*/ 365 h 487"/>
              <a:gd name="T22" fmla="*/ 229 w 397"/>
              <a:gd name="T23" fmla="*/ 487 h 487"/>
              <a:gd name="T24" fmla="*/ 270 w 397"/>
              <a:gd name="T25" fmla="*/ 231 h 487"/>
              <a:gd name="T26" fmla="*/ 397 w 397"/>
              <a:gd name="T27" fmla="*/ 76 h 487"/>
              <a:gd name="T28" fmla="*/ 351 w 397"/>
              <a:gd name="T29" fmla="*/ 0 h 487"/>
              <a:gd name="T30" fmla="*/ 235 w 397"/>
              <a:gd name="T31" fmla="*/ 0 h 487"/>
              <a:gd name="T32" fmla="*/ 235 w 397"/>
              <a:gd name="T33" fmla="*/ 0 h 48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7"/>
              <a:gd name="T52" fmla="*/ 0 h 487"/>
              <a:gd name="T53" fmla="*/ 397 w 397"/>
              <a:gd name="T54" fmla="*/ 487 h 48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7" h="487">
                <a:moveTo>
                  <a:pt x="235" y="0"/>
                </a:moveTo>
                <a:lnTo>
                  <a:pt x="188" y="49"/>
                </a:lnTo>
                <a:lnTo>
                  <a:pt x="126" y="53"/>
                </a:lnTo>
                <a:lnTo>
                  <a:pt x="27" y="19"/>
                </a:lnTo>
                <a:lnTo>
                  <a:pt x="0" y="90"/>
                </a:lnTo>
                <a:lnTo>
                  <a:pt x="45" y="99"/>
                </a:lnTo>
                <a:lnTo>
                  <a:pt x="114" y="143"/>
                </a:lnTo>
                <a:lnTo>
                  <a:pt x="105" y="237"/>
                </a:lnTo>
                <a:lnTo>
                  <a:pt x="56" y="275"/>
                </a:lnTo>
                <a:lnTo>
                  <a:pt x="59" y="329"/>
                </a:lnTo>
                <a:lnTo>
                  <a:pt x="97" y="365"/>
                </a:lnTo>
                <a:lnTo>
                  <a:pt x="229" y="487"/>
                </a:lnTo>
                <a:lnTo>
                  <a:pt x="270" y="231"/>
                </a:lnTo>
                <a:lnTo>
                  <a:pt x="397" y="76"/>
                </a:lnTo>
                <a:lnTo>
                  <a:pt x="351" y="0"/>
                </a:lnTo>
                <a:lnTo>
                  <a:pt x="235" y="0"/>
                </a:lnTo>
                <a:close/>
              </a:path>
            </a:pathLst>
          </a:custGeom>
          <a:solidFill>
            <a:schemeClr val="accent3"/>
          </a:solidFill>
          <a:ln w="12700">
            <a:solidFill>
              <a:schemeClr val="bg1"/>
            </a:solidFill>
            <a:round/>
            <a:headEnd/>
            <a:tailEnd/>
          </a:ln>
        </p:spPr>
        <p:txBody>
          <a:bodyPr/>
          <a:lstStyle/>
          <a:p>
            <a:pPr>
              <a:defRPr/>
            </a:pPr>
            <a:endParaRPr lang="nl-NL"/>
          </a:p>
        </p:txBody>
      </p:sp>
      <p:sp>
        <p:nvSpPr>
          <p:cNvPr id="76" name="Freeform 77"/>
          <p:cNvSpPr>
            <a:spLocks noChangeAspect="1"/>
          </p:cNvSpPr>
          <p:nvPr/>
        </p:nvSpPr>
        <p:spPr bwMode="auto">
          <a:xfrm>
            <a:off x="5950136" y="2573011"/>
            <a:ext cx="226094" cy="381432"/>
          </a:xfrm>
          <a:custGeom>
            <a:avLst/>
            <a:gdLst>
              <a:gd name="T0" fmla="*/ 242 w 263"/>
              <a:gd name="T1" fmla="*/ 122 h 409"/>
              <a:gd name="T2" fmla="*/ 101 w 263"/>
              <a:gd name="T3" fmla="*/ 0 h 409"/>
              <a:gd name="T4" fmla="*/ 50 w 263"/>
              <a:gd name="T5" fmla="*/ 79 h 409"/>
              <a:gd name="T6" fmla="*/ 0 w 263"/>
              <a:gd name="T7" fmla="*/ 249 h 409"/>
              <a:gd name="T8" fmla="*/ 63 w 263"/>
              <a:gd name="T9" fmla="*/ 287 h 409"/>
              <a:gd name="T10" fmla="*/ 107 w 263"/>
              <a:gd name="T11" fmla="*/ 374 h 409"/>
              <a:gd name="T12" fmla="*/ 199 w 263"/>
              <a:gd name="T13" fmla="*/ 409 h 409"/>
              <a:gd name="T14" fmla="*/ 263 w 263"/>
              <a:gd name="T15" fmla="*/ 312 h 409"/>
              <a:gd name="T16" fmla="*/ 233 w 263"/>
              <a:gd name="T17" fmla="*/ 167 h 409"/>
              <a:gd name="T18" fmla="*/ 242 w 263"/>
              <a:gd name="T19" fmla="*/ 122 h 409"/>
              <a:gd name="T20" fmla="*/ 242 w 263"/>
              <a:gd name="T21" fmla="*/ 122 h 4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3"/>
              <a:gd name="T34" fmla="*/ 0 h 409"/>
              <a:gd name="T35" fmla="*/ 263 w 263"/>
              <a:gd name="T36" fmla="*/ 409 h 4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3" h="409">
                <a:moveTo>
                  <a:pt x="242" y="122"/>
                </a:moveTo>
                <a:lnTo>
                  <a:pt x="101" y="0"/>
                </a:lnTo>
                <a:lnTo>
                  <a:pt x="50" y="79"/>
                </a:lnTo>
                <a:lnTo>
                  <a:pt x="0" y="249"/>
                </a:lnTo>
                <a:lnTo>
                  <a:pt x="63" y="287"/>
                </a:lnTo>
                <a:lnTo>
                  <a:pt x="107" y="374"/>
                </a:lnTo>
                <a:lnTo>
                  <a:pt x="199" y="409"/>
                </a:lnTo>
                <a:lnTo>
                  <a:pt x="263" y="312"/>
                </a:lnTo>
                <a:lnTo>
                  <a:pt x="233" y="167"/>
                </a:lnTo>
                <a:lnTo>
                  <a:pt x="242" y="122"/>
                </a:lnTo>
                <a:close/>
              </a:path>
            </a:pathLst>
          </a:custGeom>
          <a:solidFill>
            <a:schemeClr val="accent3"/>
          </a:solidFill>
          <a:ln w="12700">
            <a:solidFill>
              <a:schemeClr val="bg1"/>
            </a:solidFill>
            <a:round/>
            <a:headEnd/>
            <a:tailEnd/>
          </a:ln>
        </p:spPr>
        <p:txBody>
          <a:bodyPr/>
          <a:lstStyle/>
          <a:p>
            <a:pPr>
              <a:defRPr/>
            </a:pPr>
            <a:endParaRPr lang="nl-NL"/>
          </a:p>
        </p:txBody>
      </p:sp>
      <p:sp>
        <p:nvSpPr>
          <p:cNvPr id="77" name="Freeform 78"/>
          <p:cNvSpPr>
            <a:spLocks noChangeAspect="1"/>
          </p:cNvSpPr>
          <p:nvPr/>
        </p:nvSpPr>
        <p:spPr bwMode="auto">
          <a:xfrm>
            <a:off x="5542822" y="2488872"/>
            <a:ext cx="497061" cy="315990"/>
          </a:xfrm>
          <a:custGeom>
            <a:avLst/>
            <a:gdLst>
              <a:gd name="T0" fmla="*/ 538 w 576"/>
              <a:gd name="T1" fmla="*/ 0 h 339"/>
              <a:gd name="T2" fmla="*/ 538 w 576"/>
              <a:gd name="T3" fmla="*/ 54 h 339"/>
              <a:gd name="T4" fmla="*/ 576 w 576"/>
              <a:gd name="T5" fmla="*/ 90 h 339"/>
              <a:gd name="T6" fmla="*/ 524 w 576"/>
              <a:gd name="T7" fmla="*/ 166 h 339"/>
              <a:gd name="T8" fmla="*/ 521 w 576"/>
              <a:gd name="T9" fmla="*/ 169 h 339"/>
              <a:gd name="T10" fmla="*/ 473 w 576"/>
              <a:gd name="T11" fmla="*/ 339 h 339"/>
              <a:gd name="T12" fmla="*/ 394 w 576"/>
              <a:gd name="T13" fmla="*/ 293 h 339"/>
              <a:gd name="T14" fmla="*/ 340 w 576"/>
              <a:gd name="T15" fmla="*/ 286 h 339"/>
              <a:gd name="T16" fmla="*/ 245 w 576"/>
              <a:gd name="T17" fmla="*/ 286 h 339"/>
              <a:gd name="T18" fmla="*/ 226 w 576"/>
              <a:gd name="T19" fmla="*/ 259 h 339"/>
              <a:gd name="T20" fmla="*/ 117 w 576"/>
              <a:gd name="T21" fmla="*/ 295 h 339"/>
              <a:gd name="T22" fmla="*/ 112 w 576"/>
              <a:gd name="T23" fmla="*/ 244 h 339"/>
              <a:gd name="T24" fmla="*/ 68 w 576"/>
              <a:gd name="T25" fmla="*/ 222 h 339"/>
              <a:gd name="T26" fmla="*/ 74 w 576"/>
              <a:gd name="T27" fmla="*/ 157 h 339"/>
              <a:gd name="T28" fmla="*/ 30 w 576"/>
              <a:gd name="T29" fmla="*/ 114 h 339"/>
              <a:gd name="T30" fmla="*/ 2 w 576"/>
              <a:gd name="T31" fmla="*/ 114 h 339"/>
              <a:gd name="T32" fmla="*/ 0 w 576"/>
              <a:gd name="T33" fmla="*/ 75 h 339"/>
              <a:gd name="T34" fmla="*/ 138 w 576"/>
              <a:gd name="T35" fmla="*/ 17 h 339"/>
              <a:gd name="T36" fmla="*/ 178 w 576"/>
              <a:gd name="T37" fmla="*/ 113 h 339"/>
              <a:gd name="T38" fmla="*/ 436 w 576"/>
              <a:gd name="T39" fmla="*/ 54 h 339"/>
              <a:gd name="T40" fmla="*/ 538 w 576"/>
              <a:gd name="T41" fmla="*/ 0 h 339"/>
              <a:gd name="T42" fmla="*/ 538 w 576"/>
              <a:gd name="T43" fmla="*/ 0 h 3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76"/>
              <a:gd name="T67" fmla="*/ 0 h 339"/>
              <a:gd name="T68" fmla="*/ 576 w 576"/>
              <a:gd name="T69" fmla="*/ 339 h 3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76" h="339">
                <a:moveTo>
                  <a:pt x="538" y="0"/>
                </a:moveTo>
                <a:lnTo>
                  <a:pt x="538" y="54"/>
                </a:lnTo>
                <a:lnTo>
                  <a:pt x="576" y="90"/>
                </a:lnTo>
                <a:lnTo>
                  <a:pt x="524" y="166"/>
                </a:lnTo>
                <a:lnTo>
                  <a:pt x="521" y="169"/>
                </a:lnTo>
                <a:lnTo>
                  <a:pt x="473" y="339"/>
                </a:lnTo>
                <a:lnTo>
                  <a:pt x="394" y="293"/>
                </a:lnTo>
                <a:lnTo>
                  <a:pt x="340" y="286"/>
                </a:lnTo>
                <a:lnTo>
                  <a:pt x="245" y="286"/>
                </a:lnTo>
                <a:lnTo>
                  <a:pt x="226" y="259"/>
                </a:lnTo>
                <a:lnTo>
                  <a:pt x="117" y="295"/>
                </a:lnTo>
                <a:lnTo>
                  <a:pt x="112" y="244"/>
                </a:lnTo>
                <a:lnTo>
                  <a:pt x="68" y="222"/>
                </a:lnTo>
                <a:lnTo>
                  <a:pt x="74" y="157"/>
                </a:lnTo>
                <a:lnTo>
                  <a:pt x="30" y="114"/>
                </a:lnTo>
                <a:lnTo>
                  <a:pt x="2" y="114"/>
                </a:lnTo>
                <a:lnTo>
                  <a:pt x="0" y="75"/>
                </a:lnTo>
                <a:lnTo>
                  <a:pt x="138" y="17"/>
                </a:lnTo>
                <a:lnTo>
                  <a:pt x="178" y="113"/>
                </a:lnTo>
                <a:lnTo>
                  <a:pt x="436" y="54"/>
                </a:lnTo>
                <a:lnTo>
                  <a:pt x="538" y="0"/>
                </a:lnTo>
                <a:close/>
              </a:path>
            </a:pathLst>
          </a:custGeom>
          <a:solidFill>
            <a:schemeClr val="accent3"/>
          </a:solidFill>
          <a:ln w="12700">
            <a:solidFill>
              <a:schemeClr val="bg1"/>
            </a:solidFill>
            <a:round/>
            <a:headEnd/>
            <a:tailEnd/>
          </a:ln>
        </p:spPr>
        <p:txBody>
          <a:bodyPr/>
          <a:lstStyle/>
          <a:p>
            <a:pPr>
              <a:defRPr/>
            </a:pPr>
            <a:endParaRPr lang="nl-NL"/>
          </a:p>
        </p:txBody>
      </p:sp>
      <p:sp>
        <p:nvSpPr>
          <p:cNvPr id="78" name="Freeform 79"/>
          <p:cNvSpPr>
            <a:spLocks noChangeAspect="1"/>
          </p:cNvSpPr>
          <p:nvPr/>
        </p:nvSpPr>
        <p:spPr bwMode="auto">
          <a:xfrm>
            <a:off x="4384739" y="1694223"/>
            <a:ext cx="500513" cy="345906"/>
          </a:xfrm>
          <a:custGeom>
            <a:avLst/>
            <a:gdLst>
              <a:gd name="T0" fmla="*/ 57 w 579"/>
              <a:gd name="T1" fmla="*/ 0 h 370"/>
              <a:gd name="T2" fmla="*/ 57 w 579"/>
              <a:gd name="T3" fmla="*/ 39 h 370"/>
              <a:gd name="T4" fmla="*/ 122 w 579"/>
              <a:gd name="T5" fmla="*/ 108 h 370"/>
              <a:gd name="T6" fmla="*/ 37 w 579"/>
              <a:gd name="T7" fmla="*/ 79 h 370"/>
              <a:gd name="T8" fmla="*/ 0 w 579"/>
              <a:gd name="T9" fmla="*/ 156 h 370"/>
              <a:gd name="T10" fmla="*/ 44 w 579"/>
              <a:gd name="T11" fmla="*/ 156 h 370"/>
              <a:gd name="T12" fmla="*/ 118 w 579"/>
              <a:gd name="T13" fmla="*/ 235 h 370"/>
              <a:gd name="T14" fmla="*/ 124 w 579"/>
              <a:gd name="T15" fmla="*/ 305 h 370"/>
              <a:gd name="T16" fmla="*/ 189 w 579"/>
              <a:gd name="T17" fmla="*/ 336 h 370"/>
              <a:gd name="T18" fmla="*/ 311 w 579"/>
              <a:gd name="T19" fmla="*/ 336 h 370"/>
              <a:gd name="T20" fmla="*/ 402 w 579"/>
              <a:gd name="T21" fmla="*/ 370 h 370"/>
              <a:gd name="T22" fmla="*/ 484 w 579"/>
              <a:gd name="T23" fmla="*/ 325 h 370"/>
              <a:gd name="T24" fmla="*/ 565 w 579"/>
              <a:gd name="T25" fmla="*/ 332 h 370"/>
              <a:gd name="T26" fmla="*/ 550 w 579"/>
              <a:gd name="T27" fmla="*/ 245 h 370"/>
              <a:gd name="T28" fmla="*/ 579 w 579"/>
              <a:gd name="T29" fmla="*/ 144 h 370"/>
              <a:gd name="T30" fmla="*/ 446 w 579"/>
              <a:gd name="T31" fmla="*/ 144 h 370"/>
              <a:gd name="T32" fmla="*/ 446 w 579"/>
              <a:gd name="T33" fmla="*/ 114 h 370"/>
              <a:gd name="T34" fmla="*/ 357 w 579"/>
              <a:gd name="T35" fmla="*/ 114 h 370"/>
              <a:gd name="T36" fmla="*/ 357 w 579"/>
              <a:gd name="T37" fmla="*/ 70 h 370"/>
              <a:gd name="T38" fmla="*/ 246 w 579"/>
              <a:gd name="T39" fmla="*/ 70 h 370"/>
              <a:gd name="T40" fmla="*/ 189 w 579"/>
              <a:gd name="T41" fmla="*/ 7 h 370"/>
              <a:gd name="T42" fmla="*/ 57 w 579"/>
              <a:gd name="T43" fmla="*/ 0 h 370"/>
              <a:gd name="T44" fmla="*/ 57 w 579"/>
              <a:gd name="T45" fmla="*/ 0 h 3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79"/>
              <a:gd name="T70" fmla="*/ 0 h 370"/>
              <a:gd name="T71" fmla="*/ 579 w 579"/>
              <a:gd name="T72" fmla="*/ 370 h 37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79" h="370">
                <a:moveTo>
                  <a:pt x="57" y="0"/>
                </a:moveTo>
                <a:lnTo>
                  <a:pt x="57" y="39"/>
                </a:lnTo>
                <a:lnTo>
                  <a:pt x="122" y="108"/>
                </a:lnTo>
                <a:lnTo>
                  <a:pt x="37" y="79"/>
                </a:lnTo>
                <a:lnTo>
                  <a:pt x="0" y="156"/>
                </a:lnTo>
                <a:lnTo>
                  <a:pt x="44" y="156"/>
                </a:lnTo>
                <a:lnTo>
                  <a:pt x="118" y="235"/>
                </a:lnTo>
                <a:lnTo>
                  <a:pt x="124" y="305"/>
                </a:lnTo>
                <a:lnTo>
                  <a:pt x="189" y="336"/>
                </a:lnTo>
                <a:lnTo>
                  <a:pt x="311" y="336"/>
                </a:lnTo>
                <a:lnTo>
                  <a:pt x="402" y="370"/>
                </a:lnTo>
                <a:lnTo>
                  <a:pt x="484" y="325"/>
                </a:lnTo>
                <a:lnTo>
                  <a:pt x="565" y="332"/>
                </a:lnTo>
                <a:lnTo>
                  <a:pt x="550" y="245"/>
                </a:lnTo>
                <a:lnTo>
                  <a:pt x="579" y="144"/>
                </a:lnTo>
                <a:lnTo>
                  <a:pt x="446" y="144"/>
                </a:lnTo>
                <a:lnTo>
                  <a:pt x="446" y="114"/>
                </a:lnTo>
                <a:lnTo>
                  <a:pt x="357" y="114"/>
                </a:lnTo>
                <a:lnTo>
                  <a:pt x="357" y="70"/>
                </a:lnTo>
                <a:lnTo>
                  <a:pt x="246" y="70"/>
                </a:lnTo>
                <a:lnTo>
                  <a:pt x="189" y="7"/>
                </a:lnTo>
                <a:lnTo>
                  <a:pt x="57" y="0"/>
                </a:lnTo>
                <a:close/>
              </a:path>
            </a:pathLst>
          </a:custGeom>
          <a:solidFill>
            <a:schemeClr val="accent3"/>
          </a:solidFill>
          <a:ln w="12700">
            <a:solidFill>
              <a:schemeClr val="bg1"/>
            </a:solidFill>
            <a:round/>
            <a:headEnd/>
            <a:tailEnd/>
          </a:ln>
        </p:spPr>
        <p:txBody>
          <a:bodyPr/>
          <a:lstStyle/>
          <a:p>
            <a:pPr>
              <a:defRPr/>
            </a:pPr>
            <a:endParaRPr lang="nl-NL"/>
          </a:p>
        </p:txBody>
      </p:sp>
      <p:sp>
        <p:nvSpPr>
          <p:cNvPr id="79" name="Freeform 80"/>
          <p:cNvSpPr>
            <a:spLocks noChangeAspect="1"/>
          </p:cNvSpPr>
          <p:nvPr/>
        </p:nvSpPr>
        <p:spPr bwMode="auto">
          <a:xfrm>
            <a:off x="4842104" y="1808278"/>
            <a:ext cx="333100" cy="574017"/>
          </a:xfrm>
          <a:custGeom>
            <a:avLst/>
            <a:gdLst>
              <a:gd name="T0" fmla="*/ 49 w 386"/>
              <a:gd name="T1" fmla="*/ 23 h 614"/>
              <a:gd name="T2" fmla="*/ 20 w 386"/>
              <a:gd name="T3" fmla="*/ 128 h 614"/>
              <a:gd name="T4" fmla="*/ 35 w 386"/>
              <a:gd name="T5" fmla="*/ 211 h 614"/>
              <a:gd name="T6" fmla="*/ 45 w 386"/>
              <a:gd name="T7" fmla="*/ 316 h 614"/>
              <a:gd name="T8" fmla="*/ 0 w 386"/>
              <a:gd name="T9" fmla="*/ 388 h 614"/>
              <a:gd name="T10" fmla="*/ 12 w 386"/>
              <a:gd name="T11" fmla="*/ 426 h 614"/>
              <a:gd name="T12" fmla="*/ 5 w 386"/>
              <a:gd name="T13" fmla="*/ 453 h 614"/>
              <a:gd name="T14" fmla="*/ 73 w 386"/>
              <a:gd name="T15" fmla="*/ 561 h 614"/>
              <a:gd name="T16" fmla="*/ 163 w 386"/>
              <a:gd name="T17" fmla="*/ 614 h 614"/>
              <a:gd name="T18" fmla="*/ 231 w 386"/>
              <a:gd name="T19" fmla="*/ 532 h 614"/>
              <a:gd name="T20" fmla="*/ 185 w 386"/>
              <a:gd name="T21" fmla="*/ 506 h 614"/>
              <a:gd name="T22" fmla="*/ 252 w 386"/>
              <a:gd name="T23" fmla="*/ 468 h 614"/>
              <a:gd name="T24" fmla="*/ 214 w 386"/>
              <a:gd name="T25" fmla="*/ 396 h 614"/>
              <a:gd name="T26" fmla="*/ 290 w 386"/>
              <a:gd name="T27" fmla="*/ 348 h 614"/>
              <a:gd name="T28" fmla="*/ 337 w 386"/>
              <a:gd name="T29" fmla="*/ 335 h 614"/>
              <a:gd name="T30" fmla="*/ 337 w 386"/>
              <a:gd name="T31" fmla="*/ 228 h 614"/>
              <a:gd name="T32" fmla="*/ 386 w 386"/>
              <a:gd name="T33" fmla="*/ 154 h 614"/>
              <a:gd name="T34" fmla="*/ 386 w 386"/>
              <a:gd name="T35" fmla="*/ 40 h 614"/>
              <a:gd name="T36" fmla="*/ 225 w 386"/>
              <a:gd name="T37" fmla="*/ 0 h 614"/>
              <a:gd name="T38" fmla="*/ 190 w 386"/>
              <a:gd name="T39" fmla="*/ 25 h 614"/>
              <a:gd name="T40" fmla="*/ 49 w 386"/>
              <a:gd name="T41" fmla="*/ 23 h 614"/>
              <a:gd name="T42" fmla="*/ 49 w 386"/>
              <a:gd name="T43" fmla="*/ 23 h 6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86"/>
              <a:gd name="T67" fmla="*/ 0 h 614"/>
              <a:gd name="T68" fmla="*/ 386 w 386"/>
              <a:gd name="T69" fmla="*/ 614 h 6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86" h="614">
                <a:moveTo>
                  <a:pt x="49" y="23"/>
                </a:moveTo>
                <a:lnTo>
                  <a:pt x="20" y="128"/>
                </a:lnTo>
                <a:lnTo>
                  <a:pt x="35" y="211"/>
                </a:lnTo>
                <a:lnTo>
                  <a:pt x="45" y="316"/>
                </a:lnTo>
                <a:lnTo>
                  <a:pt x="0" y="388"/>
                </a:lnTo>
                <a:lnTo>
                  <a:pt x="12" y="426"/>
                </a:lnTo>
                <a:lnTo>
                  <a:pt x="5" y="453"/>
                </a:lnTo>
                <a:lnTo>
                  <a:pt x="73" y="561"/>
                </a:lnTo>
                <a:lnTo>
                  <a:pt x="163" y="614"/>
                </a:lnTo>
                <a:lnTo>
                  <a:pt x="231" y="532"/>
                </a:lnTo>
                <a:lnTo>
                  <a:pt x="185" y="506"/>
                </a:lnTo>
                <a:lnTo>
                  <a:pt x="252" y="468"/>
                </a:lnTo>
                <a:lnTo>
                  <a:pt x="214" y="396"/>
                </a:lnTo>
                <a:lnTo>
                  <a:pt x="290" y="348"/>
                </a:lnTo>
                <a:lnTo>
                  <a:pt x="337" y="335"/>
                </a:lnTo>
                <a:lnTo>
                  <a:pt x="337" y="228"/>
                </a:lnTo>
                <a:lnTo>
                  <a:pt x="386" y="154"/>
                </a:lnTo>
                <a:lnTo>
                  <a:pt x="386" y="40"/>
                </a:lnTo>
                <a:lnTo>
                  <a:pt x="225" y="0"/>
                </a:lnTo>
                <a:lnTo>
                  <a:pt x="190" y="25"/>
                </a:lnTo>
                <a:lnTo>
                  <a:pt x="49" y="23"/>
                </a:lnTo>
                <a:close/>
              </a:path>
            </a:pathLst>
          </a:custGeom>
          <a:solidFill>
            <a:schemeClr val="accent3"/>
          </a:solidFill>
          <a:ln w="12700">
            <a:solidFill>
              <a:schemeClr val="bg1"/>
            </a:solidFill>
            <a:round/>
            <a:headEnd/>
            <a:tailEnd/>
          </a:ln>
        </p:spPr>
        <p:txBody>
          <a:bodyPr/>
          <a:lstStyle/>
          <a:p>
            <a:pPr>
              <a:defRPr/>
            </a:pPr>
            <a:endParaRPr lang="nl-NL"/>
          </a:p>
        </p:txBody>
      </p:sp>
      <p:sp>
        <p:nvSpPr>
          <p:cNvPr id="80" name="Freeform 81"/>
          <p:cNvSpPr>
            <a:spLocks noChangeAspect="1"/>
          </p:cNvSpPr>
          <p:nvPr/>
        </p:nvSpPr>
        <p:spPr bwMode="auto">
          <a:xfrm>
            <a:off x="4037832" y="1840064"/>
            <a:ext cx="472898" cy="370213"/>
          </a:xfrm>
          <a:custGeom>
            <a:avLst/>
            <a:gdLst>
              <a:gd name="T0" fmla="*/ 403 w 547"/>
              <a:gd name="T1" fmla="*/ 0 h 395"/>
              <a:gd name="T2" fmla="*/ 26 w 547"/>
              <a:gd name="T3" fmla="*/ 152 h 395"/>
              <a:gd name="T4" fmla="*/ 0 w 547"/>
              <a:gd name="T5" fmla="*/ 245 h 395"/>
              <a:gd name="T6" fmla="*/ 108 w 547"/>
              <a:gd name="T7" fmla="*/ 300 h 395"/>
              <a:gd name="T8" fmla="*/ 221 w 547"/>
              <a:gd name="T9" fmla="*/ 306 h 395"/>
              <a:gd name="T10" fmla="*/ 264 w 547"/>
              <a:gd name="T11" fmla="*/ 332 h 395"/>
              <a:gd name="T12" fmla="*/ 248 w 547"/>
              <a:gd name="T13" fmla="*/ 367 h 395"/>
              <a:gd name="T14" fmla="*/ 281 w 547"/>
              <a:gd name="T15" fmla="*/ 395 h 395"/>
              <a:gd name="T16" fmla="*/ 406 w 547"/>
              <a:gd name="T17" fmla="*/ 296 h 395"/>
              <a:gd name="T18" fmla="*/ 521 w 547"/>
              <a:gd name="T19" fmla="*/ 321 h 395"/>
              <a:gd name="T20" fmla="*/ 547 w 547"/>
              <a:gd name="T21" fmla="*/ 281 h 395"/>
              <a:gd name="T22" fmla="*/ 509 w 547"/>
              <a:gd name="T23" fmla="*/ 214 h 395"/>
              <a:gd name="T24" fmla="*/ 525 w 547"/>
              <a:gd name="T25" fmla="*/ 149 h 395"/>
              <a:gd name="T26" fmla="*/ 519 w 547"/>
              <a:gd name="T27" fmla="*/ 79 h 395"/>
              <a:gd name="T28" fmla="*/ 447 w 547"/>
              <a:gd name="T29" fmla="*/ 0 h 395"/>
              <a:gd name="T30" fmla="*/ 403 w 547"/>
              <a:gd name="T31" fmla="*/ 0 h 395"/>
              <a:gd name="T32" fmla="*/ 403 w 547"/>
              <a:gd name="T33" fmla="*/ 0 h 3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47"/>
              <a:gd name="T52" fmla="*/ 0 h 395"/>
              <a:gd name="T53" fmla="*/ 547 w 547"/>
              <a:gd name="T54" fmla="*/ 395 h 3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47" h="395">
                <a:moveTo>
                  <a:pt x="403" y="0"/>
                </a:moveTo>
                <a:lnTo>
                  <a:pt x="26" y="152"/>
                </a:lnTo>
                <a:lnTo>
                  <a:pt x="0" y="245"/>
                </a:lnTo>
                <a:lnTo>
                  <a:pt x="108" y="300"/>
                </a:lnTo>
                <a:lnTo>
                  <a:pt x="221" y="306"/>
                </a:lnTo>
                <a:lnTo>
                  <a:pt x="264" y="332"/>
                </a:lnTo>
                <a:lnTo>
                  <a:pt x="248" y="367"/>
                </a:lnTo>
                <a:lnTo>
                  <a:pt x="281" y="395"/>
                </a:lnTo>
                <a:lnTo>
                  <a:pt x="406" y="296"/>
                </a:lnTo>
                <a:lnTo>
                  <a:pt x="521" y="321"/>
                </a:lnTo>
                <a:lnTo>
                  <a:pt x="547" y="281"/>
                </a:lnTo>
                <a:lnTo>
                  <a:pt x="509" y="214"/>
                </a:lnTo>
                <a:lnTo>
                  <a:pt x="525" y="149"/>
                </a:lnTo>
                <a:lnTo>
                  <a:pt x="519" y="79"/>
                </a:lnTo>
                <a:lnTo>
                  <a:pt x="447" y="0"/>
                </a:lnTo>
                <a:lnTo>
                  <a:pt x="403" y="0"/>
                </a:lnTo>
                <a:close/>
              </a:path>
            </a:pathLst>
          </a:custGeom>
          <a:solidFill>
            <a:schemeClr val="accent3"/>
          </a:solidFill>
          <a:ln w="12700">
            <a:solidFill>
              <a:schemeClr val="bg1"/>
            </a:solidFill>
            <a:round/>
            <a:headEnd/>
            <a:tailEnd/>
          </a:ln>
        </p:spPr>
        <p:txBody>
          <a:bodyPr/>
          <a:lstStyle/>
          <a:p>
            <a:pPr>
              <a:defRPr/>
            </a:pPr>
            <a:endParaRPr lang="nl-NL"/>
          </a:p>
        </p:txBody>
      </p:sp>
      <p:sp>
        <p:nvSpPr>
          <p:cNvPr id="81" name="Freeform 82"/>
          <p:cNvSpPr>
            <a:spLocks noChangeAspect="1"/>
          </p:cNvSpPr>
          <p:nvPr/>
        </p:nvSpPr>
        <p:spPr bwMode="auto">
          <a:xfrm>
            <a:off x="4961192" y="2116789"/>
            <a:ext cx="460817" cy="411348"/>
          </a:xfrm>
          <a:custGeom>
            <a:avLst/>
            <a:gdLst>
              <a:gd name="T0" fmla="*/ 199 w 534"/>
              <a:gd name="T1" fmla="*/ 0 h 440"/>
              <a:gd name="T2" fmla="*/ 158 w 534"/>
              <a:gd name="T3" fmla="*/ 16 h 440"/>
              <a:gd name="T4" fmla="*/ 76 w 534"/>
              <a:gd name="T5" fmla="*/ 65 h 440"/>
              <a:gd name="T6" fmla="*/ 114 w 534"/>
              <a:gd name="T7" fmla="*/ 137 h 440"/>
              <a:gd name="T8" fmla="*/ 46 w 534"/>
              <a:gd name="T9" fmla="*/ 175 h 440"/>
              <a:gd name="T10" fmla="*/ 95 w 534"/>
              <a:gd name="T11" fmla="*/ 201 h 440"/>
              <a:gd name="T12" fmla="*/ 25 w 534"/>
              <a:gd name="T13" fmla="*/ 283 h 440"/>
              <a:gd name="T14" fmla="*/ 32 w 534"/>
              <a:gd name="T15" fmla="*/ 300 h 440"/>
              <a:gd name="T16" fmla="*/ 0 w 534"/>
              <a:gd name="T17" fmla="*/ 321 h 440"/>
              <a:gd name="T18" fmla="*/ 38 w 534"/>
              <a:gd name="T19" fmla="*/ 409 h 440"/>
              <a:gd name="T20" fmla="*/ 97 w 534"/>
              <a:gd name="T21" fmla="*/ 440 h 440"/>
              <a:gd name="T22" fmla="*/ 155 w 534"/>
              <a:gd name="T23" fmla="*/ 440 h 440"/>
              <a:gd name="T24" fmla="*/ 213 w 534"/>
              <a:gd name="T25" fmla="*/ 358 h 440"/>
              <a:gd name="T26" fmla="*/ 303 w 534"/>
              <a:gd name="T27" fmla="*/ 358 h 440"/>
              <a:gd name="T28" fmla="*/ 330 w 534"/>
              <a:gd name="T29" fmla="*/ 414 h 440"/>
              <a:gd name="T30" fmla="*/ 418 w 534"/>
              <a:gd name="T31" fmla="*/ 432 h 440"/>
              <a:gd name="T32" fmla="*/ 468 w 534"/>
              <a:gd name="T33" fmla="*/ 420 h 440"/>
              <a:gd name="T34" fmla="*/ 464 w 534"/>
              <a:gd name="T35" fmla="*/ 365 h 440"/>
              <a:gd name="T36" fmla="*/ 534 w 534"/>
              <a:gd name="T37" fmla="*/ 346 h 440"/>
              <a:gd name="T38" fmla="*/ 491 w 534"/>
              <a:gd name="T39" fmla="*/ 274 h 440"/>
              <a:gd name="T40" fmla="*/ 525 w 534"/>
              <a:gd name="T41" fmla="*/ 175 h 440"/>
              <a:gd name="T42" fmla="*/ 511 w 534"/>
              <a:gd name="T43" fmla="*/ 175 h 440"/>
              <a:gd name="T44" fmla="*/ 511 w 534"/>
              <a:gd name="T45" fmla="*/ 74 h 440"/>
              <a:gd name="T46" fmla="*/ 395 w 534"/>
              <a:gd name="T47" fmla="*/ 74 h 440"/>
              <a:gd name="T48" fmla="*/ 199 w 534"/>
              <a:gd name="T49" fmla="*/ 0 h 440"/>
              <a:gd name="T50" fmla="*/ 199 w 534"/>
              <a:gd name="T51" fmla="*/ 0 h 4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34"/>
              <a:gd name="T79" fmla="*/ 0 h 440"/>
              <a:gd name="T80" fmla="*/ 534 w 534"/>
              <a:gd name="T81" fmla="*/ 440 h 44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34" h="440">
                <a:moveTo>
                  <a:pt x="199" y="0"/>
                </a:moveTo>
                <a:lnTo>
                  <a:pt x="158" y="16"/>
                </a:lnTo>
                <a:lnTo>
                  <a:pt x="76" y="65"/>
                </a:lnTo>
                <a:lnTo>
                  <a:pt x="114" y="137"/>
                </a:lnTo>
                <a:lnTo>
                  <a:pt x="46" y="175"/>
                </a:lnTo>
                <a:lnTo>
                  <a:pt x="95" y="201"/>
                </a:lnTo>
                <a:lnTo>
                  <a:pt x="25" y="283"/>
                </a:lnTo>
                <a:lnTo>
                  <a:pt x="32" y="300"/>
                </a:lnTo>
                <a:lnTo>
                  <a:pt x="0" y="321"/>
                </a:lnTo>
                <a:lnTo>
                  <a:pt x="38" y="409"/>
                </a:lnTo>
                <a:lnTo>
                  <a:pt x="97" y="440"/>
                </a:lnTo>
                <a:lnTo>
                  <a:pt x="155" y="440"/>
                </a:lnTo>
                <a:lnTo>
                  <a:pt x="213" y="358"/>
                </a:lnTo>
                <a:lnTo>
                  <a:pt x="303" y="358"/>
                </a:lnTo>
                <a:lnTo>
                  <a:pt x="330" y="414"/>
                </a:lnTo>
                <a:lnTo>
                  <a:pt x="418" y="432"/>
                </a:lnTo>
                <a:lnTo>
                  <a:pt x="468" y="420"/>
                </a:lnTo>
                <a:lnTo>
                  <a:pt x="464" y="365"/>
                </a:lnTo>
                <a:lnTo>
                  <a:pt x="534" y="346"/>
                </a:lnTo>
                <a:lnTo>
                  <a:pt x="491" y="274"/>
                </a:lnTo>
                <a:lnTo>
                  <a:pt x="525" y="175"/>
                </a:lnTo>
                <a:lnTo>
                  <a:pt x="511" y="175"/>
                </a:lnTo>
                <a:lnTo>
                  <a:pt x="511" y="74"/>
                </a:lnTo>
                <a:lnTo>
                  <a:pt x="395" y="74"/>
                </a:lnTo>
                <a:lnTo>
                  <a:pt x="199" y="0"/>
                </a:lnTo>
                <a:close/>
              </a:path>
            </a:pathLst>
          </a:custGeom>
          <a:solidFill>
            <a:schemeClr val="accent3"/>
          </a:solidFill>
          <a:ln w="12700">
            <a:solidFill>
              <a:schemeClr val="bg1"/>
            </a:solidFill>
            <a:round/>
            <a:headEnd/>
            <a:tailEnd/>
          </a:ln>
        </p:spPr>
        <p:txBody>
          <a:bodyPr/>
          <a:lstStyle/>
          <a:p>
            <a:pPr>
              <a:defRPr/>
            </a:pPr>
            <a:endParaRPr lang="nl-NL"/>
          </a:p>
        </p:txBody>
      </p:sp>
      <p:sp>
        <p:nvSpPr>
          <p:cNvPr id="82" name="Freeform 83"/>
          <p:cNvSpPr>
            <a:spLocks noChangeAspect="1"/>
          </p:cNvSpPr>
          <p:nvPr/>
        </p:nvSpPr>
        <p:spPr bwMode="auto">
          <a:xfrm>
            <a:off x="5384039" y="2034519"/>
            <a:ext cx="260612" cy="523533"/>
          </a:xfrm>
          <a:custGeom>
            <a:avLst/>
            <a:gdLst>
              <a:gd name="T0" fmla="*/ 56 w 301"/>
              <a:gd name="T1" fmla="*/ 0 h 561"/>
              <a:gd name="T2" fmla="*/ 18 w 301"/>
              <a:gd name="T3" fmla="*/ 165 h 561"/>
              <a:gd name="T4" fmla="*/ 18 w 301"/>
              <a:gd name="T5" fmla="*/ 266 h 561"/>
              <a:gd name="T6" fmla="*/ 32 w 301"/>
              <a:gd name="T7" fmla="*/ 266 h 561"/>
              <a:gd name="T8" fmla="*/ 0 w 301"/>
              <a:gd name="T9" fmla="*/ 363 h 561"/>
              <a:gd name="T10" fmla="*/ 41 w 301"/>
              <a:gd name="T11" fmla="*/ 435 h 561"/>
              <a:gd name="T12" fmla="*/ 41 w 301"/>
              <a:gd name="T13" fmla="*/ 468 h 561"/>
              <a:gd name="T14" fmla="*/ 149 w 301"/>
              <a:gd name="T15" fmla="*/ 511 h 561"/>
              <a:gd name="T16" fmla="*/ 186 w 301"/>
              <a:gd name="T17" fmla="*/ 561 h 561"/>
              <a:gd name="T18" fmla="*/ 281 w 301"/>
              <a:gd name="T19" fmla="*/ 521 h 561"/>
              <a:gd name="T20" fmla="*/ 277 w 301"/>
              <a:gd name="T21" fmla="*/ 371 h 561"/>
              <a:gd name="T22" fmla="*/ 301 w 301"/>
              <a:gd name="T23" fmla="*/ 252 h 561"/>
              <a:gd name="T24" fmla="*/ 266 w 301"/>
              <a:gd name="T25" fmla="*/ 222 h 561"/>
              <a:gd name="T26" fmla="*/ 245 w 301"/>
              <a:gd name="T27" fmla="*/ 165 h 561"/>
              <a:gd name="T28" fmla="*/ 266 w 301"/>
              <a:gd name="T29" fmla="*/ 127 h 561"/>
              <a:gd name="T30" fmla="*/ 222 w 301"/>
              <a:gd name="T31" fmla="*/ 68 h 561"/>
              <a:gd name="T32" fmla="*/ 108 w 301"/>
              <a:gd name="T33" fmla="*/ 11 h 561"/>
              <a:gd name="T34" fmla="*/ 56 w 301"/>
              <a:gd name="T35" fmla="*/ 0 h 561"/>
              <a:gd name="T36" fmla="*/ 56 w 301"/>
              <a:gd name="T37" fmla="*/ 0 h 56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1"/>
              <a:gd name="T58" fmla="*/ 0 h 561"/>
              <a:gd name="T59" fmla="*/ 301 w 301"/>
              <a:gd name="T60" fmla="*/ 561 h 56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1" h="561">
                <a:moveTo>
                  <a:pt x="56" y="0"/>
                </a:moveTo>
                <a:lnTo>
                  <a:pt x="18" y="165"/>
                </a:lnTo>
                <a:lnTo>
                  <a:pt x="18" y="266"/>
                </a:lnTo>
                <a:lnTo>
                  <a:pt x="32" y="266"/>
                </a:lnTo>
                <a:lnTo>
                  <a:pt x="0" y="363"/>
                </a:lnTo>
                <a:lnTo>
                  <a:pt x="41" y="435"/>
                </a:lnTo>
                <a:lnTo>
                  <a:pt x="41" y="468"/>
                </a:lnTo>
                <a:lnTo>
                  <a:pt x="149" y="511"/>
                </a:lnTo>
                <a:lnTo>
                  <a:pt x="186" y="561"/>
                </a:lnTo>
                <a:lnTo>
                  <a:pt x="281" y="521"/>
                </a:lnTo>
                <a:lnTo>
                  <a:pt x="277" y="371"/>
                </a:lnTo>
                <a:lnTo>
                  <a:pt x="301" y="252"/>
                </a:lnTo>
                <a:lnTo>
                  <a:pt x="266" y="222"/>
                </a:lnTo>
                <a:lnTo>
                  <a:pt x="245" y="165"/>
                </a:lnTo>
                <a:lnTo>
                  <a:pt x="266" y="127"/>
                </a:lnTo>
                <a:lnTo>
                  <a:pt x="222" y="68"/>
                </a:lnTo>
                <a:lnTo>
                  <a:pt x="108" y="11"/>
                </a:lnTo>
                <a:lnTo>
                  <a:pt x="56" y="0"/>
                </a:lnTo>
                <a:close/>
              </a:path>
            </a:pathLst>
          </a:custGeom>
          <a:solidFill>
            <a:schemeClr val="accent3"/>
          </a:solidFill>
          <a:ln w="12700">
            <a:solidFill>
              <a:schemeClr val="bg1"/>
            </a:solidFill>
            <a:round/>
            <a:headEnd/>
            <a:tailEnd/>
          </a:ln>
        </p:spPr>
        <p:txBody>
          <a:bodyPr/>
          <a:lstStyle/>
          <a:p>
            <a:pPr>
              <a:defRPr/>
            </a:pPr>
            <a:endParaRPr lang="nl-NL"/>
          </a:p>
        </p:txBody>
      </p:sp>
      <p:sp>
        <p:nvSpPr>
          <p:cNvPr id="83" name="Freeform 84"/>
          <p:cNvSpPr>
            <a:spLocks noChangeAspect="1"/>
          </p:cNvSpPr>
          <p:nvPr/>
        </p:nvSpPr>
        <p:spPr bwMode="auto">
          <a:xfrm>
            <a:off x="4477938" y="1980296"/>
            <a:ext cx="402136" cy="310381"/>
          </a:xfrm>
          <a:custGeom>
            <a:avLst/>
            <a:gdLst>
              <a:gd name="T0" fmla="*/ 16 w 467"/>
              <a:gd name="T1" fmla="*/ 0 h 332"/>
              <a:gd name="T2" fmla="*/ 0 w 467"/>
              <a:gd name="T3" fmla="*/ 65 h 332"/>
              <a:gd name="T4" fmla="*/ 38 w 467"/>
              <a:gd name="T5" fmla="*/ 132 h 332"/>
              <a:gd name="T6" fmla="*/ 12 w 467"/>
              <a:gd name="T7" fmla="*/ 172 h 332"/>
              <a:gd name="T8" fmla="*/ 35 w 467"/>
              <a:gd name="T9" fmla="*/ 212 h 332"/>
              <a:gd name="T10" fmla="*/ 21 w 467"/>
              <a:gd name="T11" fmla="*/ 257 h 332"/>
              <a:gd name="T12" fmla="*/ 44 w 467"/>
              <a:gd name="T13" fmla="*/ 278 h 332"/>
              <a:gd name="T14" fmla="*/ 173 w 467"/>
              <a:gd name="T15" fmla="*/ 269 h 332"/>
              <a:gd name="T16" fmla="*/ 290 w 467"/>
              <a:gd name="T17" fmla="*/ 326 h 332"/>
              <a:gd name="T18" fmla="*/ 351 w 467"/>
              <a:gd name="T19" fmla="*/ 332 h 332"/>
              <a:gd name="T20" fmla="*/ 449 w 467"/>
              <a:gd name="T21" fmla="*/ 307 h 332"/>
              <a:gd name="T22" fmla="*/ 427 w 467"/>
              <a:gd name="T23" fmla="*/ 269 h 332"/>
              <a:gd name="T24" fmla="*/ 437 w 467"/>
              <a:gd name="T25" fmla="*/ 242 h 332"/>
              <a:gd name="T26" fmla="*/ 422 w 467"/>
              <a:gd name="T27" fmla="*/ 204 h 332"/>
              <a:gd name="T28" fmla="*/ 467 w 467"/>
              <a:gd name="T29" fmla="*/ 130 h 332"/>
              <a:gd name="T30" fmla="*/ 457 w 467"/>
              <a:gd name="T31" fmla="*/ 27 h 332"/>
              <a:gd name="T32" fmla="*/ 376 w 467"/>
              <a:gd name="T33" fmla="*/ 20 h 332"/>
              <a:gd name="T34" fmla="*/ 294 w 467"/>
              <a:gd name="T35" fmla="*/ 65 h 332"/>
              <a:gd name="T36" fmla="*/ 203 w 467"/>
              <a:gd name="T37" fmla="*/ 31 h 332"/>
              <a:gd name="T38" fmla="*/ 81 w 467"/>
              <a:gd name="T39" fmla="*/ 31 h 332"/>
              <a:gd name="T40" fmla="*/ 16 w 467"/>
              <a:gd name="T41" fmla="*/ 0 h 332"/>
              <a:gd name="T42" fmla="*/ 16 w 467"/>
              <a:gd name="T43" fmla="*/ 0 h 3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67"/>
              <a:gd name="T67" fmla="*/ 0 h 332"/>
              <a:gd name="T68" fmla="*/ 467 w 467"/>
              <a:gd name="T69" fmla="*/ 332 h 33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67" h="332">
                <a:moveTo>
                  <a:pt x="16" y="0"/>
                </a:moveTo>
                <a:lnTo>
                  <a:pt x="0" y="65"/>
                </a:lnTo>
                <a:lnTo>
                  <a:pt x="38" y="132"/>
                </a:lnTo>
                <a:lnTo>
                  <a:pt x="12" y="172"/>
                </a:lnTo>
                <a:lnTo>
                  <a:pt x="35" y="212"/>
                </a:lnTo>
                <a:lnTo>
                  <a:pt x="21" y="257"/>
                </a:lnTo>
                <a:lnTo>
                  <a:pt x="44" y="278"/>
                </a:lnTo>
                <a:lnTo>
                  <a:pt x="173" y="269"/>
                </a:lnTo>
                <a:lnTo>
                  <a:pt x="290" y="326"/>
                </a:lnTo>
                <a:lnTo>
                  <a:pt x="351" y="332"/>
                </a:lnTo>
                <a:lnTo>
                  <a:pt x="449" y="307"/>
                </a:lnTo>
                <a:lnTo>
                  <a:pt x="427" y="269"/>
                </a:lnTo>
                <a:lnTo>
                  <a:pt x="437" y="242"/>
                </a:lnTo>
                <a:lnTo>
                  <a:pt x="422" y="204"/>
                </a:lnTo>
                <a:lnTo>
                  <a:pt x="467" y="130"/>
                </a:lnTo>
                <a:lnTo>
                  <a:pt x="457" y="27"/>
                </a:lnTo>
                <a:lnTo>
                  <a:pt x="376" y="20"/>
                </a:lnTo>
                <a:lnTo>
                  <a:pt x="294" y="65"/>
                </a:lnTo>
                <a:lnTo>
                  <a:pt x="203" y="31"/>
                </a:lnTo>
                <a:lnTo>
                  <a:pt x="81" y="31"/>
                </a:lnTo>
                <a:lnTo>
                  <a:pt x="16" y="0"/>
                </a:lnTo>
                <a:close/>
              </a:path>
            </a:pathLst>
          </a:custGeom>
          <a:solidFill>
            <a:schemeClr val="accent3"/>
          </a:solidFill>
          <a:ln w="12700">
            <a:solidFill>
              <a:schemeClr val="bg1"/>
            </a:solidFill>
            <a:round/>
            <a:headEnd/>
            <a:tailEnd/>
          </a:ln>
        </p:spPr>
        <p:txBody>
          <a:bodyPr/>
          <a:lstStyle/>
          <a:p>
            <a:pPr>
              <a:defRPr/>
            </a:pPr>
            <a:endParaRPr lang="nl-NL"/>
          </a:p>
        </p:txBody>
      </p:sp>
      <p:sp>
        <p:nvSpPr>
          <p:cNvPr id="84" name="Freeform 85"/>
          <p:cNvSpPr>
            <a:spLocks noChangeAspect="1"/>
          </p:cNvSpPr>
          <p:nvPr/>
        </p:nvSpPr>
        <p:spPr bwMode="auto">
          <a:xfrm>
            <a:off x="3680570" y="2129877"/>
            <a:ext cx="448736" cy="293553"/>
          </a:xfrm>
          <a:custGeom>
            <a:avLst/>
            <a:gdLst>
              <a:gd name="T0" fmla="*/ 65 w 520"/>
              <a:gd name="T1" fmla="*/ 0 h 314"/>
              <a:gd name="T2" fmla="*/ 0 w 520"/>
              <a:gd name="T3" fmla="*/ 41 h 314"/>
              <a:gd name="T4" fmla="*/ 58 w 520"/>
              <a:gd name="T5" fmla="*/ 105 h 314"/>
              <a:gd name="T6" fmla="*/ 88 w 520"/>
              <a:gd name="T7" fmla="*/ 90 h 314"/>
              <a:gd name="T8" fmla="*/ 99 w 520"/>
              <a:gd name="T9" fmla="*/ 187 h 314"/>
              <a:gd name="T10" fmla="*/ 5 w 520"/>
              <a:gd name="T11" fmla="*/ 281 h 314"/>
              <a:gd name="T12" fmla="*/ 27 w 520"/>
              <a:gd name="T13" fmla="*/ 302 h 314"/>
              <a:gd name="T14" fmla="*/ 114 w 520"/>
              <a:gd name="T15" fmla="*/ 314 h 314"/>
              <a:gd name="T16" fmla="*/ 158 w 520"/>
              <a:gd name="T17" fmla="*/ 286 h 314"/>
              <a:gd name="T18" fmla="*/ 160 w 520"/>
              <a:gd name="T19" fmla="*/ 263 h 314"/>
              <a:gd name="T20" fmla="*/ 322 w 520"/>
              <a:gd name="T21" fmla="*/ 286 h 314"/>
              <a:gd name="T22" fmla="*/ 436 w 520"/>
              <a:gd name="T23" fmla="*/ 225 h 314"/>
              <a:gd name="T24" fmla="*/ 520 w 520"/>
              <a:gd name="T25" fmla="*/ 225 h 314"/>
              <a:gd name="T26" fmla="*/ 499 w 520"/>
              <a:gd name="T27" fmla="*/ 88 h 314"/>
              <a:gd name="T28" fmla="*/ 516 w 520"/>
              <a:gd name="T29" fmla="*/ 74 h 314"/>
              <a:gd name="T30" fmla="*/ 479 w 520"/>
              <a:gd name="T31" fmla="*/ 61 h 314"/>
              <a:gd name="T32" fmla="*/ 476 w 520"/>
              <a:gd name="T33" fmla="*/ 3 h 314"/>
              <a:gd name="T34" fmla="*/ 409 w 520"/>
              <a:gd name="T35" fmla="*/ 18 h 314"/>
              <a:gd name="T36" fmla="*/ 280 w 520"/>
              <a:gd name="T37" fmla="*/ 61 h 314"/>
              <a:gd name="T38" fmla="*/ 65 w 520"/>
              <a:gd name="T39" fmla="*/ 0 h 314"/>
              <a:gd name="T40" fmla="*/ 65 w 520"/>
              <a:gd name="T41" fmla="*/ 0 h 3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20"/>
              <a:gd name="T64" fmla="*/ 0 h 314"/>
              <a:gd name="T65" fmla="*/ 520 w 520"/>
              <a:gd name="T66" fmla="*/ 314 h 3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20" h="314">
                <a:moveTo>
                  <a:pt x="65" y="0"/>
                </a:moveTo>
                <a:lnTo>
                  <a:pt x="0" y="41"/>
                </a:lnTo>
                <a:lnTo>
                  <a:pt x="58" y="105"/>
                </a:lnTo>
                <a:lnTo>
                  <a:pt x="88" y="90"/>
                </a:lnTo>
                <a:lnTo>
                  <a:pt x="99" y="187"/>
                </a:lnTo>
                <a:lnTo>
                  <a:pt x="5" y="281"/>
                </a:lnTo>
                <a:lnTo>
                  <a:pt x="27" y="302"/>
                </a:lnTo>
                <a:lnTo>
                  <a:pt x="114" y="314"/>
                </a:lnTo>
                <a:lnTo>
                  <a:pt x="158" y="286"/>
                </a:lnTo>
                <a:lnTo>
                  <a:pt x="160" y="263"/>
                </a:lnTo>
                <a:lnTo>
                  <a:pt x="322" y="286"/>
                </a:lnTo>
                <a:lnTo>
                  <a:pt x="436" y="225"/>
                </a:lnTo>
                <a:lnTo>
                  <a:pt x="520" y="225"/>
                </a:lnTo>
                <a:lnTo>
                  <a:pt x="499" y="88"/>
                </a:lnTo>
                <a:lnTo>
                  <a:pt x="516" y="74"/>
                </a:lnTo>
                <a:lnTo>
                  <a:pt x="479" y="61"/>
                </a:lnTo>
                <a:lnTo>
                  <a:pt x="476" y="3"/>
                </a:lnTo>
                <a:lnTo>
                  <a:pt x="409" y="18"/>
                </a:lnTo>
                <a:lnTo>
                  <a:pt x="280" y="61"/>
                </a:lnTo>
                <a:lnTo>
                  <a:pt x="65" y="0"/>
                </a:lnTo>
                <a:close/>
              </a:path>
            </a:pathLst>
          </a:custGeom>
          <a:solidFill>
            <a:schemeClr val="accent3"/>
          </a:solidFill>
          <a:ln w="12700">
            <a:solidFill>
              <a:schemeClr val="bg1"/>
            </a:solidFill>
            <a:round/>
            <a:headEnd/>
            <a:tailEnd/>
          </a:ln>
        </p:spPr>
        <p:txBody>
          <a:bodyPr/>
          <a:lstStyle/>
          <a:p>
            <a:pPr>
              <a:defRPr/>
            </a:pPr>
            <a:endParaRPr lang="nl-NL"/>
          </a:p>
        </p:txBody>
      </p:sp>
      <p:sp>
        <p:nvSpPr>
          <p:cNvPr id="85" name="Freeform 86"/>
          <p:cNvSpPr>
            <a:spLocks noChangeAspect="1"/>
          </p:cNvSpPr>
          <p:nvPr/>
        </p:nvSpPr>
        <p:spPr bwMode="auto">
          <a:xfrm>
            <a:off x="4091335" y="2116789"/>
            <a:ext cx="415943" cy="360864"/>
          </a:xfrm>
          <a:custGeom>
            <a:avLst/>
            <a:gdLst>
              <a:gd name="T0" fmla="*/ 47 w 483"/>
              <a:gd name="T1" fmla="*/ 4 h 385"/>
              <a:gd name="T2" fmla="*/ 0 w 483"/>
              <a:gd name="T3" fmla="*/ 13 h 385"/>
              <a:gd name="T4" fmla="*/ 2 w 483"/>
              <a:gd name="T5" fmla="*/ 76 h 385"/>
              <a:gd name="T6" fmla="*/ 40 w 483"/>
              <a:gd name="T7" fmla="*/ 87 h 385"/>
              <a:gd name="T8" fmla="*/ 21 w 483"/>
              <a:gd name="T9" fmla="*/ 99 h 385"/>
              <a:gd name="T10" fmla="*/ 46 w 483"/>
              <a:gd name="T11" fmla="*/ 238 h 385"/>
              <a:gd name="T12" fmla="*/ 26 w 483"/>
              <a:gd name="T13" fmla="*/ 238 h 385"/>
              <a:gd name="T14" fmla="*/ 41 w 483"/>
              <a:gd name="T15" fmla="*/ 276 h 385"/>
              <a:gd name="T16" fmla="*/ 129 w 483"/>
              <a:gd name="T17" fmla="*/ 309 h 385"/>
              <a:gd name="T18" fmla="*/ 165 w 483"/>
              <a:gd name="T19" fmla="*/ 385 h 385"/>
              <a:gd name="T20" fmla="*/ 279 w 483"/>
              <a:gd name="T21" fmla="*/ 323 h 385"/>
              <a:gd name="T22" fmla="*/ 325 w 483"/>
              <a:gd name="T23" fmla="*/ 352 h 385"/>
              <a:gd name="T24" fmla="*/ 393 w 483"/>
              <a:gd name="T25" fmla="*/ 245 h 385"/>
              <a:gd name="T26" fmla="*/ 372 w 483"/>
              <a:gd name="T27" fmla="*/ 213 h 385"/>
              <a:gd name="T28" fmla="*/ 430 w 483"/>
              <a:gd name="T29" fmla="*/ 175 h 385"/>
              <a:gd name="T30" fmla="*/ 448 w 483"/>
              <a:gd name="T31" fmla="*/ 110 h 385"/>
              <a:gd name="T32" fmla="*/ 469 w 483"/>
              <a:gd name="T33" fmla="*/ 110 h 385"/>
              <a:gd name="T34" fmla="*/ 483 w 483"/>
              <a:gd name="T35" fmla="*/ 65 h 385"/>
              <a:gd name="T36" fmla="*/ 464 w 483"/>
              <a:gd name="T37" fmla="*/ 25 h 385"/>
              <a:gd name="T38" fmla="*/ 344 w 483"/>
              <a:gd name="T39" fmla="*/ 0 h 385"/>
              <a:gd name="T40" fmla="*/ 220 w 483"/>
              <a:gd name="T41" fmla="*/ 101 h 385"/>
              <a:gd name="T42" fmla="*/ 187 w 483"/>
              <a:gd name="T43" fmla="*/ 69 h 385"/>
              <a:gd name="T44" fmla="*/ 203 w 483"/>
              <a:gd name="T45" fmla="*/ 36 h 385"/>
              <a:gd name="T46" fmla="*/ 160 w 483"/>
              <a:gd name="T47" fmla="*/ 10 h 385"/>
              <a:gd name="T48" fmla="*/ 47 w 483"/>
              <a:gd name="T49" fmla="*/ 4 h 385"/>
              <a:gd name="T50" fmla="*/ 47 w 483"/>
              <a:gd name="T51" fmla="*/ 4 h 3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3"/>
              <a:gd name="T79" fmla="*/ 0 h 385"/>
              <a:gd name="T80" fmla="*/ 483 w 483"/>
              <a:gd name="T81" fmla="*/ 385 h 3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3" h="385">
                <a:moveTo>
                  <a:pt x="47" y="4"/>
                </a:moveTo>
                <a:lnTo>
                  <a:pt x="0" y="13"/>
                </a:lnTo>
                <a:lnTo>
                  <a:pt x="2" y="76"/>
                </a:lnTo>
                <a:lnTo>
                  <a:pt x="40" y="87"/>
                </a:lnTo>
                <a:lnTo>
                  <a:pt x="21" y="99"/>
                </a:lnTo>
                <a:lnTo>
                  <a:pt x="46" y="238"/>
                </a:lnTo>
                <a:lnTo>
                  <a:pt x="26" y="238"/>
                </a:lnTo>
                <a:lnTo>
                  <a:pt x="41" y="276"/>
                </a:lnTo>
                <a:lnTo>
                  <a:pt x="129" y="309"/>
                </a:lnTo>
                <a:lnTo>
                  <a:pt x="165" y="385"/>
                </a:lnTo>
                <a:lnTo>
                  <a:pt x="279" y="323"/>
                </a:lnTo>
                <a:lnTo>
                  <a:pt x="325" y="352"/>
                </a:lnTo>
                <a:lnTo>
                  <a:pt x="393" y="245"/>
                </a:lnTo>
                <a:lnTo>
                  <a:pt x="372" y="213"/>
                </a:lnTo>
                <a:lnTo>
                  <a:pt x="430" y="175"/>
                </a:lnTo>
                <a:lnTo>
                  <a:pt x="448" y="110"/>
                </a:lnTo>
                <a:lnTo>
                  <a:pt x="469" y="110"/>
                </a:lnTo>
                <a:lnTo>
                  <a:pt x="483" y="65"/>
                </a:lnTo>
                <a:lnTo>
                  <a:pt x="464" y="25"/>
                </a:lnTo>
                <a:lnTo>
                  <a:pt x="344" y="0"/>
                </a:lnTo>
                <a:lnTo>
                  <a:pt x="220" y="101"/>
                </a:lnTo>
                <a:lnTo>
                  <a:pt x="187" y="69"/>
                </a:lnTo>
                <a:lnTo>
                  <a:pt x="203" y="36"/>
                </a:lnTo>
                <a:lnTo>
                  <a:pt x="160" y="10"/>
                </a:lnTo>
                <a:lnTo>
                  <a:pt x="47" y="4"/>
                </a:lnTo>
                <a:close/>
              </a:path>
            </a:pathLst>
          </a:custGeom>
          <a:solidFill>
            <a:schemeClr val="accent3"/>
          </a:solidFill>
          <a:ln w="12700">
            <a:solidFill>
              <a:schemeClr val="bg1"/>
            </a:solidFill>
            <a:round/>
            <a:headEnd/>
            <a:tailEnd/>
          </a:ln>
        </p:spPr>
        <p:txBody>
          <a:bodyPr/>
          <a:lstStyle/>
          <a:p>
            <a:pPr>
              <a:defRPr/>
            </a:pPr>
            <a:endParaRPr lang="nl-NL"/>
          </a:p>
        </p:txBody>
      </p:sp>
      <p:sp>
        <p:nvSpPr>
          <p:cNvPr id="86" name="Freeform 87"/>
          <p:cNvSpPr>
            <a:spLocks noChangeAspect="1"/>
          </p:cNvSpPr>
          <p:nvPr/>
        </p:nvSpPr>
        <p:spPr bwMode="auto">
          <a:xfrm>
            <a:off x="3494172" y="1969078"/>
            <a:ext cx="300308" cy="574017"/>
          </a:xfrm>
          <a:custGeom>
            <a:avLst/>
            <a:gdLst>
              <a:gd name="T0" fmla="*/ 0 w 347"/>
              <a:gd name="T1" fmla="*/ 0 h 613"/>
              <a:gd name="T2" fmla="*/ 99 w 347"/>
              <a:gd name="T3" fmla="*/ 54 h 613"/>
              <a:gd name="T4" fmla="*/ 131 w 347"/>
              <a:gd name="T5" fmla="*/ 14 h 613"/>
              <a:gd name="T6" fmla="*/ 189 w 347"/>
              <a:gd name="T7" fmla="*/ 33 h 613"/>
              <a:gd name="T8" fmla="*/ 218 w 347"/>
              <a:gd name="T9" fmla="*/ 207 h 613"/>
              <a:gd name="T10" fmla="*/ 274 w 347"/>
              <a:gd name="T11" fmla="*/ 276 h 613"/>
              <a:gd name="T12" fmla="*/ 306 w 347"/>
              <a:gd name="T13" fmla="*/ 262 h 613"/>
              <a:gd name="T14" fmla="*/ 314 w 347"/>
              <a:gd name="T15" fmla="*/ 358 h 613"/>
              <a:gd name="T16" fmla="*/ 222 w 347"/>
              <a:gd name="T17" fmla="*/ 451 h 613"/>
              <a:gd name="T18" fmla="*/ 243 w 347"/>
              <a:gd name="T19" fmla="*/ 476 h 613"/>
              <a:gd name="T20" fmla="*/ 330 w 347"/>
              <a:gd name="T21" fmla="*/ 485 h 613"/>
              <a:gd name="T22" fmla="*/ 347 w 347"/>
              <a:gd name="T23" fmla="*/ 576 h 613"/>
              <a:gd name="T24" fmla="*/ 315 w 347"/>
              <a:gd name="T25" fmla="*/ 610 h 613"/>
              <a:gd name="T26" fmla="*/ 189 w 347"/>
              <a:gd name="T27" fmla="*/ 592 h 613"/>
              <a:gd name="T28" fmla="*/ 163 w 347"/>
              <a:gd name="T29" fmla="*/ 613 h 613"/>
              <a:gd name="T30" fmla="*/ 104 w 347"/>
              <a:gd name="T31" fmla="*/ 613 h 613"/>
              <a:gd name="T32" fmla="*/ 76 w 347"/>
              <a:gd name="T33" fmla="*/ 543 h 613"/>
              <a:gd name="T34" fmla="*/ 131 w 347"/>
              <a:gd name="T35" fmla="*/ 519 h 613"/>
              <a:gd name="T36" fmla="*/ 63 w 347"/>
              <a:gd name="T37" fmla="*/ 461 h 613"/>
              <a:gd name="T38" fmla="*/ 80 w 347"/>
              <a:gd name="T39" fmla="*/ 282 h 613"/>
              <a:gd name="T40" fmla="*/ 40 w 347"/>
              <a:gd name="T41" fmla="*/ 268 h 613"/>
              <a:gd name="T42" fmla="*/ 0 w 347"/>
              <a:gd name="T43" fmla="*/ 0 h 613"/>
              <a:gd name="T44" fmla="*/ 0 w 347"/>
              <a:gd name="T45" fmla="*/ 0 h 6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7"/>
              <a:gd name="T70" fmla="*/ 0 h 613"/>
              <a:gd name="T71" fmla="*/ 347 w 347"/>
              <a:gd name="T72" fmla="*/ 613 h 6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7" h="613">
                <a:moveTo>
                  <a:pt x="0" y="0"/>
                </a:moveTo>
                <a:lnTo>
                  <a:pt x="99" y="54"/>
                </a:lnTo>
                <a:lnTo>
                  <a:pt x="131" y="14"/>
                </a:lnTo>
                <a:lnTo>
                  <a:pt x="189" y="33"/>
                </a:lnTo>
                <a:lnTo>
                  <a:pt x="218" y="207"/>
                </a:lnTo>
                <a:lnTo>
                  <a:pt x="274" y="276"/>
                </a:lnTo>
                <a:lnTo>
                  <a:pt x="306" y="262"/>
                </a:lnTo>
                <a:lnTo>
                  <a:pt x="314" y="358"/>
                </a:lnTo>
                <a:lnTo>
                  <a:pt x="222" y="451"/>
                </a:lnTo>
                <a:lnTo>
                  <a:pt x="243" y="476"/>
                </a:lnTo>
                <a:lnTo>
                  <a:pt x="330" y="485"/>
                </a:lnTo>
                <a:lnTo>
                  <a:pt x="347" y="576"/>
                </a:lnTo>
                <a:lnTo>
                  <a:pt x="315" y="610"/>
                </a:lnTo>
                <a:lnTo>
                  <a:pt x="189" y="592"/>
                </a:lnTo>
                <a:lnTo>
                  <a:pt x="163" y="613"/>
                </a:lnTo>
                <a:lnTo>
                  <a:pt x="104" y="613"/>
                </a:lnTo>
                <a:lnTo>
                  <a:pt x="76" y="543"/>
                </a:lnTo>
                <a:lnTo>
                  <a:pt x="131" y="519"/>
                </a:lnTo>
                <a:lnTo>
                  <a:pt x="63" y="461"/>
                </a:lnTo>
                <a:lnTo>
                  <a:pt x="80" y="282"/>
                </a:lnTo>
                <a:lnTo>
                  <a:pt x="40" y="268"/>
                </a:lnTo>
                <a:lnTo>
                  <a:pt x="0" y="0"/>
                </a:lnTo>
                <a:close/>
              </a:path>
            </a:pathLst>
          </a:custGeom>
          <a:solidFill>
            <a:schemeClr val="accent3"/>
          </a:solidFill>
          <a:ln w="12700">
            <a:solidFill>
              <a:schemeClr val="bg1"/>
            </a:solidFill>
            <a:round/>
            <a:headEnd/>
            <a:tailEnd/>
          </a:ln>
        </p:spPr>
        <p:txBody>
          <a:bodyPr/>
          <a:lstStyle/>
          <a:p>
            <a:pPr>
              <a:defRPr/>
            </a:pPr>
            <a:endParaRPr lang="nl-NL"/>
          </a:p>
        </p:txBody>
      </p:sp>
      <p:sp>
        <p:nvSpPr>
          <p:cNvPr id="87" name="Freeform 88"/>
          <p:cNvSpPr>
            <a:spLocks noChangeAspect="1"/>
          </p:cNvSpPr>
          <p:nvPr/>
        </p:nvSpPr>
        <p:spPr bwMode="auto">
          <a:xfrm>
            <a:off x="2971222" y="2335551"/>
            <a:ext cx="476350" cy="392650"/>
          </a:xfrm>
          <a:custGeom>
            <a:avLst/>
            <a:gdLst>
              <a:gd name="T0" fmla="*/ 495 w 552"/>
              <a:gd name="T1" fmla="*/ 146 h 421"/>
              <a:gd name="T2" fmla="*/ 417 w 552"/>
              <a:gd name="T3" fmla="*/ 119 h 421"/>
              <a:gd name="T4" fmla="*/ 303 w 552"/>
              <a:gd name="T5" fmla="*/ 196 h 421"/>
              <a:gd name="T6" fmla="*/ 219 w 552"/>
              <a:gd name="T7" fmla="*/ 47 h 421"/>
              <a:gd name="T8" fmla="*/ 169 w 552"/>
              <a:gd name="T9" fmla="*/ 0 h 421"/>
              <a:gd name="T10" fmla="*/ 22 w 552"/>
              <a:gd name="T11" fmla="*/ 32 h 421"/>
              <a:gd name="T12" fmla="*/ 0 w 552"/>
              <a:gd name="T13" fmla="*/ 108 h 421"/>
              <a:gd name="T14" fmla="*/ 25 w 552"/>
              <a:gd name="T15" fmla="*/ 210 h 421"/>
              <a:gd name="T16" fmla="*/ 4 w 552"/>
              <a:gd name="T17" fmla="*/ 216 h 421"/>
              <a:gd name="T18" fmla="*/ 31 w 552"/>
              <a:gd name="T19" fmla="*/ 333 h 421"/>
              <a:gd name="T20" fmla="*/ 67 w 552"/>
              <a:gd name="T21" fmla="*/ 356 h 421"/>
              <a:gd name="T22" fmla="*/ 206 w 552"/>
              <a:gd name="T23" fmla="*/ 338 h 421"/>
              <a:gd name="T24" fmla="*/ 271 w 552"/>
              <a:gd name="T25" fmla="*/ 389 h 421"/>
              <a:gd name="T26" fmla="*/ 301 w 552"/>
              <a:gd name="T27" fmla="*/ 381 h 421"/>
              <a:gd name="T28" fmla="*/ 306 w 552"/>
              <a:gd name="T29" fmla="*/ 421 h 421"/>
              <a:gd name="T30" fmla="*/ 354 w 552"/>
              <a:gd name="T31" fmla="*/ 398 h 421"/>
              <a:gd name="T32" fmla="*/ 362 w 552"/>
              <a:gd name="T33" fmla="*/ 368 h 421"/>
              <a:gd name="T34" fmla="*/ 428 w 552"/>
              <a:gd name="T35" fmla="*/ 381 h 421"/>
              <a:gd name="T36" fmla="*/ 487 w 552"/>
              <a:gd name="T37" fmla="*/ 310 h 421"/>
              <a:gd name="T38" fmla="*/ 537 w 552"/>
              <a:gd name="T39" fmla="*/ 295 h 421"/>
              <a:gd name="T40" fmla="*/ 552 w 552"/>
              <a:gd name="T41" fmla="*/ 201 h 421"/>
              <a:gd name="T42" fmla="*/ 496 w 552"/>
              <a:gd name="T43" fmla="*/ 204 h 421"/>
              <a:gd name="T44" fmla="*/ 495 w 552"/>
              <a:gd name="T45" fmla="*/ 146 h 421"/>
              <a:gd name="T46" fmla="*/ 495 w 552"/>
              <a:gd name="T47" fmla="*/ 146 h 4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52"/>
              <a:gd name="T73" fmla="*/ 0 h 421"/>
              <a:gd name="T74" fmla="*/ 552 w 552"/>
              <a:gd name="T75" fmla="*/ 421 h 4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52" h="421">
                <a:moveTo>
                  <a:pt x="495" y="146"/>
                </a:moveTo>
                <a:lnTo>
                  <a:pt x="417" y="119"/>
                </a:lnTo>
                <a:lnTo>
                  <a:pt x="303" y="196"/>
                </a:lnTo>
                <a:lnTo>
                  <a:pt x="219" y="47"/>
                </a:lnTo>
                <a:lnTo>
                  <a:pt x="169" y="0"/>
                </a:lnTo>
                <a:lnTo>
                  <a:pt x="22" y="32"/>
                </a:lnTo>
                <a:lnTo>
                  <a:pt x="0" y="108"/>
                </a:lnTo>
                <a:lnTo>
                  <a:pt x="25" y="210"/>
                </a:lnTo>
                <a:lnTo>
                  <a:pt x="4" y="216"/>
                </a:lnTo>
                <a:lnTo>
                  <a:pt x="31" y="333"/>
                </a:lnTo>
                <a:lnTo>
                  <a:pt x="67" y="356"/>
                </a:lnTo>
                <a:lnTo>
                  <a:pt x="206" y="338"/>
                </a:lnTo>
                <a:lnTo>
                  <a:pt x="271" y="389"/>
                </a:lnTo>
                <a:lnTo>
                  <a:pt x="301" y="381"/>
                </a:lnTo>
                <a:lnTo>
                  <a:pt x="306" y="421"/>
                </a:lnTo>
                <a:lnTo>
                  <a:pt x="354" y="398"/>
                </a:lnTo>
                <a:lnTo>
                  <a:pt x="362" y="368"/>
                </a:lnTo>
                <a:lnTo>
                  <a:pt x="428" y="381"/>
                </a:lnTo>
                <a:lnTo>
                  <a:pt x="487" y="310"/>
                </a:lnTo>
                <a:lnTo>
                  <a:pt x="537" y="295"/>
                </a:lnTo>
                <a:lnTo>
                  <a:pt x="552" y="201"/>
                </a:lnTo>
                <a:lnTo>
                  <a:pt x="496" y="204"/>
                </a:lnTo>
                <a:lnTo>
                  <a:pt x="495" y="146"/>
                </a:lnTo>
                <a:close/>
              </a:path>
            </a:pathLst>
          </a:custGeom>
          <a:solidFill>
            <a:schemeClr val="accent3"/>
          </a:solidFill>
          <a:ln w="12700">
            <a:solidFill>
              <a:schemeClr val="bg1"/>
            </a:solidFill>
            <a:round/>
            <a:headEnd/>
            <a:tailEnd/>
          </a:ln>
        </p:spPr>
        <p:txBody>
          <a:bodyPr/>
          <a:lstStyle/>
          <a:p>
            <a:pPr>
              <a:defRPr/>
            </a:pPr>
            <a:endParaRPr lang="nl-NL"/>
          </a:p>
        </p:txBody>
      </p:sp>
      <p:sp>
        <p:nvSpPr>
          <p:cNvPr id="88" name="Freeform 89"/>
          <p:cNvSpPr>
            <a:spLocks noChangeAspect="1"/>
          </p:cNvSpPr>
          <p:nvPr/>
        </p:nvSpPr>
        <p:spPr bwMode="auto">
          <a:xfrm>
            <a:off x="2626041" y="2402863"/>
            <a:ext cx="396958" cy="428176"/>
          </a:xfrm>
          <a:custGeom>
            <a:avLst/>
            <a:gdLst>
              <a:gd name="T0" fmla="*/ 401 w 461"/>
              <a:gd name="T1" fmla="*/ 36 h 456"/>
              <a:gd name="T2" fmla="*/ 342 w 461"/>
              <a:gd name="T3" fmla="*/ 0 h 456"/>
              <a:gd name="T4" fmla="*/ 316 w 461"/>
              <a:gd name="T5" fmla="*/ 32 h 456"/>
              <a:gd name="T6" fmla="*/ 259 w 461"/>
              <a:gd name="T7" fmla="*/ 3 h 456"/>
              <a:gd name="T8" fmla="*/ 116 w 461"/>
              <a:gd name="T9" fmla="*/ 14 h 456"/>
              <a:gd name="T10" fmla="*/ 78 w 461"/>
              <a:gd name="T11" fmla="*/ 65 h 456"/>
              <a:gd name="T12" fmla="*/ 38 w 461"/>
              <a:gd name="T13" fmla="*/ 55 h 456"/>
              <a:gd name="T14" fmla="*/ 0 w 461"/>
              <a:gd name="T15" fmla="*/ 146 h 456"/>
              <a:gd name="T16" fmla="*/ 175 w 461"/>
              <a:gd name="T17" fmla="*/ 134 h 456"/>
              <a:gd name="T18" fmla="*/ 175 w 461"/>
              <a:gd name="T19" fmla="*/ 190 h 456"/>
              <a:gd name="T20" fmla="*/ 73 w 461"/>
              <a:gd name="T21" fmla="*/ 167 h 456"/>
              <a:gd name="T22" fmla="*/ 73 w 461"/>
              <a:gd name="T23" fmla="*/ 230 h 456"/>
              <a:gd name="T24" fmla="*/ 141 w 461"/>
              <a:gd name="T25" fmla="*/ 228 h 456"/>
              <a:gd name="T26" fmla="*/ 166 w 461"/>
              <a:gd name="T27" fmla="*/ 291 h 456"/>
              <a:gd name="T28" fmla="*/ 26 w 461"/>
              <a:gd name="T29" fmla="*/ 301 h 456"/>
              <a:gd name="T30" fmla="*/ 108 w 461"/>
              <a:gd name="T31" fmla="*/ 354 h 456"/>
              <a:gd name="T32" fmla="*/ 116 w 461"/>
              <a:gd name="T33" fmla="*/ 427 h 456"/>
              <a:gd name="T34" fmla="*/ 181 w 461"/>
              <a:gd name="T35" fmla="*/ 441 h 456"/>
              <a:gd name="T36" fmla="*/ 259 w 461"/>
              <a:gd name="T37" fmla="*/ 392 h 456"/>
              <a:gd name="T38" fmla="*/ 303 w 461"/>
              <a:gd name="T39" fmla="*/ 455 h 456"/>
              <a:gd name="T40" fmla="*/ 344 w 461"/>
              <a:gd name="T41" fmla="*/ 439 h 456"/>
              <a:gd name="T42" fmla="*/ 352 w 461"/>
              <a:gd name="T43" fmla="*/ 456 h 456"/>
              <a:gd name="T44" fmla="*/ 405 w 461"/>
              <a:gd name="T45" fmla="*/ 456 h 456"/>
              <a:gd name="T46" fmla="*/ 405 w 461"/>
              <a:gd name="T47" fmla="*/ 430 h 456"/>
              <a:gd name="T48" fmla="*/ 461 w 461"/>
              <a:gd name="T49" fmla="*/ 384 h 456"/>
              <a:gd name="T50" fmla="*/ 388 w 461"/>
              <a:gd name="T51" fmla="*/ 356 h 456"/>
              <a:gd name="T52" fmla="*/ 362 w 461"/>
              <a:gd name="T53" fmla="*/ 283 h 456"/>
              <a:gd name="T54" fmla="*/ 432 w 461"/>
              <a:gd name="T55" fmla="*/ 263 h 456"/>
              <a:gd name="T56" fmla="*/ 405 w 461"/>
              <a:gd name="T57" fmla="*/ 143 h 456"/>
              <a:gd name="T58" fmla="*/ 426 w 461"/>
              <a:gd name="T59" fmla="*/ 137 h 456"/>
              <a:gd name="T60" fmla="*/ 401 w 461"/>
              <a:gd name="T61" fmla="*/ 36 h 456"/>
              <a:gd name="T62" fmla="*/ 401 w 461"/>
              <a:gd name="T63" fmla="*/ 36 h 4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61"/>
              <a:gd name="T97" fmla="*/ 0 h 456"/>
              <a:gd name="T98" fmla="*/ 461 w 461"/>
              <a:gd name="T99" fmla="*/ 456 h 4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61" h="456">
                <a:moveTo>
                  <a:pt x="401" y="36"/>
                </a:moveTo>
                <a:lnTo>
                  <a:pt x="342" y="0"/>
                </a:lnTo>
                <a:lnTo>
                  <a:pt x="316" y="32"/>
                </a:lnTo>
                <a:lnTo>
                  <a:pt x="259" y="3"/>
                </a:lnTo>
                <a:lnTo>
                  <a:pt x="116" y="14"/>
                </a:lnTo>
                <a:lnTo>
                  <a:pt x="78" y="65"/>
                </a:lnTo>
                <a:lnTo>
                  <a:pt x="38" y="55"/>
                </a:lnTo>
                <a:lnTo>
                  <a:pt x="0" y="146"/>
                </a:lnTo>
                <a:lnTo>
                  <a:pt x="175" y="134"/>
                </a:lnTo>
                <a:lnTo>
                  <a:pt x="175" y="190"/>
                </a:lnTo>
                <a:lnTo>
                  <a:pt x="73" y="167"/>
                </a:lnTo>
                <a:lnTo>
                  <a:pt x="73" y="230"/>
                </a:lnTo>
                <a:lnTo>
                  <a:pt x="141" y="228"/>
                </a:lnTo>
                <a:lnTo>
                  <a:pt x="166" y="291"/>
                </a:lnTo>
                <a:lnTo>
                  <a:pt x="26" y="301"/>
                </a:lnTo>
                <a:lnTo>
                  <a:pt x="108" y="354"/>
                </a:lnTo>
                <a:lnTo>
                  <a:pt x="116" y="427"/>
                </a:lnTo>
                <a:lnTo>
                  <a:pt x="181" y="441"/>
                </a:lnTo>
                <a:lnTo>
                  <a:pt x="259" y="392"/>
                </a:lnTo>
                <a:lnTo>
                  <a:pt x="303" y="455"/>
                </a:lnTo>
                <a:lnTo>
                  <a:pt x="344" y="439"/>
                </a:lnTo>
                <a:lnTo>
                  <a:pt x="352" y="456"/>
                </a:lnTo>
                <a:lnTo>
                  <a:pt x="405" y="456"/>
                </a:lnTo>
                <a:lnTo>
                  <a:pt x="405" y="430"/>
                </a:lnTo>
                <a:lnTo>
                  <a:pt x="461" y="384"/>
                </a:lnTo>
                <a:lnTo>
                  <a:pt x="388" y="356"/>
                </a:lnTo>
                <a:lnTo>
                  <a:pt x="362" y="283"/>
                </a:lnTo>
                <a:lnTo>
                  <a:pt x="432" y="263"/>
                </a:lnTo>
                <a:lnTo>
                  <a:pt x="405" y="143"/>
                </a:lnTo>
                <a:lnTo>
                  <a:pt x="426" y="137"/>
                </a:lnTo>
                <a:lnTo>
                  <a:pt x="401" y="36"/>
                </a:lnTo>
                <a:close/>
              </a:path>
            </a:pathLst>
          </a:custGeom>
          <a:solidFill>
            <a:schemeClr val="accent3"/>
          </a:solidFill>
          <a:ln w="12700">
            <a:solidFill>
              <a:schemeClr val="bg1"/>
            </a:solidFill>
            <a:round/>
            <a:headEnd/>
            <a:tailEnd/>
          </a:ln>
        </p:spPr>
        <p:txBody>
          <a:bodyPr/>
          <a:lstStyle/>
          <a:p>
            <a:pPr>
              <a:defRPr/>
            </a:pPr>
            <a:endParaRPr lang="nl-NL"/>
          </a:p>
        </p:txBody>
      </p:sp>
      <p:sp>
        <p:nvSpPr>
          <p:cNvPr id="89" name="Freeform 90"/>
          <p:cNvSpPr>
            <a:spLocks noChangeAspect="1"/>
          </p:cNvSpPr>
          <p:nvPr/>
        </p:nvSpPr>
        <p:spPr bwMode="auto">
          <a:xfrm>
            <a:off x="2888379" y="2647801"/>
            <a:ext cx="517772" cy="355255"/>
          </a:xfrm>
          <a:custGeom>
            <a:avLst/>
            <a:gdLst>
              <a:gd name="T0" fmla="*/ 128 w 599"/>
              <a:gd name="T1" fmla="*/ 0 h 381"/>
              <a:gd name="T2" fmla="*/ 58 w 599"/>
              <a:gd name="T3" fmla="*/ 23 h 381"/>
              <a:gd name="T4" fmla="*/ 84 w 599"/>
              <a:gd name="T5" fmla="*/ 96 h 381"/>
              <a:gd name="T6" fmla="*/ 157 w 599"/>
              <a:gd name="T7" fmla="*/ 124 h 381"/>
              <a:gd name="T8" fmla="*/ 101 w 599"/>
              <a:gd name="T9" fmla="*/ 170 h 381"/>
              <a:gd name="T10" fmla="*/ 101 w 599"/>
              <a:gd name="T11" fmla="*/ 198 h 381"/>
              <a:gd name="T12" fmla="*/ 48 w 599"/>
              <a:gd name="T13" fmla="*/ 198 h 381"/>
              <a:gd name="T14" fmla="*/ 43 w 599"/>
              <a:gd name="T15" fmla="*/ 179 h 381"/>
              <a:gd name="T16" fmla="*/ 0 w 599"/>
              <a:gd name="T17" fmla="*/ 196 h 381"/>
              <a:gd name="T18" fmla="*/ 5 w 599"/>
              <a:gd name="T19" fmla="*/ 202 h 381"/>
              <a:gd name="T20" fmla="*/ 242 w 599"/>
              <a:gd name="T21" fmla="*/ 328 h 381"/>
              <a:gd name="T22" fmla="*/ 364 w 599"/>
              <a:gd name="T23" fmla="*/ 295 h 381"/>
              <a:gd name="T24" fmla="*/ 476 w 599"/>
              <a:gd name="T25" fmla="*/ 363 h 381"/>
              <a:gd name="T26" fmla="*/ 468 w 599"/>
              <a:gd name="T27" fmla="*/ 381 h 381"/>
              <a:gd name="T28" fmla="*/ 576 w 599"/>
              <a:gd name="T29" fmla="*/ 342 h 381"/>
              <a:gd name="T30" fmla="*/ 575 w 599"/>
              <a:gd name="T31" fmla="*/ 227 h 381"/>
              <a:gd name="T32" fmla="*/ 599 w 599"/>
              <a:gd name="T33" fmla="*/ 196 h 381"/>
              <a:gd name="T34" fmla="*/ 575 w 599"/>
              <a:gd name="T35" fmla="*/ 179 h 381"/>
              <a:gd name="T36" fmla="*/ 586 w 599"/>
              <a:gd name="T37" fmla="*/ 141 h 381"/>
              <a:gd name="T38" fmla="*/ 521 w 599"/>
              <a:gd name="T39" fmla="*/ 113 h 381"/>
              <a:gd name="T40" fmla="*/ 565 w 599"/>
              <a:gd name="T41" fmla="*/ 94 h 381"/>
              <a:gd name="T42" fmla="*/ 525 w 599"/>
              <a:gd name="T43" fmla="*/ 50 h 381"/>
              <a:gd name="T44" fmla="*/ 459 w 599"/>
              <a:gd name="T45" fmla="*/ 35 h 381"/>
              <a:gd name="T46" fmla="*/ 451 w 599"/>
              <a:gd name="T47" fmla="*/ 65 h 381"/>
              <a:gd name="T48" fmla="*/ 403 w 599"/>
              <a:gd name="T49" fmla="*/ 86 h 381"/>
              <a:gd name="T50" fmla="*/ 398 w 599"/>
              <a:gd name="T51" fmla="*/ 46 h 381"/>
              <a:gd name="T52" fmla="*/ 368 w 599"/>
              <a:gd name="T53" fmla="*/ 56 h 381"/>
              <a:gd name="T54" fmla="*/ 303 w 599"/>
              <a:gd name="T55" fmla="*/ 5 h 381"/>
              <a:gd name="T56" fmla="*/ 166 w 599"/>
              <a:gd name="T57" fmla="*/ 23 h 381"/>
              <a:gd name="T58" fmla="*/ 128 w 599"/>
              <a:gd name="T59" fmla="*/ 0 h 381"/>
              <a:gd name="T60" fmla="*/ 128 w 599"/>
              <a:gd name="T61" fmla="*/ 0 h 38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99"/>
              <a:gd name="T94" fmla="*/ 0 h 381"/>
              <a:gd name="T95" fmla="*/ 599 w 599"/>
              <a:gd name="T96" fmla="*/ 381 h 38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99" h="381">
                <a:moveTo>
                  <a:pt x="128" y="0"/>
                </a:moveTo>
                <a:lnTo>
                  <a:pt x="58" y="23"/>
                </a:lnTo>
                <a:lnTo>
                  <a:pt x="84" y="96"/>
                </a:lnTo>
                <a:lnTo>
                  <a:pt x="157" y="124"/>
                </a:lnTo>
                <a:lnTo>
                  <a:pt x="101" y="170"/>
                </a:lnTo>
                <a:lnTo>
                  <a:pt x="101" y="198"/>
                </a:lnTo>
                <a:lnTo>
                  <a:pt x="48" y="198"/>
                </a:lnTo>
                <a:lnTo>
                  <a:pt x="43" y="179"/>
                </a:lnTo>
                <a:lnTo>
                  <a:pt x="0" y="196"/>
                </a:lnTo>
                <a:lnTo>
                  <a:pt x="5" y="202"/>
                </a:lnTo>
                <a:lnTo>
                  <a:pt x="242" y="328"/>
                </a:lnTo>
                <a:lnTo>
                  <a:pt x="364" y="295"/>
                </a:lnTo>
                <a:lnTo>
                  <a:pt x="476" y="363"/>
                </a:lnTo>
                <a:lnTo>
                  <a:pt x="468" y="381"/>
                </a:lnTo>
                <a:lnTo>
                  <a:pt x="576" y="342"/>
                </a:lnTo>
                <a:lnTo>
                  <a:pt x="575" y="227"/>
                </a:lnTo>
                <a:lnTo>
                  <a:pt x="599" y="196"/>
                </a:lnTo>
                <a:lnTo>
                  <a:pt x="575" y="179"/>
                </a:lnTo>
                <a:lnTo>
                  <a:pt x="586" y="141"/>
                </a:lnTo>
                <a:lnTo>
                  <a:pt x="521" y="113"/>
                </a:lnTo>
                <a:lnTo>
                  <a:pt x="565" y="94"/>
                </a:lnTo>
                <a:lnTo>
                  <a:pt x="525" y="50"/>
                </a:lnTo>
                <a:lnTo>
                  <a:pt x="459" y="35"/>
                </a:lnTo>
                <a:lnTo>
                  <a:pt x="451" y="65"/>
                </a:lnTo>
                <a:lnTo>
                  <a:pt x="403" y="86"/>
                </a:lnTo>
                <a:lnTo>
                  <a:pt x="398" y="46"/>
                </a:lnTo>
                <a:lnTo>
                  <a:pt x="368" y="56"/>
                </a:lnTo>
                <a:lnTo>
                  <a:pt x="303" y="5"/>
                </a:lnTo>
                <a:lnTo>
                  <a:pt x="166" y="23"/>
                </a:lnTo>
                <a:lnTo>
                  <a:pt x="128" y="0"/>
                </a:lnTo>
                <a:close/>
              </a:path>
            </a:pathLst>
          </a:custGeom>
          <a:solidFill>
            <a:schemeClr val="accent3"/>
          </a:solidFill>
          <a:ln w="12700">
            <a:solidFill>
              <a:schemeClr val="bg1"/>
            </a:solidFill>
            <a:round/>
            <a:headEnd/>
            <a:tailEnd/>
          </a:ln>
        </p:spPr>
        <p:txBody>
          <a:bodyPr/>
          <a:lstStyle/>
          <a:p>
            <a:pPr>
              <a:defRPr/>
            </a:pPr>
            <a:endParaRPr lang="nl-NL"/>
          </a:p>
        </p:txBody>
      </p:sp>
      <p:sp>
        <p:nvSpPr>
          <p:cNvPr id="90" name="Freeform 91"/>
          <p:cNvSpPr>
            <a:spLocks noChangeAspect="1"/>
          </p:cNvSpPr>
          <p:nvPr/>
        </p:nvSpPr>
        <p:spPr bwMode="auto">
          <a:xfrm>
            <a:off x="3337114" y="2447737"/>
            <a:ext cx="371070" cy="467441"/>
          </a:xfrm>
          <a:custGeom>
            <a:avLst/>
            <a:gdLst>
              <a:gd name="T0" fmla="*/ 110 w 429"/>
              <a:gd name="T1" fmla="*/ 0 h 500"/>
              <a:gd name="T2" fmla="*/ 71 w 429"/>
              <a:gd name="T3" fmla="*/ 28 h 500"/>
              <a:gd name="T4" fmla="*/ 72 w 429"/>
              <a:gd name="T5" fmla="*/ 88 h 500"/>
              <a:gd name="T6" fmla="*/ 128 w 429"/>
              <a:gd name="T7" fmla="*/ 83 h 500"/>
              <a:gd name="T8" fmla="*/ 114 w 429"/>
              <a:gd name="T9" fmla="*/ 179 h 500"/>
              <a:gd name="T10" fmla="*/ 61 w 429"/>
              <a:gd name="T11" fmla="*/ 191 h 500"/>
              <a:gd name="T12" fmla="*/ 4 w 429"/>
              <a:gd name="T13" fmla="*/ 264 h 500"/>
              <a:gd name="T14" fmla="*/ 44 w 429"/>
              <a:gd name="T15" fmla="*/ 308 h 500"/>
              <a:gd name="T16" fmla="*/ 0 w 429"/>
              <a:gd name="T17" fmla="*/ 327 h 500"/>
              <a:gd name="T18" fmla="*/ 63 w 429"/>
              <a:gd name="T19" fmla="*/ 355 h 500"/>
              <a:gd name="T20" fmla="*/ 54 w 429"/>
              <a:gd name="T21" fmla="*/ 393 h 500"/>
              <a:gd name="T22" fmla="*/ 76 w 429"/>
              <a:gd name="T23" fmla="*/ 410 h 500"/>
              <a:gd name="T24" fmla="*/ 54 w 429"/>
              <a:gd name="T25" fmla="*/ 441 h 500"/>
              <a:gd name="T26" fmla="*/ 54 w 429"/>
              <a:gd name="T27" fmla="*/ 500 h 500"/>
              <a:gd name="T28" fmla="*/ 212 w 429"/>
              <a:gd name="T29" fmla="*/ 474 h 500"/>
              <a:gd name="T30" fmla="*/ 285 w 429"/>
              <a:gd name="T31" fmla="*/ 414 h 500"/>
              <a:gd name="T32" fmla="*/ 359 w 429"/>
              <a:gd name="T33" fmla="*/ 441 h 500"/>
              <a:gd name="T34" fmla="*/ 381 w 429"/>
              <a:gd name="T35" fmla="*/ 348 h 500"/>
              <a:gd name="T36" fmla="*/ 424 w 429"/>
              <a:gd name="T37" fmla="*/ 342 h 500"/>
              <a:gd name="T38" fmla="*/ 405 w 429"/>
              <a:gd name="T39" fmla="*/ 211 h 500"/>
              <a:gd name="T40" fmla="*/ 429 w 429"/>
              <a:gd name="T41" fmla="*/ 89 h 500"/>
              <a:gd name="T42" fmla="*/ 370 w 429"/>
              <a:gd name="T43" fmla="*/ 80 h 500"/>
              <a:gd name="T44" fmla="*/ 346 w 429"/>
              <a:gd name="T45" fmla="*/ 100 h 500"/>
              <a:gd name="T46" fmla="*/ 283 w 429"/>
              <a:gd name="T47" fmla="*/ 100 h 500"/>
              <a:gd name="T48" fmla="*/ 259 w 429"/>
              <a:gd name="T49" fmla="*/ 33 h 500"/>
              <a:gd name="T50" fmla="*/ 236 w 429"/>
              <a:gd name="T51" fmla="*/ 39 h 500"/>
              <a:gd name="T52" fmla="*/ 158 w 429"/>
              <a:gd name="T53" fmla="*/ 33 h 500"/>
              <a:gd name="T54" fmla="*/ 110 w 429"/>
              <a:gd name="T55" fmla="*/ 0 h 500"/>
              <a:gd name="T56" fmla="*/ 110 w 429"/>
              <a:gd name="T57" fmla="*/ 0 h 5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29"/>
              <a:gd name="T88" fmla="*/ 0 h 500"/>
              <a:gd name="T89" fmla="*/ 429 w 429"/>
              <a:gd name="T90" fmla="*/ 500 h 5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29" h="500">
                <a:moveTo>
                  <a:pt x="110" y="0"/>
                </a:moveTo>
                <a:lnTo>
                  <a:pt x="71" y="28"/>
                </a:lnTo>
                <a:lnTo>
                  <a:pt x="72" y="88"/>
                </a:lnTo>
                <a:lnTo>
                  <a:pt x="128" y="83"/>
                </a:lnTo>
                <a:lnTo>
                  <a:pt x="114" y="179"/>
                </a:lnTo>
                <a:lnTo>
                  <a:pt x="61" y="191"/>
                </a:lnTo>
                <a:lnTo>
                  <a:pt x="4" y="264"/>
                </a:lnTo>
                <a:lnTo>
                  <a:pt x="44" y="308"/>
                </a:lnTo>
                <a:lnTo>
                  <a:pt x="0" y="327"/>
                </a:lnTo>
                <a:lnTo>
                  <a:pt x="63" y="355"/>
                </a:lnTo>
                <a:lnTo>
                  <a:pt x="54" y="393"/>
                </a:lnTo>
                <a:lnTo>
                  <a:pt x="76" y="410"/>
                </a:lnTo>
                <a:lnTo>
                  <a:pt x="54" y="441"/>
                </a:lnTo>
                <a:lnTo>
                  <a:pt x="54" y="500"/>
                </a:lnTo>
                <a:lnTo>
                  <a:pt x="212" y="474"/>
                </a:lnTo>
                <a:lnTo>
                  <a:pt x="285" y="414"/>
                </a:lnTo>
                <a:lnTo>
                  <a:pt x="359" y="441"/>
                </a:lnTo>
                <a:lnTo>
                  <a:pt x="381" y="348"/>
                </a:lnTo>
                <a:lnTo>
                  <a:pt x="424" y="342"/>
                </a:lnTo>
                <a:lnTo>
                  <a:pt x="405" y="211"/>
                </a:lnTo>
                <a:lnTo>
                  <a:pt x="429" y="89"/>
                </a:lnTo>
                <a:lnTo>
                  <a:pt x="370" y="80"/>
                </a:lnTo>
                <a:lnTo>
                  <a:pt x="346" y="100"/>
                </a:lnTo>
                <a:lnTo>
                  <a:pt x="283" y="100"/>
                </a:lnTo>
                <a:lnTo>
                  <a:pt x="259" y="33"/>
                </a:lnTo>
                <a:lnTo>
                  <a:pt x="236" y="39"/>
                </a:lnTo>
                <a:lnTo>
                  <a:pt x="158" y="33"/>
                </a:lnTo>
                <a:lnTo>
                  <a:pt x="110" y="0"/>
                </a:lnTo>
                <a:close/>
              </a:path>
            </a:pathLst>
          </a:custGeom>
          <a:solidFill>
            <a:schemeClr val="accent3"/>
          </a:solidFill>
          <a:ln w="12700">
            <a:solidFill>
              <a:schemeClr val="bg1"/>
            </a:solidFill>
            <a:round/>
            <a:headEnd/>
            <a:tailEnd/>
          </a:ln>
        </p:spPr>
        <p:txBody>
          <a:bodyPr/>
          <a:lstStyle/>
          <a:p>
            <a:pPr>
              <a:defRPr/>
            </a:pPr>
            <a:endParaRPr lang="nl-NL"/>
          </a:p>
        </p:txBody>
      </p:sp>
      <p:sp>
        <p:nvSpPr>
          <p:cNvPr id="91" name="Freeform 92"/>
          <p:cNvSpPr>
            <a:spLocks noChangeAspect="1"/>
          </p:cNvSpPr>
          <p:nvPr/>
        </p:nvSpPr>
        <p:spPr bwMode="auto">
          <a:xfrm>
            <a:off x="3647777" y="2507569"/>
            <a:ext cx="348633" cy="379562"/>
          </a:xfrm>
          <a:custGeom>
            <a:avLst/>
            <a:gdLst>
              <a:gd name="T0" fmla="*/ 345 w 403"/>
              <a:gd name="T1" fmla="*/ 0 h 405"/>
              <a:gd name="T2" fmla="*/ 318 w 403"/>
              <a:gd name="T3" fmla="*/ 34 h 405"/>
              <a:gd name="T4" fmla="*/ 208 w 403"/>
              <a:gd name="T5" fmla="*/ 67 h 405"/>
              <a:gd name="T6" fmla="*/ 189 w 403"/>
              <a:gd name="T7" fmla="*/ 49 h 405"/>
              <a:gd name="T8" fmla="*/ 157 w 403"/>
              <a:gd name="T9" fmla="*/ 69 h 405"/>
              <a:gd name="T10" fmla="*/ 137 w 403"/>
              <a:gd name="T11" fmla="*/ 33 h 405"/>
              <a:gd name="T12" fmla="*/ 70 w 403"/>
              <a:gd name="T13" fmla="*/ 25 h 405"/>
              <a:gd name="T14" fmla="*/ 46 w 403"/>
              <a:gd name="T15" fmla="*/ 147 h 405"/>
              <a:gd name="T16" fmla="*/ 65 w 403"/>
              <a:gd name="T17" fmla="*/ 276 h 405"/>
              <a:gd name="T18" fmla="*/ 22 w 403"/>
              <a:gd name="T19" fmla="*/ 282 h 405"/>
              <a:gd name="T20" fmla="*/ 0 w 403"/>
              <a:gd name="T21" fmla="*/ 375 h 405"/>
              <a:gd name="T22" fmla="*/ 178 w 403"/>
              <a:gd name="T23" fmla="*/ 405 h 405"/>
              <a:gd name="T24" fmla="*/ 282 w 403"/>
              <a:gd name="T25" fmla="*/ 397 h 405"/>
              <a:gd name="T26" fmla="*/ 282 w 403"/>
              <a:gd name="T27" fmla="*/ 327 h 405"/>
              <a:gd name="T28" fmla="*/ 304 w 403"/>
              <a:gd name="T29" fmla="*/ 315 h 405"/>
              <a:gd name="T30" fmla="*/ 293 w 403"/>
              <a:gd name="T31" fmla="*/ 261 h 405"/>
              <a:gd name="T32" fmla="*/ 358 w 403"/>
              <a:gd name="T33" fmla="*/ 179 h 405"/>
              <a:gd name="T34" fmla="*/ 358 w 403"/>
              <a:gd name="T35" fmla="*/ 107 h 405"/>
              <a:gd name="T36" fmla="*/ 403 w 403"/>
              <a:gd name="T37" fmla="*/ 103 h 405"/>
              <a:gd name="T38" fmla="*/ 345 w 403"/>
              <a:gd name="T39" fmla="*/ 0 h 405"/>
              <a:gd name="T40" fmla="*/ 345 w 403"/>
              <a:gd name="T41" fmla="*/ 0 h 40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3"/>
              <a:gd name="T64" fmla="*/ 0 h 405"/>
              <a:gd name="T65" fmla="*/ 403 w 403"/>
              <a:gd name="T66" fmla="*/ 405 h 40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3" h="405">
                <a:moveTo>
                  <a:pt x="345" y="0"/>
                </a:moveTo>
                <a:lnTo>
                  <a:pt x="318" y="34"/>
                </a:lnTo>
                <a:lnTo>
                  <a:pt x="208" y="67"/>
                </a:lnTo>
                <a:lnTo>
                  <a:pt x="189" y="49"/>
                </a:lnTo>
                <a:lnTo>
                  <a:pt x="157" y="69"/>
                </a:lnTo>
                <a:lnTo>
                  <a:pt x="137" y="33"/>
                </a:lnTo>
                <a:lnTo>
                  <a:pt x="70" y="25"/>
                </a:lnTo>
                <a:lnTo>
                  <a:pt x="46" y="147"/>
                </a:lnTo>
                <a:lnTo>
                  <a:pt x="65" y="276"/>
                </a:lnTo>
                <a:lnTo>
                  <a:pt x="22" y="282"/>
                </a:lnTo>
                <a:lnTo>
                  <a:pt x="0" y="375"/>
                </a:lnTo>
                <a:lnTo>
                  <a:pt x="178" y="405"/>
                </a:lnTo>
                <a:lnTo>
                  <a:pt x="282" y="397"/>
                </a:lnTo>
                <a:lnTo>
                  <a:pt x="282" y="327"/>
                </a:lnTo>
                <a:lnTo>
                  <a:pt x="304" y="315"/>
                </a:lnTo>
                <a:lnTo>
                  <a:pt x="293" y="261"/>
                </a:lnTo>
                <a:lnTo>
                  <a:pt x="358" y="179"/>
                </a:lnTo>
                <a:lnTo>
                  <a:pt x="358" y="107"/>
                </a:lnTo>
                <a:lnTo>
                  <a:pt x="403" y="103"/>
                </a:lnTo>
                <a:lnTo>
                  <a:pt x="345" y="0"/>
                </a:lnTo>
                <a:close/>
              </a:path>
            </a:pathLst>
          </a:custGeom>
          <a:solidFill>
            <a:schemeClr val="accent3"/>
          </a:solidFill>
          <a:ln w="12700">
            <a:solidFill>
              <a:schemeClr val="bg1"/>
            </a:solidFill>
            <a:round/>
            <a:headEnd/>
            <a:tailEnd/>
          </a:ln>
        </p:spPr>
        <p:txBody>
          <a:bodyPr/>
          <a:lstStyle/>
          <a:p>
            <a:pPr>
              <a:defRPr/>
            </a:pPr>
            <a:endParaRPr lang="nl-NL"/>
          </a:p>
        </p:txBody>
      </p:sp>
      <p:sp>
        <p:nvSpPr>
          <p:cNvPr id="92" name="Freeform 93"/>
          <p:cNvSpPr>
            <a:spLocks noChangeAspect="1"/>
          </p:cNvSpPr>
          <p:nvPr/>
        </p:nvSpPr>
        <p:spPr bwMode="auto">
          <a:xfrm>
            <a:off x="3768591" y="2341160"/>
            <a:ext cx="498787" cy="362734"/>
          </a:xfrm>
          <a:custGeom>
            <a:avLst/>
            <a:gdLst>
              <a:gd name="T0" fmla="*/ 399 w 578"/>
              <a:gd name="T1" fmla="*/ 0 h 389"/>
              <a:gd name="T2" fmla="*/ 331 w 578"/>
              <a:gd name="T3" fmla="*/ 0 h 389"/>
              <a:gd name="T4" fmla="*/ 219 w 578"/>
              <a:gd name="T5" fmla="*/ 61 h 389"/>
              <a:gd name="T6" fmla="*/ 57 w 578"/>
              <a:gd name="T7" fmla="*/ 38 h 389"/>
              <a:gd name="T8" fmla="*/ 54 w 578"/>
              <a:gd name="T9" fmla="*/ 61 h 389"/>
              <a:gd name="T10" fmla="*/ 16 w 578"/>
              <a:gd name="T11" fmla="*/ 89 h 389"/>
              <a:gd name="T12" fmla="*/ 28 w 578"/>
              <a:gd name="T13" fmla="*/ 182 h 389"/>
              <a:gd name="T14" fmla="*/ 0 w 578"/>
              <a:gd name="T15" fmla="*/ 211 h 389"/>
              <a:gd name="T16" fmla="*/ 14 w 578"/>
              <a:gd name="T17" fmla="*/ 245 h 389"/>
              <a:gd name="T18" fmla="*/ 48 w 578"/>
              <a:gd name="T19" fmla="*/ 234 h 389"/>
              <a:gd name="T20" fmla="*/ 69 w 578"/>
              <a:gd name="T21" fmla="*/ 245 h 389"/>
              <a:gd name="T22" fmla="*/ 177 w 578"/>
              <a:gd name="T23" fmla="*/ 214 h 389"/>
              <a:gd name="T24" fmla="*/ 204 w 578"/>
              <a:gd name="T25" fmla="*/ 182 h 389"/>
              <a:gd name="T26" fmla="*/ 261 w 578"/>
              <a:gd name="T27" fmla="*/ 283 h 389"/>
              <a:gd name="T28" fmla="*/ 288 w 578"/>
              <a:gd name="T29" fmla="*/ 287 h 389"/>
              <a:gd name="T30" fmla="*/ 331 w 578"/>
              <a:gd name="T31" fmla="*/ 237 h 389"/>
              <a:gd name="T32" fmla="*/ 376 w 578"/>
              <a:gd name="T33" fmla="*/ 237 h 389"/>
              <a:gd name="T34" fmla="*/ 441 w 578"/>
              <a:gd name="T35" fmla="*/ 343 h 389"/>
              <a:gd name="T36" fmla="*/ 485 w 578"/>
              <a:gd name="T37" fmla="*/ 336 h 389"/>
              <a:gd name="T38" fmla="*/ 511 w 578"/>
              <a:gd name="T39" fmla="*/ 389 h 389"/>
              <a:gd name="T40" fmla="*/ 543 w 578"/>
              <a:gd name="T41" fmla="*/ 371 h 389"/>
              <a:gd name="T42" fmla="*/ 543 w 578"/>
              <a:gd name="T43" fmla="*/ 328 h 389"/>
              <a:gd name="T44" fmla="*/ 523 w 578"/>
              <a:gd name="T45" fmla="*/ 316 h 389"/>
              <a:gd name="T46" fmla="*/ 578 w 578"/>
              <a:gd name="T47" fmla="*/ 205 h 389"/>
              <a:gd name="T48" fmla="*/ 538 w 578"/>
              <a:gd name="T49" fmla="*/ 146 h 389"/>
              <a:gd name="T50" fmla="*/ 502 w 578"/>
              <a:gd name="T51" fmla="*/ 71 h 389"/>
              <a:gd name="T52" fmla="*/ 413 w 578"/>
              <a:gd name="T53" fmla="*/ 36 h 389"/>
              <a:gd name="T54" fmla="*/ 399 w 578"/>
              <a:gd name="T55" fmla="*/ 0 h 389"/>
              <a:gd name="T56" fmla="*/ 399 w 578"/>
              <a:gd name="T57" fmla="*/ 0 h 38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78"/>
              <a:gd name="T88" fmla="*/ 0 h 389"/>
              <a:gd name="T89" fmla="*/ 578 w 578"/>
              <a:gd name="T90" fmla="*/ 389 h 38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78" h="389">
                <a:moveTo>
                  <a:pt x="399" y="0"/>
                </a:moveTo>
                <a:lnTo>
                  <a:pt x="331" y="0"/>
                </a:lnTo>
                <a:lnTo>
                  <a:pt x="219" y="61"/>
                </a:lnTo>
                <a:lnTo>
                  <a:pt x="57" y="38"/>
                </a:lnTo>
                <a:lnTo>
                  <a:pt x="54" y="61"/>
                </a:lnTo>
                <a:lnTo>
                  <a:pt x="16" y="89"/>
                </a:lnTo>
                <a:lnTo>
                  <a:pt x="28" y="182"/>
                </a:lnTo>
                <a:lnTo>
                  <a:pt x="0" y="211"/>
                </a:lnTo>
                <a:lnTo>
                  <a:pt x="14" y="245"/>
                </a:lnTo>
                <a:lnTo>
                  <a:pt x="48" y="234"/>
                </a:lnTo>
                <a:lnTo>
                  <a:pt x="69" y="245"/>
                </a:lnTo>
                <a:lnTo>
                  <a:pt x="177" y="214"/>
                </a:lnTo>
                <a:lnTo>
                  <a:pt x="204" y="182"/>
                </a:lnTo>
                <a:lnTo>
                  <a:pt x="261" y="283"/>
                </a:lnTo>
                <a:lnTo>
                  <a:pt x="288" y="287"/>
                </a:lnTo>
                <a:lnTo>
                  <a:pt x="331" y="237"/>
                </a:lnTo>
                <a:lnTo>
                  <a:pt x="376" y="237"/>
                </a:lnTo>
                <a:lnTo>
                  <a:pt x="441" y="343"/>
                </a:lnTo>
                <a:lnTo>
                  <a:pt x="485" y="336"/>
                </a:lnTo>
                <a:lnTo>
                  <a:pt x="511" y="389"/>
                </a:lnTo>
                <a:lnTo>
                  <a:pt x="543" y="371"/>
                </a:lnTo>
                <a:lnTo>
                  <a:pt x="543" y="328"/>
                </a:lnTo>
                <a:lnTo>
                  <a:pt x="523" y="316"/>
                </a:lnTo>
                <a:lnTo>
                  <a:pt x="578" y="205"/>
                </a:lnTo>
                <a:lnTo>
                  <a:pt x="538" y="146"/>
                </a:lnTo>
                <a:lnTo>
                  <a:pt x="502" y="71"/>
                </a:lnTo>
                <a:lnTo>
                  <a:pt x="413" y="36"/>
                </a:lnTo>
                <a:lnTo>
                  <a:pt x="399" y="0"/>
                </a:lnTo>
                <a:close/>
              </a:path>
            </a:pathLst>
          </a:custGeom>
          <a:solidFill>
            <a:schemeClr val="accent3"/>
          </a:solidFill>
          <a:ln w="12700">
            <a:solidFill>
              <a:schemeClr val="bg1"/>
            </a:solidFill>
            <a:round/>
            <a:headEnd/>
            <a:tailEnd/>
          </a:ln>
        </p:spPr>
        <p:txBody>
          <a:bodyPr/>
          <a:lstStyle/>
          <a:p>
            <a:pPr>
              <a:defRPr/>
            </a:pPr>
            <a:endParaRPr lang="nl-NL"/>
          </a:p>
        </p:txBody>
      </p:sp>
      <p:sp>
        <p:nvSpPr>
          <p:cNvPr id="93" name="Freeform 94"/>
          <p:cNvSpPr>
            <a:spLocks noChangeAspect="1"/>
          </p:cNvSpPr>
          <p:nvPr/>
        </p:nvSpPr>
        <p:spPr bwMode="auto">
          <a:xfrm>
            <a:off x="3891130" y="2561792"/>
            <a:ext cx="352085" cy="418827"/>
          </a:xfrm>
          <a:custGeom>
            <a:avLst/>
            <a:gdLst>
              <a:gd name="T0" fmla="*/ 235 w 408"/>
              <a:gd name="T1" fmla="*/ 0 h 447"/>
              <a:gd name="T2" fmla="*/ 190 w 408"/>
              <a:gd name="T3" fmla="*/ 0 h 447"/>
              <a:gd name="T4" fmla="*/ 147 w 408"/>
              <a:gd name="T5" fmla="*/ 50 h 447"/>
              <a:gd name="T6" fmla="*/ 118 w 408"/>
              <a:gd name="T7" fmla="*/ 46 h 447"/>
              <a:gd name="T8" fmla="*/ 76 w 408"/>
              <a:gd name="T9" fmla="*/ 52 h 447"/>
              <a:gd name="T10" fmla="*/ 76 w 408"/>
              <a:gd name="T11" fmla="*/ 122 h 447"/>
              <a:gd name="T12" fmla="*/ 11 w 408"/>
              <a:gd name="T13" fmla="*/ 204 h 447"/>
              <a:gd name="T14" fmla="*/ 22 w 408"/>
              <a:gd name="T15" fmla="*/ 257 h 447"/>
              <a:gd name="T16" fmla="*/ 0 w 408"/>
              <a:gd name="T17" fmla="*/ 272 h 447"/>
              <a:gd name="T18" fmla="*/ 0 w 408"/>
              <a:gd name="T19" fmla="*/ 362 h 447"/>
              <a:gd name="T20" fmla="*/ 63 w 408"/>
              <a:gd name="T21" fmla="*/ 375 h 447"/>
              <a:gd name="T22" fmla="*/ 71 w 408"/>
              <a:gd name="T23" fmla="*/ 405 h 447"/>
              <a:gd name="T24" fmla="*/ 256 w 408"/>
              <a:gd name="T25" fmla="*/ 447 h 447"/>
              <a:gd name="T26" fmla="*/ 249 w 408"/>
              <a:gd name="T27" fmla="*/ 401 h 447"/>
              <a:gd name="T28" fmla="*/ 287 w 408"/>
              <a:gd name="T29" fmla="*/ 407 h 447"/>
              <a:gd name="T30" fmla="*/ 323 w 408"/>
              <a:gd name="T31" fmla="*/ 389 h 447"/>
              <a:gd name="T32" fmla="*/ 369 w 408"/>
              <a:gd name="T33" fmla="*/ 287 h 447"/>
              <a:gd name="T34" fmla="*/ 408 w 408"/>
              <a:gd name="T35" fmla="*/ 266 h 447"/>
              <a:gd name="T36" fmla="*/ 393 w 408"/>
              <a:gd name="T37" fmla="*/ 204 h 447"/>
              <a:gd name="T38" fmla="*/ 407 w 408"/>
              <a:gd name="T39" fmla="*/ 177 h 447"/>
              <a:gd name="T40" fmla="*/ 402 w 408"/>
              <a:gd name="T41" fmla="*/ 134 h 447"/>
              <a:gd name="T42" fmla="*/ 370 w 408"/>
              <a:gd name="T43" fmla="*/ 152 h 447"/>
              <a:gd name="T44" fmla="*/ 344 w 408"/>
              <a:gd name="T45" fmla="*/ 99 h 447"/>
              <a:gd name="T46" fmla="*/ 299 w 408"/>
              <a:gd name="T47" fmla="*/ 106 h 447"/>
              <a:gd name="T48" fmla="*/ 262 w 408"/>
              <a:gd name="T49" fmla="*/ 42 h 447"/>
              <a:gd name="T50" fmla="*/ 235 w 408"/>
              <a:gd name="T51" fmla="*/ 0 h 447"/>
              <a:gd name="T52" fmla="*/ 235 w 408"/>
              <a:gd name="T53" fmla="*/ 0 h 44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8"/>
              <a:gd name="T82" fmla="*/ 0 h 447"/>
              <a:gd name="T83" fmla="*/ 408 w 408"/>
              <a:gd name="T84" fmla="*/ 447 h 44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8" h="447">
                <a:moveTo>
                  <a:pt x="235" y="0"/>
                </a:moveTo>
                <a:lnTo>
                  <a:pt x="190" y="0"/>
                </a:lnTo>
                <a:lnTo>
                  <a:pt x="147" y="50"/>
                </a:lnTo>
                <a:lnTo>
                  <a:pt x="118" y="46"/>
                </a:lnTo>
                <a:lnTo>
                  <a:pt x="76" y="52"/>
                </a:lnTo>
                <a:lnTo>
                  <a:pt x="76" y="122"/>
                </a:lnTo>
                <a:lnTo>
                  <a:pt x="11" y="204"/>
                </a:lnTo>
                <a:lnTo>
                  <a:pt x="22" y="257"/>
                </a:lnTo>
                <a:lnTo>
                  <a:pt x="0" y="272"/>
                </a:lnTo>
                <a:lnTo>
                  <a:pt x="0" y="362"/>
                </a:lnTo>
                <a:lnTo>
                  <a:pt x="63" y="375"/>
                </a:lnTo>
                <a:lnTo>
                  <a:pt x="71" y="405"/>
                </a:lnTo>
                <a:lnTo>
                  <a:pt x="256" y="447"/>
                </a:lnTo>
                <a:lnTo>
                  <a:pt x="249" y="401"/>
                </a:lnTo>
                <a:lnTo>
                  <a:pt x="287" y="407"/>
                </a:lnTo>
                <a:lnTo>
                  <a:pt x="323" y="389"/>
                </a:lnTo>
                <a:lnTo>
                  <a:pt x="369" y="287"/>
                </a:lnTo>
                <a:lnTo>
                  <a:pt x="408" y="266"/>
                </a:lnTo>
                <a:lnTo>
                  <a:pt x="393" y="204"/>
                </a:lnTo>
                <a:lnTo>
                  <a:pt x="407" y="177"/>
                </a:lnTo>
                <a:lnTo>
                  <a:pt x="402" y="134"/>
                </a:lnTo>
                <a:lnTo>
                  <a:pt x="370" y="152"/>
                </a:lnTo>
                <a:lnTo>
                  <a:pt x="344" y="99"/>
                </a:lnTo>
                <a:lnTo>
                  <a:pt x="299" y="106"/>
                </a:lnTo>
                <a:lnTo>
                  <a:pt x="262" y="42"/>
                </a:lnTo>
                <a:lnTo>
                  <a:pt x="235" y="0"/>
                </a:lnTo>
                <a:close/>
              </a:path>
            </a:pathLst>
          </a:custGeom>
          <a:solidFill>
            <a:schemeClr val="accent3"/>
          </a:solidFill>
          <a:ln w="12700">
            <a:solidFill>
              <a:schemeClr val="bg1"/>
            </a:solidFill>
            <a:round/>
            <a:headEnd/>
            <a:tailEnd/>
          </a:ln>
        </p:spPr>
        <p:txBody>
          <a:bodyPr/>
          <a:lstStyle/>
          <a:p>
            <a:pPr>
              <a:defRPr/>
            </a:pPr>
            <a:endParaRPr lang="nl-NL"/>
          </a:p>
        </p:txBody>
      </p:sp>
      <p:sp>
        <p:nvSpPr>
          <p:cNvPr id="94" name="Freeform 95"/>
          <p:cNvSpPr>
            <a:spLocks noChangeAspect="1"/>
          </p:cNvSpPr>
          <p:nvPr/>
        </p:nvSpPr>
        <p:spPr bwMode="auto">
          <a:xfrm>
            <a:off x="4220778" y="2346770"/>
            <a:ext cx="352085" cy="452482"/>
          </a:xfrm>
          <a:custGeom>
            <a:avLst/>
            <a:gdLst>
              <a:gd name="T0" fmla="*/ 243 w 407"/>
              <a:gd name="T1" fmla="*/ 0 h 485"/>
              <a:gd name="T2" fmla="*/ 175 w 407"/>
              <a:gd name="T3" fmla="*/ 107 h 485"/>
              <a:gd name="T4" fmla="*/ 131 w 407"/>
              <a:gd name="T5" fmla="*/ 76 h 485"/>
              <a:gd name="T6" fmla="*/ 15 w 407"/>
              <a:gd name="T7" fmla="*/ 139 h 485"/>
              <a:gd name="T8" fmla="*/ 53 w 407"/>
              <a:gd name="T9" fmla="*/ 200 h 485"/>
              <a:gd name="T10" fmla="*/ 0 w 407"/>
              <a:gd name="T11" fmla="*/ 309 h 485"/>
              <a:gd name="T12" fmla="*/ 19 w 407"/>
              <a:gd name="T13" fmla="*/ 324 h 485"/>
              <a:gd name="T14" fmla="*/ 19 w 407"/>
              <a:gd name="T15" fmla="*/ 364 h 485"/>
              <a:gd name="T16" fmla="*/ 23 w 407"/>
              <a:gd name="T17" fmla="*/ 407 h 485"/>
              <a:gd name="T18" fmla="*/ 81 w 407"/>
              <a:gd name="T19" fmla="*/ 407 h 485"/>
              <a:gd name="T20" fmla="*/ 148 w 407"/>
              <a:gd name="T21" fmla="*/ 485 h 485"/>
              <a:gd name="T22" fmla="*/ 222 w 407"/>
              <a:gd name="T23" fmla="*/ 466 h 485"/>
              <a:gd name="T24" fmla="*/ 350 w 407"/>
              <a:gd name="T25" fmla="*/ 418 h 485"/>
              <a:gd name="T26" fmla="*/ 399 w 407"/>
              <a:gd name="T27" fmla="*/ 326 h 485"/>
              <a:gd name="T28" fmla="*/ 407 w 407"/>
              <a:gd name="T29" fmla="*/ 259 h 485"/>
              <a:gd name="T30" fmla="*/ 341 w 407"/>
              <a:gd name="T31" fmla="*/ 227 h 485"/>
              <a:gd name="T32" fmla="*/ 303 w 407"/>
              <a:gd name="T33" fmla="*/ 152 h 485"/>
              <a:gd name="T34" fmla="*/ 266 w 407"/>
              <a:gd name="T35" fmla="*/ 131 h 485"/>
              <a:gd name="T36" fmla="*/ 283 w 407"/>
              <a:gd name="T37" fmla="*/ 99 h 485"/>
              <a:gd name="T38" fmla="*/ 243 w 407"/>
              <a:gd name="T39" fmla="*/ 0 h 485"/>
              <a:gd name="T40" fmla="*/ 243 w 407"/>
              <a:gd name="T41" fmla="*/ 0 h 48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7"/>
              <a:gd name="T64" fmla="*/ 0 h 485"/>
              <a:gd name="T65" fmla="*/ 407 w 407"/>
              <a:gd name="T66" fmla="*/ 485 h 48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7" h="485">
                <a:moveTo>
                  <a:pt x="243" y="0"/>
                </a:moveTo>
                <a:lnTo>
                  <a:pt x="175" y="107"/>
                </a:lnTo>
                <a:lnTo>
                  <a:pt x="131" y="76"/>
                </a:lnTo>
                <a:lnTo>
                  <a:pt x="15" y="139"/>
                </a:lnTo>
                <a:lnTo>
                  <a:pt x="53" y="200"/>
                </a:lnTo>
                <a:lnTo>
                  <a:pt x="0" y="309"/>
                </a:lnTo>
                <a:lnTo>
                  <a:pt x="19" y="324"/>
                </a:lnTo>
                <a:lnTo>
                  <a:pt x="19" y="364"/>
                </a:lnTo>
                <a:lnTo>
                  <a:pt x="23" y="407"/>
                </a:lnTo>
                <a:lnTo>
                  <a:pt x="81" y="407"/>
                </a:lnTo>
                <a:lnTo>
                  <a:pt x="148" y="485"/>
                </a:lnTo>
                <a:lnTo>
                  <a:pt x="222" y="466"/>
                </a:lnTo>
                <a:lnTo>
                  <a:pt x="350" y="418"/>
                </a:lnTo>
                <a:lnTo>
                  <a:pt x="399" y="326"/>
                </a:lnTo>
                <a:lnTo>
                  <a:pt x="407" y="259"/>
                </a:lnTo>
                <a:lnTo>
                  <a:pt x="341" y="227"/>
                </a:lnTo>
                <a:lnTo>
                  <a:pt x="303" y="152"/>
                </a:lnTo>
                <a:lnTo>
                  <a:pt x="266" y="131"/>
                </a:lnTo>
                <a:lnTo>
                  <a:pt x="283" y="99"/>
                </a:lnTo>
                <a:lnTo>
                  <a:pt x="243" y="0"/>
                </a:lnTo>
                <a:close/>
              </a:path>
            </a:pathLst>
          </a:custGeom>
          <a:solidFill>
            <a:schemeClr val="accent3"/>
          </a:solidFill>
          <a:ln w="12700">
            <a:solidFill>
              <a:schemeClr val="bg1"/>
            </a:solidFill>
            <a:round/>
            <a:headEnd/>
            <a:tailEnd/>
          </a:ln>
        </p:spPr>
        <p:txBody>
          <a:bodyPr/>
          <a:lstStyle/>
          <a:p>
            <a:pPr>
              <a:defRPr/>
            </a:pPr>
            <a:endParaRPr lang="nl-NL"/>
          </a:p>
        </p:txBody>
      </p:sp>
      <p:sp>
        <p:nvSpPr>
          <p:cNvPr id="95" name="Freeform 96"/>
          <p:cNvSpPr>
            <a:spLocks noChangeAspect="1"/>
          </p:cNvSpPr>
          <p:nvPr/>
        </p:nvSpPr>
        <p:spPr bwMode="auto">
          <a:xfrm>
            <a:off x="4460679" y="2217756"/>
            <a:ext cx="264064" cy="138362"/>
          </a:xfrm>
          <a:custGeom>
            <a:avLst/>
            <a:gdLst>
              <a:gd name="T0" fmla="*/ 308 w 308"/>
              <a:gd name="T1" fmla="*/ 72 h 148"/>
              <a:gd name="T2" fmla="*/ 195 w 308"/>
              <a:gd name="T3" fmla="*/ 15 h 148"/>
              <a:gd name="T4" fmla="*/ 64 w 308"/>
              <a:gd name="T5" fmla="*/ 24 h 148"/>
              <a:gd name="T6" fmla="*/ 42 w 308"/>
              <a:gd name="T7" fmla="*/ 2 h 148"/>
              <a:gd name="T8" fmla="*/ 21 w 308"/>
              <a:gd name="T9" fmla="*/ 0 h 148"/>
              <a:gd name="T10" fmla="*/ 0 w 308"/>
              <a:gd name="T11" fmla="*/ 70 h 148"/>
              <a:gd name="T12" fmla="*/ 159 w 308"/>
              <a:gd name="T13" fmla="*/ 116 h 148"/>
              <a:gd name="T14" fmla="*/ 188 w 308"/>
              <a:gd name="T15" fmla="*/ 148 h 148"/>
              <a:gd name="T16" fmla="*/ 306 w 308"/>
              <a:gd name="T17" fmla="*/ 102 h 148"/>
              <a:gd name="T18" fmla="*/ 308 w 308"/>
              <a:gd name="T19" fmla="*/ 72 h 148"/>
              <a:gd name="T20" fmla="*/ 308 w 308"/>
              <a:gd name="T21" fmla="*/ 72 h 1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8"/>
              <a:gd name="T34" fmla="*/ 0 h 148"/>
              <a:gd name="T35" fmla="*/ 308 w 308"/>
              <a:gd name="T36" fmla="*/ 148 h 1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8" h="148">
                <a:moveTo>
                  <a:pt x="308" y="72"/>
                </a:moveTo>
                <a:lnTo>
                  <a:pt x="195" y="15"/>
                </a:lnTo>
                <a:lnTo>
                  <a:pt x="64" y="24"/>
                </a:lnTo>
                <a:lnTo>
                  <a:pt x="42" y="2"/>
                </a:lnTo>
                <a:lnTo>
                  <a:pt x="21" y="0"/>
                </a:lnTo>
                <a:lnTo>
                  <a:pt x="0" y="70"/>
                </a:lnTo>
                <a:lnTo>
                  <a:pt x="159" y="116"/>
                </a:lnTo>
                <a:lnTo>
                  <a:pt x="188" y="148"/>
                </a:lnTo>
                <a:lnTo>
                  <a:pt x="306" y="102"/>
                </a:lnTo>
                <a:lnTo>
                  <a:pt x="308" y="72"/>
                </a:lnTo>
                <a:close/>
              </a:path>
            </a:pathLst>
          </a:custGeom>
          <a:solidFill>
            <a:schemeClr val="accent3"/>
          </a:solidFill>
          <a:ln w="12700">
            <a:solidFill>
              <a:schemeClr val="bg1"/>
            </a:solidFill>
            <a:round/>
            <a:headEnd/>
            <a:tailEnd/>
          </a:ln>
        </p:spPr>
        <p:txBody>
          <a:bodyPr/>
          <a:lstStyle/>
          <a:p>
            <a:pPr>
              <a:defRPr/>
            </a:pPr>
            <a:endParaRPr lang="nl-NL"/>
          </a:p>
        </p:txBody>
      </p:sp>
      <p:sp>
        <p:nvSpPr>
          <p:cNvPr id="96" name="Freeform 97"/>
          <p:cNvSpPr>
            <a:spLocks noChangeAspect="1"/>
          </p:cNvSpPr>
          <p:nvPr/>
        </p:nvSpPr>
        <p:spPr bwMode="auto">
          <a:xfrm>
            <a:off x="4410628" y="2279458"/>
            <a:ext cx="229545" cy="293553"/>
          </a:xfrm>
          <a:custGeom>
            <a:avLst/>
            <a:gdLst>
              <a:gd name="T0" fmla="*/ 59 w 266"/>
              <a:gd name="T1" fmla="*/ 0 h 313"/>
              <a:gd name="T2" fmla="*/ 0 w 266"/>
              <a:gd name="T3" fmla="*/ 39 h 313"/>
              <a:gd name="T4" fmla="*/ 22 w 266"/>
              <a:gd name="T5" fmla="*/ 76 h 313"/>
              <a:gd name="T6" fmla="*/ 62 w 266"/>
              <a:gd name="T7" fmla="*/ 170 h 313"/>
              <a:gd name="T8" fmla="*/ 45 w 266"/>
              <a:gd name="T9" fmla="*/ 202 h 313"/>
              <a:gd name="T10" fmla="*/ 85 w 266"/>
              <a:gd name="T11" fmla="*/ 223 h 313"/>
              <a:gd name="T12" fmla="*/ 120 w 266"/>
              <a:gd name="T13" fmla="*/ 301 h 313"/>
              <a:gd name="T14" fmla="*/ 152 w 266"/>
              <a:gd name="T15" fmla="*/ 313 h 313"/>
              <a:gd name="T16" fmla="*/ 207 w 266"/>
              <a:gd name="T17" fmla="*/ 172 h 313"/>
              <a:gd name="T18" fmla="*/ 266 w 266"/>
              <a:gd name="T19" fmla="*/ 170 h 313"/>
              <a:gd name="T20" fmla="*/ 219 w 266"/>
              <a:gd name="T21" fmla="*/ 106 h 313"/>
              <a:gd name="T22" fmla="*/ 244 w 266"/>
              <a:gd name="T23" fmla="*/ 81 h 313"/>
              <a:gd name="T24" fmla="*/ 215 w 266"/>
              <a:gd name="T25" fmla="*/ 49 h 313"/>
              <a:gd name="T26" fmla="*/ 59 w 266"/>
              <a:gd name="T27" fmla="*/ 0 h 313"/>
              <a:gd name="T28" fmla="*/ 59 w 266"/>
              <a:gd name="T29" fmla="*/ 0 h 3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6"/>
              <a:gd name="T46" fmla="*/ 0 h 313"/>
              <a:gd name="T47" fmla="*/ 266 w 266"/>
              <a:gd name="T48" fmla="*/ 313 h 3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6" h="313">
                <a:moveTo>
                  <a:pt x="59" y="0"/>
                </a:moveTo>
                <a:lnTo>
                  <a:pt x="0" y="39"/>
                </a:lnTo>
                <a:lnTo>
                  <a:pt x="22" y="76"/>
                </a:lnTo>
                <a:lnTo>
                  <a:pt x="62" y="170"/>
                </a:lnTo>
                <a:lnTo>
                  <a:pt x="45" y="202"/>
                </a:lnTo>
                <a:lnTo>
                  <a:pt x="85" y="223"/>
                </a:lnTo>
                <a:lnTo>
                  <a:pt x="120" y="301"/>
                </a:lnTo>
                <a:lnTo>
                  <a:pt x="152" y="313"/>
                </a:lnTo>
                <a:lnTo>
                  <a:pt x="207" y="172"/>
                </a:lnTo>
                <a:lnTo>
                  <a:pt x="266" y="170"/>
                </a:lnTo>
                <a:lnTo>
                  <a:pt x="219" y="106"/>
                </a:lnTo>
                <a:lnTo>
                  <a:pt x="244" y="81"/>
                </a:lnTo>
                <a:lnTo>
                  <a:pt x="215" y="49"/>
                </a:lnTo>
                <a:lnTo>
                  <a:pt x="59" y="0"/>
                </a:lnTo>
                <a:close/>
              </a:path>
            </a:pathLst>
          </a:custGeom>
          <a:solidFill>
            <a:schemeClr val="accent3"/>
          </a:solidFill>
          <a:ln w="12700">
            <a:solidFill>
              <a:schemeClr val="bg1"/>
            </a:solidFill>
            <a:round/>
            <a:headEnd/>
            <a:tailEnd/>
          </a:ln>
        </p:spPr>
        <p:txBody>
          <a:bodyPr/>
          <a:lstStyle/>
          <a:p>
            <a:pPr>
              <a:defRPr/>
            </a:pPr>
            <a:endParaRPr lang="nl-NL"/>
          </a:p>
        </p:txBody>
      </p:sp>
      <p:sp>
        <p:nvSpPr>
          <p:cNvPr id="97" name="Freeform 98"/>
          <p:cNvSpPr>
            <a:spLocks noChangeAspect="1"/>
          </p:cNvSpPr>
          <p:nvPr/>
        </p:nvSpPr>
        <p:spPr bwMode="auto">
          <a:xfrm>
            <a:off x="4688499" y="2266370"/>
            <a:ext cx="305485" cy="459962"/>
          </a:xfrm>
          <a:custGeom>
            <a:avLst/>
            <a:gdLst>
              <a:gd name="T0" fmla="*/ 43 w 354"/>
              <a:gd name="T1" fmla="*/ 19 h 490"/>
              <a:gd name="T2" fmla="*/ 41 w 354"/>
              <a:gd name="T3" fmla="*/ 49 h 490"/>
              <a:gd name="T4" fmla="*/ 52 w 354"/>
              <a:gd name="T5" fmla="*/ 139 h 490"/>
              <a:gd name="T6" fmla="*/ 47 w 354"/>
              <a:gd name="T7" fmla="*/ 193 h 490"/>
              <a:gd name="T8" fmla="*/ 35 w 354"/>
              <a:gd name="T9" fmla="*/ 287 h 490"/>
              <a:gd name="T10" fmla="*/ 0 w 354"/>
              <a:gd name="T11" fmla="*/ 395 h 490"/>
              <a:gd name="T12" fmla="*/ 29 w 354"/>
              <a:gd name="T13" fmla="*/ 444 h 490"/>
              <a:gd name="T14" fmla="*/ 3 w 354"/>
              <a:gd name="T15" fmla="*/ 490 h 490"/>
              <a:gd name="T16" fmla="*/ 167 w 354"/>
              <a:gd name="T17" fmla="*/ 459 h 490"/>
              <a:gd name="T18" fmla="*/ 198 w 354"/>
              <a:gd name="T19" fmla="*/ 376 h 490"/>
              <a:gd name="T20" fmla="*/ 238 w 354"/>
              <a:gd name="T21" fmla="*/ 350 h 490"/>
              <a:gd name="T22" fmla="*/ 319 w 354"/>
              <a:gd name="T23" fmla="*/ 350 h 490"/>
              <a:gd name="T24" fmla="*/ 319 w 354"/>
              <a:gd name="T25" fmla="*/ 287 h 490"/>
              <a:gd name="T26" fmla="*/ 354 w 354"/>
              <a:gd name="T27" fmla="*/ 247 h 490"/>
              <a:gd name="T28" fmla="*/ 316 w 354"/>
              <a:gd name="T29" fmla="*/ 161 h 490"/>
              <a:gd name="T30" fmla="*/ 348 w 354"/>
              <a:gd name="T31" fmla="*/ 139 h 490"/>
              <a:gd name="T32" fmla="*/ 339 w 354"/>
              <a:gd name="T33" fmla="*/ 125 h 490"/>
              <a:gd name="T34" fmla="*/ 249 w 354"/>
              <a:gd name="T35" fmla="*/ 67 h 490"/>
              <a:gd name="T36" fmla="*/ 205 w 354"/>
              <a:gd name="T37" fmla="*/ 0 h 490"/>
              <a:gd name="T38" fmla="*/ 105 w 354"/>
              <a:gd name="T39" fmla="*/ 25 h 490"/>
              <a:gd name="T40" fmla="*/ 43 w 354"/>
              <a:gd name="T41" fmla="*/ 19 h 490"/>
              <a:gd name="T42" fmla="*/ 43 w 354"/>
              <a:gd name="T43" fmla="*/ 19 h 49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4"/>
              <a:gd name="T67" fmla="*/ 0 h 490"/>
              <a:gd name="T68" fmla="*/ 354 w 354"/>
              <a:gd name="T69" fmla="*/ 490 h 49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4" h="490">
                <a:moveTo>
                  <a:pt x="43" y="19"/>
                </a:moveTo>
                <a:lnTo>
                  <a:pt x="41" y="49"/>
                </a:lnTo>
                <a:lnTo>
                  <a:pt x="52" y="139"/>
                </a:lnTo>
                <a:lnTo>
                  <a:pt x="47" y="193"/>
                </a:lnTo>
                <a:lnTo>
                  <a:pt x="35" y="287"/>
                </a:lnTo>
                <a:lnTo>
                  <a:pt x="0" y="395"/>
                </a:lnTo>
                <a:lnTo>
                  <a:pt x="29" y="444"/>
                </a:lnTo>
                <a:lnTo>
                  <a:pt x="3" y="490"/>
                </a:lnTo>
                <a:lnTo>
                  <a:pt x="167" y="459"/>
                </a:lnTo>
                <a:lnTo>
                  <a:pt x="198" y="376"/>
                </a:lnTo>
                <a:lnTo>
                  <a:pt x="238" y="350"/>
                </a:lnTo>
                <a:lnTo>
                  <a:pt x="319" y="350"/>
                </a:lnTo>
                <a:lnTo>
                  <a:pt x="319" y="287"/>
                </a:lnTo>
                <a:lnTo>
                  <a:pt x="354" y="247"/>
                </a:lnTo>
                <a:lnTo>
                  <a:pt x="316" y="161"/>
                </a:lnTo>
                <a:lnTo>
                  <a:pt x="348" y="139"/>
                </a:lnTo>
                <a:lnTo>
                  <a:pt x="339" y="125"/>
                </a:lnTo>
                <a:lnTo>
                  <a:pt x="249" y="67"/>
                </a:lnTo>
                <a:lnTo>
                  <a:pt x="205" y="0"/>
                </a:lnTo>
                <a:lnTo>
                  <a:pt x="105" y="25"/>
                </a:lnTo>
                <a:lnTo>
                  <a:pt x="43" y="19"/>
                </a:lnTo>
                <a:close/>
              </a:path>
            </a:pathLst>
          </a:custGeom>
          <a:solidFill>
            <a:schemeClr val="accent3"/>
          </a:solidFill>
          <a:ln w="12700">
            <a:solidFill>
              <a:schemeClr val="bg1"/>
            </a:solidFill>
            <a:round/>
            <a:headEnd/>
            <a:tailEnd/>
          </a:ln>
        </p:spPr>
        <p:txBody>
          <a:bodyPr/>
          <a:lstStyle/>
          <a:p>
            <a:pPr>
              <a:defRPr/>
            </a:pPr>
            <a:endParaRPr lang="nl-NL"/>
          </a:p>
        </p:txBody>
      </p:sp>
      <p:sp>
        <p:nvSpPr>
          <p:cNvPr id="98" name="Freeform 99"/>
          <p:cNvSpPr>
            <a:spLocks noChangeAspect="1"/>
          </p:cNvSpPr>
          <p:nvPr/>
        </p:nvSpPr>
        <p:spPr bwMode="auto">
          <a:xfrm>
            <a:off x="5691250" y="3463018"/>
            <a:ext cx="381425" cy="325339"/>
          </a:xfrm>
          <a:custGeom>
            <a:avLst/>
            <a:gdLst>
              <a:gd name="T0" fmla="*/ 136 w 441"/>
              <a:gd name="T1" fmla="*/ 51 h 347"/>
              <a:gd name="T2" fmla="*/ 139 w 441"/>
              <a:gd name="T3" fmla="*/ 93 h 347"/>
              <a:gd name="T4" fmla="*/ 6 w 441"/>
              <a:gd name="T5" fmla="*/ 152 h 347"/>
              <a:gd name="T6" fmla="*/ 0 w 441"/>
              <a:gd name="T7" fmla="*/ 245 h 347"/>
              <a:gd name="T8" fmla="*/ 63 w 441"/>
              <a:gd name="T9" fmla="*/ 324 h 347"/>
              <a:gd name="T10" fmla="*/ 184 w 441"/>
              <a:gd name="T11" fmla="*/ 347 h 347"/>
              <a:gd name="T12" fmla="*/ 245 w 441"/>
              <a:gd name="T13" fmla="*/ 244 h 347"/>
              <a:gd name="T14" fmla="*/ 309 w 441"/>
              <a:gd name="T15" fmla="*/ 341 h 347"/>
              <a:gd name="T16" fmla="*/ 347 w 441"/>
              <a:gd name="T17" fmla="*/ 330 h 347"/>
              <a:gd name="T18" fmla="*/ 441 w 441"/>
              <a:gd name="T19" fmla="*/ 228 h 347"/>
              <a:gd name="T20" fmla="*/ 403 w 441"/>
              <a:gd name="T21" fmla="*/ 162 h 347"/>
              <a:gd name="T22" fmla="*/ 347 w 441"/>
              <a:gd name="T23" fmla="*/ 148 h 347"/>
              <a:gd name="T24" fmla="*/ 315 w 441"/>
              <a:gd name="T25" fmla="*/ 0 h 347"/>
              <a:gd name="T26" fmla="*/ 136 w 441"/>
              <a:gd name="T27" fmla="*/ 51 h 347"/>
              <a:gd name="T28" fmla="*/ 136 w 441"/>
              <a:gd name="T29" fmla="*/ 51 h 3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41"/>
              <a:gd name="T46" fmla="*/ 0 h 347"/>
              <a:gd name="T47" fmla="*/ 441 w 441"/>
              <a:gd name="T48" fmla="*/ 347 h 3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41" h="347">
                <a:moveTo>
                  <a:pt x="136" y="51"/>
                </a:moveTo>
                <a:lnTo>
                  <a:pt x="139" y="93"/>
                </a:lnTo>
                <a:lnTo>
                  <a:pt x="6" y="152"/>
                </a:lnTo>
                <a:lnTo>
                  <a:pt x="0" y="245"/>
                </a:lnTo>
                <a:lnTo>
                  <a:pt x="63" y="324"/>
                </a:lnTo>
                <a:lnTo>
                  <a:pt x="184" y="347"/>
                </a:lnTo>
                <a:lnTo>
                  <a:pt x="245" y="244"/>
                </a:lnTo>
                <a:lnTo>
                  <a:pt x="309" y="341"/>
                </a:lnTo>
                <a:lnTo>
                  <a:pt x="347" y="330"/>
                </a:lnTo>
                <a:lnTo>
                  <a:pt x="441" y="228"/>
                </a:lnTo>
                <a:lnTo>
                  <a:pt x="403" y="162"/>
                </a:lnTo>
                <a:lnTo>
                  <a:pt x="347" y="148"/>
                </a:lnTo>
                <a:lnTo>
                  <a:pt x="315" y="0"/>
                </a:lnTo>
                <a:lnTo>
                  <a:pt x="136" y="51"/>
                </a:lnTo>
                <a:close/>
              </a:path>
            </a:pathLst>
          </a:custGeom>
          <a:solidFill>
            <a:schemeClr val="accent3"/>
          </a:solidFill>
          <a:ln w="12700">
            <a:solidFill>
              <a:schemeClr val="bg1"/>
            </a:solidFill>
            <a:round/>
            <a:headEnd/>
            <a:tailEnd/>
          </a:ln>
        </p:spPr>
        <p:txBody>
          <a:bodyPr/>
          <a:lstStyle/>
          <a:p>
            <a:pPr>
              <a:defRPr/>
            </a:pPr>
            <a:endParaRPr lang="nl-NL"/>
          </a:p>
        </p:txBody>
      </p:sp>
      <p:sp>
        <p:nvSpPr>
          <p:cNvPr id="99" name="Freeform 100"/>
          <p:cNvSpPr>
            <a:spLocks noChangeAspect="1"/>
          </p:cNvSpPr>
          <p:nvPr/>
        </p:nvSpPr>
        <p:spPr bwMode="auto">
          <a:xfrm>
            <a:off x="4964644" y="2453346"/>
            <a:ext cx="412492" cy="345906"/>
          </a:xfrm>
          <a:custGeom>
            <a:avLst/>
            <a:gdLst>
              <a:gd name="T0" fmla="*/ 35 w 478"/>
              <a:gd name="T1" fmla="*/ 50 h 371"/>
              <a:gd name="T2" fmla="*/ 0 w 478"/>
              <a:gd name="T3" fmla="*/ 84 h 371"/>
              <a:gd name="T4" fmla="*/ 0 w 478"/>
              <a:gd name="T5" fmla="*/ 151 h 371"/>
              <a:gd name="T6" fmla="*/ 49 w 478"/>
              <a:gd name="T7" fmla="*/ 174 h 371"/>
              <a:gd name="T8" fmla="*/ 87 w 478"/>
              <a:gd name="T9" fmla="*/ 278 h 371"/>
              <a:gd name="T10" fmla="*/ 113 w 478"/>
              <a:gd name="T11" fmla="*/ 257 h 371"/>
              <a:gd name="T12" fmla="*/ 163 w 478"/>
              <a:gd name="T13" fmla="*/ 348 h 371"/>
              <a:gd name="T14" fmla="*/ 240 w 478"/>
              <a:gd name="T15" fmla="*/ 371 h 371"/>
              <a:gd name="T16" fmla="*/ 438 w 478"/>
              <a:gd name="T17" fmla="*/ 312 h 371"/>
              <a:gd name="T18" fmla="*/ 478 w 478"/>
              <a:gd name="T19" fmla="*/ 278 h 371"/>
              <a:gd name="T20" fmla="*/ 478 w 478"/>
              <a:gd name="T21" fmla="*/ 210 h 371"/>
              <a:gd name="T22" fmla="*/ 415 w 478"/>
              <a:gd name="T23" fmla="*/ 113 h 371"/>
              <a:gd name="T24" fmla="*/ 415 w 478"/>
              <a:gd name="T25" fmla="*/ 73 h 371"/>
              <a:gd name="T26" fmla="*/ 330 w 478"/>
              <a:gd name="T27" fmla="*/ 55 h 371"/>
              <a:gd name="T28" fmla="*/ 300 w 478"/>
              <a:gd name="T29" fmla="*/ 0 h 371"/>
              <a:gd name="T30" fmla="*/ 210 w 478"/>
              <a:gd name="T31" fmla="*/ 0 h 371"/>
              <a:gd name="T32" fmla="*/ 155 w 478"/>
              <a:gd name="T33" fmla="*/ 81 h 371"/>
              <a:gd name="T34" fmla="*/ 92 w 478"/>
              <a:gd name="T35" fmla="*/ 81 h 371"/>
              <a:gd name="T36" fmla="*/ 35 w 478"/>
              <a:gd name="T37" fmla="*/ 50 h 371"/>
              <a:gd name="T38" fmla="*/ 35 w 478"/>
              <a:gd name="T39" fmla="*/ 50 h 37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8"/>
              <a:gd name="T61" fmla="*/ 0 h 371"/>
              <a:gd name="T62" fmla="*/ 478 w 478"/>
              <a:gd name="T63" fmla="*/ 371 h 37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8" h="371">
                <a:moveTo>
                  <a:pt x="35" y="50"/>
                </a:moveTo>
                <a:lnTo>
                  <a:pt x="0" y="84"/>
                </a:lnTo>
                <a:lnTo>
                  <a:pt x="0" y="151"/>
                </a:lnTo>
                <a:lnTo>
                  <a:pt x="49" y="174"/>
                </a:lnTo>
                <a:lnTo>
                  <a:pt x="87" y="278"/>
                </a:lnTo>
                <a:lnTo>
                  <a:pt x="113" y="257"/>
                </a:lnTo>
                <a:lnTo>
                  <a:pt x="163" y="348"/>
                </a:lnTo>
                <a:lnTo>
                  <a:pt x="240" y="371"/>
                </a:lnTo>
                <a:lnTo>
                  <a:pt x="438" y="312"/>
                </a:lnTo>
                <a:lnTo>
                  <a:pt x="478" y="278"/>
                </a:lnTo>
                <a:lnTo>
                  <a:pt x="478" y="210"/>
                </a:lnTo>
                <a:lnTo>
                  <a:pt x="415" y="113"/>
                </a:lnTo>
                <a:lnTo>
                  <a:pt x="415" y="73"/>
                </a:lnTo>
                <a:lnTo>
                  <a:pt x="330" y="55"/>
                </a:lnTo>
                <a:lnTo>
                  <a:pt x="300" y="0"/>
                </a:lnTo>
                <a:lnTo>
                  <a:pt x="210" y="0"/>
                </a:lnTo>
                <a:lnTo>
                  <a:pt x="155" y="81"/>
                </a:lnTo>
                <a:lnTo>
                  <a:pt x="92" y="81"/>
                </a:lnTo>
                <a:lnTo>
                  <a:pt x="35" y="50"/>
                </a:lnTo>
                <a:close/>
              </a:path>
            </a:pathLst>
          </a:custGeom>
          <a:solidFill>
            <a:schemeClr val="accent3"/>
          </a:solidFill>
          <a:ln w="12700">
            <a:solidFill>
              <a:schemeClr val="bg1"/>
            </a:solidFill>
            <a:round/>
            <a:headEnd/>
            <a:tailEnd/>
          </a:ln>
        </p:spPr>
        <p:txBody>
          <a:bodyPr/>
          <a:lstStyle/>
          <a:p>
            <a:pPr>
              <a:defRPr/>
            </a:pPr>
            <a:endParaRPr lang="nl-NL"/>
          </a:p>
        </p:txBody>
      </p:sp>
      <p:sp>
        <p:nvSpPr>
          <p:cNvPr id="100" name="Freeform 101"/>
          <p:cNvSpPr>
            <a:spLocks noChangeAspect="1"/>
          </p:cNvSpPr>
          <p:nvPr/>
        </p:nvSpPr>
        <p:spPr bwMode="auto">
          <a:xfrm>
            <a:off x="4541797" y="2440258"/>
            <a:ext cx="189850" cy="211283"/>
          </a:xfrm>
          <a:custGeom>
            <a:avLst/>
            <a:gdLst>
              <a:gd name="T0" fmla="*/ 119 w 219"/>
              <a:gd name="T1" fmla="*/ 3 h 227"/>
              <a:gd name="T2" fmla="*/ 113 w 219"/>
              <a:gd name="T3" fmla="*/ 0 h 227"/>
              <a:gd name="T4" fmla="*/ 55 w 219"/>
              <a:gd name="T5" fmla="*/ 0 h 227"/>
              <a:gd name="T6" fmla="*/ 0 w 219"/>
              <a:gd name="T7" fmla="*/ 143 h 227"/>
              <a:gd name="T8" fmla="*/ 34 w 219"/>
              <a:gd name="T9" fmla="*/ 160 h 227"/>
              <a:gd name="T10" fmla="*/ 26 w 219"/>
              <a:gd name="T11" fmla="*/ 227 h 227"/>
              <a:gd name="T12" fmla="*/ 169 w 219"/>
              <a:gd name="T13" fmla="*/ 211 h 227"/>
              <a:gd name="T14" fmla="*/ 204 w 219"/>
              <a:gd name="T15" fmla="*/ 99 h 227"/>
              <a:gd name="T16" fmla="*/ 219 w 219"/>
              <a:gd name="T17" fmla="*/ 9 h 227"/>
              <a:gd name="T18" fmla="*/ 119 w 219"/>
              <a:gd name="T19" fmla="*/ 3 h 227"/>
              <a:gd name="T20" fmla="*/ 119 w 219"/>
              <a:gd name="T21" fmla="*/ 3 h 2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9"/>
              <a:gd name="T34" fmla="*/ 0 h 227"/>
              <a:gd name="T35" fmla="*/ 219 w 219"/>
              <a:gd name="T36" fmla="*/ 227 h 2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9" h="227">
                <a:moveTo>
                  <a:pt x="119" y="3"/>
                </a:moveTo>
                <a:lnTo>
                  <a:pt x="113" y="0"/>
                </a:lnTo>
                <a:lnTo>
                  <a:pt x="55" y="0"/>
                </a:lnTo>
                <a:lnTo>
                  <a:pt x="0" y="143"/>
                </a:lnTo>
                <a:lnTo>
                  <a:pt x="34" y="160"/>
                </a:lnTo>
                <a:lnTo>
                  <a:pt x="26" y="227"/>
                </a:lnTo>
                <a:lnTo>
                  <a:pt x="169" y="211"/>
                </a:lnTo>
                <a:lnTo>
                  <a:pt x="204" y="99"/>
                </a:lnTo>
                <a:lnTo>
                  <a:pt x="219" y="9"/>
                </a:lnTo>
                <a:lnTo>
                  <a:pt x="119" y="3"/>
                </a:lnTo>
                <a:close/>
              </a:path>
            </a:pathLst>
          </a:custGeom>
          <a:solidFill>
            <a:schemeClr val="accent3"/>
          </a:solidFill>
          <a:ln w="12700">
            <a:solidFill>
              <a:schemeClr val="bg1"/>
            </a:solidFill>
            <a:round/>
            <a:headEnd/>
            <a:tailEnd/>
          </a:ln>
        </p:spPr>
        <p:txBody>
          <a:bodyPr/>
          <a:lstStyle/>
          <a:p>
            <a:pPr>
              <a:defRPr/>
            </a:pPr>
            <a:endParaRPr lang="nl-NL"/>
          </a:p>
        </p:txBody>
      </p:sp>
      <p:sp>
        <p:nvSpPr>
          <p:cNvPr id="101" name="Freeform 102"/>
          <p:cNvSpPr>
            <a:spLocks noChangeAspect="1"/>
          </p:cNvSpPr>
          <p:nvPr/>
        </p:nvSpPr>
        <p:spPr bwMode="auto">
          <a:xfrm>
            <a:off x="4420983" y="2636583"/>
            <a:ext cx="471172" cy="370213"/>
          </a:xfrm>
          <a:custGeom>
            <a:avLst/>
            <a:gdLst>
              <a:gd name="T0" fmla="*/ 167 w 546"/>
              <a:gd name="T1" fmla="*/ 16 h 396"/>
              <a:gd name="T2" fmla="*/ 114 w 546"/>
              <a:gd name="T3" fmla="*/ 108 h 396"/>
              <a:gd name="T4" fmla="*/ 0 w 546"/>
              <a:gd name="T5" fmla="*/ 154 h 396"/>
              <a:gd name="T6" fmla="*/ 22 w 546"/>
              <a:gd name="T7" fmla="*/ 239 h 396"/>
              <a:gd name="T8" fmla="*/ 76 w 546"/>
              <a:gd name="T9" fmla="*/ 280 h 396"/>
              <a:gd name="T10" fmla="*/ 87 w 546"/>
              <a:gd name="T11" fmla="*/ 312 h 396"/>
              <a:gd name="T12" fmla="*/ 196 w 546"/>
              <a:gd name="T13" fmla="*/ 312 h 396"/>
              <a:gd name="T14" fmla="*/ 255 w 546"/>
              <a:gd name="T15" fmla="*/ 335 h 396"/>
              <a:gd name="T16" fmla="*/ 324 w 546"/>
              <a:gd name="T17" fmla="*/ 342 h 396"/>
              <a:gd name="T18" fmla="*/ 398 w 546"/>
              <a:gd name="T19" fmla="*/ 396 h 396"/>
              <a:gd name="T20" fmla="*/ 499 w 546"/>
              <a:gd name="T21" fmla="*/ 358 h 396"/>
              <a:gd name="T22" fmla="*/ 445 w 546"/>
              <a:gd name="T23" fmla="*/ 276 h 396"/>
              <a:gd name="T24" fmla="*/ 512 w 546"/>
              <a:gd name="T25" fmla="*/ 251 h 396"/>
              <a:gd name="T26" fmla="*/ 495 w 546"/>
              <a:gd name="T27" fmla="*/ 213 h 396"/>
              <a:gd name="T28" fmla="*/ 546 w 546"/>
              <a:gd name="T29" fmla="*/ 140 h 396"/>
              <a:gd name="T30" fmla="*/ 477 w 546"/>
              <a:gd name="T31" fmla="*/ 64 h 396"/>
              <a:gd name="T32" fmla="*/ 315 w 546"/>
              <a:gd name="T33" fmla="*/ 95 h 396"/>
              <a:gd name="T34" fmla="*/ 339 w 546"/>
              <a:gd name="T35" fmla="*/ 49 h 396"/>
              <a:gd name="T36" fmla="*/ 315 w 546"/>
              <a:gd name="T37" fmla="*/ 0 h 396"/>
              <a:gd name="T38" fmla="*/ 167 w 546"/>
              <a:gd name="T39" fmla="*/ 16 h 396"/>
              <a:gd name="T40" fmla="*/ 167 w 546"/>
              <a:gd name="T41" fmla="*/ 16 h 3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6"/>
              <a:gd name="T64" fmla="*/ 0 h 396"/>
              <a:gd name="T65" fmla="*/ 546 w 546"/>
              <a:gd name="T66" fmla="*/ 396 h 39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6" h="396">
                <a:moveTo>
                  <a:pt x="167" y="16"/>
                </a:moveTo>
                <a:lnTo>
                  <a:pt x="114" y="108"/>
                </a:lnTo>
                <a:lnTo>
                  <a:pt x="0" y="154"/>
                </a:lnTo>
                <a:lnTo>
                  <a:pt x="22" y="239"/>
                </a:lnTo>
                <a:lnTo>
                  <a:pt x="76" y="280"/>
                </a:lnTo>
                <a:lnTo>
                  <a:pt x="87" y="312"/>
                </a:lnTo>
                <a:lnTo>
                  <a:pt x="196" y="312"/>
                </a:lnTo>
                <a:lnTo>
                  <a:pt x="255" y="335"/>
                </a:lnTo>
                <a:lnTo>
                  <a:pt x="324" y="342"/>
                </a:lnTo>
                <a:lnTo>
                  <a:pt x="398" y="396"/>
                </a:lnTo>
                <a:lnTo>
                  <a:pt x="499" y="358"/>
                </a:lnTo>
                <a:lnTo>
                  <a:pt x="445" y="276"/>
                </a:lnTo>
                <a:lnTo>
                  <a:pt x="512" y="251"/>
                </a:lnTo>
                <a:lnTo>
                  <a:pt x="495" y="213"/>
                </a:lnTo>
                <a:lnTo>
                  <a:pt x="546" y="140"/>
                </a:lnTo>
                <a:lnTo>
                  <a:pt x="477" y="64"/>
                </a:lnTo>
                <a:lnTo>
                  <a:pt x="315" y="95"/>
                </a:lnTo>
                <a:lnTo>
                  <a:pt x="339" y="49"/>
                </a:lnTo>
                <a:lnTo>
                  <a:pt x="315" y="0"/>
                </a:lnTo>
                <a:lnTo>
                  <a:pt x="167" y="16"/>
                </a:lnTo>
                <a:close/>
              </a:path>
            </a:pathLst>
          </a:custGeom>
          <a:solidFill>
            <a:schemeClr val="accent3"/>
          </a:solidFill>
          <a:ln w="12700">
            <a:solidFill>
              <a:schemeClr val="bg1"/>
            </a:solidFill>
            <a:round/>
            <a:headEnd/>
            <a:tailEnd/>
          </a:ln>
        </p:spPr>
        <p:txBody>
          <a:bodyPr/>
          <a:lstStyle/>
          <a:p>
            <a:pPr>
              <a:defRPr/>
            </a:pPr>
            <a:endParaRPr lang="nl-NL"/>
          </a:p>
        </p:txBody>
      </p:sp>
      <p:sp>
        <p:nvSpPr>
          <p:cNvPr id="102" name="Freeform 103"/>
          <p:cNvSpPr>
            <a:spLocks noChangeAspect="1"/>
          </p:cNvSpPr>
          <p:nvPr/>
        </p:nvSpPr>
        <p:spPr bwMode="auto">
          <a:xfrm>
            <a:off x="4804134" y="2593578"/>
            <a:ext cx="431476" cy="480529"/>
          </a:xfrm>
          <a:custGeom>
            <a:avLst/>
            <a:gdLst>
              <a:gd name="T0" fmla="*/ 184 w 500"/>
              <a:gd name="T1" fmla="*/ 0 h 513"/>
              <a:gd name="T2" fmla="*/ 103 w 500"/>
              <a:gd name="T3" fmla="*/ 0 h 513"/>
              <a:gd name="T4" fmla="*/ 63 w 500"/>
              <a:gd name="T5" fmla="*/ 26 h 513"/>
              <a:gd name="T6" fmla="*/ 32 w 500"/>
              <a:gd name="T7" fmla="*/ 109 h 513"/>
              <a:gd name="T8" fmla="*/ 101 w 500"/>
              <a:gd name="T9" fmla="*/ 185 h 513"/>
              <a:gd name="T10" fmla="*/ 50 w 500"/>
              <a:gd name="T11" fmla="*/ 258 h 513"/>
              <a:gd name="T12" fmla="*/ 67 w 500"/>
              <a:gd name="T13" fmla="*/ 296 h 513"/>
              <a:gd name="T14" fmla="*/ 0 w 500"/>
              <a:gd name="T15" fmla="*/ 321 h 513"/>
              <a:gd name="T16" fmla="*/ 54 w 500"/>
              <a:gd name="T17" fmla="*/ 403 h 513"/>
              <a:gd name="T18" fmla="*/ 108 w 500"/>
              <a:gd name="T19" fmla="*/ 403 h 513"/>
              <a:gd name="T20" fmla="*/ 160 w 500"/>
              <a:gd name="T21" fmla="*/ 437 h 513"/>
              <a:gd name="T22" fmla="*/ 238 w 500"/>
              <a:gd name="T23" fmla="*/ 410 h 513"/>
              <a:gd name="T24" fmla="*/ 327 w 500"/>
              <a:gd name="T25" fmla="*/ 477 h 513"/>
              <a:gd name="T26" fmla="*/ 352 w 500"/>
              <a:gd name="T27" fmla="*/ 465 h 513"/>
              <a:gd name="T28" fmla="*/ 400 w 500"/>
              <a:gd name="T29" fmla="*/ 513 h 513"/>
              <a:gd name="T30" fmla="*/ 420 w 500"/>
              <a:gd name="T31" fmla="*/ 498 h 513"/>
              <a:gd name="T32" fmla="*/ 420 w 500"/>
              <a:gd name="T33" fmla="*/ 468 h 513"/>
              <a:gd name="T34" fmla="*/ 443 w 500"/>
              <a:gd name="T35" fmla="*/ 456 h 513"/>
              <a:gd name="T36" fmla="*/ 429 w 500"/>
              <a:gd name="T37" fmla="*/ 412 h 513"/>
              <a:gd name="T38" fmla="*/ 500 w 500"/>
              <a:gd name="T39" fmla="*/ 287 h 513"/>
              <a:gd name="T40" fmla="*/ 479 w 500"/>
              <a:gd name="T41" fmla="*/ 243 h 513"/>
              <a:gd name="T42" fmla="*/ 488 w 500"/>
              <a:gd name="T43" fmla="*/ 199 h 513"/>
              <a:gd name="T44" fmla="*/ 429 w 500"/>
              <a:gd name="T45" fmla="*/ 220 h 513"/>
              <a:gd name="T46" fmla="*/ 344 w 500"/>
              <a:gd name="T47" fmla="*/ 193 h 513"/>
              <a:gd name="T48" fmla="*/ 298 w 500"/>
              <a:gd name="T49" fmla="*/ 106 h 513"/>
              <a:gd name="T50" fmla="*/ 271 w 500"/>
              <a:gd name="T51" fmla="*/ 127 h 513"/>
              <a:gd name="T52" fmla="*/ 230 w 500"/>
              <a:gd name="T53" fmla="*/ 18 h 513"/>
              <a:gd name="T54" fmla="*/ 184 w 500"/>
              <a:gd name="T55" fmla="*/ 0 h 513"/>
              <a:gd name="T56" fmla="*/ 184 w 500"/>
              <a:gd name="T57" fmla="*/ 0 h 51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0"/>
              <a:gd name="T88" fmla="*/ 0 h 513"/>
              <a:gd name="T89" fmla="*/ 500 w 500"/>
              <a:gd name="T90" fmla="*/ 513 h 51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0" h="513">
                <a:moveTo>
                  <a:pt x="184" y="0"/>
                </a:moveTo>
                <a:lnTo>
                  <a:pt x="103" y="0"/>
                </a:lnTo>
                <a:lnTo>
                  <a:pt x="63" y="26"/>
                </a:lnTo>
                <a:lnTo>
                  <a:pt x="32" y="109"/>
                </a:lnTo>
                <a:lnTo>
                  <a:pt x="101" y="185"/>
                </a:lnTo>
                <a:lnTo>
                  <a:pt x="50" y="258"/>
                </a:lnTo>
                <a:lnTo>
                  <a:pt x="67" y="296"/>
                </a:lnTo>
                <a:lnTo>
                  <a:pt x="0" y="321"/>
                </a:lnTo>
                <a:lnTo>
                  <a:pt x="54" y="403"/>
                </a:lnTo>
                <a:lnTo>
                  <a:pt x="108" y="403"/>
                </a:lnTo>
                <a:lnTo>
                  <a:pt x="160" y="437"/>
                </a:lnTo>
                <a:lnTo>
                  <a:pt x="238" y="410"/>
                </a:lnTo>
                <a:lnTo>
                  <a:pt x="327" y="477"/>
                </a:lnTo>
                <a:lnTo>
                  <a:pt x="352" y="465"/>
                </a:lnTo>
                <a:lnTo>
                  <a:pt x="400" y="513"/>
                </a:lnTo>
                <a:lnTo>
                  <a:pt x="420" y="498"/>
                </a:lnTo>
                <a:lnTo>
                  <a:pt x="420" y="468"/>
                </a:lnTo>
                <a:lnTo>
                  <a:pt x="443" y="456"/>
                </a:lnTo>
                <a:lnTo>
                  <a:pt x="429" y="412"/>
                </a:lnTo>
                <a:lnTo>
                  <a:pt x="500" y="287"/>
                </a:lnTo>
                <a:lnTo>
                  <a:pt x="479" y="243"/>
                </a:lnTo>
                <a:lnTo>
                  <a:pt x="488" y="199"/>
                </a:lnTo>
                <a:lnTo>
                  <a:pt x="429" y="220"/>
                </a:lnTo>
                <a:lnTo>
                  <a:pt x="344" y="193"/>
                </a:lnTo>
                <a:lnTo>
                  <a:pt x="298" y="106"/>
                </a:lnTo>
                <a:lnTo>
                  <a:pt x="271" y="127"/>
                </a:lnTo>
                <a:lnTo>
                  <a:pt x="230" y="18"/>
                </a:lnTo>
                <a:lnTo>
                  <a:pt x="184" y="0"/>
                </a:lnTo>
                <a:close/>
              </a:path>
            </a:pathLst>
          </a:custGeom>
          <a:solidFill>
            <a:schemeClr val="accent3"/>
          </a:solidFill>
          <a:ln w="12700">
            <a:solidFill>
              <a:schemeClr val="bg1"/>
            </a:solidFill>
            <a:round/>
            <a:headEnd/>
            <a:tailEnd/>
          </a:ln>
        </p:spPr>
        <p:txBody>
          <a:bodyPr/>
          <a:lstStyle/>
          <a:p>
            <a:pPr>
              <a:defRPr/>
            </a:pPr>
            <a:endParaRPr lang="nl-NL"/>
          </a:p>
        </p:txBody>
      </p:sp>
      <p:sp>
        <p:nvSpPr>
          <p:cNvPr id="103" name="Freeform 104"/>
          <p:cNvSpPr>
            <a:spLocks noChangeAspect="1"/>
          </p:cNvSpPr>
          <p:nvPr/>
        </p:nvSpPr>
        <p:spPr bwMode="auto">
          <a:xfrm>
            <a:off x="5321906" y="2442128"/>
            <a:ext cx="322744" cy="493617"/>
          </a:xfrm>
          <a:custGeom>
            <a:avLst/>
            <a:gdLst>
              <a:gd name="T0" fmla="*/ 114 w 374"/>
              <a:gd name="T1" fmla="*/ 0 h 528"/>
              <a:gd name="T2" fmla="*/ 46 w 374"/>
              <a:gd name="T3" fmla="*/ 18 h 528"/>
              <a:gd name="T4" fmla="*/ 50 w 374"/>
              <a:gd name="T5" fmla="*/ 71 h 528"/>
              <a:gd name="T6" fmla="*/ 0 w 374"/>
              <a:gd name="T7" fmla="*/ 85 h 528"/>
              <a:gd name="T8" fmla="*/ 0 w 374"/>
              <a:gd name="T9" fmla="*/ 126 h 528"/>
              <a:gd name="T10" fmla="*/ 63 w 374"/>
              <a:gd name="T11" fmla="*/ 227 h 528"/>
              <a:gd name="T12" fmla="*/ 63 w 374"/>
              <a:gd name="T13" fmla="*/ 290 h 528"/>
              <a:gd name="T14" fmla="*/ 21 w 374"/>
              <a:gd name="T15" fmla="*/ 328 h 528"/>
              <a:gd name="T16" fmla="*/ 90 w 374"/>
              <a:gd name="T17" fmla="*/ 376 h 528"/>
              <a:gd name="T18" fmla="*/ 128 w 374"/>
              <a:gd name="T19" fmla="*/ 485 h 528"/>
              <a:gd name="T20" fmla="*/ 210 w 374"/>
              <a:gd name="T21" fmla="*/ 503 h 528"/>
              <a:gd name="T22" fmla="*/ 217 w 374"/>
              <a:gd name="T23" fmla="*/ 528 h 528"/>
              <a:gd name="T24" fmla="*/ 248 w 374"/>
              <a:gd name="T25" fmla="*/ 528 h 528"/>
              <a:gd name="T26" fmla="*/ 271 w 374"/>
              <a:gd name="T27" fmla="*/ 494 h 528"/>
              <a:gd name="T28" fmla="*/ 313 w 374"/>
              <a:gd name="T29" fmla="*/ 494 h 528"/>
              <a:gd name="T30" fmla="*/ 351 w 374"/>
              <a:gd name="T31" fmla="*/ 468 h 528"/>
              <a:gd name="T32" fmla="*/ 351 w 374"/>
              <a:gd name="T33" fmla="*/ 423 h 528"/>
              <a:gd name="T34" fmla="*/ 374 w 374"/>
              <a:gd name="T35" fmla="*/ 345 h 528"/>
              <a:gd name="T36" fmla="*/ 369 w 374"/>
              <a:gd name="T37" fmla="*/ 294 h 528"/>
              <a:gd name="T38" fmla="*/ 327 w 374"/>
              <a:gd name="T39" fmla="*/ 272 h 528"/>
              <a:gd name="T40" fmla="*/ 329 w 374"/>
              <a:gd name="T41" fmla="*/ 204 h 528"/>
              <a:gd name="T42" fmla="*/ 287 w 374"/>
              <a:gd name="T43" fmla="*/ 163 h 528"/>
              <a:gd name="T44" fmla="*/ 259 w 374"/>
              <a:gd name="T45" fmla="*/ 163 h 528"/>
              <a:gd name="T46" fmla="*/ 257 w 374"/>
              <a:gd name="T47" fmla="*/ 125 h 528"/>
              <a:gd name="T48" fmla="*/ 225 w 374"/>
              <a:gd name="T49" fmla="*/ 76 h 528"/>
              <a:gd name="T50" fmla="*/ 114 w 374"/>
              <a:gd name="T51" fmla="*/ 32 h 528"/>
              <a:gd name="T52" fmla="*/ 114 w 374"/>
              <a:gd name="T53" fmla="*/ 0 h 528"/>
              <a:gd name="T54" fmla="*/ 114 w 374"/>
              <a:gd name="T55" fmla="*/ 0 h 52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74"/>
              <a:gd name="T85" fmla="*/ 0 h 528"/>
              <a:gd name="T86" fmla="*/ 374 w 374"/>
              <a:gd name="T87" fmla="*/ 528 h 52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74" h="528">
                <a:moveTo>
                  <a:pt x="114" y="0"/>
                </a:moveTo>
                <a:lnTo>
                  <a:pt x="46" y="18"/>
                </a:lnTo>
                <a:lnTo>
                  <a:pt x="50" y="71"/>
                </a:lnTo>
                <a:lnTo>
                  <a:pt x="0" y="85"/>
                </a:lnTo>
                <a:lnTo>
                  <a:pt x="0" y="126"/>
                </a:lnTo>
                <a:lnTo>
                  <a:pt x="63" y="227"/>
                </a:lnTo>
                <a:lnTo>
                  <a:pt x="63" y="290"/>
                </a:lnTo>
                <a:lnTo>
                  <a:pt x="21" y="328"/>
                </a:lnTo>
                <a:lnTo>
                  <a:pt x="90" y="376"/>
                </a:lnTo>
                <a:lnTo>
                  <a:pt x="128" y="485"/>
                </a:lnTo>
                <a:lnTo>
                  <a:pt x="210" y="503"/>
                </a:lnTo>
                <a:lnTo>
                  <a:pt x="217" y="528"/>
                </a:lnTo>
                <a:lnTo>
                  <a:pt x="248" y="528"/>
                </a:lnTo>
                <a:lnTo>
                  <a:pt x="271" y="494"/>
                </a:lnTo>
                <a:lnTo>
                  <a:pt x="313" y="494"/>
                </a:lnTo>
                <a:lnTo>
                  <a:pt x="351" y="468"/>
                </a:lnTo>
                <a:lnTo>
                  <a:pt x="351" y="423"/>
                </a:lnTo>
                <a:lnTo>
                  <a:pt x="374" y="345"/>
                </a:lnTo>
                <a:lnTo>
                  <a:pt x="369" y="294"/>
                </a:lnTo>
                <a:lnTo>
                  <a:pt x="327" y="272"/>
                </a:lnTo>
                <a:lnTo>
                  <a:pt x="329" y="204"/>
                </a:lnTo>
                <a:lnTo>
                  <a:pt x="287" y="163"/>
                </a:lnTo>
                <a:lnTo>
                  <a:pt x="259" y="163"/>
                </a:lnTo>
                <a:lnTo>
                  <a:pt x="257" y="125"/>
                </a:lnTo>
                <a:lnTo>
                  <a:pt x="225" y="76"/>
                </a:lnTo>
                <a:lnTo>
                  <a:pt x="114" y="32"/>
                </a:lnTo>
                <a:lnTo>
                  <a:pt x="114" y="0"/>
                </a:lnTo>
                <a:close/>
              </a:path>
            </a:pathLst>
          </a:custGeom>
          <a:solidFill>
            <a:schemeClr val="accent3"/>
          </a:solidFill>
          <a:ln w="12700">
            <a:solidFill>
              <a:schemeClr val="bg1"/>
            </a:solidFill>
            <a:round/>
            <a:headEnd/>
            <a:tailEnd/>
          </a:ln>
        </p:spPr>
        <p:txBody>
          <a:bodyPr/>
          <a:lstStyle/>
          <a:p>
            <a:pPr>
              <a:defRPr/>
            </a:pPr>
            <a:endParaRPr lang="nl-NL"/>
          </a:p>
        </p:txBody>
      </p:sp>
      <p:sp>
        <p:nvSpPr>
          <p:cNvPr id="104" name="Freeform 105"/>
          <p:cNvSpPr>
            <a:spLocks noChangeAspect="1"/>
          </p:cNvSpPr>
          <p:nvPr/>
        </p:nvSpPr>
        <p:spPr bwMode="auto">
          <a:xfrm>
            <a:off x="5175204" y="2745029"/>
            <a:ext cx="403862" cy="512315"/>
          </a:xfrm>
          <a:custGeom>
            <a:avLst/>
            <a:gdLst>
              <a:gd name="T0" fmla="*/ 191 w 468"/>
              <a:gd name="T1" fmla="*/ 0 h 547"/>
              <a:gd name="T2" fmla="*/ 58 w 468"/>
              <a:gd name="T3" fmla="*/ 38 h 547"/>
              <a:gd name="T4" fmla="*/ 50 w 468"/>
              <a:gd name="T5" fmla="*/ 82 h 547"/>
              <a:gd name="T6" fmla="*/ 70 w 468"/>
              <a:gd name="T7" fmla="*/ 128 h 547"/>
              <a:gd name="T8" fmla="*/ 0 w 468"/>
              <a:gd name="T9" fmla="*/ 251 h 547"/>
              <a:gd name="T10" fmla="*/ 14 w 468"/>
              <a:gd name="T11" fmla="*/ 295 h 547"/>
              <a:gd name="T12" fmla="*/ 14 w 468"/>
              <a:gd name="T13" fmla="*/ 377 h 547"/>
              <a:gd name="T14" fmla="*/ 44 w 468"/>
              <a:gd name="T15" fmla="*/ 438 h 547"/>
              <a:gd name="T16" fmla="*/ 146 w 468"/>
              <a:gd name="T17" fmla="*/ 483 h 547"/>
              <a:gd name="T18" fmla="*/ 207 w 468"/>
              <a:gd name="T19" fmla="*/ 547 h 547"/>
              <a:gd name="T20" fmla="*/ 398 w 468"/>
              <a:gd name="T21" fmla="*/ 498 h 547"/>
              <a:gd name="T22" fmla="*/ 463 w 468"/>
              <a:gd name="T23" fmla="*/ 418 h 547"/>
              <a:gd name="T24" fmla="*/ 468 w 468"/>
              <a:gd name="T25" fmla="*/ 337 h 547"/>
              <a:gd name="T26" fmla="*/ 429 w 468"/>
              <a:gd name="T27" fmla="*/ 276 h 547"/>
              <a:gd name="T28" fmla="*/ 457 w 468"/>
              <a:gd name="T29" fmla="*/ 225 h 547"/>
              <a:gd name="T30" fmla="*/ 429 w 468"/>
              <a:gd name="T31" fmla="*/ 184 h 547"/>
              <a:gd name="T32" fmla="*/ 418 w 468"/>
              <a:gd name="T33" fmla="*/ 199 h 547"/>
              <a:gd name="T34" fmla="*/ 387 w 468"/>
              <a:gd name="T35" fmla="*/ 199 h 547"/>
              <a:gd name="T36" fmla="*/ 383 w 468"/>
              <a:gd name="T37" fmla="*/ 179 h 547"/>
              <a:gd name="T38" fmla="*/ 298 w 468"/>
              <a:gd name="T39" fmla="*/ 160 h 547"/>
              <a:gd name="T40" fmla="*/ 260 w 468"/>
              <a:gd name="T41" fmla="*/ 52 h 547"/>
              <a:gd name="T42" fmla="*/ 191 w 468"/>
              <a:gd name="T43" fmla="*/ 0 h 547"/>
              <a:gd name="T44" fmla="*/ 191 w 468"/>
              <a:gd name="T45" fmla="*/ 0 h 5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68"/>
              <a:gd name="T70" fmla="*/ 0 h 547"/>
              <a:gd name="T71" fmla="*/ 468 w 468"/>
              <a:gd name="T72" fmla="*/ 547 h 54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68" h="547">
                <a:moveTo>
                  <a:pt x="191" y="0"/>
                </a:moveTo>
                <a:lnTo>
                  <a:pt x="58" y="38"/>
                </a:lnTo>
                <a:lnTo>
                  <a:pt x="50" y="82"/>
                </a:lnTo>
                <a:lnTo>
                  <a:pt x="70" y="128"/>
                </a:lnTo>
                <a:lnTo>
                  <a:pt x="0" y="251"/>
                </a:lnTo>
                <a:lnTo>
                  <a:pt x="14" y="295"/>
                </a:lnTo>
                <a:lnTo>
                  <a:pt x="14" y="377"/>
                </a:lnTo>
                <a:lnTo>
                  <a:pt x="44" y="438"/>
                </a:lnTo>
                <a:lnTo>
                  <a:pt x="146" y="483"/>
                </a:lnTo>
                <a:lnTo>
                  <a:pt x="207" y="547"/>
                </a:lnTo>
                <a:lnTo>
                  <a:pt x="398" y="498"/>
                </a:lnTo>
                <a:lnTo>
                  <a:pt x="463" y="418"/>
                </a:lnTo>
                <a:lnTo>
                  <a:pt x="468" y="337"/>
                </a:lnTo>
                <a:lnTo>
                  <a:pt x="429" y="276"/>
                </a:lnTo>
                <a:lnTo>
                  <a:pt x="457" y="225"/>
                </a:lnTo>
                <a:lnTo>
                  <a:pt x="429" y="184"/>
                </a:lnTo>
                <a:lnTo>
                  <a:pt x="418" y="199"/>
                </a:lnTo>
                <a:lnTo>
                  <a:pt x="387" y="199"/>
                </a:lnTo>
                <a:lnTo>
                  <a:pt x="383" y="179"/>
                </a:lnTo>
                <a:lnTo>
                  <a:pt x="298" y="160"/>
                </a:lnTo>
                <a:lnTo>
                  <a:pt x="260" y="52"/>
                </a:lnTo>
                <a:lnTo>
                  <a:pt x="191" y="0"/>
                </a:lnTo>
                <a:close/>
              </a:path>
            </a:pathLst>
          </a:custGeom>
          <a:solidFill>
            <a:schemeClr val="accent3"/>
          </a:solidFill>
          <a:ln w="12700">
            <a:solidFill>
              <a:schemeClr val="bg1"/>
            </a:solidFill>
            <a:round/>
            <a:headEnd/>
            <a:tailEnd/>
          </a:ln>
        </p:spPr>
        <p:txBody>
          <a:bodyPr/>
          <a:lstStyle/>
          <a:p>
            <a:pPr>
              <a:defRPr/>
            </a:pPr>
            <a:endParaRPr lang="nl-NL"/>
          </a:p>
        </p:txBody>
      </p:sp>
      <p:sp>
        <p:nvSpPr>
          <p:cNvPr id="105" name="Freeform 106"/>
          <p:cNvSpPr>
            <a:spLocks noChangeAspect="1"/>
          </p:cNvSpPr>
          <p:nvPr/>
        </p:nvSpPr>
        <p:spPr bwMode="auto">
          <a:xfrm>
            <a:off x="5546274" y="2731941"/>
            <a:ext cx="405588" cy="360864"/>
          </a:xfrm>
          <a:custGeom>
            <a:avLst/>
            <a:gdLst>
              <a:gd name="T0" fmla="*/ 471 w 471"/>
              <a:gd name="T1" fmla="*/ 82 h 387"/>
              <a:gd name="T2" fmla="*/ 393 w 471"/>
              <a:gd name="T3" fmla="*/ 34 h 387"/>
              <a:gd name="T4" fmla="*/ 334 w 471"/>
              <a:gd name="T5" fmla="*/ 29 h 387"/>
              <a:gd name="T6" fmla="*/ 243 w 471"/>
              <a:gd name="T7" fmla="*/ 29 h 387"/>
              <a:gd name="T8" fmla="*/ 224 w 471"/>
              <a:gd name="T9" fmla="*/ 0 h 387"/>
              <a:gd name="T10" fmla="*/ 115 w 471"/>
              <a:gd name="T11" fmla="*/ 36 h 387"/>
              <a:gd name="T12" fmla="*/ 91 w 471"/>
              <a:gd name="T13" fmla="*/ 115 h 387"/>
              <a:gd name="T14" fmla="*/ 91 w 471"/>
              <a:gd name="T15" fmla="*/ 159 h 387"/>
              <a:gd name="T16" fmla="*/ 54 w 471"/>
              <a:gd name="T17" fmla="*/ 185 h 387"/>
              <a:gd name="T18" fmla="*/ 12 w 471"/>
              <a:gd name="T19" fmla="*/ 182 h 387"/>
              <a:gd name="T20" fmla="*/ 0 w 471"/>
              <a:gd name="T21" fmla="*/ 199 h 387"/>
              <a:gd name="T22" fmla="*/ 30 w 471"/>
              <a:gd name="T23" fmla="*/ 241 h 387"/>
              <a:gd name="T24" fmla="*/ 0 w 471"/>
              <a:gd name="T25" fmla="*/ 287 h 387"/>
              <a:gd name="T26" fmla="*/ 39 w 471"/>
              <a:gd name="T27" fmla="*/ 355 h 387"/>
              <a:gd name="T28" fmla="*/ 72 w 471"/>
              <a:gd name="T29" fmla="*/ 387 h 387"/>
              <a:gd name="T30" fmla="*/ 226 w 471"/>
              <a:gd name="T31" fmla="*/ 327 h 387"/>
              <a:gd name="T32" fmla="*/ 354 w 471"/>
              <a:gd name="T33" fmla="*/ 234 h 387"/>
              <a:gd name="T34" fmla="*/ 390 w 471"/>
              <a:gd name="T35" fmla="*/ 249 h 387"/>
              <a:gd name="T36" fmla="*/ 431 w 471"/>
              <a:gd name="T37" fmla="*/ 208 h 387"/>
              <a:gd name="T38" fmla="*/ 471 w 471"/>
              <a:gd name="T39" fmla="*/ 205 h 387"/>
              <a:gd name="T40" fmla="*/ 451 w 471"/>
              <a:gd name="T41" fmla="*/ 133 h 387"/>
              <a:gd name="T42" fmla="*/ 471 w 471"/>
              <a:gd name="T43" fmla="*/ 82 h 387"/>
              <a:gd name="T44" fmla="*/ 471 w 471"/>
              <a:gd name="T45" fmla="*/ 82 h 3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1"/>
              <a:gd name="T70" fmla="*/ 0 h 387"/>
              <a:gd name="T71" fmla="*/ 471 w 471"/>
              <a:gd name="T72" fmla="*/ 387 h 3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1" h="387">
                <a:moveTo>
                  <a:pt x="471" y="82"/>
                </a:moveTo>
                <a:lnTo>
                  <a:pt x="393" y="34"/>
                </a:lnTo>
                <a:lnTo>
                  <a:pt x="334" y="29"/>
                </a:lnTo>
                <a:lnTo>
                  <a:pt x="243" y="29"/>
                </a:lnTo>
                <a:lnTo>
                  <a:pt x="224" y="0"/>
                </a:lnTo>
                <a:lnTo>
                  <a:pt x="115" y="36"/>
                </a:lnTo>
                <a:lnTo>
                  <a:pt x="91" y="115"/>
                </a:lnTo>
                <a:lnTo>
                  <a:pt x="91" y="159"/>
                </a:lnTo>
                <a:lnTo>
                  <a:pt x="54" y="185"/>
                </a:lnTo>
                <a:lnTo>
                  <a:pt x="12" y="182"/>
                </a:lnTo>
                <a:lnTo>
                  <a:pt x="0" y="199"/>
                </a:lnTo>
                <a:lnTo>
                  <a:pt x="30" y="241"/>
                </a:lnTo>
                <a:lnTo>
                  <a:pt x="0" y="287"/>
                </a:lnTo>
                <a:lnTo>
                  <a:pt x="39" y="355"/>
                </a:lnTo>
                <a:lnTo>
                  <a:pt x="72" y="387"/>
                </a:lnTo>
                <a:lnTo>
                  <a:pt x="226" y="327"/>
                </a:lnTo>
                <a:lnTo>
                  <a:pt x="354" y="234"/>
                </a:lnTo>
                <a:lnTo>
                  <a:pt x="390" y="249"/>
                </a:lnTo>
                <a:lnTo>
                  <a:pt x="431" y="208"/>
                </a:lnTo>
                <a:lnTo>
                  <a:pt x="471" y="205"/>
                </a:lnTo>
                <a:lnTo>
                  <a:pt x="451" y="133"/>
                </a:lnTo>
                <a:lnTo>
                  <a:pt x="471" y="82"/>
                </a:lnTo>
                <a:close/>
              </a:path>
            </a:pathLst>
          </a:custGeom>
          <a:solidFill>
            <a:schemeClr val="accent3"/>
          </a:solidFill>
          <a:ln w="12700">
            <a:solidFill>
              <a:schemeClr val="bg1"/>
            </a:solidFill>
            <a:round/>
            <a:headEnd/>
            <a:tailEnd/>
          </a:ln>
        </p:spPr>
        <p:txBody>
          <a:bodyPr/>
          <a:lstStyle/>
          <a:p>
            <a:pPr>
              <a:defRPr/>
            </a:pPr>
            <a:endParaRPr lang="nl-NL"/>
          </a:p>
        </p:txBody>
      </p:sp>
      <p:sp>
        <p:nvSpPr>
          <p:cNvPr id="106" name="Freeform 107"/>
          <p:cNvSpPr>
            <a:spLocks noChangeAspect="1"/>
          </p:cNvSpPr>
          <p:nvPr/>
        </p:nvSpPr>
        <p:spPr bwMode="auto">
          <a:xfrm>
            <a:off x="5934603" y="2804861"/>
            <a:ext cx="105280" cy="173888"/>
          </a:xfrm>
          <a:custGeom>
            <a:avLst/>
            <a:gdLst>
              <a:gd name="T0" fmla="*/ 20 w 123"/>
              <a:gd name="T1" fmla="*/ 0 h 184"/>
              <a:gd name="T2" fmla="*/ 0 w 123"/>
              <a:gd name="T3" fmla="*/ 53 h 184"/>
              <a:gd name="T4" fmla="*/ 20 w 123"/>
              <a:gd name="T5" fmla="*/ 125 h 184"/>
              <a:gd name="T6" fmla="*/ 58 w 123"/>
              <a:gd name="T7" fmla="*/ 139 h 184"/>
              <a:gd name="T8" fmla="*/ 58 w 123"/>
              <a:gd name="T9" fmla="*/ 184 h 184"/>
              <a:gd name="T10" fmla="*/ 123 w 123"/>
              <a:gd name="T11" fmla="*/ 125 h 184"/>
              <a:gd name="T12" fmla="*/ 81 w 123"/>
              <a:gd name="T13" fmla="*/ 38 h 184"/>
              <a:gd name="T14" fmla="*/ 20 w 123"/>
              <a:gd name="T15" fmla="*/ 0 h 184"/>
              <a:gd name="T16" fmla="*/ 20 w 123"/>
              <a:gd name="T17" fmla="*/ 0 h 1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3"/>
              <a:gd name="T28" fmla="*/ 0 h 184"/>
              <a:gd name="T29" fmla="*/ 123 w 123"/>
              <a:gd name="T30" fmla="*/ 184 h 1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3" h="184">
                <a:moveTo>
                  <a:pt x="20" y="0"/>
                </a:moveTo>
                <a:lnTo>
                  <a:pt x="0" y="53"/>
                </a:lnTo>
                <a:lnTo>
                  <a:pt x="20" y="125"/>
                </a:lnTo>
                <a:lnTo>
                  <a:pt x="58" y="139"/>
                </a:lnTo>
                <a:lnTo>
                  <a:pt x="58" y="184"/>
                </a:lnTo>
                <a:lnTo>
                  <a:pt x="123" y="125"/>
                </a:lnTo>
                <a:lnTo>
                  <a:pt x="81" y="38"/>
                </a:lnTo>
                <a:lnTo>
                  <a:pt x="20" y="0"/>
                </a:lnTo>
                <a:close/>
              </a:path>
            </a:pathLst>
          </a:custGeom>
          <a:solidFill>
            <a:schemeClr val="accent3"/>
          </a:solidFill>
          <a:ln w="12700">
            <a:solidFill>
              <a:schemeClr val="bg1"/>
            </a:solidFill>
            <a:round/>
            <a:headEnd/>
            <a:tailEnd/>
          </a:ln>
        </p:spPr>
        <p:txBody>
          <a:bodyPr/>
          <a:lstStyle/>
          <a:p>
            <a:pPr>
              <a:defRPr/>
            </a:pPr>
            <a:endParaRPr lang="nl-NL"/>
          </a:p>
        </p:txBody>
      </p:sp>
      <p:sp>
        <p:nvSpPr>
          <p:cNvPr id="107" name="Freeform 108"/>
          <p:cNvSpPr>
            <a:spLocks noChangeAspect="1"/>
          </p:cNvSpPr>
          <p:nvPr/>
        </p:nvSpPr>
        <p:spPr bwMode="auto">
          <a:xfrm>
            <a:off x="5634295" y="2922656"/>
            <a:ext cx="412492" cy="459962"/>
          </a:xfrm>
          <a:custGeom>
            <a:avLst/>
            <a:gdLst>
              <a:gd name="T0" fmla="*/ 405 w 478"/>
              <a:gd name="T1" fmla="*/ 59 h 492"/>
              <a:gd name="T2" fmla="*/ 405 w 478"/>
              <a:gd name="T3" fmla="*/ 12 h 492"/>
              <a:gd name="T4" fmla="*/ 367 w 478"/>
              <a:gd name="T5" fmla="*/ 0 h 492"/>
              <a:gd name="T6" fmla="*/ 327 w 478"/>
              <a:gd name="T7" fmla="*/ 3 h 492"/>
              <a:gd name="T8" fmla="*/ 283 w 478"/>
              <a:gd name="T9" fmla="*/ 42 h 492"/>
              <a:gd name="T10" fmla="*/ 250 w 478"/>
              <a:gd name="T11" fmla="*/ 29 h 492"/>
              <a:gd name="T12" fmla="*/ 130 w 478"/>
              <a:gd name="T13" fmla="*/ 118 h 492"/>
              <a:gd name="T14" fmla="*/ 0 w 478"/>
              <a:gd name="T15" fmla="*/ 167 h 492"/>
              <a:gd name="T16" fmla="*/ 44 w 478"/>
              <a:gd name="T17" fmla="*/ 231 h 492"/>
              <a:gd name="T18" fmla="*/ 31 w 478"/>
              <a:gd name="T19" fmla="*/ 296 h 492"/>
              <a:gd name="T20" fmla="*/ 93 w 478"/>
              <a:gd name="T21" fmla="*/ 296 h 492"/>
              <a:gd name="T22" fmla="*/ 177 w 478"/>
              <a:gd name="T23" fmla="*/ 388 h 492"/>
              <a:gd name="T24" fmla="*/ 151 w 478"/>
              <a:gd name="T25" fmla="*/ 477 h 492"/>
              <a:gd name="T26" fmla="*/ 163 w 478"/>
              <a:gd name="T27" fmla="*/ 492 h 492"/>
              <a:gd name="T28" fmla="*/ 238 w 478"/>
              <a:gd name="T29" fmla="*/ 395 h 492"/>
              <a:gd name="T30" fmla="*/ 257 w 478"/>
              <a:gd name="T31" fmla="*/ 274 h 492"/>
              <a:gd name="T32" fmla="*/ 312 w 478"/>
              <a:gd name="T33" fmla="*/ 269 h 492"/>
              <a:gd name="T34" fmla="*/ 478 w 478"/>
              <a:gd name="T35" fmla="*/ 97 h 492"/>
              <a:gd name="T36" fmla="*/ 397 w 478"/>
              <a:gd name="T37" fmla="*/ 68 h 492"/>
              <a:gd name="T38" fmla="*/ 405 w 478"/>
              <a:gd name="T39" fmla="*/ 59 h 492"/>
              <a:gd name="T40" fmla="*/ 405 w 478"/>
              <a:gd name="T41" fmla="*/ 59 h 49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78"/>
              <a:gd name="T64" fmla="*/ 0 h 492"/>
              <a:gd name="T65" fmla="*/ 478 w 478"/>
              <a:gd name="T66" fmla="*/ 492 h 49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78" h="492">
                <a:moveTo>
                  <a:pt x="405" y="59"/>
                </a:moveTo>
                <a:lnTo>
                  <a:pt x="405" y="12"/>
                </a:lnTo>
                <a:lnTo>
                  <a:pt x="367" y="0"/>
                </a:lnTo>
                <a:lnTo>
                  <a:pt x="327" y="3"/>
                </a:lnTo>
                <a:lnTo>
                  <a:pt x="283" y="42"/>
                </a:lnTo>
                <a:lnTo>
                  <a:pt x="250" y="29"/>
                </a:lnTo>
                <a:lnTo>
                  <a:pt x="130" y="118"/>
                </a:lnTo>
                <a:lnTo>
                  <a:pt x="0" y="167"/>
                </a:lnTo>
                <a:lnTo>
                  <a:pt x="44" y="231"/>
                </a:lnTo>
                <a:lnTo>
                  <a:pt x="31" y="296"/>
                </a:lnTo>
                <a:lnTo>
                  <a:pt x="93" y="296"/>
                </a:lnTo>
                <a:lnTo>
                  <a:pt x="177" y="388"/>
                </a:lnTo>
                <a:lnTo>
                  <a:pt x="151" y="477"/>
                </a:lnTo>
                <a:lnTo>
                  <a:pt x="163" y="492"/>
                </a:lnTo>
                <a:lnTo>
                  <a:pt x="238" y="395"/>
                </a:lnTo>
                <a:lnTo>
                  <a:pt x="257" y="274"/>
                </a:lnTo>
                <a:lnTo>
                  <a:pt x="312" y="269"/>
                </a:lnTo>
                <a:lnTo>
                  <a:pt x="478" y="97"/>
                </a:lnTo>
                <a:lnTo>
                  <a:pt x="397" y="68"/>
                </a:lnTo>
                <a:lnTo>
                  <a:pt x="405" y="59"/>
                </a:lnTo>
                <a:close/>
              </a:path>
            </a:pathLst>
          </a:custGeom>
          <a:solidFill>
            <a:schemeClr val="accent3"/>
          </a:solidFill>
          <a:ln w="12700">
            <a:solidFill>
              <a:schemeClr val="bg1"/>
            </a:solidFill>
            <a:round/>
            <a:headEnd/>
            <a:tailEnd/>
          </a:ln>
        </p:spPr>
        <p:txBody>
          <a:bodyPr/>
          <a:lstStyle/>
          <a:p>
            <a:pPr>
              <a:defRPr/>
            </a:pPr>
            <a:endParaRPr lang="nl-NL"/>
          </a:p>
        </p:txBody>
      </p:sp>
      <p:sp>
        <p:nvSpPr>
          <p:cNvPr id="108" name="Freeform 109"/>
          <p:cNvSpPr>
            <a:spLocks noChangeAspect="1"/>
          </p:cNvSpPr>
          <p:nvPr/>
        </p:nvSpPr>
        <p:spPr bwMode="auto">
          <a:xfrm>
            <a:off x="5518659" y="3062889"/>
            <a:ext cx="270967" cy="473050"/>
          </a:xfrm>
          <a:custGeom>
            <a:avLst/>
            <a:gdLst>
              <a:gd name="T0" fmla="*/ 70 w 313"/>
              <a:gd name="T1" fmla="*/ 0 h 507"/>
              <a:gd name="T2" fmla="*/ 61 w 313"/>
              <a:gd name="T3" fmla="*/ 78 h 507"/>
              <a:gd name="T4" fmla="*/ 0 w 313"/>
              <a:gd name="T5" fmla="*/ 154 h 507"/>
              <a:gd name="T6" fmla="*/ 6 w 313"/>
              <a:gd name="T7" fmla="*/ 187 h 507"/>
              <a:gd name="T8" fmla="*/ 31 w 313"/>
              <a:gd name="T9" fmla="*/ 245 h 507"/>
              <a:gd name="T10" fmla="*/ 76 w 313"/>
              <a:gd name="T11" fmla="*/ 318 h 507"/>
              <a:gd name="T12" fmla="*/ 43 w 313"/>
              <a:gd name="T13" fmla="*/ 363 h 507"/>
              <a:gd name="T14" fmla="*/ 69 w 313"/>
              <a:gd name="T15" fmla="*/ 408 h 507"/>
              <a:gd name="T16" fmla="*/ 31 w 313"/>
              <a:gd name="T17" fmla="*/ 416 h 507"/>
              <a:gd name="T18" fmla="*/ 90 w 313"/>
              <a:gd name="T19" fmla="*/ 507 h 507"/>
              <a:gd name="T20" fmla="*/ 158 w 313"/>
              <a:gd name="T21" fmla="*/ 472 h 507"/>
              <a:gd name="T22" fmla="*/ 196 w 313"/>
              <a:gd name="T23" fmla="*/ 507 h 507"/>
              <a:gd name="T24" fmla="*/ 266 w 313"/>
              <a:gd name="T25" fmla="*/ 472 h 507"/>
              <a:gd name="T26" fmla="*/ 298 w 313"/>
              <a:gd name="T27" fmla="*/ 408 h 507"/>
              <a:gd name="T28" fmla="*/ 278 w 313"/>
              <a:gd name="T29" fmla="*/ 372 h 507"/>
              <a:gd name="T30" fmla="*/ 303 w 313"/>
              <a:gd name="T31" fmla="*/ 339 h 507"/>
              <a:gd name="T32" fmla="*/ 283 w 313"/>
              <a:gd name="T33" fmla="*/ 329 h 507"/>
              <a:gd name="T34" fmla="*/ 313 w 313"/>
              <a:gd name="T35" fmla="*/ 238 h 507"/>
              <a:gd name="T36" fmla="*/ 228 w 313"/>
              <a:gd name="T37" fmla="*/ 145 h 507"/>
              <a:gd name="T38" fmla="*/ 166 w 313"/>
              <a:gd name="T39" fmla="*/ 145 h 507"/>
              <a:gd name="T40" fmla="*/ 181 w 313"/>
              <a:gd name="T41" fmla="*/ 78 h 507"/>
              <a:gd name="T42" fmla="*/ 135 w 313"/>
              <a:gd name="T43" fmla="*/ 20 h 507"/>
              <a:gd name="T44" fmla="*/ 103 w 313"/>
              <a:gd name="T45" fmla="*/ 31 h 507"/>
              <a:gd name="T46" fmla="*/ 70 w 313"/>
              <a:gd name="T47" fmla="*/ 0 h 507"/>
              <a:gd name="T48" fmla="*/ 70 w 313"/>
              <a:gd name="T49" fmla="*/ 0 h 5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3"/>
              <a:gd name="T76" fmla="*/ 0 h 507"/>
              <a:gd name="T77" fmla="*/ 313 w 313"/>
              <a:gd name="T78" fmla="*/ 507 h 5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3" h="507">
                <a:moveTo>
                  <a:pt x="70" y="0"/>
                </a:moveTo>
                <a:lnTo>
                  <a:pt x="61" y="78"/>
                </a:lnTo>
                <a:lnTo>
                  <a:pt x="0" y="154"/>
                </a:lnTo>
                <a:lnTo>
                  <a:pt x="6" y="187"/>
                </a:lnTo>
                <a:lnTo>
                  <a:pt x="31" y="245"/>
                </a:lnTo>
                <a:lnTo>
                  <a:pt x="76" y="318"/>
                </a:lnTo>
                <a:lnTo>
                  <a:pt x="43" y="363"/>
                </a:lnTo>
                <a:lnTo>
                  <a:pt x="69" y="408"/>
                </a:lnTo>
                <a:lnTo>
                  <a:pt x="31" y="416"/>
                </a:lnTo>
                <a:lnTo>
                  <a:pt x="90" y="507"/>
                </a:lnTo>
                <a:lnTo>
                  <a:pt x="158" y="472"/>
                </a:lnTo>
                <a:lnTo>
                  <a:pt x="196" y="507"/>
                </a:lnTo>
                <a:lnTo>
                  <a:pt x="266" y="472"/>
                </a:lnTo>
                <a:lnTo>
                  <a:pt x="298" y="408"/>
                </a:lnTo>
                <a:lnTo>
                  <a:pt x="278" y="372"/>
                </a:lnTo>
                <a:lnTo>
                  <a:pt x="303" y="339"/>
                </a:lnTo>
                <a:lnTo>
                  <a:pt x="283" y="329"/>
                </a:lnTo>
                <a:lnTo>
                  <a:pt x="313" y="238"/>
                </a:lnTo>
                <a:lnTo>
                  <a:pt x="228" y="145"/>
                </a:lnTo>
                <a:lnTo>
                  <a:pt x="166" y="145"/>
                </a:lnTo>
                <a:lnTo>
                  <a:pt x="181" y="78"/>
                </a:lnTo>
                <a:lnTo>
                  <a:pt x="135" y="20"/>
                </a:lnTo>
                <a:lnTo>
                  <a:pt x="103" y="31"/>
                </a:lnTo>
                <a:lnTo>
                  <a:pt x="70" y="0"/>
                </a:lnTo>
                <a:close/>
              </a:path>
            </a:pathLst>
          </a:custGeom>
          <a:solidFill>
            <a:schemeClr val="accent3"/>
          </a:solidFill>
          <a:ln w="12700">
            <a:solidFill>
              <a:schemeClr val="bg1"/>
            </a:solidFill>
            <a:round/>
            <a:headEnd/>
            <a:tailEnd/>
          </a:ln>
        </p:spPr>
        <p:txBody>
          <a:bodyPr/>
          <a:lstStyle/>
          <a:p>
            <a:pPr>
              <a:defRPr/>
            </a:pPr>
            <a:endParaRPr lang="nl-NL"/>
          </a:p>
        </p:txBody>
      </p:sp>
      <p:sp>
        <p:nvSpPr>
          <p:cNvPr id="109" name="Freeform 110"/>
          <p:cNvSpPr>
            <a:spLocks noChangeAspect="1"/>
          </p:cNvSpPr>
          <p:nvPr/>
        </p:nvSpPr>
        <p:spPr bwMode="auto">
          <a:xfrm>
            <a:off x="5382313" y="3433102"/>
            <a:ext cx="409040" cy="398259"/>
          </a:xfrm>
          <a:custGeom>
            <a:avLst/>
            <a:gdLst>
              <a:gd name="T0" fmla="*/ 457 w 475"/>
              <a:gd name="T1" fmla="*/ 12 h 427"/>
              <a:gd name="T2" fmla="*/ 430 w 475"/>
              <a:gd name="T3" fmla="*/ 76 h 427"/>
              <a:gd name="T4" fmla="*/ 355 w 475"/>
              <a:gd name="T5" fmla="*/ 111 h 427"/>
              <a:gd name="T6" fmla="*/ 316 w 475"/>
              <a:gd name="T7" fmla="*/ 76 h 427"/>
              <a:gd name="T8" fmla="*/ 249 w 475"/>
              <a:gd name="T9" fmla="*/ 111 h 427"/>
              <a:gd name="T10" fmla="*/ 190 w 475"/>
              <a:gd name="T11" fmla="*/ 20 h 427"/>
              <a:gd name="T12" fmla="*/ 153 w 475"/>
              <a:gd name="T13" fmla="*/ 0 h 427"/>
              <a:gd name="T14" fmla="*/ 59 w 475"/>
              <a:gd name="T15" fmla="*/ 10 h 427"/>
              <a:gd name="T16" fmla="*/ 0 w 475"/>
              <a:gd name="T17" fmla="*/ 284 h 427"/>
              <a:gd name="T18" fmla="*/ 148 w 475"/>
              <a:gd name="T19" fmla="*/ 362 h 427"/>
              <a:gd name="T20" fmla="*/ 235 w 475"/>
              <a:gd name="T21" fmla="*/ 295 h 427"/>
              <a:gd name="T22" fmla="*/ 304 w 475"/>
              <a:gd name="T23" fmla="*/ 427 h 427"/>
              <a:gd name="T24" fmla="*/ 366 w 475"/>
              <a:gd name="T25" fmla="*/ 368 h 427"/>
              <a:gd name="T26" fmla="*/ 376 w 475"/>
              <a:gd name="T27" fmla="*/ 185 h 427"/>
              <a:gd name="T28" fmla="*/ 430 w 475"/>
              <a:gd name="T29" fmla="*/ 160 h 427"/>
              <a:gd name="T30" fmla="*/ 430 w 475"/>
              <a:gd name="T31" fmla="*/ 137 h 427"/>
              <a:gd name="T32" fmla="*/ 475 w 475"/>
              <a:gd name="T33" fmla="*/ 46 h 427"/>
              <a:gd name="T34" fmla="*/ 457 w 475"/>
              <a:gd name="T35" fmla="*/ 12 h 427"/>
              <a:gd name="T36" fmla="*/ 457 w 475"/>
              <a:gd name="T37" fmla="*/ 12 h 4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75"/>
              <a:gd name="T58" fmla="*/ 0 h 427"/>
              <a:gd name="T59" fmla="*/ 475 w 475"/>
              <a:gd name="T60" fmla="*/ 427 h 4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75" h="427">
                <a:moveTo>
                  <a:pt x="457" y="12"/>
                </a:moveTo>
                <a:lnTo>
                  <a:pt x="430" y="76"/>
                </a:lnTo>
                <a:lnTo>
                  <a:pt x="355" y="111"/>
                </a:lnTo>
                <a:lnTo>
                  <a:pt x="316" y="76"/>
                </a:lnTo>
                <a:lnTo>
                  <a:pt x="249" y="111"/>
                </a:lnTo>
                <a:lnTo>
                  <a:pt x="190" y="20"/>
                </a:lnTo>
                <a:lnTo>
                  <a:pt x="153" y="0"/>
                </a:lnTo>
                <a:lnTo>
                  <a:pt x="59" y="10"/>
                </a:lnTo>
                <a:lnTo>
                  <a:pt x="0" y="284"/>
                </a:lnTo>
                <a:lnTo>
                  <a:pt x="148" y="362"/>
                </a:lnTo>
                <a:lnTo>
                  <a:pt x="235" y="295"/>
                </a:lnTo>
                <a:lnTo>
                  <a:pt x="304" y="427"/>
                </a:lnTo>
                <a:lnTo>
                  <a:pt x="366" y="368"/>
                </a:lnTo>
                <a:lnTo>
                  <a:pt x="376" y="185"/>
                </a:lnTo>
                <a:lnTo>
                  <a:pt x="430" y="160"/>
                </a:lnTo>
                <a:lnTo>
                  <a:pt x="430" y="137"/>
                </a:lnTo>
                <a:lnTo>
                  <a:pt x="475" y="46"/>
                </a:lnTo>
                <a:lnTo>
                  <a:pt x="457" y="12"/>
                </a:lnTo>
                <a:close/>
              </a:path>
            </a:pathLst>
          </a:custGeom>
          <a:solidFill>
            <a:schemeClr val="accent3"/>
          </a:solidFill>
          <a:ln w="12700">
            <a:solidFill>
              <a:schemeClr val="bg1"/>
            </a:solidFill>
            <a:round/>
            <a:headEnd/>
            <a:tailEnd/>
          </a:ln>
        </p:spPr>
        <p:txBody>
          <a:bodyPr/>
          <a:lstStyle/>
          <a:p>
            <a:pPr>
              <a:defRPr/>
            </a:pPr>
            <a:endParaRPr lang="nl-NL"/>
          </a:p>
        </p:txBody>
      </p:sp>
      <p:sp>
        <p:nvSpPr>
          <p:cNvPr id="110" name="Freeform 111"/>
          <p:cNvSpPr>
            <a:spLocks noChangeAspect="1"/>
          </p:cNvSpPr>
          <p:nvPr/>
        </p:nvSpPr>
        <p:spPr bwMode="auto">
          <a:xfrm>
            <a:off x="5044035" y="3154507"/>
            <a:ext cx="540209" cy="441264"/>
          </a:xfrm>
          <a:custGeom>
            <a:avLst/>
            <a:gdLst>
              <a:gd name="T0" fmla="*/ 194 w 625"/>
              <a:gd name="T1" fmla="*/ 0 h 471"/>
              <a:gd name="T2" fmla="*/ 133 w 625"/>
              <a:gd name="T3" fmla="*/ 51 h 471"/>
              <a:gd name="T4" fmla="*/ 140 w 625"/>
              <a:gd name="T5" fmla="*/ 184 h 471"/>
              <a:gd name="T6" fmla="*/ 66 w 625"/>
              <a:gd name="T7" fmla="*/ 231 h 471"/>
              <a:gd name="T8" fmla="*/ 20 w 625"/>
              <a:gd name="T9" fmla="*/ 203 h 471"/>
              <a:gd name="T10" fmla="*/ 0 w 625"/>
              <a:gd name="T11" fmla="*/ 229 h 471"/>
              <a:gd name="T12" fmla="*/ 130 w 625"/>
              <a:gd name="T13" fmla="*/ 339 h 471"/>
              <a:gd name="T14" fmla="*/ 130 w 625"/>
              <a:gd name="T15" fmla="*/ 403 h 471"/>
              <a:gd name="T16" fmla="*/ 89 w 625"/>
              <a:gd name="T17" fmla="*/ 424 h 471"/>
              <a:gd name="T18" fmla="*/ 151 w 625"/>
              <a:gd name="T19" fmla="*/ 471 h 471"/>
              <a:gd name="T20" fmla="*/ 276 w 625"/>
              <a:gd name="T21" fmla="*/ 449 h 471"/>
              <a:gd name="T22" fmla="*/ 280 w 625"/>
              <a:gd name="T23" fmla="*/ 409 h 471"/>
              <a:gd name="T24" fmla="*/ 367 w 625"/>
              <a:gd name="T25" fmla="*/ 403 h 471"/>
              <a:gd name="T26" fmla="*/ 420 w 625"/>
              <a:gd name="T27" fmla="*/ 450 h 471"/>
              <a:gd name="T28" fmla="*/ 450 w 625"/>
              <a:gd name="T29" fmla="*/ 308 h 471"/>
              <a:gd name="T30" fmla="*/ 546 w 625"/>
              <a:gd name="T31" fmla="*/ 298 h 471"/>
              <a:gd name="T32" fmla="*/ 580 w 625"/>
              <a:gd name="T33" fmla="*/ 318 h 471"/>
              <a:gd name="T34" fmla="*/ 625 w 625"/>
              <a:gd name="T35" fmla="*/ 310 h 471"/>
              <a:gd name="T36" fmla="*/ 592 w 625"/>
              <a:gd name="T37" fmla="*/ 265 h 471"/>
              <a:gd name="T38" fmla="*/ 625 w 625"/>
              <a:gd name="T39" fmla="*/ 220 h 471"/>
              <a:gd name="T40" fmla="*/ 549 w 625"/>
              <a:gd name="T41" fmla="*/ 86 h 471"/>
              <a:gd name="T42" fmla="*/ 549 w 625"/>
              <a:gd name="T43" fmla="*/ 59 h 471"/>
              <a:gd name="T44" fmla="*/ 358 w 625"/>
              <a:gd name="T45" fmla="*/ 109 h 471"/>
              <a:gd name="T46" fmla="*/ 294 w 625"/>
              <a:gd name="T47" fmla="*/ 43 h 471"/>
              <a:gd name="T48" fmla="*/ 194 w 625"/>
              <a:gd name="T49" fmla="*/ 0 h 471"/>
              <a:gd name="T50" fmla="*/ 194 w 625"/>
              <a:gd name="T51" fmla="*/ 0 h 4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5"/>
              <a:gd name="T79" fmla="*/ 0 h 471"/>
              <a:gd name="T80" fmla="*/ 625 w 625"/>
              <a:gd name="T81" fmla="*/ 471 h 47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5" h="471">
                <a:moveTo>
                  <a:pt x="194" y="0"/>
                </a:moveTo>
                <a:lnTo>
                  <a:pt x="133" y="51"/>
                </a:lnTo>
                <a:lnTo>
                  <a:pt x="140" y="184"/>
                </a:lnTo>
                <a:lnTo>
                  <a:pt x="66" y="231"/>
                </a:lnTo>
                <a:lnTo>
                  <a:pt x="20" y="203"/>
                </a:lnTo>
                <a:lnTo>
                  <a:pt x="0" y="229"/>
                </a:lnTo>
                <a:lnTo>
                  <a:pt x="130" y="339"/>
                </a:lnTo>
                <a:lnTo>
                  <a:pt x="130" y="403"/>
                </a:lnTo>
                <a:lnTo>
                  <a:pt x="89" y="424"/>
                </a:lnTo>
                <a:lnTo>
                  <a:pt x="151" y="471"/>
                </a:lnTo>
                <a:lnTo>
                  <a:pt x="276" y="449"/>
                </a:lnTo>
                <a:lnTo>
                  <a:pt x="280" y="409"/>
                </a:lnTo>
                <a:lnTo>
                  <a:pt x="367" y="403"/>
                </a:lnTo>
                <a:lnTo>
                  <a:pt x="420" y="450"/>
                </a:lnTo>
                <a:lnTo>
                  <a:pt x="450" y="308"/>
                </a:lnTo>
                <a:lnTo>
                  <a:pt x="546" y="298"/>
                </a:lnTo>
                <a:lnTo>
                  <a:pt x="580" y="318"/>
                </a:lnTo>
                <a:lnTo>
                  <a:pt x="625" y="310"/>
                </a:lnTo>
                <a:lnTo>
                  <a:pt x="592" y="265"/>
                </a:lnTo>
                <a:lnTo>
                  <a:pt x="625" y="220"/>
                </a:lnTo>
                <a:lnTo>
                  <a:pt x="549" y="86"/>
                </a:lnTo>
                <a:lnTo>
                  <a:pt x="549" y="59"/>
                </a:lnTo>
                <a:lnTo>
                  <a:pt x="358" y="109"/>
                </a:lnTo>
                <a:lnTo>
                  <a:pt x="294" y="43"/>
                </a:lnTo>
                <a:lnTo>
                  <a:pt x="194" y="0"/>
                </a:lnTo>
                <a:close/>
              </a:path>
            </a:pathLst>
          </a:custGeom>
          <a:solidFill>
            <a:schemeClr val="accent3"/>
          </a:solidFill>
          <a:ln w="12700">
            <a:solidFill>
              <a:schemeClr val="bg1"/>
            </a:solidFill>
            <a:round/>
            <a:headEnd/>
            <a:tailEnd/>
          </a:ln>
        </p:spPr>
        <p:txBody>
          <a:bodyPr/>
          <a:lstStyle/>
          <a:p>
            <a:pPr>
              <a:defRPr/>
            </a:pPr>
            <a:endParaRPr lang="nl-NL"/>
          </a:p>
        </p:txBody>
      </p:sp>
      <p:sp>
        <p:nvSpPr>
          <p:cNvPr id="111" name="Freeform 112"/>
          <p:cNvSpPr>
            <a:spLocks noChangeAspect="1"/>
          </p:cNvSpPr>
          <p:nvPr/>
        </p:nvSpPr>
        <p:spPr bwMode="auto">
          <a:xfrm>
            <a:off x="4812764" y="2969401"/>
            <a:ext cx="400410" cy="420697"/>
          </a:xfrm>
          <a:custGeom>
            <a:avLst/>
            <a:gdLst>
              <a:gd name="T0" fmla="*/ 0 w 465"/>
              <a:gd name="T1" fmla="*/ 17 h 449"/>
              <a:gd name="T2" fmla="*/ 8 w 465"/>
              <a:gd name="T3" fmla="*/ 117 h 449"/>
              <a:gd name="T4" fmla="*/ 76 w 465"/>
              <a:gd name="T5" fmla="*/ 220 h 449"/>
              <a:gd name="T6" fmla="*/ 56 w 465"/>
              <a:gd name="T7" fmla="*/ 386 h 449"/>
              <a:gd name="T8" fmla="*/ 126 w 465"/>
              <a:gd name="T9" fmla="*/ 439 h 449"/>
              <a:gd name="T10" fmla="*/ 236 w 465"/>
              <a:gd name="T11" fmla="*/ 449 h 449"/>
              <a:gd name="T12" fmla="*/ 270 w 465"/>
              <a:gd name="T13" fmla="*/ 429 h 449"/>
              <a:gd name="T14" fmla="*/ 290 w 465"/>
              <a:gd name="T15" fmla="*/ 401 h 449"/>
              <a:gd name="T16" fmla="*/ 336 w 465"/>
              <a:gd name="T17" fmla="*/ 429 h 449"/>
              <a:gd name="T18" fmla="*/ 412 w 465"/>
              <a:gd name="T19" fmla="*/ 386 h 449"/>
              <a:gd name="T20" fmla="*/ 403 w 465"/>
              <a:gd name="T21" fmla="*/ 249 h 449"/>
              <a:gd name="T22" fmla="*/ 465 w 465"/>
              <a:gd name="T23" fmla="*/ 198 h 449"/>
              <a:gd name="T24" fmla="*/ 435 w 465"/>
              <a:gd name="T25" fmla="*/ 138 h 449"/>
              <a:gd name="T26" fmla="*/ 435 w 465"/>
              <a:gd name="T27" fmla="*/ 55 h 449"/>
              <a:gd name="T28" fmla="*/ 412 w 465"/>
              <a:gd name="T29" fmla="*/ 64 h 449"/>
              <a:gd name="T30" fmla="*/ 412 w 465"/>
              <a:gd name="T31" fmla="*/ 97 h 449"/>
              <a:gd name="T32" fmla="*/ 392 w 465"/>
              <a:gd name="T33" fmla="*/ 112 h 449"/>
              <a:gd name="T34" fmla="*/ 342 w 465"/>
              <a:gd name="T35" fmla="*/ 64 h 449"/>
              <a:gd name="T36" fmla="*/ 318 w 465"/>
              <a:gd name="T37" fmla="*/ 74 h 449"/>
              <a:gd name="T38" fmla="*/ 228 w 465"/>
              <a:gd name="T39" fmla="*/ 9 h 449"/>
              <a:gd name="T40" fmla="*/ 156 w 465"/>
              <a:gd name="T41" fmla="*/ 36 h 449"/>
              <a:gd name="T42" fmla="*/ 103 w 465"/>
              <a:gd name="T43" fmla="*/ 0 h 449"/>
              <a:gd name="T44" fmla="*/ 42 w 465"/>
              <a:gd name="T45" fmla="*/ 0 h 449"/>
              <a:gd name="T46" fmla="*/ 0 w 465"/>
              <a:gd name="T47" fmla="*/ 17 h 449"/>
              <a:gd name="T48" fmla="*/ 0 w 465"/>
              <a:gd name="T49" fmla="*/ 17 h 44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5"/>
              <a:gd name="T76" fmla="*/ 0 h 449"/>
              <a:gd name="T77" fmla="*/ 465 w 465"/>
              <a:gd name="T78" fmla="*/ 449 h 44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5" h="449">
                <a:moveTo>
                  <a:pt x="0" y="17"/>
                </a:moveTo>
                <a:lnTo>
                  <a:pt x="8" y="117"/>
                </a:lnTo>
                <a:lnTo>
                  <a:pt x="76" y="220"/>
                </a:lnTo>
                <a:lnTo>
                  <a:pt x="56" y="386"/>
                </a:lnTo>
                <a:lnTo>
                  <a:pt x="126" y="439"/>
                </a:lnTo>
                <a:lnTo>
                  <a:pt x="236" y="449"/>
                </a:lnTo>
                <a:lnTo>
                  <a:pt x="270" y="429"/>
                </a:lnTo>
                <a:lnTo>
                  <a:pt x="290" y="401"/>
                </a:lnTo>
                <a:lnTo>
                  <a:pt x="336" y="429"/>
                </a:lnTo>
                <a:lnTo>
                  <a:pt x="412" y="386"/>
                </a:lnTo>
                <a:lnTo>
                  <a:pt x="403" y="249"/>
                </a:lnTo>
                <a:lnTo>
                  <a:pt x="465" y="198"/>
                </a:lnTo>
                <a:lnTo>
                  <a:pt x="435" y="138"/>
                </a:lnTo>
                <a:lnTo>
                  <a:pt x="435" y="55"/>
                </a:lnTo>
                <a:lnTo>
                  <a:pt x="412" y="64"/>
                </a:lnTo>
                <a:lnTo>
                  <a:pt x="412" y="97"/>
                </a:lnTo>
                <a:lnTo>
                  <a:pt x="392" y="112"/>
                </a:lnTo>
                <a:lnTo>
                  <a:pt x="342" y="64"/>
                </a:lnTo>
                <a:lnTo>
                  <a:pt x="318" y="74"/>
                </a:lnTo>
                <a:lnTo>
                  <a:pt x="228" y="9"/>
                </a:lnTo>
                <a:lnTo>
                  <a:pt x="156" y="36"/>
                </a:lnTo>
                <a:lnTo>
                  <a:pt x="103" y="0"/>
                </a:lnTo>
                <a:lnTo>
                  <a:pt x="42" y="0"/>
                </a:lnTo>
                <a:lnTo>
                  <a:pt x="0" y="17"/>
                </a:lnTo>
                <a:close/>
              </a:path>
            </a:pathLst>
          </a:custGeom>
          <a:solidFill>
            <a:schemeClr val="accent3"/>
          </a:solidFill>
          <a:ln w="12700">
            <a:solidFill>
              <a:schemeClr val="bg1"/>
            </a:solidFill>
            <a:round/>
            <a:headEnd/>
            <a:tailEnd/>
          </a:ln>
        </p:spPr>
        <p:txBody>
          <a:bodyPr/>
          <a:lstStyle/>
          <a:p>
            <a:pPr>
              <a:defRPr/>
            </a:pPr>
            <a:endParaRPr lang="nl-NL"/>
          </a:p>
        </p:txBody>
      </p:sp>
      <p:sp>
        <p:nvSpPr>
          <p:cNvPr id="112" name="Freeform 113"/>
          <p:cNvSpPr>
            <a:spLocks noChangeAspect="1"/>
          </p:cNvSpPr>
          <p:nvPr/>
        </p:nvSpPr>
        <p:spPr bwMode="auto">
          <a:xfrm>
            <a:off x="4645351" y="3330265"/>
            <a:ext cx="510868" cy="379562"/>
          </a:xfrm>
          <a:custGeom>
            <a:avLst/>
            <a:gdLst>
              <a:gd name="T0" fmla="*/ 249 w 593"/>
              <a:gd name="T1" fmla="*/ 0 h 405"/>
              <a:gd name="T2" fmla="*/ 114 w 593"/>
              <a:gd name="T3" fmla="*/ 63 h 405"/>
              <a:gd name="T4" fmla="*/ 108 w 593"/>
              <a:gd name="T5" fmla="*/ 116 h 405"/>
              <a:gd name="T6" fmla="*/ 39 w 593"/>
              <a:gd name="T7" fmla="*/ 125 h 405"/>
              <a:gd name="T8" fmla="*/ 0 w 593"/>
              <a:gd name="T9" fmla="*/ 177 h 405"/>
              <a:gd name="T10" fmla="*/ 106 w 593"/>
              <a:gd name="T11" fmla="*/ 320 h 405"/>
              <a:gd name="T12" fmla="*/ 222 w 593"/>
              <a:gd name="T13" fmla="*/ 259 h 405"/>
              <a:gd name="T14" fmla="*/ 284 w 593"/>
              <a:gd name="T15" fmla="*/ 364 h 405"/>
              <a:gd name="T16" fmla="*/ 410 w 593"/>
              <a:gd name="T17" fmla="*/ 350 h 405"/>
              <a:gd name="T18" fmla="*/ 512 w 593"/>
              <a:gd name="T19" fmla="*/ 405 h 405"/>
              <a:gd name="T20" fmla="*/ 541 w 593"/>
              <a:gd name="T21" fmla="*/ 371 h 405"/>
              <a:gd name="T22" fmla="*/ 521 w 593"/>
              <a:gd name="T23" fmla="*/ 261 h 405"/>
              <a:gd name="T24" fmla="*/ 552 w 593"/>
              <a:gd name="T25" fmla="*/ 236 h 405"/>
              <a:gd name="T26" fmla="*/ 593 w 593"/>
              <a:gd name="T27" fmla="*/ 215 h 405"/>
              <a:gd name="T28" fmla="*/ 593 w 593"/>
              <a:gd name="T29" fmla="*/ 151 h 405"/>
              <a:gd name="T30" fmla="*/ 467 w 593"/>
              <a:gd name="T31" fmla="*/ 41 h 405"/>
              <a:gd name="T32" fmla="*/ 435 w 593"/>
              <a:gd name="T33" fmla="*/ 61 h 405"/>
              <a:gd name="T34" fmla="*/ 316 w 593"/>
              <a:gd name="T35" fmla="*/ 53 h 405"/>
              <a:gd name="T36" fmla="*/ 249 w 593"/>
              <a:gd name="T37" fmla="*/ 0 h 405"/>
              <a:gd name="T38" fmla="*/ 249 w 593"/>
              <a:gd name="T39" fmla="*/ 0 h 40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3"/>
              <a:gd name="T61" fmla="*/ 0 h 405"/>
              <a:gd name="T62" fmla="*/ 593 w 593"/>
              <a:gd name="T63" fmla="*/ 405 h 40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3" h="405">
                <a:moveTo>
                  <a:pt x="249" y="0"/>
                </a:moveTo>
                <a:lnTo>
                  <a:pt x="114" y="63"/>
                </a:lnTo>
                <a:lnTo>
                  <a:pt x="108" y="116"/>
                </a:lnTo>
                <a:lnTo>
                  <a:pt x="39" y="125"/>
                </a:lnTo>
                <a:lnTo>
                  <a:pt x="0" y="177"/>
                </a:lnTo>
                <a:lnTo>
                  <a:pt x="106" y="320"/>
                </a:lnTo>
                <a:lnTo>
                  <a:pt x="222" y="259"/>
                </a:lnTo>
                <a:lnTo>
                  <a:pt x="284" y="364"/>
                </a:lnTo>
                <a:lnTo>
                  <a:pt x="410" y="350"/>
                </a:lnTo>
                <a:lnTo>
                  <a:pt x="512" y="405"/>
                </a:lnTo>
                <a:lnTo>
                  <a:pt x="541" y="371"/>
                </a:lnTo>
                <a:lnTo>
                  <a:pt x="521" y="261"/>
                </a:lnTo>
                <a:lnTo>
                  <a:pt x="552" y="236"/>
                </a:lnTo>
                <a:lnTo>
                  <a:pt x="593" y="215"/>
                </a:lnTo>
                <a:lnTo>
                  <a:pt x="593" y="151"/>
                </a:lnTo>
                <a:lnTo>
                  <a:pt x="467" y="41"/>
                </a:lnTo>
                <a:lnTo>
                  <a:pt x="435" y="61"/>
                </a:lnTo>
                <a:lnTo>
                  <a:pt x="316" y="53"/>
                </a:lnTo>
                <a:lnTo>
                  <a:pt x="249" y="0"/>
                </a:lnTo>
                <a:close/>
              </a:path>
            </a:pathLst>
          </a:custGeom>
          <a:solidFill>
            <a:schemeClr val="accent3"/>
          </a:solidFill>
          <a:ln w="12700">
            <a:solidFill>
              <a:schemeClr val="bg1"/>
            </a:solidFill>
            <a:round/>
            <a:headEnd/>
            <a:tailEnd/>
          </a:ln>
        </p:spPr>
        <p:txBody>
          <a:bodyPr/>
          <a:lstStyle/>
          <a:p>
            <a:pPr>
              <a:defRPr/>
            </a:pPr>
            <a:endParaRPr lang="nl-NL"/>
          </a:p>
        </p:txBody>
      </p:sp>
      <p:sp>
        <p:nvSpPr>
          <p:cNvPr id="113" name="Freeform 114"/>
          <p:cNvSpPr>
            <a:spLocks noChangeAspect="1"/>
          </p:cNvSpPr>
          <p:nvPr/>
        </p:nvSpPr>
        <p:spPr bwMode="auto">
          <a:xfrm>
            <a:off x="5233885" y="3532199"/>
            <a:ext cx="272693" cy="392650"/>
          </a:xfrm>
          <a:custGeom>
            <a:avLst/>
            <a:gdLst>
              <a:gd name="T0" fmla="*/ 202 w 316"/>
              <a:gd name="T1" fmla="*/ 47 h 422"/>
              <a:gd name="T2" fmla="*/ 153 w 316"/>
              <a:gd name="T3" fmla="*/ 0 h 422"/>
              <a:gd name="T4" fmla="*/ 62 w 316"/>
              <a:gd name="T5" fmla="*/ 2 h 422"/>
              <a:gd name="T6" fmla="*/ 58 w 316"/>
              <a:gd name="T7" fmla="*/ 46 h 422"/>
              <a:gd name="T8" fmla="*/ 71 w 316"/>
              <a:gd name="T9" fmla="*/ 74 h 422"/>
              <a:gd name="T10" fmla="*/ 0 w 316"/>
              <a:gd name="T11" fmla="*/ 129 h 422"/>
              <a:gd name="T12" fmla="*/ 62 w 316"/>
              <a:gd name="T13" fmla="*/ 219 h 422"/>
              <a:gd name="T14" fmla="*/ 58 w 316"/>
              <a:gd name="T15" fmla="*/ 302 h 422"/>
              <a:gd name="T16" fmla="*/ 97 w 316"/>
              <a:gd name="T17" fmla="*/ 363 h 422"/>
              <a:gd name="T18" fmla="*/ 170 w 316"/>
              <a:gd name="T19" fmla="*/ 351 h 422"/>
              <a:gd name="T20" fmla="*/ 191 w 316"/>
              <a:gd name="T21" fmla="*/ 422 h 422"/>
              <a:gd name="T22" fmla="*/ 248 w 316"/>
              <a:gd name="T23" fmla="*/ 356 h 422"/>
              <a:gd name="T24" fmla="*/ 316 w 316"/>
              <a:gd name="T25" fmla="*/ 316 h 422"/>
              <a:gd name="T26" fmla="*/ 316 w 316"/>
              <a:gd name="T27" fmla="*/ 257 h 422"/>
              <a:gd name="T28" fmla="*/ 173 w 316"/>
              <a:gd name="T29" fmla="*/ 179 h 422"/>
              <a:gd name="T30" fmla="*/ 202 w 316"/>
              <a:gd name="T31" fmla="*/ 47 h 422"/>
              <a:gd name="T32" fmla="*/ 202 w 316"/>
              <a:gd name="T33" fmla="*/ 47 h 4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16"/>
              <a:gd name="T52" fmla="*/ 0 h 422"/>
              <a:gd name="T53" fmla="*/ 316 w 316"/>
              <a:gd name="T54" fmla="*/ 422 h 4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16" h="422">
                <a:moveTo>
                  <a:pt x="202" y="47"/>
                </a:moveTo>
                <a:lnTo>
                  <a:pt x="153" y="0"/>
                </a:lnTo>
                <a:lnTo>
                  <a:pt x="62" y="2"/>
                </a:lnTo>
                <a:lnTo>
                  <a:pt x="58" y="46"/>
                </a:lnTo>
                <a:lnTo>
                  <a:pt x="71" y="74"/>
                </a:lnTo>
                <a:lnTo>
                  <a:pt x="0" y="129"/>
                </a:lnTo>
                <a:lnTo>
                  <a:pt x="62" y="219"/>
                </a:lnTo>
                <a:lnTo>
                  <a:pt x="58" y="302"/>
                </a:lnTo>
                <a:lnTo>
                  <a:pt x="97" y="363"/>
                </a:lnTo>
                <a:lnTo>
                  <a:pt x="170" y="351"/>
                </a:lnTo>
                <a:lnTo>
                  <a:pt x="191" y="422"/>
                </a:lnTo>
                <a:lnTo>
                  <a:pt x="248" y="356"/>
                </a:lnTo>
                <a:lnTo>
                  <a:pt x="316" y="316"/>
                </a:lnTo>
                <a:lnTo>
                  <a:pt x="316" y="257"/>
                </a:lnTo>
                <a:lnTo>
                  <a:pt x="173" y="179"/>
                </a:lnTo>
                <a:lnTo>
                  <a:pt x="202" y="47"/>
                </a:lnTo>
                <a:close/>
              </a:path>
            </a:pathLst>
          </a:custGeom>
          <a:solidFill>
            <a:schemeClr val="accent3"/>
          </a:solidFill>
          <a:ln w="12700">
            <a:solidFill>
              <a:schemeClr val="bg1"/>
            </a:solidFill>
            <a:round/>
            <a:headEnd/>
            <a:tailEnd/>
          </a:ln>
        </p:spPr>
        <p:txBody>
          <a:bodyPr/>
          <a:lstStyle/>
          <a:p>
            <a:pPr>
              <a:defRPr/>
            </a:pPr>
            <a:endParaRPr lang="nl-NL"/>
          </a:p>
        </p:txBody>
      </p:sp>
      <p:sp>
        <p:nvSpPr>
          <p:cNvPr id="114" name="Freeform 115"/>
          <p:cNvSpPr>
            <a:spLocks noChangeAspect="1"/>
          </p:cNvSpPr>
          <p:nvPr/>
        </p:nvSpPr>
        <p:spPr bwMode="auto">
          <a:xfrm>
            <a:off x="5087183" y="3549027"/>
            <a:ext cx="310663" cy="474920"/>
          </a:xfrm>
          <a:custGeom>
            <a:avLst/>
            <a:gdLst>
              <a:gd name="T0" fmla="*/ 227 w 360"/>
              <a:gd name="T1" fmla="*/ 28 h 508"/>
              <a:gd name="T2" fmla="*/ 243 w 360"/>
              <a:gd name="T3" fmla="*/ 59 h 508"/>
              <a:gd name="T4" fmla="*/ 169 w 360"/>
              <a:gd name="T5" fmla="*/ 112 h 508"/>
              <a:gd name="T6" fmla="*/ 231 w 360"/>
              <a:gd name="T7" fmla="*/ 200 h 508"/>
              <a:gd name="T8" fmla="*/ 227 w 360"/>
              <a:gd name="T9" fmla="*/ 279 h 508"/>
              <a:gd name="T10" fmla="*/ 271 w 360"/>
              <a:gd name="T11" fmla="*/ 343 h 508"/>
              <a:gd name="T12" fmla="*/ 339 w 360"/>
              <a:gd name="T13" fmla="*/ 337 h 508"/>
              <a:gd name="T14" fmla="*/ 360 w 360"/>
              <a:gd name="T15" fmla="*/ 403 h 508"/>
              <a:gd name="T16" fmla="*/ 360 w 360"/>
              <a:gd name="T17" fmla="*/ 437 h 508"/>
              <a:gd name="T18" fmla="*/ 271 w 360"/>
              <a:gd name="T19" fmla="*/ 508 h 508"/>
              <a:gd name="T20" fmla="*/ 189 w 360"/>
              <a:gd name="T21" fmla="*/ 441 h 508"/>
              <a:gd name="T22" fmla="*/ 58 w 360"/>
              <a:gd name="T23" fmla="*/ 449 h 508"/>
              <a:gd name="T24" fmla="*/ 73 w 360"/>
              <a:gd name="T25" fmla="*/ 361 h 508"/>
              <a:gd name="T26" fmla="*/ 5 w 360"/>
              <a:gd name="T27" fmla="*/ 274 h 508"/>
              <a:gd name="T28" fmla="*/ 0 w 360"/>
              <a:gd name="T29" fmla="*/ 171 h 508"/>
              <a:gd name="T30" fmla="*/ 29 w 360"/>
              <a:gd name="T31" fmla="*/ 137 h 508"/>
              <a:gd name="T32" fmla="*/ 9 w 360"/>
              <a:gd name="T33" fmla="*/ 28 h 508"/>
              <a:gd name="T34" fmla="*/ 46 w 360"/>
              <a:gd name="T35" fmla="*/ 0 h 508"/>
              <a:gd name="T36" fmla="*/ 103 w 360"/>
              <a:gd name="T37" fmla="*/ 51 h 508"/>
              <a:gd name="T38" fmla="*/ 227 w 360"/>
              <a:gd name="T39" fmla="*/ 28 h 508"/>
              <a:gd name="T40" fmla="*/ 227 w 360"/>
              <a:gd name="T41" fmla="*/ 28 h 50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60"/>
              <a:gd name="T64" fmla="*/ 0 h 508"/>
              <a:gd name="T65" fmla="*/ 360 w 360"/>
              <a:gd name="T66" fmla="*/ 508 h 50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60" h="508">
                <a:moveTo>
                  <a:pt x="227" y="28"/>
                </a:moveTo>
                <a:lnTo>
                  <a:pt x="243" y="59"/>
                </a:lnTo>
                <a:lnTo>
                  <a:pt x="169" y="112"/>
                </a:lnTo>
                <a:lnTo>
                  <a:pt x="231" y="200"/>
                </a:lnTo>
                <a:lnTo>
                  <a:pt x="227" y="279"/>
                </a:lnTo>
                <a:lnTo>
                  <a:pt x="271" y="343"/>
                </a:lnTo>
                <a:lnTo>
                  <a:pt x="339" y="337"/>
                </a:lnTo>
                <a:lnTo>
                  <a:pt x="360" y="403"/>
                </a:lnTo>
                <a:lnTo>
                  <a:pt x="360" y="437"/>
                </a:lnTo>
                <a:lnTo>
                  <a:pt x="271" y="508"/>
                </a:lnTo>
                <a:lnTo>
                  <a:pt x="189" y="441"/>
                </a:lnTo>
                <a:lnTo>
                  <a:pt x="58" y="449"/>
                </a:lnTo>
                <a:lnTo>
                  <a:pt x="73" y="361"/>
                </a:lnTo>
                <a:lnTo>
                  <a:pt x="5" y="274"/>
                </a:lnTo>
                <a:lnTo>
                  <a:pt x="0" y="171"/>
                </a:lnTo>
                <a:lnTo>
                  <a:pt x="29" y="137"/>
                </a:lnTo>
                <a:lnTo>
                  <a:pt x="9" y="28"/>
                </a:lnTo>
                <a:lnTo>
                  <a:pt x="46" y="0"/>
                </a:lnTo>
                <a:lnTo>
                  <a:pt x="103" y="51"/>
                </a:lnTo>
                <a:lnTo>
                  <a:pt x="227" y="28"/>
                </a:lnTo>
                <a:close/>
              </a:path>
            </a:pathLst>
          </a:custGeom>
          <a:solidFill>
            <a:schemeClr val="accent3"/>
          </a:solidFill>
          <a:ln w="12700">
            <a:solidFill>
              <a:schemeClr val="bg1"/>
            </a:solidFill>
            <a:round/>
            <a:headEnd/>
            <a:tailEnd/>
          </a:ln>
        </p:spPr>
        <p:txBody>
          <a:bodyPr/>
          <a:lstStyle/>
          <a:p>
            <a:pPr>
              <a:defRPr/>
            </a:pPr>
            <a:endParaRPr lang="nl-NL"/>
          </a:p>
        </p:txBody>
      </p:sp>
      <p:sp>
        <p:nvSpPr>
          <p:cNvPr id="115" name="Freeform 116"/>
          <p:cNvSpPr>
            <a:spLocks noChangeAspect="1"/>
          </p:cNvSpPr>
          <p:nvPr/>
        </p:nvSpPr>
        <p:spPr bwMode="auto">
          <a:xfrm>
            <a:off x="4691950" y="3571464"/>
            <a:ext cx="460817" cy="430045"/>
          </a:xfrm>
          <a:custGeom>
            <a:avLst/>
            <a:gdLst>
              <a:gd name="T0" fmla="*/ 167 w 533"/>
              <a:gd name="T1" fmla="*/ 0 h 460"/>
              <a:gd name="T2" fmla="*/ 51 w 533"/>
              <a:gd name="T3" fmla="*/ 61 h 460"/>
              <a:gd name="T4" fmla="*/ 71 w 533"/>
              <a:gd name="T5" fmla="*/ 146 h 460"/>
              <a:gd name="T6" fmla="*/ 0 w 533"/>
              <a:gd name="T7" fmla="*/ 198 h 460"/>
              <a:gd name="T8" fmla="*/ 32 w 533"/>
              <a:gd name="T9" fmla="*/ 344 h 460"/>
              <a:gd name="T10" fmla="*/ 109 w 533"/>
              <a:gd name="T11" fmla="*/ 412 h 460"/>
              <a:gd name="T12" fmla="*/ 162 w 533"/>
              <a:gd name="T13" fmla="*/ 412 h 460"/>
              <a:gd name="T14" fmla="*/ 211 w 533"/>
              <a:gd name="T15" fmla="*/ 460 h 460"/>
              <a:gd name="T16" fmla="*/ 313 w 533"/>
              <a:gd name="T17" fmla="*/ 403 h 460"/>
              <a:gd name="T18" fmla="*/ 398 w 533"/>
              <a:gd name="T19" fmla="*/ 403 h 460"/>
              <a:gd name="T20" fmla="*/ 425 w 533"/>
              <a:gd name="T21" fmla="*/ 437 h 460"/>
              <a:gd name="T22" fmla="*/ 515 w 533"/>
              <a:gd name="T23" fmla="*/ 427 h 460"/>
              <a:gd name="T24" fmla="*/ 533 w 533"/>
              <a:gd name="T25" fmla="*/ 340 h 460"/>
              <a:gd name="T26" fmla="*/ 462 w 533"/>
              <a:gd name="T27" fmla="*/ 249 h 460"/>
              <a:gd name="T28" fmla="*/ 457 w 533"/>
              <a:gd name="T29" fmla="*/ 146 h 460"/>
              <a:gd name="T30" fmla="*/ 355 w 533"/>
              <a:gd name="T31" fmla="*/ 91 h 460"/>
              <a:gd name="T32" fmla="*/ 226 w 533"/>
              <a:gd name="T33" fmla="*/ 105 h 460"/>
              <a:gd name="T34" fmla="*/ 167 w 533"/>
              <a:gd name="T35" fmla="*/ 0 h 460"/>
              <a:gd name="T36" fmla="*/ 167 w 533"/>
              <a:gd name="T37" fmla="*/ 0 h 4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3"/>
              <a:gd name="T58" fmla="*/ 0 h 460"/>
              <a:gd name="T59" fmla="*/ 533 w 533"/>
              <a:gd name="T60" fmla="*/ 460 h 46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3" h="460">
                <a:moveTo>
                  <a:pt x="167" y="0"/>
                </a:moveTo>
                <a:lnTo>
                  <a:pt x="51" y="61"/>
                </a:lnTo>
                <a:lnTo>
                  <a:pt x="71" y="146"/>
                </a:lnTo>
                <a:lnTo>
                  <a:pt x="0" y="198"/>
                </a:lnTo>
                <a:lnTo>
                  <a:pt x="32" y="344"/>
                </a:lnTo>
                <a:lnTo>
                  <a:pt x="109" y="412"/>
                </a:lnTo>
                <a:lnTo>
                  <a:pt x="162" y="412"/>
                </a:lnTo>
                <a:lnTo>
                  <a:pt x="211" y="460"/>
                </a:lnTo>
                <a:lnTo>
                  <a:pt x="313" y="403"/>
                </a:lnTo>
                <a:lnTo>
                  <a:pt x="398" y="403"/>
                </a:lnTo>
                <a:lnTo>
                  <a:pt x="425" y="437"/>
                </a:lnTo>
                <a:lnTo>
                  <a:pt x="515" y="427"/>
                </a:lnTo>
                <a:lnTo>
                  <a:pt x="533" y="340"/>
                </a:lnTo>
                <a:lnTo>
                  <a:pt x="462" y="249"/>
                </a:lnTo>
                <a:lnTo>
                  <a:pt x="457" y="146"/>
                </a:lnTo>
                <a:lnTo>
                  <a:pt x="355" y="91"/>
                </a:lnTo>
                <a:lnTo>
                  <a:pt x="226" y="105"/>
                </a:lnTo>
                <a:lnTo>
                  <a:pt x="167" y="0"/>
                </a:lnTo>
                <a:close/>
              </a:path>
            </a:pathLst>
          </a:custGeom>
          <a:solidFill>
            <a:schemeClr val="accent3"/>
          </a:solidFill>
          <a:ln w="12700">
            <a:solidFill>
              <a:schemeClr val="bg1"/>
            </a:solidFill>
            <a:round/>
            <a:headEnd/>
            <a:tailEnd/>
          </a:ln>
        </p:spPr>
        <p:txBody>
          <a:bodyPr/>
          <a:lstStyle/>
          <a:p>
            <a:pPr>
              <a:defRPr/>
            </a:pPr>
            <a:endParaRPr lang="nl-NL"/>
          </a:p>
        </p:txBody>
      </p:sp>
      <p:sp>
        <p:nvSpPr>
          <p:cNvPr id="116" name="Freeform 117"/>
          <p:cNvSpPr>
            <a:spLocks noChangeAspect="1"/>
          </p:cNvSpPr>
          <p:nvPr/>
        </p:nvSpPr>
        <p:spPr bwMode="auto">
          <a:xfrm>
            <a:off x="4167275" y="2726331"/>
            <a:ext cx="476350" cy="413217"/>
          </a:xfrm>
          <a:custGeom>
            <a:avLst/>
            <a:gdLst>
              <a:gd name="T0" fmla="*/ 84 w 550"/>
              <a:gd name="T1" fmla="*/ 0 h 441"/>
              <a:gd name="T2" fmla="*/ 72 w 550"/>
              <a:gd name="T3" fmla="*/ 28 h 441"/>
              <a:gd name="T4" fmla="*/ 87 w 550"/>
              <a:gd name="T5" fmla="*/ 87 h 441"/>
              <a:gd name="T6" fmla="*/ 42 w 550"/>
              <a:gd name="T7" fmla="*/ 110 h 441"/>
              <a:gd name="T8" fmla="*/ 0 w 550"/>
              <a:gd name="T9" fmla="*/ 212 h 441"/>
              <a:gd name="T10" fmla="*/ 154 w 550"/>
              <a:gd name="T11" fmla="*/ 268 h 441"/>
              <a:gd name="T12" fmla="*/ 171 w 550"/>
              <a:gd name="T13" fmla="*/ 409 h 441"/>
              <a:gd name="T14" fmla="*/ 251 w 550"/>
              <a:gd name="T15" fmla="*/ 441 h 441"/>
              <a:gd name="T16" fmla="*/ 333 w 550"/>
              <a:gd name="T17" fmla="*/ 422 h 441"/>
              <a:gd name="T18" fmla="*/ 417 w 550"/>
              <a:gd name="T19" fmla="*/ 429 h 441"/>
              <a:gd name="T20" fmla="*/ 515 w 550"/>
              <a:gd name="T21" fmla="*/ 396 h 441"/>
              <a:gd name="T22" fmla="*/ 515 w 550"/>
              <a:gd name="T23" fmla="*/ 341 h 441"/>
              <a:gd name="T24" fmla="*/ 550 w 550"/>
              <a:gd name="T25" fmla="*/ 341 h 441"/>
              <a:gd name="T26" fmla="*/ 520 w 550"/>
              <a:gd name="T27" fmla="*/ 268 h 441"/>
              <a:gd name="T28" fmla="*/ 544 w 550"/>
              <a:gd name="T29" fmla="*/ 239 h 441"/>
              <a:gd name="T30" fmla="*/ 501 w 550"/>
              <a:gd name="T31" fmla="*/ 215 h 441"/>
              <a:gd name="T32" fmla="*/ 380 w 550"/>
              <a:gd name="T33" fmla="*/ 215 h 441"/>
              <a:gd name="T34" fmla="*/ 367 w 550"/>
              <a:gd name="T35" fmla="*/ 177 h 441"/>
              <a:gd name="T36" fmla="*/ 320 w 550"/>
              <a:gd name="T37" fmla="*/ 142 h 441"/>
              <a:gd name="T38" fmla="*/ 291 w 550"/>
              <a:gd name="T39" fmla="*/ 57 h 441"/>
              <a:gd name="T40" fmla="*/ 209 w 550"/>
              <a:gd name="T41" fmla="*/ 78 h 441"/>
              <a:gd name="T42" fmla="*/ 147 w 550"/>
              <a:gd name="T43" fmla="*/ 0 h 441"/>
              <a:gd name="T44" fmla="*/ 84 w 550"/>
              <a:gd name="T45" fmla="*/ 0 h 441"/>
              <a:gd name="T46" fmla="*/ 84 w 550"/>
              <a:gd name="T47" fmla="*/ 0 h 44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50"/>
              <a:gd name="T73" fmla="*/ 0 h 441"/>
              <a:gd name="T74" fmla="*/ 550 w 550"/>
              <a:gd name="T75" fmla="*/ 441 h 44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50" h="441">
                <a:moveTo>
                  <a:pt x="84" y="0"/>
                </a:moveTo>
                <a:lnTo>
                  <a:pt x="72" y="28"/>
                </a:lnTo>
                <a:lnTo>
                  <a:pt x="87" y="87"/>
                </a:lnTo>
                <a:lnTo>
                  <a:pt x="42" y="110"/>
                </a:lnTo>
                <a:lnTo>
                  <a:pt x="0" y="212"/>
                </a:lnTo>
                <a:lnTo>
                  <a:pt x="154" y="268"/>
                </a:lnTo>
                <a:lnTo>
                  <a:pt x="171" y="409"/>
                </a:lnTo>
                <a:lnTo>
                  <a:pt x="251" y="441"/>
                </a:lnTo>
                <a:lnTo>
                  <a:pt x="333" y="422"/>
                </a:lnTo>
                <a:lnTo>
                  <a:pt x="417" y="429"/>
                </a:lnTo>
                <a:lnTo>
                  <a:pt x="515" y="396"/>
                </a:lnTo>
                <a:lnTo>
                  <a:pt x="515" y="341"/>
                </a:lnTo>
                <a:lnTo>
                  <a:pt x="550" y="341"/>
                </a:lnTo>
                <a:lnTo>
                  <a:pt x="520" y="268"/>
                </a:lnTo>
                <a:lnTo>
                  <a:pt x="544" y="239"/>
                </a:lnTo>
                <a:lnTo>
                  <a:pt x="501" y="215"/>
                </a:lnTo>
                <a:lnTo>
                  <a:pt x="380" y="215"/>
                </a:lnTo>
                <a:lnTo>
                  <a:pt x="367" y="177"/>
                </a:lnTo>
                <a:lnTo>
                  <a:pt x="320" y="142"/>
                </a:lnTo>
                <a:lnTo>
                  <a:pt x="291" y="57"/>
                </a:lnTo>
                <a:lnTo>
                  <a:pt x="209" y="78"/>
                </a:lnTo>
                <a:lnTo>
                  <a:pt x="147" y="0"/>
                </a:lnTo>
                <a:lnTo>
                  <a:pt x="84" y="0"/>
                </a:lnTo>
                <a:close/>
              </a:path>
            </a:pathLst>
          </a:custGeom>
          <a:solidFill>
            <a:schemeClr val="accent3"/>
          </a:solidFill>
          <a:ln w="12700">
            <a:solidFill>
              <a:schemeClr val="bg1"/>
            </a:solidFill>
            <a:round/>
            <a:headEnd/>
            <a:tailEnd/>
          </a:ln>
        </p:spPr>
        <p:txBody>
          <a:bodyPr/>
          <a:lstStyle/>
          <a:p>
            <a:pPr>
              <a:defRPr/>
            </a:pPr>
            <a:endParaRPr lang="nl-NL"/>
          </a:p>
        </p:txBody>
      </p:sp>
      <p:sp>
        <p:nvSpPr>
          <p:cNvPr id="117" name="Freeform 118"/>
          <p:cNvSpPr>
            <a:spLocks noChangeAspect="1"/>
          </p:cNvSpPr>
          <p:nvPr/>
        </p:nvSpPr>
        <p:spPr bwMode="auto">
          <a:xfrm>
            <a:off x="4008492" y="2924526"/>
            <a:ext cx="376248" cy="426306"/>
          </a:xfrm>
          <a:custGeom>
            <a:avLst/>
            <a:gdLst>
              <a:gd name="T0" fmla="*/ 190 w 437"/>
              <a:gd name="T1" fmla="*/ 0 h 456"/>
              <a:gd name="T2" fmla="*/ 152 w 437"/>
              <a:gd name="T3" fmla="*/ 16 h 456"/>
              <a:gd name="T4" fmla="*/ 114 w 437"/>
              <a:gd name="T5" fmla="*/ 15 h 456"/>
              <a:gd name="T6" fmla="*/ 121 w 437"/>
              <a:gd name="T7" fmla="*/ 58 h 456"/>
              <a:gd name="T8" fmla="*/ 68 w 437"/>
              <a:gd name="T9" fmla="*/ 49 h 456"/>
              <a:gd name="T10" fmla="*/ 45 w 437"/>
              <a:gd name="T11" fmla="*/ 65 h 456"/>
              <a:gd name="T12" fmla="*/ 0 w 437"/>
              <a:gd name="T13" fmla="*/ 252 h 456"/>
              <a:gd name="T14" fmla="*/ 100 w 437"/>
              <a:gd name="T15" fmla="*/ 364 h 456"/>
              <a:gd name="T16" fmla="*/ 202 w 437"/>
              <a:gd name="T17" fmla="*/ 343 h 456"/>
              <a:gd name="T18" fmla="*/ 267 w 437"/>
              <a:gd name="T19" fmla="*/ 456 h 456"/>
              <a:gd name="T20" fmla="*/ 311 w 437"/>
              <a:gd name="T21" fmla="*/ 448 h 456"/>
              <a:gd name="T22" fmla="*/ 351 w 437"/>
              <a:gd name="T23" fmla="*/ 326 h 456"/>
              <a:gd name="T24" fmla="*/ 393 w 437"/>
              <a:gd name="T25" fmla="*/ 322 h 456"/>
              <a:gd name="T26" fmla="*/ 437 w 437"/>
              <a:gd name="T27" fmla="*/ 229 h 456"/>
              <a:gd name="T28" fmla="*/ 357 w 437"/>
              <a:gd name="T29" fmla="*/ 197 h 456"/>
              <a:gd name="T30" fmla="*/ 340 w 437"/>
              <a:gd name="T31" fmla="*/ 56 h 456"/>
              <a:gd name="T32" fmla="*/ 190 w 437"/>
              <a:gd name="T33" fmla="*/ 0 h 456"/>
              <a:gd name="T34" fmla="*/ 190 w 437"/>
              <a:gd name="T35" fmla="*/ 0 h 4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7"/>
              <a:gd name="T55" fmla="*/ 0 h 456"/>
              <a:gd name="T56" fmla="*/ 437 w 437"/>
              <a:gd name="T57" fmla="*/ 456 h 4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7" h="456">
                <a:moveTo>
                  <a:pt x="190" y="0"/>
                </a:moveTo>
                <a:lnTo>
                  <a:pt x="152" y="16"/>
                </a:lnTo>
                <a:lnTo>
                  <a:pt x="114" y="15"/>
                </a:lnTo>
                <a:lnTo>
                  <a:pt x="121" y="58"/>
                </a:lnTo>
                <a:lnTo>
                  <a:pt x="68" y="49"/>
                </a:lnTo>
                <a:lnTo>
                  <a:pt x="45" y="65"/>
                </a:lnTo>
                <a:lnTo>
                  <a:pt x="0" y="252"/>
                </a:lnTo>
                <a:lnTo>
                  <a:pt x="100" y="364"/>
                </a:lnTo>
                <a:lnTo>
                  <a:pt x="202" y="343"/>
                </a:lnTo>
                <a:lnTo>
                  <a:pt x="267" y="456"/>
                </a:lnTo>
                <a:lnTo>
                  <a:pt x="311" y="448"/>
                </a:lnTo>
                <a:lnTo>
                  <a:pt x="351" y="326"/>
                </a:lnTo>
                <a:lnTo>
                  <a:pt x="393" y="322"/>
                </a:lnTo>
                <a:lnTo>
                  <a:pt x="437" y="229"/>
                </a:lnTo>
                <a:lnTo>
                  <a:pt x="357" y="197"/>
                </a:lnTo>
                <a:lnTo>
                  <a:pt x="340" y="56"/>
                </a:lnTo>
                <a:lnTo>
                  <a:pt x="190" y="0"/>
                </a:lnTo>
                <a:close/>
              </a:path>
            </a:pathLst>
          </a:custGeom>
          <a:solidFill>
            <a:schemeClr val="accent3"/>
          </a:solidFill>
          <a:ln w="12700">
            <a:solidFill>
              <a:schemeClr val="bg1"/>
            </a:solidFill>
            <a:round/>
            <a:headEnd/>
            <a:tailEnd/>
          </a:ln>
        </p:spPr>
        <p:txBody>
          <a:bodyPr/>
          <a:lstStyle/>
          <a:p>
            <a:pPr>
              <a:defRPr/>
            </a:pPr>
            <a:endParaRPr lang="nl-NL"/>
          </a:p>
        </p:txBody>
      </p:sp>
      <p:sp>
        <p:nvSpPr>
          <p:cNvPr id="118" name="Freeform 119"/>
          <p:cNvSpPr>
            <a:spLocks noChangeAspect="1"/>
          </p:cNvSpPr>
          <p:nvPr/>
        </p:nvSpPr>
        <p:spPr bwMode="auto">
          <a:xfrm>
            <a:off x="3616711" y="2857215"/>
            <a:ext cx="450461" cy="370213"/>
          </a:xfrm>
          <a:custGeom>
            <a:avLst/>
            <a:gdLst>
              <a:gd name="T0" fmla="*/ 36 w 521"/>
              <a:gd name="T1" fmla="*/ 0 h 395"/>
              <a:gd name="T2" fmla="*/ 47 w 521"/>
              <a:gd name="T3" fmla="*/ 79 h 395"/>
              <a:gd name="T4" fmla="*/ 94 w 521"/>
              <a:gd name="T5" fmla="*/ 100 h 395"/>
              <a:gd name="T6" fmla="*/ 63 w 521"/>
              <a:gd name="T7" fmla="*/ 126 h 395"/>
              <a:gd name="T8" fmla="*/ 105 w 521"/>
              <a:gd name="T9" fmla="*/ 198 h 395"/>
              <a:gd name="T10" fmla="*/ 0 w 521"/>
              <a:gd name="T11" fmla="*/ 222 h 395"/>
              <a:gd name="T12" fmla="*/ 50 w 521"/>
              <a:gd name="T13" fmla="*/ 287 h 395"/>
              <a:gd name="T14" fmla="*/ 18 w 521"/>
              <a:gd name="T15" fmla="*/ 336 h 395"/>
              <a:gd name="T16" fmla="*/ 101 w 521"/>
              <a:gd name="T17" fmla="*/ 392 h 395"/>
              <a:gd name="T18" fmla="*/ 214 w 521"/>
              <a:gd name="T19" fmla="*/ 395 h 395"/>
              <a:gd name="T20" fmla="*/ 255 w 521"/>
              <a:gd name="T21" fmla="*/ 359 h 395"/>
              <a:gd name="T22" fmla="*/ 394 w 521"/>
              <a:gd name="T23" fmla="*/ 372 h 395"/>
              <a:gd name="T24" fmla="*/ 459 w 521"/>
              <a:gd name="T25" fmla="*/ 331 h 395"/>
              <a:gd name="T26" fmla="*/ 498 w 521"/>
              <a:gd name="T27" fmla="*/ 138 h 395"/>
              <a:gd name="T28" fmla="*/ 521 w 521"/>
              <a:gd name="T29" fmla="*/ 122 h 395"/>
              <a:gd name="T30" fmla="*/ 392 w 521"/>
              <a:gd name="T31" fmla="*/ 88 h 395"/>
              <a:gd name="T32" fmla="*/ 381 w 521"/>
              <a:gd name="T33" fmla="*/ 59 h 395"/>
              <a:gd name="T34" fmla="*/ 318 w 521"/>
              <a:gd name="T35" fmla="*/ 46 h 395"/>
              <a:gd name="T36" fmla="*/ 318 w 521"/>
              <a:gd name="T37" fmla="*/ 29 h 395"/>
              <a:gd name="T38" fmla="*/ 205 w 521"/>
              <a:gd name="T39" fmla="*/ 32 h 395"/>
              <a:gd name="T40" fmla="*/ 106 w 521"/>
              <a:gd name="T41" fmla="*/ 9 h 395"/>
              <a:gd name="T42" fmla="*/ 36 w 521"/>
              <a:gd name="T43" fmla="*/ 0 h 395"/>
              <a:gd name="T44" fmla="*/ 36 w 521"/>
              <a:gd name="T45" fmla="*/ 0 h 3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21"/>
              <a:gd name="T70" fmla="*/ 0 h 395"/>
              <a:gd name="T71" fmla="*/ 521 w 521"/>
              <a:gd name="T72" fmla="*/ 395 h 39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21" h="395">
                <a:moveTo>
                  <a:pt x="36" y="0"/>
                </a:moveTo>
                <a:lnTo>
                  <a:pt x="47" y="79"/>
                </a:lnTo>
                <a:lnTo>
                  <a:pt x="94" y="100"/>
                </a:lnTo>
                <a:lnTo>
                  <a:pt x="63" y="126"/>
                </a:lnTo>
                <a:lnTo>
                  <a:pt x="105" y="198"/>
                </a:lnTo>
                <a:lnTo>
                  <a:pt x="0" y="222"/>
                </a:lnTo>
                <a:lnTo>
                  <a:pt x="50" y="287"/>
                </a:lnTo>
                <a:lnTo>
                  <a:pt x="18" y="336"/>
                </a:lnTo>
                <a:lnTo>
                  <a:pt x="101" y="392"/>
                </a:lnTo>
                <a:lnTo>
                  <a:pt x="214" y="395"/>
                </a:lnTo>
                <a:lnTo>
                  <a:pt x="255" y="359"/>
                </a:lnTo>
                <a:lnTo>
                  <a:pt x="394" y="372"/>
                </a:lnTo>
                <a:lnTo>
                  <a:pt x="459" y="331"/>
                </a:lnTo>
                <a:lnTo>
                  <a:pt x="498" y="138"/>
                </a:lnTo>
                <a:lnTo>
                  <a:pt x="521" y="122"/>
                </a:lnTo>
                <a:lnTo>
                  <a:pt x="392" y="88"/>
                </a:lnTo>
                <a:lnTo>
                  <a:pt x="381" y="59"/>
                </a:lnTo>
                <a:lnTo>
                  <a:pt x="318" y="46"/>
                </a:lnTo>
                <a:lnTo>
                  <a:pt x="318" y="29"/>
                </a:lnTo>
                <a:lnTo>
                  <a:pt x="205" y="32"/>
                </a:lnTo>
                <a:lnTo>
                  <a:pt x="106" y="9"/>
                </a:lnTo>
                <a:lnTo>
                  <a:pt x="36" y="0"/>
                </a:lnTo>
                <a:close/>
              </a:path>
            </a:pathLst>
          </a:custGeom>
          <a:solidFill>
            <a:schemeClr val="accent3"/>
          </a:solidFill>
          <a:ln w="12700">
            <a:solidFill>
              <a:schemeClr val="bg1"/>
            </a:solidFill>
            <a:round/>
            <a:headEnd/>
            <a:tailEnd/>
          </a:ln>
        </p:spPr>
        <p:txBody>
          <a:bodyPr/>
          <a:lstStyle/>
          <a:p>
            <a:pPr>
              <a:defRPr/>
            </a:pPr>
            <a:endParaRPr lang="nl-NL"/>
          </a:p>
        </p:txBody>
      </p:sp>
      <p:sp>
        <p:nvSpPr>
          <p:cNvPr id="119" name="Freeform 120"/>
          <p:cNvSpPr>
            <a:spLocks noChangeAspect="1"/>
          </p:cNvSpPr>
          <p:nvPr/>
        </p:nvSpPr>
        <p:spPr bwMode="auto">
          <a:xfrm>
            <a:off x="3254271" y="2832908"/>
            <a:ext cx="453913" cy="439394"/>
          </a:xfrm>
          <a:custGeom>
            <a:avLst/>
            <a:gdLst>
              <a:gd name="T0" fmla="*/ 385 w 526"/>
              <a:gd name="T1" fmla="*/ 0 h 470"/>
              <a:gd name="T2" fmla="*/ 309 w 526"/>
              <a:gd name="T3" fmla="*/ 60 h 470"/>
              <a:gd name="T4" fmla="*/ 152 w 526"/>
              <a:gd name="T5" fmla="*/ 86 h 470"/>
              <a:gd name="T6" fmla="*/ 152 w 526"/>
              <a:gd name="T7" fmla="*/ 142 h 470"/>
              <a:gd name="T8" fmla="*/ 44 w 526"/>
              <a:gd name="T9" fmla="*/ 177 h 470"/>
              <a:gd name="T10" fmla="*/ 0 w 526"/>
              <a:gd name="T11" fmla="*/ 239 h 470"/>
              <a:gd name="T12" fmla="*/ 58 w 526"/>
              <a:gd name="T13" fmla="*/ 272 h 470"/>
              <a:gd name="T14" fmla="*/ 204 w 526"/>
              <a:gd name="T15" fmla="*/ 250 h 470"/>
              <a:gd name="T16" fmla="*/ 336 w 526"/>
              <a:gd name="T17" fmla="*/ 304 h 470"/>
              <a:gd name="T18" fmla="*/ 291 w 526"/>
              <a:gd name="T19" fmla="*/ 318 h 470"/>
              <a:gd name="T20" fmla="*/ 198 w 526"/>
              <a:gd name="T21" fmla="*/ 289 h 470"/>
              <a:gd name="T22" fmla="*/ 116 w 526"/>
              <a:gd name="T23" fmla="*/ 304 h 470"/>
              <a:gd name="T24" fmla="*/ 99 w 526"/>
              <a:gd name="T25" fmla="*/ 346 h 470"/>
              <a:gd name="T26" fmla="*/ 198 w 526"/>
              <a:gd name="T27" fmla="*/ 384 h 470"/>
              <a:gd name="T28" fmla="*/ 173 w 526"/>
              <a:gd name="T29" fmla="*/ 407 h 470"/>
              <a:gd name="T30" fmla="*/ 350 w 526"/>
              <a:gd name="T31" fmla="*/ 470 h 470"/>
              <a:gd name="T32" fmla="*/ 320 w 526"/>
              <a:gd name="T33" fmla="*/ 388 h 470"/>
              <a:gd name="T34" fmla="*/ 354 w 526"/>
              <a:gd name="T35" fmla="*/ 405 h 470"/>
              <a:gd name="T36" fmla="*/ 365 w 526"/>
              <a:gd name="T37" fmla="*/ 445 h 470"/>
              <a:gd name="T38" fmla="*/ 426 w 526"/>
              <a:gd name="T39" fmla="*/ 384 h 470"/>
              <a:gd name="T40" fmla="*/ 478 w 526"/>
              <a:gd name="T41" fmla="*/ 384 h 470"/>
              <a:gd name="T42" fmla="*/ 443 w 526"/>
              <a:gd name="T43" fmla="*/ 365 h 470"/>
              <a:gd name="T44" fmla="*/ 468 w 526"/>
              <a:gd name="T45" fmla="*/ 312 h 470"/>
              <a:gd name="T46" fmla="*/ 420 w 526"/>
              <a:gd name="T47" fmla="*/ 247 h 470"/>
              <a:gd name="T48" fmla="*/ 526 w 526"/>
              <a:gd name="T49" fmla="*/ 223 h 470"/>
              <a:gd name="T50" fmla="*/ 482 w 526"/>
              <a:gd name="T51" fmla="*/ 154 h 470"/>
              <a:gd name="T52" fmla="*/ 516 w 526"/>
              <a:gd name="T53" fmla="*/ 125 h 470"/>
              <a:gd name="T54" fmla="*/ 468 w 526"/>
              <a:gd name="T55" fmla="*/ 104 h 470"/>
              <a:gd name="T56" fmla="*/ 453 w 526"/>
              <a:gd name="T57" fmla="*/ 22 h 470"/>
              <a:gd name="T58" fmla="*/ 385 w 526"/>
              <a:gd name="T59" fmla="*/ 0 h 470"/>
              <a:gd name="T60" fmla="*/ 385 w 526"/>
              <a:gd name="T61" fmla="*/ 0 h 4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26"/>
              <a:gd name="T94" fmla="*/ 0 h 470"/>
              <a:gd name="T95" fmla="*/ 526 w 526"/>
              <a:gd name="T96" fmla="*/ 470 h 4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26" h="470">
                <a:moveTo>
                  <a:pt x="385" y="0"/>
                </a:moveTo>
                <a:lnTo>
                  <a:pt x="309" y="60"/>
                </a:lnTo>
                <a:lnTo>
                  <a:pt x="152" y="86"/>
                </a:lnTo>
                <a:lnTo>
                  <a:pt x="152" y="142"/>
                </a:lnTo>
                <a:lnTo>
                  <a:pt x="44" y="177"/>
                </a:lnTo>
                <a:lnTo>
                  <a:pt x="0" y="239"/>
                </a:lnTo>
                <a:lnTo>
                  <a:pt x="58" y="272"/>
                </a:lnTo>
                <a:lnTo>
                  <a:pt x="204" y="250"/>
                </a:lnTo>
                <a:lnTo>
                  <a:pt x="336" y="304"/>
                </a:lnTo>
                <a:lnTo>
                  <a:pt x="291" y="318"/>
                </a:lnTo>
                <a:lnTo>
                  <a:pt x="198" y="289"/>
                </a:lnTo>
                <a:lnTo>
                  <a:pt x="116" y="304"/>
                </a:lnTo>
                <a:lnTo>
                  <a:pt x="99" y="346"/>
                </a:lnTo>
                <a:lnTo>
                  <a:pt x="198" y="384"/>
                </a:lnTo>
                <a:lnTo>
                  <a:pt x="173" y="407"/>
                </a:lnTo>
                <a:lnTo>
                  <a:pt x="350" y="470"/>
                </a:lnTo>
                <a:lnTo>
                  <a:pt x="320" y="388"/>
                </a:lnTo>
                <a:lnTo>
                  <a:pt x="354" y="405"/>
                </a:lnTo>
                <a:lnTo>
                  <a:pt x="365" y="445"/>
                </a:lnTo>
                <a:lnTo>
                  <a:pt x="426" y="384"/>
                </a:lnTo>
                <a:lnTo>
                  <a:pt x="478" y="384"/>
                </a:lnTo>
                <a:lnTo>
                  <a:pt x="443" y="365"/>
                </a:lnTo>
                <a:lnTo>
                  <a:pt x="468" y="312"/>
                </a:lnTo>
                <a:lnTo>
                  <a:pt x="420" y="247"/>
                </a:lnTo>
                <a:lnTo>
                  <a:pt x="526" y="223"/>
                </a:lnTo>
                <a:lnTo>
                  <a:pt x="482" y="154"/>
                </a:lnTo>
                <a:lnTo>
                  <a:pt x="516" y="125"/>
                </a:lnTo>
                <a:lnTo>
                  <a:pt x="468" y="104"/>
                </a:lnTo>
                <a:lnTo>
                  <a:pt x="453" y="22"/>
                </a:lnTo>
                <a:lnTo>
                  <a:pt x="385" y="0"/>
                </a:lnTo>
                <a:close/>
              </a:path>
            </a:pathLst>
          </a:custGeom>
          <a:solidFill>
            <a:schemeClr val="accent3"/>
          </a:solidFill>
          <a:ln w="12700">
            <a:solidFill>
              <a:schemeClr val="bg1"/>
            </a:solidFill>
            <a:round/>
            <a:headEnd/>
            <a:tailEnd/>
          </a:ln>
        </p:spPr>
        <p:txBody>
          <a:bodyPr/>
          <a:lstStyle/>
          <a:p>
            <a:pPr>
              <a:defRPr/>
            </a:pPr>
            <a:endParaRPr lang="nl-NL"/>
          </a:p>
        </p:txBody>
      </p:sp>
      <p:sp>
        <p:nvSpPr>
          <p:cNvPr id="120" name="Freeform 121"/>
          <p:cNvSpPr>
            <a:spLocks noChangeAspect="1"/>
          </p:cNvSpPr>
          <p:nvPr/>
        </p:nvSpPr>
        <p:spPr bwMode="auto">
          <a:xfrm>
            <a:off x="3359551" y="3193772"/>
            <a:ext cx="465995" cy="338427"/>
          </a:xfrm>
          <a:custGeom>
            <a:avLst/>
            <a:gdLst>
              <a:gd name="T0" fmla="*/ 53 w 540"/>
              <a:gd name="T1" fmla="*/ 21 h 360"/>
              <a:gd name="T2" fmla="*/ 0 w 540"/>
              <a:gd name="T3" fmla="*/ 93 h 360"/>
              <a:gd name="T4" fmla="*/ 82 w 540"/>
              <a:gd name="T5" fmla="*/ 198 h 360"/>
              <a:gd name="T6" fmla="*/ 82 w 540"/>
              <a:gd name="T7" fmla="*/ 255 h 360"/>
              <a:gd name="T8" fmla="*/ 346 w 540"/>
              <a:gd name="T9" fmla="*/ 360 h 360"/>
              <a:gd name="T10" fmla="*/ 462 w 540"/>
              <a:gd name="T11" fmla="*/ 358 h 360"/>
              <a:gd name="T12" fmla="*/ 540 w 540"/>
              <a:gd name="T13" fmla="*/ 339 h 360"/>
              <a:gd name="T14" fmla="*/ 503 w 540"/>
              <a:gd name="T15" fmla="*/ 303 h 360"/>
              <a:gd name="T16" fmla="*/ 480 w 540"/>
              <a:gd name="T17" fmla="*/ 116 h 360"/>
              <a:gd name="T18" fmla="*/ 403 w 540"/>
              <a:gd name="T19" fmla="*/ 28 h 360"/>
              <a:gd name="T20" fmla="*/ 356 w 540"/>
              <a:gd name="T21" fmla="*/ 0 h 360"/>
              <a:gd name="T22" fmla="*/ 304 w 540"/>
              <a:gd name="T23" fmla="*/ 0 h 360"/>
              <a:gd name="T24" fmla="*/ 243 w 540"/>
              <a:gd name="T25" fmla="*/ 61 h 360"/>
              <a:gd name="T26" fmla="*/ 232 w 540"/>
              <a:gd name="T27" fmla="*/ 19 h 360"/>
              <a:gd name="T28" fmla="*/ 198 w 540"/>
              <a:gd name="T29" fmla="*/ 4 h 360"/>
              <a:gd name="T30" fmla="*/ 226 w 540"/>
              <a:gd name="T31" fmla="*/ 84 h 360"/>
              <a:gd name="T32" fmla="*/ 53 w 540"/>
              <a:gd name="T33" fmla="*/ 21 h 360"/>
              <a:gd name="T34" fmla="*/ 53 w 540"/>
              <a:gd name="T35" fmla="*/ 21 h 3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0"/>
              <a:gd name="T55" fmla="*/ 0 h 360"/>
              <a:gd name="T56" fmla="*/ 540 w 540"/>
              <a:gd name="T57" fmla="*/ 360 h 3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0" h="360">
                <a:moveTo>
                  <a:pt x="53" y="21"/>
                </a:moveTo>
                <a:lnTo>
                  <a:pt x="0" y="93"/>
                </a:lnTo>
                <a:lnTo>
                  <a:pt x="82" y="198"/>
                </a:lnTo>
                <a:lnTo>
                  <a:pt x="82" y="255"/>
                </a:lnTo>
                <a:lnTo>
                  <a:pt x="346" y="360"/>
                </a:lnTo>
                <a:lnTo>
                  <a:pt x="462" y="358"/>
                </a:lnTo>
                <a:lnTo>
                  <a:pt x="540" y="339"/>
                </a:lnTo>
                <a:lnTo>
                  <a:pt x="503" y="303"/>
                </a:lnTo>
                <a:lnTo>
                  <a:pt x="480" y="116"/>
                </a:lnTo>
                <a:lnTo>
                  <a:pt x="403" y="28"/>
                </a:lnTo>
                <a:lnTo>
                  <a:pt x="356" y="0"/>
                </a:lnTo>
                <a:lnTo>
                  <a:pt x="304" y="0"/>
                </a:lnTo>
                <a:lnTo>
                  <a:pt x="243" y="61"/>
                </a:lnTo>
                <a:lnTo>
                  <a:pt x="232" y="19"/>
                </a:lnTo>
                <a:lnTo>
                  <a:pt x="198" y="4"/>
                </a:lnTo>
                <a:lnTo>
                  <a:pt x="226" y="84"/>
                </a:lnTo>
                <a:lnTo>
                  <a:pt x="53" y="21"/>
                </a:lnTo>
                <a:close/>
              </a:path>
            </a:pathLst>
          </a:custGeom>
          <a:solidFill>
            <a:schemeClr val="accent3"/>
          </a:solidFill>
          <a:ln w="12700">
            <a:solidFill>
              <a:schemeClr val="bg1"/>
            </a:solidFill>
            <a:round/>
            <a:headEnd/>
            <a:tailEnd/>
          </a:ln>
        </p:spPr>
        <p:txBody>
          <a:bodyPr/>
          <a:lstStyle/>
          <a:p>
            <a:pPr>
              <a:defRPr/>
            </a:pPr>
            <a:endParaRPr lang="nl-NL"/>
          </a:p>
        </p:txBody>
      </p:sp>
      <p:sp>
        <p:nvSpPr>
          <p:cNvPr id="121" name="Freeform 122"/>
          <p:cNvSpPr>
            <a:spLocks noChangeAspect="1"/>
          </p:cNvSpPr>
          <p:nvPr/>
        </p:nvSpPr>
        <p:spPr bwMode="auto">
          <a:xfrm>
            <a:off x="3704732" y="3193772"/>
            <a:ext cx="340003" cy="499227"/>
          </a:xfrm>
          <a:custGeom>
            <a:avLst/>
            <a:gdLst>
              <a:gd name="T0" fmla="*/ 0 w 394"/>
              <a:gd name="T1" fmla="*/ 30 h 535"/>
              <a:gd name="T2" fmla="*/ 79 w 394"/>
              <a:gd name="T3" fmla="*/ 118 h 535"/>
              <a:gd name="T4" fmla="*/ 102 w 394"/>
              <a:gd name="T5" fmla="*/ 315 h 535"/>
              <a:gd name="T6" fmla="*/ 141 w 394"/>
              <a:gd name="T7" fmla="*/ 341 h 535"/>
              <a:gd name="T8" fmla="*/ 61 w 394"/>
              <a:gd name="T9" fmla="*/ 359 h 535"/>
              <a:gd name="T10" fmla="*/ 107 w 394"/>
              <a:gd name="T11" fmla="*/ 453 h 535"/>
              <a:gd name="T12" fmla="*/ 293 w 394"/>
              <a:gd name="T13" fmla="*/ 535 h 535"/>
              <a:gd name="T14" fmla="*/ 313 w 394"/>
              <a:gd name="T15" fmla="*/ 488 h 535"/>
              <a:gd name="T16" fmla="*/ 394 w 394"/>
              <a:gd name="T17" fmla="*/ 480 h 535"/>
              <a:gd name="T18" fmla="*/ 377 w 394"/>
              <a:gd name="T19" fmla="*/ 362 h 535"/>
              <a:gd name="T20" fmla="*/ 339 w 394"/>
              <a:gd name="T21" fmla="*/ 359 h 535"/>
              <a:gd name="T22" fmla="*/ 304 w 394"/>
              <a:gd name="T23" fmla="*/ 277 h 535"/>
              <a:gd name="T24" fmla="*/ 339 w 394"/>
              <a:gd name="T25" fmla="*/ 159 h 535"/>
              <a:gd name="T26" fmla="*/ 295 w 394"/>
              <a:gd name="T27" fmla="*/ 13 h 535"/>
              <a:gd name="T28" fmla="*/ 152 w 394"/>
              <a:gd name="T29" fmla="*/ 0 h 535"/>
              <a:gd name="T30" fmla="*/ 111 w 394"/>
              <a:gd name="T31" fmla="*/ 38 h 535"/>
              <a:gd name="T32" fmla="*/ 0 w 394"/>
              <a:gd name="T33" fmla="*/ 30 h 535"/>
              <a:gd name="T34" fmla="*/ 0 w 394"/>
              <a:gd name="T35" fmla="*/ 30 h 5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94"/>
              <a:gd name="T55" fmla="*/ 0 h 535"/>
              <a:gd name="T56" fmla="*/ 394 w 394"/>
              <a:gd name="T57" fmla="*/ 535 h 5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94" h="535">
                <a:moveTo>
                  <a:pt x="0" y="30"/>
                </a:moveTo>
                <a:lnTo>
                  <a:pt x="79" y="118"/>
                </a:lnTo>
                <a:lnTo>
                  <a:pt x="102" y="315"/>
                </a:lnTo>
                <a:lnTo>
                  <a:pt x="141" y="341"/>
                </a:lnTo>
                <a:lnTo>
                  <a:pt x="61" y="359"/>
                </a:lnTo>
                <a:lnTo>
                  <a:pt x="107" y="453"/>
                </a:lnTo>
                <a:lnTo>
                  <a:pt x="293" y="535"/>
                </a:lnTo>
                <a:lnTo>
                  <a:pt x="313" y="488"/>
                </a:lnTo>
                <a:lnTo>
                  <a:pt x="394" y="480"/>
                </a:lnTo>
                <a:lnTo>
                  <a:pt x="377" y="362"/>
                </a:lnTo>
                <a:lnTo>
                  <a:pt x="339" y="359"/>
                </a:lnTo>
                <a:lnTo>
                  <a:pt x="304" y="277"/>
                </a:lnTo>
                <a:lnTo>
                  <a:pt x="339" y="159"/>
                </a:lnTo>
                <a:lnTo>
                  <a:pt x="295" y="13"/>
                </a:lnTo>
                <a:lnTo>
                  <a:pt x="152" y="0"/>
                </a:lnTo>
                <a:lnTo>
                  <a:pt x="111" y="38"/>
                </a:lnTo>
                <a:lnTo>
                  <a:pt x="0" y="30"/>
                </a:lnTo>
                <a:close/>
              </a:path>
            </a:pathLst>
          </a:custGeom>
          <a:solidFill>
            <a:schemeClr val="accent3"/>
          </a:solidFill>
          <a:ln w="12700">
            <a:solidFill>
              <a:schemeClr val="bg1"/>
            </a:solidFill>
            <a:round/>
            <a:headEnd/>
            <a:tailEnd/>
          </a:ln>
        </p:spPr>
        <p:txBody>
          <a:bodyPr/>
          <a:lstStyle/>
          <a:p>
            <a:pPr>
              <a:defRPr/>
            </a:pPr>
            <a:endParaRPr lang="nl-NL"/>
          </a:p>
        </p:txBody>
      </p:sp>
      <p:sp>
        <p:nvSpPr>
          <p:cNvPr id="122" name="Freeform 123"/>
          <p:cNvSpPr>
            <a:spLocks noChangeAspect="1"/>
          </p:cNvSpPr>
          <p:nvPr/>
        </p:nvSpPr>
        <p:spPr bwMode="auto">
          <a:xfrm>
            <a:off x="3958440" y="3165726"/>
            <a:ext cx="374522" cy="504836"/>
          </a:xfrm>
          <a:custGeom>
            <a:avLst/>
            <a:gdLst>
              <a:gd name="T0" fmla="*/ 64 w 435"/>
              <a:gd name="T1" fmla="*/ 0 h 540"/>
              <a:gd name="T2" fmla="*/ 0 w 435"/>
              <a:gd name="T3" fmla="*/ 38 h 540"/>
              <a:gd name="T4" fmla="*/ 46 w 435"/>
              <a:gd name="T5" fmla="*/ 187 h 540"/>
              <a:gd name="T6" fmla="*/ 11 w 435"/>
              <a:gd name="T7" fmla="*/ 305 h 540"/>
              <a:gd name="T8" fmla="*/ 47 w 435"/>
              <a:gd name="T9" fmla="*/ 390 h 540"/>
              <a:gd name="T10" fmla="*/ 84 w 435"/>
              <a:gd name="T11" fmla="*/ 392 h 540"/>
              <a:gd name="T12" fmla="*/ 101 w 435"/>
              <a:gd name="T13" fmla="*/ 512 h 540"/>
              <a:gd name="T14" fmla="*/ 172 w 435"/>
              <a:gd name="T15" fmla="*/ 540 h 540"/>
              <a:gd name="T16" fmla="*/ 306 w 435"/>
              <a:gd name="T17" fmla="*/ 495 h 540"/>
              <a:gd name="T18" fmla="*/ 314 w 435"/>
              <a:gd name="T19" fmla="*/ 442 h 540"/>
              <a:gd name="T20" fmla="*/ 435 w 435"/>
              <a:gd name="T21" fmla="*/ 361 h 540"/>
              <a:gd name="T22" fmla="*/ 417 w 435"/>
              <a:gd name="T23" fmla="*/ 320 h 540"/>
              <a:gd name="T24" fmla="*/ 350 w 435"/>
              <a:gd name="T25" fmla="*/ 280 h 540"/>
              <a:gd name="T26" fmla="*/ 329 w 435"/>
              <a:gd name="T27" fmla="*/ 198 h 540"/>
              <a:gd name="T28" fmla="*/ 256 w 435"/>
              <a:gd name="T29" fmla="*/ 84 h 540"/>
              <a:gd name="T30" fmla="*/ 157 w 435"/>
              <a:gd name="T31" fmla="*/ 106 h 540"/>
              <a:gd name="T32" fmla="*/ 64 w 435"/>
              <a:gd name="T33" fmla="*/ 0 h 540"/>
              <a:gd name="T34" fmla="*/ 64 w 435"/>
              <a:gd name="T35" fmla="*/ 0 h 5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5"/>
              <a:gd name="T55" fmla="*/ 0 h 540"/>
              <a:gd name="T56" fmla="*/ 435 w 435"/>
              <a:gd name="T57" fmla="*/ 540 h 54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5" h="540">
                <a:moveTo>
                  <a:pt x="64" y="0"/>
                </a:moveTo>
                <a:lnTo>
                  <a:pt x="0" y="38"/>
                </a:lnTo>
                <a:lnTo>
                  <a:pt x="46" y="187"/>
                </a:lnTo>
                <a:lnTo>
                  <a:pt x="11" y="305"/>
                </a:lnTo>
                <a:lnTo>
                  <a:pt x="47" y="390"/>
                </a:lnTo>
                <a:lnTo>
                  <a:pt x="84" y="392"/>
                </a:lnTo>
                <a:lnTo>
                  <a:pt x="101" y="512"/>
                </a:lnTo>
                <a:lnTo>
                  <a:pt x="172" y="540"/>
                </a:lnTo>
                <a:lnTo>
                  <a:pt x="306" y="495"/>
                </a:lnTo>
                <a:lnTo>
                  <a:pt x="314" y="442"/>
                </a:lnTo>
                <a:lnTo>
                  <a:pt x="435" y="361"/>
                </a:lnTo>
                <a:lnTo>
                  <a:pt x="417" y="320"/>
                </a:lnTo>
                <a:lnTo>
                  <a:pt x="350" y="280"/>
                </a:lnTo>
                <a:lnTo>
                  <a:pt x="329" y="198"/>
                </a:lnTo>
                <a:lnTo>
                  <a:pt x="256" y="84"/>
                </a:lnTo>
                <a:lnTo>
                  <a:pt x="157" y="106"/>
                </a:lnTo>
                <a:lnTo>
                  <a:pt x="64" y="0"/>
                </a:lnTo>
                <a:close/>
              </a:path>
            </a:pathLst>
          </a:custGeom>
          <a:solidFill>
            <a:schemeClr val="accent3"/>
          </a:solidFill>
          <a:ln w="12700">
            <a:solidFill>
              <a:schemeClr val="bg1"/>
            </a:solidFill>
            <a:round/>
            <a:headEnd/>
            <a:tailEnd/>
          </a:ln>
        </p:spPr>
        <p:txBody>
          <a:bodyPr/>
          <a:lstStyle/>
          <a:p>
            <a:pPr>
              <a:defRPr/>
            </a:pPr>
            <a:endParaRPr lang="nl-NL"/>
          </a:p>
        </p:txBody>
      </p:sp>
      <p:sp>
        <p:nvSpPr>
          <p:cNvPr id="123" name="Freeform 124"/>
          <p:cNvSpPr>
            <a:spLocks noChangeAspect="1"/>
          </p:cNvSpPr>
          <p:nvPr/>
        </p:nvSpPr>
        <p:spPr bwMode="auto">
          <a:xfrm>
            <a:off x="4239763" y="3122721"/>
            <a:ext cx="396958" cy="400129"/>
          </a:xfrm>
          <a:custGeom>
            <a:avLst/>
            <a:gdLst>
              <a:gd name="T0" fmla="*/ 163 w 458"/>
              <a:gd name="T1" fmla="*/ 19 h 429"/>
              <a:gd name="T2" fmla="*/ 123 w 458"/>
              <a:gd name="T3" fmla="*/ 114 h 429"/>
              <a:gd name="T4" fmla="*/ 81 w 458"/>
              <a:gd name="T5" fmla="*/ 116 h 429"/>
              <a:gd name="T6" fmla="*/ 40 w 458"/>
              <a:gd name="T7" fmla="*/ 238 h 429"/>
              <a:gd name="T8" fmla="*/ 0 w 458"/>
              <a:gd name="T9" fmla="*/ 246 h 429"/>
              <a:gd name="T10" fmla="*/ 23 w 458"/>
              <a:gd name="T11" fmla="*/ 332 h 429"/>
              <a:gd name="T12" fmla="*/ 90 w 458"/>
              <a:gd name="T13" fmla="*/ 374 h 429"/>
              <a:gd name="T14" fmla="*/ 111 w 458"/>
              <a:gd name="T15" fmla="*/ 409 h 429"/>
              <a:gd name="T16" fmla="*/ 190 w 458"/>
              <a:gd name="T17" fmla="*/ 429 h 429"/>
              <a:gd name="T18" fmla="*/ 310 w 458"/>
              <a:gd name="T19" fmla="*/ 385 h 429"/>
              <a:gd name="T20" fmla="*/ 442 w 458"/>
              <a:gd name="T21" fmla="*/ 397 h 429"/>
              <a:gd name="T22" fmla="*/ 458 w 458"/>
              <a:gd name="T23" fmla="*/ 303 h 429"/>
              <a:gd name="T24" fmla="*/ 396 w 458"/>
              <a:gd name="T25" fmla="*/ 249 h 429"/>
              <a:gd name="T26" fmla="*/ 422 w 458"/>
              <a:gd name="T27" fmla="*/ 165 h 429"/>
              <a:gd name="T28" fmla="*/ 388 w 458"/>
              <a:gd name="T29" fmla="*/ 57 h 429"/>
              <a:gd name="T30" fmla="*/ 310 w 458"/>
              <a:gd name="T31" fmla="*/ 57 h 429"/>
              <a:gd name="T32" fmla="*/ 335 w 458"/>
              <a:gd name="T33" fmla="*/ 6 h 429"/>
              <a:gd name="T34" fmla="*/ 251 w 458"/>
              <a:gd name="T35" fmla="*/ 0 h 429"/>
              <a:gd name="T36" fmla="*/ 163 w 458"/>
              <a:gd name="T37" fmla="*/ 19 h 429"/>
              <a:gd name="T38" fmla="*/ 163 w 458"/>
              <a:gd name="T39" fmla="*/ 19 h 4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8"/>
              <a:gd name="T61" fmla="*/ 0 h 429"/>
              <a:gd name="T62" fmla="*/ 458 w 458"/>
              <a:gd name="T63" fmla="*/ 429 h 4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8" h="429">
                <a:moveTo>
                  <a:pt x="163" y="19"/>
                </a:moveTo>
                <a:lnTo>
                  <a:pt x="123" y="114"/>
                </a:lnTo>
                <a:lnTo>
                  <a:pt x="81" y="116"/>
                </a:lnTo>
                <a:lnTo>
                  <a:pt x="40" y="238"/>
                </a:lnTo>
                <a:lnTo>
                  <a:pt x="0" y="246"/>
                </a:lnTo>
                <a:lnTo>
                  <a:pt x="23" y="332"/>
                </a:lnTo>
                <a:lnTo>
                  <a:pt x="90" y="374"/>
                </a:lnTo>
                <a:lnTo>
                  <a:pt x="111" y="409"/>
                </a:lnTo>
                <a:lnTo>
                  <a:pt x="190" y="429"/>
                </a:lnTo>
                <a:lnTo>
                  <a:pt x="310" y="385"/>
                </a:lnTo>
                <a:lnTo>
                  <a:pt x="442" y="397"/>
                </a:lnTo>
                <a:lnTo>
                  <a:pt x="458" y="303"/>
                </a:lnTo>
                <a:lnTo>
                  <a:pt x="396" y="249"/>
                </a:lnTo>
                <a:lnTo>
                  <a:pt x="422" y="165"/>
                </a:lnTo>
                <a:lnTo>
                  <a:pt x="388" y="57"/>
                </a:lnTo>
                <a:lnTo>
                  <a:pt x="310" y="57"/>
                </a:lnTo>
                <a:lnTo>
                  <a:pt x="335" y="6"/>
                </a:lnTo>
                <a:lnTo>
                  <a:pt x="251" y="0"/>
                </a:lnTo>
                <a:lnTo>
                  <a:pt x="163" y="19"/>
                </a:lnTo>
                <a:close/>
              </a:path>
            </a:pathLst>
          </a:custGeom>
          <a:solidFill>
            <a:schemeClr val="accent3"/>
          </a:solidFill>
          <a:ln w="12700">
            <a:solidFill>
              <a:schemeClr val="bg1"/>
            </a:solidFill>
            <a:round/>
            <a:headEnd/>
            <a:tailEnd/>
          </a:ln>
        </p:spPr>
        <p:txBody>
          <a:bodyPr/>
          <a:lstStyle/>
          <a:p>
            <a:pPr>
              <a:defRPr/>
            </a:pPr>
            <a:endParaRPr lang="nl-NL"/>
          </a:p>
        </p:txBody>
      </p:sp>
      <p:sp>
        <p:nvSpPr>
          <p:cNvPr id="124" name="Freeform 125"/>
          <p:cNvSpPr>
            <a:spLocks noChangeAspect="1"/>
          </p:cNvSpPr>
          <p:nvPr/>
        </p:nvSpPr>
        <p:spPr bwMode="auto">
          <a:xfrm>
            <a:off x="4505553" y="2946963"/>
            <a:ext cx="372796" cy="545971"/>
          </a:xfrm>
          <a:custGeom>
            <a:avLst/>
            <a:gdLst>
              <a:gd name="T0" fmla="*/ 157 w 431"/>
              <a:gd name="T1" fmla="*/ 0 h 584"/>
              <a:gd name="T2" fmla="*/ 133 w 431"/>
              <a:gd name="T3" fmla="*/ 32 h 584"/>
              <a:gd name="T4" fmla="*/ 156 w 431"/>
              <a:gd name="T5" fmla="*/ 105 h 584"/>
              <a:gd name="T6" fmla="*/ 121 w 431"/>
              <a:gd name="T7" fmla="*/ 105 h 584"/>
              <a:gd name="T8" fmla="*/ 121 w 431"/>
              <a:gd name="T9" fmla="*/ 160 h 584"/>
              <a:gd name="T10" fmla="*/ 28 w 431"/>
              <a:gd name="T11" fmla="*/ 193 h 584"/>
              <a:gd name="T12" fmla="*/ 0 w 431"/>
              <a:gd name="T13" fmla="*/ 243 h 584"/>
              <a:gd name="T14" fmla="*/ 81 w 431"/>
              <a:gd name="T15" fmla="*/ 243 h 584"/>
              <a:gd name="T16" fmla="*/ 113 w 431"/>
              <a:gd name="T17" fmla="*/ 351 h 584"/>
              <a:gd name="T18" fmla="*/ 89 w 431"/>
              <a:gd name="T19" fmla="*/ 433 h 584"/>
              <a:gd name="T20" fmla="*/ 151 w 431"/>
              <a:gd name="T21" fmla="*/ 490 h 584"/>
              <a:gd name="T22" fmla="*/ 135 w 431"/>
              <a:gd name="T23" fmla="*/ 583 h 584"/>
              <a:gd name="T24" fmla="*/ 165 w 431"/>
              <a:gd name="T25" fmla="*/ 584 h 584"/>
              <a:gd name="T26" fmla="*/ 201 w 431"/>
              <a:gd name="T27" fmla="*/ 534 h 584"/>
              <a:gd name="T28" fmla="*/ 270 w 431"/>
              <a:gd name="T29" fmla="*/ 527 h 584"/>
              <a:gd name="T30" fmla="*/ 273 w 431"/>
              <a:gd name="T31" fmla="*/ 472 h 584"/>
              <a:gd name="T32" fmla="*/ 416 w 431"/>
              <a:gd name="T33" fmla="*/ 409 h 584"/>
              <a:gd name="T34" fmla="*/ 431 w 431"/>
              <a:gd name="T35" fmla="*/ 249 h 584"/>
              <a:gd name="T36" fmla="*/ 364 w 431"/>
              <a:gd name="T37" fmla="*/ 137 h 584"/>
              <a:gd name="T38" fmla="*/ 357 w 431"/>
              <a:gd name="T39" fmla="*/ 35 h 584"/>
              <a:gd name="T40" fmla="*/ 300 w 431"/>
              <a:gd name="T41" fmla="*/ 63 h 584"/>
              <a:gd name="T42" fmla="*/ 220 w 431"/>
              <a:gd name="T43" fmla="*/ 6 h 584"/>
              <a:gd name="T44" fmla="*/ 157 w 431"/>
              <a:gd name="T45" fmla="*/ 0 h 584"/>
              <a:gd name="T46" fmla="*/ 157 w 431"/>
              <a:gd name="T47" fmla="*/ 0 h 58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1"/>
              <a:gd name="T73" fmla="*/ 0 h 584"/>
              <a:gd name="T74" fmla="*/ 431 w 431"/>
              <a:gd name="T75" fmla="*/ 584 h 58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1" h="584">
                <a:moveTo>
                  <a:pt x="157" y="0"/>
                </a:moveTo>
                <a:lnTo>
                  <a:pt x="133" y="32"/>
                </a:lnTo>
                <a:lnTo>
                  <a:pt x="156" y="105"/>
                </a:lnTo>
                <a:lnTo>
                  <a:pt x="121" y="105"/>
                </a:lnTo>
                <a:lnTo>
                  <a:pt x="121" y="160"/>
                </a:lnTo>
                <a:lnTo>
                  <a:pt x="28" y="193"/>
                </a:lnTo>
                <a:lnTo>
                  <a:pt x="0" y="243"/>
                </a:lnTo>
                <a:lnTo>
                  <a:pt x="81" y="243"/>
                </a:lnTo>
                <a:lnTo>
                  <a:pt x="113" y="351"/>
                </a:lnTo>
                <a:lnTo>
                  <a:pt x="89" y="433"/>
                </a:lnTo>
                <a:lnTo>
                  <a:pt x="151" y="490"/>
                </a:lnTo>
                <a:lnTo>
                  <a:pt x="135" y="583"/>
                </a:lnTo>
                <a:lnTo>
                  <a:pt x="165" y="584"/>
                </a:lnTo>
                <a:lnTo>
                  <a:pt x="201" y="534"/>
                </a:lnTo>
                <a:lnTo>
                  <a:pt x="270" y="527"/>
                </a:lnTo>
                <a:lnTo>
                  <a:pt x="273" y="472"/>
                </a:lnTo>
                <a:lnTo>
                  <a:pt x="416" y="409"/>
                </a:lnTo>
                <a:lnTo>
                  <a:pt x="431" y="249"/>
                </a:lnTo>
                <a:lnTo>
                  <a:pt x="364" y="137"/>
                </a:lnTo>
                <a:lnTo>
                  <a:pt x="357" y="35"/>
                </a:lnTo>
                <a:lnTo>
                  <a:pt x="300" y="63"/>
                </a:lnTo>
                <a:lnTo>
                  <a:pt x="220" y="6"/>
                </a:lnTo>
                <a:lnTo>
                  <a:pt x="157" y="0"/>
                </a:lnTo>
                <a:close/>
              </a:path>
            </a:pathLst>
          </a:custGeom>
          <a:solidFill>
            <a:schemeClr val="accent3"/>
          </a:solidFill>
          <a:ln w="12700">
            <a:solidFill>
              <a:schemeClr val="bg1"/>
            </a:solidFill>
            <a:round/>
            <a:headEnd/>
            <a:tailEnd/>
          </a:ln>
        </p:spPr>
        <p:txBody>
          <a:bodyPr/>
          <a:lstStyle/>
          <a:p>
            <a:pPr>
              <a:defRPr/>
            </a:pPr>
            <a:endParaRPr lang="nl-NL"/>
          </a:p>
        </p:txBody>
      </p:sp>
      <p:sp>
        <p:nvSpPr>
          <p:cNvPr id="125" name="Freeform 126"/>
          <p:cNvSpPr>
            <a:spLocks noChangeAspect="1"/>
          </p:cNvSpPr>
          <p:nvPr/>
        </p:nvSpPr>
        <p:spPr bwMode="auto">
          <a:xfrm>
            <a:off x="4393369" y="3481715"/>
            <a:ext cx="360714" cy="357125"/>
          </a:xfrm>
          <a:custGeom>
            <a:avLst/>
            <a:gdLst>
              <a:gd name="T0" fmla="*/ 295 w 418"/>
              <a:gd name="T1" fmla="*/ 13 h 381"/>
              <a:gd name="T2" fmla="*/ 400 w 418"/>
              <a:gd name="T3" fmla="*/ 164 h 381"/>
              <a:gd name="T4" fmla="*/ 418 w 418"/>
              <a:gd name="T5" fmla="*/ 252 h 381"/>
              <a:gd name="T6" fmla="*/ 347 w 418"/>
              <a:gd name="T7" fmla="*/ 296 h 381"/>
              <a:gd name="T8" fmla="*/ 362 w 418"/>
              <a:gd name="T9" fmla="*/ 360 h 381"/>
              <a:gd name="T10" fmla="*/ 298 w 418"/>
              <a:gd name="T11" fmla="*/ 381 h 381"/>
              <a:gd name="T12" fmla="*/ 173 w 418"/>
              <a:gd name="T13" fmla="*/ 365 h 381"/>
              <a:gd name="T14" fmla="*/ 152 w 418"/>
              <a:gd name="T15" fmla="*/ 302 h 381"/>
              <a:gd name="T16" fmla="*/ 68 w 418"/>
              <a:gd name="T17" fmla="*/ 296 h 381"/>
              <a:gd name="T18" fmla="*/ 83 w 418"/>
              <a:gd name="T19" fmla="*/ 257 h 381"/>
              <a:gd name="T20" fmla="*/ 47 w 418"/>
              <a:gd name="T21" fmla="*/ 257 h 381"/>
              <a:gd name="T22" fmla="*/ 36 w 418"/>
              <a:gd name="T23" fmla="*/ 173 h 381"/>
              <a:gd name="T24" fmla="*/ 0 w 418"/>
              <a:gd name="T25" fmla="*/ 135 h 381"/>
              <a:gd name="T26" fmla="*/ 5 w 418"/>
              <a:gd name="T27" fmla="*/ 45 h 381"/>
              <a:gd name="T28" fmla="*/ 129 w 418"/>
              <a:gd name="T29" fmla="*/ 0 h 381"/>
              <a:gd name="T30" fmla="*/ 295 w 418"/>
              <a:gd name="T31" fmla="*/ 13 h 381"/>
              <a:gd name="T32" fmla="*/ 295 w 418"/>
              <a:gd name="T33" fmla="*/ 13 h 3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8"/>
              <a:gd name="T52" fmla="*/ 0 h 381"/>
              <a:gd name="T53" fmla="*/ 418 w 418"/>
              <a:gd name="T54" fmla="*/ 381 h 3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8" h="381">
                <a:moveTo>
                  <a:pt x="295" y="13"/>
                </a:moveTo>
                <a:lnTo>
                  <a:pt x="400" y="164"/>
                </a:lnTo>
                <a:lnTo>
                  <a:pt x="418" y="252"/>
                </a:lnTo>
                <a:lnTo>
                  <a:pt x="347" y="296"/>
                </a:lnTo>
                <a:lnTo>
                  <a:pt x="362" y="360"/>
                </a:lnTo>
                <a:lnTo>
                  <a:pt x="298" y="381"/>
                </a:lnTo>
                <a:lnTo>
                  <a:pt x="173" y="365"/>
                </a:lnTo>
                <a:lnTo>
                  <a:pt x="152" y="302"/>
                </a:lnTo>
                <a:lnTo>
                  <a:pt x="68" y="296"/>
                </a:lnTo>
                <a:lnTo>
                  <a:pt x="83" y="257"/>
                </a:lnTo>
                <a:lnTo>
                  <a:pt x="47" y="257"/>
                </a:lnTo>
                <a:lnTo>
                  <a:pt x="36" y="173"/>
                </a:lnTo>
                <a:lnTo>
                  <a:pt x="0" y="135"/>
                </a:lnTo>
                <a:lnTo>
                  <a:pt x="5" y="45"/>
                </a:lnTo>
                <a:lnTo>
                  <a:pt x="129" y="0"/>
                </a:lnTo>
                <a:lnTo>
                  <a:pt x="295" y="13"/>
                </a:lnTo>
                <a:close/>
              </a:path>
            </a:pathLst>
          </a:custGeom>
          <a:solidFill>
            <a:schemeClr val="accent3"/>
          </a:solidFill>
          <a:ln w="12700">
            <a:solidFill>
              <a:schemeClr val="bg1"/>
            </a:solidFill>
            <a:round/>
            <a:headEnd/>
            <a:tailEnd/>
          </a:ln>
        </p:spPr>
        <p:txBody>
          <a:bodyPr/>
          <a:lstStyle/>
          <a:p>
            <a:pPr>
              <a:defRPr/>
            </a:pPr>
            <a:endParaRPr lang="nl-NL"/>
          </a:p>
        </p:txBody>
      </p:sp>
      <p:sp>
        <p:nvSpPr>
          <p:cNvPr id="126" name="Freeform 127"/>
          <p:cNvSpPr>
            <a:spLocks noChangeAspect="1"/>
          </p:cNvSpPr>
          <p:nvPr/>
        </p:nvSpPr>
        <p:spPr bwMode="auto">
          <a:xfrm>
            <a:off x="4153468" y="3504153"/>
            <a:ext cx="388329" cy="426306"/>
          </a:xfrm>
          <a:custGeom>
            <a:avLst/>
            <a:gdLst>
              <a:gd name="T0" fmla="*/ 209 w 451"/>
              <a:gd name="T1" fmla="*/ 0 h 456"/>
              <a:gd name="T2" fmla="*/ 88 w 451"/>
              <a:gd name="T3" fmla="*/ 82 h 456"/>
              <a:gd name="T4" fmla="*/ 80 w 451"/>
              <a:gd name="T5" fmla="*/ 135 h 456"/>
              <a:gd name="T6" fmla="*/ 116 w 451"/>
              <a:gd name="T7" fmla="*/ 220 h 456"/>
              <a:gd name="T8" fmla="*/ 0 w 451"/>
              <a:gd name="T9" fmla="*/ 346 h 456"/>
              <a:gd name="T10" fmla="*/ 212 w 451"/>
              <a:gd name="T11" fmla="*/ 456 h 456"/>
              <a:gd name="T12" fmla="*/ 451 w 451"/>
              <a:gd name="T13" fmla="*/ 346 h 456"/>
              <a:gd name="T14" fmla="*/ 430 w 451"/>
              <a:gd name="T15" fmla="*/ 279 h 456"/>
              <a:gd name="T16" fmla="*/ 350 w 451"/>
              <a:gd name="T17" fmla="*/ 270 h 456"/>
              <a:gd name="T18" fmla="*/ 361 w 451"/>
              <a:gd name="T19" fmla="*/ 234 h 456"/>
              <a:gd name="T20" fmla="*/ 325 w 451"/>
              <a:gd name="T21" fmla="*/ 234 h 456"/>
              <a:gd name="T22" fmla="*/ 314 w 451"/>
              <a:gd name="T23" fmla="*/ 144 h 456"/>
              <a:gd name="T24" fmla="*/ 278 w 451"/>
              <a:gd name="T25" fmla="*/ 112 h 456"/>
              <a:gd name="T26" fmla="*/ 285 w 451"/>
              <a:gd name="T27" fmla="*/ 19 h 456"/>
              <a:gd name="T28" fmla="*/ 209 w 451"/>
              <a:gd name="T29" fmla="*/ 0 h 456"/>
              <a:gd name="T30" fmla="*/ 209 w 451"/>
              <a:gd name="T31" fmla="*/ 0 h 4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1"/>
              <a:gd name="T49" fmla="*/ 0 h 456"/>
              <a:gd name="T50" fmla="*/ 451 w 451"/>
              <a:gd name="T51" fmla="*/ 456 h 45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1" h="456">
                <a:moveTo>
                  <a:pt x="209" y="0"/>
                </a:moveTo>
                <a:lnTo>
                  <a:pt x="88" y="82"/>
                </a:lnTo>
                <a:lnTo>
                  <a:pt x="80" y="135"/>
                </a:lnTo>
                <a:lnTo>
                  <a:pt x="116" y="220"/>
                </a:lnTo>
                <a:lnTo>
                  <a:pt x="0" y="346"/>
                </a:lnTo>
                <a:lnTo>
                  <a:pt x="212" y="456"/>
                </a:lnTo>
                <a:lnTo>
                  <a:pt x="451" y="346"/>
                </a:lnTo>
                <a:lnTo>
                  <a:pt x="430" y="279"/>
                </a:lnTo>
                <a:lnTo>
                  <a:pt x="350" y="270"/>
                </a:lnTo>
                <a:lnTo>
                  <a:pt x="361" y="234"/>
                </a:lnTo>
                <a:lnTo>
                  <a:pt x="325" y="234"/>
                </a:lnTo>
                <a:lnTo>
                  <a:pt x="314" y="144"/>
                </a:lnTo>
                <a:lnTo>
                  <a:pt x="278" y="112"/>
                </a:lnTo>
                <a:lnTo>
                  <a:pt x="285" y="19"/>
                </a:lnTo>
                <a:lnTo>
                  <a:pt x="209" y="0"/>
                </a:lnTo>
                <a:close/>
              </a:path>
            </a:pathLst>
          </a:custGeom>
          <a:solidFill>
            <a:schemeClr val="accent3"/>
          </a:solidFill>
          <a:ln w="12700">
            <a:solidFill>
              <a:schemeClr val="bg1"/>
            </a:solidFill>
            <a:round/>
            <a:headEnd/>
            <a:tailEnd/>
          </a:ln>
        </p:spPr>
        <p:txBody>
          <a:bodyPr/>
          <a:lstStyle/>
          <a:p>
            <a:pPr>
              <a:defRPr/>
            </a:pPr>
            <a:endParaRPr lang="nl-NL"/>
          </a:p>
        </p:txBody>
      </p:sp>
      <p:sp>
        <p:nvSpPr>
          <p:cNvPr id="127" name="Freeform 128"/>
          <p:cNvSpPr>
            <a:spLocks noChangeAspect="1"/>
          </p:cNvSpPr>
          <p:nvPr/>
        </p:nvSpPr>
        <p:spPr bwMode="auto">
          <a:xfrm>
            <a:off x="3832449" y="3629427"/>
            <a:ext cx="421121" cy="415087"/>
          </a:xfrm>
          <a:custGeom>
            <a:avLst/>
            <a:gdLst>
              <a:gd name="T0" fmla="*/ 166 w 489"/>
              <a:gd name="T1" fmla="*/ 17 h 445"/>
              <a:gd name="T2" fmla="*/ 145 w 489"/>
              <a:gd name="T3" fmla="*/ 68 h 445"/>
              <a:gd name="T4" fmla="*/ 117 w 489"/>
              <a:gd name="T5" fmla="*/ 153 h 445"/>
              <a:gd name="T6" fmla="*/ 64 w 489"/>
              <a:gd name="T7" fmla="*/ 144 h 445"/>
              <a:gd name="T8" fmla="*/ 0 w 489"/>
              <a:gd name="T9" fmla="*/ 207 h 445"/>
              <a:gd name="T10" fmla="*/ 59 w 489"/>
              <a:gd name="T11" fmla="*/ 270 h 445"/>
              <a:gd name="T12" fmla="*/ 64 w 489"/>
              <a:gd name="T13" fmla="*/ 386 h 445"/>
              <a:gd name="T14" fmla="*/ 166 w 489"/>
              <a:gd name="T15" fmla="*/ 445 h 445"/>
              <a:gd name="T16" fmla="*/ 249 w 489"/>
              <a:gd name="T17" fmla="*/ 404 h 445"/>
              <a:gd name="T18" fmla="*/ 249 w 489"/>
              <a:gd name="T19" fmla="*/ 340 h 445"/>
              <a:gd name="T20" fmla="*/ 333 w 489"/>
              <a:gd name="T21" fmla="*/ 287 h 445"/>
              <a:gd name="T22" fmla="*/ 348 w 489"/>
              <a:gd name="T23" fmla="*/ 223 h 445"/>
              <a:gd name="T24" fmla="*/ 377 w 489"/>
              <a:gd name="T25" fmla="*/ 211 h 445"/>
              <a:gd name="T26" fmla="*/ 489 w 489"/>
              <a:gd name="T27" fmla="*/ 85 h 445"/>
              <a:gd name="T28" fmla="*/ 456 w 489"/>
              <a:gd name="T29" fmla="*/ 0 h 445"/>
              <a:gd name="T30" fmla="*/ 318 w 489"/>
              <a:gd name="T31" fmla="*/ 45 h 445"/>
              <a:gd name="T32" fmla="*/ 248 w 489"/>
              <a:gd name="T33" fmla="*/ 15 h 445"/>
              <a:gd name="T34" fmla="*/ 166 w 489"/>
              <a:gd name="T35" fmla="*/ 17 h 445"/>
              <a:gd name="T36" fmla="*/ 166 w 489"/>
              <a:gd name="T37" fmla="*/ 17 h 4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89"/>
              <a:gd name="T58" fmla="*/ 0 h 445"/>
              <a:gd name="T59" fmla="*/ 489 w 489"/>
              <a:gd name="T60" fmla="*/ 445 h 44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89" h="445">
                <a:moveTo>
                  <a:pt x="166" y="17"/>
                </a:moveTo>
                <a:lnTo>
                  <a:pt x="145" y="68"/>
                </a:lnTo>
                <a:lnTo>
                  <a:pt x="117" y="153"/>
                </a:lnTo>
                <a:lnTo>
                  <a:pt x="64" y="144"/>
                </a:lnTo>
                <a:lnTo>
                  <a:pt x="0" y="207"/>
                </a:lnTo>
                <a:lnTo>
                  <a:pt x="59" y="270"/>
                </a:lnTo>
                <a:lnTo>
                  <a:pt x="64" y="386"/>
                </a:lnTo>
                <a:lnTo>
                  <a:pt x="166" y="445"/>
                </a:lnTo>
                <a:lnTo>
                  <a:pt x="249" y="404"/>
                </a:lnTo>
                <a:lnTo>
                  <a:pt x="249" y="340"/>
                </a:lnTo>
                <a:lnTo>
                  <a:pt x="333" y="287"/>
                </a:lnTo>
                <a:lnTo>
                  <a:pt x="348" y="223"/>
                </a:lnTo>
                <a:lnTo>
                  <a:pt x="377" y="211"/>
                </a:lnTo>
                <a:lnTo>
                  <a:pt x="489" y="85"/>
                </a:lnTo>
                <a:lnTo>
                  <a:pt x="456" y="0"/>
                </a:lnTo>
                <a:lnTo>
                  <a:pt x="318" y="45"/>
                </a:lnTo>
                <a:lnTo>
                  <a:pt x="248" y="15"/>
                </a:lnTo>
                <a:lnTo>
                  <a:pt x="166" y="17"/>
                </a:lnTo>
                <a:close/>
              </a:path>
            </a:pathLst>
          </a:custGeom>
          <a:solidFill>
            <a:schemeClr val="accent3"/>
          </a:solidFill>
          <a:ln w="12700">
            <a:solidFill>
              <a:schemeClr val="bg1"/>
            </a:solidFill>
            <a:round/>
            <a:headEnd/>
            <a:tailEnd/>
          </a:ln>
        </p:spPr>
        <p:txBody>
          <a:bodyPr/>
          <a:lstStyle/>
          <a:p>
            <a:pPr>
              <a:defRPr/>
            </a:pPr>
            <a:endParaRPr lang="nl-NL"/>
          </a:p>
        </p:txBody>
      </p:sp>
      <p:sp>
        <p:nvSpPr>
          <p:cNvPr id="128" name="Freeform 129"/>
          <p:cNvSpPr>
            <a:spLocks noChangeAspect="1"/>
          </p:cNvSpPr>
          <p:nvPr/>
        </p:nvSpPr>
        <p:spPr bwMode="auto">
          <a:xfrm>
            <a:off x="3611533" y="3528460"/>
            <a:ext cx="364166" cy="566538"/>
          </a:xfrm>
          <a:custGeom>
            <a:avLst/>
            <a:gdLst>
              <a:gd name="T0" fmla="*/ 401 w 421"/>
              <a:gd name="T1" fmla="*/ 174 h 605"/>
              <a:gd name="T2" fmla="*/ 215 w 421"/>
              <a:gd name="T3" fmla="*/ 90 h 605"/>
              <a:gd name="T4" fmla="*/ 172 w 421"/>
              <a:gd name="T5" fmla="*/ 0 h 605"/>
              <a:gd name="T6" fmla="*/ 52 w 421"/>
              <a:gd name="T7" fmla="*/ 4 h 605"/>
              <a:gd name="T8" fmla="*/ 11 w 421"/>
              <a:gd name="T9" fmla="*/ 70 h 605"/>
              <a:gd name="T10" fmla="*/ 73 w 421"/>
              <a:gd name="T11" fmla="*/ 128 h 605"/>
              <a:gd name="T12" fmla="*/ 0 w 421"/>
              <a:gd name="T13" fmla="*/ 280 h 605"/>
              <a:gd name="T14" fmla="*/ 155 w 421"/>
              <a:gd name="T15" fmla="*/ 380 h 605"/>
              <a:gd name="T16" fmla="*/ 186 w 421"/>
              <a:gd name="T17" fmla="*/ 481 h 605"/>
              <a:gd name="T18" fmla="*/ 260 w 421"/>
              <a:gd name="T19" fmla="*/ 511 h 605"/>
              <a:gd name="T20" fmla="*/ 277 w 421"/>
              <a:gd name="T21" fmla="*/ 561 h 605"/>
              <a:gd name="T22" fmla="*/ 344 w 421"/>
              <a:gd name="T23" fmla="*/ 601 h 605"/>
              <a:gd name="T24" fmla="*/ 406 w 421"/>
              <a:gd name="T25" fmla="*/ 605 h 605"/>
              <a:gd name="T26" fmla="*/ 421 w 421"/>
              <a:gd name="T27" fmla="*/ 549 h 605"/>
              <a:gd name="T28" fmla="*/ 321 w 421"/>
              <a:gd name="T29" fmla="*/ 494 h 605"/>
              <a:gd name="T30" fmla="*/ 315 w 421"/>
              <a:gd name="T31" fmla="*/ 373 h 605"/>
              <a:gd name="T32" fmla="*/ 253 w 421"/>
              <a:gd name="T33" fmla="*/ 312 h 605"/>
              <a:gd name="T34" fmla="*/ 319 w 421"/>
              <a:gd name="T35" fmla="*/ 254 h 605"/>
              <a:gd name="T36" fmla="*/ 372 w 421"/>
              <a:gd name="T37" fmla="*/ 259 h 605"/>
              <a:gd name="T38" fmla="*/ 401 w 421"/>
              <a:gd name="T39" fmla="*/ 174 h 605"/>
              <a:gd name="T40" fmla="*/ 210 w 421"/>
              <a:gd name="T41" fmla="*/ 90 h 605"/>
              <a:gd name="T42" fmla="*/ 401 w 421"/>
              <a:gd name="T43" fmla="*/ 174 h 605"/>
              <a:gd name="T44" fmla="*/ 401 w 421"/>
              <a:gd name="T45" fmla="*/ 174 h 60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21"/>
              <a:gd name="T70" fmla="*/ 0 h 605"/>
              <a:gd name="T71" fmla="*/ 421 w 421"/>
              <a:gd name="T72" fmla="*/ 605 h 60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21" h="605">
                <a:moveTo>
                  <a:pt x="401" y="174"/>
                </a:moveTo>
                <a:lnTo>
                  <a:pt x="215" y="90"/>
                </a:lnTo>
                <a:lnTo>
                  <a:pt x="172" y="0"/>
                </a:lnTo>
                <a:lnTo>
                  <a:pt x="52" y="4"/>
                </a:lnTo>
                <a:lnTo>
                  <a:pt x="11" y="70"/>
                </a:lnTo>
                <a:lnTo>
                  <a:pt x="73" y="128"/>
                </a:lnTo>
                <a:lnTo>
                  <a:pt x="0" y="280"/>
                </a:lnTo>
                <a:lnTo>
                  <a:pt x="155" y="380"/>
                </a:lnTo>
                <a:lnTo>
                  <a:pt x="186" y="481"/>
                </a:lnTo>
                <a:lnTo>
                  <a:pt x="260" y="511"/>
                </a:lnTo>
                <a:lnTo>
                  <a:pt x="277" y="561"/>
                </a:lnTo>
                <a:lnTo>
                  <a:pt x="344" y="601"/>
                </a:lnTo>
                <a:lnTo>
                  <a:pt x="406" y="605"/>
                </a:lnTo>
                <a:lnTo>
                  <a:pt x="421" y="549"/>
                </a:lnTo>
                <a:lnTo>
                  <a:pt x="321" y="494"/>
                </a:lnTo>
                <a:lnTo>
                  <a:pt x="315" y="373"/>
                </a:lnTo>
                <a:lnTo>
                  <a:pt x="253" y="312"/>
                </a:lnTo>
                <a:lnTo>
                  <a:pt x="319" y="254"/>
                </a:lnTo>
                <a:lnTo>
                  <a:pt x="372" y="259"/>
                </a:lnTo>
                <a:lnTo>
                  <a:pt x="401" y="174"/>
                </a:lnTo>
                <a:lnTo>
                  <a:pt x="210" y="90"/>
                </a:lnTo>
                <a:lnTo>
                  <a:pt x="401" y="174"/>
                </a:lnTo>
                <a:close/>
              </a:path>
            </a:pathLst>
          </a:custGeom>
          <a:solidFill>
            <a:schemeClr val="accent3"/>
          </a:solidFill>
          <a:ln w="12700">
            <a:solidFill>
              <a:schemeClr val="bg1"/>
            </a:solidFill>
            <a:round/>
            <a:headEnd/>
            <a:tailEnd/>
          </a:ln>
        </p:spPr>
        <p:txBody>
          <a:bodyPr/>
          <a:lstStyle/>
          <a:p>
            <a:pPr>
              <a:defRPr/>
            </a:pPr>
            <a:endParaRPr lang="nl-NL"/>
          </a:p>
        </p:txBody>
      </p:sp>
      <p:sp>
        <p:nvSpPr>
          <p:cNvPr id="129" name="Freeform 130"/>
          <p:cNvSpPr>
            <a:spLocks noChangeAspect="1"/>
          </p:cNvSpPr>
          <p:nvPr/>
        </p:nvSpPr>
        <p:spPr bwMode="auto">
          <a:xfrm>
            <a:off x="3963618" y="3823882"/>
            <a:ext cx="448736" cy="508575"/>
          </a:xfrm>
          <a:custGeom>
            <a:avLst/>
            <a:gdLst>
              <a:gd name="T0" fmla="*/ 225 w 521"/>
              <a:gd name="T1" fmla="*/ 0 h 543"/>
              <a:gd name="T2" fmla="*/ 193 w 521"/>
              <a:gd name="T3" fmla="*/ 15 h 543"/>
              <a:gd name="T4" fmla="*/ 185 w 521"/>
              <a:gd name="T5" fmla="*/ 76 h 543"/>
              <a:gd name="T6" fmla="*/ 97 w 521"/>
              <a:gd name="T7" fmla="*/ 134 h 543"/>
              <a:gd name="T8" fmla="*/ 97 w 521"/>
              <a:gd name="T9" fmla="*/ 196 h 543"/>
              <a:gd name="T10" fmla="*/ 15 w 521"/>
              <a:gd name="T11" fmla="*/ 233 h 543"/>
              <a:gd name="T12" fmla="*/ 0 w 521"/>
              <a:gd name="T13" fmla="*/ 286 h 543"/>
              <a:gd name="T14" fmla="*/ 35 w 521"/>
              <a:gd name="T15" fmla="*/ 299 h 543"/>
              <a:gd name="T16" fmla="*/ 4 w 521"/>
              <a:gd name="T17" fmla="*/ 397 h 543"/>
              <a:gd name="T18" fmla="*/ 120 w 521"/>
              <a:gd name="T19" fmla="*/ 401 h 543"/>
              <a:gd name="T20" fmla="*/ 96 w 521"/>
              <a:gd name="T21" fmla="*/ 461 h 543"/>
              <a:gd name="T22" fmla="*/ 129 w 521"/>
              <a:gd name="T23" fmla="*/ 506 h 543"/>
              <a:gd name="T24" fmla="*/ 292 w 521"/>
              <a:gd name="T25" fmla="*/ 497 h 543"/>
              <a:gd name="T26" fmla="*/ 304 w 521"/>
              <a:gd name="T27" fmla="*/ 538 h 543"/>
              <a:gd name="T28" fmla="*/ 412 w 521"/>
              <a:gd name="T29" fmla="*/ 543 h 543"/>
              <a:gd name="T30" fmla="*/ 412 w 521"/>
              <a:gd name="T31" fmla="*/ 506 h 543"/>
              <a:gd name="T32" fmla="*/ 474 w 521"/>
              <a:gd name="T33" fmla="*/ 474 h 543"/>
              <a:gd name="T34" fmla="*/ 521 w 521"/>
              <a:gd name="T35" fmla="*/ 341 h 543"/>
              <a:gd name="T36" fmla="*/ 445 w 521"/>
              <a:gd name="T37" fmla="*/ 244 h 543"/>
              <a:gd name="T38" fmla="*/ 468 w 521"/>
              <a:gd name="T39" fmla="*/ 157 h 543"/>
              <a:gd name="T40" fmla="*/ 436 w 521"/>
              <a:gd name="T41" fmla="*/ 113 h 543"/>
              <a:gd name="T42" fmla="*/ 319 w 521"/>
              <a:gd name="T43" fmla="*/ 53 h 543"/>
              <a:gd name="T44" fmla="*/ 225 w 521"/>
              <a:gd name="T45" fmla="*/ 0 h 543"/>
              <a:gd name="T46" fmla="*/ 225 w 521"/>
              <a:gd name="T47" fmla="*/ 0 h 5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1"/>
              <a:gd name="T73" fmla="*/ 0 h 543"/>
              <a:gd name="T74" fmla="*/ 521 w 521"/>
              <a:gd name="T75" fmla="*/ 543 h 5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1" h="543">
                <a:moveTo>
                  <a:pt x="225" y="0"/>
                </a:moveTo>
                <a:lnTo>
                  <a:pt x="193" y="15"/>
                </a:lnTo>
                <a:lnTo>
                  <a:pt x="185" y="76"/>
                </a:lnTo>
                <a:lnTo>
                  <a:pt x="97" y="134"/>
                </a:lnTo>
                <a:lnTo>
                  <a:pt x="97" y="196"/>
                </a:lnTo>
                <a:lnTo>
                  <a:pt x="15" y="233"/>
                </a:lnTo>
                <a:lnTo>
                  <a:pt x="0" y="286"/>
                </a:lnTo>
                <a:lnTo>
                  <a:pt x="35" y="299"/>
                </a:lnTo>
                <a:lnTo>
                  <a:pt x="4" y="397"/>
                </a:lnTo>
                <a:lnTo>
                  <a:pt x="120" y="401"/>
                </a:lnTo>
                <a:lnTo>
                  <a:pt x="96" y="461"/>
                </a:lnTo>
                <a:lnTo>
                  <a:pt x="129" y="506"/>
                </a:lnTo>
                <a:lnTo>
                  <a:pt x="292" y="497"/>
                </a:lnTo>
                <a:lnTo>
                  <a:pt x="304" y="538"/>
                </a:lnTo>
                <a:lnTo>
                  <a:pt x="412" y="543"/>
                </a:lnTo>
                <a:lnTo>
                  <a:pt x="412" y="506"/>
                </a:lnTo>
                <a:lnTo>
                  <a:pt x="474" y="474"/>
                </a:lnTo>
                <a:lnTo>
                  <a:pt x="521" y="341"/>
                </a:lnTo>
                <a:lnTo>
                  <a:pt x="445" y="244"/>
                </a:lnTo>
                <a:lnTo>
                  <a:pt x="468" y="157"/>
                </a:lnTo>
                <a:lnTo>
                  <a:pt x="436" y="113"/>
                </a:lnTo>
                <a:lnTo>
                  <a:pt x="319" y="53"/>
                </a:lnTo>
                <a:lnTo>
                  <a:pt x="225" y="0"/>
                </a:lnTo>
                <a:close/>
              </a:path>
            </a:pathLst>
          </a:custGeom>
          <a:solidFill>
            <a:schemeClr val="accent3"/>
          </a:solidFill>
          <a:ln w="12700">
            <a:solidFill>
              <a:schemeClr val="bg1"/>
            </a:solidFill>
            <a:round/>
            <a:headEnd/>
            <a:tailEnd/>
          </a:ln>
        </p:spPr>
        <p:txBody>
          <a:bodyPr/>
          <a:lstStyle/>
          <a:p>
            <a:pPr>
              <a:defRPr/>
            </a:pPr>
            <a:endParaRPr lang="nl-NL"/>
          </a:p>
        </p:txBody>
      </p:sp>
      <p:sp>
        <p:nvSpPr>
          <p:cNvPr id="130" name="Freeform 131"/>
          <p:cNvSpPr>
            <a:spLocks noChangeAspect="1"/>
          </p:cNvSpPr>
          <p:nvPr/>
        </p:nvSpPr>
        <p:spPr bwMode="auto">
          <a:xfrm>
            <a:off x="3589097" y="3872496"/>
            <a:ext cx="478076" cy="641328"/>
          </a:xfrm>
          <a:custGeom>
            <a:avLst/>
            <a:gdLst>
              <a:gd name="T0" fmla="*/ 52 w 553"/>
              <a:gd name="T1" fmla="*/ 0 h 687"/>
              <a:gd name="T2" fmla="*/ 0 w 553"/>
              <a:gd name="T3" fmla="*/ 378 h 687"/>
              <a:gd name="T4" fmla="*/ 84 w 553"/>
              <a:gd name="T5" fmla="*/ 437 h 687"/>
              <a:gd name="T6" fmla="*/ 30 w 553"/>
              <a:gd name="T7" fmla="*/ 442 h 687"/>
              <a:gd name="T8" fmla="*/ 38 w 553"/>
              <a:gd name="T9" fmla="*/ 466 h 687"/>
              <a:gd name="T10" fmla="*/ 4 w 553"/>
              <a:gd name="T11" fmla="*/ 533 h 687"/>
              <a:gd name="T12" fmla="*/ 30 w 553"/>
              <a:gd name="T13" fmla="*/ 556 h 687"/>
              <a:gd name="T14" fmla="*/ 62 w 553"/>
              <a:gd name="T15" fmla="*/ 513 h 687"/>
              <a:gd name="T16" fmla="*/ 88 w 553"/>
              <a:gd name="T17" fmla="*/ 523 h 687"/>
              <a:gd name="T18" fmla="*/ 80 w 553"/>
              <a:gd name="T19" fmla="*/ 561 h 687"/>
              <a:gd name="T20" fmla="*/ 219 w 553"/>
              <a:gd name="T21" fmla="*/ 556 h 687"/>
              <a:gd name="T22" fmla="*/ 296 w 553"/>
              <a:gd name="T23" fmla="*/ 637 h 687"/>
              <a:gd name="T24" fmla="*/ 312 w 553"/>
              <a:gd name="T25" fmla="*/ 679 h 687"/>
              <a:gd name="T26" fmla="*/ 350 w 553"/>
              <a:gd name="T27" fmla="*/ 687 h 687"/>
              <a:gd name="T28" fmla="*/ 363 w 553"/>
              <a:gd name="T29" fmla="*/ 647 h 687"/>
              <a:gd name="T30" fmla="*/ 422 w 553"/>
              <a:gd name="T31" fmla="*/ 647 h 687"/>
              <a:gd name="T32" fmla="*/ 428 w 553"/>
              <a:gd name="T33" fmla="*/ 556 h 687"/>
              <a:gd name="T34" fmla="*/ 509 w 553"/>
              <a:gd name="T35" fmla="*/ 474 h 687"/>
              <a:gd name="T36" fmla="*/ 477 w 553"/>
              <a:gd name="T37" fmla="*/ 445 h 687"/>
              <a:gd name="T38" fmla="*/ 529 w 553"/>
              <a:gd name="T39" fmla="*/ 409 h 687"/>
              <a:gd name="T40" fmla="*/ 553 w 553"/>
              <a:gd name="T41" fmla="*/ 349 h 687"/>
              <a:gd name="T42" fmla="*/ 437 w 553"/>
              <a:gd name="T43" fmla="*/ 345 h 687"/>
              <a:gd name="T44" fmla="*/ 468 w 553"/>
              <a:gd name="T45" fmla="*/ 253 h 687"/>
              <a:gd name="T46" fmla="*/ 437 w 553"/>
              <a:gd name="T47" fmla="*/ 234 h 687"/>
              <a:gd name="T48" fmla="*/ 367 w 553"/>
              <a:gd name="T49" fmla="*/ 234 h 687"/>
              <a:gd name="T50" fmla="*/ 304 w 553"/>
              <a:gd name="T51" fmla="*/ 192 h 687"/>
              <a:gd name="T52" fmla="*/ 290 w 553"/>
              <a:gd name="T53" fmla="*/ 144 h 687"/>
              <a:gd name="T54" fmla="*/ 213 w 553"/>
              <a:gd name="T55" fmla="*/ 114 h 687"/>
              <a:gd name="T56" fmla="*/ 226 w 553"/>
              <a:gd name="T57" fmla="*/ 217 h 687"/>
              <a:gd name="T58" fmla="*/ 204 w 553"/>
              <a:gd name="T59" fmla="*/ 238 h 687"/>
              <a:gd name="T60" fmla="*/ 152 w 553"/>
              <a:gd name="T61" fmla="*/ 45 h 687"/>
              <a:gd name="T62" fmla="*/ 52 w 553"/>
              <a:gd name="T63" fmla="*/ 0 h 687"/>
              <a:gd name="T64" fmla="*/ 52 w 553"/>
              <a:gd name="T65" fmla="*/ 0 h 6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53"/>
              <a:gd name="T100" fmla="*/ 0 h 687"/>
              <a:gd name="T101" fmla="*/ 553 w 553"/>
              <a:gd name="T102" fmla="*/ 687 h 6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53" h="687">
                <a:moveTo>
                  <a:pt x="52" y="0"/>
                </a:moveTo>
                <a:lnTo>
                  <a:pt x="0" y="378"/>
                </a:lnTo>
                <a:lnTo>
                  <a:pt x="84" y="437"/>
                </a:lnTo>
                <a:lnTo>
                  <a:pt x="30" y="442"/>
                </a:lnTo>
                <a:lnTo>
                  <a:pt x="38" y="466"/>
                </a:lnTo>
                <a:lnTo>
                  <a:pt x="4" y="533"/>
                </a:lnTo>
                <a:lnTo>
                  <a:pt x="30" y="556"/>
                </a:lnTo>
                <a:lnTo>
                  <a:pt x="62" y="513"/>
                </a:lnTo>
                <a:lnTo>
                  <a:pt x="88" y="523"/>
                </a:lnTo>
                <a:lnTo>
                  <a:pt x="80" y="561"/>
                </a:lnTo>
                <a:lnTo>
                  <a:pt x="219" y="556"/>
                </a:lnTo>
                <a:lnTo>
                  <a:pt x="296" y="637"/>
                </a:lnTo>
                <a:lnTo>
                  <a:pt x="312" y="679"/>
                </a:lnTo>
                <a:lnTo>
                  <a:pt x="350" y="687"/>
                </a:lnTo>
                <a:lnTo>
                  <a:pt x="363" y="647"/>
                </a:lnTo>
                <a:lnTo>
                  <a:pt x="422" y="647"/>
                </a:lnTo>
                <a:lnTo>
                  <a:pt x="428" y="556"/>
                </a:lnTo>
                <a:lnTo>
                  <a:pt x="509" y="474"/>
                </a:lnTo>
                <a:lnTo>
                  <a:pt x="477" y="445"/>
                </a:lnTo>
                <a:lnTo>
                  <a:pt x="529" y="409"/>
                </a:lnTo>
                <a:lnTo>
                  <a:pt x="553" y="349"/>
                </a:lnTo>
                <a:lnTo>
                  <a:pt x="437" y="345"/>
                </a:lnTo>
                <a:lnTo>
                  <a:pt x="468" y="253"/>
                </a:lnTo>
                <a:lnTo>
                  <a:pt x="437" y="234"/>
                </a:lnTo>
                <a:lnTo>
                  <a:pt x="367" y="234"/>
                </a:lnTo>
                <a:lnTo>
                  <a:pt x="304" y="192"/>
                </a:lnTo>
                <a:lnTo>
                  <a:pt x="290" y="144"/>
                </a:lnTo>
                <a:lnTo>
                  <a:pt x="213" y="114"/>
                </a:lnTo>
                <a:lnTo>
                  <a:pt x="226" y="217"/>
                </a:lnTo>
                <a:lnTo>
                  <a:pt x="204" y="238"/>
                </a:lnTo>
                <a:lnTo>
                  <a:pt x="152" y="45"/>
                </a:lnTo>
                <a:lnTo>
                  <a:pt x="52" y="0"/>
                </a:lnTo>
                <a:close/>
              </a:path>
            </a:pathLst>
          </a:custGeom>
          <a:solidFill>
            <a:schemeClr val="accent3"/>
          </a:solidFill>
          <a:ln w="12700">
            <a:solidFill>
              <a:schemeClr val="bg1"/>
            </a:solidFill>
            <a:round/>
            <a:headEnd/>
            <a:tailEnd/>
          </a:ln>
        </p:spPr>
        <p:txBody>
          <a:bodyPr/>
          <a:lstStyle/>
          <a:p>
            <a:pPr>
              <a:defRPr/>
            </a:pPr>
            <a:endParaRPr lang="nl-NL"/>
          </a:p>
        </p:txBody>
      </p:sp>
      <p:sp>
        <p:nvSpPr>
          <p:cNvPr id="131" name="Freeform 132"/>
          <p:cNvSpPr>
            <a:spLocks noChangeAspect="1"/>
          </p:cNvSpPr>
          <p:nvPr/>
        </p:nvSpPr>
        <p:spPr bwMode="auto">
          <a:xfrm>
            <a:off x="4338140" y="3812663"/>
            <a:ext cx="403862" cy="381432"/>
          </a:xfrm>
          <a:custGeom>
            <a:avLst/>
            <a:gdLst>
              <a:gd name="T0" fmla="*/ 236 w 466"/>
              <a:gd name="T1" fmla="*/ 8 h 408"/>
              <a:gd name="T2" fmla="*/ 0 w 466"/>
              <a:gd name="T3" fmla="*/ 124 h 408"/>
              <a:gd name="T4" fmla="*/ 32 w 466"/>
              <a:gd name="T5" fmla="*/ 172 h 408"/>
              <a:gd name="T6" fmla="*/ 9 w 466"/>
              <a:gd name="T7" fmla="*/ 255 h 408"/>
              <a:gd name="T8" fmla="*/ 85 w 466"/>
              <a:gd name="T9" fmla="*/ 356 h 408"/>
              <a:gd name="T10" fmla="*/ 158 w 466"/>
              <a:gd name="T11" fmla="*/ 356 h 408"/>
              <a:gd name="T12" fmla="*/ 223 w 466"/>
              <a:gd name="T13" fmla="*/ 408 h 408"/>
              <a:gd name="T14" fmla="*/ 323 w 466"/>
              <a:gd name="T15" fmla="*/ 362 h 408"/>
              <a:gd name="T16" fmla="*/ 299 w 466"/>
              <a:gd name="T17" fmla="*/ 329 h 408"/>
              <a:gd name="T18" fmla="*/ 349 w 466"/>
              <a:gd name="T19" fmla="*/ 286 h 408"/>
              <a:gd name="T20" fmla="*/ 344 w 466"/>
              <a:gd name="T21" fmla="*/ 234 h 408"/>
              <a:gd name="T22" fmla="*/ 419 w 466"/>
              <a:gd name="T23" fmla="*/ 149 h 408"/>
              <a:gd name="T24" fmla="*/ 466 w 466"/>
              <a:gd name="T25" fmla="*/ 177 h 408"/>
              <a:gd name="T26" fmla="*/ 442 w 466"/>
              <a:gd name="T27" fmla="*/ 84 h 408"/>
              <a:gd name="T28" fmla="*/ 426 w 466"/>
              <a:gd name="T29" fmla="*/ 0 h 408"/>
              <a:gd name="T30" fmla="*/ 358 w 466"/>
              <a:gd name="T31" fmla="*/ 31 h 408"/>
              <a:gd name="T32" fmla="*/ 236 w 466"/>
              <a:gd name="T33" fmla="*/ 8 h 408"/>
              <a:gd name="T34" fmla="*/ 236 w 466"/>
              <a:gd name="T35" fmla="*/ 8 h 40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6"/>
              <a:gd name="T55" fmla="*/ 0 h 408"/>
              <a:gd name="T56" fmla="*/ 466 w 466"/>
              <a:gd name="T57" fmla="*/ 408 h 40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6" h="408">
                <a:moveTo>
                  <a:pt x="236" y="8"/>
                </a:moveTo>
                <a:lnTo>
                  <a:pt x="0" y="124"/>
                </a:lnTo>
                <a:lnTo>
                  <a:pt x="32" y="172"/>
                </a:lnTo>
                <a:lnTo>
                  <a:pt x="9" y="255"/>
                </a:lnTo>
                <a:lnTo>
                  <a:pt x="85" y="356"/>
                </a:lnTo>
                <a:lnTo>
                  <a:pt x="158" y="356"/>
                </a:lnTo>
                <a:lnTo>
                  <a:pt x="223" y="408"/>
                </a:lnTo>
                <a:lnTo>
                  <a:pt x="323" y="362"/>
                </a:lnTo>
                <a:lnTo>
                  <a:pt x="299" y="329"/>
                </a:lnTo>
                <a:lnTo>
                  <a:pt x="349" y="286"/>
                </a:lnTo>
                <a:lnTo>
                  <a:pt x="344" y="234"/>
                </a:lnTo>
                <a:lnTo>
                  <a:pt x="419" y="149"/>
                </a:lnTo>
                <a:lnTo>
                  <a:pt x="466" y="177"/>
                </a:lnTo>
                <a:lnTo>
                  <a:pt x="442" y="84"/>
                </a:lnTo>
                <a:lnTo>
                  <a:pt x="426" y="0"/>
                </a:lnTo>
                <a:lnTo>
                  <a:pt x="358" y="31"/>
                </a:lnTo>
                <a:lnTo>
                  <a:pt x="236" y="8"/>
                </a:lnTo>
                <a:close/>
              </a:path>
            </a:pathLst>
          </a:custGeom>
          <a:solidFill>
            <a:schemeClr val="accent3"/>
          </a:solidFill>
          <a:ln w="12700">
            <a:solidFill>
              <a:schemeClr val="bg1"/>
            </a:solidFill>
            <a:round/>
            <a:headEnd/>
            <a:tailEnd/>
          </a:ln>
        </p:spPr>
        <p:txBody>
          <a:bodyPr/>
          <a:lstStyle/>
          <a:p>
            <a:pPr>
              <a:defRPr/>
            </a:pPr>
            <a:endParaRPr lang="nl-NL"/>
          </a:p>
        </p:txBody>
      </p:sp>
      <p:sp>
        <p:nvSpPr>
          <p:cNvPr id="132" name="Freeform 133"/>
          <p:cNvSpPr>
            <a:spLocks noChangeAspect="1"/>
          </p:cNvSpPr>
          <p:nvPr/>
        </p:nvSpPr>
        <p:spPr bwMode="auto">
          <a:xfrm>
            <a:off x="4270829" y="4145481"/>
            <a:ext cx="362440" cy="364604"/>
          </a:xfrm>
          <a:custGeom>
            <a:avLst/>
            <a:gdLst>
              <a:gd name="T0" fmla="*/ 162 w 421"/>
              <a:gd name="T1" fmla="*/ 0 h 389"/>
              <a:gd name="T2" fmla="*/ 118 w 421"/>
              <a:gd name="T3" fmla="*/ 129 h 389"/>
              <a:gd name="T4" fmla="*/ 56 w 421"/>
              <a:gd name="T5" fmla="*/ 161 h 389"/>
              <a:gd name="T6" fmla="*/ 56 w 421"/>
              <a:gd name="T7" fmla="*/ 198 h 389"/>
              <a:gd name="T8" fmla="*/ 0 w 421"/>
              <a:gd name="T9" fmla="*/ 236 h 389"/>
              <a:gd name="T10" fmla="*/ 18 w 421"/>
              <a:gd name="T11" fmla="*/ 302 h 389"/>
              <a:gd name="T12" fmla="*/ 118 w 421"/>
              <a:gd name="T13" fmla="*/ 389 h 389"/>
              <a:gd name="T14" fmla="*/ 185 w 421"/>
              <a:gd name="T15" fmla="*/ 354 h 389"/>
              <a:gd name="T16" fmla="*/ 312 w 421"/>
              <a:gd name="T17" fmla="*/ 327 h 389"/>
              <a:gd name="T18" fmla="*/ 332 w 421"/>
              <a:gd name="T19" fmla="*/ 302 h 389"/>
              <a:gd name="T20" fmla="*/ 300 w 421"/>
              <a:gd name="T21" fmla="*/ 260 h 389"/>
              <a:gd name="T22" fmla="*/ 421 w 421"/>
              <a:gd name="T23" fmla="*/ 184 h 389"/>
              <a:gd name="T24" fmla="*/ 376 w 421"/>
              <a:gd name="T25" fmla="*/ 21 h 389"/>
              <a:gd name="T26" fmla="*/ 304 w 421"/>
              <a:gd name="T27" fmla="*/ 52 h 389"/>
              <a:gd name="T28" fmla="*/ 238 w 421"/>
              <a:gd name="T29" fmla="*/ 0 h 389"/>
              <a:gd name="T30" fmla="*/ 162 w 421"/>
              <a:gd name="T31" fmla="*/ 0 h 389"/>
              <a:gd name="T32" fmla="*/ 162 w 421"/>
              <a:gd name="T33" fmla="*/ 0 h 38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1"/>
              <a:gd name="T52" fmla="*/ 0 h 389"/>
              <a:gd name="T53" fmla="*/ 421 w 421"/>
              <a:gd name="T54" fmla="*/ 389 h 38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1" h="389">
                <a:moveTo>
                  <a:pt x="162" y="0"/>
                </a:moveTo>
                <a:lnTo>
                  <a:pt x="118" y="129"/>
                </a:lnTo>
                <a:lnTo>
                  <a:pt x="56" y="161"/>
                </a:lnTo>
                <a:lnTo>
                  <a:pt x="56" y="198"/>
                </a:lnTo>
                <a:lnTo>
                  <a:pt x="0" y="236"/>
                </a:lnTo>
                <a:lnTo>
                  <a:pt x="18" y="302"/>
                </a:lnTo>
                <a:lnTo>
                  <a:pt x="118" y="389"/>
                </a:lnTo>
                <a:lnTo>
                  <a:pt x="185" y="354"/>
                </a:lnTo>
                <a:lnTo>
                  <a:pt x="312" y="327"/>
                </a:lnTo>
                <a:lnTo>
                  <a:pt x="332" y="302"/>
                </a:lnTo>
                <a:lnTo>
                  <a:pt x="300" y="260"/>
                </a:lnTo>
                <a:lnTo>
                  <a:pt x="421" y="184"/>
                </a:lnTo>
                <a:lnTo>
                  <a:pt x="376" y="21"/>
                </a:lnTo>
                <a:lnTo>
                  <a:pt x="304" y="52"/>
                </a:lnTo>
                <a:lnTo>
                  <a:pt x="238" y="0"/>
                </a:lnTo>
                <a:lnTo>
                  <a:pt x="162" y="0"/>
                </a:lnTo>
                <a:close/>
              </a:path>
            </a:pathLst>
          </a:custGeom>
          <a:solidFill>
            <a:schemeClr val="accent3"/>
          </a:solidFill>
          <a:ln w="12700">
            <a:solidFill>
              <a:schemeClr val="bg1"/>
            </a:solidFill>
            <a:round/>
            <a:headEnd/>
            <a:tailEnd/>
          </a:ln>
        </p:spPr>
        <p:txBody>
          <a:bodyPr/>
          <a:lstStyle/>
          <a:p>
            <a:pPr>
              <a:defRPr/>
            </a:pPr>
            <a:endParaRPr lang="nl-NL"/>
          </a:p>
        </p:txBody>
      </p:sp>
      <p:sp>
        <p:nvSpPr>
          <p:cNvPr id="133" name="Freeform 134"/>
          <p:cNvSpPr>
            <a:spLocks noChangeAspect="1"/>
          </p:cNvSpPr>
          <p:nvPr/>
        </p:nvSpPr>
        <p:spPr bwMode="auto">
          <a:xfrm>
            <a:off x="4590122" y="3894933"/>
            <a:ext cx="398684" cy="426306"/>
          </a:xfrm>
          <a:custGeom>
            <a:avLst/>
            <a:gdLst>
              <a:gd name="T0" fmla="*/ 155 w 462"/>
              <a:gd name="T1" fmla="*/ 0 h 456"/>
              <a:gd name="T2" fmla="*/ 175 w 462"/>
              <a:gd name="T3" fmla="*/ 90 h 456"/>
              <a:gd name="T4" fmla="*/ 129 w 462"/>
              <a:gd name="T5" fmla="*/ 62 h 456"/>
              <a:gd name="T6" fmla="*/ 53 w 462"/>
              <a:gd name="T7" fmla="*/ 147 h 456"/>
              <a:gd name="T8" fmla="*/ 58 w 462"/>
              <a:gd name="T9" fmla="*/ 199 h 456"/>
              <a:gd name="T10" fmla="*/ 8 w 462"/>
              <a:gd name="T11" fmla="*/ 242 h 456"/>
              <a:gd name="T12" fmla="*/ 35 w 462"/>
              <a:gd name="T13" fmla="*/ 275 h 456"/>
              <a:gd name="T14" fmla="*/ 0 w 462"/>
              <a:gd name="T15" fmla="*/ 290 h 456"/>
              <a:gd name="T16" fmla="*/ 50 w 462"/>
              <a:gd name="T17" fmla="*/ 456 h 456"/>
              <a:gd name="T18" fmla="*/ 85 w 462"/>
              <a:gd name="T19" fmla="*/ 430 h 456"/>
              <a:gd name="T20" fmla="*/ 149 w 462"/>
              <a:gd name="T21" fmla="*/ 444 h 456"/>
              <a:gd name="T22" fmla="*/ 249 w 462"/>
              <a:gd name="T23" fmla="*/ 303 h 456"/>
              <a:gd name="T24" fmla="*/ 281 w 462"/>
              <a:gd name="T25" fmla="*/ 325 h 456"/>
              <a:gd name="T26" fmla="*/ 339 w 462"/>
              <a:gd name="T27" fmla="*/ 444 h 456"/>
              <a:gd name="T28" fmla="*/ 383 w 462"/>
              <a:gd name="T29" fmla="*/ 310 h 456"/>
              <a:gd name="T30" fmla="*/ 407 w 462"/>
              <a:gd name="T31" fmla="*/ 333 h 456"/>
              <a:gd name="T32" fmla="*/ 462 w 462"/>
              <a:gd name="T33" fmla="*/ 280 h 456"/>
              <a:gd name="T34" fmla="*/ 413 w 462"/>
              <a:gd name="T35" fmla="*/ 132 h 456"/>
              <a:gd name="T36" fmla="*/ 363 w 462"/>
              <a:gd name="T37" fmla="*/ 125 h 456"/>
              <a:gd name="T38" fmla="*/ 375 w 462"/>
              <a:gd name="T39" fmla="*/ 90 h 456"/>
              <a:gd name="T40" fmla="*/ 331 w 462"/>
              <a:gd name="T41" fmla="*/ 113 h 456"/>
              <a:gd name="T42" fmla="*/ 281 w 462"/>
              <a:gd name="T43" fmla="*/ 67 h 456"/>
              <a:gd name="T44" fmla="*/ 228 w 462"/>
              <a:gd name="T45" fmla="*/ 67 h 456"/>
              <a:gd name="T46" fmla="*/ 155 w 462"/>
              <a:gd name="T47" fmla="*/ 0 h 456"/>
              <a:gd name="T48" fmla="*/ 155 w 462"/>
              <a:gd name="T49" fmla="*/ 0 h 45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2"/>
              <a:gd name="T76" fmla="*/ 0 h 456"/>
              <a:gd name="T77" fmla="*/ 462 w 462"/>
              <a:gd name="T78" fmla="*/ 456 h 45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2" h="456">
                <a:moveTo>
                  <a:pt x="155" y="0"/>
                </a:moveTo>
                <a:lnTo>
                  <a:pt x="175" y="90"/>
                </a:lnTo>
                <a:lnTo>
                  <a:pt x="129" y="62"/>
                </a:lnTo>
                <a:lnTo>
                  <a:pt x="53" y="147"/>
                </a:lnTo>
                <a:lnTo>
                  <a:pt x="58" y="199"/>
                </a:lnTo>
                <a:lnTo>
                  <a:pt x="8" y="242"/>
                </a:lnTo>
                <a:lnTo>
                  <a:pt x="35" y="275"/>
                </a:lnTo>
                <a:lnTo>
                  <a:pt x="0" y="290"/>
                </a:lnTo>
                <a:lnTo>
                  <a:pt x="50" y="456"/>
                </a:lnTo>
                <a:lnTo>
                  <a:pt x="85" y="430"/>
                </a:lnTo>
                <a:lnTo>
                  <a:pt x="149" y="444"/>
                </a:lnTo>
                <a:lnTo>
                  <a:pt x="249" y="303"/>
                </a:lnTo>
                <a:lnTo>
                  <a:pt x="281" y="325"/>
                </a:lnTo>
                <a:lnTo>
                  <a:pt x="339" y="444"/>
                </a:lnTo>
                <a:lnTo>
                  <a:pt x="383" y="310"/>
                </a:lnTo>
                <a:lnTo>
                  <a:pt x="407" y="333"/>
                </a:lnTo>
                <a:lnTo>
                  <a:pt x="462" y="280"/>
                </a:lnTo>
                <a:lnTo>
                  <a:pt x="413" y="132"/>
                </a:lnTo>
                <a:lnTo>
                  <a:pt x="363" y="125"/>
                </a:lnTo>
                <a:lnTo>
                  <a:pt x="375" y="90"/>
                </a:lnTo>
                <a:lnTo>
                  <a:pt x="331" y="113"/>
                </a:lnTo>
                <a:lnTo>
                  <a:pt x="281" y="67"/>
                </a:lnTo>
                <a:lnTo>
                  <a:pt x="228" y="67"/>
                </a:lnTo>
                <a:lnTo>
                  <a:pt x="155" y="0"/>
                </a:lnTo>
                <a:close/>
              </a:path>
            </a:pathLst>
          </a:custGeom>
          <a:solidFill>
            <a:schemeClr val="accent3"/>
          </a:solidFill>
          <a:ln w="12700">
            <a:solidFill>
              <a:schemeClr val="bg1"/>
            </a:solidFill>
            <a:round/>
            <a:headEnd/>
            <a:tailEnd/>
          </a:ln>
        </p:spPr>
        <p:txBody>
          <a:bodyPr/>
          <a:lstStyle/>
          <a:p>
            <a:pPr>
              <a:defRPr/>
            </a:pPr>
            <a:endParaRPr lang="nl-NL"/>
          </a:p>
        </p:txBody>
      </p:sp>
      <p:sp>
        <p:nvSpPr>
          <p:cNvPr id="134" name="Freeform 135"/>
          <p:cNvSpPr>
            <a:spLocks noChangeAspect="1"/>
          </p:cNvSpPr>
          <p:nvPr/>
        </p:nvSpPr>
        <p:spPr bwMode="auto">
          <a:xfrm>
            <a:off x="4904237" y="3947286"/>
            <a:ext cx="415943" cy="297292"/>
          </a:xfrm>
          <a:custGeom>
            <a:avLst/>
            <a:gdLst>
              <a:gd name="T0" fmla="*/ 157 w 484"/>
              <a:gd name="T1" fmla="*/ 0 h 319"/>
              <a:gd name="T2" fmla="*/ 69 w 484"/>
              <a:gd name="T3" fmla="*/ 0 h 319"/>
              <a:gd name="T4" fmla="*/ 12 w 484"/>
              <a:gd name="T5" fmla="*/ 34 h 319"/>
              <a:gd name="T6" fmla="*/ 0 w 484"/>
              <a:gd name="T7" fmla="*/ 69 h 319"/>
              <a:gd name="T8" fmla="*/ 48 w 484"/>
              <a:gd name="T9" fmla="*/ 78 h 319"/>
              <a:gd name="T10" fmla="*/ 99 w 484"/>
              <a:gd name="T11" fmla="*/ 222 h 319"/>
              <a:gd name="T12" fmla="*/ 146 w 484"/>
              <a:gd name="T13" fmla="*/ 300 h 319"/>
              <a:gd name="T14" fmla="*/ 212 w 484"/>
              <a:gd name="T15" fmla="*/ 274 h 319"/>
              <a:gd name="T16" fmla="*/ 274 w 484"/>
              <a:gd name="T17" fmla="*/ 319 h 319"/>
              <a:gd name="T18" fmla="*/ 291 w 484"/>
              <a:gd name="T19" fmla="*/ 283 h 319"/>
              <a:gd name="T20" fmla="*/ 318 w 484"/>
              <a:gd name="T21" fmla="*/ 274 h 319"/>
              <a:gd name="T22" fmla="*/ 432 w 484"/>
              <a:gd name="T23" fmla="*/ 207 h 319"/>
              <a:gd name="T24" fmla="*/ 449 w 484"/>
              <a:gd name="T25" fmla="*/ 125 h 319"/>
              <a:gd name="T26" fmla="*/ 472 w 484"/>
              <a:gd name="T27" fmla="*/ 137 h 319"/>
              <a:gd name="T28" fmla="*/ 484 w 484"/>
              <a:gd name="T29" fmla="*/ 82 h 319"/>
              <a:gd name="T30" fmla="*/ 402 w 484"/>
              <a:gd name="T31" fmla="*/ 15 h 319"/>
              <a:gd name="T32" fmla="*/ 272 w 484"/>
              <a:gd name="T33" fmla="*/ 23 h 319"/>
              <a:gd name="T34" fmla="*/ 181 w 484"/>
              <a:gd name="T35" fmla="*/ 36 h 319"/>
              <a:gd name="T36" fmla="*/ 157 w 484"/>
              <a:gd name="T37" fmla="*/ 0 h 319"/>
              <a:gd name="T38" fmla="*/ 157 w 484"/>
              <a:gd name="T39" fmla="*/ 0 h 31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4"/>
              <a:gd name="T61" fmla="*/ 0 h 319"/>
              <a:gd name="T62" fmla="*/ 484 w 484"/>
              <a:gd name="T63" fmla="*/ 319 h 31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4" h="319">
                <a:moveTo>
                  <a:pt x="157" y="0"/>
                </a:moveTo>
                <a:lnTo>
                  <a:pt x="69" y="0"/>
                </a:lnTo>
                <a:lnTo>
                  <a:pt x="12" y="34"/>
                </a:lnTo>
                <a:lnTo>
                  <a:pt x="0" y="69"/>
                </a:lnTo>
                <a:lnTo>
                  <a:pt x="48" y="78"/>
                </a:lnTo>
                <a:lnTo>
                  <a:pt x="99" y="222"/>
                </a:lnTo>
                <a:lnTo>
                  <a:pt x="146" y="300"/>
                </a:lnTo>
                <a:lnTo>
                  <a:pt x="212" y="274"/>
                </a:lnTo>
                <a:lnTo>
                  <a:pt x="274" y="319"/>
                </a:lnTo>
                <a:lnTo>
                  <a:pt x="291" y="283"/>
                </a:lnTo>
                <a:lnTo>
                  <a:pt x="318" y="274"/>
                </a:lnTo>
                <a:lnTo>
                  <a:pt x="432" y="207"/>
                </a:lnTo>
                <a:lnTo>
                  <a:pt x="449" y="125"/>
                </a:lnTo>
                <a:lnTo>
                  <a:pt x="472" y="137"/>
                </a:lnTo>
                <a:lnTo>
                  <a:pt x="484" y="82"/>
                </a:lnTo>
                <a:lnTo>
                  <a:pt x="402" y="15"/>
                </a:lnTo>
                <a:lnTo>
                  <a:pt x="272" y="23"/>
                </a:lnTo>
                <a:lnTo>
                  <a:pt x="181" y="36"/>
                </a:lnTo>
                <a:lnTo>
                  <a:pt x="157" y="0"/>
                </a:lnTo>
                <a:close/>
              </a:path>
            </a:pathLst>
          </a:custGeom>
          <a:solidFill>
            <a:schemeClr val="accent3"/>
          </a:solidFill>
          <a:ln w="12700">
            <a:solidFill>
              <a:schemeClr val="bg1"/>
            </a:solidFill>
            <a:round/>
            <a:headEnd/>
            <a:tailEnd/>
          </a:ln>
        </p:spPr>
        <p:txBody>
          <a:bodyPr/>
          <a:lstStyle/>
          <a:p>
            <a:pPr>
              <a:defRPr/>
            </a:pPr>
            <a:endParaRPr lang="nl-NL"/>
          </a:p>
        </p:txBody>
      </p:sp>
      <p:sp>
        <p:nvSpPr>
          <p:cNvPr id="135" name="Freeform 136"/>
          <p:cNvSpPr>
            <a:spLocks noChangeAspect="1"/>
          </p:cNvSpPr>
          <p:nvPr/>
        </p:nvSpPr>
        <p:spPr bwMode="auto">
          <a:xfrm>
            <a:off x="4881800" y="4154830"/>
            <a:ext cx="310663" cy="387041"/>
          </a:xfrm>
          <a:custGeom>
            <a:avLst/>
            <a:gdLst>
              <a:gd name="T0" fmla="*/ 123 w 359"/>
              <a:gd name="T1" fmla="*/ 0 h 415"/>
              <a:gd name="T2" fmla="*/ 68 w 359"/>
              <a:gd name="T3" fmla="*/ 55 h 415"/>
              <a:gd name="T4" fmla="*/ 44 w 359"/>
              <a:gd name="T5" fmla="*/ 32 h 415"/>
              <a:gd name="T6" fmla="*/ 0 w 359"/>
              <a:gd name="T7" fmla="*/ 161 h 415"/>
              <a:gd name="T8" fmla="*/ 40 w 359"/>
              <a:gd name="T9" fmla="*/ 231 h 415"/>
              <a:gd name="T10" fmla="*/ 38 w 359"/>
              <a:gd name="T11" fmla="*/ 347 h 415"/>
              <a:gd name="T12" fmla="*/ 79 w 359"/>
              <a:gd name="T13" fmla="*/ 388 h 415"/>
              <a:gd name="T14" fmla="*/ 125 w 359"/>
              <a:gd name="T15" fmla="*/ 375 h 415"/>
              <a:gd name="T16" fmla="*/ 214 w 359"/>
              <a:gd name="T17" fmla="*/ 415 h 415"/>
              <a:gd name="T18" fmla="*/ 237 w 359"/>
              <a:gd name="T19" fmla="*/ 388 h 415"/>
              <a:gd name="T20" fmla="*/ 328 w 359"/>
              <a:gd name="T21" fmla="*/ 403 h 415"/>
              <a:gd name="T22" fmla="*/ 359 w 359"/>
              <a:gd name="T23" fmla="*/ 380 h 415"/>
              <a:gd name="T24" fmla="*/ 334 w 359"/>
              <a:gd name="T25" fmla="*/ 266 h 415"/>
              <a:gd name="T26" fmla="*/ 353 w 359"/>
              <a:gd name="T27" fmla="*/ 246 h 415"/>
              <a:gd name="T28" fmla="*/ 300 w 359"/>
              <a:gd name="T29" fmla="*/ 97 h 415"/>
              <a:gd name="T30" fmla="*/ 236 w 359"/>
              <a:gd name="T31" fmla="*/ 52 h 415"/>
              <a:gd name="T32" fmla="*/ 173 w 359"/>
              <a:gd name="T33" fmla="*/ 76 h 415"/>
              <a:gd name="T34" fmla="*/ 123 w 359"/>
              <a:gd name="T35" fmla="*/ 0 h 415"/>
              <a:gd name="T36" fmla="*/ 123 w 359"/>
              <a:gd name="T37" fmla="*/ 0 h 4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59"/>
              <a:gd name="T58" fmla="*/ 0 h 415"/>
              <a:gd name="T59" fmla="*/ 359 w 359"/>
              <a:gd name="T60" fmla="*/ 415 h 4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59" h="415">
                <a:moveTo>
                  <a:pt x="123" y="0"/>
                </a:moveTo>
                <a:lnTo>
                  <a:pt x="68" y="55"/>
                </a:lnTo>
                <a:lnTo>
                  <a:pt x="44" y="32"/>
                </a:lnTo>
                <a:lnTo>
                  <a:pt x="0" y="161"/>
                </a:lnTo>
                <a:lnTo>
                  <a:pt x="40" y="231"/>
                </a:lnTo>
                <a:lnTo>
                  <a:pt x="38" y="347"/>
                </a:lnTo>
                <a:lnTo>
                  <a:pt x="79" y="388"/>
                </a:lnTo>
                <a:lnTo>
                  <a:pt x="125" y="375"/>
                </a:lnTo>
                <a:lnTo>
                  <a:pt x="214" y="415"/>
                </a:lnTo>
                <a:lnTo>
                  <a:pt x="237" y="388"/>
                </a:lnTo>
                <a:lnTo>
                  <a:pt x="328" y="403"/>
                </a:lnTo>
                <a:lnTo>
                  <a:pt x="359" y="380"/>
                </a:lnTo>
                <a:lnTo>
                  <a:pt x="334" y="266"/>
                </a:lnTo>
                <a:lnTo>
                  <a:pt x="353" y="246"/>
                </a:lnTo>
                <a:lnTo>
                  <a:pt x="300" y="97"/>
                </a:lnTo>
                <a:lnTo>
                  <a:pt x="236" y="52"/>
                </a:lnTo>
                <a:lnTo>
                  <a:pt x="173" y="76"/>
                </a:lnTo>
                <a:lnTo>
                  <a:pt x="123" y="0"/>
                </a:lnTo>
                <a:close/>
              </a:path>
            </a:pathLst>
          </a:custGeom>
          <a:solidFill>
            <a:schemeClr val="accent3"/>
          </a:solidFill>
          <a:ln w="12700">
            <a:solidFill>
              <a:schemeClr val="bg1"/>
            </a:solidFill>
            <a:round/>
            <a:headEnd/>
            <a:tailEnd/>
          </a:ln>
        </p:spPr>
        <p:txBody>
          <a:bodyPr/>
          <a:lstStyle/>
          <a:p>
            <a:pPr>
              <a:defRPr/>
            </a:pPr>
            <a:endParaRPr lang="nl-NL"/>
          </a:p>
        </p:txBody>
      </p:sp>
      <p:sp>
        <p:nvSpPr>
          <p:cNvPr id="136" name="Freeform 137"/>
          <p:cNvSpPr>
            <a:spLocks noChangeAspect="1"/>
          </p:cNvSpPr>
          <p:nvPr/>
        </p:nvSpPr>
        <p:spPr bwMode="auto">
          <a:xfrm>
            <a:off x="3930826" y="4255797"/>
            <a:ext cx="386603" cy="355255"/>
          </a:xfrm>
          <a:custGeom>
            <a:avLst/>
            <a:gdLst>
              <a:gd name="T0" fmla="*/ 134 w 450"/>
              <a:gd name="T1" fmla="*/ 0 h 380"/>
              <a:gd name="T2" fmla="*/ 82 w 450"/>
              <a:gd name="T3" fmla="*/ 36 h 380"/>
              <a:gd name="T4" fmla="*/ 111 w 450"/>
              <a:gd name="T5" fmla="*/ 65 h 380"/>
              <a:gd name="T6" fmla="*/ 33 w 450"/>
              <a:gd name="T7" fmla="*/ 147 h 380"/>
              <a:gd name="T8" fmla="*/ 29 w 450"/>
              <a:gd name="T9" fmla="*/ 238 h 380"/>
              <a:gd name="T10" fmla="*/ 0 w 450"/>
              <a:gd name="T11" fmla="*/ 264 h 380"/>
              <a:gd name="T12" fmla="*/ 3 w 450"/>
              <a:gd name="T13" fmla="*/ 302 h 380"/>
              <a:gd name="T14" fmla="*/ 80 w 450"/>
              <a:gd name="T15" fmla="*/ 316 h 380"/>
              <a:gd name="T16" fmla="*/ 65 w 450"/>
              <a:gd name="T17" fmla="*/ 380 h 380"/>
              <a:gd name="T18" fmla="*/ 149 w 450"/>
              <a:gd name="T19" fmla="*/ 378 h 380"/>
              <a:gd name="T20" fmla="*/ 204 w 450"/>
              <a:gd name="T21" fmla="*/ 326 h 380"/>
              <a:gd name="T22" fmla="*/ 299 w 450"/>
              <a:gd name="T23" fmla="*/ 354 h 380"/>
              <a:gd name="T24" fmla="*/ 295 w 450"/>
              <a:gd name="T25" fmla="*/ 316 h 380"/>
              <a:gd name="T26" fmla="*/ 363 w 450"/>
              <a:gd name="T27" fmla="*/ 293 h 380"/>
              <a:gd name="T28" fmla="*/ 357 w 450"/>
              <a:gd name="T29" fmla="*/ 196 h 380"/>
              <a:gd name="T30" fmla="*/ 409 w 450"/>
              <a:gd name="T31" fmla="*/ 186 h 380"/>
              <a:gd name="T32" fmla="*/ 394 w 450"/>
              <a:gd name="T33" fmla="*/ 120 h 380"/>
              <a:gd name="T34" fmla="*/ 450 w 450"/>
              <a:gd name="T35" fmla="*/ 82 h 380"/>
              <a:gd name="T36" fmla="*/ 342 w 450"/>
              <a:gd name="T37" fmla="*/ 77 h 380"/>
              <a:gd name="T38" fmla="*/ 330 w 450"/>
              <a:gd name="T39" fmla="*/ 36 h 380"/>
              <a:gd name="T40" fmla="*/ 167 w 450"/>
              <a:gd name="T41" fmla="*/ 44 h 380"/>
              <a:gd name="T42" fmla="*/ 134 w 450"/>
              <a:gd name="T43" fmla="*/ 0 h 380"/>
              <a:gd name="T44" fmla="*/ 134 w 450"/>
              <a:gd name="T45" fmla="*/ 0 h 3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50"/>
              <a:gd name="T70" fmla="*/ 0 h 380"/>
              <a:gd name="T71" fmla="*/ 450 w 450"/>
              <a:gd name="T72" fmla="*/ 380 h 3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50" h="380">
                <a:moveTo>
                  <a:pt x="134" y="0"/>
                </a:moveTo>
                <a:lnTo>
                  <a:pt x="82" y="36"/>
                </a:lnTo>
                <a:lnTo>
                  <a:pt x="111" y="65"/>
                </a:lnTo>
                <a:lnTo>
                  <a:pt x="33" y="147"/>
                </a:lnTo>
                <a:lnTo>
                  <a:pt x="29" y="238"/>
                </a:lnTo>
                <a:lnTo>
                  <a:pt x="0" y="264"/>
                </a:lnTo>
                <a:lnTo>
                  <a:pt x="3" y="302"/>
                </a:lnTo>
                <a:lnTo>
                  <a:pt x="80" y="316"/>
                </a:lnTo>
                <a:lnTo>
                  <a:pt x="65" y="380"/>
                </a:lnTo>
                <a:lnTo>
                  <a:pt x="149" y="378"/>
                </a:lnTo>
                <a:lnTo>
                  <a:pt x="204" y="326"/>
                </a:lnTo>
                <a:lnTo>
                  <a:pt x="299" y="354"/>
                </a:lnTo>
                <a:lnTo>
                  <a:pt x="295" y="316"/>
                </a:lnTo>
                <a:lnTo>
                  <a:pt x="363" y="293"/>
                </a:lnTo>
                <a:lnTo>
                  <a:pt x="357" y="196"/>
                </a:lnTo>
                <a:lnTo>
                  <a:pt x="409" y="186"/>
                </a:lnTo>
                <a:lnTo>
                  <a:pt x="394" y="120"/>
                </a:lnTo>
                <a:lnTo>
                  <a:pt x="450" y="82"/>
                </a:lnTo>
                <a:lnTo>
                  <a:pt x="342" y="77"/>
                </a:lnTo>
                <a:lnTo>
                  <a:pt x="330" y="36"/>
                </a:lnTo>
                <a:lnTo>
                  <a:pt x="167" y="44"/>
                </a:lnTo>
                <a:lnTo>
                  <a:pt x="134" y="0"/>
                </a:lnTo>
                <a:close/>
              </a:path>
            </a:pathLst>
          </a:custGeom>
          <a:solidFill>
            <a:schemeClr val="accent3"/>
          </a:solidFill>
          <a:ln w="12700">
            <a:solidFill>
              <a:schemeClr val="bg1"/>
            </a:solidFill>
            <a:round/>
            <a:headEnd/>
            <a:tailEnd/>
          </a:ln>
        </p:spPr>
        <p:txBody>
          <a:bodyPr/>
          <a:lstStyle/>
          <a:p>
            <a:pPr>
              <a:defRPr/>
            </a:pPr>
            <a:endParaRPr lang="nl-NL"/>
          </a:p>
        </p:txBody>
      </p:sp>
      <p:sp>
        <p:nvSpPr>
          <p:cNvPr id="137" name="Freeform 138"/>
          <p:cNvSpPr>
            <a:spLocks noChangeAspect="1"/>
          </p:cNvSpPr>
          <p:nvPr/>
        </p:nvSpPr>
        <p:spPr bwMode="auto">
          <a:xfrm>
            <a:off x="3501075" y="4351155"/>
            <a:ext cx="500513" cy="471180"/>
          </a:xfrm>
          <a:custGeom>
            <a:avLst/>
            <a:gdLst>
              <a:gd name="T0" fmla="*/ 106 w 579"/>
              <a:gd name="T1" fmla="*/ 20 h 502"/>
              <a:gd name="T2" fmla="*/ 88 w 579"/>
              <a:gd name="T3" fmla="*/ 64 h 502"/>
              <a:gd name="T4" fmla="*/ 18 w 579"/>
              <a:gd name="T5" fmla="*/ 470 h 502"/>
              <a:gd name="T6" fmla="*/ 0 w 579"/>
              <a:gd name="T7" fmla="*/ 481 h 502"/>
              <a:gd name="T8" fmla="*/ 35 w 579"/>
              <a:gd name="T9" fmla="*/ 502 h 502"/>
              <a:gd name="T10" fmla="*/ 110 w 579"/>
              <a:gd name="T11" fmla="*/ 473 h 502"/>
              <a:gd name="T12" fmla="*/ 143 w 579"/>
              <a:gd name="T13" fmla="*/ 502 h 502"/>
              <a:gd name="T14" fmla="*/ 258 w 579"/>
              <a:gd name="T15" fmla="*/ 472 h 502"/>
              <a:gd name="T16" fmla="*/ 316 w 579"/>
              <a:gd name="T17" fmla="*/ 487 h 502"/>
              <a:gd name="T18" fmla="*/ 348 w 579"/>
              <a:gd name="T19" fmla="*/ 453 h 502"/>
              <a:gd name="T20" fmla="*/ 403 w 579"/>
              <a:gd name="T21" fmla="*/ 476 h 502"/>
              <a:gd name="T22" fmla="*/ 473 w 579"/>
              <a:gd name="T23" fmla="*/ 470 h 502"/>
              <a:gd name="T24" fmla="*/ 424 w 579"/>
              <a:gd name="T25" fmla="*/ 438 h 502"/>
              <a:gd name="T26" fmla="*/ 456 w 579"/>
              <a:gd name="T27" fmla="*/ 318 h 502"/>
              <a:gd name="T28" fmla="*/ 520 w 579"/>
              <a:gd name="T29" fmla="*/ 272 h 502"/>
              <a:gd name="T30" fmla="*/ 539 w 579"/>
              <a:gd name="T31" fmla="*/ 272 h 502"/>
              <a:gd name="T32" fmla="*/ 532 w 579"/>
              <a:gd name="T33" fmla="*/ 339 h 502"/>
              <a:gd name="T34" fmla="*/ 562 w 579"/>
              <a:gd name="T35" fmla="*/ 321 h 502"/>
              <a:gd name="T36" fmla="*/ 562 w 579"/>
              <a:gd name="T37" fmla="*/ 276 h 502"/>
              <a:gd name="T38" fmla="*/ 579 w 579"/>
              <a:gd name="T39" fmla="*/ 212 h 502"/>
              <a:gd name="T40" fmla="*/ 500 w 579"/>
              <a:gd name="T41" fmla="*/ 198 h 502"/>
              <a:gd name="T42" fmla="*/ 497 w 579"/>
              <a:gd name="T43" fmla="*/ 160 h 502"/>
              <a:gd name="T44" fmla="*/ 526 w 579"/>
              <a:gd name="T45" fmla="*/ 134 h 502"/>
              <a:gd name="T46" fmla="*/ 465 w 579"/>
              <a:gd name="T47" fmla="*/ 134 h 502"/>
              <a:gd name="T48" fmla="*/ 452 w 579"/>
              <a:gd name="T49" fmla="*/ 175 h 502"/>
              <a:gd name="T50" fmla="*/ 416 w 579"/>
              <a:gd name="T51" fmla="*/ 166 h 502"/>
              <a:gd name="T52" fmla="*/ 397 w 579"/>
              <a:gd name="T53" fmla="*/ 122 h 502"/>
              <a:gd name="T54" fmla="*/ 325 w 579"/>
              <a:gd name="T55" fmla="*/ 43 h 502"/>
              <a:gd name="T56" fmla="*/ 182 w 579"/>
              <a:gd name="T57" fmla="*/ 49 h 502"/>
              <a:gd name="T58" fmla="*/ 192 w 579"/>
              <a:gd name="T59" fmla="*/ 14 h 502"/>
              <a:gd name="T60" fmla="*/ 164 w 579"/>
              <a:gd name="T61" fmla="*/ 0 h 502"/>
              <a:gd name="T62" fmla="*/ 134 w 579"/>
              <a:gd name="T63" fmla="*/ 43 h 502"/>
              <a:gd name="T64" fmla="*/ 106 w 579"/>
              <a:gd name="T65" fmla="*/ 20 h 502"/>
              <a:gd name="T66" fmla="*/ 106 w 579"/>
              <a:gd name="T67" fmla="*/ 20 h 50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79"/>
              <a:gd name="T103" fmla="*/ 0 h 502"/>
              <a:gd name="T104" fmla="*/ 579 w 579"/>
              <a:gd name="T105" fmla="*/ 502 h 50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79" h="502">
                <a:moveTo>
                  <a:pt x="106" y="20"/>
                </a:moveTo>
                <a:lnTo>
                  <a:pt x="88" y="64"/>
                </a:lnTo>
                <a:lnTo>
                  <a:pt x="18" y="470"/>
                </a:lnTo>
                <a:lnTo>
                  <a:pt x="0" y="481"/>
                </a:lnTo>
                <a:lnTo>
                  <a:pt x="35" y="502"/>
                </a:lnTo>
                <a:lnTo>
                  <a:pt x="110" y="473"/>
                </a:lnTo>
                <a:lnTo>
                  <a:pt x="143" y="502"/>
                </a:lnTo>
                <a:lnTo>
                  <a:pt x="258" y="472"/>
                </a:lnTo>
                <a:lnTo>
                  <a:pt x="316" y="487"/>
                </a:lnTo>
                <a:lnTo>
                  <a:pt x="348" y="453"/>
                </a:lnTo>
                <a:lnTo>
                  <a:pt x="403" y="476"/>
                </a:lnTo>
                <a:lnTo>
                  <a:pt x="473" y="470"/>
                </a:lnTo>
                <a:lnTo>
                  <a:pt x="424" y="438"/>
                </a:lnTo>
                <a:lnTo>
                  <a:pt x="456" y="318"/>
                </a:lnTo>
                <a:lnTo>
                  <a:pt x="520" y="272"/>
                </a:lnTo>
                <a:lnTo>
                  <a:pt x="539" y="272"/>
                </a:lnTo>
                <a:lnTo>
                  <a:pt x="532" y="339"/>
                </a:lnTo>
                <a:lnTo>
                  <a:pt x="562" y="321"/>
                </a:lnTo>
                <a:lnTo>
                  <a:pt x="562" y="276"/>
                </a:lnTo>
                <a:lnTo>
                  <a:pt x="579" y="212"/>
                </a:lnTo>
                <a:lnTo>
                  <a:pt x="500" y="198"/>
                </a:lnTo>
                <a:lnTo>
                  <a:pt x="497" y="160"/>
                </a:lnTo>
                <a:lnTo>
                  <a:pt x="526" y="134"/>
                </a:lnTo>
                <a:lnTo>
                  <a:pt x="465" y="134"/>
                </a:lnTo>
                <a:lnTo>
                  <a:pt x="452" y="175"/>
                </a:lnTo>
                <a:lnTo>
                  <a:pt x="416" y="166"/>
                </a:lnTo>
                <a:lnTo>
                  <a:pt x="397" y="122"/>
                </a:lnTo>
                <a:lnTo>
                  <a:pt x="325" y="43"/>
                </a:lnTo>
                <a:lnTo>
                  <a:pt x="182" y="49"/>
                </a:lnTo>
                <a:lnTo>
                  <a:pt x="192" y="14"/>
                </a:lnTo>
                <a:lnTo>
                  <a:pt x="164" y="0"/>
                </a:lnTo>
                <a:lnTo>
                  <a:pt x="134" y="43"/>
                </a:lnTo>
                <a:lnTo>
                  <a:pt x="106" y="20"/>
                </a:lnTo>
                <a:close/>
              </a:path>
            </a:pathLst>
          </a:custGeom>
          <a:solidFill>
            <a:schemeClr val="accent3"/>
          </a:solidFill>
          <a:ln w="12700">
            <a:solidFill>
              <a:schemeClr val="bg1"/>
            </a:solidFill>
            <a:round/>
            <a:headEnd/>
            <a:tailEnd/>
          </a:ln>
        </p:spPr>
        <p:txBody>
          <a:bodyPr/>
          <a:lstStyle/>
          <a:p>
            <a:pPr>
              <a:defRPr/>
            </a:pPr>
            <a:endParaRPr lang="nl-NL"/>
          </a:p>
        </p:txBody>
      </p:sp>
      <p:sp>
        <p:nvSpPr>
          <p:cNvPr id="138" name="Freeform 139"/>
          <p:cNvSpPr>
            <a:spLocks noChangeAspect="1"/>
          </p:cNvSpPr>
          <p:nvPr/>
        </p:nvSpPr>
        <p:spPr bwMode="auto">
          <a:xfrm>
            <a:off x="3413054" y="4773721"/>
            <a:ext cx="557468" cy="351515"/>
          </a:xfrm>
          <a:custGeom>
            <a:avLst/>
            <a:gdLst>
              <a:gd name="T0" fmla="*/ 102 w 647"/>
              <a:gd name="T1" fmla="*/ 29 h 377"/>
              <a:gd name="T2" fmla="*/ 0 w 647"/>
              <a:gd name="T3" fmla="*/ 111 h 377"/>
              <a:gd name="T4" fmla="*/ 105 w 647"/>
              <a:gd name="T5" fmla="*/ 157 h 377"/>
              <a:gd name="T6" fmla="*/ 117 w 647"/>
              <a:gd name="T7" fmla="*/ 272 h 377"/>
              <a:gd name="T8" fmla="*/ 160 w 647"/>
              <a:gd name="T9" fmla="*/ 245 h 377"/>
              <a:gd name="T10" fmla="*/ 216 w 647"/>
              <a:gd name="T11" fmla="*/ 304 h 377"/>
              <a:gd name="T12" fmla="*/ 423 w 647"/>
              <a:gd name="T13" fmla="*/ 377 h 377"/>
              <a:gd name="T14" fmla="*/ 518 w 647"/>
              <a:gd name="T15" fmla="*/ 377 h 377"/>
              <a:gd name="T16" fmla="*/ 522 w 647"/>
              <a:gd name="T17" fmla="*/ 271 h 377"/>
              <a:gd name="T18" fmla="*/ 630 w 647"/>
              <a:gd name="T19" fmla="*/ 195 h 377"/>
              <a:gd name="T20" fmla="*/ 647 w 647"/>
              <a:gd name="T21" fmla="*/ 140 h 377"/>
              <a:gd name="T22" fmla="*/ 575 w 647"/>
              <a:gd name="T23" fmla="*/ 22 h 377"/>
              <a:gd name="T24" fmla="*/ 506 w 647"/>
              <a:gd name="T25" fmla="*/ 23 h 377"/>
              <a:gd name="T26" fmla="*/ 450 w 647"/>
              <a:gd name="T27" fmla="*/ 0 h 377"/>
              <a:gd name="T28" fmla="*/ 418 w 647"/>
              <a:gd name="T29" fmla="*/ 34 h 377"/>
              <a:gd name="T30" fmla="*/ 362 w 647"/>
              <a:gd name="T31" fmla="*/ 22 h 377"/>
              <a:gd name="T32" fmla="*/ 248 w 647"/>
              <a:gd name="T33" fmla="*/ 52 h 377"/>
              <a:gd name="T34" fmla="*/ 212 w 647"/>
              <a:gd name="T35" fmla="*/ 23 h 377"/>
              <a:gd name="T36" fmla="*/ 137 w 647"/>
              <a:gd name="T37" fmla="*/ 52 h 377"/>
              <a:gd name="T38" fmla="*/ 102 w 647"/>
              <a:gd name="T39" fmla="*/ 29 h 377"/>
              <a:gd name="T40" fmla="*/ 102 w 647"/>
              <a:gd name="T41" fmla="*/ 29 h 3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47"/>
              <a:gd name="T64" fmla="*/ 0 h 377"/>
              <a:gd name="T65" fmla="*/ 647 w 647"/>
              <a:gd name="T66" fmla="*/ 377 h 3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47" h="377">
                <a:moveTo>
                  <a:pt x="102" y="29"/>
                </a:moveTo>
                <a:lnTo>
                  <a:pt x="0" y="111"/>
                </a:lnTo>
                <a:lnTo>
                  <a:pt x="105" y="157"/>
                </a:lnTo>
                <a:lnTo>
                  <a:pt x="117" y="272"/>
                </a:lnTo>
                <a:lnTo>
                  <a:pt x="160" y="245"/>
                </a:lnTo>
                <a:lnTo>
                  <a:pt x="216" y="304"/>
                </a:lnTo>
                <a:lnTo>
                  <a:pt x="423" y="377"/>
                </a:lnTo>
                <a:lnTo>
                  <a:pt x="518" y="377"/>
                </a:lnTo>
                <a:lnTo>
                  <a:pt x="522" y="271"/>
                </a:lnTo>
                <a:lnTo>
                  <a:pt x="630" y="195"/>
                </a:lnTo>
                <a:lnTo>
                  <a:pt x="647" y="140"/>
                </a:lnTo>
                <a:lnTo>
                  <a:pt x="575" y="22"/>
                </a:lnTo>
                <a:lnTo>
                  <a:pt x="506" y="23"/>
                </a:lnTo>
                <a:lnTo>
                  <a:pt x="450" y="0"/>
                </a:lnTo>
                <a:lnTo>
                  <a:pt x="418" y="34"/>
                </a:lnTo>
                <a:lnTo>
                  <a:pt x="362" y="22"/>
                </a:lnTo>
                <a:lnTo>
                  <a:pt x="248" y="52"/>
                </a:lnTo>
                <a:lnTo>
                  <a:pt x="212" y="23"/>
                </a:lnTo>
                <a:lnTo>
                  <a:pt x="137" y="52"/>
                </a:lnTo>
                <a:lnTo>
                  <a:pt x="102" y="29"/>
                </a:lnTo>
                <a:close/>
              </a:path>
            </a:pathLst>
          </a:custGeom>
          <a:solidFill>
            <a:schemeClr val="accent3"/>
          </a:solidFill>
          <a:ln w="12700">
            <a:solidFill>
              <a:schemeClr val="bg1"/>
            </a:solidFill>
            <a:round/>
            <a:headEnd/>
            <a:tailEnd/>
          </a:ln>
        </p:spPr>
        <p:txBody>
          <a:bodyPr/>
          <a:lstStyle/>
          <a:p>
            <a:pPr>
              <a:defRPr/>
            </a:pPr>
            <a:endParaRPr lang="nl-NL"/>
          </a:p>
        </p:txBody>
      </p:sp>
      <p:sp>
        <p:nvSpPr>
          <p:cNvPr id="139" name="Freeform 140"/>
          <p:cNvSpPr>
            <a:spLocks noChangeAspect="1"/>
          </p:cNvSpPr>
          <p:nvPr/>
        </p:nvSpPr>
        <p:spPr bwMode="auto">
          <a:xfrm>
            <a:off x="3866967" y="4560568"/>
            <a:ext cx="464269" cy="351515"/>
          </a:xfrm>
          <a:custGeom>
            <a:avLst/>
            <a:gdLst>
              <a:gd name="T0" fmla="*/ 115 w 539"/>
              <a:gd name="T1" fmla="*/ 50 h 377"/>
              <a:gd name="T2" fmla="*/ 96 w 539"/>
              <a:gd name="T3" fmla="*/ 50 h 377"/>
              <a:gd name="T4" fmla="*/ 28 w 539"/>
              <a:gd name="T5" fmla="*/ 96 h 377"/>
              <a:gd name="T6" fmla="*/ 0 w 539"/>
              <a:gd name="T7" fmla="*/ 216 h 377"/>
              <a:gd name="T8" fmla="*/ 47 w 539"/>
              <a:gd name="T9" fmla="*/ 248 h 377"/>
              <a:gd name="T10" fmla="*/ 104 w 539"/>
              <a:gd name="T11" fmla="*/ 240 h 377"/>
              <a:gd name="T12" fmla="*/ 175 w 539"/>
              <a:gd name="T13" fmla="*/ 354 h 377"/>
              <a:gd name="T14" fmla="*/ 334 w 539"/>
              <a:gd name="T15" fmla="*/ 377 h 377"/>
              <a:gd name="T16" fmla="*/ 374 w 539"/>
              <a:gd name="T17" fmla="*/ 333 h 377"/>
              <a:gd name="T18" fmla="*/ 459 w 539"/>
              <a:gd name="T19" fmla="*/ 347 h 377"/>
              <a:gd name="T20" fmla="*/ 476 w 539"/>
              <a:gd name="T21" fmla="*/ 284 h 377"/>
              <a:gd name="T22" fmla="*/ 539 w 539"/>
              <a:gd name="T23" fmla="*/ 251 h 377"/>
              <a:gd name="T24" fmla="*/ 448 w 539"/>
              <a:gd name="T25" fmla="*/ 168 h 377"/>
              <a:gd name="T26" fmla="*/ 430 w 539"/>
              <a:gd name="T27" fmla="*/ 102 h 377"/>
              <a:gd name="T28" fmla="*/ 383 w 539"/>
              <a:gd name="T29" fmla="*/ 82 h 377"/>
              <a:gd name="T30" fmla="*/ 412 w 539"/>
              <a:gd name="T31" fmla="*/ 28 h 377"/>
              <a:gd name="T32" fmla="*/ 374 w 539"/>
              <a:gd name="T33" fmla="*/ 28 h 377"/>
              <a:gd name="T34" fmla="*/ 278 w 539"/>
              <a:gd name="T35" fmla="*/ 0 h 377"/>
              <a:gd name="T36" fmla="*/ 222 w 539"/>
              <a:gd name="T37" fmla="*/ 52 h 377"/>
              <a:gd name="T38" fmla="*/ 137 w 539"/>
              <a:gd name="T39" fmla="*/ 52 h 377"/>
              <a:gd name="T40" fmla="*/ 137 w 539"/>
              <a:gd name="T41" fmla="*/ 99 h 377"/>
              <a:gd name="T42" fmla="*/ 110 w 539"/>
              <a:gd name="T43" fmla="*/ 117 h 377"/>
              <a:gd name="T44" fmla="*/ 115 w 539"/>
              <a:gd name="T45" fmla="*/ 50 h 377"/>
              <a:gd name="T46" fmla="*/ 115 w 539"/>
              <a:gd name="T47" fmla="*/ 50 h 3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9"/>
              <a:gd name="T73" fmla="*/ 0 h 377"/>
              <a:gd name="T74" fmla="*/ 539 w 539"/>
              <a:gd name="T75" fmla="*/ 377 h 3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9" h="377">
                <a:moveTo>
                  <a:pt x="115" y="50"/>
                </a:moveTo>
                <a:lnTo>
                  <a:pt x="96" y="50"/>
                </a:lnTo>
                <a:lnTo>
                  <a:pt x="28" y="96"/>
                </a:lnTo>
                <a:lnTo>
                  <a:pt x="0" y="216"/>
                </a:lnTo>
                <a:lnTo>
                  <a:pt x="47" y="248"/>
                </a:lnTo>
                <a:lnTo>
                  <a:pt x="104" y="240"/>
                </a:lnTo>
                <a:lnTo>
                  <a:pt x="175" y="354"/>
                </a:lnTo>
                <a:lnTo>
                  <a:pt x="334" y="377"/>
                </a:lnTo>
                <a:lnTo>
                  <a:pt x="374" y="333"/>
                </a:lnTo>
                <a:lnTo>
                  <a:pt x="459" y="347"/>
                </a:lnTo>
                <a:lnTo>
                  <a:pt x="476" y="284"/>
                </a:lnTo>
                <a:lnTo>
                  <a:pt x="539" y="251"/>
                </a:lnTo>
                <a:lnTo>
                  <a:pt x="448" y="168"/>
                </a:lnTo>
                <a:lnTo>
                  <a:pt x="430" y="102"/>
                </a:lnTo>
                <a:lnTo>
                  <a:pt x="383" y="82"/>
                </a:lnTo>
                <a:lnTo>
                  <a:pt x="412" y="28"/>
                </a:lnTo>
                <a:lnTo>
                  <a:pt x="374" y="28"/>
                </a:lnTo>
                <a:lnTo>
                  <a:pt x="278" y="0"/>
                </a:lnTo>
                <a:lnTo>
                  <a:pt x="222" y="52"/>
                </a:lnTo>
                <a:lnTo>
                  <a:pt x="137" y="52"/>
                </a:lnTo>
                <a:lnTo>
                  <a:pt x="137" y="99"/>
                </a:lnTo>
                <a:lnTo>
                  <a:pt x="110" y="117"/>
                </a:lnTo>
                <a:lnTo>
                  <a:pt x="115" y="50"/>
                </a:lnTo>
                <a:close/>
              </a:path>
            </a:pathLst>
          </a:custGeom>
          <a:solidFill>
            <a:schemeClr val="accent3"/>
          </a:solidFill>
          <a:ln w="12700">
            <a:solidFill>
              <a:schemeClr val="bg1"/>
            </a:solidFill>
            <a:round/>
            <a:headEnd/>
            <a:tailEnd/>
          </a:ln>
        </p:spPr>
        <p:txBody>
          <a:bodyPr/>
          <a:lstStyle/>
          <a:p>
            <a:pPr>
              <a:defRPr/>
            </a:pPr>
            <a:endParaRPr lang="nl-NL"/>
          </a:p>
        </p:txBody>
      </p:sp>
      <p:sp>
        <p:nvSpPr>
          <p:cNvPr id="140" name="Freeform 141"/>
          <p:cNvSpPr>
            <a:spLocks noChangeAspect="1"/>
          </p:cNvSpPr>
          <p:nvPr/>
        </p:nvSpPr>
        <p:spPr bwMode="auto">
          <a:xfrm>
            <a:off x="4184534" y="4427815"/>
            <a:ext cx="372796" cy="284204"/>
          </a:xfrm>
          <a:custGeom>
            <a:avLst/>
            <a:gdLst>
              <a:gd name="T0" fmla="*/ 117 w 432"/>
              <a:gd name="T1" fmla="*/ 0 h 303"/>
              <a:gd name="T2" fmla="*/ 62 w 432"/>
              <a:gd name="T3" fmla="*/ 4 h 303"/>
              <a:gd name="T4" fmla="*/ 68 w 432"/>
              <a:gd name="T5" fmla="*/ 105 h 303"/>
              <a:gd name="T6" fmla="*/ 0 w 432"/>
              <a:gd name="T7" fmla="*/ 131 h 303"/>
              <a:gd name="T8" fmla="*/ 4 w 432"/>
              <a:gd name="T9" fmla="*/ 168 h 303"/>
              <a:gd name="T10" fmla="*/ 44 w 432"/>
              <a:gd name="T11" fmla="*/ 169 h 303"/>
              <a:gd name="T12" fmla="*/ 14 w 432"/>
              <a:gd name="T13" fmla="*/ 222 h 303"/>
              <a:gd name="T14" fmla="*/ 65 w 432"/>
              <a:gd name="T15" fmla="*/ 244 h 303"/>
              <a:gd name="T16" fmla="*/ 74 w 432"/>
              <a:gd name="T17" fmla="*/ 292 h 303"/>
              <a:gd name="T18" fmla="*/ 155 w 432"/>
              <a:gd name="T19" fmla="*/ 282 h 303"/>
              <a:gd name="T20" fmla="*/ 170 w 432"/>
              <a:gd name="T21" fmla="*/ 303 h 303"/>
              <a:gd name="T22" fmla="*/ 223 w 432"/>
              <a:gd name="T23" fmla="*/ 283 h 303"/>
              <a:gd name="T24" fmla="*/ 226 w 432"/>
              <a:gd name="T25" fmla="*/ 260 h 303"/>
              <a:gd name="T26" fmla="*/ 285 w 432"/>
              <a:gd name="T27" fmla="*/ 236 h 303"/>
              <a:gd name="T28" fmla="*/ 285 w 432"/>
              <a:gd name="T29" fmla="*/ 213 h 303"/>
              <a:gd name="T30" fmla="*/ 361 w 432"/>
              <a:gd name="T31" fmla="*/ 178 h 303"/>
              <a:gd name="T32" fmla="*/ 331 w 432"/>
              <a:gd name="T33" fmla="*/ 130 h 303"/>
              <a:gd name="T34" fmla="*/ 429 w 432"/>
              <a:gd name="T35" fmla="*/ 116 h 303"/>
              <a:gd name="T36" fmla="*/ 432 w 432"/>
              <a:gd name="T37" fmla="*/ 48 h 303"/>
              <a:gd name="T38" fmla="*/ 411 w 432"/>
              <a:gd name="T39" fmla="*/ 25 h 303"/>
              <a:gd name="T40" fmla="*/ 280 w 432"/>
              <a:gd name="T41" fmla="*/ 52 h 303"/>
              <a:gd name="T42" fmla="*/ 219 w 432"/>
              <a:gd name="T43" fmla="*/ 87 h 303"/>
              <a:gd name="T44" fmla="*/ 117 w 432"/>
              <a:gd name="T45" fmla="*/ 0 h 303"/>
              <a:gd name="T46" fmla="*/ 117 w 432"/>
              <a:gd name="T47" fmla="*/ 0 h 30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2"/>
              <a:gd name="T73" fmla="*/ 0 h 303"/>
              <a:gd name="T74" fmla="*/ 432 w 432"/>
              <a:gd name="T75" fmla="*/ 303 h 30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2" h="303">
                <a:moveTo>
                  <a:pt x="117" y="0"/>
                </a:moveTo>
                <a:lnTo>
                  <a:pt x="62" y="4"/>
                </a:lnTo>
                <a:lnTo>
                  <a:pt x="68" y="105"/>
                </a:lnTo>
                <a:lnTo>
                  <a:pt x="0" y="131"/>
                </a:lnTo>
                <a:lnTo>
                  <a:pt x="4" y="168"/>
                </a:lnTo>
                <a:lnTo>
                  <a:pt x="44" y="169"/>
                </a:lnTo>
                <a:lnTo>
                  <a:pt x="14" y="222"/>
                </a:lnTo>
                <a:lnTo>
                  <a:pt x="65" y="244"/>
                </a:lnTo>
                <a:lnTo>
                  <a:pt x="74" y="292"/>
                </a:lnTo>
                <a:lnTo>
                  <a:pt x="155" y="282"/>
                </a:lnTo>
                <a:lnTo>
                  <a:pt x="170" y="303"/>
                </a:lnTo>
                <a:lnTo>
                  <a:pt x="223" y="283"/>
                </a:lnTo>
                <a:lnTo>
                  <a:pt x="226" y="260"/>
                </a:lnTo>
                <a:lnTo>
                  <a:pt x="285" y="236"/>
                </a:lnTo>
                <a:lnTo>
                  <a:pt x="285" y="213"/>
                </a:lnTo>
                <a:lnTo>
                  <a:pt x="361" y="178"/>
                </a:lnTo>
                <a:lnTo>
                  <a:pt x="331" y="130"/>
                </a:lnTo>
                <a:lnTo>
                  <a:pt x="429" y="116"/>
                </a:lnTo>
                <a:lnTo>
                  <a:pt x="432" y="48"/>
                </a:lnTo>
                <a:lnTo>
                  <a:pt x="411" y="25"/>
                </a:lnTo>
                <a:lnTo>
                  <a:pt x="280" y="52"/>
                </a:lnTo>
                <a:lnTo>
                  <a:pt x="219" y="87"/>
                </a:lnTo>
                <a:lnTo>
                  <a:pt x="117" y="0"/>
                </a:lnTo>
                <a:close/>
              </a:path>
            </a:pathLst>
          </a:custGeom>
          <a:solidFill>
            <a:schemeClr val="accent3"/>
          </a:solidFill>
          <a:ln w="12700">
            <a:solidFill>
              <a:schemeClr val="bg1"/>
            </a:solidFill>
            <a:round/>
            <a:headEnd/>
            <a:tailEnd/>
          </a:ln>
        </p:spPr>
        <p:txBody>
          <a:bodyPr/>
          <a:lstStyle/>
          <a:p>
            <a:pPr>
              <a:defRPr/>
            </a:pPr>
            <a:endParaRPr lang="nl-NL"/>
          </a:p>
        </p:txBody>
      </p:sp>
      <p:sp>
        <p:nvSpPr>
          <p:cNvPr id="141" name="Freeform 142"/>
          <p:cNvSpPr>
            <a:spLocks noChangeAspect="1"/>
          </p:cNvSpPr>
          <p:nvPr/>
        </p:nvSpPr>
        <p:spPr bwMode="auto">
          <a:xfrm>
            <a:off x="4429613" y="4506345"/>
            <a:ext cx="440106" cy="377692"/>
          </a:xfrm>
          <a:custGeom>
            <a:avLst/>
            <a:gdLst>
              <a:gd name="T0" fmla="*/ 146 w 509"/>
              <a:gd name="T1" fmla="*/ 32 h 403"/>
              <a:gd name="T2" fmla="*/ 46 w 509"/>
              <a:gd name="T3" fmla="*/ 46 h 403"/>
              <a:gd name="T4" fmla="*/ 76 w 509"/>
              <a:gd name="T5" fmla="*/ 94 h 403"/>
              <a:gd name="T6" fmla="*/ 0 w 509"/>
              <a:gd name="T7" fmla="*/ 129 h 403"/>
              <a:gd name="T8" fmla="*/ 0 w 509"/>
              <a:gd name="T9" fmla="*/ 155 h 403"/>
              <a:gd name="T10" fmla="*/ 67 w 509"/>
              <a:gd name="T11" fmla="*/ 231 h 403"/>
              <a:gd name="T12" fmla="*/ 34 w 509"/>
              <a:gd name="T13" fmla="*/ 283 h 403"/>
              <a:gd name="T14" fmla="*/ 130 w 509"/>
              <a:gd name="T15" fmla="*/ 350 h 403"/>
              <a:gd name="T16" fmla="*/ 173 w 509"/>
              <a:gd name="T17" fmla="*/ 340 h 403"/>
              <a:gd name="T18" fmla="*/ 178 w 509"/>
              <a:gd name="T19" fmla="*/ 388 h 403"/>
              <a:gd name="T20" fmla="*/ 240 w 509"/>
              <a:gd name="T21" fmla="*/ 403 h 403"/>
              <a:gd name="T22" fmla="*/ 276 w 509"/>
              <a:gd name="T23" fmla="*/ 366 h 403"/>
              <a:gd name="T24" fmla="*/ 325 w 509"/>
              <a:gd name="T25" fmla="*/ 394 h 403"/>
              <a:gd name="T26" fmla="*/ 390 w 509"/>
              <a:gd name="T27" fmla="*/ 383 h 403"/>
              <a:gd name="T28" fmla="*/ 425 w 509"/>
              <a:gd name="T29" fmla="*/ 319 h 403"/>
              <a:gd name="T30" fmla="*/ 389 w 509"/>
              <a:gd name="T31" fmla="*/ 304 h 403"/>
              <a:gd name="T32" fmla="*/ 413 w 509"/>
              <a:gd name="T33" fmla="*/ 274 h 403"/>
              <a:gd name="T34" fmla="*/ 460 w 509"/>
              <a:gd name="T35" fmla="*/ 287 h 403"/>
              <a:gd name="T36" fmla="*/ 509 w 509"/>
              <a:gd name="T37" fmla="*/ 249 h 403"/>
              <a:gd name="T38" fmla="*/ 488 w 509"/>
              <a:gd name="T39" fmla="*/ 220 h 403"/>
              <a:gd name="T40" fmla="*/ 421 w 509"/>
              <a:gd name="T41" fmla="*/ 214 h 403"/>
              <a:gd name="T42" fmla="*/ 366 w 509"/>
              <a:gd name="T43" fmla="*/ 175 h 403"/>
              <a:gd name="T44" fmla="*/ 311 w 509"/>
              <a:gd name="T45" fmla="*/ 56 h 403"/>
              <a:gd name="T46" fmla="*/ 212 w 509"/>
              <a:gd name="T47" fmla="*/ 0 h 403"/>
              <a:gd name="T48" fmla="*/ 146 w 509"/>
              <a:gd name="T49" fmla="*/ 32 h 403"/>
              <a:gd name="T50" fmla="*/ 146 w 509"/>
              <a:gd name="T51" fmla="*/ 32 h 40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09"/>
              <a:gd name="T79" fmla="*/ 0 h 403"/>
              <a:gd name="T80" fmla="*/ 509 w 509"/>
              <a:gd name="T81" fmla="*/ 403 h 40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09" h="403">
                <a:moveTo>
                  <a:pt x="146" y="32"/>
                </a:moveTo>
                <a:lnTo>
                  <a:pt x="46" y="46"/>
                </a:lnTo>
                <a:lnTo>
                  <a:pt x="76" y="94"/>
                </a:lnTo>
                <a:lnTo>
                  <a:pt x="0" y="129"/>
                </a:lnTo>
                <a:lnTo>
                  <a:pt x="0" y="155"/>
                </a:lnTo>
                <a:lnTo>
                  <a:pt x="67" y="231"/>
                </a:lnTo>
                <a:lnTo>
                  <a:pt x="34" y="283"/>
                </a:lnTo>
                <a:lnTo>
                  <a:pt x="130" y="350"/>
                </a:lnTo>
                <a:lnTo>
                  <a:pt x="173" y="340"/>
                </a:lnTo>
                <a:lnTo>
                  <a:pt x="178" y="388"/>
                </a:lnTo>
                <a:lnTo>
                  <a:pt x="240" y="403"/>
                </a:lnTo>
                <a:lnTo>
                  <a:pt x="276" y="366"/>
                </a:lnTo>
                <a:lnTo>
                  <a:pt x="325" y="394"/>
                </a:lnTo>
                <a:lnTo>
                  <a:pt x="390" y="383"/>
                </a:lnTo>
                <a:lnTo>
                  <a:pt x="425" y="319"/>
                </a:lnTo>
                <a:lnTo>
                  <a:pt x="389" y="304"/>
                </a:lnTo>
                <a:lnTo>
                  <a:pt x="413" y="274"/>
                </a:lnTo>
                <a:lnTo>
                  <a:pt x="460" y="287"/>
                </a:lnTo>
                <a:lnTo>
                  <a:pt x="509" y="249"/>
                </a:lnTo>
                <a:lnTo>
                  <a:pt x="488" y="220"/>
                </a:lnTo>
                <a:lnTo>
                  <a:pt x="421" y="214"/>
                </a:lnTo>
                <a:lnTo>
                  <a:pt x="366" y="175"/>
                </a:lnTo>
                <a:lnTo>
                  <a:pt x="311" y="56"/>
                </a:lnTo>
                <a:lnTo>
                  <a:pt x="212" y="0"/>
                </a:lnTo>
                <a:lnTo>
                  <a:pt x="146" y="32"/>
                </a:lnTo>
                <a:close/>
              </a:path>
            </a:pathLst>
          </a:custGeom>
          <a:solidFill>
            <a:schemeClr val="accent3"/>
          </a:solidFill>
          <a:ln w="12700">
            <a:solidFill>
              <a:schemeClr val="bg1"/>
            </a:solidFill>
            <a:round/>
            <a:headEnd/>
            <a:tailEnd/>
          </a:ln>
        </p:spPr>
        <p:txBody>
          <a:bodyPr/>
          <a:lstStyle/>
          <a:p>
            <a:pPr>
              <a:defRPr/>
            </a:pPr>
            <a:endParaRPr lang="nl-NL"/>
          </a:p>
        </p:txBody>
      </p:sp>
      <p:sp>
        <p:nvSpPr>
          <p:cNvPr id="142" name="Freeform 143"/>
          <p:cNvSpPr>
            <a:spLocks noChangeAspect="1"/>
          </p:cNvSpPr>
          <p:nvPr/>
        </p:nvSpPr>
        <p:spPr bwMode="auto">
          <a:xfrm>
            <a:off x="4527989" y="4179137"/>
            <a:ext cx="488431" cy="564668"/>
          </a:xfrm>
          <a:custGeom>
            <a:avLst/>
            <a:gdLst>
              <a:gd name="T0" fmla="*/ 320 w 565"/>
              <a:gd name="T1" fmla="*/ 0 h 604"/>
              <a:gd name="T2" fmla="*/ 220 w 565"/>
              <a:gd name="T3" fmla="*/ 139 h 604"/>
              <a:gd name="T4" fmla="*/ 156 w 565"/>
              <a:gd name="T5" fmla="*/ 127 h 604"/>
              <a:gd name="T6" fmla="*/ 0 w 565"/>
              <a:gd name="T7" fmla="*/ 229 h 604"/>
              <a:gd name="T8" fmla="*/ 27 w 565"/>
              <a:gd name="T9" fmla="*/ 268 h 604"/>
              <a:gd name="T10" fmla="*/ 12 w 565"/>
              <a:gd name="T11" fmla="*/ 294 h 604"/>
              <a:gd name="T12" fmla="*/ 33 w 565"/>
              <a:gd name="T13" fmla="*/ 317 h 604"/>
              <a:gd name="T14" fmla="*/ 27 w 565"/>
              <a:gd name="T15" fmla="*/ 384 h 604"/>
              <a:gd name="T16" fmla="*/ 100 w 565"/>
              <a:gd name="T17" fmla="*/ 350 h 604"/>
              <a:gd name="T18" fmla="*/ 205 w 565"/>
              <a:gd name="T19" fmla="*/ 413 h 604"/>
              <a:gd name="T20" fmla="*/ 252 w 565"/>
              <a:gd name="T21" fmla="*/ 533 h 604"/>
              <a:gd name="T22" fmla="*/ 305 w 565"/>
              <a:gd name="T23" fmla="*/ 571 h 604"/>
              <a:gd name="T24" fmla="*/ 375 w 565"/>
              <a:gd name="T25" fmla="*/ 574 h 604"/>
              <a:gd name="T26" fmla="*/ 395 w 565"/>
              <a:gd name="T27" fmla="*/ 604 h 604"/>
              <a:gd name="T28" fmla="*/ 442 w 565"/>
              <a:gd name="T29" fmla="*/ 595 h 604"/>
              <a:gd name="T30" fmla="*/ 442 w 565"/>
              <a:gd name="T31" fmla="*/ 533 h 604"/>
              <a:gd name="T32" fmla="*/ 503 w 565"/>
              <a:gd name="T33" fmla="*/ 533 h 604"/>
              <a:gd name="T34" fmla="*/ 503 w 565"/>
              <a:gd name="T35" fmla="*/ 500 h 604"/>
              <a:gd name="T36" fmla="*/ 564 w 565"/>
              <a:gd name="T37" fmla="*/ 489 h 604"/>
              <a:gd name="T38" fmla="*/ 565 w 565"/>
              <a:gd name="T39" fmla="*/ 439 h 604"/>
              <a:gd name="T40" fmla="*/ 504 w 565"/>
              <a:gd name="T41" fmla="*/ 420 h 604"/>
              <a:gd name="T42" fmla="*/ 535 w 565"/>
              <a:gd name="T43" fmla="*/ 350 h 604"/>
              <a:gd name="T44" fmla="*/ 492 w 565"/>
              <a:gd name="T45" fmla="*/ 363 h 604"/>
              <a:gd name="T46" fmla="*/ 448 w 565"/>
              <a:gd name="T47" fmla="*/ 322 h 604"/>
              <a:gd name="T48" fmla="*/ 454 w 565"/>
              <a:gd name="T49" fmla="*/ 206 h 604"/>
              <a:gd name="T50" fmla="*/ 410 w 565"/>
              <a:gd name="T51" fmla="*/ 136 h 604"/>
              <a:gd name="T52" fmla="*/ 352 w 565"/>
              <a:gd name="T53" fmla="*/ 21 h 604"/>
              <a:gd name="T54" fmla="*/ 320 w 565"/>
              <a:gd name="T55" fmla="*/ 0 h 604"/>
              <a:gd name="T56" fmla="*/ 320 w 565"/>
              <a:gd name="T57" fmla="*/ 0 h 60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65"/>
              <a:gd name="T88" fmla="*/ 0 h 604"/>
              <a:gd name="T89" fmla="*/ 565 w 565"/>
              <a:gd name="T90" fmla="*/ 604 h 60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65" h="604">
                <a:moveTo>
                  <a:pt x="320" y="0"/>
                </a:moveTo>
                <a:lnTo>
                  <a:pt x="220" y="139"/>
                </a:lnTo>
                <a:lnTo>
                  <a:pt x="156" y="127"/>
                </a:lnTo>
                <a:lnTo>
                  <a:pt x="0" y="229"/>
                </a:lnTo>
                <a:lnTo>
                  <a:pt x="27" y="268"/>
                </a:lnTo>
                <a:lnTo>
                  <a:pt x="12" y="294"/>
                </a:lnTo>
                <a:lnTo>
                  <a:pt x="33" y="317"/>
                </a:lnTo>
                <a:lnTo>
                  <a:pt x="27" y="384"/>
                </a:lnTo>
                <a:lnTo>
                  <a:pt x="100" y="350"/>
                </a:lnTo>
                <a:lnTo>
                  <a:pt x="205" y="413"/>
                </a:lnTo>
                <a:lnTo>
                  <a:pt x="252" y="533"/>
                </a:lnTo>
                <a:lnTo>
                  <a:pt x="305" y="571"/>
                </a:lnTo>
                <a:lnTo>
                  <a:pt x="375" y="574"/>
                </a:lnTo>
                <a:lnTo>
                  <a:pt x="395" y="604"/>
                </a:lnTo>
                <a:lnTo>
                  <a:pt x="442" y="595"/>
                </a:lnTo>
                <a:lnTo>
                  <a:pt x="442" y="533"/>
                </a:lnTo>
                <a:lnTo>
                  <a:pt x="503" y="533"/>
                </a:lnTo>
                <a:lnTo>
                  <a:pt x="503" y="500"/>
                </a:lnTo>
                <a:lnTo>
                  <a:pt x="564" y="489"/>
                </a:lnTo>
                <a:lnTo>
                  <a:pt x="565" y="439"/>
                </a:lnTo>
                <a:lnTo>
                  <a:pt x="504" y="420"/>
                </a:lnTo>
                <a:lnTo>
                  <a:pt x="535" y="350"/>
                </a:lnTo>
                <a:lnTo>
                  <a:pt x="492" y="363"/>
                </a:lnTo>
                <a:lnTo>
                  <a:pt x="448" y="322"/>
                </a:lnTo>
                <a:lnTo>
                  <a:pt x="454" y="206"/>
                </a:lnTo>
                <a:lnTo>
                  <a:pt x="410" y="136"/>
                </a:lnTo>
                <a:lnTo>
                  <a:pt x="352" y="21"/>
                </a:lnTo>
                <a:lnTo>
                  <a:pt x="320" y="0"/>
                </a:lnTo>
                <a:close/>
              </a:path>
            </a:pathLst>
          </a:custGeom>
          <a:solidFill>
            <a:schemeClr val="accent3"/>
          </a:solidFill>
          <a:ln w="12700">
            <a:solidFill>
              <a:schemeClr val="bg1"/>
            </a:solidFill>
            <a:round/>
            <a:headEnd/>
            <a:tailEnd/>
          </a:ln>
        </p:spPr>
        <p:txBody>
          <a:bodyPr/>
          <a:lstStyle/>
          <a:p>
            <a:pPr>
              <a:defRPr/>
            </a:pPr>
            <a:endParaRPr lang="nl-NL"/>
          </a:p>
        </p:txBody>
      </p:sp>
      <p:sp>
        <p:nvSpPr>
          <p:cNvPr id="143" name="Freeform 144"/>
          <p:cNvSpPr>
            <a:spLocks noChangeAspect="1"/>
          </p:cNvSpPr>
          <p:nvPr/>
        </p:nvSpPr>
        <p:spPr bwMode="auto">
          <a:xfrm>
            <a:off x="4964644" y="4384811"/>
            <a:ext cx="479802" cy="445003"/>
          </a:xfrm>
          <a:custGeom>
            <a:avLst/>
            <a:gdLst>
              <a:gd name="T0" fmla="*/ 259 w 558"/>
              <a:gd name="T1" fmla="*/ 0 h 475"/>
              <a:gd name="T2" fmla="*/ 236 w 558"/>
              <a:gd name="T3" fmla="*/ 20 h 475"/>
              <a:gd name="T4" fmla="*/ 265 w 558"/>
              <a:gd name="T5" fmla="*/ 133 h 475"/>
              <a:gd name="T6" fmla="*/ 234 w 558"/>
              <a:gd name="T7" fmla="*/ 157 h 475"/>
              <a:gd name="T8" fmla="*/ 143 w 558"/>
              <a:gd name="T9" fmla="*/ 142 h 475"/>
              <a:gd name="T10" fmla="*/ 120 w 558"/>
              <a:gd name="T11" fmla="*/ 169 h 475"/>
              <a:gd name="T12" fmla="*/ 31 w 558"/>
              <a:gd name="T13" fmla="*/ 129 h 475"/>
              <a:gd name="T14" fmla="*/ 0 w 558"/>
              <a:gd name="T15" fmla="*/ 205 h 475"/>
              <a:gd name="T16" fmla="*/ 61 w 558"/>
              <a:gd name="T17" fmla="*/ 220 h 475"/>
              <a:gd name="T18" fmla="*/ 61 w 558"/>
              <a:gd name="T19" fmla="*/ 268 h 475"/>
              <a:gd name="T20" fmla="*/ 92 w 558"/>
              <a:gd name="T21" fmla="*/ 298 h 475"/>
              <a:gd name="T22" fmla="*/ 183 w 558"/>
              <a:gd name="T23" fmla="*/ 239 h 475"/>
              <a:gd name="T24" fmla="*/ 206 w 558"/>
              <a:gd name="T25" fmla="*/ 286 h 475"/>
              <a:gd name="T26" fmla="*/ 248 w 558"/>
              <a:gd name="T27" fmla="*/ 286 h 475"/>
              <a:gd name="T28" fmla="*/ 336 w 558"/>
              <a:gd name="T29" fmla="*/ 395 h 475"/>
              <a:gd name="T30" fmla="*/ 303 w 558"/>
              <a:gd name="T31" fmla="*/ 421 h 475"/>
              <a:gd name="T32" fmla="*/ 324 w 558"/>
              <a:gd name="T33" fmla="*/ 475 h 475"/>
              <a:gd name="T34" fmla="*/ 356 w 558"/>
              <a:gd name="T35" fmla="*/ 475 h 475"/>
              <a:gd name="T36" fmla="*/ 435 w 558"/>
              <a:gd name="T37" fmla="*/ 426 h 475"/>
              <a:gd name="T38" fmla="*/ 430 w 558"/>
              <a:gd name="T39" fmla="*/ 368 h 475"/>
              <a:gd name="T40" fmla="*/ 485 w 558"/>
              <a:gd name="T41" fmla="*/ 368 h 475"/>
              <a:gd name="T42" fmla="*/ 485 w 558"/>
              <a:gd name="T43" fmla="*/ 277 h 475"/>
              <a:gd name="T44" fmla="*/ 558 w 558"/>
              <a:gd name="T45" fmla="*/ 218 h 475"/>
              <a:gd name="T46" fmla="*/ 485 w 558"/>
              <a:gd name="T47" fmla="*/ 81 h 475"/>
              <a:gd name="T48" fmla="*/ 438 w 558"/>
              <a:gd name="T49" fmla="*/ 52 h 475"/>
              <a:gd name="T50" fmla="*/ 414 w 558"/>
              <a:gd name="T51" fmla="*/ 85 h 475"/>
              <a:gd name="T52" fmla="*/ 383 w 558"/>
              <a:gd name="T53" fmla="*/ 57 h 475"/>
              <a:gd name="T54" fmla="*/ 364 w 558"/>
              <a:gd name="T55" fmla="*/ 63 h 475"/>
              <a:gd name="T56" fmla="*/ 307 w 558"/>
              <a:gd name="T57" fmla="*/ 51 h 475"/>
              <a:gd name="T58" fmla="*/ 283 w 558"/>
              <a:gd name="T59" fmla="*/ 61 h 475"/>
              <a:gd name="T60" fmla="*/ 259 w 558"/>
              <a:gd name="T61" fmla="*/ 0 h 475"/>
              <a:gd name="T62" fmla="*/ 259 w 558"/>
              <a:gd name="T63" fmla="*/ 0 h 47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58"/>
              <a:gd name="T97" fmla="*/ 0 h 475"/>
              <a:gd name="T98" fmla="*/ 558 w 558"/>
              <a:gd name="T99" fmla="*/ 475 h 47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58" h="475">
                <a:moveTo>
                  <a:pt x="259" y="0"/>
                </a:moveTo>
                <a:lnTo>
                  <a:pt x="236" y="20"/>
                </a:lnTo>
                <a:lnTo>
                  <a:pt x="265" y="133"/>
                </a:lnTo>
                <a:lnTo>
                  <a:pt x="234" y="157"/>
                </a:lnTo>
                <a:lnTo>
                  <a:pt x="143" y="142"/>
                </a:lnTo>
                <a:lnTo>
                  <a:pt x="120" y="169"/>
                </a:lnTo>
                <a:lnTo>
                  <a:pt x="31" y="129"/>
                </a:lnTo>
                <a:lnTo>
                  <a:pt x="0" y="205"/>
                </a:lnTo>
                <a:lnTo>
                  <a:pt x="61" y="220"/>
                </a:lnTo>
                <a:lnTo>
                  <a:pt x="61" y="268"/>
                </a:lnTo>
                <a:lnTo>
                  <a:pt x="92" y="298"/>
                </a:lnTo>
                <a:lnTo>
                  <a:pt x="183" y="239"/>
                </a:lnTo>
                <a:lnTo>
                  <a:pt x="206" y="286"/>
                </a:lnTo>
                <a:lnTo>
                  <a:pt x="248" y="286"/>
                </a:lnTo>
                <a:lnTo>
                  <a:pt x="336" y="395"/>
                </a:lnTo>
                <a:lnTo>
                  <a:pt x="303" y="421"/>
                </a:lnTo>
                <a:lnTo>
                  <a:pt x="324" y="475"/>
                </a:lnTo>
                <a:lnTo>
                  <a:pt x="356" y="475"/>
                </a:lnTo>
                <a:lnTo>
                  <a:pt x="435" y="426"/>
                </a:lnTo>
                <a:lnTo>
                  <a:pt x="430" y="368"/>
                </a:lnTo>
                <a:lnTo>
                  <a:pt x="485" y="368"/>
                </a:lnTo>
                <a:lnTo>
                  <a:pt x="485" y="277"/>
                </a:lnTo>
                <a:lnTo>
                  <a:pt x="558" y="218"/>
                </a:lnTo>
                <a:lnTo>
                  <a:pt x="485" y="81"/>
                </a:lnTo>
                <a:lnTo>
                  <a:pt x="438" y="52"/>
                </a:lnTo>
                <a:lnTo>
                  <a:pt x="414" y="85"/>
                </a:lnTo>
                <a:lnTo>
                  <a:pt x="383" y="57"/>
                </a:lnTo>
                <a:lnTo>
                  <a:pt x="364" y="63"/>
                </a:lnTo>
                <a:lnTo>
                  <a:pt x="307" y="51"/>
                </a:lnTo>
                <a:lnTo>
                  <a:pt x="283" y="61"/>
                </a:lnTo>
                <a:lnTo>
                  <a:pt x="259" y="0"/>
                </a:lnTo>
                <a:close/>
              </a:path>
            </a:pathLst>
          </a:custGeom>
          <a:solidFill>
            <a:schemeClr val="accent3"/>
          </a:solidFill>
          <a:ln w="12700">
            <a:solidFill>
              <a:schemeClr val="bg1"/>
            </a:solidFill>
            <a:round/>
            <a:headEnd/>
            <a:tailEnd/>
          </a:ln>
        </p:spPr>
        <p:txBody>
          <a:bodyPr/>
          <a:lstStyle/>
          <a:p>
            <a:pPr>
              <a:defRPr/>
            </a:pPr>
            <a:endParaRPr lang="nl-NL"/>
          </a:p>
        </p:txBody>
      </p:sp>
      <p:sp>
        <p:nvSpPr>
          <p:cNvPr id="144" name="Freeform 145"/>
          <p:cNvSpPr>
            <a:spLocks noChangeAspect="1"/>
          </p:cNvSpPr>
          <p:nvPr/>
        </p:nvSpPr>
        <p:spPr bwMode="auto">
          <a:xfrm>
            <a:off x="4766164" y="4609182"/>
            <a:ext cx="486705" cy="347776"/>
          </a:xfrm>
          <a:custGeom>
            <a:avLst/>
            <a:gdLst>
              <a:gd name="T0" fmla="*/ 565 w 565"/>
              <a:gd name="T1" fmla="*/ 156 h 372"/>
              <a:gd name="T2" fmla="*/ 479 w 565"/>
              <a:gd name="T3" fmla="*/ 47 h 372"/>
              <a:gd name="T4" fmla="*/ 433 w 565"/>
              <a:gd name="T5" fmla="*/ 47 h 372"/>
              <a:gd name="T6" fmla="*/ 416 w 565"/>
              <a:gd name="T7" fmla="*/ 0 h 372"/>
              <a:gd name="T8" fmla="*/ 321 w 565"/>
              <a:gd name="T9" fmla="*/ 59 h 372"/>
              <a:gd name="T10" fmla="*/ 290 w 565"/>
              <a:gd name="T11" fmla="*/ 29 h 372"/>
              <a:gd name="T12" fmla="*/ 228 w 565"/>
              <a:gd name="T13" fmla="*/ 40 h 372"/>
              <a:gd name="T14" fmla="*/ 226 w 565"/>
              <a:gd name="T15" fmla="*/ 73 h 372"/>
              <a:gd name="T16" fmla="*/ 167 w 565"/>
              <a:gd name="T17" fmla="*/ 73 h 372"/>
              <a:gd name="T18" fmla="*/ 167 w 565"/>
              <a:gd name="T19" fmla="*/ 135 h 372"/>
              <a:gd name="T20" fmla="*/ 115 w 565"/>
              <a:gd name="T21" fmla="*/ 144 h 372"/>
              <a:gd name="T22" fmla="*/ 68 w 565"/>
              <a:gd name="T23" fmla="*/ 176 h 372"/>
              <a:gd name="T24" fmla="*/ 24 w 565"/>
              <a:gd name="T25" fmla="*/ 164 h 372"/>
              <a:gd name="T26" fmla="*/ 0 w 565"/>
              <a:gd name="T27" fmla="*/ 196 h 372"/>
              <a:gd name="T28" fmla="*/ 33 w 565"/>
              <a:gd name="T29" fmla="*/ 214 h 372"/>
              <a:gd name="T30" fmla="*/ 1 w 565"/>
              <a:gd name="T31" fmla="*/ 278 h 372"/>
              <a:gd name="T32" fmla="*/ 32 w 565"/>
              <a:gd name="T33" fmla="*/ 302 h 372"/>
              <a:gd name="T34" fmla="*/ 32 w 565"/>
              <a:gd name="T35" fmla="*/ 348 h 372"/>
              <a:gd name="T36" fmla="*/ 103 w 565"/>
              <a:gd name="T37" fmla="*/ 295 h 372"/>
              <a:gd name="T38" fmla="*/ 135 w 565"/>
              <a:gd name="T39" fmla="*/ 336 h 372"/>
              <a:gd name="T40" fmla="*/ 252 w 565"/>
              <a:gd name="T41" fmla="*/ 372 h 372"/>
              <a:gd name="T42" fmla="*/ 293 w 565"/>
              <a:gd name="T43" fmla="*/ 331 h 372"/>
              <a:gd name="T44" fmla="*/ 349 w 565"/>
              <a:gd name="T45" fmla="*/ 348 h 372"/>
              <a:gd name="T46" fmla="*/ 565 w 565"/>
              <a:gd name="T47" fmla="*/ 156 h 372"/>
              <a:gd name="T48" fmla="*/ 565 w 565"/>
              <a:gd name="T49" fmla="*/ 156 h 37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65"/>
              <a:gd name="T76" fmla="*/ 0 h 372"/>
              <a:gd name="T77" fmla="*/ 565 w 565"/>
              <a:gd name="T78" fmla="*/ 372 h 37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65" h="372">
                <a:moveTo>
                  <a:pt x="565" y="156"/>
                </a:moveTo>
                <a:lnTo>
                  <a:pt x="479" y="47"/>
                </a:lnTo>
                <a:lnTo>
                  <a:pt x="433" y="47"/>
                </a:lnTo>
                <a:lnTo>
                  <a:pt x="416" y="0"/>
                </a:lnTo>
                <a:lnTo>
                  <a:pt x="321" y="59"/>
                </a:lnTo>
                <a:lnTo>
                  <a:pt x="290" y="29"/>
                </a:lnTo>
                <a:lnTo>
                  <a:pt x="228" y="40"/>
                </a:lnTo>
                <a:lnTo>
                  <a:pt x="226" y="73"/>
                </a:lnTo>
                <a:lnTo>
                  <a:pt x="167" y="73"/>
                </a:lnTo>
                <a:lnTo>
                  <a:pt x="167" y="135"/>
                </a:lnTo>
                <a:lnTo>
                  <a:pt x="115" y="144"/>
                </a:lnTo>
                <a:lnTo>
                  <a:pt x="68" y="176"/>
                </a:lnTo>
                <a:lnTo>
                  <a:pt x="24" y="164"/>
                </a:lnTo>
                <a:lnTo>
                  <a:pt x="0" y="196"/>
                </a:lnTo>
                <a:lnTo>
                  <a:pt x="33" y="214"/>
                </a:lnTo>
                <a:lnTo>
                  <a:pt x="1" y="278"/>
                </a:lnTo>
                <a:lnTo>
                  <a:pt x="32" y="302"/>
                </a:lnTo>
                <a:lnTo>
                  <a:pt x="32" y="348"/>
                </a:lnTo>
                <a:lnTo>
                  <a:pt x="103" y="295"/>
                </a:lnTo>
                <a:lnTo>
                  <a:pt x="135" y="336"/>
                </a:lnTo>
                <a:lnTo>
                  <a:pt x="252" y="372"/>
                </a:lnTo>
                <a:lnTo>
                  <a:pt x="293" y="331"/>
                </a:lnTo>
                <a:lnTo>
                  <a:pt x="349" y="348"/>
                </a:lnTo>
                <a:lnTo>
                  <a:pt x="565" y="156"/>
                </a:lnTo>
                <a:close/>
              </a:path>
            </a:pathLst>
          </a:custGeom>
          <a:solidFill>
            <a:schemeClr val="accent3"/>
          </a:solidFill>
          <a:ln w="12700">
            <a:solidFill>
              <a:schemeClr val="bg1"/>
            </a:solidFill>
            <a:round/>
            <a:headEnd/>
            <a:tailEnd/>
          </a:ln>
        </p:spPr>
        <p:txBody>
          <a:bodyPr/>
          <a:lstStyle/>
          <a:p>
            <a:pPr>
              <a:defRPr/>
            </a:pPr>
            <a:endParaRPr lang="nl-NL"/>
          </a:p>
        </p:txBody>
      </p:sp>
      <p:sp>
        <p:nvSpPr>
          <p:cNvPr id="145" name="Freeform 146"/>
          <p:cNvSpPr>
            <a:spLocks noChangeAspect="1"/>
          </p:cNvSpPr>
          <p:nvPr/>
        </p:nvSpPr>
        <p:spPr bwMode="auto">
          <a:xfrm>
            <a:off x="3858338" y="4783070"/>
            <a:ext cx="303759" cy="407608"/>
          </a:xfrm>
          <a:custGeom>
            <a:avLst/>
            <a:gdLst>
              <a:gd name="T0" fmla="*/ 116 w 352"/>
              <a:gd name="T1" fmla="*/ 0 h 435"/>
              <a:gd name="T2" fmla="*/ 59 w 352"/>
              <a:gd name="T3" fmla="*/ 8 h 435"/>
              <a:gd name="T4" fmla="*/ 127 w 352"/>
              <a:gd name="T5" fmla="*/ 125 h 435"/>
              <a:gd name="T6" fmla="*/ 116 w 352"/>
              <a:gd name="T7" fmla="*/ 177 h 435"/>
              <a:gd name="T8" fmla="*/ 6 w 352"/>
              <a:gd name="T9" fmla="*/ 259 h 435"/>
              <a:gd name="T10" fmla="*/ 0 w 352"/>
              <a:gd name="T11" fmla="*/ 365 h 435"/>
              <a:gd name="T12" fmla="*/ 49 w 352"/>
              <a:gd name="T13" fmla="*/ 365 h 435"/>
              <a:gd name="T14" fmla="*/ 95 w 352"/>
              <a:gd name="T15" fmla="*/ 435 h 435"/>
              <a:gd name="T16" fmla="*/ 162 w 352"/>
              <a:gd name="T17" fmla="*/ 412 h 435"/>
              <a:gd name="T18" fmla="*/ 288 w 352"/>
              <a:gd name="T19" fmla="*/ 432 h 435"/>
              <a:gd name="T20" fmla="*/ 262 w 352"/>
              <a:gd name="T21" fmla="*/ 385 h 435"/>
              <a:gd name="T22" fmla="*/ 352 w 352"/>
              <a:gd name="T23" fmla="*/ 306 h 435"/>
              <a:gd name="T24" fmla="*/ 302 w 352"/>
              <a:gd name="T25" fmla="*/ 286 h 435"/>
              <a:gd name="T26" fmla="*/ 294 w 352"/>
              <a:gd name="T27" fmla="*/ 225 h 435"/>
              <a:gd name="T28" fmla="*/ 346 w 352"/>
              <a:gd name="T29" fmla="*/ 137 h 435"/>
              <a:gd name="T30" fmla="*/ 185 w 352"/>
              <a:gd name="T31" fmla="*/ 113 h 435"/>
              <a:gd name="T32" fmla="*/ 116 w 352"/>
              <a:gd name="T33" fmla="*/ 0 h 435"/>
              <a:gd name="T34" fmla="*/ 116 w 352"/>
              <a:gd name="T35" fmla="*/ 0 h 4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2"/>
              <a:gd name="T55" fmla="*/ 0 h 435"/>
              <a:gd name="T56" fmla="*/ 352 w 352"/>
              <a:gd name="T57" fmla="*/ 435 h 4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2" h="435">
                <a:moveTo>
                  <a:pt x="116" y="0"/>
                </a:moveTo>
                <a:lnTo>
                  <a:pt x="59" y="8"/>
                </a:lnTo>
                <a:lnTo>
                  <a:pt x="127" y="125"/>
                </a:lnTo>
                <a:lnTo>
                  <a:pt x="116" y="177"/>
                </a:lnTo>
                <a:lnTo>
                  <a:pt x="6" y="259"/>
                </a:lnTo>
                <a:lnTo>
                  <a:pt x="0" y="365"/>
                </a:lnTo>
                <a:lnTo>
                  <a:pt x="49" y="365"/>
                </a:lnTo>
                <a:lnTo>
                  <a:pt x="95" y="435"/>
                </a:lnTo>
                <a:lnTo>
                  <a:pt x="162" y="412"/>
                </a:lnTo>
                <a:lnTo>
                  <a:pt x="288" y="432"/>
                </a:lnTo>
                <a:lnTo>
                  <a:pt x="262" y="385"/>
                </a:lnTo>
                <a:lnTo>
                  <a:pt x="352" y="306"/>
                </a:lnTo>
                <a:lnTo>
                  <a:pt x="302" y="286"/>
                </a:lnTo>
                <a:lnTo>
                  <a:pt x="294" y="225"/>
                </a:lnTo>
                <a:lnTo>
                  <a:pt x="346" y="137"/>
                </a:lnTo>
                <a:lnTo>
                  <a:pt x="185" y="113"/>
                </a:lnTo>
                <a:lnTo>
                  <a:pt x="116" y="0"/>
                </a:lnTo>
                <a:close/>
              </a:path>
            </a:pathLst>
          </a:custGeom>
          <a:solidFill>
            <a:schemeClr val="accent3"/>
          </a:solidFill>
          <a:ln w="12700">
            <a:solidFill>
              <a:schemeClr val="bg1"/>
            </a:solidFill>
            <a:round/>
            <a:headEnd/>
            <a:tailEnd/>
          </a:ln>
        </p:spPr>
        <p:txBody>
          <a:bodyPr/>
          <a:lstStyle/>
          <a:p>
            <a:pPr>
              <a:defRPr/>
            </a:pPr>
            <a:endParaRPr lang="nl-NL"/>
          </a:p>
        </p:txBody>
      </p:sp>
      <p:sp>
        <p:nvSpPr>
          <p:cNvPr id="146" name="Freeform 147"/>
          <p:cNvSpPr>
            <a:spLocks noChangeAspect="1"/>
          </p:cNvSpPr>
          <p:nvPr/>
        </p:nvSpPr>
        <p:spPr bwMode="auto">
          <a:xfrm>
            <a:off x="4080980" y="4648447"/>
            <a:ext cx="503965" cy="553450"/>
          </a:xfrm>
          <a:custGeom>
            <a:avLst/>
            <a:gdLst>
              <a:gd name="T0" fmla="*/ 405 w 583"/>
              <a:gd name="T1" fmla="*/ 0 h 591"/>
              <a:gd name="T2" fmla="*/ 346 w 583"/>
              <a:gd name="T3" fmla="*/ 21 h 591"/>
              <a:gd name="T4" fmla="*/ 343 w 583"/>
              <a:gd name="T5" fmla="*/ 46 h 591"/>
              <a:gd name="T6" fmla="*/ 291 w 583"/>
              <a:gd name="T7" fmla="*/ 64 h 591"/>
              <a:gd name="T8" fmla="*/ 275 w 583"/>
              <a:gd name="T9" fmla="*/ 46 h 591"/>
              <a:gd name="T10" fmla="*/ 196 w 583"/>
              <a:gd name="T11" fmla="*/ 59 h 591"/>
              <a:gd name="T12" fmla="*/ 200 w 583"/>
              <a:gd name="T13" fmla="*/ 72 h 591"/>
              <a:gd name="T14" fmla="*/ 291 w 583"/>
              <a:gd name="T15" fmla="*/ 155 h 591"/>
              <a:gd name="T16" fmla="*/ 231 w 583"/>
              <a:gd name="T17" fmla="*/ 188 h 591"/>
              <a:gd name="T18" fmla="*/ 211 w 583"/>
              <a:gd name="T19" fmla="*/ 249 h 591"/>
              <a:gd name="T20" fmla="*/ 124 w 583"/>
              <a:gd name="T21" fmla="*/ 237 h 591"/>
              <a:gd name="T22" fmla="*/ 84 w 583"/>
              <a:gd name="T23" fmla="*/ 281 h 591"/>
              <a:gd name="T24" fmla="*/ 36 w 583"/>
              <a:gd name="T25" fmla="*/ 369 h 591"/>
              <a:gd name="T26" fmla="*/ 44 w 583"/>
              <a:gd name="T27" fmla="*/ 430 h 591"/>
              <a:gd name="T28" fmla="*/ 86 w 583"/>
              <a:gd name="T29" fmla="*/ 454 h 591"/>
              <a:gd name="T30" fmla="*/ 0 w 583"/>
              <a:gd name="T31" fmla="*/ 530 h 591"/>
              <a:gd name="T32" fmla="*/ 30 w 583"/>
              <a:gd name="T33" fmla="*/ 579 h 591"/>
              <a:gd name="T34" fmla="*/ 99 w 583"/>
              <a:gd name="T35" fmla="*/ 591 h 591"/>
              <a:gd name="T36" fmla="*/ 141 w 583"/>
              <a:gd name="T37" fmla="*/ 511 h 591"/>
              <a:gd name="T38" fmla="*/ 156 w 583"/>
              <a:gd name="T39" fmla="*/ 485 h 591"/>
              <a:gd name="T40" fmla="*/ 215 w 583"/>
              <a:gd name="T41" fmla="*/ 435 h 591"/>
              <a:gd name="T42" fmla="*/ 215 w 583"/>
              <a:gd name="T43" fmla="*/ 389 h 591"/>
              <a:gd name="T44" fmla="*/ 261 w 583"/>
              <a:gd name="T45" fmla="*/ 365 h 591"/>
              <a:gd name="T46" fmla="*/ 293 w 583"/>
              <a:gd name="T47" fmla="*/ 398 h 591"/>
              <a:gd name="T48" fmla="*/ 325 w 583"/>
              <a:gd name="T49" fmla="*/ 386 h 591"/>
              <a:gd name="T50" fmla="*/ 293 w 583"/>
              <a:gd name="T51" fmla="*/ 363 h 591"/>
              <a:gd name="T52" fmla="*/ 346 w 583"/>
              <a:gd name="T53" fmla="*/ 344 h 591"/>
              <a:gd name="T54" fmla="*/ 371 w 583"/>
              <a:gd name="T55" fmla="*/ 301 h 591"/>
              <a:gd name="T56" fmla="*/ 378 w 583"/>
              <a:gd name="T57" fmla="*/ 327 h 591"/>
              <a:gd name="T58" fmla="*/ 409 w 583"/>
              <a:gd name="T59" fmla="*/ 304 h 591"/>
              <a:gd name="T60" fmla="*/ 459 w 583"/>
              <a:gd name="T61" fmla="*/ 319 h 591"/>
              <a:gd name="T62" fmla="*/ 518 w 583"/>
              <a:gd name="T63" fmla="*/ 245 h 591"/>
              <a:gd name="T64" fmla="*/ 583 w 583"/>
              <a:gd name="T65" fmla="*/ 237 h 591"/>
              <a:gd name="T66" fmla="*/ 579 w 583"/>
              <a:gd name="T67" fmla="*/ 182 h 591"/>
              <a:gd name="T68" fmla="*/ 534 w 583"/>
              <a:gd name="T69" fmla="*/ 196 h 591"/>
              <a:gd name="T70" fmla="*/ 439 w 583"/>
              <a:gd name="T71" fmla="*/ 131 h 591"/>
              <a:gd name="T72" fmla="*/ 472 w 583"/>
              <a:gd name="T73" fmla="*/ 78 h 591"/>
              <a:gd name="T74" fmla="*/ 405 w 583"/>
              <a:gd name="T75" fmla="*/ 0 h 591"/>
              <a:gd name="T76" fmla="*/ 405 w 583"/>
              <a:gd name="T77" fmla="*/ 0 h 59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83"/>
              <a:gd name="T118" fmla="*/ 0 h 591"/>
              <a:gd name="T119" fmla="*/ 583 w 583"/>
              <a:gd name="T120" fmla="*/ 591 h 59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83" h="591">
                <a:moveTo>
                  <a:pt x="405" y="0"/>
                </a:moveTo>
                <a:lnTo>
                  <a:pt x="346" y="21"/>
                </a:lnTo>
                <a:lnTo>
                  <a:pt x="343" y="46"/>
                </a:lnTo>
                <a:lnTo>
                  <a:pt x="291" y="64"/>
                </a:lnTo>
                <a:lnTo>
                  <a:pt x="275" y="46"/>
                </a:lnTo>
                <a:lnTo>
                  <a:pt x="196" y="59"/>
                </a:lnTo>
                <a:lnTo>
                  <a:pt x="200" y="72"/>
                </a:lnTo>
                <a:lnTo>
                  <a:pt x="291" y="155"/>
                </a:lnTo>
                <a:lnTo>
                  <a:pt x="231" y="188"/>
                </a:lnTo>
                <a:lnTo>
                  <a:pt x="211" y="249"/>
                </a:lnTo>
                <a:lnTo>
                  <a:pt x="124" y="237"/>
                </a:lnTo>
                <a:lnTo>
                  <a:pt x="84" y="281"/>
                </a:lnTo>
                <a:lnTo>
                  <a:pt x="36" y="369"/>
                </a:lnTo>
                <a:lnTo>
                  <a:pt x="44" y="430"/>
                </a:lnTo>
                <a:lnTo>
                  <a:pt x="86" y="454"/>
                </a:lnTo>
                <a:lnTo>
                  <a:pt x="0" y="530"/>
                </a:lnTo>
                <a:lnTo>
                  <a:pt x="30" y="579"/>
                </a:lnTo>
                <a:lnTo>
                  <a:pt x="99" y="591"/>
                </a:lnTo>
                <a:lnTo>
                  <a:pt x="141" y="511"/>
                </a:lnTo>
                <a:lnTo>
                  <a:pt x="156" y="485"/>
                </a:lnTo>
                <a:lnTo>
                  <a:pt x="215" y="435"/>
                </a:lnTo>
                <a:lnTo>
                  <a:pt x="215" y="389"/>
                </a:lnTo>
                <a:lnTo>
                  <a:pt x="261" y="365"/>
                </a:lnTo>
                <a:lnTo>
                  <a:pt x="293" y="398"/>
                </a:lnTo>
                <a:lnTo>
                  <a:pt x="325" y="386"/>
                </a:lnTo>
                <a:lnTo>
                  <a:pt x="293" y="363"/>
                </a:lnTo>
                <a:lnTo>
                  <a:pt x="346" y="344"/>
                </a:lnTo>
                <a:lnTo>
                  <a:pt x="371" y="301"/>
                </a:lnTo>
                <a:lnTo>
                  <a:pt x="378" y="327"/>
                </a:lnTo>
                <a:lnTo>
                  <a:pt x="409" y="304"/>
                </a:lnTo>
                <a:lnTo>
                  <a:pt x="459" y="319"/>
                </a:lnTo>
                <a:lnTo>
                  <a:pt x="518" y="245"/>
                </a:lnTo>
                <a:lnTo>
                  <a:pt x="583" y="237"/>
                </a:lnTo>
                <a:lnTo>
                  <a:pt x="579" y="182"/>
                </a:lnTo>
                <a:lnTo>
                  <a:pt x="534" y="196"/>
                </a:lnTo>
                <a:lnTo>
                  <a:pt x="439" y="131"/>
                </a:lnTo>
                <a:lnTo>
                  <a:pt x="472" y="78"/>
                </a:lnTo>
                <a:lnTo>
                  <a:pt x="405" y="0"/>
                </a:lnTo>
                <a:close/>
              </a:path>
            </a:pathLst>
          </a:custGeom>
          <a:solidFill>
            <a:schemeClr val="accent3"/>
          </a:solidFill>
          <a:ln w="12700">
            <a:solidFill>
              <a:schemeClr val="bg1"/>
            </a:solidFill>
            <a:round/>
            <a:headEnd/>
            <a:tailEnd/>
          </a:ln>
        </p:spPr>
        <p:txBody>
          <a:bodyPr/>
          <a:lstStyle/>
          <a:p>
            <a:pPr>
              <a:defRPr/>
            </a:pPr>
            <a:endParaRPr lang="nl-NL"/>
          </a:p>
        </p:txBody>
      </p:sp>
      <p:sp>
        <p:nvSpPr>
          <p:cNvPr id="147" name="Freeform 148"/>
          <p:cNvSpPr>
            <a:spLocks noChangeAspect="1"/>
          </p:cNvSpPr>
          <p:nvPr/>
        </p:nvSpPr>
        <p:spPr bwMode="auto">
          <a:xfrm>
            <a:off x="4201793" y="4930781"/>
            <a:ext cx="438380" cy="325339"/>
          </a:xfrm>
          <a:custGeom>
            <a:avLst/>
            <a:gdLst>
              <a:gd name="T0" fmla="*/ 331 w 507"/>
              <a:gd name="T1" fmla="*/ 3 h 347"/>
              <a:gd name="T2" fmla="*/ 318 w 507"/>
              <a:gd name="T3" fmla="*/ 18 h 347"/>
              <a:gd name="T4" fmla="*/ 268 w 507"/>
              <a:gd name="T5" fmla="*/ 0 h 347"/>
              <a:gd name="T6" fmla="*/ 237 w 507"/>
              <a:gd name="T7" fmla="*/ 26 h 347"/>
              <a:gd name="T8" fmla="*/ 230 w 507"/>
              <a:gd name="T9" fmla="*/ 0 h 347"/>
              <a:gd name="T10" fmla="*/ 205 w 507"/>
              <a:gd name="T11" fmla="*/ 41 h 347"/>
              <a:gd name="T12" fmla="*/ 149 w 507"/>
              <a:gd name="T13" fmla="*/ 64 h 347"/>
              <a:gd name="T14" fmla="*/ 184 w 507"/>
              <a:gd name="T15" fmla="*/ 85 h 347"/>
              <a:gd name="T16" fmla="*/ 152 w 507"/>
              <a:gd name="T17" fmla="*/ 97 h 347"/>
              <a:gd name="T18" fmla="*/ 120 w 507"/>
              <a:gd name="T19" fmla="*/ 64 h 347"/>
              <a:gd name="T20" fmla="*/ 74 w 507"/>
              <a:gd name="T21" fmla="*/ 88 h 347"/>
              <a:gd name="T22" fmla="*/ 74 w 507"/>
              <a:gd name="T23" fmla="*/ 134 h 347"/>
              <a:gd name="T24" fmla="*/ 9 w 507"/>
              <a:gd name="T25" fmla="*/ 184 h 347"/>
              <a:gd name="T26" fmla="*/ 0 w 507"/>
              <a:gd name="T27" fmla="*/ 210 h 347"/>
              <a:gd name="T28" fmla="*/ 172 w 507"/>
              <a:gd name="T29" fmla="*/ 271 h 347"/>
              <a:gd name="T30" fmla="*/ 240 w 507"/>
              <a:gd name="T31" fmla="*/ 278 h 347"/>
              <a:gd name="T32" fmla="*/ 304 w 507"/>
              <a:gd name="T33" fmla="*/ 347 h 347"/>
              <a:gd name="T34" fmla="*/ 354 w 507"/>
              <a:gd name="T35" fmla="*/ 342 h 347"/>
              <a:gd name="T36" fmla="*/ 507 w 507"/>
              <a:gd name="T37" fmla="*/ 284 h 347"/>
              <a:gd name="T38" fmla="*/ 410 w 507"/>
              <a:gd name="T39" fmla="*/ 267 h 347"/>
              <a:gd name="T40" fmla="*/ 382 w 507"/>
              <a:gd name="T41" fmla="*/ 220 h 347"/>
              <a:gd name="T42" fmla="*/ 432 w 507"/>
              <a:gd name="T43" fmla="*/ 184 h 347"/>
              <a:gd name="T44" fmla="*/ 404 w 507"/>
              <a:gd name="T45" fmla="*/ 157 h 347"/>
              <a:gd name="T46" fmla="*/ 449 w 507"/>
              <a:gd name="T47" fmla="*/ 97 h 347"/>
              <a:gd name="T48" fmla="*/ 354 w 507"/>
              <a:gd name="T49" fmla="*/ 53 h 347"/>
              <a:gd name="T50" fmla="*/ 340 w 507"/>
              <a:gd name="T51" fmla="*/ 20 h 347"/>
              <a:gd name="T52" fmla="*/ 331 w 507"/>
              <a:gd name="T53" fmla="*/ 3 h 347"/>
              <a:gd name="T54" fmla="*/ 331 w 507"/>
              <a:gd name="T55" fmla="*/ 3 h 34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07"/>
              <a:gd name="T85" fmla="*/ 0 h 347"/>
              <a:gd name="T86" fmla="*/ 507 w 507"/>
              <a:gd name="T87" fmla="*/ 347 h 34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07" h="347">
                <a:moveTo>
                  <a:pt x="331" y="3"/>
                </a:moveTo>
                <a:lnTo>
                  <a:pt x="318" y="18"/>
                </a:lnTo>
                <a:lnTo>
                  <a:pt x="268" y="0"/>
                </a:lnTo>
                <a:lnTo>
                  <a:pt x="237" y="26"/>
                </a:lnTo>
                <a:lnTo>
                  <a:pt x="230" y="0"/>
                </a:lnTo>
                <a:lnTo>
                  <a:pt x="205" y="41"/>
                </a:lnTo>
                <a:lnTo>
                  <a:pt x="149" y="64"/>
                </a:lnTo>
                <a:lnTo>
                  <a:pt x="184" y="85"/>
                </a:lnTo>
                <a:lnTo>
                  <a:pt x="152" y="97"/>
                </a:lnTo>
                <a:lnTo>
                  <a:pt x="120" y="64"/>
                </a:lnTo>
                <a:lnTo>
                  <a:pt x="74" y="88"/>
                </a:lnTo>
                <a:lnTo>
                  <a:pt x="74" y="134"/>
                </a:lnTo>
                <a:lnTo>
                  <a:pt x="9" y="184"/>
                </a:lnTo>
                <a:lnTo>
                  <a:pt x="0" y="210"/>
                </a:lnTo>
                <a:lnTo>
                  <a:pt x="172" y="271"/>
                </a:lnTo>
                <a:lnTo>
                  <a:pt x="240" y="278"/>
                </a:lnTo>
                <a:lnTo>
                  <a:pt x="304" y="347"/>
                </a:lnTo>
                <a:lnTo>
                  <a:pt x="354" y="342"/>
                </a:lnTo>
                <a:lnTo>
                  <a:pt x="507" y="284"/>
                </a:lnTo>
                <a:lnTo>
                  <a:pt x="410" y="267"/>
                </a:lnTo>
                <a:lnTo>
                  <a:pt x="382" y="220"/>
                </a:lnTo>
                <a:lnTo>
                  <a:pt x="432" y="184"/>
                </a:lnTo>
                <a:lnTo>
                  <a:pt x="404" y="157"/>
                </a:lnTo>
                <a:lnTo>
                  <a:pt x="449" y="97"/>
                </a:lnTo>
                <a:lnTo>
                  <a:pt x="354" y="53"/>
                </a:lnTo>
                <a:lnTo>
                  <a:pt x="340" y="20"/>
                </a:lnTo>
                <a:lnTo>
                  <a:pt x="331" y="3"/>
                </a:lnTo>
                <a:close/>
              </a:path>
            </a:pathLst>
          </a:custGeom>
          <a:solidFill>
            <a:schemeClr val="accent3"/>
          </a:solidFill>
          <a:ln w="12700">
            <a:solidFill>
              <a:schemeClr val="bg1"/>
            </a:solidFill>
            <a:round/>
            <a:headEnd/>
            <a:tailEnd/>
          </a:ln>
        </p:spPr>
        <p:txBody>
          <a:bodyPr/>
          <a:lstStyle/>
          <a:p>
            <a:pPr>
              <a:defRPr/>
            </a:pPr>
            <a:endParaRPr lang="nl-NL"/>
          </a:p>
        </p:txBody>
      </p:sp>
      <p:sp>
        <p:nvSpPr>
          <p:cNvPr id="148" name="Freeform 149"/>
          <p:cNvSpPr>
            <a:spLocks noChangeAspect="1"/>
          </p:cNvSpPr>
          <p:nvPr/>
        </p:nvSpPr>
        <p:spPr bwMode="auto">
          <a:xfrm>
            <a:off x="4488294" y="4848512"/>
            <a:ext cx="495335" cy="353385"/>
          </a:xfrm>
          <a:custGeom>
            <a:avLst/>
            <a:gdLst>
              <a:gd name="T0" fmla="*/ 573 w 573"/>
              <a:gd name="T1" fmla="*/ 115 h 378"/>
              <a:gd name="T2" fmla="*/ 457 w 573"/>
              <a:gd name="T3" fmla="*/ 79 h 378"/>
              <a:gd name="T4" fmla="*/ 425 w 573"/>
              <a:gd name="T5" fmla="*/ 36 h 378"/>
              <a:gd name="T6" fmla="*/ 354 w 573"/>
              <a:gd name="T7" fmla="*/ 91 h 378"/>
              <a:gd name="T8" fmla="*/ 354 w 573"/>
              <a:gd name="T9" fmla="*/ 44 h 378"/>
              <a:gd name="T10" fmla="*/ 326 w 573"/>
              <a:gd name="T11" fmla="*/ 17 h 378"/>
              <a:gd name="T12" fmla="*/ 258 w 573"/>
              <a:gd name="T13" fmla="*/ 24 h 378"/>
              <a:gd name="T14" fmla="*/ 209 w 573"/>
              <a:gd name="T15" fmla="*/ 0 h 378"/>
              <a:gd name="T16" fmla="*/ 176 w 573"/>
              <a:gd name="T17" fmla="*/ 36 h 378"/>
              <a:gd name="T18" fmla="*/ 115 w 573"/>
              <a:gd name="T19" fmla="*/ 21 h 378"/>
              <a:gd name="T20" fmla="*/ 42 w 573"/>
              <a:gd name="T21" fmla="*/ 32 h 378"/>
              <a:gd name="T22" fmla="*/ 0 w 573"/>
              <a:gd name="T23" fmla="*/ 91 h 378"/>
              <a:gd name="T24" fmla="*/ 23 w 573"/>
              <a:gd name="T25" fmla="*/ 144 h 378"/>
              <a:gd name="T26" fmla="*/ 117 w 573"/>
              <a:gd name="T27" fmla="*/ 190 h 378"/>
              <a:gd name="T28" fmla="*/ 69 w 573"/>
              <a:gd name="T29" fmla="*/ 243 h 378"/>
              <a:gd name="T30" fmla="*/ 103 w 573"/>
              <a:gd name="T31" fmla="*/ 272 h 378"/>
              <a:gd name="T32" fmla="*/ 51 w 573"/>
              <a:gd name="T33" fmla="*/ 308 h 378"/>
              <a:gd name="T34" fmla="*/ 80 w 573"/>
              <a:gd name="T35" fmla="*/ 355 h 378"/>
              <a:gd name="T36" fmla="*/ 179 w 573"/>
              <a:gd name="T37" fmla="*/ 378 h 378"/>
              <a:gd name="T38" fmla="*/ 244 w 573"/>
              <a:gd name="T39" fmla="*/ 349 h 378"/>
              <a:gd name="T40" fmla="*/ 223 w 573"/>
              <a:gd name="T41" fmla="*/ 308 h 378"/>
              <a:gd name="T42" fmla="*/ 255 w 573"/>
              <a:gd name="T43" fmla="*/ 296 h 378"/>
              <a:gd name="T44" fmla="*/ 372 w 573"/>
              <a:gd name="T45" fmla="*/ 298 h 378"/>
              <a:gd name="T46" fmla="*/ 413 w 573"/>
              <a:gd name="T47" fmla="*/ 257 h 378"/>
              <a:gd name="T48" fmla="*/ 470 w 573"/>
              <a:gd name="T49" fmla="*/ 281 h 378"/>
              <a:gd name="T50" fmla="*/ 466 w 573"/>
              <a:gd name="T51" fmla="*/ 156 h 378"/>
              <a:gd name="T52" fmla="*/ 501 w 573"/>
              <a:gd name="T53" fmla="*/ 138 h 378"/>
              <a:gd name="T54" fmla="*/ 529 w 573"/>
              <a:gd name="T55" fmla="*/ 169 h 378"/>
              <a:gd name="T56" fmla="*/ 573 w 573"/>
              <a:gd name="T57" fmla="*/ 115 h 378"/>
              <a:gd name="T58" fmla="*/ 573 w 573"/>
              <a:gd name="T59" fmla="*/ 115 h 37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73"/>
              <a:gd name="T91" fmla="*/ 0 h 378"/>
              <a:gd name="T92" fmla="*/ 573 w 573"/>
              <a:gd name="T93" fmla="*/ 378 h 37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73" h="378">
                <a:moveTo>
                  <a:pt x="573" y="115"/>
                </a:moveTo>
                <a:lnTo>
                  <a:pt x="457" y="79"/>
                </a:lnTo>
                <a:lnTo>
                  <a:pt x="425" y="36"/>
                </a:lnTo>
                <a:lnTo>
                  <a:pt x="354" y="91"/>
                </a:lnTo>
                <a:lnTo>
                  <a:pt x="354" y="44"/>
                </a:lnTo>
                <a:lnTo>
                  <a:pt x="326" y="17"/>
                </a:lnTo>
                <a:lnTo>
                  <a:pt x="258" y="24"/>
                </a:lnTo>
                <a:lnTo>
                  <a:pt x="209" y="0"/>
                </a:lnTo>
                <a:lnTo>
                  <a:pt x="176" y="36"/>
                </a:lnTo>
                <a:lnTo>
                  <a:pt x="115" y="21"/>
                </a:lnTo>
                <a:lnTo>
                  <a:pt x="42" y="32"/>
                </a:lnTo>
                <a:lnTo>
                  <a:pt x="0" y="91"/>
                </a:lnTo>
                <a:lnTo>
                  <a:pt x="23" y="144"/>
                </a:lnTo>
                <a:lnTo>
                  <a:pt x="117" y="190"/>
                </a:lnTo>
                <a:lnTo>
                  <a:pt x="69" y="243"/>
                </a:lnTo>
                <a:lnTo>
                  <a:pt x="103" y="272"/>
                </a:lnTo>
                <a:lnTo>
                  <a:pt x="51" y="308"/>
                </a:lnTo>
                <a:lnTo>
                  <a:pt x="80" y="355"/>
                </a:lnTo>
                <a:lnTo>
                  <a:pt x="179" y="378"/>
                </a:lnTo>
                <a:lnTo>
                  <a:pt x="244" y="349"/>
                </a:lnTo>
                <a:lnTo>
                  <a:pt x="223" y="308"/>
                </a:lnTo>
                <a:lnTo>
                  <a:pt x="255" y="296"/>
                </a:lnTo>
                <a:lnTo>
                  <a:pt x="372" y="298"/>
                </a:lnTo>
                <a:lnTo>
                  <a:pt x="413" y="257"/>
                </a:lnTo>
                <a:lnTo>
                  <a:pt x="470" y="281"/>
                </a:lnTo>
                <a:lnTo>
                  <a:pt x="466" y="156"/>
                </a:lnTo>
                <a:lnTo>
                  <a:pt x="501" y="138"/>
                </a:lnTo>
                <a:lnTo>
                  <a:pt x="529" y="169"/>
                </a:lnTo>
                <a:lnTo>
                  <a:pt x="573" y="115"/>
                </a:lnTo>
                <a:close/>
              </a:path>
            </a:pathLst>
          </a:custGeom>
          <a:solidFill>
            <a:schemeClr val="accent3"/>
          </a:solidFill>
          <a:ln w="12700">
            <a:solidFill>
              <a:schemeClr val="bg1"/>
            </a:solidFill>
            <a:round/>
            <a:headEnd/>
            <a:tailEnd/>
          </a:ln>
        </p:spPr>
        <p:txBody>
          <a:bodyPr/>
          <a:lstStyle/>
          <a:p>
            <a:pPr>
              <a:defRPr/>
            </a:pPr>
            <a:endParaRPr lang="nl-NL"/>
          </a:p>
        </p:txBody>
      </p:sp>
      <p:sp>
        <p:nvSpPr>
          <p:cNvPr id="149" name="Freeform 150"/>
          <p:cNvSpPr>
            <a:spLocks noChangeAspect="1"/>
          </p:cNvSpPr>
          <p:nvPr/>
        </p:nvSpPr>
        <p:spPr bwMode="auto">
          <a:xfrm>
            <a:off x="4505553" y="5087841"/>
            <a:ext cx="445284" cy="269246"/>
          </a:xfrm>
          <a:custGeom>
            <a:avLst/>
            <a:gdLst>
              <a:gd name="T0" fmla="*/ 451 w 517"/>
              <a:gd name="T1" fmla="*/ 24 h 288"/>
              <a:gd name="T2" fmla="*/ 394 w 517"/>
              <a:gd name="T3" fmla="*/ 0 h 288"/>
              <a:gd name="T4" fmla="*/ 353 w 517"/>
              <a:gd name="T5" fmla="*/ 41 h 288"/>
              <a:gd name="T6" fmla="*/ 234 w 517"/>
              <a:gd name="T7" fmla="*/ 39 h 288"/>
              <a:gd name="T8" fmla="*/ 204 w 517"/>
              <a:gd name="T9" fmla="*/ 51 h 288"/>
              <a:gd name="T10" fmla="*/ 222 w 517"/>
              <a:gd name="T11" fmla="*/ 91 h 288"/>
              <a:gd name="T12" fmla="*/ 160 w 517"/>
              <a:gd name="T13" fmla="*/ 121 h 288"/>
              <a:gd name="T14" fmla="*/ 145 w 517"/>
              <a:gd name="T15" fmla="*/ 119 h 288"/>
              <a:gd name="T16" fmla="*/ 0 w 517"/>
              <a:gd name="T17" fmla="*/ 176 h 288"/>
              <a:gd name="T18" fmla="*/ 32 w 517"/>
              <a:gd name="T19" fmla="*/ 228 h 288"/>
              <a:gd name="T20" fmla="*/ 157 w 517"/>
              <a:gd name="T21" fmla="*/ 234 h 288"/>
              <a:gd name="T22" fmla="*/ 245 w 517"/>
              <a:gd name="T23" fmla="*/ 288 h 288"/>
              <a:gd name="T24" fmla="*/ 356 w 517"/>
              <a:gd name="T25" fmla="*/ 241 h 288"/>
              <a:gd name="T26" fmla="*/ 517 w 517"/>
              <a:gd name="T27" fmla="*/ 229 h 288"/>
              <a:gd name="T28" fmla="*/ 505 w 517"/>
              <a:gd name="T29" fmla="*/ 176 h 288"/>
              <a:gd name="T30" fmla="*/ 456 w 517"/>
              <a:gd name="T31" fmla="*/ 115 h 288"/>
              <a:gd name="T32" fmla="*/ 451 w 517"/>
              <a:gd name="T33" fmla="*/ 24 h 288"/>
              <a:gd name="T34" fmla="*/ 451 w 517"/>
              <a:gd name="T35" fmla="*/ 24 h 2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17"/>
              <a:gd name="T55" fmla="*/ 0 h 288"/>
              <a:gd name="T56" fmla="*/ 517 w 517"/>
              <a:gd name="T57" fmla="*/ 288 h 28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17" h="288">
                <a:moveTo>
                  <a:pt x="451" y="24"/>
                </a:moveTo>
                <a:lnTo>
                  <a:pt x="394" y="0"/>
                </a:lnTo>
                <a:lnTo>
                  <a:pt x="353" y="41"/>
                </a:lnTo>
                <a:lnTo>
                  <a:pt x="234" y="39"/>
                </a:lnTo>
                <a:lnTo>
                  <a:pt x="204" y="51"/>
                </a:lnTo>
                <a:lnTo>
                  <a:pt x="222" y="91"/>
                </a:lnTo>
                <a:lnTo>
                  <a:pt x="160" y="121"/>
                </a:lnTo>
                <a:lnTo>
                  <a:pt x="145" y="119"/>
                </a:lnTo>
                <a:lnTo>
                  <a:pt x="0" y="176"/>
                </a:lnTo>
                <a:lnTo>
                  <a:pt x="32" y="228"/>
                </a:lnTo>
                <a:lnTo>
                  <a:pt x="157" y="234"/>
                </a:lnTo>
                <a:lnTo>
                  <a:pt x="245" y="288"/>
                </a:lnTo>
                <a:lnTo>
                  <a:pt x="356" y="241"/>
                </a:lnTo>
                <a:lnTo>
                  <a:pt x="517" y="229"/>
                </a:lnTo>
                <a:lnTo>
                  <a:pt x="505" y="176"/>
                </a:lnTo>
                <a:lnTo>
                  <a:pt x="456" y="115"/>
                </a:lnTo>
                <a:lnTo>
                  <a:pt x="451" y="24"/>
                </a:lnTo>
                <a:close/>
              </a:path>
            </a:pathLst>
          </a:custGeom>
          <a:solidFill>
            <a:schemeClr val="accent3"/>
          </a:solidFill>
          <a:ln w="12700">
            <a:solidFill>
              <a:schemeClr val="bg1"/>
            </a:solidFill>
            <a:round/>
            <a:headEnd/>
            <a:tailEnd/>
          </a:ln>
        </p:spPr>
        <p:txBody>
          <a:bodyPr/>
          <a:lstStyle/>
          <a:p>
            <a:pPr>
              <a:defRPr/>
            </a:pPr>
            <a:endParaRPr lang="nl-NL"/>
          </a:p>
        </p:txBody>
      </p:sp>
      <p:sp>
        <p:nvSpPr>
          <p:cNvPr id="150" name="Freeform 151"/>
          <p:cNvSpPr>
            <a:spLocks noChangeAspect="1"/>
          </p:cNvSpPr>
          <p:nvPr/>
        </p:nvSpPr>
        <p:spPr bwMode="auto">
          <a:xfrm>
            <a:off x="5644651" y="3691129"/>
            <a:ext cx="483254" cy="379562"/>
          </a:xfrm>
          <a:custGeom>
            <a:avLst/>
            <a:gdLst>
              <a:gd name="T0" fmla="*/ 310 w 560"/>
              <a:gd name="T1" fmla="*/ 0 h 404"/>
              <a:gd name="T2" fmla="*/ 250 w 560"/>
              <a:gd name="T3" fmla="*/ 103 h 404"/>
              <a:gd name="T4" fmla="*/ 129 w 560"/>
              <a:gd name="T5" fmla="*/ 80 h 404"/>
              <a:gd name="T6" fmla="*/ 65 w 560"/>
              <a:gd name="T7" fmla="*/ 0 h 404"/>
              <a:gd name="T8" fmla="*/ 59 w 560"/>
              <a:gd name="T9" fmla="*/ 91 h 404"/>
              <a:gd name="T10" fmla="*/ 0 w 560"/>
              <a:gd name="T11" fmla="*/ 150 h 404"/>
              <a:gd name="T12" fmla="*/ 89 w 560"/>
              <a:gd name="T13" fmla="*/ 258 h 404"/>
              <a:gd name="T14" fmla="*/ 127 w 560"/>
              <a:gd name="T15" fmla="*/ 212 h 404"/>
              <a:gd name="T16" fmla="*/ 202 w 560"/>
              <a:gd name="T17" fmla="*/ 244 h 404"/>
              <a:gd name="T18" fmla="*/ 190 w 560"/>
              <a:gd name="T19" fmla="*/ 317 h 404"/>
              <a:gd name="T20" fmla="*/ 244 w 560"/>
              <a:gd name="T21" fmla="*/ 385 h 404"/>
              <a:gd name="T22" fmla="*/ 311 w 560"/>
              <a:gd name="T23" fmla="*/ 404 h 404"/>
              <a:gd name="T24" fmla="*/ 381 w 560"/>
              <a:gd name="T25" fmla="*/ 380 h 404"/>
              <a:gd name="T26" fmla="*/ 551 w 560"/>
              <a:gd name="T27" fmla="*/ 284 h 404"/>
              <a:gd name="T28" fmla="*/ 560 w 560"/>
              <a:gd name="T29" fmla="*/ 229 h 404"/>
              <a:gd name="T30" fmla="*/ 414 w 560"/>
              <a:gd name="T31" fmla="*/ 86 h 404"/>
              <a:gd name="T32" fmla="*/ 372 w 560"/>
              <a:gd name="T33" fmla="*/ 91 h 404"/>
              <a:gd name="T34" fmla="*/ 310 w 560"/>
              <a:gd name="T35" fmla="*/ 0 h 404"/>
              <a:gd name="T36" fmla="*/ 310 w 560"/>
              <a:gd name="T37" fmla="*/ 0 h 40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60"/>
              <a:gd name="T58" fmla="*/ 0 h 404"/>
              <a:gd name="T59" fmla="*/ 560 w 560"/>
              <a:gd name="T60" fmla="*/ 404 h 40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60" h="404">
                <a:moveTo>
                  <a:pt x="310" y="0"/>
                </a:moveTo>
                <a:lnTo>
                  <a:pt x="250" y="103"/>
                </a:lnTo>
                <a:lnTo>
                  <a:pt x="129" y="80"/>
                </a:lnTo>
                <a:lnTo>
                  <a:pt x="65" y="0"/>
                </a:lnTo>
                <a:lnTo>
                  <a:pt x="59" y="91"/>
                </a:lnTo>
                <a:lnTo>
                  <a:pt x="0" y="150"/>
                </a:lnTo>
                <a:lnTo>
                  <a:pt x="89" y="258"/>
                </a:lnTo>
                <a:lnTo>
                  <a:pt x="127" y="212"/>
                </a:lnTo>
                <a:lnTo>
                  <a:pt x="202" y="244"/>
                </a:lnTo>
                <a:lnTo>
                  <a:pt x="190" y="317"/>
                </a:lnTo>
                <a:lnTo>
                  <a:pt x="244" y="385"/>
                </a:lnTo>
                <a:lnTo>
                  <a:pt x="311" y="404"/>
                </a:lnTo>
                <a:lnTo>
                  <a:pt x="381" y="380"/>
                </a:lnTo>
                <a:lnTo>
                  <a:pt x="551" y="284"/>
                </a:lnTo>
                <a:lnTo>
                  <a:pt x="560" y="229"/>
                </a:lnTo>
                <a:lnTo>
                  <a:pt x="414" y="86"/>
                </a:lnTo>
                <a:lnTo>
                  <a:pt x="372" y="91"/>
                </a:lnTo>
                <a:lnTo>
                  <a:pt x="310" y="0"/>
                </a:lnTo>
                <a:close/>
              </a:path>
            </a:pathLst>
          </a:custGeom>
          <a:solidFill>
            <a:schemeClr val="accent3"/>
          </a:solidFill>
          <a:ln w="12700">
            <a:solidFill>
              <a:schemeClr val="bg1"/>
            </a:solidFill>
            <a:round/>
            <a:headEnd/>
            <a:tailEnd/>
          </a:ln>
        </p:spPr>
        <p:txBody>
          <a:bodyPr/>
          <a:lstStyle/>
          <a:p>
            <a:pPr>
              <a:defRPr/>
            </a:pPr>
            <a:endParaRPr lang="nl-NL"/>
          </a:p>
        </p:txBody>
      </p:sp>
      <p:sp>
        <p:nvSpPr>
          <p:cNvPr id="151" name="Freeform 152"/>
          <p:cNvSpPr>
            <a:spLocks noChangeAspect="1"/>
          </p:cNvSpPr>
          <p:nvPr/>
        </p:nvSpPr>
        <p:spPr bwMode="auto">
          <a:xfrm>
            <a:off x="5397846" y="3709826"/>
            <a:ext cx="483254" cy="545971"/>
          </a:xfrm>
          <a:custGeom>
            <a:avLst/>
            <a:gdLst>
              <a:gd name="T0" fmla="*/ 216 w 561"/>
              <a:gd name="T1" fmla="*/ 0 h 585"/>
              <a:gd name="T2" fmla="*/ 125 w 561"/>
              <a:gd name="T3" fmla="*/ 68 h 585"/>
              <a:gd name="T4" fmla="*/ 125 w 561"/>
              <a:gd name="T5" fmla="*/ 126 h 585"/>
              <a:gd name="T6" fmla="*/ 57 w 561"/>
              <a:gd name="T7" fmla="*/ 166 h 585"/>
              <a:gd name="T8" fmla="*/ 0 w 561"/>
              <a:gd name="T9" fmla="*/ 231 h 585"/>
              <a:gd name="T10" fmla="*/ 2 w 561"/>
              <a:gd name="T11" fmla="*/ 274 h 585"/>
              <a:gd name="T12" fmla="*/ 13 w 561"/>
              <a:gd name="T13" fmla="*/ 308 h 585"/>
              <a:gd name="T14" fmla="*/ 95 w 561"/>
              <a:gd name="T15" fmla="*/ 284 h 585"/>
              <a:gd name="T16" fmla="*/ 148 w 561"/>
              <a:gd name="T17" fmla="*/ 304 h 585"/>
              <a:gd name="T18" fmla="*/ 148 w 561"/>
              <a:gd name="T19" fmla="*/ 409 h 585"/>
              <a:gd name="T20" fmla="*/ 260 w 561"/>
              <a:gd name="T21" fmla="*/ 421 h 585"/>
              <a:gd name="T22" fmla="*/ 266 w 561"/>
              <a:gd name="T23" fmla="*/ 542 h 585"/>
              <a:gd name="T24" fmla="*/ 382 w 561"/>
              <a:gd name="T25" fmla="*/ 585 h 585"/>
              <a:gd name="T26" fmla="*/ 426 w 561"/>
              <a:gd name="T27" fmla="*/ 509 h 585"/>
              <a:gd name="T28" fmla="*/ 479 w 561"/>
              <a:gd name="T29" fmla="*/ 524 h 585"/>
              <a:gd name="T30" fmla="*/ 561 w 561"/>
              <a:gd name="T31" fmla="*/ 474 h 585"/>
              <a:gd name="T32" fmla="*/ 561 w 561"/>
              <a:gd name="T33" fmla="*/ 438 h 585"/>
              <a:gd name="T34" fmla="*/ 519 w 561"/>
              <a:gd name="T35" fmla="*/ 416 h 585"/>
              <a:gd name="T36" fmla="*/ 528 w 561"/>
              <a:gd name="T37" fmla="*/ 365 h 585"/>
              <a:gd name="T38" fmla="*/ 476 w 561"/>
              <a:gd name="T39" fmla="*/ 299 h 585"/>
              <a:gd name="T40" fmla="*/ 488 w 561"/>
              <a:gd name="T41" fmla="*/ 226 h 585"/>
              <a:gd name="T42" fmla="*/ 412 w 561"/>
              <a:gd name="T43" fmla="*/ 194 h 585"/>
              <a:gd name="T44" fmla="*/ 376 w 561"/>
              <a:gd name="T45" fmla="*/ 238 h 585"/>
              <a:gd name="T46" fmla="*/ 283 w 561"/>
              <a:gd name="T47" fmla="*/ 128 h 585"/>
              <a:gd name="T48" fmla="*/ 216 w 561"/>
              <a:gd name="T49" fmla="*/ 0 h 585"/>
              <a:gd name="T50" fmla="*/ 216 w 561"/>
              <a:gd name="T51" fmla="*/ 0 h 5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1"/>
              <a:gd name="T79" fmla="*/ 0 h 585"/>
              <a:gd name="T80" fmla="*/ 561 w 561"/>
              <a:gd name="T81" fmla="*/ 585 h 5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1" h="585">
                <a:moveTo>
                  <a:pt x="216" y="0"/>
                </a:moveTo>
                <a:lnTo>
                  <a:pt x="125" y="68"/>
                </a:lnTo>
                <a:lnTo>
                  <a:pt x="125" y="126"/>
                </a:lnTo>
                <a:lnTo>
                  <a:pt x="57" y="166"/>
                </a:lnTo>
                <a:lnTo>
                  <a:pt x="0" y="231"/>
                </a:lnTo>
                <a:lnTo>
                  <a:pt x="2" y="274"/>
                </a:lnTo>
                <a:lnTo>
                  <a:pt x="13" y="308"/>
                </a:lnTo>
                <a:lnTo>
                  <a:pt x="95" y="284"/>
                </a:lnTo>
                <a:lnTo>
                  <a:pt x="148" y="304"/>
                </a:lnTo>
                <a:lnTo>
                  <a:pt x="148" y="409"/>
                </a:lnTo>
                <a:lnTo>
                  <a:pt x="260" y="421"/>
                </a:lnTo>
                <a:lnTo>
                  <a:pt x="266" y="542"/>
                </a:lnTo>
                <a:lnTo>
                  <a:pt x="382" y="585"/>
                </a:lnTo>
                <a:lnTo>
                  <a:pt x="426" y="509"/>
                </a:lnTo>
                <a:lnTo>
                  <a:pt x="479" y="524"/>
                </a:lnTo>
                <a:lnTo>
                  <a:pt x="561" y="474"/>
                </a:lnTo>
                <a:lnTo>
                  <a:pt x="561" y="438"/>
                </a:lnTo>
                <a:lnTo>
                  <a:pt x="519" y="416"/>
                </a:lnTo>
                <a:lnTo>
                  <a:pt x="528" y="365"/>
                </a:lnTo>
                <a:lnTo>
                  <a:pt x="476" y="299"/>
                </a:lnTo>
                <a:lnTo>
                  <a:pt x="488" y="226"/>
                </a:lnTo>
                <a:lnTo>
                  <a:pt x="412" y="194"/>
                </a:lnTo>
                <a:lnTo>
                  <a:pt x="376" y="238"/>
                </a:lnTo>
                <a:lnTo>
                  <a:pt x="283" y="128"/>
                </a:lnTo>
                <a:lnTo>
                  <a:pt x="216" y="0"/>
                </a:lnTo>
                <a:close/>
              </a:path>
            </a:pathLst>
          </a:custGeom>
          <a:solidFill>
            <a:schemeClr val="accent3"/>
          </a:solidFill>
          <a:ln w="12700">
            <a:solidFill>
              <a:schemeClr val="bg1"/>
            </a:solidFill>
            <a:round/>
            <a:headEnd/>
            <a:tailEnd/>
          </a:ln>
        </p:spPr>
        <p:txBody>
          <a:bodyPr/>
          <a:lstStyle/>
          <a:p>
            <a:pPr>
              <a:defRPr/>
            </a:pPr>
            <a:endParaRPr lang="nl-NL"/>
          </a:p>
        </p:txBody>
      </p:sp>
      <p:sp>
        <p:nvSpPr>
          <p:cNvPr id="152" name="Freeform 153"/>
          <p:cNvSpPr>
            <a:spLocks noChangeAspect="1"/>
          </p:cNvSpPr>
          <p:nvPr/>
        </p:nvSpPr>
        <p:spPr bwMode="auto">
          <a:xfrm>
            <a:off x="5140686" y="3956635"/>
            <a:ext cx="315841" cy="506706"/>
          </a:xfrm>
          <a:custGeom>
            <a:avLst/>
            <a:gdLst>
              <a:gd name="T0" fmla="*/ 301 w 366"/>
              <a:gd name="T1" fmla="*/ 0 h 544"/>
              <a:gd name="T2" fmla="*/ 210 w 366"/>
              <a:gd name="T3" fmla="*/ 75 h 544"/>
              <a:gd name="T4" fmla="*/ 198 w 366"/>
              <a:gd name="T5" fmla="*/ 128 h 544"/>
              <a:gd name="T6" fmla="*/ 175 w 366"/>
              <a:gd name="T7" fmla="*/ 113 h 544"/>
              <a:gd name="T8" fmla="*/ 158 w 366"/>
              <a:gd name="T9" fmla="*/ 198 h 544"/>
              <a:gd name="T10" fmla="*/ 41 w 366"/>
              <a:gd name="T11" fmla="*/ 266 h 544"/>
              <a:gd name="T12" fmla="*/ 15 w 366"/>
              <a:gd name="T13" fmla="*/ 274 h 544"/>
              <a:gd name="T14" fmla="*/ 0 w 366"/>
              <a:gd name="T15" fmla="*/ 310 h 544"/>
              <a:gd name="T16" fmla="*/ 79 w 366"/>
              <a:gd name="T17" fmla="*/ 520 h 544"/>
              <a:gd name="T18" fmla="*/ 108 w 366"/>
              <a:gd name="T19" fmla="*/ 510 h 544"/>
              <a:gd name="T20" fmla="*/ 158 w 366"/>
              <a:gd name="T21" fmla="*/ 522 h 544"/>
              <a:gd name="T22" fmla="*/ 179 w 366"/>
              <a:gd name="T23" fmla="*/ 516 h 544"/>
              <a:gd name="T24" fmla="*/ 213 w 366"/>
              <a:gd name="T25" fmla="*/ 544 h 544"/>
              <a:gd name="T26" fmla="*/ 234 w 366"/>
              <a:gd name="T27" fmla="*/ 511 h 544"/>
              <a:gd name="T28" fmla="*/ 284 w 366"/>
              <a:gd name="T29" fmla="*/ 540 h 544"/>
              <a:gd name="T30" fmla="*/ 312 w 366"/>
              <a:gd name="T31" fmla="*/ 303 h 544"/>
              <a:gd name="T32" fmla="*/ 366 w 366"/>
              <a:gd name="T33" fmla="*/ 238 h 544"/>
              <a:gd name="T34" fmla="*/ 301 w 366"/>
              <a:gd name="T35" fmla="*/ 0 h 544"/>
              <a:gd name="T36" fmla="*/ 301 w 366"/>
              <a:gd name="T37" fmla="*/ 0 h 5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6"/>
              <a:gd name="T58" fmla="*/ 0 h 544"/>
              <a:gd name="T59" fmla="*/ 366 w 366"/>
              <a:gd name="T60" fmla="*/ 544 h 5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6" h="544">
                <a:moveTo>
                  <a:pt x="301" y="0"/>
                </a:moveTo>
                <a:lnTo>
                  <a:pt x="210" y="75"/>
                </a:lnTo>
                <a:lnTo>
                  <a:pt x="198" y="128"/>
                </a:lnTo>
                <a:lnTo>
                  <a:pt x="175" y="113"/>
                </a:lnTo>
                <a:lnTo>
                  <a:pt x="158" y="198"/>
                </a:lnTo>
                <a:lnTo>
                  <a:pt x="41" y="266"/>
                </a:lnTo>
                <a:lnTo>
                  <a:pt x="15" y="274"/>
                </a:lnTo>
                <a:lnTo>
                  <a:pt x="0" y="310"/>
                </a:lnTo>
                <a:lnTo>
                  <a:pt x="79" y="520"/>
                </a:lnTo>
                <a:lnTo>
                  <a:pt x="108" y="510"/>
                </a:lnTo>
                <a:lnTo>
                  <a:pt x="158" y="522"/>
                </a:lnTo>
                <a:lnTo>
                  <a:pt x="179" y="516"/>
                </a:lnTo>
                <a:lnTo>
                  <a:pt x="213" y="544"/>
                </a:lnTo>
                <a:lnTo>
                  <a:pt x="234" y="511"/>
                </a:lnTo>
                <a:lnTo>
                  <a:pt x="284" y="540"/>
                </a:lnTo>
                <a:lnTo>
                  <a:pt x="312" y="303"/>
                </a:lnTo>
                <a:lnTo>
                  <a:pt x="366" y="238"/>
                </a:lnTo>
                <a:lnTo>
                  <a:pt x="301" y="0"/>
                </a:lnTo>
                <a:close/>
              </a:path>
            </a:pathLst>
          </a:custGeom>
          <a:solidFill>
            <a:schemeClr val="accent3"/>
          </a:solidFill>
          <a:ln w="12700">
            <a:solidFill>
              <a:schemeClr val="bg1"/>
            </a:solidFill>
            <a:round/>
            <a:headEnd/>
            <a:tailEnd/>
          </a:ln>
        </p:spPr>
        <p:txBody>
          <a:bodyPr/>
          <a:lstStyle/>
          <a:p>
            <a:pPr>
              <a:defRPr/>
            </a:pPr>
            <a:endParaRPr lang="nl-NL"/>
          </a:p>
        </p:txBody>
      </p:sp>
      <p:sp>
        <p:nvSpPr>
          <p:cNvPr id="153" name="Freeform 154"/>
          <p:cNvSpPr>
            <a:spLocks noChangeAspect="1"/>
          </p:cNvSpPr>
          <p:nvPr/>
        </p:nvSpPr>
        <p:spPr bwMode="auto">
          <a:xfrm>
            <a:off x="5385765" y="3973463"/>
            <a:ext cx="341729" cy="555319"/>
          </a:xfrm>
          <a:custGeom>
            <a:avLst/>
            <a:gdLst>
              <a:gd name="T0" fmla="*/ 108 w 395"/>
              <a:gd name="T1" fmla="*/ 0 h 593"/>
              <a:gd name="T2" fmla="*/ 30 w 395"/>
              <a:gd name="T3" fmla="*/ 26 h 593"/>
              <a:gd name="T4" fmla="*/ 80 w 395"/>
              <a:gd name="T5" fmla="*/ 220 h 593"/>
              <a:gd name="T6" fmla="*/ 24 w 395"/>
              <a:gd name="T7" fmla="*/ 283 h 593"/>
              <a:gd name="T8" fmla="*/ 0 w 395"/>
              <a:gd name="T9" fmla="*/ 496 h 593"/>
              <a:gd name="T10" fmla="*/ 36 w 395"/>
              <a:gd name="T11" fmla="*/ 496 h 593"/>
              <a:gd name="T12" fmla="*/ 80 w 395"/>
              <a:gd name="T13" fmla="*/ 528 h 593"/>
              <a:gd name="T14" fmla="*/ 97 w 395"/>
              <a:gd name="T15" fmla="*/ 503 h 593"/>
              <a:gd name="T16" fmla="*/ 182 w 395"/>
              <a:gd name="T17" fmla="*/ 496 h 593"/>
              <a:gd name="T18" fmla="*/ 182 w 395"/>
              <a:gd name="T19" fmla="*/ 541 h 593"/>
              <a:gd name="T20" fmla="*/ 246 w 395"/>
              <a:gd name="T21" fmla="*/ 541 h 593"/>
              <a:gd name="T22" fmla="*/ 292 w 395"/>
              <a:gd name="T23" fmla="*/ 593 h 593"/>
              <a:gd name="T24" fmla="*/ 322 w 395"/>
              <a:gd name="T25" fmla="*/ 541 h 593"/>
              <a:gd name="T26" fmla="*/ 370 w 395"/>
              <a:gd name="T27" fmla="*/ 550 h 593"/>
              <a:gd name="T28" fmla="*/ 337 w 395"/>
              <a:gd name="T29" fmla="*/ 480 h 593"/>
              <a:gd name="T30" fmla="*/ 260 w 395"/>
              <a:gd name="T31" fmla="*/ 450 h 593"/>
              <a:gd name="T32" fmla="*/ 279 w 395"/>
              <a:gd name="T33" fmla="*/ 404 h 593"/>
              <a:gd name="T34" fmla="*/ 348 w 395"/>
              <a:gd name="T35" fmla="*/ 404 h 593"/>
              <a:gd name="T36" fmla="*/ 317 w 395"/>
              <a:gd name="T37" fmla="*/ 374 h 593"/>
              <a:gd name="T38" fmla="*/ 357 w 395"/>
              <a:gd name="T39" fmla="*/ 328 h 593"/>
              <a:gd name="T40" fmla="*/ 395 w 395"/>
              <a:gd name="T41" fmla="*/ 327 h 593"/>
              <a:gd name="T42" fmla="*/ 395 w 395"/>
              <a:gd name="T43" fmla="*/ 301 h 593"/>
              <a:gd name="T44" fmla="*/ 279 w 395"/>
              <a:gd name="T45" fmla="*/ 258 h 593"/>
              <a:gd name="T46" fmla="*/ 273 w 395"/>
              <a:gd name="T47" fmla="*/ 137 h 593"/>
              <a:gd name="T48" fmla="*/ 161 w 395"/>
              <a:gd name="T49" fmla="*/ 125 h 593"/>
              <a:gd name="T50" fmla="*/ 161 w 395"/>
              <a:gd name="T51" fmla="*/ 23 h 593"/>
              <a:gd name="T52" fmla="*/ 108 w 395"/>
              <a:gd name="T53" fmla="*/ 0 h 593"/>
              <a:gd name="T54" fmla="*/ 108 w 395"/>
              <a:gd name="T55" fmla="*/ 0 h 59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95"/>
              <a:gd name="T85" fmla="*/ 0 h 593"/>
              <a:gd name="T86" fmla="*/ 395 w 395"/>
              <a:gd name="T87" fmla="*/ 593 h 59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95" h="593">
                <a:moveTo>
                  <a:pt x="108" y="0"/>
                </a:moveTo>
                <a:lnTo>
                  <a:pt x="30" y="26"/>
                </a:lnTo>
                <a:lnTo>
                  <a:pt x="80" y="220"/>
                </a:lnTo>
                <a:lnTo>
                  <a:pt x="24" y="283"/>
                </a:lnTo>
                <a:lnTo>
                  <a:pt x="0" y="496"/>
                </a:lnTo>
                <a:lnTo>
                  <a:pt x="36" y="496"/>
                </a:lnTo>
                <a:lnTo>
                  <a:pt x="80" y="528"/>
                </a:lnTo>
                <a:lnTo>
                  <a:pt x="97" y="503"/>
                </a:lnTo>
                <a:lnTo>
                  <a:pt x="182" y="496"/>
                </a:lnTo>
                <a:lnTo>
                  <a:pt x="182" y="541"/>
                </a:lnTo>
                <a:lnTo>
                  <a:pt x="246" y="541"/>
                </a:lnTo>
                <a:lnTo>
                  <a:pt x="292" y="593"/>
                </a:lnTo>
                <a:lnTo>
                  <a:pt x="322" y="541"/>
                </a:lnTo>
                <a:lnTo>
                  <a:pt x="370" y="550"/>
                </a:lnTo>
                <a:lnTo>
                  <a:pt x="337" y="480"/>
                </a:lnTo>
                <a:lnTo>
                  <a:pt x="260" y="450"/>
                </a:lnTo>
                <a:lnTo>
                  <a:pt x="279" y="404"/>
                </a:lnTo>
                <a:lnTo>
                  <a:pt x="348" y="404"/>
                </a:lnTo>
                <a:lnTo>
                  <a:pt x="317" y="374"/>
                </a:lnTo>
                <a:lnTo>
                  <a:pt x="357" y="328"/>
                </a:lnTo>
                <a:lnTo>
                  <a:pt x="395" y="327"/>
                </a:lnTo>
                <a:lnTo>
                  <a:pt x="395" y="301"/>
                </a:lnTo>
                <a:lnTo>
                  <a:pt x="279" y="258"/>
                </a:lnTo>
                <a:lnTo>
                  <a:pt x="273" y="137"/>
                </a:lnTo>
                <a:lnTo>
                  <a:pt x="161" y="125"/>
                </a:lnTo>
                <a:lnTo>
                  <a:pt x="161" y="23"/>
                </a:lnTo>
                <a:lnTo>
                  <a:pt x="108" y="0"/>
                </a:lnTo>
                <a:close/>
              </a:path>
            </a:pathLst>
          </a:custGeom>
          <a:solidFill>
            <a:schemeClr val="accent3"/>
          </a:solidFill>
          <a:ln w="12700">
            <a:solidFill>
              <a:schemeClr val="bg1"/>
            </a:solidFill>
            <a:round/>
            <a:headEnd/>
            <a:tailEnd/>
          </a:ln>
        </p:spPr>
        <p:txBody>
          <a:bodyPr/>
          <a:lstStyle/>
          <a:p>
            <a:pPr>
              <a:defRPr/>
            </a:pPr>
            <a:endParaRPr lang="nl-NL"/>
          </a:p>
        </p:txBody>
      </p:sp>
      <p:sp>
        <p:nvSpPr>
          <p:cNvPr id="154" name="Freeform 155"/>
          <p:cNvSpPr>
            <a:spLocks noChangeAspect="1"/>
          </p:cNvSpPr>
          <p:nvPr/>
        </p:nvSpPr>
        <p:spPr bwMode="auto">
          <a:xfrm>
            <a:off x="5611858" y="4046384"/>
            <a:ext cx="490157" cy="443134"/>
          </a:xfrm>
          <a:custGeom>
            <a:avLst/>
            <a:gdLst>
              <a:gd name="T0" fmla="*/ 422 w 568"/>
              <a:gd name="T1" fmla="*/ 0 h 472"/>
              <a:gd name="T2" fmla="*/ 348 w 568"/>
              <a:gd name="T3" fmla="*/ 24 h 472"/>
              <a:gd name="T4" fmla="*/ 281 w 568"/>
              <a:gd name="T5" fmla="*/ 1 h 472"/>
              <a:gd name="T6" fmla="*/ 272 w 568"/>
              <a:gd name="T7" fmla="*/ 56 h 472"/>
              <a:gd name="T8" fmla="*/ 314 w 568"/>
              <a:gd name="T9" fmla="*/ 74 h 472"/>
              <a:gd name="T10" fmla="*/ 314 w 568"/>
              <a:gd name="T11" fmla="*/ 112 h 472"/>
              <a:gd name="T12" fmla="*/ 232 w 568"/>
              <a:gd name="T13" fmla="*/ 162 h 472"/>
              <a:gd name="T14" fmla="*/ 179 w 568"/>
              <a:gd name="T15" fmla="*/ 147 h 472"/>
              <a:gd name="T16" fmla="*/ 135 w 568"/>
              <a:gd name="T17" fmla="*/ 223 h 472"/>
              <a:gd name="T18" fmla="*/ 135 w 568"/>
              <a:gd name="T19" fmla="*/ 249 h 472"/>
              <a:gd name="T20" fmla="*/ 97 w 568"/>
              <a:gd name="T21" fmla="*/ 250 h 472"/>
              <a:gd name="T22" fmla="*/ 54 w 568"/>
              <a:gd name="T23" fmla="*/ 298 h 472"/>
              <a:gd name="T24" fmla="*/ 89 w 568"/>
              <a:gd name="T25" fmla="*/ 326 h 472"/>
              <a:gd name="T26" fmla="*/ 19 w 568"/>
              <a:gd name="T27" fmla="*/ 326 h 472"/>
              <a:gd name="T28" fmla="*/ 0 w 568"/>
              <a:gd name="T29" fmla="*/ 375 h 472"/>
              <a:gd name="T30" fmla="*/ 77 w 568"/>
              <a:gd name="T31" fmla="*/ 407 h 472"/>
              <a:gd name="T32" fmla="*/ 110 w 568"/>
              <a:gd name="T33" fmla="*/ 472 h 472"/>
              <a:gd name="T34" fmla="*/ 184 w 568"/>
              <a:gd name="T35" fmla="*/ 462 h 472"/>
              <a:gd name="T36" fmla="*/ 153 w 568"/>
              <a:gd name="T37" fmla="*/ 433 h 472"/>
              <a:gd name="T38" fmla="*/ 205 w 568"/>
              <a:gd name="T39" fmla="*/ 424 h 472"/>
              <a:gd name="T40" fmla="*/ 176 w 568"/>
              <a:gd name="T41" fmla="*/ 390 h 472"/>
              <a:gd name="T42" fmla="*/ 255 w 568"/>
              <a:gd name="T43" fmla="*/ 328 h 472"/>
              <a:gd name="T44" fmla="*/ 288 w 568"/>
              <a:gd name="T45" fmla="*/ 363 h 472"/>
              <a:gd name="T46" fmla="*/ 334 w 568"/>
              <a:gd name="T47" fmla="*/ 296 h 472"/>
              <a:gd name="T48" fmla="*/ 437 w 568"/>
              <a:gd name="T49" fmla="*/ 331 h 472"/>
              <a:gd name="T50" fmla="*/ 457 w 568"/>
              <a:gd name="T51" fmla="*/ 282 h 472"/>
              <a:gd name="T52" fmla="*/ 519 w 568"/>
              <a:gd name="T53" fmla="*/ 264 h 472"/>
              <a:gd name="T54" fmla="*/ 568 w 568"/>
              <a:gd name="T55" fmla="*/ 147 h 472"/>
              <a:gd name="T56" fmla="*/ 422 w 568"/>
              <a:gd name="T57" fmla="*/ 0 h 472"/>
              <a:gd name="T58" fmla="*/ 422 w 568"/>
              <a:gd name="T59" fmla="*/ 0 h 47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68"/>
              <a:gd name="T91" fmla="*/ 0 h 472"/>
              <a:gd name="T92" fmla="*/ 568 w 568"/>
              <a:gd name="T93" fmla="*/ 472 h 47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68" h="472">
                <a:moveTo>
                  <a:pt x="422" y="0"/>
                </a:moveTo>
                <a:lnTo>
                  <a:pt x="348" y="24"/>
                </a:lnTo>
                <a:lnTo>
                  <a:pt x="281" y="1"/>
                </a:lnTo>
                <a:lnTo>
                  <a:pt x="272" y="56"/>
                </a:lnTo>
                <a:lnTo>
                  <a:pt x="314" y="74"/>
                </a:lnTo>
                <a:lnTo>
                  <a:pt x="314" y="112"/>
                </a:lnTo>
                <a:lnTo>
                  <a:pt x="232" y="162"/>
                </a:lnTo>
                <a:lnTo>
                  <a:pt x="179" y="147"/>
                </a:lnTo>
                <a:lnTo>
                  <a:pt x="135" y="223"/>
                </a:lnTo>
                <a:lnTo>
                  <a:pt x="135" y="249"/>
                </a:lnTo>
                <a:lnTo>
                  <a:pt x="97" y="250"/>
                </a:lnTo>
                <a:lnTo>
                  <a:pt x="54" y="298"/>
                </a:lnTo>
                <a:lnTo>
                  <a:pt x="89" y="326"/>
                </a:lnTo>
                <a:lnTo>
                  <a:pt x="19" y="326"/>
                </a:lnTo>
                <a:lnTo>
                  <a:pt x="0" y="375"/>
                </a:lnTo>
                <a:lnTo>
                  <a:pt x="77" y="407"/>
                </a:lnTo>
                <a:lnTo>
                  <a:pt x="110" y="472"/>
                </a:lnTo>
                <a:lnTo>
                  <a:pt x="184" y="462"/>
                </a:lnTo>
                <a:lnTo>
                  <a:pt x="153" y="433"/>
                </a:lnTo>
                <a:lnTo>
                  <a:pt x="205" y="424"/>
                </a:lnTo>
                <a:lnTo>
                  <a:pt x="176" y="390"/>
                </a:lnTo>
                <a:lnTo>
                  <a:pt x="255" y="328"/>
                </a:lnTo>
                <a:lnTo>
                  <a:pt x="288" y="363"/>
                </a:lnTo>
                <a:lnTo>
                  <a:pt x="334" y="296"/>
                </a:lnTo>
                <a:lnTo>
                  <a:pt x="437" y="331"/>
                </a:lnTo>
                <a:lnTo>
                  <a:pt x="457" y="282"/>
                </a:lnTo>
                <a:lnTo>
                  <a:pt x="519" y="264"/>
                </a:lnTo>
                <a:lnTo>
                  <a:pt x="568" y="147"/>
                </a:lnTo>
                <a:lnTo>
                  <a:pt x="422" y="0"/>
                </a:lnTo>
                <a:close/>
              </a:path>
            </a:pathLst>
          </a:custGeom>
          <a:solidFill>
            <a:schemeClr val="accent3"/>
          </a:solidFill>
          <a:ln w="12700">
            <a:solidFill>
              <a:schemeClr val="bg1"/>
            </a:solidFill>
            <a:round/>
            <a:headEnd/>
            <a:tailEnd/>
          </a:ln>
        </p:spPr>
        <p:txBody>
          <a:bodyPr/>
          <a:lstStyle/>
          <a:p>
            <a:pPr>
              <a:defRPr/>
            </a:pPr>
            <a:endParaRPr lang="nl-NL"/>
          </a:p>
        </p:txBody>
      </p:sp>
      <p:sp>
        <p:nvSpPr>
          <p:cNvPr id="155" name="Freeform 156"/>
          <p:cNvSpPr>
            <a:spLocks noChangeAspect="1"/>
          </p:cNvSpPr>
          <p:nvPr/>
        </p:nvSpPr>
        <p:spPr bwMode="auto">
          <a:xfrm>
            <a:off x="5384039" y="4439034"/>
            <a:ext cx="338278" cy="293553"/>
          </a:xfrm>
          <a:custGeom>
            <a:avLst/>
            <a:gdLst>
              <a:gd name="T0" fmla="*/ 35 w 391"/>
              <a:gd name="T1" fmla="*/ 0 h 316"/>
              <a:gd name="T2" fmla="*/ 0 w 391"/>
              <a:gd name="T3" fmla="*/ 0 h 316"/>
              <a:gd name="T4" fmla="*/ 0 w 391"/>
              <a:gd name="T5" fmla="*/ 24 h 316"/>
              <a:gd name="T6" fmla="*/ 70 w 391"/>
              <a:gd name="T7" fmla="*/ 163 h 316"/>
              <a:gd name="T8" fmla="*/ 47 w 391"/>
              <a:gd name="T9" fmla="*/ 182 h 316"/>
              <a:gd name="T10" fmla="*/ 161 w 391"/>
              <a:gd name="T11" fmla="*/ 266 h 316"/>
              <a:gd name="T12" fmla="*/ 332 w 391"/>
              <a:gd name="T13" fmla="*/ 316 h 316"/>
              <a:gd name="T14" fmla="*/ 391 w 391"/>
              <a:gd name="T15" fmla="*/ 272 h 316"/>
              <a:gd name="T16" fmla="*/ 315 w 391"/>
              <a:gd name="T17" fmla="*/ 235 h 316"/>
              <a:gd name="T18" fmla="*/ 344 w 391"/>
              <a:gd name="T19" fmla="*/ 188 h 316"/>
              <a:gd name="T20" fmla="*/ 298 w 391"/>
              <a:gd name="T21" fmla="*/ 173 h 316"/>
              <a:gd name="T22" fmla="*/ 316 w 391"/>
              <a:gd name="T23" fmla="*/ 118 h 316"/>
              <a:gd name="T24" fmla="*/ 290 w 391"/>
              <a:gd name="T25" fmla="*/ 97 h 316"/>
              <a:gd name="T26" fmla="*/ 248 w 391"/>
              <a:gd name="T27" fmla="*/ 45 h 316"/>
              <a:gd name="T28" fmla="*/ 184 w 391"/>
              <a:gd name="T29" fmla="*/ 45 h 316"/>
              <a:gd name="T30" fmla="*/ 184 w 391"/>
              <a:gd name="T31" fmla="*/ 0 h 316"/>
              <a:gd name="T32" fmla="*/ 99 w 391"/>
              <a:gd name="T33" fmla="*/ 7 h 316"/>
              <a:gd name="T34" fmla="*/ 82 w 391"/>
              <a:gd name="T35" fmla="*/ 32 h 316"/>
              <a:gd name="T36" fmla="*/ 35 w 391"/>
              <a:gd name="T37" fmla="*/ 0 h 316"/>
              <a:gd name="T38" fmla="*/ 35 w 391"/>
              <a:gd name="T39" fmla="*/ 0 h 3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91"/>
              <a:gd name="T61" fmla="*/ 0 h 316"/>
              <a:gd name="T62" fmla="*/ 391 w 391"/>
              <a:gd name="T63" fmla="*/ 316 h 3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91" h="316">
                <a:moveTo>
                  <a:pt x="35" y="0"/>
                </a:moveTo>
                <a:lnTo>
                  <a:pt x="0" y="0"/>
                </a:lnTo>
                <a:lnTo>
                  <a:pt x="0" y="24"/>
                </a:lnTo>
                <a:lnTo>
                  <a:pt x="70" y="163"/>
                </a:lnTo>
                <a:lnTo>
                  <a:pt x="47" y="182"/>
                </a:lnTo>
                <a:lnTo>
                  <a:pt x="161" y="266"/>
                </a:lnTo>
                <a:lnTo>
                  <a:pt x="332" y="316"/>
                </a:lnTo>
                <a:lnTo>
                  <a:pt x="391" y="272"/>
                </a:lnTo>
                <a:lnTo>
                  <a:pt x="315" y="235"/>
                </a:lnTo>
                <a:lnTo>
                  <a:pt x="344" y="188"/>
                </a:lnTo>
                <a:lnTo>
                  <a:pt x="298" y="173"/>
                </a:lnTo>
                <a:lnTo>
                  <a:pt x="316" y="118"/>
                </a:lnTo>
                <a:lnTo>
                  <a:pt x="290" y="97"/>
                </a:lnTo>
                <a:lnTo>
                  <a:pt x="248" y="45"/>
                </a:lnTo>
                <a:lnTo>
                  <a:pt x="184" y="45"/>
                </a:lnTo>
                <a:lnTo>
                  <a:pt x="184" y="0"/>
                </a:lnTo>
                <a:lnTo>
                  <a:pt x="99" y="7"/>
                </a:lnTo>
                <a:lnTo>
                  <a:pt x="82" y="32"/>
                </a:lnTo>
                <a:lnTo>
                  <a:pt x="35" y="0"/>
                </a:lnTo>
                <a:close/>
              </a:path>
            </a:pathLst>
          </a:custGeom>
          <a:solidFill>
            <a:schemeClr val="accent3"/>
          </a:solidFill>
          <a:ln w="12700">
            <a:solidFill>
              <a:schemeClr val="bg1"/>
            </a:solidFill>
            <a:round/>
            <a:headEnd/>
            <a:tailEnd/>
          </a:ln>
        </p:spPr>
        <p:txBody>
          <a:bodyPr/>
          <a:lstStyle/>
          <a:p>
            <a:pPr>
              <a:defRPr/>
            </a:pPr>
            <a:endParaRPr lang="nl-NL"/>
          </a:p>
        </p:txBody>
      </p:sp>
      <p:sp>
        <p:nvSpPr>
          <p:cNvPr id="156" name="Freeform 157"/>
          <p:cNvSpPr>
            <a:spLocks noChangeAspect="1"/>
          </p:cNvSpPr>
          <p:nvPr/>
        </p:nvSpPr>
        <p:spPr bwMode="auto">
          <a:xfrm>
            <a:off x="5639473" y="4296932"/>
            <a:ext cx="448736" cy="405738"/>
          </a:xfrm>
          <a:custGeom>
            <a:avLst/>
            <a:gdLst>
              <a:gd name="T0" fmla="*/ 487 w 521"/>
              <a:gd name="T1" fmla="*/ 0 h 434"/>
              <a:gd name="T2" fmla="*/ 424 w 521"/>
              <a:gd name="T3" fmla="*/ 16 h 434"/>
              <a:gd name="T4" fmla="*/ 408 w 521"/>
              <a:gd name="T5" fmla="*/ 65 h 434"/>
              <a:gd name="T6" fmla="*/ 302 w 521"/>
              <a:gd name="T7" fmla="*/ 30 h 434"/>
              <a:gd name="T8" fmla="*/ 256 w 521"/>
              <a:gd name="T9" fmla="*/ 97 h 434"/>
              <a:gd name="T10" fmla="*/ 223 w 521"/>
              <a:gd name="T11" fmla="*/ 62 h 434"/>
              <a:gd name="T12" fmla="*/ 142 w 521"/>
              <a:gd name="T13" fmla="*/ 124 h 434"/>
              <a:gd name="T14" fmla="*/ 173 w 521"/>
              <a:gd name="T15" fmla="*/ 158 h 434"/>
              <a:gd name="T16" fmla="*/ 121 w 521"/>
              <a:gd name="T17" fmla="*/ 165 h 434"/>
              <a:gd name="T18" fmla="*/ 152 w 521"/>
              <a:gd name="T19" fmla="*/ 196 h 434"/>
              <a:gd name="T20" fmla="*/ 82 w 521"/>
              <a:gd name="T21" fmla="*/ 205 h 434"/>
              <a:gd name="T22" fmla="*/ 27 w 521"/>
              <a:gd name="T23" fmla="*/ 197 h 434"/>
              <a:gd name="T24" fmla="*/ 0 w 521"/>
              <a:gd name="T25" fmla="*/ 250 h 434"/>
              <a:gd name="T26" fmla="*/ 22 w 521"/>
              <a:gd name="T27" fmla="*/ 273 h 434"/>
              <a:gd name="T28" fmla="*/ 4 w 521"/>
              <a:gd name="T29" fmla="*/ 328 h 434"/>
              <a:gd name="T30" fmla="*/ 48 w 521"/>
              <a:gd name="T31" fmla="*/ 342 h 434"/>
              <a:gd name="T32" fmla="*/ 21 w 521"/>
              <a:gd name="T33" fmla="*/ 387 h 434"/>
              <a:gd name="T34" fmla="*/ 98 w 521"/>
              <a:gd name="T35" fmla="*/ 425 h 434"/>
              <a:gd name="T36" fmla="*/ 121 w 521"/>
              <a:gd name="T37" fmla="*/ 410 h 434"/>
              <a:gd name="T38" fmla="*/ 150 w 521"/>
              <a:gd name="T39" fmla="*/ 433 h 434"/>
              <a:gd name="T40" fmla="*/ 200 w 521"/>
              <a:gd name="T41" fmla="*/ 396 h 434"/>
              <a:gd name="T42" fmla="*/ 220 w 521"/>
              <a:gd name="T43" fmla="*/ 434 h 434"/>
              <a:gd name="T44" fmla="*/ 278 w 521"/>
              <a:gd name="T45" fmla="*/ 381 h 434"/>
              <a:gd name="T46" fmla="*/ 340 w 521"/>
              <a:gd name="T47" fmla="*/ 407 h 434"/>
              <a:gd name="T48" fmla="*/ 442 w 521"/>
              <a:gd name="T49" fmla="*/ 381 h 434"/>
              <a:gd name="T50" fmla="*/ 425 w 521"/>
              <a:gd name="T51" fmla="*/ 342 h 434"/>
              <a:gd name="T52" fmla="*/ 521 w 521"/>
              <a:gd name="T53" fmla="*/ 313 h 434"/>
              <a:gd name="T54" fmla="*/ 431 w 521"/>
              <a:gd name="T55" fmla="*/ 218 h 434"/>
              <a:gd name="T56" fmla="*/ 513 w 521"/>
              <a:gd name="T57" fmla="*/ 103 h 434"/>
              <a:gd name="T58" fmla="*/ 487 w 521"/>
              <a:gd name="T59" fmla="*/ 0 h 434"/>
              <a:gd name="T60" fmla="*/ 487 w 521"/>
              <a:gd name="T61" fmla="*/ 0 h 4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21"/>
              <a:gd name="T94" fmla="*/ 0 h 434"/>
              <a:gd name="T95" fmla="*/ 521 w 521"/>
              <a:gd name="T96" fmla="*/ 434 h 4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21" h="434">
                <a:moveTo>
                  <a:pt x="487" y="0"/>
                </a:moveTo>
                <a:lnTo>
                  <a:pt x="424" y="16"/>
                </a:lnTo>
                <a:lnTo>
                  <a:pt x="408" y="65"/>
                </a:lnTo>
                <a:lnTo>
                  <a:pt x="302" y="30"/>
                </a:lnTo>
                <a:lnTo>
                  <a:pt x="256" y="97"/>
                </a:lnTo>
                <a:lnTo>
                  <a:pt x="223" y="62"/>
                </a:lnTo>
                <a:lnTo>
                  <a:pt x="142" y="124"/>
                </a:lnTo>
                <a:lnTo>
                  <a:pt x="173" y="158"/>
                </a:lnTo>
                <a:lnTo>
                  <a:pt x="121" y="165"/>
                </a:lnTo>
                <a:lnTo>
                  <a:pt x="152" y="196"/>
                </a:lnTo>
                <a:lnTo>
                  <a:pt x="82" y="205"/>
                </a:lnTo>
                <a:lnTo>
                  <a:pt x="27" y="197"/>
                </a:lnTo>
                <a:lnTo>
                  <a:pt x="0" y="250"/>
                </a:lnTo>
                <a:lnTo>
                  <a:pt x="22" y="273"/>
                </a:lnTo>
                <a:lnTo>
                  <a:pt x="4" y="328"/>
                </a:lnTo>
                <a:lnTo>
                  <a:pt x="48" y="342"/>
                </a:lnTo>
                <a:lnTo>
                  <a:pt x="21" y="387"/>
                </a:lnTo>
                <a:lnTo>
                  <a:pt x="98" y="425"/>
                </a:lnTo>
                <a:lnTo>
                  <a:pt x="121" y="410"/>
                </a:lnTo>
                <a:lnTo>
                  <a:pt x="150" y="433"/>
                </a:lnTo>
                <a:lnTo>
                  <a:pt x="200" y="396"/>
                </a:lnTo>
                <a:lnTo>
                  <a:pt x="220" y="434"/>
                </a:lnTo>
                <a:lnTo>
                  <a:pt x="278" y="381"/>
                </a:lnTo>
                <a:lnTo>
                  <a:pt x="340" y="407"/>
                </a:lnTo>
                <a:lnTo>
                  <a:pt x="442" y="381"/>
                </a:lnTo>
                <a:lnTo>
                  <a:pt x="425" y="342"/>
                </a:lnTo>
                <a:lnTo>
                  <a:pt x="521" y="313"/>
                </a:lnTo>
                <a:lnTo>
                  <a:pt x="431" y="218"/>
                </a:lnTo>
                <a:lnTo>
                  <a:pt x="513" y="103"/>
                </a:lnTo>
                <a:lnTo>
                  <a:pt x="487" y="0"/>
                </a:lnTo>
                <a:close/>
              </a:path>
            </a:pathLst>
          </a:custGeom>
          <a:solidFill>
            <a:schemeClr val="accent3"/>
          </a:solidFill>
          <a:ln w="12700">
            <a:solidFill>
              <a:schemeClr val="bg1"/>
            </a:solidFill>
            <a:round/>
            <a:headEnd/>
            <a:tailEnd/>
          </a:ln>
        </p:spPr>
        <p:txBody>
          <a:bodyPr/>
          <a:lstStyle/>
          <a:p>
            <a:pPr>
              <a:defRPr/>
            </a:pPr>
            <a:endParaRPr lang="nl-NL"/>
          </a:p>
        </p:txBody>
      </p:sp>
      <p:sp>
        <p:nvSpPr>
          <p:cNvPr id="157" name="Freeform 158"/>
          <p:cNvSpPr>
            <a:spLocks noChangeAspect="1"/>
          </p:cNvSpPr>
          <p:nvPr/>
        </p:nvSpPr>
        <p:spPr bwMode="auto">
          <a:xfrm>
            <a:off x="5271855" y="4609182"/>
            <a:ext cx="481528" cy="327208"/>
          </a:xfrm>
          <a:custGeom>
            <a:avLst/>
            <a:gdLst>
              <a:gd name="T0" fmla="*/ 182 w 559"/>
              <a:gd name="T1" fmla="*/ 0 h 351"/>
              <a:gd name="T2" fmla="*/ 132 w 559"/>
              <a:gd name="T3" fmla="*/ 38 h 351"/>
              <a:gd name="T4" fmla="*/ 132 w 559"/>
              <a:gd name="T5" fmla="*/ 129 h 351"/>
              <a:gd name="T6" fmla="*/ 74 w 559"/>
              <a:gd name="T7" fmla="*/ 129 h 351"/>
              <a:gd name="T8" fmla="*/ 79 w 559"/>
              <a:gd name="T9" fmla="*/ 187 h 351"/>
              <a:gd name="T10" fmla="*/ 0 w 559"/>
              <a:gd name="T11" fmla="*/ 240 h 351"/>
              <a:gd name="T12" fmla="*/ 105 w 559"/>
              <a:gd name="T13" fmla="*/ 242 h 351"/>
              <a:gd name="T14" fmla="*/ 223 w 559"/>
              <a:gd name="T15" fmla="*/ 325 h 351"/>
              <a:gd name="T16" fmla="*/ 380 w 559"/>
              <a:gd name="T17" fmla="*/ 281 h 351"/>
              <a:gd name="T18" fmla="*/ 523 w 559"/>
              <a:gd name="T19" fmla="*/ 351 h 351"/>
              <a:gd name="T20" fmla="*/ 538 w 559"/>
              <a:gd name="T21" fmla="*/ 312 h 351"/>
              <a:gd name="T22" fmla="*/ 508 w 559"/>
              <a:gd name="T23" fmla="*/ 289 h 351"/>
              <a:gd name="T24" fmla="*/ 542 w 559"/>
              <a:gd name="T25" fmla="*/ 240 h 351"/>
              <a:gd name="T26" fmla="*/ 498 w 559"/>
              <a:gd name="T27" fmla="*/ 158 h 351"/>
              <a:gd name="T28" fmla="*/ 559 w 559"/>
              <a:gd name="T29" fmla="*/ 116 h 351"/>
              <a:gd name="T30" fmla="*/ 523 w 559"/>
              <a:gd name="T31" fmla="*/ 90 h 351"/>
              <a:gd name="T32" fmla="*/ 464 w 559"/>
              <a:gd name="T33" fmla="*/ 134 h 351"/>
              <a:gd name="T34" fmla="*/ 287 w 559"/>
              <a:gd name="T35" fmla="*/ 80 h 351"/>
              <a:gd name="T36" fmla="*/ 182 w 559"/>
              <a:gd name="T37" fmla="*/ 0 h 351"/>
              <a:gd name="T38" fmla="*/ 182 w 559"/>
              <a:gd name="T39" fmla="*/ 0 h 35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59"/>
              <a:gd name="T61" fmla="*/ 0 h 351"/>
              <a:gd name="T62" fmla="*/ 559 w 559"/>
              <a:gd name="T63" fmla="*/ 351 h 35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59" h="351">
                <a:moveTo>
                  <a:pt x="182" y="0"/>
                </a:moveTo>
                <a:lnTo>
                  <a:pt x="132" y="38"/>
                </a:lnTo>
                <a:lnTo>
                  <a:pt x="132" y="129"/>
                </a:lnTo>
                <a:lnTo>
                  <a:pt x="74" y="129"/>
                </a:lnTo>
                <a:lnTo>
                  <a:pt x="79" y="187"/>
                </a:lnTo>
                <a:lnTo>
                  <a:pt x="0" y="240"/>
                </a:lnTo>
                <a:lnTo>
                  <a:pt x="105" y="242"/>
                </a:lnTo>
                <a:lnTo>
                  <a:pt x="223" y="325"/>
                </a:lnTo>
                <a:lnTo>
                  <a:pt x="380" y="281"/>
                </a:lnTo>
                <a:lnTo>
                  <a:pt x="523" y="351"/>
                </a:lnTo>
                <a:lnTo>
                  <a:pt x="538" y="312"/>
                </a:lnTo>
                <a:lnTo>
                  <a:pt x="508" y="289"/>
                </a:lnTo>
                <a:lnTo>
                  <a:pt x="542" y="240"/>
                </a:lnTo>
                <a:lnTo>
                  <a:pt x="498" y="158"/>
                </a:lnTo>
                <a:lnTo>
                  <a:pt x="559" y="116"/>
                </a:lnTo>
                <a:lnTo>
                  <a:pt x="523" y="90"/>
                </a:lnTo>
                <a:lnTo>
                  <a:pt x="464" y="134"/>
                </a:lnTo>
                <a:lnTo>
                  <a:pt x="287" y="80"/>
                </a:lnTo>
                <a:lnTo>
                  <a:pt x="182" y="0"/>
                </a:lnTo>
                <a:close/>
              </a:path>
            </a:pathLst>
          </a:custGeom>
          <a:solidFill>
            <a:schemeClr val="accent3"/>
          </a:solidFill>
          <a:ln w="12700">
            <a:solidFill>
              <a:schemeClr val="bg1"/>
            </a:solidFill>
            <a:round/>
            <a:headEnd/>
            <a:tailEnd/>
          </a:ln>
        </p:spPr>
        <p:txBody>
          <a:bodyPr/>
          <a:lstStyle/>
          <a:p>
            <a:pPr>
              <a:defRPr/>
            </a:pPr>
            <a:endParaRPr lang="nl-NL"/>
          </a:p>
        </p:txBody>
      </p:sp>
      <p:sp>
        <p:nvSpPr>
          <p:cNvPr id="158" name="Freeform 159"/>
          <p:cNvSpPr>
            <a:spLocks noChangeAspect="1"/>
          </p:cNvSpPr>
          <p:nvPr/>
        </p:nvSpPr>
        <p:spPr bwMode="auto">
          <a:xfrm>
            <a:off x="5699880" y="4652187"/>
            <a:ext cx="409040" cy="332818"/>
          </a:xfrm>
          <a:custGeom>
            <a:avLst/>
            <a:gdLst>
              <a:gd name="T0" fmla="*/ 371 w 472"/>
              <a:gd name="T1" fmla="*/ 3 h 356"/>
              <a:gd name="T2" fmla="*/ 266 w 472"/>
              <a:gd name="T3" fmla="*/ 23 h 356"/>
              <a:gd name="T4" fmla="*/ 206 w 472"/>
              <a:gd name="T5" fmla="*/ 0 h 356"/>
              <a:gd name="T6" fmla="*/ 151 w 472"/>
              <a:gd name="T7" fmla="*/ 53 h 356"/>
              <a:gd name="T8" fmla="*/ 128 w 472"/>
              <a:gd name="T9" fmla="*/ 18 h 356"/>
              <a:gd name="T10" fmla="*/ 78 w 472"/>
              <a:gd name="T11" fmla="*/ 52 h 356"/>
              <a:gd name="T12" fmla="*/ 48 w 472"/>
              <a:gd name="T13" fmla="*/ 27 h 356"/>
              <a:gd name="T14" fmla="*/ 25 w 472"/>
              <a:gd name="T15" fmla="*/ 48 h 356"/>
              <a:gd name="T16" fmla="*/ 63 w 472"/>
              <a:gd name="T17" fmla="*/ 69 h 356"/>
              <a:gd name="T18" fmla="*/ 0 w 472"/>
              <a:gd name="T19" fmla="*/ 111 h 356"/>
              <a:gd name="T20" fmla="*/ 44 w 472"/>
              <a:gd name="T21" fmla="*/ 195 h 356"/>
              <a:gd name="T22" fmla="*/ 10 w 472"/>
              <a:gd name="T23" fmla="*/ 242 h 356"/>
              <a:gd name="T24" fmla="*/ 44 w 472"/>
              <a:gd name="T25" fmla="*/ 266 h 356"/>
              <a:gd name="T26" fmla="*/ 23 w 472"/>
              <a:gd name="T27" fmla="*/ 309 h 356"/>
              <a:gd name="T28" fmla="*/ 105 w 472"/>
              <a:gd name="T29" fmla="*/ 345 h 356"/>
              <a:gd name="T30" fmla="*/ 259 w 472"/>
              <a:gd name="T31" fmla="*/ 356 h 356"/>
              <a:gd name="T32" fmla="*/ 374 w 472"/>
              <a:gd name="T33" fmla="*/ 289 h 356"/>
              <a:gd name="T34" fmla="*/ 396 w 472"/>
              <a:gd name="T35" fmla="*/ 185 h 356"/>
              <a:gd name="T36" fmla="*/ 472 w 472"/>
              <a:gd name="T37" fmla="*/ 152 h 356"/>
              <a:gd name="T38" fmla="*/ 458 w 472"/>
              <a:gd name="T39" fmla="*/ 82 h 356"/>
              <a:gd name="T40" fmla="*/ 386 w 472"/>
              <a:gd name="T41" fmla="*/ 59 h 356"/>
              <a:gd name="T42" fmla="*/ 371 w 472"/>
              <a:gd name="T43" fmla="*/ 3 h 356"/>
              <a:gd name="T44" fmla="*/ 371 w 472"/>
              <a:gd name="T45" fmla="*/ 3 h 35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2"/>
              <a:gd name="T70" fmla="*/ 0 h 356"/>
              <a:gd name="T71" fmla="*/ 472 w 472"/>
              <a:gd name="T72" fmla="*/ 356 h 35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2" h="356">
                <a:moveTo>
                  <a:pt x="371" y="3"/>
                </a:moveTo>
                <a:lnTo>
                  <a:pt x="266" y="23"/>
                </a:lnTo>
                <a:lnTo>
                  <a:pt x="206" y="0"/>
                </a:lnTo>
                <a:lnTo>
                  <a:pt x="151" y="53"/>
                </a:lnTo>
                <a:lnTo>
                  <a:pt x="128" y="18"/>
                </a:lnTo>
                <a:lnTo>
                  <a:pt x="78" y="52"/>
                </a:lnTo>
                <a:lnTo>
                  <a:pt x="48" y="27"/>
                </a:lnTo>
                <a:lnTo>
                  <a:pt x="25" y="48"/>
                </a:lnTo>
                <a:lnTo>
                  <a:pt x="63" y="69"/>
                </a:lnTo>
                <a:lnTo>
                  <a:pt x="0" y="111"/>
                </a:lnTo>
                <a:lnTo>
                  <a:pt x="44" y="195"/>
                </a:lnTo>
                <a:lnTo>
                  <a:pt x="10" y="242"/>
                </a:lnTo>
                <a:lnTo>
                  <a:pt x="44" y="266"/>
                </a:lnTo>
                <a:lnTo>
                  <a:pt x="23" y="309"/>
                </a:lnTo>
                <a:lnTo>
                  <a:pt x="105" y="345"/>
                </a:lnTo>
                <a:lnTo>
                  <a:pt x="259" y="356"/>
                </a:lnTo>
                <a:lnTo>
                  <a:pt x="374" y="289"/>
                </a:lnTo>
                <a:lnTo>
                  <a:pt x="396" y="185"/>
                </a:lnTo>
                <a:lnTo>
                  <a:pt x="472" y="152"/>
                </a:lnTo>
                <a:lnTo>
                  <a:pt x="458" y="82"/>
                </a:lnTo>
                <a:lnTo>
                  <a:pt x="386" y="59"/>
                </a:lnTo>
                <a:lnTo>
                  <a:pt x="371" y="3"/>
                </a:lnTo>
                <a:close/>
              </a:path>
            </a:pathLst>
          </a:custGeom>
          <a:solidFill>
            <a:schemeClr val="accent3"/>
          </a:solidFill>
          <a:ln w="12700">
            <a:solidFill>
              <a:schemeClr val="bg1"/>
            </a:solidFill>
            <a:round/>
            <a:headEnd/>
            <a:tailEnd/>
          </a:ln>
        </p:spPr>
        <p:txBody>
          <a:bodyPr/>
          <a:lstStyle/>
          <a:p>
            <a:pPr>
              <a:defRPr/>
            </a:pPr>
            <a:endParaRPr lang="nl-NL"/>
          </a:p>
        </p:txBody>
      </p:sp>
      <p:sp>
        <p:nvSpPr>
          <p:cNvPr id="159" name="Freeform 160"/>
          <p:cNvSpPr>
            <a:spLocks noChangeAspect="1"/>
          </p:cNvSpPr>
          <p:nvPr/>
        </p:nvSpPr>
        <p:spPr bwMode="auto">
          <a:xfrm>
            <a:off x="6005365" y="4392290"/>
            <a:ext cx="322744" cy="398259"/>
          </a:xfrm>
          <a:custGeom>
            <a:avLst/>
            <a:gdLst>
              <a:gd name="T0" fmla="*/ 91 w 375"/>
              <a:gd name="T1" fmla="*/ 0 h 427"/>
              <a:gd name="T2" fmla="*/ 6 w 375"/>
              <a:gd name="T3" fmla="*/ 117 h 427"/>
              <a:gd name="T4" fmla="*/ 95 w 375"/>
              <a:gd name="T5" fmla="*/ 210 h 427"/>
              <a:gd name="T6" fmla="*/ 0 w 375"/>
              <a:gd name="T7" fmla="*/ 239 h 427"/>
              <a:gd name="T8" fmla="*/ 33 w 375"/>
              <a:gd name="T9" fmla="*/ 337 h 427"/>
              <a:gd name="T10" fmla="*/ 106 w 375"/>
              <a:gd name="T11" fmla="*/ 360 h 427"/>
              <a:gd name="T12" fmla="*/ 116 w 375"/>
              <a:gd name="T13" fmla="*/ 427 h 427"/>
              <a:gd name="T14" fmla="*/ 194 w 375"/>
              <a:gd name="T15" fmla="*/ 385 h 427"/>
              <a:gd name="T16" fmla="*/ 194 w 375"/>
              <a:gd name="T17" fmla="*/ 286 h 427"/>
              <a:gd name="T18" fmla="*/ 314 w 375"/>
              <a:gd name="T19" fmla="*/ 245 h 427"/>
              <a:gd name="T20" fmla="*/ 375 w 375"/>
              <a:gd name="T21" fmla="*/ 111 h 427"/>
              <a:gd name="T22" fmla="*/ 334 w 375"/>
              <a:gd name="T23" fmla="*/ 59 h 427"/>
              <a:gd name="T24" fmla="*/ 234 w 375"/>
              <a:gd name="T25" fmla="*/ 119 h 427"/>
              <a:gd name="T26" fmla="*/ 106 w 375"/>
              <a:gd name="T27" fmla="*/ 59 h 427"/>
              <a:gd name="T28" fmla="*/ 91 w 375"/>
              <a:gd name="T29" fmla="*/ 0 h 427"/>
              <a:gd name="T30" fmla="*/ 91 w 375"/>
              <a:gd name="T31" fmla="*/ 0 h 4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5"/>
              <a:gd name="T49" fmla="*/ 0 h 427"/>
              <a:gd name="T50" fmla="*/ 375 w 375"/>
              <a:gd name="T51" fmla="*/ 427 h 4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5" h="427">
                <a:moveTo>
                  <a:pt x="91" y="0"/>
                </a:moveTo>
                <a:lnTo>
                  <a:pt x="6" y="117"/>
                </a:lnTo>
                <a:lnTo>
                  <a:pt x="95" y="210"/>
                </a:lnTo>
                <a:lnTo>
                  <a:pt x="0" y="239"/>
                </a:lnTo>
                <a:lnTo>
                  <a:pt x="33" y="337"/>
                </a:lnTo>
                <a:lnTo>
                  <a:pt x="106" y="360"/>
                </a:lnTo>
                <a:lnTo>
                  <a:pt x="116" y="427"/>
                </a:lnTo>
                <a:lnTo>
                  <a:pt x="194" y="385"/>
                </a:lnTo>
                <a:lnTo>
                  <a:pt x="194" y="286"/>
                </a:lnTo>
                <a:lnTo>
                  <a:pt x="314" y="245"/>
                </a:lnTo>
                <a:lnTo>
                  <a:pt x="375" y="111"/>
                </a:lnTo>
                <a:lnTo>
                  <a:pt x="334" y="59"/>
                </a:lnTo>
                <a:lnTo>
                  <a:pt x="234" y="119"/>
                </a:lnTo>
                <a:lnTo>
                  <a:pt x="106" y="59"/>
                </a:lnTo>
                <a:lnTo>
                  <a:pt x="91" y="0"/>
                </a:lnTo>
                <a:close/>
              </a:path>
            </a:pathLst>
          </a:custGeom>
          <a:solidFill>
            <a:schemeClr val="accent3"/>
          </a:solidFill>
          <a:ln w="12700">
            <a:solidFill>
              <a:schemeClr val="bg1"/>
            </a:solidFill>
            <a:round/>
            <a:headEnd/>
            <a:tailEnd/>
          </a:ln>
        </p:spPr>
        <p:txBody>
          <a:bodyPr/>
          <a:lstStyle/>
          <a:p>
            <a:pPr>
              <a:defRPr/>
            </a:pPr>
            <a:endParaRPr lang="nl-NL"/>
          </a:p>
        </p:txBody>
      </p:sp>
      <p:sp>
        <p:nvSpPr>
          <p:cNvPr id="160" name="Freeform 161"/>
          <p:cNvSpPr>
            <a:spLocks noChangeAspect="1"/>
          </p:cNvSpPr>
          <p:nvPr/>
        </p:nvSpPr>
        <p:spPr bwMode="auto">
          <a:xfrm>
            <a:off x="4600477" y="2341160"/>
            <a:ext cx="58681" cy="100967"/>
          </a:xfrm>
          <a:custGeom>
            <a:avLst/>
            <a:gdLst>
              <a:gd name="T0" fmla="*/ 69 w 69"/>
              <a:gd name="T1" fmla="*/ 0 h 109"/>
              <a:gd name="T2" fmla="*/ 25 w 69"/>
              <a:gd name="T3" fmla="*/ 17 h 109"/>
              <a:gd name="T4" fmla="*/ 0 w 69"/>
              <a:gd name="T5" fmla="*/ 42 h 109"/>
              <a:gd name="T6" fmla="*/ 47 w 69"/>
              <a:gd name="T7" fmla="*/ 109 h 109"/>
              <a:gd name="T8" fmla="*/ 61 w 69"/>
              <a:gd name="T9" fmla="*/ 68 h 109"/>
              <a:gd name="T10" fmla="*/ 38 w 69"/>
              <a:gd name="T11" fmla="*/ 50 h 109"/>
              <a:gd name="T12" fmla="*/ 52 w 69"/>
              <a:gd name="T13" fmla="*/ 32 h 109"/>
              <a:gd name="T14" fmla="*/ 69 w 69"/>
              <a:gd name="T15" fmla="*/ 0 h 109"/>
              <a:gd name="T16" fmla="*/ 69 w 69"/>
              <a:gd name="T17" fmla="*/ 0 h 1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109"/>
              <a:gd name="T29" fmla="*/ 69 w 69"/>
              <a:gd name="T30" fmla="*/ 109 h 1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109">
                <a:moveTo>
                  <a:pt x="69" y="0"/>
                </a:moveTo>
                <a:lnTo>
                  <a:pt x="25" y="17"/>
                </a:lnTo>
                <a:lnTo>
                  <a:pt x="0" y="42"/>
                </a:lnTo>
                <a:lnTo>
                  <a:pt x="47" y="109"/>
                </a:lnTo>
                <a:lnTo>
                  <a:pt x="61" y="68"/>
                </a:lnTo>
                <a:lnTo>
                  <a:pt x="38" y="50"/>
                </a:lnTo>
                <a:lnTo>
                  <a:pt x="52" y="32"/>
                </a:lnTo>
                <a:lnTo>
                  <a:pt x="69" y="0"/>
                </a:lnTo>
                <a:close/>
              </a:path>
            </a:pathLst>
          </a:custGeom>
          <a:solidFill>
            <a:schemeClr val="accent3"/>
          </a:solidFill>
          <a:ln w="12700">
            <a:solidFill>
              <a:schemeClr val="bg1"/>
            </a:solidFill>
            <a:round/>
            <a:headEnd/>
            <a:tailEnd/>
          </a:ln>
        </p:spPr>
        <p:txBody>
          <a:bodyPr/>
          <a:lstStyle/>
          <a:p>
            <a:pPr>
              <a:defRPr/>
            </a:pPr>
            <a:endParaRPr lang="nl-NL"/>
          </a:p>
        </p:txBody>
      </p:sp>
      <p:sp>
        <p:nvSpPr>
          <p:cNvPr id="161" name="Freeform 162"/>
          <p:cNvSpPr>
            <a:spLocks noChangeAspect="1"/>
          </p:cNvSpPr>
          <p:nvPr/>
        </p:nvSpPr>
        <p:spPr bwMode="auto">
          <a:xfrm>
            <a:off x="4645351" y="2313114"/>
            <a:ext cx="86295" cy="84139"/>
          </a:xfrm>
          <a:custGeom>
            <a:avLst/>
            <a:gdLst>
              <a:gd name="T0" fmla="*/ 91 w 100"/>
              <a:gd name="T1" fmla="*/ 0 h 90"/>
              <a:gd name="T2" fmla="*/ 17 w 100"/>
              <a:gd name="T3" fmla="*/ 27 h 90"/>
              <a:gd name="T4" fmla="*/ 0 w 100"/>
              <a:gd name="T5" fmla="*/ 61 h 90"/>
              <a:gd name="T6" fmla="*/ 100 w 100"/>
              <a:gd name="T7" fmla="*/ 90 h 90"/>
              <a:gd name="T8" fmla="*/ 91 w 100"/>
              <a:gd name="T9" fmla="*/ 0 h 90"/>
              <a:gd name="T10" fmla="*/ 91 w 100"/>
              <a:gd name="T11" fmla="*/ 0 h 90"/>
              <a:gd name="T12" fmla="*/ 0 60000 65536"/>
              <a:gd name="T13" fmla="*/ 0 60000 65536"/>
              <a:gd name="T14" fmla="*/ 0 60000 65536"/>
              <a:gd name="T15" fmla="*/ 0 60000 65536"/>
              <a:gd name="T16" fmla="*/ 0 60000 65536"/>
              <a:gd name="T17" fmla="*/ 0 60000 65536"/>
              <a:gd name="T18" fmla="*/ 0 w 100"/>
              <a:gd name="T19" fmla="*/ 0 h 90"/>
              <a:gd name="T20" fmla="*/ 100 w 100"/>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100" h="90">
                <a:moveTo>
                  <a:pt x="91" y="0"/>
                </a:moveTo>
                <a:lnTo>
                  <a:pt x="17" y="27"/>
                </a:lnTo>
                <a:lnTo>
                  <a:pt x="0" y="61"/>
                </a:lnTo>
                <a:lnTo>
                  <a:pt x="100" y="90"/>
                </a:lnTo>
                <a:lnTo>
                  <a:pt x="91" y="0"/>
                </a:lnTo>
                <a:close/>
              </a:path>
            </a:pathLst>
          </a:custGeom>
          <a:solidFill>
            <a:schemeClr val="accent3"/>
          </a:solidFill>
          <a:ln w="12700">
            <a:solidFill>
              <a:schemeClr val="bg1"/>
            </a:solidFill>
            <a:round/>
            <a:headEnd/>
            <a:tailEnd/>
          </a:ln>
        </p:spPr>
        <p:txBody>
          <a:bodyPr/>
          <a:lstStyle/>
          <a:p>
            <a:pPr>
              <a:defRPr/>
            </a:pPr>
            <a:endParaRPr lang="nl-NL"/>
          </a:p>
        </p:txBody>
      </p:sp>
      <p:sp>
        <p:nvSpPr>
          <p:cNvPr id="162" name="Freeform 163"/>
          <p:cNvSpPr>
            <a:spLocks noChangeAspect="1"/>
          </p:cNvSpPr>
          <p:nvPr/>
        </p:nvSpPr>
        <p:spPr bwMode="auto">
          <a:xfrm>
            <a:off x="4633270" y="2371077"/>
            <a:ext cx="62133" cy="31786"/>
          </a:xfrm>
          <a:custGeom>
            <a:avLst/>
            <a:gdLst>
              <a:gd name="T0" fmla="*/ 14 w 72"/>
              <a:gd name="T1" fmla="*/ 0 h 36"/>
              <a:gd name="T2" fmla="*/ 0 w 72"/>
              <a:gd name="T3" fmla="*/ 18 h 36"/>
              <a:gd name="T4" fmla="*/ 23 w 72"/>
              <a:gd name="T5" fmla="*/ 36 h 36"/>
              <a:gd name="T6" fmla="*/ 72 w 72"/>
              <a:gd name="T7" fmla="*/ 18 h 36"/>
              <a:gd name="T8" fmla="*/ 14 w 72"/>
              <a:gd name="T9" fmla="*/ 0 h 36"/>
              <a:gd name="T10" fmla="*/ 14 w 72"/>
              <a:gd name="T11" fmla="*/ 0 h 36"/>
              <a:gd name="T12" fmla="*/ 0 60000 65536"/>
              <a:gd name="T13" fmla="*/ 0 60000 65536"/>
              <a:gd name="T14" fmla="*/ 0 60000 65536"/>
              <a:gd name="T15" fmla="*/ 0 60000 65536"/>
              <a:gd name="T16" fmla="*/ 0 60000 65536"/>
              <a:gd name="T17" fmla="*/ 0 60000 65536"/>
              <a:gd name="T18" fmla="*/ 0 w 72"/>
              <a:gd name="T19" fmla="*/ 0 h 36"/>
              <a:gd name="T20" fmla="*/ 72 w 72"/>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72" h="36">
                <a:moveTo>
                  <a:pt x="14" y="0"/>
                </a:moveTo>
                <a:lnTo>
                  <a:pt x="0" y="18"/>
                </a:lnTo>
                <a:lnTo>
                  <a:pt x="23" y="36"/>
                </a:lnTo>
                <a:lnTo>
                  <a:pt x="72" y="18"/>
                </a:lnTo>
                <a:lnTo>
                  <a:pt x="14" y="0"/>
                </a:lnTo>
                <a:close/>
              </a:path>
            </a:pathLst>
          </a:custGeom>
          <a:solidFill>
            <a:schemeClr val="accent3"/>
          </a:solidFill>
          <a:ln w="12700">
            <a:solidFill>
              <a:schemeClr val="bg1"/>
            </a:solidFill>
            <a:round/>
            <a:headEnd/>
            <a:tailEnd/>
          </a:ln>
        </p:spPr>
        <p:txBody>
          <a:bodyPr/>
          <a:lstStyle/>
          <a:p>
            <a:pPr>
              <a:defRPr/>
            </a:pPr>
            <a:endParaRPr lang="nl-NL"/>
          </a:p>
        </p:txBody>
      </p:sp>
      <p:sp>
        <p:nvSpPr>
          <p:cNvPr id="163" name="Freeform 164"/>
          <p:cNvSpPr>
            <a:spLocks noChangeAspect="1"/>
          </p:cNvSpPr>
          <p:nvPr/>
        </p:nvSpPr>
        <p:spPr bwMode="auto">
          <a:xfrm>
            <a:off x="4640173" y="2384165"/>
            <a:ext cx="93199" cy="63572"/>
          </a:xfrm>
          <a:custGeom>
            <a:avLst/>
            <a:gdLst>
              <a:gd name="T0" fmla="*/ 107 w 107"/>
              <a:gd name="T1" fmla="*/ 14 h 68"/>
              <a:gd name="T2" fmla="*/ 63 w 107"/>
              <a:gd name="T3" fmla="*/ 0 h 68"/>
              <a:gd name="T4" fmla="*/ 14 w 107"/>
              <a:gd name="T5" fmla="*/ 21 h 68"/>
              <a:gd name="T6" fmla="*/ 0 w 107"/>
              <a:gd name="T7" fmla="*/ 62 h 68"/>
              <a:gd name="T8" fmla="*/ 107 w 107"/>
              <a:gd name="T9" fmla="*/ 68 h 68"/>
              <a:gd name="T10" fmla="*/ 107 w 107"/>
              <a:gd name="T11" fmla="*/ 14 h 68"/>
              <a:gd name="T12" fmla="*/ 107 w 107"/>
              <a:gd name="T13" fmla="*/ 14 h 68"/>
              <a:gd name="T14" fmla="*/ 0 60000 65536"/>
              <a:gd name="T15" fmla="*/ 0 60000 65536"/>
              <a:gd name="T16" fmla="*/ 0 60000 65536"/>
              <a:gd name="T17" fmla="*/ 0 60000 65536"/>
              <a:gd name="T18" fmla="*/ 0 60000 65536"/>
              <a:gd name="T19" fmla="*/ 0 60000 65536"/>
              <a:gd name="T20" fmla="*/ 0 60000 65536"/>
              <a:gd name="T21" fmla="*/ 0 w 107"/>
              <a:gd name="T22" fmla="*/ 0 h 68"/>
              <a:gd name="T23" fmla="*/ 107 w 107"/>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7" h="68">
                <a:moveTo>
                  <a:pt x="107" y="14"/>
                </a:moveTo>
                <a:lnTo>
                  <a:pt x="63" y="0"/>
                </a:lnTo>
                <a:lnTo>
                  <a:pt x="14" y="21"/>
                </a:lnTo>
                <a:lnTo>
                  <a:pt x="0" y="62"/>
                </a:lnTo>
                <a:lnTo>
                  <a:pt x="107" y="68"/>
                </a:lnTo>
                <a:lnTo>
                  <a:pt x="107" y="14"/>
                </a:lnTo>
                <a:close/>
              </a:path>
            </a:pathLst>
          </a:custGeom>
          <a:solidFill>
            <a:schemeClr val="accent3"/>
          </a:solidFill>
          <a:ln w="12700">
            <a:solidFill>
              <a:schemeClr val="bg1"/>
            </a:solidFill>
            <a:round/>
            <a:headEnd/>
            <a:tailEnd/>
          </a:ln>
        </p:spPr>
        <p:txBody>
          <a:bodyPr/>
          <a:lstStyle/>
          <a:p>
            <a:pPr>
              <a:defRPr/>
            </a:pPr>
            <a:endParaRPr lang="nl-NL"/>
          </a:p>
        </p:txBody>
      </p:sp>
      <p:sp>
        <p:nvSpPr>
          <p:cNvPr id="164" name="Freeform 165"/>
          <p:cNvSpPr>
            <a:spLocks noChangeAspect="1"/>
          </p:cNvSpPr>
          <p:nvPr/>
        </p:nvSpPr>
        <p:spPr bwMode="auto">
          <a:xfrm>
            <a:off x="6297043" y="5020530"/>
            <a:ext cx="220916" cy="581496"/>
          </a:xfrm>
          <a:custGeom>
            <a:avLst/>
            <a:gdLst>
              <a:gd name="T0" fmla="*/ 205 w 257"/>
              <a:gd name="T1" fmla="*/ 492 h 622"/>
              <a:gd name="T2" fmla="*/ 202 w 257"/>
              <a:gd name="T3" fmla="*/ 533 h 622"/>
              <a:gd name="T4" fmla="*/ 197 w 257"/>
              <a:gd name="T5" fmla="*/ 594 h 622"/>
              <a:gd name="T6" fmla="*/ 184 w 257"/>
              <a:gd name="T7" fmla="*/ 605 h 622"/>
              <a:gd name="T8" fmla="*/ 164 w 257"/>
              <a:gd name="T9" fmla="*/ 622 h 622"/>
              <a:gd name="T10" fmla="*/ 154 w 257"/>
              <a:gd name="T11" fmla="*/ 602 h 622"/>
              <a:gd name="T12" fmla="*/ 150 w 257"/>
              <a:gd name="T13" fmla="*/ 590 h 622"/>
              <a:gd name="T14" fmla="*/ 142 w 257"/>
              <a:gd name="T15" fmla="*/ 583 h 622"/>
              <a:gd name="T16" fmla="*/ 124 w 257"/>
              <a:gd name="T17" fmla="*/ 568 h 622"/>
              <a:gd name="T18" fmla="*/ 104 w 257"/>
              <a:gd name="T19" fmla="*/ 551 h 622"/>
              <a:gd name="T20" fmla="*/ 91 w 257"/>
              <a:gd name="T21" fmla="*/ 539 h 622"/>
              <a:gd name="T22" fmla="*/ 79 w 257"/>
              <a:gd name="T23" fmla="*/ 501 h 622"/>
              <a:gd name="T24" fmla="*/ 60 w 257"/>
              <a:gd name="T25" fmla="*/ 431 h 622"/>
              <a:gd name="T26" fmla="*/ 40 w 257"/>
              <a:gd name="T27" fmla="*/ 363 h 622"/>
              <a:gd name="T28" fmla="*/ 31 w 257"/>
              <a:gd name="T29" fmla="*/ 333 h 622"/>
              <a:gd name="T30" fmla="*/ 20 w 257"/>
              <a:gd name="T31" fmla="*/ 321 h 622"/>
              <a:gd name="T32" fmla="*/ 0 w 257"/>
              <a:gd name="T33" fmla="*/ 302 h 622"/>
              <a:gd name="T34" fmla="*/ 3 w 257"/>
              <a:gd name="T35" fmla="*/ 243 h 622"/>
              <a:gd name="T36" fmla="*/ 7 w 257"/>
              <a:gd name="T37" fmla="*/ 186 h 622"/>
              <a:gd name="T38" fmla="*/ 29 w 257"/>
              <a:gd name="T39" fmla="*/ 165 h 622"/>
              <a:gd name="T40" fmla="*/ 65 w 257"/>
              <a:gd name="T41" fmla="*/ 133 h 622"/>
              <a:gd name="T42" fmla="*/ 97 w 257"/>
              <a:gd name="T43" fmla="*/ 103 h 622"/>
              <a:gd name="T44" fmla="*/ 112 w 257"/>
              <a:gd name="T45" fmla="*/ 89 h 622"/>
              <a:gd name="T46" fmla="*/ 116 w 257"/>
              <a:gd name="T47" fmla="*/ 84 h 622"/>
              <a:gd name="T48" fmla="*/ 126 w 257"/>
              <a:gd name="T49" fmla="*/ 67 h 622"/>
              <a:gd name="T50" fmla="*/ 138 w 257"/>
              <a:gd name="T51" fmla="*/ 39 h 622"/>
              <a:gd name="T52" fmla="*/ 152 w 257"/>
              <a:gd name="T53" fmla="*/ 12 h 622"/>
              <a:gd name="T54" fmla="*/ 167 w 257"/>
              <a:gd name="T55" fmla="*/ 4 h 622"/>
              <a:gd name="T56" fmla="*/ 187 w 257"/>
              <a:gd name="T57" fmla="*/ 13 h 622"/>
              <a:gd name="T58" fmla="*/ 206 w 257"/>
              <a:gd name="T59" fmla="*/ 21 h 622"/>
              <a:gd name="T60" fmla="*/ 226 w 257"/>
              <a:gd name="T61" fmla="*/ 30 h 622"/>
              <a:gd name="T62" fmla="*/ 230 w 257"/>
              <a:gd name="T63" fmla="*/ 48 h 622"/>
              <a:gd name="T64" fmla="*/ 222 w 257"/>
              <a:gd name="T65" fmla="*/ 73 h 622"/>
              <a:gd name="T66" fmla="*/ 226 w 257"/>
              <a:gd name="T67" fmla="*/ 96 h 622"/>
              <a:gd name="T68" fmla="*/ 244 w 257"/>
              <a:gd name="T69" fmla="*/ 179 h 622"/>
              <a:gd name="T70" fmla="*/ 250 w 257"/>
              <a:gd name="T71" fmla="*/ 209 h 622"/>
              <a:gd name="T72" fmla="*/ 255 w 257"/>
              <a:gd name="T73" fmla="*/ 264 h 622"/>
              <a:gd name="T74" fmla="*/ 252 w 257"/>
              <a:gd name="T75" fmla="*/ 294 h 622"/>
              <a:gd name="T76" fmla="*/ 240 w 257"/>
              <a:gd name="T77" fmla="*/ 315 h 622"/>
              <a:gd name="T78" fmla="*/ 226 w 257"/>
              <a:gd name="T79" fmla="*/ 337 h 622"/>
              <a:gd name="T80" fmla="*/ 215 w 257"/>
              <a:gd name="T81" fmla="*/ 353 h 6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57"/>
              <a:gd name="T124" fmla="*/ 0 h 622"/>
              <a:gd name="T125" fmla="*/ 257 w 257"/>
              <a:gd name="T126" fmla="*/ 622 h 6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57" h="622">
                <a:moveTo>
                  <a:pt x="214" y="355"/>
                </a:moveTo>
                <a:lnTo>
                  <a:pt x="205" y="492"/>
                </a:lnTo>
                <a:lnTo>
                  <a:pt x="204" y="504"/>
                </a:lnTo>
                <a:lnTo>
                  <a:pt x="202" y="533"/>
                </a:lnTo>
                <a:lnTo>
                  <a:pt x="199" y="566"/>
                </a:lnTo>
                <a:lnTo>
                  <a:pt x="197" y="594"/>
                </a:lnTo>
                <a:lnTo>
                  <a:pt x="191" y="598"/>
                </a:lnTo>
                <a:lnTo>
                  <a:pt x="184" y="605"/>
                </a:lnTo>
                <a:lnTo>
                  <a:pt x="175" y="613"/>
                </a:lnTo>
                <a:lnTo>
                  <a:pt x="164" y="622"/>
                </a:lnTo>
                <a:lnTo>
                  <a:pt x="159" y="612"/>
                </a:lnTo>
                <a:lnTo>
                  <a:pt x="154" y="602"/>
                </a:lnTo>
                <a:lnTo>
                  <a:pt x="151" y="594"/>
                </a:lnTo>
                <a:lnTo>
                  <a:pt x="150" y="590"/>
                </a:lnTo>
                <a:lnTo>
                  <a:pt x="147" y="588"/>
                </a:lnTo>
                <a:lnTo>
                  <a:pt x="142" y="583"/>
                </a:lnTo>
                <a:lnTo>
                  <a:pt x="134" y="576"/>
                </a:lnTo>
                <a:lnTo>
                  <a:pt x="124" y="568"/>
                </a:lnTo>
                <a:lnTo>
                  <a:pt x="114" y="559"/>
                </a:lnTo>
                <a:lnTo>
                  <a:pt x="104" y="551"/>
                </a:lnTo>
                <a:lnTo>
                  <a:pt x="96" y="544"/>
                </a:lnTo>
                <a:lnTo>
                  <a:pt x="91" y="539"/>
                </a:lnTo>
                <a:lnTo>
                  <a:pt x="88" y="527"/>
                </a:lnTo>
                <a:lnTo>
                  <a:pt x="79" y="501"/>
                </a:lnTo>
                <a:lnTo>
                  <a:pt x="70" y="468"/>
                </a:lnTo>
                <a:lnTo>
                  <a:pt x="60" y="431"/>
                </a:lnTo>
                <a:lnTo>
                  <a:pt x="48" y="394"/>
                </a:lnTo>
                <a:lnTo>
                  <a:pt x="40" y="363"/>
                </a:lnTo>
                <a:lnTo>
                  <a:pt x="33" y="341"/>
                </a:lnTo>
                <a:lnTo>
                  <a:pt x="31" y="333"/>
                </a:lnTo>
                <a:lnTo>
                  <a:pt x="28" y="330"/>
                </a:lnTo>
                <a:lnTo>
                  <a:pt x="20" y="321"/>
                </a:lnTo>
                <a:lnTo>
                  <a:pt x="9" y="311"/>
                </a:lnTo>
                <a:lnTo>
                  <a:pt x="0" y="302"/>
                </a:lnTo>
                <a:lnTo>
                  <a:pt x="1" y="279"/>
                </a:lnTo>
                <a:lnTo>
                  <a:pt x="3" y="243"/>
                </a:lnTo>
                <a:lnTo>
                  <a:pt x="6" y="209"/>
                </a:lnTo>
                <a:lnTo>
                  <a:pt x="7" y="186"/>
                </a:lnTo>
                <a:lnTo>
                  <a:pt x="15" y="178"/>
                </a:lnTo>
                <a:lnTo>
                  <a:pt x="29" y="165"/>
                </a:lnTo>
                <a:lnTo>
                  <a:pt x="46" y="150"/>
                </a:lnTo>
                <a:lnTo>
                  <a:pt x="65" y="133"/>
                </a:lnTo>
                <a:lnTo>
                  <a:pt x="82" y="117"/>
                </a:lnTo>
                <a:lnTo>
                  <a:pt x="97" y="103"/>
                </a:lnTo>
                <a:lnTo>
                  <a:pt x="108" y="92"/>
                </a:lnTo>
                <a:lnTo>
                  <a:pt x="112" y="89"/>
                </a:lnTo>
                <a:lnTo>
                  <a:pt x="115" y="87"/>
                </a:lnTo>
                <a:lnTo>
                  <a:pt x="116" y="84"/>
                </a:lnTo>
                <a:lnTo>
                  <a:pt x="120" y="78"/>
                </a:lnTo>
                <a:lnTo>
                  <a:pt x="126" y="67"/>
                </a:lnTo>
                <a:lnTo>
                  <a:pt x="131" y="53"/>
                </a:lnTo>
                <a:lnTo>
                  <a:pt x="138" y="39"/>
                </a:lnTo>
                <a:lnTo>
                  <a:pt x="145" y="26"/>
                </a:lnTo>
                <a:lnTo>
                  <a:pt x="152" y="12"/>
                </a:lnTo>
                <a:lnTo>
                  <a:pt x="158" y="0"/>
                </a:lnTo>
                <a:lnTo>
                  <a:pt x="167" y="4"/>
                </a:lnTo>
                <a:lnTo>
                  <a:pt x="177" y="8"/>
                </a:lnTo>
                <a:lnTo>
                  <a:pt x="187" y="13"/>
                </a:lnTo>
                <a:lnTo>
                  <a:pt x="197" y="16"/>
                </a:lnTo>
                <a:lnTo>
                  <a:pt x="206" y="21"/>
                </a:lnTo>
                <a:lnTo>
                  <a:pt x="217" y="26"/>
                </a:lnTo>
                <a:lnTo>
                  <a:pt x="226" y="30"/>
                </a:lnTo>
                <a:lnTo>
                  <a:pt x="234" y="34"/>
                </a:lnTo>
                <a:lnTo>
                  <a:pt x="230" y="48"/>
                </a:lnTo>
                <a:lnTo>
                  <a:pt x="226" y="63"/>
                </a:lnTo>
                <a:lnTo>
                  <a:pt x="222" y="73"/>
                </a:lnTo>
                <a:lnTo>
                  <a:pt x="221" y="78"/>
                </a:lnTo>
                <a:lnTo>
                  <a:pt x="226" y="96"/>
                </a:lnTo>
                <a:lnTo>
                  <a:pt x="235" y="137"/>
                </a:lnTo>
                <a:lnTo>
                  <a:pt x="244" y="179"/>
                </a:lnTo>
                <a:lnTo>
                  <a:pt x="249" y="197"/>
                </a:lnTo>
                <a:lnTo>
                  <a:pt x="250" y="209"/>
                </a:lnTo>
                <a:lnTo>
                  <a:pt x="252" y="235"/>
                </a:lnTo>
                <a:lnTo>
                  <a:pt x="255" y="264"/>
                </a:lnTo>
                <a:lnTo>
                  <a:pt x="257" y="288"/>
                </a:lnTo>
                <a:lnTo>
                  <a:pt x="252" y="294"/>
                </a:lnTo>
                <a:lnTo>
                  <a:pt x="247" y="303"/>
                </a:lnTo>
                <a:lnTo>
                  <a:pt x="240" y="315"/>
                </a:lnTo>
                <a:lnTo>
                  <a:pt x="233" y="326"/>
                </a:lnTo>
                <a:lnTo>
                  <a:pt x="226" y="337"/>
                </a:lnTo>
                <a:lnTo>
                  <a:pt x="220" y="346"/>
                </a:lnTo>
                <a:lnTo>
                  <a:pt x="215" y="353"/>
                </a:lnTo>
                <a:lnTo>
                  <a:pt x="214" y="355"/>
                </a:lnTo>
                <a:close/>
              </a:path>
            </a:pathLst>
          </a:custGeom>
          <a:solidFill>
            <a:schemeClr val="accent3"/>
          </a:solidFill>
          <a:ln w="12700">
            <a:solidFill>
              <a:schemeClr val="bg1"/>
            </a:solidFill>
            <a:round/>
            <a:headEnd/>
            <a:tailEnd/>
          </a:ln>
        </p:spPr>
        <p:txBody>
          <a:bodyPr/>
          <a:lstStyle/>
          <a:p>
            <a:pPr>
              <a:defRPr/>
            </a:pPr>
            <a:endParaRPr lang="nl-NL"/>
          </a:p>
        </p:txBody>
      </p:sp>
      <p:sp>
        <p:nvSpPr>
          <p:cNvPr id="165"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67"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8561" name="Title 1"/>
          <p:cNvSpPr>
            <a:spLocks noGrp="1"/>
          </p:cNvSpPr>
          <p:nvPr>
            <p:ph type="title"/>
          </p:nvPr>
        </p:nvSpPr>
        <p:spPr>
          <a:xfrm>
            <a:off x="414338" y="112613"/>
            <a:ext cx="8330184" cy="666849"/>
          </a:xfrm>
        </p:spPr>
        <p:txBody>
          <a:bodyPr/>
          <a:lstStyle/>
          <a:p>
            <a:r>
              <a:rPr lang="en-US" dirty="0"/>
              <a:t>Text boxes — four to a slide, with paragraph, bullet, </a:t>
            </a:r>
            <a:r>
              <a:rPr lang="en-US" dirty="0" smtClean="0"/>
              <a:t/>
            </a:r>
            <a:br>
              <a:rPr lang="en-US" dirty="0" smtClean="0"/>
            </a:br>
            <a:r>
              <a:rPr lang="en-US" dirty="0" smtClean="0"/>
              <a:t>and </a:t>
            </a:r>
            <a:r>
              <a:rPr lang="en-US" dirty="0"/>
              <a:t>dash points</a:t>
            </a:r>
            <a:endParaRPr lang="nl-NL" dirty="0"/>
          </a:p>
        </p:txBody>
      </p:sp>
      <p:grpSp>
        <p:nvGrpSpPr>
          <p:cNvPr id="2" name="Group 12"/>
          <p:cNvGrpSpPr>
            <a:grpSpLocks/>
          </p:cNvGrpSpPr>
          <p:nvPr/>
        </p:nvGrpSpPr>
        <p:grpSpPr bwMode="auto">
          <a:xfrm>
            <a:off x="6701409" y="1586651"/>
            <a:ext cx="2043113" cy="4044409"/>
            <a:chOff x="300" y="872"/>
            <a:chExt cx="1847" cy="3834"/>
          </a:xfrm>
        </p:grpSpPr>
        <p:sp>
          <p:nvSpPr>
            <p:cNvPr id="578574" name="Text Box 10"/>
            <p:cNvSpPr txBox="1">
              <a:spLocks noChangeArrowheads="1"/>
            </p:cNvSpPr>
            <p:nvPr/>
          </p:nvSpPr>
          <p:spPr bwMode="auto">
            <a:xfrm>
              <a:off x="300" y="872"/>
              <a:ext cx="1847" cy="260"/>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l" defTabSz="957263">
                <a:spcBef>
                  <a:spcPts val="400"/>
                </a:spcBef>
              </a:pPr>
              <a:r>
                <a:rPr lang="en-US" sz="1400" dirty="0">
                  <a:solidFill>
                    <a:srgbClr val="FFFFFF"/>
                  </a:solidFill>
                </a:rPr>
                <a:t>Text</a:t>
              </a:r>
            </a:p>
          </p:txBody>
        </p:sp>
        <p:sp>
          <p:nvSpPr>
            <p:cNvPr id="12" name="Rectangle 11"/>
            <p:cNvSpPr>
              <a:spLocks noChangeArrowheads="1"/>
            </p:cNvSpPr>
            <p:nvPr/>
          </p:nvSpPr>
          <p:spPr bwMode="auto">
            <a:xfrm>
              <a:off x="300" y="1132"/>
              <a:ext cx="1847" cy="3574"/>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cs typeface="+mn-cs"/>
              </a:endParaRPr>
            </a:p>
          </p:txBody>
        </p:sp>
      </p:grpSp>
      <p:sp>
        <p:nvSpPr>
          <p:cNvPr id="36"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8"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grpSp>
        <p:nvGrpSpPr>
          <p:cNvPr id="20" name="Group 12"/>
          <p:cNvGrpSpPr>
            <a:grpSpLocks/>
          </p:cNvGrpSpPr>
          <p:nvPr/>
        </p:nvGrpSpPr>
        <p:grpSpPr bwMode="auto">
          <a:xfrm>
            <a:off x="388460" y="1586651"/>
            <a:ext cx="2043113" cy="4044409"/>
            <a:chOff x="300" y="872"/>
            <a:chExt cx="1847" cy="3834"/>
          </a:xfrm>
        </p:grpSpPr>
        <p:sp>
          <p:nvSpPr>
            <p:cNvPr id="21" name="Text Box 10"/>
            <p:cNvSpPr txBox="1">
              <a:spLocks noChangeArrowheads="1"/>
            </p:cNvSpPr>
            <p:nvPr/>
          </p:nvSpPr>
          <p:spPr bwMode="auto">
            <a:xfrm>
              <a:off x="300" y="872"/>
              <a:ext cx="1847" cy="260"/>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l" defTabSz="957263">
                <a:spcBef>
                  <a:spcPts val="400"/>
                </a:spcBef>
              </a:pPr>
              <a:r>
                <a:rPr lang="en-US" sz="1400" dirty="0">
                  <a:solidFill>
                    <a:srgbClr val="FFFFFF"/>
                  </a:solidFill>
                </a:rPr>
                <a:t>Text</a:t>
              </a:r>
            </a:p>
          </p:txBody>
        </p:sp>
        <p:sp>
          <p:nvSpPr>
            <p:cNvPr id="23" name="Rectangle 22"/>
            <p:cNvSpPr>
              <a:spLocks noChangeArrowheads="1"/>
            </p:cNvSpPr>
            <p:nvPr/>
          </p:nvSpPr>
          <p:spPr bwMode="auto">
            <a:xfrm>
              <a:off x="300" y="1132"/>
              <a:ext cx="1847" cy="3574"/>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cs typeface="+mn-cs"/>
              </a:endParaRPr>
            </a:p>
          </p:txBody>
        </p:sp>
      </p:grpSp>
      <p:grpSp>
        <p:nvGrpSpPr>
          <p:cNvPr id="24" name="Group 12"/>
          <p:cNvGrpSpPr>
            <a:grpSpLocks/>
          </p:cNvGrpSpPr>
          <p:nvPr/>
        </p:nvGrpSpPr>
        <p:grpSpPr bwMode="auto">
          <a:xfrm>
            <a:off x="2489087" y="1586651"/>
            <a:ext cx="2043113" cy="4044409"/>
            <a:chOff x="300" y="872"/>
            <a:chExt cx="1847" cy="3834"/>
          </a:xfrm>
        </p:grpSpPr>
        <p:sp>
          <p:nvSpPr>
            <p:cNvPr id="26" name="Text Box 10"/>
            <p:cNvSpPr txBox="1">
              <a:spLocks noChangeArrowheads="1"/>
            </p:cNvSpPr>
            <p:nvPr/>
          </p:nvSpPr>
          <p:spPr bwMode="auto">
            <a:xfrm>
              <a:off x="300" y="872"/>
              <a:ext cx="1847" cy="260"/>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l" defTabSz="957263">
                <a:spcBef>
                  <a:spcPts val="400"/>
                </a:spcBef>
              </a:pPr>
              <a:r>
                <a:rPr lang="en-US" sz="1400" dirty="0">
                  <a:solidFill>
                    <a:srgbClr val="FFFFFF"/>
                  </a:solidFill>
                </a:rPr>
                <a:t>Text</a:t>
              </a:r>
            </a:p>
          </p:txBody>
        </p:sp>
        <p:sp>
          <p:nvSpPr>
            <p:cNvPr id="27" name="Rectangle 26"/>
            <p:cNvSpPr>
              <a:spLocks noChangeArrowheads="1"/>
            </p:cNvSpPr>
            <p:nvPr/>
          </p:nvSpPr>
          <p:spPr bwMode="auto">
            <a:xfrm>
              <a:off x="300" y="1132"/>
              <a:ext cx="1847" cy="3574"/>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cs typeface="+mn-cs"/>
              </a:endParaRPr>
            </a:p>
          </p:txBody>
        </p:sp>
      </p:grpSp>
      <p:grpSp>
        <p:nvGrpSpPr>
          <p:cNvPr id="28" name="Group 12"/>
          <p:cNvGrpSpPr>
            <a:grpSpLocks/>
          </p:cNvGrpSpPr>
          <p:nvPr/>
        </p:nvGrpSpPr>
        <p:grpSpPr bwMode="auto">
          <a:xfrm>
            <a:off x="4592582" y="1586651"/>
            <a:ext cx="2043113" cy="4044409"/>
            <a:chOff x="300" y="872"/>
            <a:chExt cx="1847" cy="3834"/>
          </a:xfrm>
        </p:grpSpPr>
        <p:sp>
          <p:nvSpPr>
            <p:cNvPr id="29" name="Text Box 10"/>
            <p:cNvSpPr txBox="1">
              <a:spLocks noChangeArrowheads="1"/>
            </p:cNvSpPr>
            <p:nvPr/>
          </p:nvSpPr>
          <p:spPr bwMode="auto">
            <a:xfrm>
              <a:off x="300" y="872"/>
              <a:ext cx="1847" cy="260"/>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l" defTabSz="957263">
                <a:spcBef>
                  <a:spcPts val="400"/>
                </a:spcBef>
              </a:pPr>
              <a:r>
                <a:rPr lang="en-US" sz="1400" dirty="0">
                  <a:solidFill>
                    <a:srgbClr val="FFFFFF"/>
                  </a:solidFill>
                </a:rPr>
                <a:t>Text</a:t>
              </a:r>
            </a:p>
          </p:txBody>
        </p:sp>
        <p:sp>
          <p:nvSpPr>
            <p:cNvPr id="30" name="Rectangle 29"/>
            <p:cNvSpPr>
              <a:spLocks noChangeArrowheads="1"/>
            </p:cNvSpPr>
            <p:nvPr/>
          </p:nvSpPr>
          <p:spPr bwMode="auto">
            <a:xfrm>
              <a:off x="300" y="1132"/>
              <a:ext cx="1847" cy="3574"/>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cs typeface="+mn-cs"/>
              </a:endParaRPr>
            </a:p>
          </p:txBody>
        </p:sp>
      </p:grpSp>
    </p:spTree>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2705" name="Title 1"/>
          <p:cNvSpPr>
            <a:spLocks noGrp="1"/>
          </p:cNvSpPr>
          <p:nvPr>
            <p:ph type="title"/>
          </p:nvPr>
        </p:nvSpPr>
        <p:spPr>
          <a:xfrm>
            <a:off x="414338" y="446038"/>
            <a:ext cx="8330184" cy="333425"/>
          </a:xfrm>
        </p:spPr>
        <p:txBody>
          <a:bodyPr/>
          <a:lstStyle/>
          <a:p>
            <a:r>
              <a:rPr lang="nl-NL"/>
              <a:t>Maps </a:t>
            </a:r>
            <a:r>
              <a:rPr lang="en-US"/>
              <a:t>—</a:t>
            </a:r>
            <a:r>
              <a:rPr lang="nl-NL" smtClean="0"/>
              <a:t> </a:t>
            </a:r>
            <a:r>
              <a:rPr lang="nl-NL"/>
              <a:t>Australia</a:t>
            </a:r>
          </a:p>
        </p:txBody>
      </p:sp>
      <p:sp>
        <p:nvSpPr>
          <p:cNvPr id="18" name="Freeform 14"/>
          <p:cNvSpPr>
            <a:spLocks noChangeAspect="1"/>
          </p:cNvSpPr>
          <p:nvPr/>
        </p:nvSpPr>
        <p:spPr bwMode="auto">
          <a:xfrm>
            <a:off x="5736345" y="5200214"/>
            <a:ext cx="350816" cy="376052"/>
          </a:xfrm>
          <a:custGeom>
            <a:avLst/>
            <a:gdLst>
              <a:gd name="T0" fmla="*/ 3 w 349"/>
              <a:gd name="T1" fmla="*/ 0 h 380"/>
              <a:gd name="T2" fmla="*/ 94 w 349"/>
              <a:gd name="T3" fmla="*/ 21 h 380"/>
              <a:gd name="T4" fmla="*/ 164 w 349"/>
              <a:gd name="T5" fmla="*/ 65 h 380"/>
              <a:gd name="T6" fmla="*/ 185 w 349"/>
              <a:gd name="T7" fmla="*/ 61 h 380"/>
              <a:gd name="T8" fmla="*/ 240 w 349"/>
              <a:gd name="T9" fmla="*/ 85 h 380"/>
              <a:gd name="T10" fmla="*/ 246 w 349"/>
              <a:gd name="T11" fmla="*/ 42 h 380"/>
              <a:gd name="T12" fmla="*/ 310 w 349"/>
              <a:gd name="T13" fmla="*/ 9 h 380"/>
              <a:gd name="T14" fmla="*/ 349 w 349"/>
              <a:gd name="T15" fmla="*/ 46 h 380"/>
              <a:gd name="T16" fmla="*/ 322 w 349"/>
              <a:gd name="T17" fmla="*/ 237 h 380"/>
              <a:gd name="T18" fmla="*/ 298 w 349"/>
              <a:gd name="T19" fmla="*/ 204 h 380"/>
              <a:gd name="T20" fmla="*/ 287 w 349"/>
              <a:gd name="T21" fmla="*/ 327 h 380"/>
              <a:gd name="T22" fmla="*/ 263 w 349"/>
              <a:gd name="T23" fmla="*/ 327 h 380"/>
              <a:gd name="T24" fmla="*/ 229 w 349"/>
              <a:gd name="T25" fmla="*/ 275 h 380"/>
              <a:gd name="T26" fmla="*/ 229 w 349"/>
              <a:gd name="T27" fmla="*/ 327 h 380"/>
              <a:gd name="T28" fmla="*/ 155 w 349"/>
              <a:gd name="T29" fmla="*/ 380 h 380"/>
              <a:gd name="T30" fmla="*/ 73 w 349"/>
              <a:gd name="T31" fmla="*/ 330 h 380"/>
              <a:gd name="T32" fmla="*/ 32 w 349"/>
              <a:gd name="T33" fmla="*/ 190 h 380"/>
              <a:gd name="T34" fmla="*/ 71 w 349"/>
              <a:gd name="T35" fmla="*/ 194 h 380"/>
              <a:gd name="T36" fmla="*/ 0 w 349"/>
              <a:gd name="T37" fmla="*/ 123 h 380"/>
              <a:gd name="T38" fmla="*/ 3 w 349"/>
              <a:gd name="T39" fmla="*/ 0 h 380"/>
              <a:gd name="T40" fmla="*/ 3 w 349"/>
              <a:gd name="T41" fmla="*/ 0 h 3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49"/>
              <a:gd name="T64" fmla="*/ 0 h 380"/>
              <a:gd name="T65" fmla="*/ 349 w 349"/>
              <a:gd name="T66" fmla="*/ 380 h 38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49" h="380">
                <a:moveTo>
                  <a:pt x="3" y="0"/>
                </a:moveTo>
                <a:lnTo>
                  <a:pt x="94" y="21"/>
                </a:lnTo>
                <a:lnTo>
                  <a:pt x="164" y="65"/>
                </a:lnTo>
                <a:lnTo>
                  <a:pt x="185" y="61"/>
                </a:lnTo>
                <a:lnTo>
                  <a:pt x="240" y="85"/>
                </a:lnTo>
                <a:lnTo>
                  <a:pt x="246" y="42"/>
                </a:lnTo>
                <a:lnTo>
                  <a:pt x="310" y="9"/>
                </a:lnTo>
                <a:lnTo>
                  <a:pt x="349" y="46"/>
                </a:lnTo>
                <a:lnTo>
                  <a:pt x="322" y="237"/>
                </a:lnTo>
                <a:lnTo>
                  <a:pt x="298" y="204"/>
                </a:lnTo>
                <a:lnTo>
                  <a:pt x="287" y="327"/>
                </a:lnTo>
                <a:lnTo>
                  <a:pt x="263" y="327"/>
                </a:lnTo>
                <a:lnTo>
                  <a:pt x="229" y="275"/>
                </a:lnTo>
                <a:lnTo>
                  <a:pt x="229" y="327"/>
                </a:lnTo>
                <a:lnTo>
                  <a:pt x="155" y="380"/>
                </a:lnTo>
                <a:lnTo>
                  <a:pt x="73" y="330"/>
                </a:lnTo>
                <a:lnTo>
                  <a:pt x="32" y="190"/>
                </a:lnTo>
                <a:lnTo>
                  <a:pt x="71" y="194"/>
                </a:lnTo>
                <a:lnTo>
                  <a:pt x="0" y="123"/>
                </a:lnTo>
                <a:lnTo>
                  <a:pt x="3" y="0"/>
                </a:lnTo>
                <a:close/>
              </a:path>
            </a:pathLst>
          </a:custGeom>
          <a:solidFill>
            <a:schemeClr val="accent3"/>
          </a:solidFill>
          <a:ln w="12700">
            <a:solidFill>
              <a:schemeClr val="bg1"/>
            </a:solidFill>
            <a:round/>
            <a:headEnd/>
            <a:tailEnd/>
          </a:ln>
        </p:spPr>
        <p:txBody>
          <a:bodyPr/>
          <a:lstStyle/>
          <a:p>
            <a:pPr>
              <a:defRPr/>
            </a:pPr>
            <a:endParaRPr lang="nl-NL"/>
          </a:p>
        </p:txBody>
      </p:sp>
      <p:sp>
        <p:nvSpPr>
          <p:cNvPr id="19" name="Freeform 15"/>
          <p:cNvSpPr>
            <a:spLocks noChangeAspect="1"/>
          </p:cNvSpPr>
          <p:nvPr/>
        </p:nvSpPr>
        <p:spPr bwMode="auto">
          <a:xfrm>
            <a:off x="2272546" y="1795957"/>
            <a:ext cx="1858919" cy="2822366"/>
          </a:xfrm>
          <a:custGeom>
            <a:avLst/>
            <a:gdLst>
              <a:gd name="T0" fmla="*/ 1754 w 1844"/>
              <a:gd name="T1" fmla="*/ 2335 h 2852"/>
              <a:gd name="T2" fmla="*/ 1330 w 1844"/>
              <a:gd name="T3" fmla="*/ 2465 h 2852"/>
              <a:gd name="T4" fmla="*/ 1260 w 1844"/>
              <a:gd name="T5" fmla="*/ 2629 h 2852"/>
              <a:gd name="T6" fmla="*/ 903 w 1844"/>
              <a:gd name="T7" fmla="*/ 2650 h 2852"/>
              <a:gd name="T8" fmla="*/ 722 w 1844"/>
              <a:gd name="T9" fmla="*/ 2852 h 2852"/>
              <a:gd name="T10" fmla="*/ 415 w 1844"/>
              <a:gd name="T11" fmla="*/ 2780 h 2852"/>
              <a:gd name="T12" fmla="*/ 386 w 1844"/>
              <a:gd name="T13" fmla="*/ 2687 h 2852"/>
              <a:gd name="T14" fmla="*/ 438 w 1844"/>
              <a:gd name="T15" fmla="*/ 2687 h 2852"/>
              <a:gd name="T16" fmla="*/ 415 w 1844"/>
              <a:gd name="T17" fmla="*/ 2445 h 2852"/>
              <a:gd name="T18" fmla="*/ 272 w 1844"/>
              <a:gd name="T19" fmla="*/ 2252 h 2852"/>
              <a:gd name="T20" fmla="*/ 128 w 1844"/>
              <a:gd name="T21" fmla="*/ 1900 h 2852"/>
              <a:gd name="T22" fmla="*/ 0 w 1844"/>
              <a:gd name="T23" fmla="*/ 1797 h 2852"/>
              <a:gd name="T24" fmla="*/ 0 w 1844"/>
              <a:gd name="T25" fmla="*/ 1770 h 2852"/>
              <a:gd name="T26" fmla="*/ 91 w 1844"/>
              <a:gd name="T27" fmla="*/ 1805 h 2852"/>
              <a:gd name="T28" fmla="*/ 29 w 1844"/>
              <a:gd name="T29" fmla="*/ 1707 h 2852"/>
              <a:gd name="T30" fmla="*/ 113 w 1844"/>
              <a:gd name="T31" fmla="*/ 1761 h 2852"/>
              <a:gd name="T32" fmla="*/ 6 w 1844"/>
              <a:gd name="T33" fmla="*/ 1549 h 2852"/>
              <a:gd name="T34" fmla="*/ 0 w 1844"/>
              <a:gd name="T35" fmla="*/ 1215 h 2852"/>
              <a:gd name="T36" fmla="*/ 73 w 1844"/>
              <a:gd name="T37" fmla="*/ 1253 h 2852"/>
              <a:gd name="T38" fmla="*/ 81 w 1844"/>
              <a:gd name="T39" fmla="*/ 1195 h 2852"/>
              <a:gd name="T40" fmla="*/ 335 w 1844"/>
              <a:gd name="T41" fmla="*/ 1000 h 2852"/>
              <a:gd name="T42" fmla="*/ 844 w 1844"/>
              <a:gd name="T43" fmla="*/ 744 h 2852"/>
              <a:gd name="T44" fmla="*/ 938 w 1844"/>
              <a:gd name="T45" fmla="*/ 602 h 2852"/>
              <a:gd name="T46" fmla="*/ 909 w 1844"/>
              <a:gd name="T47" fmla="*/ 529 h 2852"/>
              <a:gd name="T48" fmla="*/ 973 w 1844"/>
              <a:gd name="T49" fmla="*/ 373 h 2852"/>
              <a:gd name="T50" fmla="*/ 1076 w 1844"/>
              <a:gd name="T51" fmla="*/ 484 h 2852"/>
              <a:gd name="T52" fmla="*/ 1064 w 1844"/>
              <a:gd name="T53" fmla="*/ 315 h 2852"/>
              <a:gd name="T54" fmla="*/ 1173 w 1844"/>
              <a:gd name="T55" fmla="*/ 362 h 2852"/>
              <a:gd name="T56" fmla="*/ 1201 w 1844"/>
              <a:gd name="T57" fmla="*/ 362 h 2852"/>
              <a:gd name="T58" fmla="*/ 1181 w 1844"/>
              <a:gd name="T59" fmla="*/ 222 h 2852"/>
              <a:gd name="T60" fmla="*/ 1268 w 1844"/>
              <a:gd name="T61" fmla="*/ 186 h 2852"/>
              <a:gd name="T62" fmla="*/ 1239 w 1844"/>
              <a:gd name="T63" fmla="*/ 148 h 2852"/>
              <a:gd name="T64" fmla="*/ 1268 w 1844"/>
              <a:gd name="T65" fmla="*/ 76 h 2852"/>
              <a:gd name="T66" fmla="*/ 1353 w 1844"/>
              <a:gd name="T67" fmla="*/ 93 h 2852"/>
              <a:gd name="T68" fmla="*/ 1346 w 1844"/>
              <a:gd name="T69" fmla="*/ 29 h 2852"/>
              <a:gd name="T70" fmla="*/ 1439 w 1844"/>
              <a:gd name="T71" fmla="*/ 0 h 2852"/>
              <a:gd name="T72" fmla="*/ 1595 w 1844"/>
              <a:gd name="T73" fmla="*/ 76 h 2852"/>
              <a:gd name="T74" fmla="*/ 1633 w 1844"/>
              <a:gd name="T75" fmla="*/ 195 h 2852"/>
              <a:gd name="T76" fmla="*/ 1660 w 1844"/>
              <a:gd name="T77" fmla="*/ 131 h 2852"/>
              <a:gd name="T78" fmla="*/ 1718 w 1844"/>
              <a:gd name="T79" fmla="*/ 120 h 2852"/>
              <a:gd name="T80" fmla="*/ 1785 w 1844"/>
              <a:gd name="T81" fmla="*/ 1548 h 2852"/>
              <a:gd name="T82" fmla="*/ 1844 w 1844"/>
              <a:gd name="T83" fmla="*/ 2287 h 2852"/>
              <a:gd name="T84" fmla="*/ 1754 w 1844"/>
              <a:gd name="T85" fmla="*/ 2335 h 2852"/>
              <a:gd name="T86" fmla="*/ 1754 w 1844"/>
              <a:gd name="T87" fmla="*/ 2335 h 28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44"/>
              <a:gd name="T133" fmla="*/ 0 h 2852"/>
              <a:gd name="T134" fmla="*/ 1844 w 1844"/>
              <a:gd name="T135" fmla="*/ 2852 h 28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44" h="2852">
                <a:moveTo>
                  <a:pt x="1754" y="2335"/>
                </a:moveTo>
                <a:lnTo>
                  <a:pt x="1330" y="2465"/>
                </a:lnTo>
                <a:lnTo>
                  <a:pt x="1260" y="2629"/>
                </a:lnTo>
                <a:lnTo>
                  <a:pt x="903" y="2650"/>
                </a:lnTo>
                <a:lnTo>
                  <a:pt x="722" y="2852"/>
                </a:lnTo>
                <a:lnTo>
                  <a:pt x="415" y="2780"/>
                </a:lnTo>
                <a:lnTo>
                  <a:pt x="386" y="2687"/>
                </a:lnTo>
                <a:lnTo>
                  <a:pt x="438" y="2687"/>
                </a:lnTo>
                <a:lnTo>
                  <a:pt x="415" y="2445"/>
                </a:lnTo>
                <a:lnTo>
                  <a:pt x="272" y="2252"/>
                </a:lnTo>
                <a:lnTo>
                  <a:pt x="128" y="1900"/>
                </a:lnTo>
                <a:lnTo>
                  <a:pt x="0" y="1797"/>
                </a:lnTo>
                <a:lnTo>
                  <a:pt x="0" y="1770"/>
                </a:lnTo>
                <a:lnTo>
                  <a:pt x="91" y="1805"/>
                </a:lnTo>
                <a:lnTo>
                  <a:pt x="29" y="1707"/>
                </a:lnTo>
                <a:lnTo>
                  <a:pt x="113" y="1761"/>
                </a:lnTo>
                <a:lnTo>
                  <a:pt x="6" y="1549"/>
                </a:lnTo>
                <a:lnTo>
                  <a:pt x="0" y="1215"/>
                </a:lnTo>
                <a:lnTo>
                  <a:pt x="73" y="1253"/>
                </a:lnTo>
                <a:lnTo>
                  <a:pt x="81" y="1195"/>
                </a:lnTo>
                <a:lnTo>
                  <a:pt x="335" y="1000"/>
                </a:lnTo>
                <a:lnTo>
                  <a:pt x="844" y="744"/>
                </a:lnTo>
                <a:lnTo>
                  <a:pt x="938" y="602"/>
                </a:lnTo>
                <a:lnTo>
                  <a:pt x="909" y="529"/>
                </a:lnTo>
                <a:lnTo>
                  <a:pt x="973" y="373"/>
                </a:lnTo>
                <a:lnTo>
                  <a:pt x="1076" y="484"/>
                </a:lnTo>
                <a:lnTo>
                  <a:pt x="1064" y="315"/>
                </a:lnTo>
                <a:lnTo>
                  <a:pt x="1173" y="362"/>
                </a:lnTo>
                <a:lnTo>
                  <a:pt x="1201" y="362"/>
                </a:lnTo>
                <a:lnTo>
                  <a:pt x="1181" y="222"/>
                </a:lnTo>
                <a:lnTo>
                  <a:pt x="1268" y="186"/>
                </a:lnTo>
                <a:lnTo>
                  <a:pt x="1239" y="148"/>
                </a:lnTo>
                <a:lnTo>
                  <a:pt x="1268" y="76"/>
                </a:lnTo>
                <a:lnTo>
                  <a:pt x="1353" y="93"/>
                </a:lnTo>
                <a:lnTo>
                  <a:pt x="1346" y="29"/>
                </a:lnTo>
                <a:lnTo>
                  <a:pt x="1439" y="0"/>
                </a:lnTo>
                <a:lnTo>
                  <a:pt x="1595" y="76"/>
                </a:lnTo>
                <a:lnTo>
                  <a:pt x="1633" y="195"/>
                </a:lnTo>
                <a:lnTo>
                  <a:pt x="1660" y="131"/>
                </a:lnTo>
                <a:lnTo>
                  <a:pt x="1718" y="120"/>
                </a:lnTo>
                <a:lnTo>
                  <a:pt x="1785" y="1548"/>
                </a:lnTo>
                <a:lnTo>
                  <a:pt x="1844" y="2287"/>
                </a:lnTo>
                <a:lnTo>
                  <a:pt x="1754" y="2335"/>
                </a:lnTo>
                <a:close/>
              </a:path>
            </a:pathLst>
          </a:custGeom>
          <a:solidFill>
            <a:schemeClr val="accent3"/>
          </a:solidFill>
          <a:ln w="12700">
            <a:solidFill>
              <a:schemeClr val="bg1"/>
            </a:solidFill>
            <a:round/>
            <a:headEnd/>
            <a:tailEnd/>
          </a:ln>
        </p:spPr>
        <p:txBody>
          <a:bodyPr/>
          <a:lstStyle/>
          <a:p>
            <a:pPr>
              <a:defRPr/>
            </a:pPr>
            <a:endParaRPr lang="nl-NL"/>
          </a:p>
        </p:txBody>
      </p:sp>
      <p:sp>
        <p:nvSpPr>
          <p:cNvPr id="20" name="Freeform 16"/>
          <p:cNvSpPr>
            <a:spLocks noChangeAspect="1"/>
          </p:cNvSpPr>
          <p:nvPr/>
        </p:nvSpPr>
        <p:spPr bwMode="auto">
          <a:xfrm>
            <a:off x="4000413" y="1439698"/>
            <a:ext cx="1114948" cy="1888175"/>
          </a:xfrm>
          <a:custGeom>
            <a:avLst/>
            <a:gdLst>
              <a:gd name="T0" fmla="*/ 340 w 1105"/>
              <a:gd name="T1" fmla="*/ 8 h 1907"/>
              <a:gd name="T2" fmla="*/ 370 w 1105"/>
              <a:gd name="T3" fmla="*/ 54 h 1907"/>
              <a:gd name="T4" fmla="*/ 435 w 1105"/>
              <a:gd name="T5" fmla="*/ 54 h 1907"/>
              <a:gd name="T6" fmla="*/ 435 w 1105"/>
              <a:gd name="T7" fmla="*/ 153 h 1907"/>
              <a:gd name="T8" fmla="*/ 398 w 1105"/>
              <a:gd name="T9" fmla="*/ 131 h 1907"/>
              <a:gd name="T10" fmla="*/ 249 w 1105"/>
              <a:gd name="T11" fmla="*/ 127 h 1907"/>
              <a:gd name="T12" fmla="*/ 207 w 1105"/>
              <a:gd name="T13" fmla="*/ 206 h 1907"/>
              <a:gd name="T14" fmla="*/ 155 w 1105"/>
              <a:gd name="T15" fmla="*/ 185 h 1907"/>
              <a:gd name="T16" fmla="*/ 59 w 1105"/>
              <a:gd name="T17" fmla="*/ 396 h 1907"/>
              <a:gd name="T18" fmla="*/ 126 w 1105"/>
              <a:gd name="T19" fmla="*/ 473 h 1907"/>
              <a:gd name="T20" fmla="*/ 100 w 1105"/>
              <a:gd name="T21" fmla="*/ 559 h 1907"/>
              <a:gd name="T22" fmla="*/ 64 w 1105"/>
              <a:gd name="T23" fmla="*/ 467 h 1907"/>
              <a:gd name="T24" fmla="*/ 0 w 1105"/>
              <a:gd name="T25" fmla="*/ 481 h 1907"/>
              <a:gd name="T26" fmla="*/ 70 w 1105"/>
              <a:gd name="T27" fmla="*/ 1907 h 1907"/>
              <a:gd name="T28" fmla="*/ 1099 w 1105"/>
              <a:gd name="T29" fmla="*/ 1907 h 1907"/>
              <a:gd name="T30" fmla="*/ 1105 w 1105"/>
              <a:gd name="T31" fmla="*/ 625 h 1907"/>
              <a:gd name="T32" fmla="*/ 862 w 1105"/>
              <a:gd name="T33" fmla="*/ 502 h 1907"/>
              <a:gd name="T34" fmla="*/ 810 w 1105"/>
              <a:gd name="T35" fmla="*/ 454 h 1907"/>
              <a:gd name="T36" fmla="*/ 876 w 1105"/>
              <a:gd name="T37" fmla="*/ 317 h 1907"/>
              <a:gd name="T38" fmla="*/ 850 w 1105"/>
              <a:gd name="T39" fmla="*/ 297 h 1907"/>
              <a:gd name="T40" fmla="*/ 876 w 1105"/>
              <a:gd name="T41" fmla="*/ 251 h 1907"/>
              <a:gd name="T42" fmla="*/ 923 w 1105"/>
              <a:gd name="T43" fmla="*/ 270 h 1907"/>
              <a:gd name="T44" fmla="*/ 999 w 1105"/>
              <a:gd name="T45" fmla="*/ 153 h 1907"/>
              <a:gd name="T46" fmla="*/ 912 w 1105"/>
              <a:gd name="T47" fmla="*/ 99 h 1907"/>
              <a:gd name="T48" fmla="*/ 865 w 1105"/>
              <a:gd name="T49" fmla="*/ 147 h 1907"/>
              <a:gd name="T50" fmla="*/ 850 w 1105"/>
              <a:gd name="T51" fmla="*/ 87 h 1907"/>
              <a:gd name="T52" fmla="*/ 762 w 1105"/>
              <a:gd name="T53" fmla="*/ 157 h 1907"/>
              <a:gd name="T54" fmla="*/ 700 w 1105"/>
              <a:gd name="T55" fmla="*/ 99 h 1907"/>
              <a:gd name="T56" fmla="*/ 648 w 1105"/>
              <a:gd name="T57" fmla="*/ 131 h 1907"/>
              <a:gd name="T58" fmla="*/ 633 w 1105"/>
              <a:gd name="T59" fmla="*/ 80 h 1907"/>
              <a:gd name="T60" fmla="*/ 547 w 1105"/>
              <a:gd name="T61" fmla="*/ 107 h 1907"/>
              <a:gd name="T62" fmla="*/ 553 w 1105"/>
              <a:gd name="T63" fmla="*/ 72 h 1907"/>
              <a:gd name="T64" fmla="*/ 553 w 1105"/>
              <a:gd name="T65" fmla="*/ 61 h 1907"/>
              <a:gd name="T66" fmla="*/ 507 w 1105"/>
              <a:gd name="T67" fmla="*/ 54 h 1907"/>
              <a:gd name="T68" fmla="*/ 430 w 1105"/>
              <a:gd name="T69" fmla="*/ 0 h 1907"/>
              <a:gd name="T70" fmla="*/ 340 w 1105"/>
              <a:gd name="T71" fmla="*/ 8 h 1907"/>
              <a:gd name="T72" fmla="*/ 340 w 1105"/>
              <a:gd name="T73" fmla="*/ 8 h 190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05"/>
              <a:gd name="T112" fmla="*/ 0 h 1907"/>
              <a:gd name="T113" fmla="*/ 1105 w 1105"/>
              <a:gd name="T114" fmla="*/ 1907 h 190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05" h="1907">
                <a:moveTo>
                  <a:pt x="340" y="8"/>
                </a:moveTo>
                <a:lnTo>
                  <a:pt x="370" y="54"/>
                </a:lnTo>
                <a:lnTo>
                  <a:pt x="435" y="54"/>
                </a:lnTo>
                <a:lnTo>
                  <a:pt x="435" y="153"/>
                </a:lnTo>
                <a:lnTo>
                  <a:pt x="398" y="131"/>
                </a:lnTo>
                <a:lnTo>
                  <a:pt x="249" y="127"/>
                </a:lnTo>
                <a:lnTo>
                  <a:pt x="207" y="206"/>
                </a:lnTo>
                <a:lnTo>
                  <a:pt x="155" y="185"/>
                </a:lnTo>
                <a:lnTo>
                  <a:pt x="59" y="396"/>
                </a:lnTo>
                <a:lnTo>
                  <a:pt x="126" y="473"/>
                </a:lnTo>
                <a:lnTo>
                  <a:pt x="100" y="559"/>
                </a:lnTo>
                <a:lnTo>
                  <a:pt x="64" y="467"/>
                </a:lnTo>
                <a:lnTo>
                  <a:pt x="0" y="481"/>
                </a:lnTo>
                <a:lnTo>
                  <a:pt x="70" y="1907"/>
                </a:lnTo>
                <a:lnTo>
                  <a:pt x="1099" y="1907"/>
                </a:lnTo>
                <a:lnTo>
                  <a:pt x="1105" y="625"/>
                </a:lnTo>
                <a:lnTo>
                  <a:pt x="862" y="502"/>
                </a:lnTo>
                <a:lnTo>
                  <a:pt x="810" y="454"/>
                </a:lnTo>
                <a:lnTo>
                  <a:pt x="876" y="317"/>
                </a:lnTo>
                <a:lnTo>
                  <a:pt x="850" y="297"/>
                </a:lnTo>
                <a:lnTo>
                  <a:pt x="876" y="251"/>
                </a:lnTo>
                <a:lnTo>
                  <a:pt x="923" y="270"/>
                </a:lnTo>
                <a:lnTo>
                  <a:pt x="999" y="153"/>
                </a:lnTo>
                <a:lnTo>
                  <a:pt x="912" y="99"/>
                </a:lnTo>
                <a:lnTo>
                  <a:pt x="865" y="147"/>
                </a:lnTo>
                <a:lnTo>
                  <a:pt x="850" y="87"/>
                </a:lnTo>
                <a:lnTo>
                  <a:pt x="762" y="157"/>
                </a:lnTo>
                <a:lnTo>
                  <a:pt x="700" y="99"/>
                </a:lnTo>
                <a:lnTo>
                  <a:pt x="648" y="131"/>
                </a:lnTo>
                <a:lnTo>
                  <a:pt x="633" y="80"/>
                </a:lnTo>
                <a:lnTo>
                  <a:pt x="547" y="107"/>
                </a:lnTo>
                <a:lnTo>
                  <a:pt x="553" y="72"/>
                </a:lnTo>
                <a:lnTo>
                  <a:pt x="553" y="61"/>
                </a:lnTo>
                <a:lnTo>
                  <a:pt x="507" y="54"/>
                </a:lnTo>
                <a:lnTo>
                  <a:pt x="430" y="0"/>
                </a:lnTo>
                <a:lnTo>
                  <a:pt x="340" y="8"/>
                </a:lnTo>
                <a:close/>
              </a:path>
            </a:pathLst>
          </a:custGeom>
          <a:solidFill>
            <a:schemeClr val="accent3"/>
          </a:solidFill>
          <a:ln w="12700">
            <a:solidFill>
              <a:schemeClr val="bg1"/>
            </a:solidFill>
            <a:round/>
            <a:headEnd/>
            <a:tailEnd/>
          </a:ln>
        </p:spPr>
        <p:txBody>
          <a:bodyPr/>
          <a:lstStyle/>
          <a:p>
            <a:pPr>
              <a:defRPr/>
            </a:pPr>
            <a:endParaRPr lang="nl-NL"/>
          </a:p>
        </p:txBody>
      </p:sp>
      <p:sp>
        <p:nvSpPr>
          <p:cNvPr id="21" name="Freeform 17"/>
          <p:cNvSpPr>
            <a:spLocks noChangeAspect="1"/>
          </p:cNvSpPr>
          <p:nvPr/>
        </p:nvSpPr>
        <p:spPr bwMode="auto">
          <a:xfrm>
            <a:off x="5109313" y="1376363"/>
            <a:ext cx="1752061" cy="2390897"/>
          </a:xfrm>
          <a:custGeom>
            <a:avLst/>
            <a:gdLst>
              <a:gd name="T0" fmla="*/ 6 w 1739"/>
              <a:gd name="T1" fmla="*/ 690 h 2416"/>
              <a:gd name="T2" fmla="*/ 0 w 1739"/>
              <a:gd name="T3" fmla="*/ 1972 h 2416"/>
              <a:gd name="T4" fmla="*/ 323 w 1739"/>
              <a:gd name="T5" fmla="*/ 2011 h 2416"/>
              <a:gd name="T6" fmla="*/ 323 w 1739"/>
              <a:gd name="T7" fmla="*/ 2335 h 2416"/>
              <a:gd name="T8" fmla="*/ 1225 w 1739"/>
              <a:gd name="T9" fmla="*/ 2416 h 2416"/>
              <a:gd name="T10" fmla="*/ 1275 w 1739"/>
              <a:gd name="T11" fmla="*/ 2354 h 2416"/>
              <a:gd name="T12" fmla="*/ 1395 w 1739"/>
              <a:gd name="T13" fmla="*/ 2354 h 2416"/>
              <a:gd name="T14" fmla="*/ 1456 w 1739"/>
              <a:gd name="T15" fmla="*/ 2415 h 2416"/>
              <a:gd name="T16" fmla="*/ 1557 w 1739"/>
              <a:gd name="T17" fmla="*/ 2415 h 2416"/>
              <a:gd name="T18" fmla="*/ 1598 w 1739"/>
              <a:gd name="T19" fmla="*/ 2354 h 2416"/>
              <a:gd name="T20" fmla="*/ 1739 w 1739"/>
              <a:gd name="T21" fmla="*/ 2354 h 2416"/>
              <a:gd name="T22" fmla="*/ 1712 w 1739"/>
              <a:gd name="T23" fmla="*/ 2246 h 2416"/>
              <a:gd name="T24" fmla="*/ 1730 w 1739"/>
              <a:gd name="T25" fmla="*/ 2074 h 2416"/>
              <a:gd name="T26" fmla="*/ 1651 w 1739"/>
              <a:gd name="T27" fmla="*/ 1864 h 2416"/>
              <a:gd name="T28" fmla="*/ 1522 w 1739"/>
              <a:gd name="T29" fmla="*/ 1721 h 2416"/>
              <a:gd name="T30" fmla="*/ 1503 w 1739"/>
              <a:gd name="T31" fmla="*/ 1563 h 2416"/>
              <a:gd name="T32" fmla="*/ 1383 w 1739"/>
              <a:gd name="T33" fmla="*/ 1563 h 2416"/>
              <a:gd name="T34" fmla="*/ 1376 w 1739"/>
              <a:gd name="T35" fmla="*/ 1446 h 2416"/>
              <a:gd name="T36" fmla="*/ 1298 w 1739"/>
              <a:gd name="T37" fmla="*/ 1365 h 2416"/>
              <a:gd name="T38" fmla="*/ 1329 w 1739"/>
              <a:gd name="T39" fmla="*/ 1320 h 2416"/>
              <a:gd name="T40" fmla="*/ 1298 w 1739"/>
              <a:gd name="T41" fmla="*/ 1257 h 2416"/>
              <a:gd name="T42" fmla="*/ 1177 w 1739"/>
              <a:gd name="T43" fmla="*/ 1209 h 2416"/>
              <a:gd name="T44" fmla="*/ 1146 w 1739"/>
              <a:gd name="T45" fmla="*/ 1137 h 2416"/>
              <a:gd name="T46" fmla="*/ 1020 w 1739"/>
              <a:gd name="T47" fmla="*/ 1084 h 2416"/>
              <a:gd name="T48" fmla="*/ 990 w 1739"/>
              <a:gd name="T49" fmla="*/ 826 h 2416"/>
              <a:gd name="T50" fmla="*/ 929 w 1739"/>
              <a:gd name="T51" fmla="*/ 777 h 2416"/>
              <a:gd name="T52" fmla="*/ 935 w 1739"/>
              <a:gd name="T53" fmla="*/ 557 h 2416"/>
              <a:gd name="T54" fmla="*/ 833 w 1739"/>
              <a:gd name="T55" fmla="*/ 479 h 2416"/>
              <a:gd name="T56" fmla="*/ 794 w 1739"/>
              <a:gd name="T57" fmla="*/ 472 h 2416"/>
              <a:gd name="T58" fmla="*/ 771 w 1739"/>
              <a:gd name="T59" fmla="*/ 511 h 2416"/>
              <a:gd name="T60" fmla="*/ 742 w 1739"/>
              <a:gd name="T61" fmla="*/ 487 h 2416"/>
              <a:gd name="T62" fmla="*/ 710 w 1739"/>
              <a:gd name="T63" fmla="*/ 314 h 2416"/>
              <a:gd name="T64" fmla="*/ 710 w 1739"/>
              <a:gd name="T65" fmla="*/ 244 h 2416"/>
              <a:gd name="T66" fmla="*/ 667 w 1739"/>
              <a:gd name="T67" fmla="*/ 227 h 2416"/>
              <a:gd name="T68" fmla="*/ 667 w 1739"/>
              <a:gd name="T69" fmla="*/ 172 h 2416"/>
              <a:gd name="T70" fmla="*/ 642 w 1739"/>
              <a:gd name="T71" fmla="*/ 189 h 2416"/>
              <a:gd name="T72" fmla="*/ 601 w 1739"/>
              <a:gd name="T73" fmla="*/ 0 h 2416"/>
              <a:gd name="T74" fmla="*/ 473 w 1739"/>
              <a:gd name="T75" fmla="*/ 164 h 2416"/>
              <a:gd name="T76" fmla="*/ 467 w 1739"/>
              <a:gd name="T77" fmla="*/ 227 h 2416"/>
              <a:gd name="T78" fmla="*/ 515 w 1739"/>
              <a:gd name="T79" fmla="*/ 251 h 2416"/>
              <a:gd name="T80" fmla="*/ 511 w 1739"/>
              <a:gd name="T81" fmla="*/ 291 h 2416"/>
              <a:gd name="T82" fmla="*/ 479 w 1739"/>
              <a:gd name="T83" fmla="*/ 260 h 2416"/>
              <a:gd name="T84" fmla="*/ 456 w 1739"/>
              <a:gd name="T85" fmla="*/ 408 h 2416"/>
              <a:gd name="T86" fmla="*/ 473 w 1739"/>
              <a:gd name="T87" fmla="*/ 462 h 2416"/>
              <a:gd name="T88" fmla="*/ 432 w 1739"/>
              <a:gd name="T89" fmla="*/ 753 h 2416"/>
              <a:gd name="T90" fmla="*/ 371 w 1739"/>
              <a:gd name="T91" fmla="*/ 841 h 2416"/>
              <a:gd name="T92" fmla="*/ 291 w 1739"/>
              <a:gd name="T93" fmla="*/ 896 h 2416"/>
              <a:gd name="T94" fmla="*/ 177 w 1739"/>
              <a:gd name="T95" fmla="*/ 864 h 2416"/>
              <a:gd name="T96" fmla="*/ 146 w 1739"/>
              <a:gd name="T97" fmla="*/ 760 h 2416"/>
              <a:gd name="T98" fmla="*/ 49 w 1739"/>
              <a:gd name="T99" fmla="*/ 760 h 2416"/>
              <a:gd name="T100" fmla="*/ 6 w 1739"/>
              <a:gd name="T101" fmla="*/ 690 h 2416"/>
              <a:gd name="T102" fmla="*/ 6 w 1739"/>
              <a:gd name="T103" fmla="*/ 690 h 24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39"/>
              <a:gd name="T157" fmla="*/ 0 h 2416"/>
              <a:gd name="T158" fmla="*/ 1739 w 1739"/>
              <a:gd name="T159" fmla="*/ 2416 h 24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39" h="2416">
                <a:moveTo>
                  <a:pt x="6" y="690"/>
                </a:moveTo>
                <a:lnTo>
                  <a:pt x="0" y="1972"/>
                </a:lnTo>
                <a:lnTo>
                  <a:pt x="323" y="2011"/>
                </a:lnTo>
                <a:lnTo>
                  <a:pt x="323" y="2335"/>
                </a:lnTo>
                <a:lnTo>
                  <a:pt x="1225" y="2416"/>
                </a:lnTo>
                <a:lnTo>
                  <a:pt x="1275" y="2354"/>
                </a:lnTo>
                <a:lnTo>
                  <a:pt x="1395" y="2354"/>
                </a:lnTo>
                <a:lnTo>
                  <a:pt x="1456" y="2415"/>
                </a:lnTo>
                <a:lnTo>
                  <a:pt x="1557" y="2415"/>
                </a:lnTo>
                <a:lnTo>
                  <a:pt x="1598" y="2354"/>
                </a:lnTo>
                <a:lnTo>
                  <a:pt x="1739" y="2354"/>
                </a:lnTo>
                <a:lnTo>
                  <a:pt x="1712" y="2246"/>
                </a:lnTo>
                <a:lnTo>
                  <a:pt x="1730" y="2074"/>
                </a:lnTo>
                <a:lnTo>
                  <a:pt x="1651" y="1864"/>
                </a:lnTo>
                <a:lnTo>
                  <a:pt x="1522" y="1721"/>
                </a:lnTo>
                <a:lnTo>
                  <a:pt x="1503" y="1563"/>
                </a:lnTo>
                <a:lnTo>
                  <a:pt x="1383" y="1563"/>
                </a:lnTo>
                <a:lnTo>
                  <a:pt x="1376" y="1446"/>
                </a:lnTo>
                <a:lnTo>
                  <a:pt x="1298" y="1365"/>
                </a:lnTo>
                <a:lnTo>
                  <a:pt x="1329" y="1320"/>
                </a:lnTo>
                <a:lnTo>
                  <a:pt x="1298" y="1257"/>
                </a:lnTo>
                <a:lnTo>
                  <a:pt x="1177" y="1209"/>
                </a:lnTo>
                <a:lnTo>
                  <a:pt x="1146" y="1137"/>
                </a:lnTo>
                <a:lnTo>
                  <a:pt x="1020" y="1084"/>
                </a:lnTo>
                <a:lnTo>
                  <a:pt x="990" y="826"/>
                </a:lnTo>
                <a:lnTo>
                  <a:pt x="929" y="777"/>
                </a:lnTo>
                <a:lnTo>
                  <a:pt x="935" y="557"/>
                </a:lnTo>
                <a:lnTo>
                  <a:pt x="833" y="479"/>
                </a:lnTo>
                <a:lnTo>
                  <a:pt x="794" y="472"/>
                </a:lnTo>
                <a:lnTo>
                  <a:pt x="771" y="511"/>
                </a:lnTo>
                <a:lnTo>
                  <a:pt x="742" y="487"/>
                </a:lnTo>
                <a:lnTo>
                  <a:pt x="710" y="314"/>
                </a:lnTo>
                <a:lnTo>
                  <a:pt x="710" y="244"/>
                </a:lnTo>
                <a:lnTo>
                  <a:pt x="667" y="227"/>
                </a:lnTo>
                <a:lnTo>
                  <a:pt x="667" y="172"/>
                </a:lnTo>
                <a:lnTo>
                  <a:pt x="642" y="189"/>
                </a:lnTo>
                <a:lnTo>
                  <a:pt x="601" y="0"/>
                </a:lnTo>
                <a:lnTo>
                  <a:pt x="473" y="164"/>
                </a:lnTo>
                <a:lnTo>
                  <a:pt x="467" y="227"/>
                </a:lnTo>
                <a:lnTo>
                  <a:pt x="515" y="251"/>
                </a:lnTo>
                <a:lnTo>
                  <a:pt x="511" y="291"/>
                </a:lnTo>
                <a:lnTo>
                  <a:pt x="479" y="260"/>
                </a:lnTo>
                <a:lnTo>
                  <a:pt x="456" y="408"/>
                </a:lnTo>
                <a:lnTo>
                  <a:pt x="473" y="462"/>
                </a:lnTo>
                <a:lnTo>
                  <a:pt x="432" y="753"/>
                </a:lnTo>
                <a:lnTo>
                  <a:pt x="371" y="841"/>
                </a:lnTo>
                <a:lnTo>
                  <a:pt x="291" y="896"/>
                </a:lnTo>
                <a:lnTo>
                  <a:pt x="177" y="864"/>
                </a:lnTo>
                <a:lnTo>
                  <a:pt x="146" y="760"/>
                </a:lnTo>
                <a:lnTo>
                  <a:pt x="49" y="760"/>
                </a:lnTo>
                <a:lnTo>
                  <a:pt x="6" y="690"/>
                </a:lnTo>
                <a:close/>
              </a:path>
            </a:pathLst>
          </a:custGeom>
          <a:solidFill>
            <a:schemeClr val="accent3"/>
          </a:solidFill>
          <a:ln w="12700">
            <a:solidFill>
              <a:schemeClr val="bg1"/>
            </a:solidFill>
            <a:round/>
            <a:headEnd/>
            <a:tailEnd/>
          </a:ln>
        </p:spPr>
        <p:txBody>
          <a:bodyPr/>
          <a:lstStyle/>
          <a:p>
            <a:pPr>
              <a:defRPr/>
            </a:pPr>
            <a:endParaRPr lang="nl-NL"/>
          </a:p>
        </p:txBody>
      </p:sp>
      <p:sp>
        <p:nvSpPr>
          <p:cNvPr id="22" name="Freeform 18"/>
          <p:cNvSpPr>
            <a:spLocks noChangeAspect="1"/>
          </p:cNvSpPr>
          <p:nvPr/>
        </p:nvSpPr>
        <p:spPr bwMode="auto">
          <a:xfrm>
            <a:off x="4072996" y="3327873"/>
            <a:ext cx="1362938" cy="1522020"/>
          </a:xfrm>
          <a:custGeom>
            <a:avLst/>
            <a:gdLst>
              <a:gd name="T0" fmla="*/ 0 w 1352"/>
              <a:gd name="T1" fmla="*/ 0 h 1538"/>
              <a:gd name="T2" fmla="*/ 59 w 1352"/>
              <a:gd name="T3" fmla="*/ 739 h 1538"/>
              <a:gd name="T4" fmla="*/ 343 w 1352"/>
              <a:gd name="T5" fmla="*/ 716 h 1538"/>
              <a:gd name="T6" fmla="*/ 398 w 1352"/>
              <a:gd name="T7" fmla="*/ 768 h 1538"/>
              <a:gd name="T8" fmla="*/ 517 w 1352"/>
              <a:gd name="T9" fmla="*/ 732 h 1538"/>
              <a:gd name="T10" fmla="*/ 584 w 1352"/>
              <a:gd name="T11" fmla="*/ 818 h 1538"/>
              <a:gd name="T12" fmla="*/ 625 w 1352"/>
              <a:gd name="T13" fmla="*/ 797 h 1538"/>
              <a:gd name="T14" fmla="*/ 789 w 1352"/>
              <a:gd name="T15" fmla="*/ 1113 h 1538"/>
              <a:gd name="T16" fmla="*/ 886 w 1352"/>
              <a:gd name="T17" fmla="*/ 994 h 1538"/>
              <a:gd name="T18" fmla="*/ 1002 w 1352"/>
              <a:gd name="T19" fmla="*/ 791 h 1538"/>
              <a:gd name="T20" fmla="*/ 1040 w 1352"/>
              <a:gd name="T21" fmla="*/ 882 h 1538"/>
              <a:gd name="T22" fmla="*/ 964 w 1352"/>
              <a:gd name="T23" fmla="*/ 1026 h 1538"/>
              <a:gd name="T24" fmla="*/ 964 w 1352"/>
              <a:gd name="T25" fmla="*/ 1113 h 1538"/>
              <a:gd name="T26" fmla="*/ 842 w 1352"/>
              <a:gd name="T27" fmla="*/ 1156 h 1538"/>
              <a:gd name="T28" fmla="*/ 1002 w 1352"/>
              <a:gd name="T29" fmla="*/ 1142 h 1538"/>
              <a:gd name="T30" fmla="*/ 1052 w 1352"/>
              <a:gd name="T31" fmla="*/ 1053 h 1538"/>
              <a:gd name="T32" fmla="*/ 1096 w 1352"/>
              <a:gd name="T33" fmla="*/ 1133 h 1538"/>
              <a:gd name="T34" fmla="*/ 1044 w 1352"/>
              <a:gd name="T35" fmla="*/ 1177 h 1538"/>
              <a:gd name="T36" fmla="*/ 1151 w 1352"/>
              <a:gd name="T37" fmla="*/ 1171 h 1538"/>
              <a:gd name="T38" fmla="*/ 1196 w 1352"/>
              <a:gd name="T39" fmla="*/ 1309 h 1538"/>
              <a:gd name="T40" fmla="*/ 1200 w 1352"/>
              <a:gd name="T41" fmla="*/ 1422 h 1538"/>
              <a:gd name="T42" fmla="*/ 1333 w 1352"/>
              <a:gd name="T43" fmla="*/ 1538 h 1538"/>
              <a:gd name="T44" fmla="*/ 1352 w 1352"/>
              <a:gd name="T45" fmla="*/ 1009 h 1538"/>
              <a:gd name="T46" fmla="*/ 1352 w 1352"/>
              <a:gd name="T47" fmla="*/ 363 h 1538"/>
              <a:gd name="T48" fmla="*/ 1352 w 1352"/>
              <a:gd name="T49" fmla="*/ 39 h 1538"/>
              <a:gd name="T50" fmla="*/ 1029 w 1352"/>
              <a:gd name="T51" fmla="*/ 0 h 1538"/>
              <a:gd name="T52" fmla="*/ 0 w 1352"/>
              <a:gd name="T53" fmla="*/ 0 h 1538"/>
              <a:gd name="T54" fmla="*/ 0 w 1352"/>
              <a:gd name="T55" fmla="*/ 0 h 153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52"/>
              <a:gd name="T85" fmla="*/ 0 h 1538"/>
              <a:gd name="T86" fmla="*/ 1352 w 1352"/>
              <a:gd name="T87" fmla="*/ 1538 h 153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52" h="1538">
                <a:moveTo>
                  <a:pt x="0" y="0"/>
                </a:moveTo>
                <a:lnTo>
                  <a:pt x="59" y="739"/>
                </a:lnTo>
                <a:lnTo>
                  <a:pt x="343" y="716"/>
                </a:lnTo>
                <a:lnTo>
                  <a:pt x="398" y="768"/>
                </a:lnTo>
                <a:lnTo>
                  <a:pt x="517" y="732"/>
                </a:lnTo>
                <a:lnTo>
                  <a:pt x="584" y="818"/>
                </a:lnTo>
                <a:lnTo>
                  <a:pt x="625" y="797"/>
                </a:lnTo>
                <a:lnTo>
                  <a:pt x="789" y="1113"/>
                </a:lnTo>
                <a:lnTo>
                  <a:pt x="886" y="994"/>
                </a:lnTo>
                <a:lnTo>
                  <a:pt x="1002" y="791"/>
                </a:lnTo>
                <a:lnTo>
                  <a:pt x="1040" y="882"/>
                </a:lnTo>
                <a:lnTo>
                  <a:pt x="964" y="1026"/>
                </a:lnTo>
                <a:lnTo>
                  <a:pt x="964" y="1113"/>
                </a:lnTo>
                <a:lnTo>
                  <a:pt x="842" y="1156"/>
                </a:lnTo>
                <a:lnTo>
                  <a:pt x="1002" y="1142"/>
                </a:lnTo>
                <a:lnTo>
                  <a:pt x="1052" y="1053"/>
                </a:lnTo>
                <a:lnTo>
                  <a:pt x="1096" y="1133"/>
                </a:lnTo>
                <a:lnTo>
                  <a:pt x="1044" y="1177"/>
                </a:lnTo>
                <a:lnTo>
                  <a:pt x="1151" y="1171"/>
                </a:lnTo>
                <a:lnTo>
                  <a:pt x="1196" y="1309"/>
                </a:lnTo>
                <a:lnTo>
                  <a:pt x="1200" y="1422"/>
                </a:lnTo>
                <a:lnTo>
                  <a:pt x="1333" y="1538"/>
                </a:lnTo>
                <a:lnTo>
                  <a:pt x="1352" y="1009"/>
                </a:lnTo>
                <a:lnTo>
                  <a:pt x="1352" y="363"/>
                </a:lnTo>
                <a:lnTo>
                  <a:pt x="1352" y="39"/>
                </a:lnTo>
                <a:lnTo>
                  <a:pt x="1029" y="0"/>
                </a:lnTo>
                <a:lnTo>
                  <a:pt x="0" y="0"/>
                </a:lnTo>
                <a:close/>
              </a:path>
            </a:pathLst>
          </a:custGeom>
          <a:solidFill>
            <a:schemeClr val="accent3"/>
          </a:solidFill>
          <a:ln w="12700">
            <a:solidFill>
              <a:schemeClr val="bg1"/>
            </a:solidFill>
            <a:round/>
            <a:headEnd/>
            <a:tailEnd/>
          </a:ln>
        </p:spPr>
        <p:txBody>
          <a:bodyPr/>
          <a:lstStyle/>
          <a:p>
            <a:pPr>
              <a:defRPr/>
            </a:pPr>
            <a:endParaRPr lang="nl-NL"/>
          </a:p>
        </p:txBody>
      </p:sp>
      <p:sp>
        <p:nvSpPr>
          <p:cNvPr id="23" name="Freeform 19"/>
          <p:cNvSpPr>
            <a:spLocks noChangeAspect="1"/>
          </p:cNvSpPr>
          <p:nvPr/>
        </p:nvSpPr>
        <p:spPr bwMode="auto">
          <a:xfrm>
            <a:off x="5435934" y="3686112"/>
            <a:ext cx="1435521" cy="1142009"/>
          </a:xfrm>
          <a:custGeom>
            <a:avLst/>
            <a:gdLst>
              <a:gd name="T0" fmla="*/ 0 w 1425"/>
              <a:gd name="T1" fmla="*/ 0 h 1154"/>
              <a:gd name="T2" fmla="*/ 902 w 1425"/>
              <a:gd name="T3" fmla="*/ 81 h 1154"/>
              <a:gd name="T4" fmla="*/ 952 w 1425"/>
              <a:gd name="T5" fmla="*/ 19 h 1154"/>
              <a:gd name="T6" fmla="*/ 1072 w 1425"/>
              <a:gd name="T7" fmla="*/ 19 h 1154"/>
              <a:gd name="T8" fmla="*/ 1133 w 1425"/>
              <a:gd name="T9" fmla="*/ 80 h 1154"/>
              <a:gd name="T10" fmla="*/ 1234 w 1425"/>
              <a:gd name="T11" fmla="*/ 80 h 1154"/>
              <a:gd name="T12" fmla="*/ 1275 w 1425"/>
              <a:gd name="T13" fmla="*/ 19 h 1154"/>
              <a:gd name="T14" fmla="*/ 1416 w 1425"/>
              <a:gd name="T15" fmla="*/ 19 h 1154"/>
              <a:gd name="T16" fmla="*/ 1425 w 1425"/>
              <a:gd name="T17" fmla="*/ 55 h 1154"/>
              <a:gd name="T18" fmla="*/ 1323 w 1425"/>
              <a:gd name="T19" fmla="*/ 414 h 1154"/>
              <a:gd name="T20" fmla="*/ 1226 w 1425"/>
              <a:gd name="T21" fmla="*/ 441 h 1154"/>
              <a:gd name="T22" fmla="*/ 1220 w 1425"/>
              <a:gd name="T23" fmla="*/ 511 h 1154"/>
              <a:gd name="T24" fmla="*/ 1212 w 1425"/>
              <a:gd name="T25" fmla="*/ 549 h 1154"/>
              <a:gd name="T26" fmla="*/ 1066 w 1425"/>
              <a:gd name="T27" fmla="*/ 771 h 1154"/>
              <a:gd name="T28" fmla="*/ 928 w 1425"/>
              <a:gd name="T29" fmla="*/ 890 h 1154"/>
              <a:gd name="T30" fmla="*/ 870 w 1425"/>
              <a:gd name="T31" fmla="*/ 1154 h 1154"/>
              <a:gd name="T32" fmla="*/ 709 w 1425"/>
              <a:gd name="T33" fmla="*/ 1072 h 1154"/>
              <a:gd name="T34" fmla="*/ 668 w 1425"/>
              <a:gd name="T35" fmla="*/ 951 h 1154"/>
              <a:gd name="T36" fmla="*/ 405 w 1425"/>
              <a:gd name="T37" fmla="*/ 890 h 1154"/>
              <a:gd name="T38" fmla="*/ 325 w 1425"/>
              <a:gd name="T39" fmla="*/ 911 h 1154"/>
              <a:gd name="T40" fmla="*/ 223 w 1425"/>
              <a:gd name="T41" fmla="*/ 809 h 1154"/>
              <a:gd name="T42" fmla="*/ 223 w 1425"/>
              <a:gd name="T43" fmla="*/ 728 h 1154"/>
              <a:gd name="T44" fmla="*/ 164 w 1425"/>
              <a:gd name="T45" fmla="*/ 750 h 1154"/>
              <a:gd name="T46" fmla="*/ 103 w 1425"/>
              <a:gd name="T47" fmla="*/ 646 h 1154"/>
              <a:gd name="T48" fmla="*/ 0 w 1425"/>
              <a:gd name="T49" fmla="*/ 646 h 1154"/>
              <a:gd name="T50" fmla="*/ 0 w 1425"/>
              <a:gd name="T51" fmla="*/ 0 h 1154"/>
              <a:gd name="T52" fmla="*/ 0 w 1425"/>
              <a:gd name="T53" fmla="*/ 0 h 115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425"/>
              <a:gd name="T82" fmla="*/ 0 h 1154"/>
              <a:gd name="T83" fmla="*/ 1425 w 1425"/>
              <a:gd name="T84" fmla="*/ 1154 h 115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425" h="1154">
                <a:moveTo>
                  <a:pt x="0" y="0"/>
                </a:moveTo>
                <a:lnTo>
                  <a:pt x="902" y="81"/>
                </a:lnTo>
                <a:lnTo>
                  <a:pt x="952" y="19"/>
                </a:lnTo>
                <a:lnTo>
                  <a:pt x="1072" y="19"/>
                </a:lnTo>
                <a:lnTo>
                  <a:pt x="1133" y="80"/>
                </a:lnTo>
                <a:lnTo>
                  <a:pt x="1234" y="80"/>
                </a:lnTo>
                <a:lnTo>
                  <a:pt x="1275" y="19"/>
                </a:lnTo>
                <a:lnTo>
                  <a:pt x="1416" y="19"/>
                </a:lnTo>
                <a:lnTo>
                  <a:pt x="1425" y="55"/>
                </a:lnTo>
                <a:lnTo>
                  <a:pt x="1323" y="414"/>
                </a:lnTo>
                <a:lnTo>
                  <a:pt x="1226" y="441"/>
                </a:lnTo>
                <a:lnTo>
                  <a:pt x="1220" y="511"/>
                </a:lnTo>
                <a:lnTo>
                  <a:pt x="1212" y="549"/>
                </a:lnTo>
                <a:lnTo>
                  <a:pt x="1066" y="771"/>
                </a:lnTo>
                <a:lnTo>
                  <a:pt x="928" y="890"/>
                </a:lnTo>
                <a:lnTo>
                  <a:pt x="870" y="1154"/>
                </a:lnTo>
                <a:lnTo>
                  <a:pt x="709" y="1072"/>
                </a:lnTo>
                <a:lnTo>
                  <a:pt x="668" y="951"/>
                </a:lnTo>
                <a:lnTo>
                  <a:pt x="405" y="890"/>
                </a:lnTo>
                <a:lnTo>
                  <a:pt x="325" y="911"/>
                </a:lnTo>
                <a:lnTo>
                  <a:pt x="223" y="809"/>
                </a:lnTo>
                <a:lnTo>
                  <a:pt x="223" y="728"/>
                </a:lnTo>
                <a:lnTo>
                  <a:pt x="164" y="750"/>
                </a:lnTo>
                <a:lnTo>
                  <a:pt x="103" y="646"/>
                </a:lnTo>
                <a:lnTo>
                  <a:pt x="0" y="646"/>
                </a:lnTo>
                <a:lnTo>
                  <a:pt x="0" y="0"/>
                </a:lnTo>
                <a:close/>
              </a:path>
            </a:pathLst>
          </a:custGeom>
          <a:solidFill>
            <a:schemeClr val="accent3"/>
          </a:solidFill>
          <a:ln w="12700">
            <a:solidFill>
              <a:schemeClr val="bg1"/>
            </a:solidFill>
            <a:round/>
            <a:headEnd/>
            <a:tailEnd/>
          </a:ln>
        </p:spPr>
        <p:txBody>
          <a:bodyPr/>
          <a:lstStyle/>
          <a:p>
            <a:pPr>
              <a:defRPr/>
            </a:pPr>
            <a:endParaRPr lang="nl-NL"/>
          </a:p>
        </p:txBody>
      </p:sp>
      <p:sp>
        <p:nvSpPr>
          <p:cNvPr id="24" name="Freeform 20"/>
          <p:cNvSpPr>
            <a:spLocks noChangeAspect="1"/>
          </p:cNvSpPr>
          <p:nvPr/>
        </p:nvSpPr>
        <p:spPr bwMode="auto">
          <a:xfrm>
            <a:off x="5415772" y="4325400"/>
            <a:ext cx="897201" cy="657101"/>
          </a:xfrm>
          <a:custGeom>
            <a:avLst/>
            <a:gdLst>
              <a:gd name="T0" fmla="*/ 19 w 889"/>
              <a:gd name="T1" fmla="*/ 0 h 663"/>
              <a:gd name="T2" fmla="*/ 0 w 889"/>
              <a:gd name="T3" fmla="*/ 529 h 663"/>
              <a:gd name="T4" fmla="*/ 19 w 889"/>
              <a:gd name="T5" fmla="*/ 548 h 663"/>
              <a:gd name="T6" fmla="*/ 72 w 889"/>
              <a:gd name="T7" fmla="*/ 537 h 663"/>
              <a:gd name="T8" fmla="*/ 224 w 889"/>
              <a:gd name="T9" fmla="*/ 622 h 663"/>
              <a:gd name="T10" fmla="*/ 374 w 889"/>
              <a:gd name="T11" fmla="*/ 504 h 663"/>
              <a:gd name="T12" fmla="*/ 371 w 889"/>
              <a:gd name="T13" fmla="*/ 587 h 663"/>
              <a:gd name="T14" fmla="*/ 523 w 889"/>
              <a:gd name="T15" fmla="*/ 663 h 663"/>
              <a:gd name="T16" fmla="*/ 514 w 889"/>
              <a:gd name="T17" fmla="*/ 587 h 663"/>
              <a:gd name="T18" fmla="*/ 684 w 889"/>
              <a:gd name="T19" fmla="*/ 517 h 663"/>
              <a:gd name="T20" fmla="*/ 889 w 889"/>
              <a:gd name="T21" fmla="*/ 508 h 663"/>
              <a:gd name="T22" fmla="*/ 728 w 889"/>
              <a:gd name="T23" fmla="*/ 426 h 663"/>
              <a:gd name="T24" fmla="*/ 687 w 889"/>
              <a:gd name="T25" fmla="*/ 305 h 663"/>
              <a:gd name="T26" fmla="*/ 424 w 889"/>
              <a:gd name="T27" fmla="*/ 244 h 663"/>
              <a:gd name="T28" fmla="*/ 344 w 889"/>
              <a:gd name="T29" fmla="*/ 265 h 663"/>
              <a:gd name="T30" fmla="*/ 242 w 889"/>
              <a:gd name="T31" fmla="*/ 163 h 663"/>
              <a:gd name="T32" fmla="*/ 242 w 889"/>
              <a:gd name="T33" fmla="*/ 82 h 663"/>
              <a:gd name="T34" fmla="*/ 183 w 889"/>
              <a:gd name="T35" fmla="*/ 104 h 663"/>
              <a:gd name="T36" fmla="*/ 122 w 889"/>
              <a:gd name="T37" fmla="*/ 0 h 663"/>
              <a:gd name="T38" fmla="*/ 19 w 889"/>
              <a:gd name="T39" fmla="*/ 0 h 663"/>
              <a:gd name="T40" fmla="*/ 19 w 889"/>
              <a:gd name="T41" fmla="*/ 0 h 6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89"/>
              <a:gd name="T64" fmla="*/ 0 h 663"/>
              <a:gd name="T65" fmla="*/ 889 w 889"/>
              <a:gd name="T66" fmla="*/ 663 h 6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89" h="663">
                <a:moveTo>
                  <a:pt x="19" y="0"/>
                </a:moveTo>
                <a:lnTo>
                  <a:pt x="0" y="529"/>
                </a:lnTo>
                <a:lnTo>
                  <a:pt x="19" y="548"/>
                </a:lnTo>
                <a:lnTo>
                  <a:pt x="72" y="537"/>
                </a:lnTo>
                <a:lnTo>
                  <a:pt x="224" y="622"/>
                </a:lnTo>
                <a:lnTo>
                  <a:pt x="374" y="504"/>
                </a:lnTo>
                <a:lnTo>
                  <a:pt x="371" y="587"/>
                </a:lnTo>
                <a:lnTo>
                  <a:pt x="523" y="663"/>
                </a:lnTo>
                <a:lnTo>
                  <a:pt x="514" y="587"/>
                </a:lnTo>
                <a:lnTo>
                  <a:pt x="684" y="517"/>
                </a:lnTo>
                <a:lnTo>
                  <a:pt x="889" y="508"/>
                </a:lnTo>
                <a:lnTo>
                  <a:pt x="728" y="426"/>
                </a:lnTo>
                <a:lnTo>
                  <a:pt x="687" y="305"/>
                </a:lnTo>
                <a:lnTo>
                  <a:pt x="424" y="244"/>
                </a:lnTo>
                <a:lnTo>
                  <a:pt x="344" y="265"/>
                </a:lnTo>
                <a:lnTo>
                  <a:pt x="242" y="163"/>
                </a:lnTo>
                <a:lnTo>
                  <a:pt x="242" y="82"/>
                </a:lnTo>
                <a:lnTo>
                  <a:pt x="183" y="104"/>
                </a:lnTo>
                <a:lnTo>
                  <a:pt x="122" y="0"/>
                </a:lnTo>
                <a:lnTo>
                  <a:pt x="19" y="0"/>
                </a:lnTo>
                <a:close/>
              </a:path>
            </a:pathLst>
          </a:custGeom>
          <a:solidFill>
            <a:schemeClr val="accent3"/>
          </a:solidFill>
          <a:ln w="12700">
            <a:solidFill>
              <a:schemeClr val="bg1"/>
            </a:solidFill>
            <a:round/>
            <a:headEnd/>
            <a:tailEnd/>
          </a:ln>
        </p:spPr>
        <p:txBody>
          <a:bodyPr/>
          <a:lstStyle/>
          <a:p>
            <a:pPr>
              <a:defRPr/>
            </a:pPr>
            <a:endParaRPr lang="nl-NL"/>
          </a:p>
        </p:txBody>
      </p:sp>
      <p:sp>
        <p:nvSpPr>
          <p:cNvPr id="1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5" name="Text Placeholder 36"/>
          <p:cNvSpPr txBox="1">
            <a:spLocks/>
          </p:cNvSpPr>
          <p:nvPr/>
        </p:nvSpPr>
        <p:spPr bwMode="gray">
          <a:xfrm>
            <a:off x="411479" y="6162301"/>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3729" name="Title 1"/>
          <p:cNvSpPr>
            <a:spLocks noGrp="1"/>
          </p:cNvSpPr>
          <p:nvPr>
            <p:ph type="title"/>
          </p:nvPr>
        </p:nvSpPr>
        <p:spPr>
          <a:xfrm>
            <a:off x="414338" y="446038"/>
            <a:ext cx="8330184" cy="333425"/>
          </a:xfrm>
        </p:spPr>
        <p:txBody>
          <a:bodyPr/>
          <a:lstStyle/>
          <a:p>
            <a:r>
              <a:rPr lang="nl-NL"/>
              <a:t>Maps </a:t>
            </a:r>
            <a:r>
              <a:rPr lang="en-US"/>
              <a:t>—</a:t>
            </a:r>
            <a:r>
              <a:rPr lang="nl-NL" smtClean="0"/>
              <a:t> </a:t>
            </a:r>
            <a:r>
              <a:rPr lang="nl-NL"/>
              <a:t>Germany and Spain</a:t>
            </a:r>
          </a:p>
        </p:txBody>
      </p:sp>
      <p:sp>
        <p:nvSpPr>
          <p:cNvPr id="9" name="Freeform 7"/>
          <p:cNvSpPr>
            <a:spLocks noChangeAspect="1"/>
          </p:cNvSpPr>
          <p:nvPr/>
        </p:nvSpPr>
        <p:spPr bwMode="auto">
          <a:xfrm>
            <a:off x="4799603" y="1649962"/>
            <a:ext cx="3947521" cy="3601546"/>
          </a:xfrm>
          <a:custGeom>
            <a:avLst/>
            <a:gdLst>
              <a:gd name="T0" fmla="*/ 2084 w 2087"/>
              <a:gd name="T1" fmla="*/ 294 h 1758"/>
              <a:gd name="T2" fmla="*/ 2011 w 2087"/>
              <a:gd name="T3" fmla="*/ 256 h 1758"/>
              <a:gd name="T4" fmla="*/ 1921 w 2087"/>
              <a:gd name="T5" fmla="*/ 257 h 1758"/>
              <a:gd name="T6" fmla="*/ 1860 w 2087"/>
              <a:gd name="T7" fmla="*/ 256 h 1758"/>
              <a:gd name="T8" fmla="*/ 1775 w 2087"/>
              <a:gd name="T9" fmla="*/ 210 h 1758"/>
              <a:gd name="T10" fmla="*/ 1706 w 2087"/>
              <a:gd name="T11" fmla="*/ 189 h 1758"/>
              <a:gd name="T12" fmla="*/ 1622 w 2087"/>
              <a:gd name="T13" fmla="*/ 212 h 1758"/>
              <a:gd name="T14" fmla="*/ 1534 w 2087"/>
              <a:gd name="T15" fmla="*/ 207 h 1758"/>
              <a:gd name="T16" fmla="*/ 1418 w 2087"/>
              <a:gd name="T17" fmla="*/ 168 h 1758"/>
              <a:gd name="T18" fmla="*/ 1317 w 2087"/>
              <a:gd name="T19" fmla="*/ 138 h 1758"/>
              <a:gd name="T20" fmla="*/ 1253 w 2087"/>
              <a:gd name="T21" fmla="*/ 90 h 1758"/>
              <a:gd name="T22" fmla="*/ 1144 w 2087"/>
              <a:gd name="T23" fmla="*/ 103 h 1758"/>
              <a:gd name="T24" fmla="*/ 1031 w 2087"/>
              <a:gd name="T25" fmla="*/ 93 h 1758"/>
              <a:gd name="T26" fmla="*/ 948 w 2087"/>
              <a:gd name="T27" fmla="*/ 70 h 1758"/>
              <a:gd name="T28" fmla="*/ 881 w 2087"/>
              <a:gd name="T29" fmla="*/ 73 h 1758"/>
              <a:gd name="T30" fmla="*/ 695 w 2087"/>
              <a:gd name="T31" fmla="*/ 67 h 1758"/>
              <a:gd name="T32" fmla="*/ 580 w 2087"/>
              <a:gd name="T33" fmla="*/ 37 h 1758"/>
              <a:gd name="T34" fmla="*/ 461 w 2087"/>
              <a:gd name="T35" fmla="*/ 47 h 1758"/>
              <a:gd name="T36" fmla="*/ 326 w 2087"/>
              <a:gd name="T37" fmla="*/ 16 h 1758"/>
              <a:gd name="T38" fmla="*/ 253 w 2087"/>
              <a:gd name="T39" fmla="*/ 0 h 1758"/>
              <a:gd name="T40" fmla="*/ 195 w 2087"/>
              <a:gd name="T41" fmla="*/ 23 h 1758"/>
              <a:gd name="T42" fmla="*/ 159 w 2087"/>
              <a:gd name="T43" fmla="*/ 81 h 1758"/>
              <a:gd name="T44" fmla="*/ 15 w 2087"/>
              <a:gd name="T45" fmla="*/ 134 h 1758"/>
              <a:gd name="T46" fmla="*/ 34 w 2087"/>
              <a:gd name="T47" fmla="*/ 251 h 1758"/>
              <a:gd name="T48" fmla="*/ 76 w 2087"/>
              <a:gd name="T49" fmla="*/ 262 h 1758"/>
              <a:gd name="T50" fmla="*/ 67 w 2087"/>
              <a:gd name="T51" fmla="*/ 426 h 1758"/>
              <a:gd name="T52" fmla="*/ 157 w 2087"/>
              <a:gd name="T53" fmla="*/ 373 h 1758"/>
              <a:gd name="T54" fmla="*/ 201 w 2087"/>
              <a:gd name="T55" fmla="*/ 437 h 1758"/>
              <a:gd name="T56" fmla="*/ 321 w 2087"/>
              <a:gd name="T57" fmla="*/ 438 h 1758"/>
              <a:gd name="T58" fmla="*/ 466 w 2087"/>
              <a:gd name="T59" fmla="*/ 485 h 1758"/>
              <a:gd name="T60" fmla="*/ 438 w 2087"/>
              <a:gd name="T61" fmla="*/ 562 h 1758"/>
              <a:gd name="T62" fmla="*/ 384 w 2087"/>
              <a:gd name="T63" fmla="*/ 614 h 1758"/>
              <a:gd name="T64" fmla="*/ 361 w 2087"/>
              <a:gd name="T65" fmla="*/ 790 h 1758"/>
              <a:gd name="T66" fmla="*/ 362 w 2087"/>
              <a:gd name="T67" fmla="*/ 879 h 1758"/>
              <a:gd name="T68" fmla="*/ 286 w 2087"/>
              <a:gd name="T69" fmla="*/ 910 h 1758"/>
              <a:gd name="T70" fmla="*/ 301 w 2087"/>
              <a:gd name="T71" fmla="*/ 1017 h 1758"/>
              <a:gd name="T72" fmla="*/ 333 w 2087"/>
              <a:gd name="T73" fmla="*/ 1100 h 1758"/>
              <a:gd name="T74" fmla="*/ 322 w 2087"/>
              <a:gd name="T75" fmla="*/ 1273 h 1758"/>
              <a:gd name="T76" fmla="*/ 251 w 2087"/>
              <a:gd name="T77" fmla="*/ 1360 h 1758"/>
              <a:gd name="T78" fmla="*/ 316 w 2087"/>
              <a:gd name="T79" fmla="*/ 1481 h 1758"/>
              <a:gd name="T80" fmla="*/ 444 w 2087"/>
              <a:gd name="T81" fmla="*/ 1552 h 1758"/>
              <a:gd name="T82" fmla="*/ 485 w 2087"/>
              <a:gd name="T83" fmla="*/ 1696 h 1758"/>
              <a:gd name="T84" fmla="*/ 595 w 2087"/>
              <a:gd name="T85" fmla="*/ 1758 h 1758"/>
              <a:gd name="T86" fmla="*/ 654 w 2087"/>
              <a:gd name="T87" fmla="*/ 1678 h 1758"/>
              <a:gd name="T88" fmla="*/ 774 w 2087"/>
              <a:gd name="T89" fmla="*/ 1632 h 1758"/>
              <a:gd name="T90" fmla="*/ 908 w 2087"/>
              <a:gd name="T91" fmla="*/ 1590 h 1758"/>
              <a:gd name="T92" fmla="*/ 1015 w 2087"/>
              <a:gd name="T93" fmla="*/ 1593 h 1758"/>
              <a:gd name="T94" fmla="*/ 1120 w 2087"/>
              <a:gd name="T95" fmla="*/ 1593 h 1758"/>
              <a:gd name="T96" fmla="*/ 1199 w 2087"/>
              <a:gd name="T97" fmla="*/ 1585 h 1758"/>
              <a:gd name="T98" fmla="*/ 1265 w 2087"/>
              <a:gd name="T99" fmla="*/ 1518 h 1758"/>
              <a:gd name="T100" fmla="*/ 1395 w 2087"/>
              <a:gd name="T101" fmla="*/ 1395 h 1758"/>
              <a:gd name="T102" fmla="*/ 1488 w 2087"/>
              <a:gd name="T103" fmla="*/ 1263 h 1758"/>
              <a:gd name="T104" fmla="*/ 1556 w 2087"/>
              <a:gd name="T105" fmla="*/ 1172 h 1758"/>
              <a:gd name="T106" fmla="*/ 1572 w 2087"/>
              <a:gd name="T107" fmla="*/ 1079 h 1758"/>
              <a:gd name="T108" fmla="*/ 1601 w 2087"/>
              <a:gd name="T109" fmla="*/ 816 h 1758"/>
              <a:gd name="T110" fmla="*/ 1700 w 2087"/>
              <a:gd name="T111" fmla="*/ 684 h 1758"/>
              <a:gd name="T112" fmla="*/ 1735 w 2087"/>
              <a:gd name="T113" fmla="*/ 595 h 1758"/>
              <a:gd name="T114" fmla="*/ 1929 w 2087"/>
              <a:gd name="T115" fmla="*/ 516 h 1758"/>
              <a:gd name="T116" fmla="*/ 2063 w 2087"/>
              <a:gd name="T117" fmla="*/ 407 h 17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87"/>
              <a:gd name="T178" fmla="*/ 0 h 1758"/>
              <a:gd name="T179" fmla="*/ 2087 w 2087"/>
              <a:gd name="T180" fmla="*/ 1758 h 175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87" h="1758">
                <a:moveTo>
                  <a:pt x="2087" y="363"/>
                </a:moveTo>
                <a:lnTo>
                  <a:pt x="2087" y="357"/>
                </a:lnTo>
                <a:lnTo>
                  <a:pt x="2086" y="351"/>
                </a:lnTo>
                <a:lnTo>
                  <a:pt x="2085" y="346"/>
                </a:lnTo>
                <a:lnTo>
                  <a:pt x="2082" y="340"/>
                </a:lnTo>
                <a:lnTo>
                  <a:pt x="2079" y="334"/>
                </a:lnTo>
                <a:lnTo>
                  <a:pt x="2073" y="323"/>
                </a:lnTo>
                <a:lnTo>
                  <a:pt x="2071" y="309"/>
                </a:lnTo>
                <a:lnTo>
                  <a:pt x="2078" y="301"/>
                </a:lnTo>
                <a:lnTo>
                  <a:pt x="2081" y="298"/>
                </a:lnTo>
                <a:lnTo>
                  <a:pt x="2084" y="294"/>
                </a:lnTo>
                <a:lnTo>
                  <a:pt x="2084" y="288"/>
                </a:lnTo>
                <a:lnTo>
                  <a:pt x="2084" y="281"/>
                </a:lnTo>
                <a:lnTo>
                  <a:pt x="2080" y="267"/>
                </a:lnTo>
                <a:lnTo>
                  <a:pt x="2073" y="255"/>
                </a:lnTo>
                <a:lnTo>
                  <a:pt x="2065" y="245"/>
                </a:lnTo>
                <a:lnTo>
                  <a:pt x="2055" y="240"/>
                </a:lnTo>
                <a:lnTo>
                  <a:pt x="2047" y="239"/>
                </a:lnTo>
                <a:lnTo>
                  <a:pt x="2037" y="241"/>
                </a:lnTo>
                <a:lnTo>
                  <a:pt x="2028" y="244"/>
                </a:lnTo>
                <a:lnTo>
                  <a:pt x="2020" y="250"/>
                </a:lnTo>
                <a:lnTo>
                  <a:pt x="2011" y="256"/>
                </a:lnTo>
                <a:lnTo>
                  <a:pt x="2003" y="263"/>
                </a:lnTo>
                <a:lnTo>
                  <a:pt x="1995" y="269"/>
                </a:lnTo>
                <a:lnTo>
                  <a:pt x="1988" y="273"/>
                </a:lnTo>
                <a:lnTo>
                  <a:pt x="1981" y="275"/>
                </a:lnTo>
                <a:lnTo>
                  <a:pt x="1974" y="274"/>
                </a:lnTo>
                <a:lnTo>
                  <a:pt x="1966" y="272"/>
                </a:lnTo>
                <a:lnTo>
                  <a:pt x="1957" y="267"/>
                </a:lnTo>
                <a:lnTo>
                  <a:pt x="1948" y="263"/>
                </a:lnTo>
                <a:lnTo>
                  <a:pt x="1940" y="258"/>
                </a:lnTo>
                <a:lnTo>
                  <a:pt x="1930" y="257"/>
                </a:lnTo>
                <a:lnTo>
                  <a:pt x="1921" y="257"/>
                </a:lnTo>
                <a:lnTo>
                  <a:pt x="1914" y="259"/>
                </a:lnTo>
                <a:lnTo>
                  <a:pt x="1909" y="262"/>
                </a:lnTo>
                <a:lnTo>
                  <a:pt x="1904" y="264"/>
                </a:lnTo>
                <a:lnTo>
                  <a:pt x="1900" y="265"/>
                </a:lnTo>
                <a:lnTo>
                  <a:pt x="1897" y="266"/>
                </a:lnTo>
                <a:lnTo>
                  <a:pt x="1892" y="266"/>
                </a:lnTo>
                <a:lnTo>
                  <a:pt x="1889" y="265"/>
                </a:lnTo>
                <a:lnTo>
                  <a:pt x="1883" y="262"/>
                </a:lnTo>
                <a:lnTo>
                  <a:pt x="1876" y="258"/>
                </a:lnTo>
                <a:lnTo>
                  <a:pt x="1868" y="257"/>
                </a:lnTo>
                <a:lnTo>
                  <a:pt x="1860" y="256"/>
                </a:lnTo>
                <a:lnTo>
                  <a:pt x="1852" y="256"/>
                </a:lnTo>
                <a:lnTo>
                  <a:pt x="1844" y="256"/>
                </a:lnTo>
                <a:lnTo>
                  <a:pt x="1836" y="256"/>
                </a:lnTo>
                <a:lnTo>
                  <a:pt x="1828" y="257"/>
                </a:lnTo>
                <a:lnTo>
                  <a:pt x="1821" y="257"/>
                </a:lnTo>
                <a:lnTo>
                  <a:pt x="1814" y="255"/>
                </a:lnTo>
                <a:lnTo>
                  <a:pt x="1807" y="248"/>
                </a:lnTo>
                <a:lnTo>
                  <a:pt x="1799" y="239"/>
                </a:lnTo>
                <a:lnTo>
                  <a:pt x="1791" y="228"/>
                </a:lnTo>
                <a:lnTo>
                  <a:pt x="1783" y="219"/>
                </a:lnTo>
                <a:lnTo>
                  <a:pt x="1775" y="210"/>
                </a:lnTo>
                <a:lnTo>
                  <a:pt x="1767" y="203"/>
                </a:lnTo>
                <a:lnTo>
                  <a:pt x="1760" y="201"/>
                </a:lnTo>
                <a:lnTo>
                  <a:pt x="1754" y="201"/>
                </a:lnTo>
                <a:lnTo>
                  <a:pt x="1751" y="199"/>
                </a:lnTo>
                <a:lnTo>
                  <a:pt x="1746" y="197"/>
                </a:lnTo>
                <a:lnTo>
                  <a:pt x="1743" y="195"/>
                </a:lnTo>
                <a:lnTo>
                  <a:pt x="1738" y="194"/>
                </a:lnTo>
                <a:lnTo>
                  <a:pt x="1732" y="191"/>
                </a:lnTo>
                <a:lnTo>
                  <a:pt x="1725" y="190"/>
                </a:lnTo>
                <a:lnTo>
                  <a:pt x="1716" y="190"/>
                </a:lnTo>
                <a:lnTo>
                  <a:pt x="1706" y="189"/>
                </a:lnTo>
                <a:lnTo>
                  <a:pt x="1697" y="187"/>
                </a:lnTo>
                <a:lnTo>
                  <a:pt x="1687" y="183"/>
                </a:lnTo>
                <a:lnTo>
                  <a:pt x="1679" y="181"/>
                </a:lnTo>
                <a:lnTo>
                  <a:pt x="1671" y="179"/>
                </a:lnTo>
                <a:lnTo>
                  <a:pt x="1666" y="178"/>
                </a:lnTo>
                <a:lnTo>
                  <a:pt x="1660" y="180"/>
                </a:lnTo>
                <a:lnTo>
                  <a:pt x="1655" y="184"/>
                </a:lnTo>
                <a:lnTo>
                  <a:pt x="1649" y="196"/>
                </a:lnTo>
                <a:lnTo>
                  <a:pt x="1647" y="204"/>
                </a:lnTo>
                <a:lnTo>
                  <a:pt x="1639" y="210"/>
                </a:lnTo>
                <a:lnTo>
                  <a:pt x="1622" y="212"/>
                </a:lnTo>
                <a:lnTo>
                  <a:pt x="1609" y="212"/>
                </a:lnTo>
                <a:lnTo>
                  <a:pt x="1595" y="213"/>
                </a:lnTo>
                <a:lnTo>
                  <a:pt x="1583" y="214"/>
                </a:lnTo>
                <a:lnTo>
                  <a:pt x="1570" y="214"/>
                </a:lnTo>
                <a:lnTo>
                  <a:pt x="1560" y="216"/>
                </a:lnTo>
                <a:lnTo>
                  <a:pt x="1552" y="217"/>
                </a:lnTo>
                <a:lnTo>
                  <a:pt x="1546" y="218"/>
                </a:lnTo>
                <a:lnTo>
                  <a:pt x="1543" y="218"/>
                </a:lnTo>
                <a:lnTo>
                  <a:pt x="1542" y="217"/>
                </a:lnTo>
                <a:lnTo>
                  <a:pt x="1540" y="213"/>
                </a:lnTo>
                <a:lnTo>
                  <a:pt x="1534" y="207"/>
                </a:lnTo>
                <a:lnTo>
                  <a:pt x="1529" y="203"/>
                </a:lnTo>
                <a:lnTo>
                  <a:pt x="1520" y="197"/>
                </a:lnTo>
                <a:lnTo>
                  <a:pt x="1511" y="194"/>
                </a:lnTo>
                <a:lnTo>
                  <a:pt x="1500" y="193"/>
                </a:lnTo>
                <a:lnTo>
                  <a:pt x="1488" y="195"/>
                </a:lnTo>
                <a:lnTo>
                  <a:pt x="1476" y="196"/>
                </a:lnTo>
                <a:lnTo>
                  <a:pt x="1465" y="194"/>
                </a:lnTo>
                <a:lnTo>
                  <a:pt x="1454" y="188"/>
                </a:lnTo>
                <a:lnTo>
                  <a:pt x="1442" y="181"/>
                </a:lnTo>
                <a:lnTo>
                  <a:pt x="1431" y="174"/>
                </a:lnTo>
                <a:lnTo>
                  <a:pt x="1418" y="168"/>
                </a:lnTo>
                <a:lnTo>
                  <a:pt x="1403" y="166"/>
                </a:lnTo>
                <a:lnTo>
                  <a:pt x="1388" y="167"/>
                </a:lnTo>
                <a:lnTo>
                  <a:pt x="1375" y="169"/>
                </a:lnTo>
                <a:lnTo>
                  <a:pt x="1371" y="167"/>
                </a:lnTo>
                <a:lnTo>
                  <a:pt x="1368" y="164"/>
                </a:lnTo>
                <a:lnTo>
                  <a:pt x="1368" y="158"/>
                </a:lnTo>
                <a:lnTo>
                  <a:pt x="1365" y="151"/>
                </a:lnTo>
                <a:lnTo>
                  <a:pt x="1358" y="145"/>
                </a:lnTo>
                <a:lnTo>
                  <a:pt x="1342" y="141"/>
                </a:lnTo>
                <a:lnTo>
                  <a:pt x="1315" y="140"/>
                </a:lnTo>
                <a:lnTo>
                  <a:pt x="1317" y="138"/>
                </a:lnTo>
                <a:lnTo>
                  <a:pt x="1318" y="134"/>
                </a:lnTo>
                <a:lnTo>
                  <a:pt x="1319" y="129"/>
                </a:lnTo>
                <a:lnTo>
                  <a:pt x="1319" y="122"/>
                </a:lnTo>
                <a:lnTo>
                  <a:pt x="1318" y="115"/>
                </a:lnTo>
                <a:lnTo>
                  <a:pt x="1313" y="108"/>
                </a:lnTo>
                <a:lnTo>
                  <a:pt x="1306" y="104"/>
                </a:lnTo>
                <a:lnTo>
                  <a:pt x="1294" y="100"/>
                </a:lnTo>
                <a:lnTo>
                  <a:pt x="1281" y="98"/>
                </a:lnTo>
                <a:lnTo>
                  <a:pt x="1269" y="96"/>
                </a:lnTo>
                <a:lnTo>
                  <a:pt x="1260" y="92"/>
                </a:lnTo>
                <a:lnTo>
                  <a:pt x="1253" y="90"/>
                </a:lnTo>
                <a:lnTo>
                  <a:pt x="1246" y="89"/>
                </a:lnTo>
                <a:lnTo>
                  <a:pt x="1238" y="89"/>
                </a:lnTo>
                <a:lnTo>
                  <a:pt x="1230" y="91"/>
                </a:lnTo>
                <a:lnTo>
                  <a:pt x="1221" y="96"/>
                </a:lnTo>
                <a:lnTo>
                  <a:pt x="1211" y="102"/>
                </a:lnTo>
                <a:lnTo>
                  <a:pt x="1201" y="106"/>
                </a:lnTo>
                <a:lnTo>
                  <a:pt x="1192" y="108"/>
                </a:lnTo>
                <a:lnTo>
                  <a:pt x="1182" y="110"/>
                </a:lnTo>
                <a:lnTo>
                  <a:pt x="1172" y="110"/>
                </a:lnTo>
                <a:lnTo>
                  <a:pt x="1159" y="107"/>
                </a:lnTo>
                <a:lnTo>
                  <a:pt x="1144" y="103"/>
                </a:lnTo>
                <a:lnTo>
                  <a:pt x="1127" y="96"/>
                </a:lnTo>
                <a:lnTo>
                  <a:pt x="1108" y="89"/>
                </a:lnTo>
                <a:lnTo>
                  <a:pt x="1092" y="83"/>
                </a:lnTo>
                <a:lnTo>
                  <a:pt x="1077" y="81"/>
                </a:lnTo>
                <a:lnTo>
                  <a:pt x="1066" y="81"/>
                </a:lnTo>
                <a:lnTo>
                  <a:pt x="1055" y="82"/>
                </a:lnTo>
                <a:lnTo>
                  <a:pt x="1047" y="85"/>
                </a:lnTo>
                <a:lnTo>
                  <a:pt x="1041" y="90"/>
                </a:lnTo>
                <a:lnTo>
                  <a:pt x="1038" y="96"/>
                </a:lnTo>
                <a:lnTo>
                  <a:pt x="1036" y="95"/>
                </a:lnTo>
                <a:lnTo>
                  <a:pt x="1031" y="93"/>
                </a:lnTo>
                <a:lnTo>
                  <a:pt x="1024" y="91"/>
                </a:lnTo>
                <a:lnTo>
                  <a:pt x="1015" y="88"/>
                </a:lnTo>
                <a:lnTo>
                  <a:pt x="1005" y="85"/>
                </a:lnTo>
                <a:lnTo>
                  <a:pt x="993" y="83"/>
                </a:lnTo>
                <a:lnTo>
                  <a:pt x="982" y="83"/>
                </a:lnTo>
                <a:lnTo>
                  <a:pt x="971" y="84"/>
                </a:lnTo>
                <a:lnTo>
                  <a:pt x="963" y="84"/>
                </a:lnTo>
                <a:lnTo>
                  <a:pt x="957" y="83"/>
                </a:lnTo>
                <a:lnTo>
                  <a:pt x="954" y="78"/>
                </a:lnTo>
                <a:lnTo>
                  <a:pt x="950" y="75"/>
                </a:lnTo>
                <a:lnTo>
                  <a:pt x="948" y="70"/>
                </a:lnTo>
                <a:lnTo>
                  <a:pt x="944" y="68"/>
                </a:lnTo>
                <a:lnTo>
                  <a:pt x="937" y="69"/>
                </a:lnTo>
                <a:lnTo>
                  <a:pt x="926" y="73"/>
                </a:lnTo>
                <a:lnTo>
                  <a:pt x="925" y="73"/>
                </a:lnTo>
                <a:lnTo>
                  <a:pt x="923" y="72"/>
                </a:lnTo>
                <a:lnTo>
                  <a:pt x="919" y="70"/>
                </a:lnTo>
                <a:lnTo>
                  <a:pt x="915" y="69"/>
                </a:lnTo>
                <a:lnTo>
                  <a:pt x="908" y="68"/>
                </a:lnTo>
                <a:lnTo>
                  <a:pt x="901" y="68"/>
                </a:lnTo>
                <a:lnTo>
                  <a:pt x="892" y="69"/>
                </a:lnTo>
                <a:lnTo>
                  <a:pt x="881" y="73"/>
                </a:lnTo>
                <a:lnTo>
                  <a:pt x="869" y="76"/>
                </a:lnTo>
                <a:lnTo>
                  <a:pt x="854" y="80"/>
                </a:lnTo>
                <a:lnTo>
                  <a:pt x="835" y="81"/>
                </a:lnTo>
                <a:lnTo>
                  <a:pt x="815" y="82"/>
                </a:lnTo>
                <a:lnTo>
                  <a:pt x="794" y="82"/>
                </a:lnTo>
                <a:lnTo>
                  <a:pt x="773" y="82"/>
                </a:lnTo>
                <a:lnTo>
                  <a:pt x="755" y="81"/>
                </a:lnTo>
                <a:lnTo>
                  <a:pt x="739" y="78"/>
                </a:lnTo>
                <a:lnTo>
                  <a:pt x="724" y="76"/>
                </a:lnTo>
                <a:lnTo>
                  <a:pt x="710" y="72"/>
                </a:lnTo>
                <a:lnTo>
                  <a:pt x="695" y="67"/>
                </a:lnTo>
                <a:lnTo>
                  <a:pt x="681" y="62"/>
                </a:lnTo>
                <a:lnTo>
                  <a:pt x="666" y="58"/>
                </a:lnTo>
                <a:lnTo>
                  <a:pt x="653" y="54"/>
                </a:lnTo>
                <a:lnTo>
                  <a:pt x="640" y="52"/>
                </a:lnTo>
                <a:lnTo>
                  <a:pt x="627" y="51"/>
                </a:lnTo>
                <a:lnTo>
                  <a:pt x="615" y="50"/>
                </a:lnTo>
                <a:lnTo>
                  <a:pt x="607" y="47"/>
                </a:lnTo>
                <a:lnTo>
                  <a:pt x="600" y="44"/>
                </a:lnTo>
                <a:lnTo>
                  <a:pt x="593" y="42"/>
                </a:lnTo>
                <a:lnTo>
                  <a:pt x="587" y="38"/>
                </a:lnTo>
                <a:lnTo>
                  <a:pt x="580" y="37"/>
                </a:lnTo>
                <a:lnTo>
                  <a:pt x="572" y="37"/>
                </a:lnTo>
                <a:lnTo>
                  <a:pt x="560" y="39"/>
                </a:lnTo>
                <a:lnTo>
                  <a:pt x="553" y="42"/>
                </a:lnTo>
                <a:lnTo>
                  <a:pt x="545" y="43"/>
                </a:lnTo>
                <a:lnTo>
                  <a:pt x="535" y="45"/>
                </a:lnTo>
                <a:lnTo>
                  <a:pt x="524" y="46"/>
                </a:lnTo>
                <a:lnTo>
                  <a:pt x="513" y="46"/>
                </a:lnTo>
                <a:lnTo>
                  <a:pt x="500" y="47"/>
                </a:lnTo>
                <a:lnTo>
                  <a:pt x="488" y="47"/>
                </a:lnTo>
                <a:lnTo>
                  <a:pt x="475" y="47"/>
                </a:lnTo>
                <a:lnTo>
                  <a:pt x="461" y="47"/>
                </a:lnTo>
                <a:lnTo>
                  <a:pt x="447" y="47"/>
                </a:lnTo>
                <a:lnTo>
                  <a:pt x="433" y="46"/>
                </a:lnTo>
                <a:lnTo>
                  <a:pt x="420" y="46"/>
                </a:lnTo>
                <a:lnTo>
                  <a:pt x="407" y="45"/>
                </a:lnTo>
                <a:lnTo>
                  <a:pt x="394" y="43"/>
                </a:lnTo>
                <a:lnTo>
                  <a:pt x="383" y="42"/>
                </a:lnTo>
                <a:lnTo>
                  <a:pt x="371" y="39"/>
                </a:lnTo>
                <a:lnTo>
                  <a:pt x="354" y="35"/>
                </a:lnTo>
                <a:lnTo>
                  <a:pt x="341" y="29"/>
                </a:lnTo>
                <a:lnTo>
                  <a:pt x="332" y="22"/>
                </a:lnTo>
                <a:lnTo>
                  <a:pt x="326" y="16"/>
                </a:lnTo>
                <a:lnTo>
                  <a:pt x="321" y="9"/>
                </a:lnTo>
                <a:lnTo>
                  <a:pt x="315" y="5"/>
                </a:lnTo>
                <a:lnTo>
                  <a:pt x="306" y="1"/>
                </a:lnTo>
                <a:lnTo>
                  <a:pt x="294" y="0"/>
                </a:lnTo>
                <a:lnTo>
                  <a:pt x="287" y="0"/>
                </a:lnTo>
                <a:lnTo>
                  <a:pt x="281" y="0"/>
                </a:lnTo>
                <a:lnTo>
                  <a:pt x="274" y="0"/>
                </a:lnTo>
                <a:lnTo>
                  <a:pt x="269" y="0"/>
                </a:lnTo>
                <a:lnTo>
                  <a:pt x="263" y="0"/>
                </a:lnTo>
                <a:lnTo>
                  <a:pt x="258" y="0"/>
                </a:lnTo>
                <a:lnTo>
                  <a:pt x="253" y="0"/>
                </a:lnTo>
                <a:lnTo>
                  <a:pt x="248" y="0"/>
                </a:lnTo>
                <a:lnTo>
                  <a:pt x="242" y="0"/>
                </a:lnTo>
                <a:lnTo>
                  <a:pt x="238" y="1"/>
                </a:lnTo>
                <a:lnTo>
                  <a:pt x="232" y="1"/>
                </a:lnTo>
                <a:lnTo>
                  <a:pt x="227" y="2"/>
                </a:lnTo>
                <a:lnTo>
                  <a:pt x="223" y="5"/>
                </a:lnTo>
                <a:lnTo>
                  <a:pt x="219" y="6"/>
                </a:lnTo>
                <a:lnTo>
                  <a:pt x="215" y="9"/>
                </a:lnTo>
                <a:lnTo>
                  <a:pt x="210" y="12"/>
                </a:lnTo>
                <a:lnTo>
                  <a:pt x="202" y="17"/>
                </a:lnTo>
                <a:lnTo>
                  <a:pt x="195" y="23"/>
                </a:lnTo>
                <a:lnTo>
                  <a:pt x="188" y="29"/>
                </a:lnTo>
                <a:lnTo>
                  <a:pt x="183" y="35"/>
                </a:lnTo>
                <a:lnTo>
                  <a:pt x="180" y="40"/>
                </a:lnTo>
                <a:lnTo>
                  <a:pt x="179" y="47"/>
                </a:lnTo>
                <a:lnTo>
                  <a:pt x="179" y="54"/>
                </a:lnTo>
                <a:lnTo>
                  <a:pt x="182" y="62"/>
                </a:lnTo>
                <a:lnTo>
                  <a:pt x="185" y="69"/>
                </a:lnTo>
                <a:lnTo>
                  <a:pt x="183" y="74"/>
                </a:lnTo>
                <a:lnTo>
                  <a:pt x="178" y="77"/>
                </a:lnTo>
                <a:lnTo>
                  <a:pt x="170" y="80"/>
                </a:lnTo>
                <a:lnTo>
                  <a:pt x="159" y="81"/>
                </a:lnTo>
                <a:lnTo>
                  <a:pt x="147" y="82"/>
                </a:lnTo>
                <a:lnTo>
                  <a:pt x="132" y="83"/>
                </a:lnTo>
                <a:lnTo>
                  <a:pt x="116" y="84"/>
                </a:lnTo>
                <a:lnTo>
                  <a:pt x="99" y="88"/>
                </a:lnTo>
                <a:lnTo>
                  <a:pt x="83" y="92"/>
                </a:lnTo>
                <a:lnTo>
                  <a:pt x="68" y="98"/>
                </a:lnTo>
                <a:lnTo>
                  <a:pt x="56" y="105"/>
                </a:lnTo>
                <a:lnTo>
                  <a:pt x="43" y="113"/>
                </a:lnTo>
                <a:lnTo>
                  <a:pt x="31" y="120"/>
                </a:lnTo>
                <a:lnTo>
                  <a:pt x="22" y="127"/>
                </a:lnTo>
                <a:lnTo>
                  <a:pt x="15" y="134"/>
                </a:lnTo>
                <a:lnTo>
                  <a:pt x="5" y="148"/>
                </a:lnTo>
                <a:lnTo>
                  <a:pt x="0" y="160"/>
                </a:lnTo>
                <a:lnTo>
                  <a:pt x="2" y="169"/>
                </a:lnTo>
                <a:lnTo>
                  <a:pt x="10" y="173"/>
                </a:lnTo>
                <a:lnTo>
                  <a:pt x="18" y="179"/>
                </a:lnTo>
                <a:lnTo>
                  <a:pt x="22" y="189"/>
                </a:lnTo>
                <a:lnTo>
                  <a:pt x="27" y="201"/>
                </a:lnTo>
                <a:lnTo>
                  <a:pt x="38" y="206"/>
                </a:lnTo>
                <a:lnTo>
                  <a:pt x="46" y="213"/>
                </a:lnTo>
                <a:lnTo>
                  <a:pt x="42" y="231"/>
                </a:lnTo>
                <a:lnTo>
                  <a:pt x="34" y="251"/>
                </a:lnTo>
                <a:lnTo>
                  <a:pt x="33" y="267"/>
                </a:lnTo>
                <a:lnTo>
                  <a:pt x="34" y="266"/>
                </a:lnTo>
                <a:lnTo>
                  <a:pt x="36" y="264"/>
                </a:lnTo>
                <a:lnTo>
                  <a:pt x="41" y="260"/>
                </a:lnTo>
                <a:lnTo>
                  <a:pt x="45" y="256"/>
                </a:lnTo>
                <a:lnTo>
                  <a:pt x="51" y="252"/>
                </a:lnTo>
                <a:lnTo>
                  <a:pt x="58" y="249"/>
                </a:lnTo>
                <a:lnTo>
                  <a:pt x="65" y="247"/>
                </a:lnTo>
                <a:lnTo>
                  <a:pt x="71" y="245"/>
                </a:lnTo>
                <a:lnTo>
                  <a:pt x="78" y="250"/>
                </a:lnTo>
                <a:lnTo>
                  <a:pt x="76" y="262"/>
                </a:lnTo>
                <a:lnTo>
                  <a:pt x="71" y="277"/>
                </a:lnTo>
                <a:lnTo>
                  <a:pt x="66" y="290"/>
                </a:lnTo>
                <a:lnTo>
                  <a:pt x="64" y="304"/>
                </a:lnTo>
                <a:lnTo>
                  <a:pt x="64" y="319"/>
                </a:lnTo>
                <a:lnTo>
                  <a:pt x="63" y="339"/>
                </a:lnTo>
                <a:lnTo>
                  <a:pt x="60" y="362"/>
                </a:lnTo>
                <a:lnTo>
                  <a:pt x="59" y="386"/>
                </a:lnTo>
                <a:lnTo>
                  <a:pt x="61" y="408"/>
                </a:lnTo>
                <a:lnTo>
                  <a:pt x="65" y="423"/>
                </a:lnTo>
                <a:lnTo>
                  <a:pt x="66" y="429"/>
                </a:lnTo>
                <a:lnTo>
                  <a:pt x="67" y="426"/>
                </a:lnTo>
                <a:lnTo>
                  <a:pt x="72" y="421"/>
                </a:lnTo>
                <a:lnTo>
                  <a:pt x="79" y="413"/>
                </a:lnTo>
                <a:lnTo>
                  <a:pt x="87" y="403"/>
                </a:lnTo>
                <a:lnTo>
                  <a:pt x="96" y="395"/>
                </a:lnTo>
                <a:lnTo>
                  <a:pt x="105" y="387"/>
                </a:lnTo>
                <a:lnTo>
                  <a:pt x="114" y="381"/>
                </a:lnTo>
                <a:lnTo>
                  <a:pt x="121" y="379"/>
                </a:lnTo>
                <a:lnTo>
                  <a:pt x="128" y="378"/>
                </a:lnTo>
                <a:lnTo>
                  <a:pt x="137" y="377"/>
                </a:lnTo>
                <a:lnTo>
                  <a:pt x="147" y="376"/>
                </a:lnTo>
                <a:lnTo>
                  <a:pt x="157" y="373"/>
                </a:lnTo>
                <a:lnTo>
                  <a:pt x="164" y="374"/>
                </a:lnTo>
                <a:lnTo>
                  <a:pt x="170" y="376"/>
                </a:lnTo>
                <a:lnTo>
                  <a:pt x="173" y="381"/>
                </a:lnTo>
                <a:lnTo>
                  <a:pt x="171" y="389"/>
                </a:lnTo>
                <a:lnTo>
                  <a:pt x="167" y="400"/>
                </a:lnTo>
                <a:lnTo>
                  <a:pt x="167" y="410"/>
                </a:lnTo>
                <a:lnTo>
                  <a:pt x="169" y="419"/>
                </a:lnTo>
                <a:lnTo>
                  <a:pt x="173" y="427"/>
                </a:lnTo>
                <a:lnTo>
                  <a:pt x="179" y="433"/>
                </a:lnTo>
                <a:lnTo>
                  <a:pt x="188" y="437"/>
                </a:lnTo>
                <a:lnTo>
                  <a:pt x="201" y="437"/>
                </a:lnTo>
                <a:lnTo>
                  <a:pt x="216" y="434"/>
                </a:lnTo>
                <a:lnTo>
                  <a:pt x="231" y="431"/>
                </a:lnTo>
                <a:lnTo>
                  <a:pt x="243" y="430"/>
                </a:lnTo>
                <a:lnTo>
                  <a:pt x="253" y="430"/>
                </a:lnTo>
                <a:lnTo>
                  <a:pt x="262" y="431"/>
                </a:lnTo>
                <a:lnTo>
                  <a:pt x="270" y="433"/>
                </a:lnTo>
                <a:lnTo>
                  <a:pt x="278" y="436"/>
                </a:lnTo>
                <a:lnTo>
                  <a:pt x="287" y="438"/>
                </a:lnTo>
                <a:lnTo>
                  <a:pt x="299" y="440"/>
                </a:lnTo>
                <a:lnTo>
                  <a:pt x="310" y="440"/>
                </a:lnTo>
                <a:lnTo>
                  <a:pt x="321" y="438"/>
                </a:lnTo>
                <a:lnTo>
                  <a:pt x="330" y="434"/>
                </a:lnTo>
                <a:lnTo>
                  <a:pt x="337" y="429"/>
                </a:lnTo>
                <a:lnTo>
                  <a:pt x="342" y="423"/>
                </a:lnTo>
                <a:lnTo>
                  <a:pt x="346" y="417"/>
                </a:lnTo>
                <a:lnTo>
                  <a:pt x="348" y="414"/>
                </a:lnTo>
                <a:lnTo>
                  <a:pt x="349" y="413"/>
                </a:lnTo>
                <a:lnTo>
                  <a:pt x="438" y="429"/>
                </a:lnTo>
                <a:lnTo>
                  <a:pt x="439" y="438"/>
                </a:lnTo>
                <a:lnTo>
                  <a:pt x="444" y="459"/>
                </a:lnTo>
                <a:lnTo>
                  <a:pt x="452" y="478"/>
                </a:lnTo>
                <a:lnTo>
                  <a:pt x="466" y="485"/>
                </a:lnTo>
                <a:lnTo>
                  <a:pt x="481" y="485"/>
                </a:lnTo>
                <a:lnTo>
                  <a:pt x="488" y="492"/>
                </a:lnTo>
                <a:lnTo>
                  <a:pt x="485" y="507"/>
                </a:lnTo>
                <a:lnTo>
                  <a:pt x="471" y="529"/>
                </a:lnTo>
                <a:lnTo>
                  <a:pt x="455" y="548"/>
                </a:lnTo>
                <a:lnTo>
                  <a:pt x="447" y="558"/>
                </a:lnTo>
                <a:lnTo>
                  <a:pt x="444" y="562"/>
                </a:lnTo>
                <a:lnTo>
                  <a:pt x="443" y="562"/>
                </a:lnTo>
                <a:lnTo>
                  <a:pt x="438" y="562"/>
                </a:lnTo>
                <a:lnTo>
                  <a:pt x="431" y="562"/>
                </a:lnTo>
                <a:lnTo>
                  <a:pt x="424" y="563"/>
                </a:lnTo>
                <a:lnTo>
                  <a:pt x="417" y="567"/>
                </a:lnTo>
                <a:lnTo>
                  <a:pt x="410" y="571"/>
                </a:lnTo>
                <a:lnTo>
                  <a:pt x="406" y="580"/>
                </a:lnTo>
                <a:lnTo>
                  <a:pt x="405" y="590"/>
                </a:lnTo>
                <a:lnTo>
                  <a:pt x="403" y="591"/>
                </a:lnTo>
                <a:lnTo>
                  <a:pt x="399" y="595"/>
                </a:lnTo>
                <a:lnTo>
                  <a:pt x="393" y="599"/>
                </a:lnTo>
                <a:lnTo>
                  <a:pt x="388" y="606"/>
                </a:lnTo>
                <a:lnTo>
                  <a:pt x="384" y="614"/>
                </a:lnTo>
                <a:lnTo>
                  <a:pt x="382" y="623"/>
                </a:lnTo>
                <a:lnTo>
                  <a:pt x="383" y="635"/>
                </a:lnTo>
                <a:lnTo>
                  <a:pt x="388" y="646"/>
                </a:lnTo>
                <a:lnTo>
                  <a:pt x="398" y="671"/>
                </a:lnTo>
                <a:lnTo>
                  <a:pt x="397" y="692"/>
                </a:lnTo>
                <a:lnTo>
                  <a:pt x="392" y="712"/>
                </a:lnTo>
                <a:lnTo>
                  <a:pt x="388" y="729"/>
                </a:lnTo>
                <a:lnTo>
                  <a:pt x="388" y="745"/>
                </a:lnTo>
                <a:lnTo>
                  <a:pt x="385" y="762"/>
                </a:lnTo>
                <a:lnTo>
                  <a:pt x="377" y="776"/>
                </a:lnTo>
                <a:lnTo>
                  <a:pt x="361" y="790"/>
                </a:lnTo>
                <a:lnTo>
                  <a:pt x="353" y="797"/>
                </a:lnTo>
                <a:lnTo>
                  <a:pt x="348" y="804"/>
                </a:lnTo>
                <a:lnTo>
                  <a:pt x="347" y="812"/>
                </a:lnTo>
                <a:lnTo>
                  <a:pt x="349" y="820"/>
                </a:lnTo>
                <a:lnTo>
                  <a:pt x="353" y="827"/>
                </a:lnTo>
                <a:lnTo>
                  <a:pt x="359" y="833"/>
                </a:lnTo>
                <a:lnTo>
                  <a:pt x="365" y="838"/>
                </a:lnTo>
                <a:lnTo>
                  <a:pt x="371" y="841"/>
                </a:lnTo>
                <a:lnTo>
                  <a:pt x="377" y="848"/>
                </a:lnTo>
                <a:lnTo>
                  <a:pt x="372" y="862"/>
                </a:lnTo>
                <a:lnTo>
                  <a:pt x="362" y="879"/>
                </a:lnTo>
                <a:lnTo>
                  <a:pt x="355" y="895"/>
                </a:lnTo>
                <a:lnTo>
                  <a:pt x="352" y="902"/>
                </a:lnTo>
                <a:lnTo>
                  <a:pt x="348" y="908"/>
                </a:lnTo>
                <a:lnTo>
                  <a:pt x="342" y="911"/>
                </a:lnTo>
                <a:lnTo>
                  <a:pt x="337" y="914"/>
                </a:lnTo>
                <a:lnTo>
                  <a:pt x="329" y="915"/>
                </a:lnTo>
                <a:lnTo>
                  <a:pt x="322" y="915"/>
                </a:lnTo>
                <a:lnTo>
                  <a:pt x="312" y="914"/>
                </a:lnTo>
                <a:lnTo>
                  <a:pt x="304" y="911"/>
                </a:lnTo>
                <a:lnTo>
                  <a:pt x="295" y="910"/>
                </a:lnTo>
                <a:lnTo>
                  <a:pt x="286" y="910"/>
                </a:lnTo>
                <a:lnTo>
                  <a:pt x="277" y="912"/>
                </a:lnTo>
                <a:lnTo>
                  <a:pt x="269" y="916"/>
                </a:lnTo>
                <a:lnTo>
                  <a:pt x="262" y="920"/>
                </a:lnTo>
                <a:lnTo>
                  <a:pt x="259" y="927"/>
                </a:lnTo>
                <a:lnTo>
                  <a:pt x="259" y="935"/>
                </a:lnTo>
                <a:lnTo>
                  <a:pt x="265" y="945"/>
                </a:lnTo>
                <a:lnTo>
                  <a:pt x="280" y="961"/>
                </a:lnTo>
                <a:lnTo>
                  <a:pt x="291" y="973"/>
                </a:lnTo>
                <a:lnTo>
                  <a:pt x="296" y="986"/>
                </a:lnTo>
                <a:lnTo>
                  <a:pt x="299" y="1006"/>
                </a:lnTo>
                <a:lnTo>
                  <a:pt x="301" y="1017"/>
                </a:lnTo>
                <a:lnTo>
                  <a:pt x="307" y="1028"/>
                </a:lnTo>
                <a:lnTo>
                  <a:pt x="315" y="1037"/>
                </a:lnTo>
                <a:lnTo>
                  <a:pt x="324" y="1046"/>
                </a:lnTo>
                <a:lnTo>
                  <a:pt x="333" y="1053"/>
                </a:lnTo>
                <a:lnTo>
                  <a:pt x="341" y="1060"/>
                </a:lnTo>
                <a:lnTo>
                  <a:pt x="347" y="1067"/>
                </a:lnTo>
                <a:lnTo>
                  <a:pt x="349" y="1073"/>
                </a:lnTo>
                <a:lnTo>
                  <a:pt x="348" y="1079"/>
                </a:lnTo>
                <a:lnTo>
                  <a:pt x="345" y="1085"/>
                </a:lnTo>
                <a:lnTo>
                  <a:pt x="340" y="1093"/>
                </a:lnTo>
                <a:lnTo>
                  <a:pt x="333" y="1100"/>
                </a:lnTo>
                <a:lnTo>
                  <a:pt x="326" y="1109"/>
                </a:lnTo>
                <a:lnTo>
                  <a:pt x="318" y="1120"/>
                </a:lnTo>
                <a:lnTo>
                  <a:pt x="311" y="1131"/>
                </a:lnTo>
                <a:lnTo>
                  <a:pt x="304" y="1145"/>
                </a:lnTo>
                <a:lnTo>
                  <a:pt x="295" y="1174"/>
                </a:lnTo>
                <a:lnTo>
                  <a:pt x="291" y="1203"/>
                </a:lnTo>
                <a:lnTo>
                  <a:pt x="295" y="1228"/>
                </a:lnTo>
                <a:lnTo>
                  <a:pt x="310" y="1251"/>
                </a:lnTo>
                <a:lnTo>
                  <a:pt x="318" y="1260"/>
                </a:lnTo>
                <a:lnTo>
                  <a:pt x="322" y="1267"/>
                </a:lnTo>
                <a:lnTo>
                  <a:pt x="322" y="1273"/>
                </a:lnTo>
                <a:lnTo>
                  <a:pt x="318" y="1278"/>
                </a:lnTo>
                <a:lnTo>
                  <a:pt x="314" y="1281"/>
                </a:lnTo>
                <a:lnTo>
                  <a:pt x="307" y="1286"/>
                </a:lnTo>
                <a:lnTo>
                  <a:pt x="301" y="1289"/>
                </a:lnTo>
                <a:lnTo>
                  <a:pt x="294" y="1295"/>
                </a:lnTo>
                <a:lnTo>
                  <a:pt x="287" y="1303"/>
                </a:lnTo>
                <a:lnTo>
                  <a:pt x="280" y="1313"/>
                </a:lnTo>
                <a:lnTo>
                  <a:pt x="272" y="1325"/>
                </a:lnTo>
                <a:lnTo>
                  <a:pt x="264" y="1336"/>
                </a:lnTo>
                <a:lnTo>
                  <a:pt x="257" y="1349"/>
                </a:lnTo>
                <a:lnTo>
                  <a:pt x="251" y="1360"/>
                </a:lnTo>
                <a:lnTo>
                  <a:pt x="247" y="1371"/>
                </a:lnTo>
                <a:lnTo>
                  <a:pt x="243" y="1379"/>
                </a:lnTo>
                <a:lnTo>
                  <a:pt x="242" y="1398"/>
                </a:lnTo>
                <a:lnTo>
                  <a:pt x="247" y="1427"/>
                </a:lnTo>
                <a:lnTo>
                  <a:pt x="253" y="1458"/>
                </a:lnTo>
                <a:lnTo>
                  <a:pt x="255" y="1485"/>
                </a:lnTo>
                <a:lnTo>
                  <a:pt x="258" y="1485"/>
                </a:lnTo>
                <a:lnTo>
                  <a:pt x="268" y="1484"/>
                </a:lnTo>
                <a:lnTo>
                  <a:pt x="281" y="1483"/>
                </a:lnTo>
                <a:lnTo>
                  <a:pt x="297" y="1481"/>
                </a:lnTo>
                <a:lnTo>
                  <a:pt x="316" y="1481"/>
                </a:lnTo>
                <a:lnTo>
                  <a:pt x="334" y="1483"/>
                </a:lnTo>
                <a:lnTo>
                  <a:pt x="352" y="1485"/>
                </a:lnTo>
                <a:lnTo>
                  <a:pt x="365" y="1491"/>
                </a:lnTo>
                <a:lnTo>
                  <a:pt x="378" y="1498"/>
                </a:lnTo>
                <a:lnTo>
                  <a:pt x="392" y="1507"/>
                </a:lnTo>
                <a:lnTo>
                  <a:pt x="405" y="1517"/>
                </a:lnTo>
                <a:lnTo>
                  <a:pt x="417" y="1527"/>
                </a:lnTo>
                <a:lnTo>
                  <a:pt x="428" y="1537"/>
                </a:lnTo>
                <a:lnTo>
                  <a:pt x="436" y="1545"/>
                </a:lnTo>
                <a:lnTo>
                  <a:pt x="441" y="1549"/>
                </a:lnTo>
                <a:lnTo>
                  <a:pt x="444" y="1552"/>
                </a:lnTo>
                <a:lnTo>
                  <a:pt x="443" y="1557"/>
                </a:lnTo>
                <a:lnTo>
                  <a:pt x="441" y="1572"/>
                </a:lnTo>
                <a:lnTo>
                  <a:pt x="444" y="1591"/>
                </a:lnTo>
                <a:lnTo>
                  <a:pt x="455" y="1607"/>
                </a:lnTo>
                <a:lnTo>
                  <a:pt x="468" y="1621"/>
                </a:lnTo>
                <a:lnTo>
                  <a:pt x="475" y="1636"/>
                </a:lnTo>
                <a:lnTo>
                  <a:pt x="477" y="1654"/>
                </a:lnTo>
                <a:lnTo>
                  <a:pt x="477" y="1674"/>
                </a:lnTo>
                <a:lnTo>
                  <a:pt x="478" y="1683"/>
                </a:lnTo>
                <a:lnTo>
                  <a:pt x="481" y="1690"/>
                </a:lnTo>
                <a:lnTo>
                  <a:pt x="485" y="1696"/>
                </a:lnTo>
                <a:lnTo>
                  <a:pt x="492" y="1700"/>
                </a:lnTo>
                <a:lnTo>
                  <a:pt x="499" y="1705"/>
                </a:lnTo>
                <a:lnTo>
                  <a:pt x="507" y="1711"/>
                </a:lnTo>
                <a:lnTo>
                  <a:pt x="516" y="1716"/>
                </a:lnTo>
                <a:lnTo>
                  <a:pt x="527" y="1723"/>
                </a:lnTo>
                <a:lnTo>
                  <a:pt x="538" y="1733"/>
                </a:lnTo>
                <a:lnTo>
                  <a:pt x="550" y="1741"/>
                </a:lnTo>
                <a:lnTo>
                  <a:pt x="561" y="1747"/>
                </a:lnTo>
                <a:lnTo>
                  <a:pt x="573" y="1753"/>
                </a:lnTo>
                <a:lnTo>
                  <a:pt x="584" y="1757"/>
                </a:lnTo>
                <a:lnTo>
                  <a:pt x="595" y="1758"/>
                </a:lnTo>
                <a:lnTo>
                  <a:pt x="604" y="1754"/>
                </a:lnTo>
                <a:lnTo>
                  <a:pt x="611" y="1746"/>
                </a:lnTo>
                <a:lnTo>
                  <a:pt x="616" y="1736"/>
                </a:lnTo>
                <a:lnTo>
                  <a:pt x="622" y="1727"/>
                </a:lnTo>
                <a:lnTo>
                  <a:pt x="627" y="1719"/>
                </a:lnTo>
                <a:lnTo>
                  <a:pt x="633" y="1711"/>
                </a:lnTo>
                <a:lnTo>
                  <a:pt x="637" y="1704"/>
                </a:lnTo>
                <a:lnTo>
                  <a:pt x="641" y="1698"/>
                </a:lnTo>
                <a:lnTo>
                  <a:pt x="645" y="1691"/>
                </a:lnTo>
                <a:lnTo>
                  <a:pt x="650" y="1685"/>
                </a:lnTo>
                <a:lnTo>
                  <a:pt x="654" y="1678"/>
                </a:lnTo>
                <a:lnTo>
                  <a:pt x="663" y="1671"/>
                </a:lnTo>
                <a:lnTo>
                  <a:pt x="672" y="1663"/>
                </a:lnTo>
                <a:lnTo>
                  <a:pt x="682" y="1656"/>
                </a:lnTo>
                <a:lnTo>
                  <a:pt x="694" y="1652"/>
                </a:lnTo>
                <a:lnTo>
                  <a:pt x="705" y="1647"/>
                </a:lnTo>
                <a:lnTo>
                  <a:pt x="717" y="1645"/>
                </a:lnTo>
                <a:lnTo>
                  <a:pt x="727" y="1646"/>
                </a:lnTo>
                <a:lnTo>
                  <a:pt x="739" y="1646"/>
                </a:lnTo>
                <a:lnTo>
                  <a:pt x="750" y="1644"/>
                </a:lnTo>
                <a:lnTo>
                  <a:pt x="763" y="1639"/>
                </a:lnTo>
                <a:lnTo>
                  <a:pt x="774" y="1632"/>
                </a:lnTo>
                <a:lnTo>
                  <a:pt x="786" y="1624"/>
                </a:lnTo>
                <a:lnTo>
                  <a:pt x="795" y="1616"/>
                </a:lnTo>
                <a:lnTo>
                  <a:pt x="802" y="1608"/>
                </a:lnTo>
                <a:lnTo>
                  <a:pt x="805" y="1601"/>
                </a:lnTo>
                <a:lnTo>
                  <a:pt x="811" y="1597"/>
                </a:lnTo>
                <a:lnTo>
                  <a:pt x="821" y="1593"/>
                </a:lnTo>
                <a:lnTo>
                  <a:pt x="838" y="1591"/>
                </a:lnTo>
                <a:lnTo>
                  <a:pt x="855" y="1590"/>
                </a:lnTo>
                <a:lnTo>
                  <a:pt x="873" y="1589"/>
                </a:lnTo>
                <a:lnTo>
                  <a:pt x="892" y="1590"/>
                </a:lnTo>
                <a:lnTo>
                  <a:pt x="908" y="1590"/>
                </a:lnTo>
                <a:lnTo>
                  <a:pt x="920" y="1590"/>
                </a:lnTo>
                <a:lnTo>
                  <a:pt x="931" y="1590"/>
                </a:lnTo>
                <a:lnTo>
                  <a:pt x="941" y="1591"/>
                </a:lnTo>
                <a:lnTo>
                  <a:pt x="952" y="1593"/>
                </a:lnTo>
                <a:lnTo>
                  <a:pt x="963" y="1594"/>
                </a:lnTo>
                <a:lnTo>
                  <a:pt x="973" y="1597"/>
                </a:lnTo>
                <a:lnTo>
                  <a:pt x="984" y="1597"/>
                </a:lnTo>
                <a:lnTo>
                  <a:pt x="994" y="1597"/>
                </a:lnTo>
                <a:lnTo>
                  <a:pt x="1005" y="1595"/>
                </a:lnTo>
                <a:lnTo>
                  <a:pt x="1007" y="1594"/>
                </a:lnTo>
                <a:lnTo>
                  <a:pt x="1015" y="1593"/>
                </a:lnTo>
                <a:lnTo>
                  <a:pt x="1025" y="1591"/>
                </a:lnTo>
                <a:lnTo>
                  <a:pt x="1038" y="1589"/>
                </a:lnTo>
                <a:lnTo>
                  <a:pt x="1052" y="1587"/>
                </a:lnTo>
                <a:lnTo>
                  <a:pt x="1066" y="1586"/>
                </a:lnTo>
                <a:lnTo>
                  <a:pt x="1077" y="1587"/>
                </a:lnTo>
                <a:lnTo>
                  <a:pt x="1087" y="1590"/>
                </a:lnTo>
                <a:lnTo>
                  <a:pt x="1096" y="1593"/>
                </a:lnTo>
                <a:lnTo>
                  <a:pt x="1102" y="1595"/>
                </a:lnTo>
                <a:lnTo>
                  <a:pt x="1108" y="1595"/>
                </a:lnTo>
                <a:lnTo>
                  <a:pt x="1115" y="1594"/>
                </a:lnTo>
                <a:lnTo>
                  <a:pt x="1120" y="1593"/>
                </a:lnTo>
                <a:lnTo>
                  <a:pt x="1125" y="1590"/>
                </a:lnTo>
                <a:lnTo>
                  <a:pt x="1132" y="1585"/>
                </a:lnTo>
                <a:lnTo>
                  <a:pt x="1138" y="1579"/>
                </a:lnTo>
                <a:lnTo>
                  <a:pt x="1140" y="1579"/>
                </a:lnTo>
                <a:lnTo>
                  <a:pt x="1147" y="1578"/>
                </a:lnTo>
                <a:lnTo>
                  <a:pt x="1155" y="1577"/>
                </a:lnTo>
                <a:lnTo>
                  <a:pt x="1167" y="1576"/>
                </a:lnTo>
                <a:lnTo>
                  <a:pt x="1177" y="1576"/>
                </a:lnTo>
                <a:lnTo>
                  <a:pt x="1188" y="1577"/>
                </a:lnTo>
                <a:lnTo>
                  <a:pt x="1195" y="1579"/>
                </a:lnTo>
                <a:lnTo>
                  <a:pt x="1199" y="1585"/>
                </a:lnTo>
                <a:lnTo>
                  <a:pt x="1203" y="1590"/>
                </a:lnTo>
                <a:lnTo>
                  <a:pt x="1207" y="1591"/>
                </a:lnTo>
                <a:lnTo>
                  <a:pt x="1214" y="1589"/>
                </a:lnTo>
                <a:lnTo>
                  <a:pt x="1222" y="1584"/>
                </a:lnTo>
                <a:lnTo>
                  <a:pt x="1230" y="1577"/>
                </a:lnTo>
                <a:lnTo>
                  <a:pt x="1239" y="1569"/>
                </a:lnTo>
                <a:lnTo>
                  <a:pt x="1248" y="1557"/>
                </a:lnTo>
                <a:lnTo>
                  <a:pt x="1254" y="1546"/>
                </a:lnTo>
                <a:lnTo>
                  <a:pt x="1258" y="1539"/>
                </a:lnTo>
                <a:lnTo>
                  <a:pt x="1261" y="1529"/>
                </a:lnTo>
                <a:lnTo>
                  <a:pt x="1265" y="1518"/>
                </a:lnTo>
                <a:lnTo>
                  <a:pt x="1269" y="1506"/>
                </a:lnTo>
                <a:lnTo>
                  <a:pt x="1274" y="1493"/>
                </a:lnTo>
                <a:lnTo>
                  <a:pt x="1281" y="1479"/>
                </a:lnTo>
                <a:lnTo>
                  <a:pt x="1288" y="1465"/>
                </a:lnTo>
                <a:lnTo>
                  <a:pt x="1297" y="1451"/>
                </a:lnTo>
                <a:lnTo>
                  <a:pt x="1309" y="1439"/>
                </a:lnTo>
                <a:lnTo>
                  <a:pt x="1321" y="1427"/>
                </a:lnTo>
                <a:lnTo>
                  <a:pt x="1336" y="1416"/>
                </a:lnTo>
                <a:lnTo>
                  <a:pt x="1353" y="1407"/>
                </a:lnTo>
                <a:lnTo>
                  <a:pt x="1373" y="1400"/>
                </a:lnTo>
                <a:lnTo>
                  <a:pt x="1395" y="1395"/>
                </a:lnTo>
                <a:lnTo>
                  <a:pt x="1420" y="1394"/>
                </a:lnTo>
                <a:lnTo>
                  <a:pt x="1449" y="1395"/>
                </a:lnTo>
                <a:lnTo>
                  <a:pt x="1465" y="1385"/>
                </a:lnTo>
                <a:lnTo>
                  <a:pt x="1462" y="1380"/>
                </a:lnTo>
                <a:lnTo>
                  <a:pt x="1456" y="1367"/>
                </a:lnTo>
                <a:lnTo>
                  <a:pt x="1451" y="1351"/>
                </a:lnTo>
                <a:lnTo>
                  <a:pt x="1455" y="1334"/>
                </a:lnTo>
                <a:lnTo>
                  <a:pt x="1464" y="1313"/>
                </a:lnTo>
                <a:lnTo>
                  <a:pt x="1476" y="1290"/>
                </a:lnTo>
                <a:lnTo>
                  <a:pt x="1485" y="1271"/>
                </a:lnTo>
                <a:lnTo>
                  <a:pt x="1488" y="1263"/>
                </a:lnTo>
                <a:lnTo>
                  <a:pt x="1489" y="1259"/>
                </a:lnTo>
                <a:lnTo>
                  <a:pt x="1493" y="1252"/>
                </a:lnTo>
                <a:lnTo>
                  <a:pt x="1497" y="1241"/>
                </a:lnTo>
                <a:lnTo>
                  <a:pt x="1504" y="1228"/>
                </a:lnTo>
                <a:lnTo>
                  <a:pt x="1511" y="1214"/>
                </a:lnTo>
                <a:lnTo>
                  <a:pt x="1518" y="1202"/>
                </a:lnTo>
                <a:lnTo>
                  <a:pt x="1525" y="1191"/>
                </a:lnTo>
                <a:lnTo>
                  <a:pt x="1532" y="1184"/>
                </a:lnTo>
                <a:lnTo>
                  <a:pt x="1539" y="1180"/>
                </a:lnTo>
                <a:lnTo>
                  <a:pt x="1547" y="1176"/>
                </a:lnTo>
                <a:lnTo>
                  <a:pt x="1556" y="1172"/>
                </a:lnTo>
                <a:lnTo>
                  <a:pt x="1565" y="1167"/>
                </a:lnTo>
                <a:lnTo>
                  <a:pt x="1575" y="1164"/>
                </a:lnTo>
                <a:lnTo>
                  <a:pt x="1584" y="1159"/>
                </a:lnTo>
                <a:lnTo>
                  <a:pt x="1592" y="1155"/>
                </a:lnTo>
                <a:lnTo>
                  <a:pt x="1599" y="1151"/>
                </a:lnTo>
                <a:lnTo>
                  <a:pt x="1608" y="1138"/>
                </a:lnTo>
                <a:lnTo>
                  <a:pt x="1611" y="1121"/>
                </a:lnTo>
                <a:lnTo>
                  <a:pt x="1606" y="1105"/>
                </a:lnTo>
                <a:lnTo>
                  <a:pt x="1593" y="1096"/>
                </a:lnTo>
                <a:lnTo>
                  <a:pt x="1584" y="1090"/>
                </a:lnTo>
                <a:lnTo>
                  <a:pt x="1572" y="1079"/>
                </a:lnTo>
                <a:lnTo>
                  <a:pt x="1560" y="1063"/>
                </a:lnTo>
                <a:lnTo>
                  <a:pt x="1547" y="1045"/>
                </a:lnTo>
                <a:lnTo>
                  <a:pt x="1535" y="1023"/>
                </a:lnTo>
                <a:lnTo>
                  <a:pt x="1527" y="1000"/>
                </a:lnTo>
                <a:lnTo>
                  <a:pt x="1522" y="978"/>
                </a:lnTo>
                <a:lnTo>
                  <a:pt x="1522" y="956"/>
                </a:lnTo>
                <a:lnTo>
                  <a:pt x="1529" y="933"/>
                </a:lnTo>
                <a:lnTo>
                  <a:pt x="1541" y="905"/>
                </a:lnTo>
                <a:lnTo>
                  <a:pt x="1560" y="876"/>
                </a:lnTo>
                <a:lnTo>
                  <a:pt x="1580" y="846"/>
                </a:lnTo>
                <a:lnTo>
                  <a:pt x="1601" y="816"/>
                </a:lnTo>
                <a:lnTo>
                  <a:pt x="1621" y="789"/>
                </a:lnTo>
                <a:lnTo>
                  <a:pt x="1636" y="767"/>
                </a:lnTo>
                <a:lnTo>
                  <a:pt x="1644" y="751"/>
                </a:lnTo>
                <a:lnTo>
                  <a:pt x="1652" y="730"/>
                </a:lnTo>
                <a:lnTo>
                  <a:pt x="1659" y="715"/>
                </a:lnTo>
                <a:lnTo>
                  <a:pt x="1667" y="707"/>
                </a:lnTo>
                <a:lnTo>
                  <a:pt x="1677" y="702"/>
                </a:lnTo>
                <a:lnTo>
                  <a:pt x="1683" y="699"/>
                </a:lnTo>
                <a:lnTo>
                  <a:pt x="1690" y="695"/>
                </a:lnTo>
                <a:lnTo>
                  <a:pt x="1695" y="690"/>
                </a:lnTo>
                <a:lnTo>
                  <a:pt x="1700" y="684"/>
                </a:lnTo>
                <a:lnTo>
                  <a:pt x="1702" y="679"/>
                </a:lnTo>
                <a:lnTo>
                  <a:pt x="1702" y="673"/>
                </a:lnTo>
                <a:lnTo>
                  <a:pt x="1700" y="667"/>
                </a:lnTo>
                <a:lnTo>
                  <a:pt x="1693" y="662"/>
                </a:lnTo>
                <a:lnTo>
                  <a:pt x="1689" y="657"/>
                </a:lnTo>
                <a:lnTo>
                  <a:pt x="1689" y="647"/>
                </a:lnTo>
                <a:lnTo>
                  <a:pt x="1694" y="636"/>
                </a:lnTo>
                <a:lnTo>
                  <a:pt x="1702" y="624"/>
                </a:lnTo>
                <a:lnTo>
                  <a:pt x="1713" y="612"/>
                </a:lnTo>
                <a:lnTo>
                  <a:pt x="1723" y="603"/>
                </a:lnTo>
                <a:lnTo>
                  <a:pt x="1735" y="595"/>
                </a:lnTo>
                <a:lnTo>
                  <a:pt x="1744" y="590"/>
                </a:lnTo>
                <a:lnTo>
                  <a:pt x="1757" y="586"/>
                </a:lnTo>
                <a:lnTo>
                  <a:pt x="1775" y="580"/>
                </a:lnTo>
                <a:lnTo>
                  <a:pt x="1799" y="571"/>
                </a:lnTo>
                <a:lnTo>
                  <a:pt x="1826" y="561"/>
                </a:lnTo>
                <a:lnTo>
                  <a:pt x="1852" y="552"/>
                </a:lnTo>
                <a:lnTo>
                  <a:pt x="1876" y="543"/>
                </a:lnTo>
                <a:lnTo>
                  <a:pt x="1897" y="535"/>
                </a:lnTo>
                <a:lnTo>
                  <a:pt x="1911" y="529"/>
                </a:lnTo>
                <a:lnTo>
                  <a:pt x="1920" y="524"/>
                </a:lnTo>
                <a:lnTo>
                  <a:pt x="1929" y="516"/>
                </a:lnTo>
                <a:lnTo>
                  <a:pt x="1937" y="507"/>
                </a:lnTo>
                <a:lnTo>
                  <a:pt x="1945" y="498"/>
                </a:lnTo>
                <a:lnTo>
                  <a:pt x="1955" y="486"/>
                </a:lnTo>
                <a:lnTo>
                  <a:pt x="1964" y="476"/>
                </a:lnTo>
                <a:lnTo>
                  <a:pt x="1975" y="465"/>
                </a:lnTo>
                <a:lnTo>
                  <a:pt x="1988" y="456"/>
                </a:lnTo>
                <a:lnTo>
                  <a:pt x="2002" y="448"/>
                </a:lnTo>
                <a:lnTo>
                  <a:pt x="2017" y="440"/>
                </a:lnTo>
                <a:lnTo>
                  <a:pt x="2033" y="430"/>
                </a:lnTo>
                <a:lnTo>
                  <a:pt x="2049" y="419"/>
                </a:lnTo>
                <a:lnTo>
                  <a:pt x="2063" y="407"/>
                </a:lnTo>
                <a:lnTo>
                  <a:pt x="2074" y="393"/>
                </a:lnTo>
                <a:lnTo>
                  <a:pt x="2084" y="379"/>
                </a:lnTo>
                <a:lnTo>
                  <a:pt x="2087" y="363"/>
                </a:lnTo>
                <a:close/>
              </a:path>
            </a:pathLst>
          </a:custGeom>
          <a:solidFill>
            <a:schemeClr val="accent3"/>
          </a:solidFill>
          <a:ln w="12700">
            <a:solidFill>
              <a:schemeClr val="bg1"/>
            </a:solidFill>
            <a:round/>
            <a:headEnd/>
            <a:tailEnd/>
          </a:ln>
        </p:spPr>
        <p:txBody>
          <a:bodyPr/>
          <a:lstStyle/>
          <a:p>
            <a:pPr>
              <a:defRPr/>
            </a:pPr>
            <a:endParaRPr lang="nl-NL"/>
          </a:p>
        </p:txBody>
      </p:sp>
      <p:sp>
        <p:nvSpPr>
          <p:cNvPr id="13" name="Text Placeholder 12"/>
          <p:cNvSpPr>
            <a:spLocks/>
          </p:cNvSpPr>
          <p:nvPr>
            <p:custDataLst>
              <p:tags r:id="rId1"/>
            </p:custDataLst>
          </p:nvPr>
        </p:nvSpPr>
        <p:spPr bwMode="auto">
          <a:xfrm>
            <a:off x="405534" y="1123950"/>
            <a:ext cx="1000275" cy="276999"/>
          </a:xfrm>
          <a:prstGeom prst="rect">
            <a:avLst/>
          </a:prstGeom>
          <a:noFill/>
          <a:ln w="9525">
            <a:noFill/>
            <a:miter lim="800000"/>
            <a:headEnd/>
            <a:tailEnd/>
          </a:ln>
        </p:spPr>
        <p:txBody>
          <a:bodyPr wrap="none" lIns="0" tIns="0" rIns="0" bIns="0">
            <a:spAutoFit/>
          </a:bodyPr>
          <a:lstStyle/>
          <a:p>
            <a:pPr algn="l" defTabSz="1019175">
              <a:spcAft>
                <a:spcPts val="0"/>
              </a:spcAft>
            </a:pPr>
            <a:r>
              <a:rPr lang="en-US" sz="1800" b="1" dirty="0">
                <a:solidFill>
                  <a:schemeClr val="tx2"/>
                </a:solidFill>
              </a:rPr>
              <a:t>Germany</a:t>
            </a:r>
          </a:p>
        </p:txBody>
      </p:sp>
      <p:sp>
        <p:nvSpPr>
          <p:cNvPr id="14" name="Text Placeholder 12"/>
          <p:cNvSpPr>
            <a:spLocks/>
          </p:cNvSpPr>
          <p:nvPr>
            <p:custDataLst>
              <p:tags r:id="rId2"/>
            </p:custDataLst>
          </p:nvPr>
        </p:nvSpPr>
        <p:spPr bwMode="auto">
          <a:xfrm>
            <a:off x="4348561" y="1123950"/>
            <a:ext cx="628378" cy="276999"/>
          </a:xfrm>
          <a:prstGeom prst="rect">
            <a:avLst/>
          </a:prstGeom>
          <a:noFill/>
          <a:ln w="9525">
            <a:noFill/>
            <a:miter lim="800000"/>
            <a:headEnd/>
            <a:tailEnd/>
          </a:ln>
        </p:spPr>
        <p:txBody>
          <a:bodyPr wrap="none" lIns="0" tIns="0" rIns="0" bIns="0">
            <a:spAutoFit/>
          </a:bodyPr>
          <a:lstStyle/>
          <a:p>
            <a:pPr algn="l" defTabSz="1019175">
              <a:spcAft>
                <a:spcPts val="0"/>
              </a:spcAft>
            </a:pPr>
            <a:r>
              <a:rPr lang="en-US" sz="1800" b="1" dirty="0">
                <a:solidFill>
                  <a:schemeClr val="tx2"/>
                </a:solidFill>
              </a:rPr>
              <a:t>Spain</a:t>
            </a:r>
          </a:p>
        </p:txBody>
      </p:sp>
      <p:sp>
        <p:nvSpPr>
          <p:cNvPr id="12" name="Freeform 11"/>
          <p:cNvSpPr/>
          <p:nvPr>
            <p:custDataLst>
              <p:tags r:id="rId3"/>
            </p:custDataLst>
          </p:nvPr>
        </p:nvSpPr>
        <p:spPr bwMode="auto">
          <a:xfrm>
            <a:off x="396875" y="2863305"/>
            <a:ext cx="1332364" cy="1258000"/>
          </a:xfrm>
          <a:custGeom>
            <a:avLst/>
            <a:gdLst>
              <a:gd name="connsiteX0" fmla="*/ 563782 w 1587719"/>
              <a:gd name="connsiteY0" fmla="*/ 177527 h 1499103"/>
              <a:gd name="connsiteX1" fmla="*/ 673319 w 1587719"/>
              <a:gd name="connsiteY1" fmla="*/ 163240 h 1499103"/>
              <a:gd name="connsiteX2" fmla="*/ 697132 w 1587719"/>
              <a:gd name="connsiteY2" fmla="*/ 139427 h 1499103"/>
              <a:gd name="connsiteX3" fmla="*/ 725707 w 1587719"/>
              <a:gd name="connsiteY3" fmla="*/ 129902 h 1499103"/>
              <a:gd name="connsiteX4" fmla="*/ 739994 w 1587719"/>
              <a:gd name="connsiteY4" fmla="*/ 120377 h 1499103"/>
              <a:gd name="connsiteX5" fmla="*/ 768569 w 1587719"/>
              <a:gd name="connsiteY5" fmla="*/ 110852 h 1499103"/>
              <a:gd name="connsiteX6" fmla="*/ 782857 w 1587719"/>
              <a:gd name="connsiteY6" fmla="*/ 106090 h 1499103"/>
              <a:gd name="connsiteX7" fmla="*/ 787619 w 1587719"/>
              <a:gd name="connsiteY7" fmla="*/ 91802 h 1499103"/>
              <a:gd name="connsiteX8" fmla="*/ 806669 w 1587719"/>
              <a:gd name="connsiteY8" fmla="*/ 63227 h 1499103"/>
              <a:gd name="connsiteX9" fmla="*/ 792382 w 1587719"/>
              <a:gd name="connsiteY9" fmla="*/ 34652 h 1499103"/>
              <a:gd name="connsiteX10" fmla="*/ 797144 w 1587719"/>
              <a:gd name="connsiteY10" fmla="*/ 20365 h 1499103"/>
              <a:gd name="connsiteX11" fmla="*/ 825719 w 1587719"/>
              <a:gd name="connsiteY11" fmla="*/ 25127 h 1499103"/>
              <a:gd name="connsiteX12" fmla="*/ 844769 w 1587719"/>
              <a:gd name="connsiteY12" fmla="*/ 53702 h 1499103"/>
              <a:gd name="connsiteX13" fmla="*/ 863819 w 1587719"/>
              <a:gd name="connsiteY13" fmla="*/ 82277 h 1499103"/>
              <a:gd name="connsiteX14" fmla="*/ 878107 w 1587719"/>
              <a:gd name="connsiteY14" fmla="*/ 96565 h 1499103"/>
              <a:gd name="connsiteX15" fmla="*/ 935257 w 1587719"/>
              <a:gd name="connsiteY15" fmla="*/ 101327 h 1499103"/>
              <a:gd name="connsiteX16" fmla="*/ 949544 w 1587719"/>
              <a:gd name="connsiteY16" fmla="*/ 106090 h 1499103"/>
              <a:gd name="connsiteX17" fmla="*/ 959069 w 1587719"/>
              <a:gd name="connsiteY17" fmla="*/ 134665 h 1499103"/>
              <a:gd name="connsiteX18" fmla="*/ 944782 w 1587719"/>
              <a:gd name="connsiteY18" fmla="*/ 163240 h 1499103"/>
              <a:gd name="connsiteX19" fmla="*/ 949544 w 1587719"/>
              <a:gd name="connsiteY19" fmla="*/ 177527 h 1499103"/>
              <a:gd name="connsiteX20" fmla="*/ 944782 w 1587719"/>
              <a:gd name="connsiteY20" fmla="*/ 196577 h 1499103"/>
              <a:gd name="connsiteX21" fmla="*/ 944782 w 1587719"/>
              <a:gd name="connsiteY21" fmla="*/ 234677 h 1499103"/>
              <a:gd name="connsiteX22" fmla="*/ 959069 w 1587719"/>
              <a:gd name="connsiteY22" fmla="*/ 239440 h 1499103"/>
              <a:gd name="connsiteX23" fmla="*/ 968594 w 1587719"/>
              <a:gd name="connsiteY23" fmla="*/ 253727 h 1499103"/>
              <a:gd name="connsiteX24" fmla="*/ 954307 w 1587719"/>
              <a:gd name="connsiteY24" fmla="*/ 282302 h 1499103"/>
              <a:gd name="connsiteX25" fmla="*/ 940019 w 1587719"/>
              <a:gd name="connsiteY25" fmla="*/ 287065 h 1499103"/>
              <a:gd name="connsiteX26" fmla="*/ 930494 w 1587719"/>
              <a:gd name="connsiteY26" fmla="*/ 320402 h 1499103"/>
              <a:gd name="connsiteX27" fmla="*/ 959069 w 1587719"/>
              <a:gd name="connsiteY27" fmla="*/ 339452 h 1499103"/>
              <a:gd name="connsiteX28" fmla="*/ 982882 w 1587719"/>
              <a:gd name="connsiteY28" fmla="*/ 315640 h 1499103"/>
              <a:gd name="connsiteX29" fmla="*/ 1006694 w 1587719"/>
              <a:gd name="connsiteY29" fmla="*/ 320402 h 1499103"/>
              <a:gd name="connsiteX30" fmla="*/ 1059082 w 1587719"/>
              <a:gd name="connsiteY30" fmla="*/ 287065 h 1499103"/>
              <a:gd name="connsiteX31" fmla="*/ 1059082 w 1587719"/>
              <a:gd name="connsiteY31" fmla="*/ 287065 h 1499103"/>
              <a:gd name="connsiteX32" fmla="*/ 1087657 w 1587719"/>
              <a:gd name="connsiteY32" fmla="*/ 277540 h 1499103"/>
              <a:gd name="connsiteX33" fmla="*/ 1101944 w 1587719"/>
              <a:gd name="connsiteY33" fmla="*/ 272777 h 1499103"/>
              <a:gd name="connsiteX34" fmla="*/ 1120994 w 1587719"/>
              <a:gd name="connsiteY34" fmla="*/ 277540 h 1499103"/>
              <a:gd name="connsiteX35" fmla="*/ 1135282 w 1587719"/>
              <a:gd name="connsiteY35" fmla="*/ 287065 h 1499103"/>
              <a:gd name="connsiteX36" fmla="*/ 1149569 w 1587719"/>
              <a:gd name="connsiteY36" fmla="*/ 291827 h 1499103"/>
              <a:gd name="connsiteX37" fmla="*/ 1154332 w 1587719"/>
              <a:gd name="connsiteY37" fmla="*/ 272777 h 1499103"/>
              <a:gd name="connsiteX38" fmla="*/ 1178144 w 1587719"/>
              <a:gd name="connsiteY38" fmla="*/ 253727 h 1499103"/>
              <a:gd name="connsiteX39" fmla="*/ 1159094 w 1587719"/>
              <a:gd name="connsiteY39" fmla="*/ 210865 h 1499103"/>
              <a:gd name="connsiteX40" fmla="*/ 1163857 w 1587719"/>
              <a:gd name="connsiteY40" fmla="*/ 196577 h 1499103"/>
              <a:gd name="connsiteX41" fmla="*/ 1173382 w 1587719"/>
              <a:gd name="connsiteY41" fmla="*/ 182290 h 1499103"/>
              <a:gd name="connsiteX42" fmla="*/ 1182907 w 1587719"/>
              <a:gd name="connsiteY42" fmla="*/ 153715 h 1499103"/>
              <a:gd name="connsiteX43" fmla="*/ 1173382 w 1587719"/>
              <a:gd name="connsiteY43" fmla="*/ 139427 h 1499103"/>
              <a:gd name="connsiteX44" fmla="*/ 1154332 w 1587719"/>
              <a:gd name="connsiteY44" fmla="*/ 96565 h 1499103"/>
              <a:gd name="connsiteX45" fmla="*/ 1140044 w 1587719"/>
              <a:gd name="connsiteY45" fmla="*/ 91802 h 1499103"/>
              <a:gd name="connsiteX46" fmla="*/ 1125757 w 1587719"/>
              <a:gd name="connsiteY46" fmla="*/ 77515 h 1499103"/>
              <a:gd name="connsiteX47" fmla="*/ 1111469 w 1587719"/>
              <a:gd name="connsiteY47" fmla="*/ 67990 h 1499103"/>
              <a:gd name="connsiteX48" fmla="*/ 1101944 w 1587719"/>
              <a:gd name="connsiteY48" fmla="*/ 53702 h 1499103"/>
              <a:gd name="connsiteX49" fmla="*/ 1116232 w 1587719"/>
              <a:gd name="connsiteY49" fmla="*/ 48940 h 1499103"/>
              <a:gd name="connsiteX50" fmla="*/ 1144807 w 1587719"/>
              <a:gd name="connsiteY50" fmla="*/ 58465 h 1499103"/>
              <a:gd name="connsiteX51" fmla="*/ 1163857 w 1587719"/>
              <a:gd name="connsiteY51" fmla="*/ 53702 h 1499103"/>
              <a:gd name="connsiteX52" fmla="*/ 1182907 w 1587719"/>
              <a:gd name="connsiteY52" fmla="*/ 10840 h 1499103"/>
              <a:gd name="connsiteX53" fmla="*/ 1197194 w 1587719"/>
              <a:gd name="connsiteY53" fmla="*/ 6077 h 1499103"/>
              <a:gd name="connsiteX54" fmla="*/ 1244819 w 1587719"/>
              <a:gd name="connsiteY54" fmla="*/ 10840 h 1499103"/>
              <a:gd name="connsiteX55" fmla="*/ 1259107 w 1587719"/>
              <a:gd name="connsiteY55" fmla="*/ 1315 h 1499103"/>
              <a:gd name="connsiteX56" fmla="*/ 1287682 w 1587719"/>
              <a:gd name="connsiteY56" fmla="*/ 15602 h 1499103"/>
              <a:gd name="connsiteX57" fmla="*/ 1292444 w 1587719"/>
              <a:gd name="connsiteY57" fmla="*/ 87040 h 1499103"/>
              <a:gd name="connsiteX58" fmla="*/ 1297207 w 1587719"/>
              <a:gd name="connsiteY58" fmla="*/ 101327 h 1499103"/>
              <a:gd name="connsiteX59" fmla="*/ 1330544 w 1587719"/>
              <a:gd name="connsiteY59" fmla="*/ 96565 h 1499103"/>
              <a:gd name="connsiteX60" fmla="*/ 1363882 w 1587719"/>
              <a:gd name="connsiteY60" fmla="*/ 87040 h 1499103"/>
              <a:gd name="connsiteX61" fmla="*/ 1382932 w 1587719"/>
              <a:gd name="connsiteY61" fmla="*/ 82277 h 1499103"/>
              <a:gd name="connsiteX62" fmla="*/ 1416269 w 1587719"/>
              <a:gd name="connsiteY62" fmla="*/ 39415 h 1499103"/>
              <a:gd name="connsiteX63" fmla="*/ 1425794 w 1587719"/>
              <a:gd name="connsiteY63" fmla="*/ 25127 h 1499103"/>
              <a:gd name="connsiteX64" fmla="*/ 1440082 w 1587719"/>
              <a:gd name="connsiteY64" fmla="*/ 20365 h 1499103"/>
              <a:gd name="connsiteX65" fmla="*/ 1459132 w 1587719"/>
              <a:gd name="connsiteY65" fmla="*/ 25127 h 1499103"/>
              <a:gd name="connsiteX66" fmla="*/ 1454369 w 1587719"/>
              <a:gd name="connsiteY66" fmla="*/ 48940 h 1499103"/>
              <a:gd name="connsiteX67" fmla="*/ 1440082 w 1587719"/>
              <a:gd name="connsiteY67" fmla="*/ 120377 h 1499103"/>
              <a:gd name="connsiteX68" fmla="*/ 1425794 w 1587719"/>
              <a:gd name="connsiteY68" fmla="*/ 125140 h 1499103"/>
              <a:gd name="connsiteX69" fmla="*/ 1411507 w 1587719"/>
              <a:gd name="connsiteY69" fmla="*/ 139427 h 1499103"/>
              <a:gd name="connsiteX70" fmla="*/ 1406744 w 1587719"/>
              <a:gd name="connsiteY70" fmla="*/ 153715 h 1499103"/>
              <a:gd name="connsiteX71" fmla="*/ 1397219 w 1587719"/>
              <a:gd name="connsiteY71" fmla="*/ 168002 h 1499103"/>
              <a:gd name="connsiteX72" fmla="*/ 1401982 w 1587719"/>
              <a:gd name="connsiteY72" fmla="*/ 182290 h 1499103"/>
              <a:gd name="connsiteX73" fmla="*/ 1416269 w 1587719"/>
              <a:gd name="connsiteY73" fmla="*/ 187052 h 1499103"/>
              <a:gd name="connsiteX74" fmla="*/ 1430557 w 1587719"/>
              <a:gd name="connsiteY74" fmla="*/ 201340 h 1499103"/>
              <a:gd name="connsiteX75" fmla="*/ 1416269 w 1587719"/>
              <a:gd name="connsiteY75" fmla="*/ 239440 h 1499103"/>
              <a:gd name="connsiteX76" fmla="*/ 1401982 w 1587719"/>
              <a:gd name="connsiteY76" fmla="*/ 244202 h 1499103"/>
              <a:gd name="connsiteX77" fmla="*/ 1406744 w 1587719"/>
              <a:gd name="connsiteY77" fmla="*/ 258490 h 1499103"/>
              <a:gd name="connsiteX78" fmla="*/ 1416269 w 1587719"/>
              <a:gd name="connsiteY78" fmla="*/ 272777 h 1499103"/>
              <a:gd name="connsiteX79" fmla="*/ 1430557 w 1587719"/>
              <a:gd name="connsiteY79" fmla="*/ 277540 h 1499103"/>
              <a:gd name="connsiteX80" fmla="*/ 1463894 w 1587719"/>
              <a:gd name="connsiteY80" fmla="*/ 282302 h 1499103"/>
              <a:gd name="connsiteX81" fmla="*/ 1478182 w 1587719"/>
              <a:gd name="connsiteY81" fmla="*/ 291827 h 1499103"/>
              <a:gd name="connsiteX82" fmla="*/ 1478182 w 1587719"/>
              <a:gd name="connsiteY82" fmla="*/ 329927 h 1499103"/>
              <a:gd name="connsiteX83" fmla="*/ 1473419 w 1587719"/>
              <a:gd name="connsiteY83" fmla="*/ 344215 h 1499103"/>
              <a:gd name="connsiteX84" fmla="*/ 1487707 w 1587719"/>
              <a:gd name="connsiteY84" fmla="*/ 406127 h 1499103"/>
              <a:gd name="connsiteX85" fmla="*/ 1516282 w 1587719"/>
              <a:gd name="connsiteY85" fmla="*/ 425177 h 1499103"/>
              <a:gd name="connsiteX86" fmla="*/ 1544857 w 1587719"/>
              <a:gd name="connsiteY86" fmla="*/ 429940 h 1499103"/>
              <a:gd name="connsiteX87" fmla="*/ 1554382 w 1587719"/>
              <a:gd name="connsiteY87" fmla="*/ 444227 h 1499103"/>
              <a:gd name="connsiteX88" fmla="*/ 1554382 w 1587719"/>
              <a:gd name="connsiteY88" fmla="*/ 472802 h 1499103"/>
              <a:gd name="connsiteX89" fmla="*/ 1587719 w 1587719"/>
              <a:gd name="connsiteY89" fmla="*/ 491852 h 1499103"/>
              <a:gd name="connsiteX90" fmla="*/ 1582957 w 1587719"/>
              <a:gd name="connsiteY90" fmla="*/ 510902 h 1499103"/>
              <a:gd name="connsiteX91" fmla="*/ 1573432 w 1587719"/>
              <a:gd name="connsiteY91" fmla="*/ 539477 h 1499103"/>
              <a:gd name="connsiteX92" fmla="*/ 1563907 w 1587719"/>
              <a:gd name="connsiteY92" fmla="*/ 582340 h 1499103"/>
              <a:gd name="connsiteX93" fmla="*/ 1568669 w 1587719"/>
              <a:gd name="connsiteY93" fmla="*/ 625202 h 1499103"/>
              <a:gd name="connsiteX94" fmla="*/ 1563907 w 1587719"/>
              <a:gd name="connsiteY94" fmla="*/ 653777 h 1499103"/>
              <a:gd name="connsiteX95" fmla="*/ 1559144 w 1587719"/>
              <a:gd name="connsiteY95" fmla="*/ 677590 h 1499103"/>
              <a:gd name="connsiteX96" fmla="*/ 1535332 w 1587719"/>
              <a:gd name="connsiteY96" fmla="*/ 701402 h 1499103"/>
              <a:gd name="connsiteX97" fmla="*/ 1521044 w 1587719"/>
              <a:gd name="connsiteY97" fmla="*/ 715690 h 1499103"/>
              <a:gd name="connsiteX98" fmla="*/ 1506757 w 1587719"/>
              <a:gd name="connsiteY98" fmla="*/ 725215 h 1499103"/>
              <a:gd name="connsiteX99" fmla="*/ 1463894 w 1587719"/>
              <a:gd name="connsiteY99" fmla="*/ 763315 h 1499103"/>
              <a:gd name="connsiteX100" fmla="*/ 1449607 w 1587719"/>
              <a:gd name="connsiteY100" fmla="*/ 768077 h 1499103"/>
              <a:gd name="connsiteX101" fmla="*/ 1421032 w 1587719"/>
              <a:gd name="connsiteY101" fmla="*/ 749027 h 1499103"/>
              <a:gd name="connsiteX102" fmla="*/ 1411507 w 1587719"/>
              <a:gd name="connsiteY102" fmla="*/ 710927 h 1499103"/>
              <a:gd name="connsiteX103" fmla="*/ 1392457 w 1587719"/>
              <a:gd name="connsiteY103" fmla="*/ 706165 h 1499103"/>
              <a:gd name="connsiteX104" fmla="*/ 1354357 w 1587719"/>
              <a:gd name="connsiteY104" fmla="*/ 739502 h 1499103"/>
              <a:gd name="connsiteX105" fmla="*/ 1359119 w 1587719"/>
              <a:gd name="connsiteY105" fmla="*/ 753790 h 1499103"/>
              <a:gd name="connsiteX106" fmla="*/ 1378169 w 1587719"/>
              <a:gd name="connsiteY106" fmla="*/ 782365 h 1499103"/>
              <a:gd name="connsiteX107" fmla="*/ 1373407 w 1587719"/>
              <a:gd name="connsiteY107" fmla="*/ 796652 h 1499103"/>
              <a:gd name="connsiteX108" fmla="*/ 1344832 w 1587719"/>
              <a:gd name="connsiteY108" fmla="*/ 810940 h 1499103"/>
              <a:gd name="connsiteX109" fmla="*/ 1278157 w 1587719"/>
              <a:gd name="connsiteY109" fmla="*/ 810940 h 1499103"/>
              <a:gd name="connsiteX110" fmla="*/ 1249582 w 1587719"/>
              <a:gd name="connsiteY110" fmla="*/ 820465 h 1499103"/>
              <a:gd name="connsiteX111" fmla="*/ 1235294 w 1587719"/>
              <a:gd name="connsiteY111" fmla="*/ 825227 h 1499103"/>
              <a:gd name="connsiteX112" fmla="*/ 1221007 w 1587719"/>
              <a:gd name="connsiteY112" fmla="*/ 834752 h 1499103"/>
              <a:gd name="connsiteX113" fmla="*/ 1216244 w 1587719"/>
              <a:gd name="connsiteY113" fmla="*/ 849040 h 1499103"/>
              <a:gd name="connsiteX114" fmla="*/ 1201957 w 1587719"/>
              <a:gd name="connsiteY114" fmla="*/ 863327 h 1499103"/>
              <a:gd name="connsiteX115" fmla="*/ 1206719 w 1587719"/>
              <a:gd name="connsiteY115" fmla="*/ 887140 h 1499103"/>
              <a:gd name="connsiteX116" fmla="*/ 1211482 w 1587719"/>
              <a:gd name="connsiteY116" fmla="*/ 901427 h 1499103"/>
              <a:gd name="connsiteX117" fmla="*/ 1240057 w 1587719"/>
              <a:gd name="connsiteY117" fmla="*/ 891902 h 1499103"/>
              <a:gd name="connsiteX118" fmla="*/ 1254344 w 1587719"/>
              <a:gd name="connsiteY118" fmla="*/ 887140 h 1499103"/>
              <a:gd name="connsiteX119" fmla="*/ 1268632 w 1587719"/>
              <a:gd name="connsiteY119" fmla="*/ 882377 h 1499103"/>
              <a:gd name="connsiteX120" fmla="*/ 1287682 w 1587719"/>
              <a:gd name="connsiteY120" fmla="*/ 906190 h 1499103"/>
              <a:gd name="connsiteX121" fmla="*/ 1278157 w 1587719"/>
              <a:gd name="connsiteY121" fmla="*/ 934765 h 1499103"/>
              <a:gd name="connsiteX122" fmla="*/ 1273394 w 1587719"/>
              <a:gd name="connsiteY122" fmla="*/ 949052 h 1499103"/>
              <a:gd name="connsiteX123" fmla="*/ 1268632 w 1587719"/>
              <a:gd name="connsiteY123" fmla="*/ 977627 h 1499103"/>
              <a:gd name="connsiteX124" fmla="*/ 1263869 w 1587719"/>
              <a:gd name="connsiteY124" fmla="*/ 991915 h 1499103"/>
              <a:gd name="connsiteX125" fmla="*/ 1235294 w 1587719"/>
              <a:gd name="connsiteY125" fmla="*/ 1010965 h 1499103"/>
              <a:gd name="connsiteX126" fmla="*/ 1216244 w 1587719"/>
              <a:gd name="connsiteY126" fmla="*/ 1006202 h 1499103"/>
              <a:gd name="connsiteX127" fmla="*/ 1187669 w 1587719"/>
              <a:gd name="connsiteY127" fmla="*/ 996677 h 1499103"/>
              <a:gd name="connsiteX128" fmla="*/ 1178144 w 1587719"/>
              <a:gd name="connsiteY128" fmla="*/ 1010965 h 1499103"/>
              <a:gd name="connsiteX129" fmla="*/ 1187669 w 1587719"/>
              <a:gd name="connsiteY129" fmla="*/ 1063352 h 1499103"/>
              <a:gd name="connsiteX130" fmla="*/ 1173382 w 1587719"/>
              <a:gd name="connsiteY130" fmla="*/ 1077640 h 1499103"/>
              <a:gd name="connsiteX131" fmla="*/ 1159094 w 1587719"/>
              <a:gd name="connsiteY131" fmla="*/ 1082402 h 1499103"/>
              <a:gd name="connsiteX132" fmla="*/ 1154332 w 1587719"/>
              <a:gd name="connsiteY132" fmla="*/ 1096690 h 1499103"/>
              <a:gd name="connsiteX133" fmla="*/ 1140044 w 1587719"/>
              <a:gd name="connsiteY133" fmla="*/ 1110977 h 1499103"/>
              <a:gd name="connsiteX134" fmla="*/ 1120994 w 1587719"/>
              <a:gd name="connsiteY134" fmla="*/ 1139552 h 1499103"/>
              <a:gd name="connsiteX135" fmla="*/ 1116232 w 1587719"/>
              <a:gd name="connsiteY135" fmla="*/ 1168127 h 1499103"/>
              <a:gd name="connsiteX136" fmla="*/ 1087657 w 1587719"/>
              <a:gd name="connsiteY136" fmla="*/ 1158602 h 1499103"/>
              <a:gd name="connsiteX137" fmla="*/ 1068607 w 1587719"/>
              <a:gd name="connsiteY137" fmla="*/ 1153840 h 1499103"/>
              <a:gd name="connsiteX138" fmla="*/ 1040032 w 1587719"/>
              <a:gd name="connsiteY138" fmla="*/ 1168127 h 1499103"/>
              <a:gd name="connsiteX139" fmla="*/ 1030507 w 1587719"/>
              <a:gd name="connsiteY139" fmla="*/ 1182415 h 1499103"/>
              <a:gd name="connsiteX140" fmla="*/ 1016219 w 1587719"/>
              <a:gd name="connsiteY140" fmla="*/ 1196702 h 1499103"/>
              <a:gd name="connsiteX141" fmla="*/ 1011457 w 1587719"/>
              <a:gd name="connsiteY141" fmla="*/ 1210990 h 1499103"/>
              <a:gd name="connsiteX142" fmla="*/ 997169 w 1587719"/>
              <a:gd name="connsiteY142" fmla="*/ 1225277 h 1499103"/>
              <a:gd name="connsiteX143" fmla="*/ 1006694 w 1587719"/>
              <a:gd name="connsiteY143" fmla="*/ 1253852 h 1499103"/>
              <a:gd name="connsiteX144" fmla="*/ 1001932 w 1587719"/>
              <a:gd name="connsiteY144" fmla="*/ 1268140 h 1499103"/>
              <a:gd name="connsiteX145" fmla="*/ 973357 w 1587719"/>
              <a:gd name="connsiteY145" fmla="*/ 1277665 h 1499103"/>
              <a:gd name="connsiteX146" fmla="*/ 954307 w 1587719"/>
              <a:gd name="connsiteY146" fmla="*/ 1253852 h 1499103"/>
              <a:gd name="connsiteX147" fmla="*/ 940019 w 1587719"/>
              <a:gd name="connsiteY147" fmla="*/ 1239565 h 1499103"/>
              <a:gd name="connsiteX148" fmla="*/ 930494 w 1587719"/>
              <a:gd name="connsiteY148" fmla="*/ 1225277 h 1499103"/>
              <a:gd name="connsiteX149" fmla="*/ 925732 w 1587719"/>
              <a:gd name="connsiteY149" fmla="*/ 1210990 h 1499103"/>
              <a:gd name="connsiteX150" fmla="*/ 925732 w 1587719"/>
              <a:gd name="connsiteY150" fmla="*/ 1182415 h 1499103"/>
              <a:gd name="connsiteX151" fmla="*/ 911444 w 1587719"/>
              <a:gd name="connsiteY151" fmla="*/ 1168127 h 1499103"/>
              <a:gd name="connsiteX152" fmla="*/ 882869 w 1587719"/>
              <a:gd name="connsiteY152" fmla="*/ 1149077 h 1499103"/>
              <a:gd name="connsiteX153" fmla="*/ 873344 w 1587719"/>
              <a:gd name="connsiteY153" fmla="*/ 1134790 h 1499103"/>
              <a:gd name="connsiteX154" fmla="*/ 868582 w 1587719"/>
              <a:gd name="connsiteY154" fmla="*/ 1101452 h 1499103"/>
              <a:gd name="connsiteX155" fmla="*/ 849532 w 1587719"/>
              <a:gd name="connsiteY155" fmla="*/ 1106215 h 1499103"/>
              <a:gd name="connsiteX156" fmla="*/ 835244 w 1587719"/>
              <a:gd name="connsiteY156" fmla="*/ 1168127 h 1499103"/>
              <a:gd name="connsiteX157" fmla="*/ 825719 w 1587719"/>
              <a:gd name="connsiteY157" fmla="*/ 1182415 h 1499103"/>
              <a:gd name="connsiteX158" fmla="*/ 787619 w 1587719"/>
              <a:gd name="connsiteY158" fmla="*/ 1187177 h 1499103"/>
              <a:gd name="connsiteX159" fmla="*/ 797144 w 1587719"/>
              <a:gd name="connsiteY159" fmla="*/ 1215752 h 1499103"/>
              <a:gd name="connsiteX160" fmla="*/ 787619 w 1587719"/>
              <a:gd name="connsiteY160" fmla="*/ 1230040 h 1499103"/>
              <a:gd name="connsiteX161" fmla="*/ 768569 w 1587719"/>
              <a:gd name="connsiteY161" fmla="*/ 1234802 h 1499103"/>
              <a:gd name="connsiteX162" fmla="*/ 739994 w 1587719"/>
              <a:gd name="connsiteY162" fmla="*/ 1244327 h 1499103"/>
              <a:gd name="connsiteX163" fmla="*/ 711419 w 1587719"/>
              <a:gd name="connsiteY163" fmla="*/ 1258615 h 1499103"/>
              <a:gd name="connsiteX164" fmla="*/ 659032 w 1587719"/>
              <a:gd name="connsiteY164" fmla="*/ 1272902 h 1499103"/>
              <a:gd name="connsiteX165" fmla="*/ 654269 w 1587719"/>
              <a:gd name="connsiteY165" fmla="*/ 1287190 h 1499103"/>
              <a:gd name="connsiteX166" fmla="*/ 649507 w 1587719"/>
              <a:gd name="connsiteY166" fmla="*/ 1306240 h 1499103"/>
              <a:gd name="connsiteX167" fmla="*/ 582832 w 1587719"/>
              <a:gd name="connsiteY167" fmla="*/ 1320527 h 1499103"/>
              <a:gd name="connsiteX168" fmla="*/ 568544 w 1587719"/>
              <a:gd name="connsiteY168" fmla="*/ 1325290 h 1499103"/>
              <a:gd name="connsiteX169" fmla="*/ 539969 w 1587719"/>
              <a:gd name="connsiteY169" fmla="*/ 1339577 h 1499103"/>
              <a:gd name="connsiteX170" fmla="*/ 497107 w 1587719"/>
              <a:gd name="connsiteY170" fmla="*/ 1344340 h 1499103"/>
              <a:gd name="connsiteX171" fmla="*/ 468532 w 1587719"/>
              <a:gd name="connsiteY171" fmla="*/ 1358627 h 1499103"/>
              <a:gd name="connsiteX172" fmla="*/ 459007 w 1587719"/>
              <a:gd name="connsiteY172" fmla="*/ 1387202 h 1499103"/>
              <a:gd name="connsiteX173" fmla="*/ 439957 w 1587719"/>
              <a:gd name="connsiteY173" fmla="*/ 1415777 h 1499103"/>
              <a:gd name="connsiteX174" fmla="*/ 430432 w 1587719"/>
              <a:gd name="connsiteY174" fmla="*/ 1430065 h 1499103"/>
              <a:gd name="connsiteX175" fmla="*/ 401857 w 1587719"/>
              <a:gd name="connsiteY175" fmla="*/ 1439590 h 1499103"/>
              <a:gd name="connsiteX176" fmla="*/ 387569 w 1587719"/>
              <a:gd name="connsiteY176" fmla="*/ 1449115 h 1499103"/>
              <a:gd name="connsiteX177" fmla="*/ 368519 w 1587719"/>
              <a:gd name="connsiteY177" fmla="*/ 1496740 h 1499103"/>
              <a:gd name="connsiteX178" fmla="*/ 325657 w 1587719"/>
              <a:gd name="connsiteY178" fmla="*/ 1491977 h 1499103"/>
              <a:gd name="connsiteX179" fmla="*/ 311369 w 1587719"/>
              <a:gd name="connsiteY179" fmla="*/ 1477690 h 1499103"/>
              <a:gd name="connsiteX180" fmla="*/ 282794 w 1587719"/>
              <a:gd name="connsiteY180" fmla="*/ 1482452 h 1499103"/>
              <a:gd name="connsiteX181" fmla="*/ 235169 w 1587719"/>
              <a:gd name="connsiteY181" fmla="*/ 1477690 h 1499103"/>
              <a:gd name="connsiteX182" fmla="*/ 220882 w 1587719"/>
              <a:gd name="connsiteY182" fmla="*/ 1472927 h 1499103"/>
              <a:gd name="connsiteX183" fmla="*/ 192307 w 1587719"/>
              <a:gd name="connsiteY183" fmla="*/ 1468165 h 1499103"/>
              <a:gd name="connsiteX184" fmla="*/ 197069 w 1587719"/>
              <a:gd name="connsiteY184" fmla="*/ 1453877 h 1499103"/>
              <a:gd name="connsiteX185" fmla="*/ 206594 w 1587719"/>
              <a:gd name="connsiteY185" fmla="*/ 1439590 h 1499103"/>
              <a:gd name="connsiteX186" fmla="*/ 201832 w 1587719"/>
              <a:gd name="connsiteY186" fmla="*/ 1406252 h 1499103"/>
              <a:gd name="connsiteX187" fmla="*/ 187544 w 1587719"/>
              <a:gd name="connsiteY187" fmla="*/ 1396727 h 1499103"/>
              <a:gd name="connsiteX188" fmla="*/ 149444 w 1587719"/>
              <a:gd name="connsiteY188" fmla="*/ 1387202 h 1499103"/>
              <a:gd name="connsiteX189" fmla="*/ 135157 w 1587719"/>
              <a:gd name="connsiteY189" fmla="*/ 1377677 h 1499103"/>
              <a:gd name="connsiteX190" fmla="*/ 130394 w 1587719"/>
              <a:gd name="connsiteY190" fmla="*/ 1363390 h 1499103"/>
              <a:gd name="connsiteX191" fmla="*/ 144682 w 1587719"/>
              <a:gd name="connsiteY191" fmla="*/ 1306240 h 1499103"/>
              <a:gd name="connsiteX192" fmla="*/ 139919 w 1587719"/>
              <a:gd name="connsiteY192" fmla="*/ 1287190 h 1499103"/>
              <a:gd name="connsiteX193" fmla="*/ 111344 w 1587719"/>
              <a:gd name="connsiteY193" fmla="*/ 1272902 h 1499103"/>
              <a:gd name="connsiteX194" fmla="*/ 106582 w 1587719"/>
              <a:gd name="connsiteY194" fmla="*/ 1258615 h 1499103"/>
              <a:gd name="connsiteX195" fmla="*/ 97057 w 1587719"/>
              <a:gd name="connsiteY195" fmla="*/ 1220515 h 1499103"/>
              <a:gd name="connsiteX196" fmla="*/ 87532 w 1587719"/>
              <a:gd name="connsiteY196" fmla="*/ 1206227 h 1499103"/>
              <a:gd name="connsiteX197" fmla="*/ 73244 w 1587719"/>
              <a:gd name="connsiteY197" fmla="*/ 1201465 h 1499103"/>
              <a:gd name="connsiteX198" fmla="*/ 63719 w 1587719"/>
              <a:gd name="connsiteY198" fmla="*/ 1187177 h 1499103"/>
              <a:gd name="connsiteX199" fmla="*/ 63719 w 1587719"/>
              <a:gd name="connsiteY199" fmla="*/ 1149077 h 1499103"/>
              <a:gd name="connsiteX200" fmla="*/ 78007 w 1587719"/>
              <a:gd name="connsiteY200" fmla="*/ 1134790 h 1499103"/>
              <a:gd name="connsiteX201" fmla="*/ 87532 w 1587719"/>
              <a:gd name="connsiteY201" fmla="*/ 1120502 h 1499103"/>
              <a:gd name="connsiteX202" fmla="*/ 82769 w 1587719"/>
              <a:gd name="connsiteY202" fmla="*/ 1087165 h 1499103"/>
              <a:gd name="connsiteX203" fmla="*/ 63719 w 1587719"/>
              <a:gd name="connsiteY203" fmla="*/ 1058590 h 1499103"/>
              <a:gd name="connsiteX204" fmla="*/ 68482 w 1587719"/>
              <a:gd name="connsiteY204" fmla="*/ 1044302 h 1499103"/>
              <a:gd name="connsiteX205" fmla="*/ 54194 w 1587719"/>
              <a:gd name="connsiteY205" fmla="*/ 1039540 h 1499103"/>
              <a:gd name="connsiteX206" fmla="*/ 20857 w 1587719"/>
              <a:gd name="connsiteY206" fmla="*/ 1034777 h 1499103"/>
              <a:gd name="connsiteX207" fmla="*/ 6569 w 1587719"/>
              <a:gd name="connsiteY207" fmla="*/ 1025252 h 1499103"/>
              <a:gd name="connsiteX208" fmla="*/ 6569 w 1587719"/>
              <a:gd name="connsiteY208" fmla="*/ 991915 h 1499103"/>
              <a:gd name="connsiteX209" fmla="*/ 20857 w 1587719"/>
              <a:gd name="connsiteY209" fmla="*/ 987152 h 1499103"/>
              <a:gd name="connsiteX210" fmla="*/ 54194 w 1587719"/>
              <a:gd name="connsiteY210" fmla="*/ 972865 h 1499103"/>
              <a:gd name="connsiteX211" fmla="*/ 82769 w 1587719"/>
              <a:gd name="connsiteY211" fmla="*/ 963340 h 1499103"/>
              <a:gd name="connsiteX212" fmla="*/ 111344 w 1587719"/>
              <a:gd name="connsiteY212" fmla="*/ 944290 h 1499103"/>
              <a:gd name="connsiteX213" fmla="*/ 125632 w 1587719"/>
              <a:gd name="connsiteY213" fmla="*/ 934765 h 1499103"/>
              <a:gd name="connsiteX214" fmla="*/ 130394 w 1587719"/>
              <a:gd name="connsiteY214" fmla="*/ 896665 h 1499103"/>
              <a:gd name="connsiteX215" fmla="*/ 111344 w 1587719"/>
              <a:gd name="connsiteY215" fmla="*/ 891902 h 1499103"/>
              <a:gd name="connsiteX216" fmla="*/ 106582 w 1587719"/>
              <a:gd name="connsiteY216" fmla="*/ 877615 h 1499103"/>
              <a:gd name="connsiteX217" fmla="*/ 125632 w 1587719"/>
              <a:gd name="connsiteY217" fmla="*/ 849040 h 1499103"/>
              <a:gd name="connsiteX218" fmla="*/ 144682 w 1587719"/>
              <a:gd name="connsiteY218" fmla="*/ 820465 h 1499103"/>
              <a:gd name="connsiteX219" fmla="*/ 154207 w 1587719"/>
              <a:gd name="connsiteY219" fmla="*/ 806177 h 1499103"/>
              <a:gd name="connsiteX220" fmla="*/ 168494 w 1587719"/>
              <a:gd name="connsiteY220" fmla="*/ 749027 h 1499103"/>
              <a:gd name="connsiteX221" fmla="*/ 158969 w 1587719"/>
              <a:gd name="connsiteY221" fmla="*/ 663302 h 1499103"/>
              <a:gd name="connsiteX222" fmla="*/ 154207 w 1587719"/>
              <a:gd name="connsiteY222" fmla="*/ 639490 h 1499103"/>
              <a:gd name="connsiteX223" fmla="*/ 135157 w 1587719"/>
              <a:gd name="connsiteY223" fmla="*/ 610915 h 1499103"/>
              <a:gd name="connsiteX224" fmla="*/ 116107 w 1587719"/>
              <a:gd name="connsiteY224" fmla="*/ 563290 h 1499103"/>
              <a:gd name="connsiteX225" fmla="*/ 101819 w 1587719"/>
              <a:gd name="connsiteY225" fmla="*/ 558527 h 1499103"/>
              <a:gd name="connsiteX226" fmla="*/ 92294 w 1587719"/>
              <a:gd name="connsiteY226" fmla="*/ 544240 h 1499103"/>
              <a:gd name="connsiteX227" fmla="*/ 82769 w 1587719"/>
              <a:gd name="connsiteY227" fmla="*/ 506140 h 1499103"/>
              <a:gd name="connsiteX228" fmla="*/ 78007 w 1587719"/>
              <a:gd name="connsiteY228" fmla="*/ 487090 h 1499103"/>
              <a:gd name="connsiteX229" fmla="*/ 82769 w 1587719"/>
              <a:gd name="connsiteY229" fmla="*/ 458515 h 1499103"/>
              <a:gd name="connsiteX230" fmla="*/ 97057 w 1587719"/>
              <a:gd name="connsiteY230" fmla="*/ 453752 h 1499103"/>
              <a:gd name="connsiteX231" fmla="*/ 111344 w 1587719"/>
              <a:gd name="connsiteY231" fmla="*/ 444227 h 1499103"/>
              <a:gd name="connsiteX232" fmla="*/ 144682 w 1587719"/>
              <a:gd name="connsiteY232" fmla="*/ 434702 h 1499103"/>
              <a:gd name="connsiteX233" fmla="*/ 178019 w 1587719"/>
              <a:gd name="connsiteY233" fmla="*/ 425177 h 1499103"/>
              <a:gd name="connsiteX234" fmla="*/ 244694 w 1587719"/>
              <a:gd name="connsiteY234" fmla="*/ 434702 h 1499103"/>
              <a:gd name="connsiteX235" fmla="*/ 258982 w 1587719"/>
              <a:gd name="connsiteY235" fmla="*/ 444227 h 1499103"/>
              <a:gd name="connsiteX236" fmla="*/ 273269 w 1587719"/>
              <a:gd name="connsiteY236" fmla="*/ 439465 h 1499103"/>
              <a:gd name="connsiteX237" fmla="*/ 282794 w 1587719"/>
              <a:gd name="connsiteY237" fmla="*/ 425177 h 1499103"/>
              <a:gd name="connsiteX238" fmla="*/ 335182 w 1587719"/>
              <a:gd name="connsiteY238" fmla="*/ 420415 h 1499103"/>
              <a:gd name="connsiteX239" fmla="*/ 349469 w 1587719"/>
              <a:gd name="connsiteY239" fmla="*/ 415652 h 1499103"/>
              <a:gd name="connsiteX240" fmla="*/ 363757 w 1587719"/>
              <a:gd name="connsiteY240" fmla="*/ 406127 h 1499103"/>
              <a:gd name="connsiteX241" fmla="*/ 392332 w 1587719"/>
              <a:gd name="connsiteY241" fmla="*/ 401365 h 1499103"/>
              <a:gd name="connsiteX242" fmla="*/ 406619 w 1587719"/>
              <a:gd name="connsiteY242" fmla="*/ 406127 h 1499103"/>
              <a:gd name="connsiteX243" fmla="*/ 420907 w 1587719"/>
              <a:gd name="connsiteY243" fmla="*/ 415652 h 1499103"/>
              <a:gd name="connsiteX244" fmla="*/ 439957 w 1587719"/>
              <a:gd name="connsiteY244" fmla="*/ 410890 h 1499103"/>
              <a:gd name="connsiteX245" fmla="*/ 444719 w 1587719"/>
              <a:gd name="connsiteY245" fmla="*/ 396602 h 1499103"/>
              <a:gd name="connsiteX246" fmla="*/ 454244 w 1587719"/>
              <a:gd name="connsiteY246" fmla="*/ 358502 h 1499103"/>
              <a:gd name="connsiteX247" fmla="*/ 449482 w 1587719"/>
              <a:gd name="connsiteY247" fmla="*/ 344215 h 1499103"/>
              <a:gd name="connsiteX248" fmla="*/ 420907 w 1587719"/>
              <a:gd name="connsiteY248" fmla="*/ 320402 h 1499103"/>
              <a:gd name="connsiteX249" fmla="*/ 416144 w 1587719"/>
              <a:gd name="connsiteY249" fmla="*/ 287065 h 1499103"/>
              <a:gd name="connsiteX250" fmla="*/ 459007 w 1587719"/>
              <a:gd name="connsiteY250" fmla="*/ 268015 h 1499103"/>
              <a:gd name="connsiteX251" fmla="*/ 473294 w 1587719"/>
              <a:gd name="connsiteY251" fmla="*/ 263252 h 1499103"/>
              <a:gd name="connsiteX252" fmla="*/ 487582 w 1587719"/>
              <a:gd name="connsiteY252" fmla="*/ 234677 h 1499103"/>
              <a:gd name="connsiteX253" fmla="*/ 501869 w 1587719"/>
              <a:gd name="connsiteY253" fmla="*/ 220390 h 1499103"/>
              <a:gd name="connsiteX254" fmla="*/ 530444 w 1587719"/>
              <a:gd name="connsiteY254" fmla="*/ 210865 h 1499103"/>
              <a:gd name="connsiteX255" fmla="*/ 544732 w 1587719"/>
              <a:gd name="connsiteY255" fmla="*/ 201340 h 1499103"/>
              <a:gd name="connsiteX256" fmla="*/ 563782 w 1587719"/>
              <a:gd name="connsiteY256" fmla="*/ 177527 h 1499103"/>
              <a:gd name="connsiteX257" fmla="*/ 563782 w 1587719"/>
              <a:gd name="connsiteY257" fmla="*/ 177527 h 1499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1587719" h="1499103">
                <a:moveTo>
                  <a:pt x="563782" y="177527"/>
                </a:moveTo>
                <a:cubicBezTo>
                  <a:pt x="582038" y="175146"/>
                  <a:pt x="595265" y="169244"/>
                  <a:pt x="673319" y="163240"/>
                </a:cubicBezTo>
                <a:cubicBezTo>
                  <a:pt x="682009" y="150205"/>
                  <a:pt x="682091" y="146112"/>
                  <a:pt x="697132" y="139427"/>
                </a:cubicBezTo>
                <a:cubicBezTo>
                  <a:pt x="706307" y="135349"/>
                  <a:pt x="717353" y="135471"/>
                  <a:pt x="725707" y="129902"/>
                </a:cubicBezTo>
                <a:cubicBezTo>
                  <a:pt x="730469" y="126727"/>
                  <a:pt x="734764" y="122702"/>
                  <a:pt x="739994" y="120377"/>
                </a:cubicBezTo>
                <a:cubicBezTo>
                  <a:pt x="749169" y="116299"/>
                  <a:pt x="759044" y="114027"/>
                  <a:pt x="768569" y="110852"/>
                </a:cubicBezTo>
                <a:lnTo>
                  <a:pt x="782857" y="106090"/>
                </a:lnTo>
                <a:cubicBezTo>
                  <a:pt x="784444" y="101327"/>
                  <a:pt x="785181" y="96190"/>
                  <a:pt x="787619" y="91802"/>
                </a:cubicBezTo>
                <a:cubicBezTo>
                  <a:pt x="793178" y="81795"/>
                  <a:pt x="806669" y="63227"/>
                  <a:pt x="806669" y="63227"/>
                </a:cubicBezTo>
                <a:cubicBezTo>
                  <a:pt x="801852" y="56001"/>
                  <a:pt x="792382" y="44513"/>
                  <a:pt x="792382" y="34652"/>
                </a:cubicBezTo>
                <a:cubicBezTo>
                  <a:pt x="792382" y="29632"/>
                  <a:pt x="795557" y="25127"/>
                  <a:pt x="797144" y="20365"/>
                </a:cubicBezTo>
                <a:cubicBezTo>
                  <a:pt x="806669" y="21952"/>
                  <a:pt x="817808" y="19589"/>
                  <a:pt x="825719" y="25127"/>
                </a:cubicBezTo>
                <a:cubicBezTo>
                  <a:pt x="835097" y="31692"/>
                  <a:pt x="838419" y="44177"/>
                  <a:pt x="844769" y="53702"/>
                </a:cubicBezTo>
                <a:lnTo>
                  <a:pt x="863819" y="82277"/>
                </a:lnTo>
                <a:cubicBezTo>
                  <a:pt x="867555" y="87881"/>
                  <a:pt x="871599" y="94830"/>
                  <a:pt x="878107" y="96565"/>
                </a:cubicBezTo>
                <a:cubicBezTo>
                  <a:pt x="896578" y="101490"/>
                  <a:pt x="916207" y="99740"/>
                  <a:pt x="935257" y="101327"/>
                </a:cubicBezTo>
                <a:cubicBezTo>
                  <a:pt x="940019" y="102915"/>
                  <a:pt x="946626" y="102005"/>
                  <a:pt x="949544" y="106090"/>
                </a:cubicBezTo>
                <a:cubicBezTo>
                  <a:pt x="955380" y="114260"/>
                  <a:pt x="959069" y="134665"/>
                  <a:pt x="959069" y="134665"/>
                </a:cubicBezTo>
                <a:cubicBezTo>
                  <a:pt x="954252" y="141891"/>
                  <a:pt x="944782" y="153379"/>
                  <a:pt x="944782" y="163240"/>
                </a:cubicBezTo>
                <a:cubicBezTo>
                  <a:pt x="944782" y="168260"/>
                  <a:pt x="947957" y="172765"/>
                  <a:pt x="949544" y="177527"/>
                </a:cubicBezTo>
                <a:cubicBezTo>
                  <a:pt x="947957" y="183877"/>
                  <a:pt x="946580" y="190283"/>
                  <a:pt x="944782" y="196577"/>
                </a:cubicBezTo>
                <a:cubicBezTo>
                  <a:pt x="940687" y="210911"/>
                  <a:pt x="933830" y="218250"/>
                  <a:pt x="944782" y="234677"/>
                </a:cubicBezTo>
                <a:cubicBezTo>
                  <a:pt x="947567" y="238854"/>
                  <a:pt x="954307" y="237852"/>
                  <a:pt x="959069" y="239440"/>
                </a:cubicBezTo>
                <a:cubicBezTo>
                  <a:pt x="962244" y="244202"/>
                  <a:pt x="967653" y="248081"/>
                  <a:pt x="968594" y="253727"/>
                </a:cubicBezTo>
                <a:cubicBezTo>
                  <a:pt x="969609" y="259818"/>
                  <a:pt x="957967" y="279374"/>
                  <a:pt x="954307" y="282302"/>
                </a:cubicBezTo>
                <a:cubicBezTo>
                  <a:pt x="950387" y="285438"/>
                  <a:pt x="944782" y="285477"/>
                  <a:pt x="940019" y="287065"/>
                </a:cubicBezTo>
                <a:cubicBezTo>
                  <a:pt x="929879" y="297205"/>
                  <a:pt x="915570" y="303346"/>
                  <a:pt x="930494" y="320402"/>
                </a:cubicBezTo>
                <a:cubicBezTo>
                  <a:pt x="938032" y="329017"/>
                  <a:pt x="959069" y="339452"/>
                  <a:pt x="959069" y="339452"/>
                </a:cubicBezTo>
                <a:cubicBezTo>
                  <a:pt x="964265" y="331658"/>
                  <a:pt x="971336" y="317083"/>
                  <a:pt x="982882" y="315640"/>
                </a:cubicBezTo>
                <a:cubicBezTo>
                  <a:pt x="990914" y="314636"/>
                  <a:pt x="998757" y="318815"/>
                  <a:pt x="1006694" y="320402"/>
                </a:cubicBezTo>
                <a:cubicBezTo>
                  <a:pt x="1043716" y="312999"/>
                  <a:pt x="1024783" y="321364"/>
                  <a:pt x="1059082" y="287065"/>
                </a:cubicBezTo>
                <a:lnTo>
                  <a:pt x="1059082" y="287065"/>
                </a:lnTo>
                <a:lnTo>
                  <a:pt x="1087657" y="277540"/>
                </a:lnTo>
                <a:lnTo>
                  <a:pt x="1101944" y="272777"/>
                </a:lnTo>
                <a:cubicBezTo>
                  <a:pt x="1108294" y="274365"/>
                  <a:pt x="1114978" y="274962"/>
                  <a:pt x="1120994" y="277540"/>
                </a:cubicBezTo>
                <a:cubicBezTo>
                  <a:pt x="1126255" y="279795"/>
                  <a:pt x="1130162" y="284505"/>
                  <a:pt x="1135282" y="287065"/>
                </a:cubicBezTo>
                <a:cubicBezTo>
                  <a:pt x="1139772" y="289310"/>
                  <a:pt x="1144807" y="290240"/>
                  <a:pt x="1149569" y="291827"/>
                </a:cubicBezTo>
                <a:cubicBezTo>
                  <a:pt x="1151157" y="285477"/>
                  <a:pt x="1149704" y="277405"/>
                  <a:pt x="1154332" y="272777"/>
                </a:cubicBezTo>
                <a:cubicBezTo>
                  <a:pt x="1187220" y="239890"/>
                  <a:pt x="1164434" y="294862"/>
                  <a:pt x="1178144" y="253727"/>
                </a:cubicBezTo>
                <a:cubicBezTo>
                  <a:pt x="1166809" y="219722"/>
                  <a:pt x="1174188" y="233506"/>
                  <a:pt x="1159094" y="210865"/>
                </a:cubicBezTo>
                <a:cubicBezTo>
                  <a:pt x="1160682" y="206102"/>
                  <a:pt x="1161612" y="201067"/>
                  <a:pt x="1163857" y="196577"/>
                </a:cubicBezTo>
                <a:cubicBezTo>
                  <a:pt x="1166417" y="191458"/>
                  <a:pt x="1171057" y="187520"/>
                  <a:pt x="1173382" y="182290"/>
                </a:cubicBezTo>
                <a:cubicBezTo>
                  <a:pt x="1177460" y="173115"/>
                  <a:pt x="1182907" y="153715"/>
                  <a:pt x="1182907" y="153715"/>
                </a:cubicBezTo>
                <a:cubicBezTo>
                  <a:pt x="1179732" y="148952"/>
                  <a:pt x="1175707" y="144658"/>
                  <a:pt x="1173382" y="139427"/>
                </a:cubicBezTo>
                <a:cubicBezTo>
                  <a:pt x="1168966" y="129491"/>
                  <a:pt x="1165482" y="105485"/>
                  <a:pt x="1154332" y="96565"/>
                </a:cubicBezTo>
                <a:cubicBezTo>
                  <a:pt x="1150412" y="93429"/>
                  <a:pt x="1144807" y="93390"/>
                  <a:pt x="1140044" y="91802"/>
                </a:cubicBezTo>
                <a:cubicBezTo>
                  <a:pt x="1135282" y="87040"/>
                  <a:pt x="1130931" y="81827"/>
                  <a:pt x="1125757" y="77515"/>
                </a:cubicBezTo>
                <a:cubicBezTo>
                  <a:pt x="1121360" y="73851"/>
                  <a:pt x="1115516" y="72037"/>
                  <a:pt x="1111469" y="67990"/>
                </a:cubicBezTo>
                <a:cubicBezTo>
                  <a:pt x="1107422" y="63943"/>
                  <a:pt x="1105119" y="58465"/>
                  <a:pt x="1101944" y="53702"/>
                </a:cubicBezTo>
                <a:cubicBezTo>
                  <a:pt x="1106707" y="52115"/>
                  <a:pt x="1111242" y="48386"/>
                  <a:pt x="1116232" y="48940"/>
                </a:cubicBezTo>
                <a:cubicBezTo>
                  <a:pt x="1126211" y="50049"/>
                  <a:pt x="1144807" y="58465"/>
                  <a:pt x="1144807" y="58465"/>
                </a:cubicBezTo>
                <a:cubicBezTo>
                  <a:pt x="1151157" y="56877"/>
                  <a:pt x="1159597" y="58672"/>
                  <a:pt x="1163857" y="53702"/>
                </a:cubicBezTo>
                <a:cubicBezTo>
                  <a:pt x="1181322" y="33325"/>
                  <a:pt x="1164318" y="25712"/>
                  <a:pt x="1182907" y="10840"/>
                </a:cubicBezTo>
                <a:cubicBezTo>
                  <a:pt x="1186827" y="7704"/>
                  <a:pt x="1192432" y="7665"/>
                  <a:pt x="1197194" y="6077"/>
                </a:cubicBezTo>
                <a:cubicBezTo>
                  <a:pt x="1231979" y="17672"/>
                  <a:pt x="1216028" y="18037"/>
                  <a:pt x="1244819" y="10840"/>
                </a:cubicBezTo>
                <a:cubicBezTo>
                  <a:pt x="1249582" y="7665"/>
                  <a:pt x="1253461" y="2256"/>
                  <a:pt x="1259107" y="1315"/>
                </a:cubicBezTo>
                <a:cubicBezTo>
                  <a:pt x="1266994" y="0"/>
                  <a:pt x="1282707" y="12285"/>
                  <a:pt x="1287682" y="15602"/>
                </a:cubicBezTo>
                <a:cubicBezTo>
                  <a:pt x="1289269" y="39415"/>
                  <a:pt x="1289808" y="63320"/>
                  <a:pt x="1292444" y="87040"/>
                </a:cubicBezTo>
                <a:cubicBezTo>
                  <a:pt x="1292998" y="92029"/>
                  <a:pt x="1292337" y="100109"/>
                  <a:pt x="1297207" y="101327"/>
                </a:cubicBezTo>
                <a:cubicBezTo>
                  <a:pt x="1308097" y="104049"/>
                  <a:pt x="1319500" y="98573"/>
                  <a:pt x="1330544" y="96565"/>
                </a:cubicBezTo>
                <a:cubicBezTo>
                  <a:pt x="1350999" y="92846"/>
                  <a:pt x="1346042" y="92137"/>
                  <a:pt x="1363882" y="87040"/>
                </a:cubicBezTo>
                <a:cubicBezTo>
                  <a:pt x="1370176" y="85242"/>
                  <a:pt x="1376582" y="83865"/>
                  <a:pt x="1382932" y="82277"/>
                </a:cubicBezTo>
                <a:cubicBezTo>
                  <a:pt x="1395944" y="43238"/>
                  <a:pt x="1373436" y="103666"/>
                  <a:pt x="1416269" y="39415"/>
                </a:cubicBezTo>
                <a:cubicBezTo>
                  <a:pt x="1419444" y="34652"/>
                  <a:pt x="1421324" y="28703"/>
                  <a:pt x="1425794" y="25127"/>
                </a:cubicBezTo>
                <a:cubicBezTo>
                  <a:pt x="1429714" y="21991"/>
                  <a:pt x="1435319" y="21952"/>
                  <a:pt x="1440082" y="20365"/>
                </a:cubicBezTo>
                <a:cubicBezTo>
                  <a:pt x="1446432" y="21952"/>
                  <a:pt x="1456205" y="19273"/>
                  <a:pt x="1459132" y="25127"/>
                </a:cubicBezTo>
                <a:cubicBezTo>
                  <a:pt x="1462752" y="32367"/>
                  <a:pt x="1455315" y="40901"/>
                  <a:pt x="1454369" y="48940"/>
                </a:cubicBezTo>
                <a:cubicBezTo>
                  <a:pt x="1452862" y="61754"/>
                  <a:pt x="1459094" y="105168"/>
                  <a:pt x="1440082" y="120377"/>
                </a:cubicBezTo>
                <a:cubicBezTo>
                  <a:pt x="1436162" y="123513"/>
                  <a:pt x="1430557" y="123552"/>
                  <a:pt x="1425794" y="125140"/>
                </a:cubicBezTo>
                <a:cubicBezTo>
                  <a:pt x="1421032" y="129902"/>
                  <a:pt x="1415243" y="133823"/>
                  <a:pt x="1411507" y="139427"/>
                </a:cubicBezTo>
                <a:cubicBezTo>
                  <a:pt x="1408722" y="143604"/>
                  <a:pt x="1408989" y="149225"/>
                  <a:pt x="1406744" y="153715"/>
                </a:cubicBezTo>
                <a:cubicBezTo>
                  <a:pt x="1404184" y="158834"/>
                  <a:pt x="1400394" y="163240"/>
                  <a:pt x="1397219" y="168002"/>
                </a:cubicBezTo>
                <a:cubicBezTo>
                  <a:pt x="1398807" y="172765"/>
                  <a:pt x="1398432" y="178740"/>
                  <a:pt x="1401982" y="182290"/>
                </a:cubicBezTo>
                <a:cubicBezTo>
                  <a:pt x="1405532" y="185840"/>
                  <a:pt x="1412092" y="184267"/>
                  <a:pt x="1416269" y="187052"/>
                </a:cubicBezTo>
                <a:cubicBezTo>
                  <a:pt x="1421873" y="190788"/>
                  <a:pt x="1425794" y="196577"/>
                  <a:pt x="1430557" y="201340"/>
                </a:cubicBezTo>
                <a:cubicBezTo>
                  <a:pt x="1427975" y="214247"/>
                  <a:pt x="1427948" y="230097"/>
                  <a:pt x="1416269" y="239440"/>
                </a:cubicBezTo>
                <a:cubicBezTo>
                  <a:pt x="1412349" y="242576"/>
                  <a:pt x="1406744" y="242615"/>
                  <a:pt x="1401982" y="244202"/>
                </a:cubicBezTo>
                <a:cubicBezTo>
                  <a:pt x="1403569" y="248965"/>
                  <a:pt x="1404499" y="254000"/>
                  <a:pt x="1406744" y="258490"/>
                </a:cubicBezTo>
                <a:cubicBezTo>
                  <a:pt x="1409304" y="263609"/>
                  <a:pt x="1411800" y="269201"/>
                  <a:pt x="1416269" y="272777"/>
                </a:cubicBezTo>
                <a:cubicBezTo>
                  <a:pt x="1420189" y="275913"/>
                  <a:pt x="1425634" y="276555"/>
                  <a:pt x="1430557" y="277540"/>
                </a:cubicBezTo>
                <a:cubicBezTo>
                  <a:pt x="1441564" y="279741"/>
                  <a:pt x="1452782" y="280715"/>
                  <a:pt x="1463894" y="282302"/>
                </a:cubicBezTo>
                <a:cubicBezTo>
                  <a:pt x="1468657" y="285477"/>
                  <a:pt x="1475007" y="287064"/>
                  <a:pt x="1478182" y="291827"/>
                </a:cubicBezTo>
                <a:cubicBezTo>
                  <a:pt x="1487071" y="305161"/>
                  <a:pt x="1481992" y="316593"/>
                  <a:pt x="1478182" y="329927"/>
                </a:cubicBezTo>
                <a:cubicBezTo>
                  <a:pt x="1476803" y="334754"/>
                  <a:pt x="1475007" y="339452"/>
                  <a:pt x="1473419" y="344215"/>
                </a:cubicBezTo>
                <a:cubicBezTo>
                  <a:pt x="1474216" y="349792"/>
                  <a:pt x="1479450" y="400622"/>
                  <a:pt x="1487707" y="406127"/>
                </a:cubicBezTo>
                <a:lnTo>
                  <a:pt x="1516282" y="425177"/>
                </a:lnTo>
                <a:cubicBezTo>
                  <a:pt x="1524317" y="430533"/>
                  <a:pt x="1535332" y="428352"/>
                  <a:pt x="1544857" y="429940"/>
                </a:cubicBezTo>
                <a:cubicBezTo>
                  <a:pt x="1548032" y="434702"/>
                  <a:pt x="1553441" y="438581"/>
                  <a:pt x="1554382" y="444227"/>
                </a:cubicBezTo>
                <a:cubicBezTo>
                  <a:pt x="1557724" y="464281"/>
                  <a:pt x="1538339" y="452749"/>
                  <a:pt x="1554382" y="472802"/>
                </a:cubicBezTo>
                <a:cubicBezTo>
                  <a:pt x="1558870" y="478412"/>
                  <a:pt x="1583031" y="489508"/>
                  <a:pt x="1587719" y="491852"/>
                </a:cubicBezTo>
                <a:cubicBezTo>
                  <a:pt x="1586132" y="498202"/>
                  <a:pt x="1584838" y="504633"/>
                  <a:pt x="1582957" y="510902"/>
                </a:cubicBezTo>
                <a:cubicBezTo>
                  <a:pt x="1580072" y="520519"/>
                  <a:pt x="1575867" y="529737"/>
                  <a:pt x="1573432" y="539477"/>
                </a:cubicBezTo>
                <a:cubicBezTo>
                  <a:pt x="1566706" y="566380"/>
                  <a:pt x="1569953" y="552109"/>
                  <a:pt x="1563907" y="582340"/>
                </a:cubicBezTo>
                <a:cubicBezTo>
                  <a:pt x="1565494" y="596627"/>
                  <a:pt x="1569863" y="610876"/>
                  <a:pt x="1568669" y="625202"/>
                </a:cubicBezTo>
                <a:cubicBezTo>
                  <a:pt x="1564976" y="669513"/>
                  <a:pt x="1549777" y="611392"/>
                  <a:pt x="1563907" y="653777"/>
                </a:cubicBezTo>
                <a:cubicBezTo>
                  <a:pt x="1562319" y="661715"/>
                  <a:pt x="1561986" y="670011"/>
                  <a:pt x="1559144" y="677590"/>
                </a:cubicBezTo>
                <a:cubicBezTo>
                  <a:pt x="1552794" y="694522"/>
                  <a:pt x="1548031" y="690819"/>
                  <a:pt x="1535332" y="701402"/>
                </a:cubicBezTo>
                <a:cubicBezTo>
                  <a:pt x="1530158" y="705714"/>
                  <a:pt x="1526218" y="711378"/>
                  <a:pt x="1521044" y="715690"/>
                </a:cubicBezTo>
                <a:cubicBezTo>
                  <a:pt x="1516647" y="719354"/>
                  <a:pt x="1511035" y="721412"/>
                  <a:pt x="1506757" y="725215"/>
                </a:cubicBezTo>
                <a:cubicBezTo>
                  <a:pt x="1490527" y="739641"/>
                  <a:pt x="1482424" y="754050"/>
                  <a:pt x="1463894" y="763315"/>
                </a:cubicBezTo>
                <a:cubicBezTo>
                  <a:pt x="1459404" y="765560"/>
                  <a:pt x="1454369" y="766490"/>
                  <a:pt x="1449607" y="768077"/>
                </a:cubicBezTo>
                <a:lnTo>
                  <a:pt x="1421032" y="749027"/>
                </a:lnTo>
                <a:cubicBezTo>
                  <a:pt x="1407240" y="739832"/>
                  <a:pt x="1423818" y="720776"/>
                  <a:pt x="1411507" y="710927"/>
                </a:cubicBezTo>
                <a:cubicBezTo>
                  <a:pt x="1406396" y="706838"/>
                  <a:pt x="1398807" y="707752"/>
                  <a:pt x="1392457" y="706165"/>
                </a:cubicBezTo>
                <a:cubicBezTo>
                  <a:pt x="1359120" y="728390"/>
                  <a:pt x="1370232" y="715690"/>
                  <a:pt x="1354357" y="739502"/>
                </a:cubicBezTo>
                <a:cubicBezTo>
                  <a:pt x="1355944" y="744265"/>
                  <a:pt x="1356681" y="749402"/>
                  <a:pt x="1359119" y="753790"/>
                </a:cubicBezTo>
                <a:cubicBezTo>
                  <a:pt x="1364678" y="763797"/>
                  <a:pt x="1378169" y="782365"/>
                  <a:pt x="1378169" y="782365"/>
                </a:cubicBezTo>
                <a:cubicBezTo>
                  <a:pt x="1376582" y="787127"/>
                  <a:pt x="1376543" y="792732"/>
                  <a:pt x="1373407" y="796652"/>
                </a:cubicBezTo>
                <a:cubicBezTo>
                  <a:pt x="1366693" y="805044"/>
                  <a:pt x="1354243" y="807803"/>
                  <a:pt x="1344832" y="810940"/>
                </a:cubicBezTo>
                <a:cubicBezTo>
                  <a:pt x="1310839" y="806083"/>
                  <a:pt x="1312149" y="803095"/>
                  <a:pt x="1278157" y="810940"/>
                </a:cubicBezTo>
                <a:cubicBezTo>
                  <a:pt x="1268374" y="813198"/>
                  <a:pt x="1259107" y="817290"/>
                  <a:pt x="1249582" y="820465"/>
                </a:cubicBezTo>
                <a:lnTo>
                  <a:pt x="1235294" y="825227"/>
                </a:lnTo>
                <a:cubicBezTo>
                  <a:pt x="1230532" y="828402"/>
                  <a:pt x="1224583" y="830283"/>
                  <a:pt x="1221007" y="834752"/>
                </a:cubicBezTo>
                <a:cubicBezTo>
                  <a:pt x="1217871" y="838672"/>
                  <a:pt x="1219029" y="844863"/>
                  <a:pt x="1216244" y="849040"/>
                </a:cubicBezTo>
                <a:cubicBezTo>
                  <a:pt x="1212508" y="854644"/>
                  <a:pt x="1206719" y="858565"/>
                  <a:pt x="1201957" y="863327"/>
                </a:cubicBezTo>
                <a:cubicBezTo>
                  <a:pt x="1203544" y="871265"/>
                  <a:pt x="1204756" y="879287"/>
                  <a:pt x="1206719" y="887140"/>
                </a:cubicBezTo>
                <a:cubicBezTo>
                  <a:pt x="1207937" y="892010"/>
                  <a:pt x="1206512" y="900717"/>
                  <a:pt x="1211482" y="901427"/>
                </a:cubicBezTo>
                <a:cubicBezTo>
                  <a:pt x="1221421" y="902847"/>
                  <a:pt x="1230532" y="895077"/>
                  <a:pt x="1240057" y="891902"/>
                </a:cubicBezTo>
                <a:lnTo>
                  <a:pt x="1254344" y="887140"/>
                </a:lnTo>
                <a:lnTo>
                  <a:pt x="1268632" y="882377"/>
                </a:lnTo>
                <a:cubicBezTo>
                  <a:pt x="1277794" y="888485"/>
                  <a:pt x="1289268" y="891912"/>
                  <a:pt x="1287682" y="906190"/>
                </a:cubicBezTo>
                <a:cubicBezTo>
                  <a:pt x="1286573" y="916169"/>
                  <a:pt x="1281332" y="925240"/>
                  <a:pt x="1278157" y="934765"/>
                </a:cubicBezTo>
                <a:lnTo>
                  <a:pt x="1273394" y="949052"/>
                </a:lnTo>
                <a:cubicBezTo>
                  <a:pt x="1271807" y="958577"/>
                  <a:pt x="1270727" y="968201"/>
                  <a:pt x="1268632" y="977627"/>
                </a:cubicBezTo>
                <a:cubicBezTo>
                  <a:pt x="1267543" y="982528"/>
                  <a:pt x="1267419" y="988365"/>
                  <a:pt x="1263869" y="991915"/>
                </a:cubicBezTo>
                <a:cubicBezTo>
                  <a:pt x="1255774" y="1000010"/>
                  <a:pt x="1235294" y="1010965"/>
                  <a:pt x="1235294" y="1010965"/>
                </a:cubicBezTo>
                <a:cubicBezTo>
                  <a:pt x="1228944" y="1009377"/>
                  <a:pt x="1222513" y="1008083"/>
                  <a:pt x="1216244" y="1006202"/>
                </a:cubicBezTo>
                <a:cubicBezTo>
                  <a:pt x="1206627" y="1003317"/>
                  <a:pt x="1187669" y="996677"/>
                  <a:pt x="1187669" y="996677"/>
                </a:cubicBezTo>
                <a:cubicBezTo>
                  <a:pt x="1184494" y="1001440"/>
                  <a:pt x="1178662" y="1005265"/>
                  <a:pt x="1178144" y="1010965"/>
                </a:cubicBezTo>
                <a:cubicBezTo>
                  <a:pt x="1176221" y="1032119"/>
                  <a:pt x="1181726" y="1045523"/>
                  <a:pt x="1187669" y="1063352"/>
                </a:cubicBezTo>
                <a:cubicBezTo>
                  <a:pt x="1182907" y="1068115"/>
                  <a:pt x="1178986" y="1073904"/>
                  <a:pt x="1173382" y="1077640"/>
                </a:cubicBezTo>
                <a:cubicBezTo>
                  <a:pt x="1169205" y="1080425"/>
                  <a:pt x="1162644" y="1078852"/>
                  <a:pt x="1159094" y="1082402"/>
                </a:cubicBezTo>
                <a:cubicBezTo>
                  <a:pt x="1155544" y="1085952"/>
                  <a:pt x="1157117" y="1092513"/>
                  <a:pt x="1154332" y="1096690"/>
                </a:cubicBezTo>
                <a:cubicBezTo>
                  <a:pt x="1150596" y="1102294"/>
                  <a:pt x="1144179" y="1105661"/>
                  <a:pt x="1140044" y="1110977"/>
                </a:cubicBezTo>
                <a:cubicBezTo>
                  <a:pt x="1133016" y="1120013"/>
                  <a:pt x="1120994" y="1139552"/>
                  <a:pt x="1120994" y="1139552"/>
                </a:cubicBezTo>
                <a:cubicBezTo>
                  <a:pt x="1119407" y="1149077"/>
                  <a:pt x="1121023" y="1159743"/>
                  <a:pt x="1116232" y="1168127"/>
                </a:cubicBezTo>
                <a:cubicBezTo>
                  <a:pt x="1105718" y="1186527"/>
                  <a:pt x="1091858" y="1161003"/>
                  <a:pt x="1087657" y="1158602"/>
                </a:cubicBezTo>
                <a:cubicBezTo>
                  <a:pt x="1081974" y="1155355"/>
                  <a:pt x="1074957" y="1155427"/>
                  <a:pt x="1068607" y="1153840"/>
                </a:cubicBezTo>
                <a:cubicBezTo>
                  <a:pt x="1056986" y="1157713"/>
                  <a:pt x="1049265" y="1158894"/>
                  <a:pt x="1040032" y="1168127"/>
                </a:cubicBezTo>
                <a:cubicBezTo>
                  <a:pt x="1035985" y="1172175"/>
                  <a:pt x="1034171" y="1178018"/>
                  <a:pt x="1030507" y="1182415"/>
                </a:cubicBezTo>
                <a:cubicBezTo>
                  <a:pt x="1026195" y="1187589"/>
                  <a:pt x="1020982" y="1191940"/>
                  <a:pt x="1016219" y="1196702"/>
                </a:cubicBezTo>
                <a:cubicBezTo>
                  <a:pt x="1014632" y="1201465"/>
                  <a:pt x="1014242" y="1206813"/>
                  <a:pt x="1011457" y="1210990"/>
                </a:cubicBezTo>
                <a:cubicBezTo>
                  <a:pt x="1007721" y="1216594"/>
                  <a:pt x="997913" y="1218583"/>
                  <a:pt x="997169" y="1225277"/>
                </a:cubicBezTo>
                <a:cubicBezTo>
                  <a:pt x="996060" y="1235256"/>
                  <a:pt x="1006694" y="1253852"/>
                  <a:pt x="1006694" y="1253852"/>
                </a:cubicBezTo>
                <a:cubicBezTo>
                  <a:pt x="1005107" y="1258615"/>
                  <a:pt x="1006017" y="1265222"/>
                  <a:pt x="1001932" y="1268140"/>
                </a:cubicBezTo>
                <a:cubicBezTo>
                  <a:pt x="993762" y="1273976"/>
                  <a:pt x="973357" y="1277665"/>
                  <a:pt x="973357" y="1277665"/>
                </a:cubicBezTo>
                <a:cubicBezTo>
                  <a:pt x="941401" y="1256362"/>
                  <a:pt x="972711" y="1281458"/>
                  <a:pt x="954307" y="1253852"/>
                </a:cubicBezTo>
                <a:cubicBezTo>
                  <a:pt x="950571" y="1248248"/>
                  <a:pt x="944331" y="1244739"/>
                  <a:pt x="940019" y="1239565"/>
                </a:cubicBezTo>
                <a:cubicBezTo>
                  <a:pt x="936355" y="1235168"/>
                  <a:pt x="933669" y="1230040"/>
                  <a:pt x="930494" y="1225277"/>
                </a:cubicBezTo>
                <a:cubicBezTo>
                  <a:pt x="928907" y="1220515"/>
                  <a:pt x="925732" y="1216010"/>
                  <a:pt x="925732" y="1210990"/>
                </a:cubicBezTo>
                <a:cubicBezTo>
                  <a:pt x="925732" y="1191942"/>
                  <a:pt x="938430" y="1201462"/>
                  <a:pt x="925732" y="1182415"/>
                </a:cubicBezTo>
                <a:cubicBezTo>
                  <a:pt x="921996" y="1176811"/>
                  <a:pt x="916761" y="1172262"/>
                  <a:pt x="911444" y="1168127"/>
                </a:cubicBezTo>
                <a:cubicBezTo>
                  <a:pt x="902408" y="1161099"/>
                  <a:pt x="882869" y="1149077"/>
                  <a:pt x="882869" y="1149077"/>
                </a:cubicBezTo>
                <a:cubicBezTo>
                  <a:pt x="879694" y="1144315"/>
                  <a:pt x="874989" y="1140272"/>
                  <a:pt x="873344" y="1134790"/>
                </a:cubicBezTo>
                <a:cubicBezTo>
                  <a:pt x="870118" y="1124038"/>
                  <a:pt x="875768" y="1110076"/>
                  <a:pt x="868582" y="1101452"/>
                </a:cubicBezTo>
                <a:cubicBezTo>
                  <a:pt x="864392" y="1096424"/>
                  <a:pt x="855882" y="1104627"/>
                  <a:pt x="849532" y="1106215"/>
                </a:cubicBezTo>
                <a:cubicBezTo>
                  <a:pt x="827331" y="1139515"/>
                  <a:pt x="851240" y="1098812"/>
                  <a:pt x="835244" y="1168127"/>
                </a:cubicBezTo>
                <a:cubicBezTo>
                  <a:pt x="833957" y="1173704"/>
                  <a:pt x="831034" y="1180289"/>
                  <a:pt x="825719" y="1182415"/>
                </a:cubicBezTo>
                <a:cubicBezTo>
                  <a:pt x="813836" y="1187168"/>
                  <a:pt x="800319" y="1185590"/>
                  <a:pt x="787619" y="1187177"/>
                </a:cubicBezTo>
                <a:cubicBezTo>
                  <a:pt x="790794" y="1196702"/>
                  <a:pt x="802713" y="1207398"/>
                  <a:pt x="797144" y="1215752"/>
                </a:cubicBezTo>
                <a:cubicBezTo>
                  <a:pt x="793969" y="1220515"/>
                  <a:pt x="792382" y="1226865"/>
                  <a:pt x="787619" y="1230040"/>
                </a:cubicBezTo>
                <a:cubicBezTo>
                  <a:pt x="782173" y="1233671"/>
                  <a:pt x="774838" y="1232921"/>
                  <a:pt x="768569" y="1234802"/>
                </a:cubicBezTo>
                <a:cubicBezTo>
                  <a:pt x="758952" y="1237687"/>
                  <a:pt x="749519" y="1241152"/>
                  <a:pt x="739994" y="1244327"/>
                </a:cubicBezTo>
                <a:cubicBezTo>
                  <a:pt x="687891" y="1261696"/>
                  <a:pt x="766811" y="1233996"/>
                  <a:pt x="711419" y="1258615"/>
                </a:cubicBezTo>
                <a:cubicBezTo>
                  <a:pt x="691642" y="1267404"/>
                  <a:pt x="679405" y="1268828"/>
                  <a:pt x="659032" y="1272902"/>
                </a:cubicBezTo>
                <a:cubicBezTo>
                  <a:pt x="657444" y="1277665"/>
                  <a:pt x="655648" y="1282363"/>
                  <a:pt x="654269" y="1287190"/>
                </a:cubicBezTo>
                <a:cubicBezTo>
                  <a:pt x="652471" y="1293484"/>
                  <a:pt x="654477" y="1301980"/>
                  <a:pt x="649507" y="1306240"/>
                </a:cubicBezTo>
                <a:cubicBezTo>
                  <a:pt x="637921" y="1316171"/>
                  <a:pt x="593760" y="1319161"/>
                  <a:pt x="582832" y="1320527"/>
                </a:cubicBezTo>
                <a:cubicBezTo>
                  <a:pt x="578069" y="1322115"/>
                  <a:pt x="573034" y="1323045"/>
                  <a:pt x="568544" y="1325290"/>
                </a:cubicBezTo>
                <a:cubicBezTo>
                  <a:pt x="552085" y="1333520"/>
                  <a:pt x="557929" y="1336584"/>
                  <a:pt x="539969" y="1339577"/>
                </a:cubicBezTo>
                <a:cubicBezTo>
                  <a:pt x="525789" y="1341940"/>
                  <a:pt x="511394" y="1342752"/>
                  <a:pt x="497107" y="1344340"/>
                </a:cubicBezTo>
                <a:cubicBezTo>
                  <a:pt x="489321" y="1346935"/>
                  <a:pt x="473392" y="1350851"/>
                  <a:pt x="468532" y="1358627"/>
                </a:cubicBezTo>
                <a:cubicBezTo>
                  <a:pt x="463211" y="1367141"/>
                  <a:pt x="462182" y="1377677"/>
                  <a:pt x="459007" y="1387202"/>
                </a:cubicBezTo>
                <a:cubicBezTo>
                  <a:pt x="455387" y="1398062"/>
                  <a:pt x="446307" y="1406252"/>
                  <a:pt x="439957" y="1415777"/>
                </a:cubicBezTo>
                <a:lnTo>
                  <a:pt x="430432" y="1430065"/>
                </a:lnTo>
                <a:cubicBezTo>
                  <a:pt x="424863" y="1438419"/>
                  <a:pt x="411382" y="1436415"/>
                  <a:pt x="401857" y="1439590"/>
                </a:cubicBezTo>
                <a:cubicBezTo>
                  <a:pt x="396427" y="1441400"/>
                  <a:pt x="392332" y="1445940"/>
                  <a:pt x="387569" y="1449115"/>
                </a:cubicBezTo>
                <a:cubicBezTo>
                  <a:pt x="386371" y="1457500"/>
                  <a:pt x="388034" y="1493487"/>
                  <a:pt x="368519" y="1496740"/>
                </a:cubicBezTo>
                <a:cubicBezTo>
                  <a:pt x="354339" y="1499103"/>
                  <a:pt x="339944" y="1493565"/>
                  <a:pt x="325657" y="1491977"/>
                </a:cubicBezTo>
                <a:cubicBezTo>
                  <a:pt x="320894" y="1487215"/>
                  <a:pt x="317944" y="1479151"/>
                  <a:pt x="311369" y="1477690"/>
                </a:cubicBezTo>
                <a:cubicBezTo>
                  <a:pt x="301943" y="1475595"/>
                  <a:pt x="292450" y="1482452"/>
                  <a:pt x="282794" y="1482452"/>
                </a:cubicBezTo>
                <a:cubicBezTo>
                  <a:pt x="266840" y="1482452"/>
                  <a:pt x="251044" y="1479277"/>
                  <a:pt x="235169" y="1477690"/>
                </a:cubicBezTo>
                <a:cubicBezTo>
                  <a:pt x="230407" y="1476102"/>
                  <a:pt x="225782" y="1474016"/>
                  <a:pt x="220882" y="1472927"/>
                </a:cubicBezTo>
                <a:cubicBezTo>
                  <a:pt x="211456" y="1470832"/>
                  <a:pt x="199847" y="1474197"/>
                  <a:pt x="192307" y="1468165"/>
                </a:cubicBezTo>
                <a:cubicBezTo>
                  <a:pt x="188387" y="1465029"/>
                  <a:pt x="194824" y="1458367"/>
                  <a:pt x="197069" y="1453877"/>
                </a:cubicBezTo>
                <a:cubicBezTo>
                  <a:pt x="199629" y="1448758"/>
                  <a:pt x="203419" y="1444352"/>
                  <a:pt x="206594" y="1439590"/>
                </a:cubicBezTo>
                <a:cubicBezTo>
                  <a:pt x="205007" y="1428477"/>
                  <a:pt x="206391" y="1416510"/>
                  <a:pt x="201832" y="1406252"/>
                </a:cubicBezTo>
                <a:cubicBezTo>
                  <a:pt x="199507" y="1401021"/>
                  <a:pt x="192664" y="1399287"/>
                  <a:pt x="187544" y="1396727"/>
                </a:cubicBezTo>
                <a:cubicBezTo>
                  <a:pt x="177783" y="1391847"/>
                  <a:pt x="158497" y="1389013"/>
                  <a:pt x="149444" y="1387202"/>
                </a:cubicBezTo>
                <a:cubicBezTo>
                  <a:pt x="144682" y="1384027"/>
                  <a:pt x="138733" y="1382146"/>
                  <a:pt x="135157" y="1377677"/>
                </a:cubicBezTo>
                <a:cubicBezTo>
                  <a:pt x="132021" y="1373757"/>
                  <a:pt x="130394" y="1368410"/>
                  <a:pt x="130394" y="1363390"/>
                </a:cubicBezTo>
                <a:cubicBezTo>
                  <a:pt x="130394" y="1322931"/>
                  <a:pt x="129331" y="1329266"/>
                  <a:pt x="144682" y="1306240"/>
                </a:cubicBezTo>
                <a:cubicBezTo>
                  <a:pt x="143094" y="1299890"/>
                  <a:pt x="143550" y="1292636"/>
                  <a:pt x="139919" y="1287190"/>
                </a:cubicBezTo>
                <a:cubicBezTo>
                  <a:pt x="134643" y="1279277"/>
                  <a:pt x="119494" y="1275619"/>
                  <a:pt x="111344" y="1272902"/>
                </a:cubicBezTo>
                <a:cubicBezTo>
                  <a:pt x="109757" y="1268140"/>
                  <a:pt x="107800" y="1263485"/>
                  <a:pt x="106582" y="1258615"/>
                </a:cubicBezTo>
                <a:cubicBezTo>
                  <a:pt x="103866" y="1247751"/>
                  <a:pt x="102499" y="1231399"/>
                  <a:pt x="97057" y="1220515"/>
                </a:cubicBezTo>
                <a:cubicBezTo>
                  <a:pt x="94497" y="1215395"/>
                  <a:pt x="92002" y="1209803"/>
                  <a:pt x="87532" y="1206227"/>
                </a:cubicBezTo>
                <a:cubicBezTo>
                  <a:pt x="83612" y="1203091"/>
                  <a:pt x="78007" y="1203052"/>
                  <a:pt x="73244" y="1201465"/>
                </a:cubicBezTo>
                <a:cubicBezTo>
                  <a:pt x="70069" y="1196702"/>
                  <a:pt x="66279" y="1192297"/>
                  <a:pt x="63719" y="1187177"/>
                </a:cubicBezTo>
                <a:cubicBezTo>
                  <a:pt x="57240" y="1174218"/>
                  <a:pt x="56614" y="1163287"/>
                  <a:pt x="63719" y="1149077"/>
                </a:cubicBezTo>
                <a:cubicBezTo>
                  <a:pt x="66731" y="1143053"/>
                  <a:pt x="73695" y="1139964"/>
                  <a:pt x="78007" y="1134790"/>
                </a:cubicBezTo>
                <a:cubicBezTo>
                  <a:pt x="81671" y="1130393"/>
                  <a:pt x="84357" y="1125265"/>
                  <a:pt x="87532" y="1120502"/>
                </a:cubicBezTo>
                <a:cubicBezTo>
                  <a:pt x="85944" y="1109390"/>
                  <a:pt x="86799" y="1097642"/>
                  <a:pt x="82769" y="1087165"/>
                </a:cubicBezTo>
                <a:cubicBezTo>
                  <a:pt x="78659" y="1076480"/>
                  <a:pt x="63719" y="1058590"/>
                  <a:pt x="63719" y="1058590"/>
                </a:cubicBezTo>
                <a:cubicBezTo>
                  <a:pt x="65307" y="1053827"/>
                  <a:pt x="70727" y="1048792"/>
                  <a:pt x="68482" y="1044302"/>
                </a:cubicBezTo>
                <a:cubicBezTo>
                  <a:pt x="66237" y="1039812"/>
                  <a:pt x="59117" y="1040525"/>
                  <a:pt x="54194" y="1039540"/>
                </a:cubicBezTo>
                <a:cubicBezTo>
                  <a:pt x="43187" y="1037339"/>
                  <a:pt x="31969" y="1036365"/>
                  <a:pt x="20857" y="1034777"/>
                </a:cubicBezTo>
                <a:cubicBezTo>
                  <a:pt x="16094" y="1031602"/>
                  <a:pt x="10145" y="1029722"/>
                  <a:pt x="6569" y="1025252"/>
                </a:cubicBezTo>
                <a:cubicBezTo>
                  <a:pt x="0" y="1017040"/>
                  <a:pt x="248" y="999817"/>
                  <a:pt x="6569" y="991915"/>
                </a:cubicBezTo>
                <a:cubicBezTo>
                  <a:pt x="9705" y="987995"/>
                  <a:pt x="16367" y="989397"/>
                  <a:pt x="20857" y="987152"/>
                </a:cubicBezTo>
                <a:cubicBezTo>
                  <a:pt x="62412" y="966374"/>
                  <a:pt x="4636" y="987732"/>
                  <a:pt x="54194" y="972865"/>
                </a:cubicBezTo>
                <a:cubicBezTo>
                  <a:pt x="63811" y="969980"/>
                  <a:pt x="82769" y="963340"/>
                  <a:pt x="82769" y="963340"/>
                </a:cubicBezTo>
                <a:lnTo>
                  <a:pt x="111344" y="944290"/>
                </a:lnTo>
                <a:lnTo>
                  <a:pt x="125632" y="934765"/>
                </a:lnTo>
                <a:cubicBezTo>
                  <a:pt x="141978" y="910246"/>
                  <a:pt x="157147" y="908131"/>
                  <a:pt x="130394" y="896665"/>
                </a:cubicBezTo>
                <a:cubicBezTo>
                  <a:pt x="124378" y="894087"/>
                  <a:pt x="117694" y="893490"/>
                  <a:pt x="111344" y="891902"/>
                </a:cubicBezTo>
                <a:cubicBezTo>
                  <a:pt x="109757" y="887140"/>
                  <a:pt x="106582" y="882635"/>
                  <a:pt x="106582" y="877615"/>
                </a:cubicBezTo>
                <a:cubicBezTo>
                  <a:pt x="106582" y="861998"/>
                  <a:pt x="117040" y="860087"/>
                  <a:pt x="125632" y="849040"/>
                </a:cubicBezTo>
                <a:cubicBezTo>
                  <a:pt x="132660" y="840004"/>
                  <a:pt x="138332" y="829990"/>
                  <a:pt x="144682" y="820465"/>
                </a:cubicBezTo>
                <a:lnTo>
                  <a:pt x="154207" y="806177"/>
                </a:lnTo>
                <a:cubicBezTo>
                  <a:pt x="166786" y="768441"/>
                  <a:pt x="162082" y="787506"/>
                  <a:pt x="168494" y="749027"/>
                </a:cubicBezTo>
                <a:cubicBezTo>
                  <a:pt x="161443" y="650302"/>
                  <a:pt x="169672" y="711465"/>
                  <a:pt x="158969" y="663302"/>
                </a:cubicBezTo>
                <a:cubicBezTo>
                  <a:pt x="157213" y="655400"/>
                  <a:pt x="157556" y="646859"/>
                  <a:pt x="154207" y="639490"/>
                </a:cubicBezTo>
                <a:cubicBezTo>
                  <a:pt x="149470" y="629068"/>
                  <a:pt x="135157" y="610915"/>
                  <a:pt x="135157" y="610915"/>
                </a:cubicBezTo>
                <a:cubicBezTo>
                  <a:pt x="130923" y="577049"/>
                  <a:pt x="140489" y="575481"/>
                  <a:pt x="116107" y="563290"/>
                </a:cubicBezTo>
                <a:cubicBezTo>
                  <a:pt x="111617" y="561045"/>
                  <a:pt x="106582" y="560115"/>
                  <a:pt x="101819" y="558527"/>
                </a:cubicBezTo>
                <a:cubicBezTo>
                  <a:pt x="98644" y="553765"/>
                  <a:pt x="94854" y="549359"/>
                  <a:pt x="92294" y="544240"/>
                </a:cubicBezTo>
                <a:cubicBezTo>
                  <a:pt x="87190" y="534032"/>
                  <a:pt x="84941" y="515914"/>
                  <a:pt x="82769" y="506140"/>
                </a:cubicBezTo>
                <a:cubicBezTo>
                  <a:pt x="81349" y="499750"/>
                  <a:pt x="79594" y="493440"/>
                  <a:pt x="78007" y="487090"/>
                </a:cubicBezTo>
                <a:cubicBezTo>
                  <a:pt x="79594" y="477565"/>
                  <a:pt x="77978" y="466899"/>
                  <a:pt x="82769" y="458515"/>
                </a:cubicBezTo>
                <a:cubicBezTo>
                  <a:pt x="85260" y="454156"/>
                  <a:pt x="92567" y="455997"/>
                  <a:pt x="97057" y="453752"/>
                </a:cubicBezTo>
                <a:cubicBezTo>
                  <a:pt x="102176" y="451192"/>
                  <a:pt x="106225" y="446787"/>
                  <a:pt x="111344" y="444227"/>
                </a:cubicBezTo>
                <a:cubicBezTo>
                  <a:pt x="118951" y="440424"/>
                  <a:pt x="137569" y="436734"/>
                  <a:pt x="144682" y="434702"/>
                </a:cubicBezTo>
                <a:cubicBezTo>
                  <a:pt x="192508" y="421037"/>
                  <a:pt x="118464" y="440067"/>
                  <a:pt x="178019" y="425177"/>
                </a:cubicBezTo>
                <a:cubicBezTo>
                  <a:pt x="191397" y="426393"/>
                  <a:pt x="226371" y="425541"/>
                  <a:pt x="244694" y="434702"/>
                </a:cubicBezTo>
                <a:cubicBezTo>
                  <a:pt x="249814" y="437262"/>
                  <a:pt x="254219" y="441052"/>
                  <a:pt x="258982" y="444227"/>
                </a:cubicBezTo>
                <a:cubicBezTo>
                  <a:pt x="263744" y="442640"/>
                  <a:pt x="269349" y="442601"/>
                  <a:pt x="273269" y="439465"/>
                </a:cubicBezTo>
                <a:cubicBezTo>
                  <a:pt x="277739" y="435889"/>
                  <a:pt x="277323" y="426860"/>
                  <a:pt x="282794" y="425177"/>
                </a:cubicBezTo>
                <a:cubicBezTo>
                  <a:pt x="299553" y="420020"/>
                  <a:pt x="317719" y="422002"/>
                  <a:pt x="335182" y="420415"/>
                </a:cubicBezTo>
                <a:cubicBezTo>
                  <a:pt x="339944" y="418827"/>
                  <a:pt x="344979" y="417897"/>
                  <a:pt x="349469" y="415652"/>
                </a:cubicBezTo>
                <a:cubicBezTo>
                  <a:pt x="354589" y="413092"/>
                  <a:pt x="358327" y="407937"/>
                  <a:pt x="363757" y="406127"/>
                </a:cubicBezTo>
                <a:cubicBezTo>
                  <a:pt x="372918" y="403074"/>
                  <a:pt x="382807" y="402952"/>
                  <a:pt x="392332" y="401365"/>
                </a:cubicBezTo>
                <a:cubicBezTo>
                  <a:pt x="397094" y="402952"/>
                  <a:pt x="402129" y="403882"/>
                  <a:pt x="406619" y="406127"/>
                </a:cubicBezTo>
                <a:cubicBezTo>
                  <a:pt x="411739" y="408687"/>
                  <a:pt x="415241" y="414842"/>
                  <a:pt x="420907" y="415652"/>
                </a:cubicBezTo>
                <a:cubicBezTo>
                  <a:pt x="427387" y="416578"/>
                  <a:pt x="433607" y="412477"/>
                  <a:pt x="439957" y="410890"/>
                </a:cubicBezTo>
                <a:cubicBezTo>
                  <a:pt x="441544" y="406127"/>
                  <a:pt x="443501" y="401472"/>
                  <a:pt x="444719" y="396602"/>
                </a:cubicBezTo>
                <a:lnTo>
                  <a:pt x="454244" y="358502"/>
                </a:lnTo>
                <a:cubicBezTo>
                  <a:pt x="452657" y="353740"/>
                  <a:pt x="452267" y="348392"/>
                  <a:pt x="449482" y="344215"/>
                </a:cubicBezTo>
                <a:cubicBezTo>
                  <a:pt x="442148" y="333214"/>
                  <a:pt x="431449" y="327430"/>
                  <a:pt x="420907" y="320402"/>
                </a:cubicBezTo>
                <a:cubicBezTo>
                  <a:pt x="412234" y="307392"/>
                  <a:pt x="404868" y="303979"/>
                  <a:pt x="416144" y="287065"/>
                </a:cubicBezTo>
                <a:cubicBezTo>
                  <a:pt x="422613" y="277362"/>
                  <a:pt x="453371" y="269894"/>
                  <a:pt x="459007" y="268015"/>
                </a:cubicBezTo>
                <a:lnTo>
                  <a:pt x="473294" y="263252"/>
                </a:lnTo>
                <a:cubicBezTo>
                  <a:pt x="478067" y="248934"/>
                  <a:pt x="477325" y="246986"/>
                  <a:pt x="487582" y="234677"/>
                </a:cubicBezTo>
                <a:cubicBezTo>
                  <a:pt x="491894" y="229503"/>
                  <a:pt x="495982" y="223661"/>
                  <a:pt x="501869" y="220390"/>
                </a:cubicBezTo>
                <a:cubicBezTo>
                  <a:pt x="510646" y="215514"/>
                  <a:pt x="530444" y="210865"/>
                  <a:pt x="530444" y="210865"/>
                </a:cubicBezTo>
                <a:cubicBezTo>
                  <a:pt x="535207" y="207690"/>
                  <a:pt x="541156" y="205810"/>
                  <a:pt x="544732" y="201340"/>
                </a:cubicBezTo>
                <a:cubicBezTo>
                  <a:pt x="557964" y="184800"/>
                  <a:pt x="537723" y="186213"/>
                  <a:pt x="563782" y="177527"/>
                </a:cubicBezTo>
                <a:lnTo>
                  <a:pt x="563782" y="177527"/>
                </a:ln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15" name="Freeform 14"/>
          <p:cNvSpPr/>
          <p:nvPr>
            <p:custDataLst>
              <p:tags r:id="rId4"/>
            </p:custDataLst>
          </p:nvPr>
        </p:nvSpPr>
        <p:spPr bwMode="auto">
          <a:xfrm>
            <a:off x="746090" y="2074425"/>
            <a:ext cx="1754340" cy="1535256"/>
          </a:xfrm>
          <a:custGeom>
            <a:avLst/>
            <a:gdLst>
              <a:gd name="connsiteX0" fmla="*/ 152400 w 2090570"/>
              <a:gd name="connsiteY0" fmla="*/ 1123950 h 1829497"/>
              <a:gd name="connsiteX1" fmla="*/ 146050 w 2090570"/>
              <a:gd name="connsiteY1" fmla="*/ 1098550 h 1829497"/>
              <a:gd name="connsiteX2" fmla="*/ 139700 w 2090570"/>
              <a:gd name="connsiteY2" fmla="*/ 1079500 h 1829497"/>
              <a:gd name="connsiteX3" fmla="*/ 142875 w 2090570"/>
              <a:gd name="connsiteY3" fmla="*/ 1069975 h 1829497"/>
              <a:gd name="connsiteX4" fmla="*/ 152400 w 2090570"/>
              <a:gd name="connsiteY4" fmla="*/ 1066800 h 1829497"/>
              <a:gd name="connsiteX5" fmla="*/ 158750 w 2090570"/>
              <a:gd name="connsiteY5" fmla="*/ 1047750 h 1829497"/>
              <a:gd name="connsiteX6" fmla="*/ 152400 w 2090570"/>
              <a:gd name="connsiteY6" fmla="*/ 1019175 h 1829497"/>
              <a:gd name="connsiteX7" fmla="*/ 146050 w 2090570"/>
              <a:gd name="connsiteY7" fmla="*/ 1000125 h 1829497"/>
              <a:gd name="connsiteX8" fmla="*/ 136525 w 2090570"/>
              <a:gd name="connsiteY8" fmla="*/ 981075 h 1829497"/>
              <a:gd name="connsiteX9" fmla="*/ 127000 w 2090570"/>
              <a:gd name="connsiteY9" fmla="*/ 977900 h 1829497"/>
              <a:gd name="connsiteX10" fmla="*/ 98425 w 2090570"/>
              <a:gd name="connsiteY10" fmla="*/ 984250 h 1829497"/>
              <a:gd name="connsiteX11" fmla="*/ 85725 w 2090570"/>
              <a:gd name="connsiteY11" fmla="*/ 987425 h 1829497"/>
              <a:gd name="connsiteX12" fmla="*/ 76200 w 2090570"/>
              <a:gd name="connsiteY12" fmla="*/ 984250 h 1829497"/>
              <a:gd name="connsiteX13" fmla="*/ 57150 w 2090570"/>
              <a:gd name="connsiteY13" fmla="*/ 971550 h 1829497"/>
              <a:gd name="connsiteX14" fmla="*/ 15875 w 2090570"/>
              <a:gd name="connsiteY14" fmla="*/ 965200 h 1829497"/>
              <a:gd name="connsiteX15" fmla="*/ 6350 w 2090570"/>
              <a:gd name="connsiteY15" fmla="*/ 958850 h 1829497"/>
              <a:gd name="connsiteX16" fmla="*/ 0 w 2090570"/>
              <a:gd name="connsiteY16" fmla="*/ 939800 h 1829497"/>
              <a:gd name="connsiteX17" fmla="*/ 6350 w 2090570"/>
              <a:gd name="connsiteY17" fmla="*/ 930275 h 1829497"/>
              <a:gd name="connsiteX18" fmla="*/ 15875 w 2090570"/>
              <a:gd name="connsiteY18" fmla="*/ 923925 h 1829497"/>
              <a:gd name="connsiteX19" fmla="*/ 19050 w 2090570"/>
              <a:gd name="connsiteY19" fmla="*/ 914400 h 1829497"/>
              <a:gd name="connsiteX20" fmla="*/ 12700 w 2090570"/>
              <a:gd name="connsiteY20" fmla="*/ 892175 h 1829497"/>
              <a:gd name="connsiteX21" fmla="*/ 9525 w 2090570"/>
              <a:gd name="connsiteY21" fmla="*/ 882650 h 1829497"/>
              <a:gd name="connsiteX22" fmla="*/ 3175 w 2090570"/>
              <a:gd name="connsiteY22" fmla="*/ 857250 h 1829497"/>
              <a:gd name="connsiteX23" fmla="*/ 12700 w 2090570"/>
              <a:gd name="connsiteY23" fmla="*/ 835025 h 1829497"/>
              <a:gd name="connsiteX24" fmla="*/ 22225 w 2090570"/>
              <a:gd name="connsiteY24" fmla="*/ 831850 h 1829497"/>
              <a:gd name="connsiteX25" fmla="*/ 31750 w 2090570"/>
              <a:gd name="connsiteY25" fmla="*/ 825500 h 1829497"/>
              <a:gd name="connsiteX26" fmla="*/ 85725 w 2090570"/>
              <a:gd name="connsiteY26" fmla="*/ 831850 h 1829497"/>
              <a:gd name="connsiteX27" fmla="*/ 98425 w 2090570"/>
              <a:gd name="connsiteY27" fmla="*/ 835025 h 1829497"/>
              <a:gd name="connsiteX28" fmla="*/ 120650 w 2090570"/>
              <a:gd name="connsiteY28" fmla="*/ 838200 h 1829497"/>
              <a:gd name="connsiteX29" fmla="*/ 158750 w 2090570"/>
              <a:gd name="connsiteY29" fmla="*/ 825500 h 1829497"/>
              <a:gd name="connsiteX30" fmla="*/ 155575 w 2090570"/>
              <a:gd name="connsiteY30" fmla="*/ 815975 h 1829497"/>
              <a:gd name="connsiteX31" fmla="*/ 158750 w 2090570"/>
              <a:gd name="connsiteY31" fmla="*/ 803275 h 1829497"/>
              <a:gd name="connsiteX32" fmla="*/ 168275 w 2090570"/>
              <a:gd name="connsiteY32" fmla="*/ 774700 h 1829497"/>
              <a:gd name="connsiteX33" fmla="*/ 171450 w 2090570"/>
              <a:gd name="connsiteY33" fmla="*/ 765175 h 1829497"/>
              <a:gd name="connsiteX34" fmla="*/ 174625 w 2090570"/>
              <a:gd name="connsiteY34" fmla="*/ 755650 h 1829497"/>
              <a:gd name="connsiteX35" fmla="*/ 180975 w 2090570"/>
              <a:gd name="connsiteY35" fmla="*/ 708025 h 1829497"/>
              <a:gd name="connsiteX36" fmla="*/ 187325 w 2090570"/>
              <a:gd name="connsiteY36" fmla="*/ 698500 h 1829497"/>
              <a:gd name="connsiteX37" fmla="*/ 190500 w 2090570"/>
              <a:gd name="connsiteY37" fmla="*/ 688975 h 1829497"/>
              <a:gd name="connsiteX38" fmla="*/ 200025 w 2090570"/>
              <a:gd name="connsiteY38" fmla="*/ 679450 h 1829497"/>
              <a:gd name="connsiteX39" fmla="*/ 219075 w 2090570"/>
              <a:gd name="connsiteY39" fmla="*/ 650875 h 1829497"/>
              <a:gd name="connsiteX40" fmla="*/ 225425 w 2090570"/>
              <a:gd name="connsiteY40" fmla="*/ 641350 h 1829497"/>
              <a:gd name="connsiteX41" fmla="*/ 228600 w 2090570"/>
              <a:gd name="connsiteY41" fmla="*/ 625475 h 1829497"/>
              <a:gd name="connsiteX42" fmla="*/ 234950 w 2090570"/>
              <a:gd name="connsiteY42" fmla="*/ 606425 h 1829497"/>
              <a:gd name="connsiteX43" fmla="*/ 231775 w 2090570"/>
              <a:gd name="connsiteY43" fmla="*/ 546100 h 1829497"/>
              <a:gd name="connsiteX44" fmla="*/ 238125 w 2090570"/>
              <a:gd name="connsiteY44" fmla="*/ 495300 h 1829497"/>
              <a:gd name="connsiteX45" fmla="*/ 241300 w 2090570"/>
              <a:gd name="connsiteY45" fmla="*/ 460375 h 1829497"/>
              <a:gd name="connsiteX46" fmla="*/ 247650 w 2090570"/>
              <a:gd name="connsiteY46" fmla="*/ 422275 h 1829497"/>
              <a:gd name="connsiteX47" fmla="*/ 250825 w 2090570"/>
              <a:gd name="connsiteY47" fmla="*/ 412750 h 1829497"/>
              <a:gd name="connsiteX48" fmla="*/ 260350 w 2090570"/>
              <a:gd name="connsiteY48" fmla="*/ 403225 h 1829497"/>
              <a:gd name="connsiteX49" fmla="*/ 266700 w 2090570"/>
              <a:gd name="connsiteY49" fmla="*/ 393700 h 1829497"/>
              <a:gd name="connsiteX50" fmla="*/ 269875 w 2090570"/>
              <a:gd name="connsiteY50" fmla="*/ 381000 h 1829497"/>
              <a:gd name="connsiteX51" fmla="*/ 260350 w 2090570"/>
              <a:gd name="connsiteY51" fmla="*/ 371475 h 1829497"/>
              <a:gd name="connsiteX52" fmla="*/ 219075 w 2090570"/>
              <a:gd name="connsiteY52" fmla="*/ 361950 h 1829497"/>
              <a:gd name="connsiteX53" fmla="*/ 177800 w 2090570"/>
              <a:gd name="connsiteY53" fmla="*/ 358775 h 1829497"/>
              <a:gd name="connsiteX54" fmla="*/ 165100 w 2090570"/>
              <a:gd name="connsiteY54" fmla="*/ 355600 h 1829497"/>
              <a:gd name="connsiteX55" fmla="*/ 168275 w 2090570"/>
              <a:gd name="connsiteY55" fmla="*/ 339725 h 1829497"/>
              <a:gd name="connsiteX56" fmla="*/ 165100 w 2090570"/>
              <a:gd name="connsiteY56" fmla="*/ 327025 h 1829497"/>
              <a:gd name="connsiteX57" fmla="*/ 171450 w 2090570"/>
              <a:gd name="connsiteY57" fmla="*/ 254000 h 1829497"/>
              <a:gd name="connsiteX58" fmla="*/ 174625 w 2090570"/>
              <a:gd name="connsiteY58" fmla="*/ 231775 h 1829497"/>
              <a:gd name="connsiteX59" fmla="*/ 193675 w 2090570"/>
              <a:gd name="connsiteY59" fmla="*/ 222250 h 1829497"/>
              <a:gd name="connsiteX60" fmla="*/ 219075 w 2090570"/>
              <a:gd name="connsiteY60" fmla="*/ 238125 h 1829497"/>
              <a:gd name="connsiteX61" fmla="*/ 228600 w 2090570"/>
              <a:gd name="connsiteY61" fmla="*/ 234950 h 1829497"/>
              <a:gd name="connsiteX62" fmla="*/ 225425 w 2090570"/>
              <a:gd name="connsiteY62" fmla="*/ 222250 h 1829497"/>
              <a:gd name="connsiteX63" fmla="*/ 206375 w 2090570"/>
              <a:gd name="connsiteY63" fmla="*/ 212725 h 1829497"/>
              <a:gd name="connsiteX64" fmla="*/ 200025 w 2090570"/>
              <a:gd name="connsiteY64" fmla="*/ 203200 h 1829497"/>
              <a:gd name="connsiteX65" fmla="*/ 203200 w 2090570"/>
              <a:gd name="connsiteY65" fmla="*/ 190500 h 1829497"/>
              <a:gd name="connsiteX66" fmla="*/ 219075 w 2090570"/>
              <a:gd name="connsiteY66" fmla="*/ 165100 h 1829497"/>
              <a:gd name="connsiteX67" fmla="*/ 228600 w 2090570"/>
              <a:gd name="connsiteY67" fmla="*/ 161925 h 1829497"/>
              <a:gd name="connsiteX68" fmla="*/ 257175 w 2090570"/>
              <a:gd name="connsiteY68" fmla="*/ 142875 h 1829497"/>
              <a:gd name="connsiteX69" fmla="*/ 266700 w 2090570"/>
              <a:gd name="connsiteY69" fmla="*/ 136525 h 1829497"/>
              <a:gd name="connsiteX70" fmla="*/ 304800 w 2090570"/>
              <a:gd name="connsiteY70" fmla="*/ 123825 h 1829497"/>
              <a:gd name="connsiteX71" fmla="*/ 314325 w 2090570"/>
              <a:gd name="connsiteY71" fmla="*/ 120650 h 1829497"/>
              <a:gd name="connsiteX72" fmla="*/ 355600 w 2090570"/>
              <a:gd name="connsiteY72" fmla="*/ 117475 h 1829497"/>
              <a:gd name="connsiteX73" fmla="*/ 384175 w 2090570"/>
              <a:gd name="connsiteY73" fmla="*/ 123825 h 1829497"/>
              <a:gd name="connsiteX74" fmla="*/ 403225 w 2090570"/>
              <a:gd name="connsiteY74" fmla="*/ 133350 h 1829497"/>
              <a:gd name="connsiteX75" fmla="*/ 438150 w 2090570"/>
              <a:gd name="connsiteY75" fmla="*/ 123825 h 1829497"/>
              <a:gd name="connsiteX76" fmla="*/ 438150 w 2090570"/>
              <a:gd name="connsiteY76" fmla="*/ 123825 h 1829497"/>
              <a:gd name="connsiteX77" fmla="*/ 450850 w 2090570"/>
              <a:gd name="connsiteY77" fmla="*/ 120650 h 1829497"/>
              <a:gd name="connsiteX78" fmla="*/ 469900 w 2090570"/>
              <a:gd name="connsiteY78" fmla="*/ 114300 h 1829497"/>
              <a:gd name="connsiteX79" fmla="*/ 479425 w 2090570"/>
              <a:gd name="connsiteY79" fmla="*/ 111125 h 1829497"/>
              <a:gd name="connsiteX80" fmla="*/ 523875 w 2090570"/>
              <a:gd name="connsiteY80" fmla="*/ 104775 h 1829497"/>
              <a:gd name="connsiteX81" fmla="*/ 571500 w 2090570"/>
              <a:gd name="connsiteY81" fmla="*/ 107950 h 1829497"/>
              <a:gd name="connsiteX82" fmla="*/ 590550 w 2090570"/>
              <a:gd name="connsiteY82" fmla="*/ 114300 h 1829497"/>
              <a:gd name="connsiteX83" fmla="*/ 600075 w 2090570"/>
              <a:gd name="connsiteY83" fmla="*/ 120650 h 1829497"/>
              <a:gd name="connsiteX84" fmla="*/ 606425 w 2090570"/>
              <a:gd name="connsiteY84" fmla="*/ 139700 h 1829497"/>
              <a:gd name="connsiteX85" fmla="*/ 609600 w 2090570"/>
              <a:gd name="connsiteY85" fmla="*/ 149225 h 1829497"/>
              <a:gd name="connsiteX86" fmla="*/ 612775 w 2090570"/>
              <a:gd name="connsiteY86" fmla="*/ 158750 h 1829497"/>
              <a:gd name="connsiteX87" fmla="*/ 628650 w 2090570"/>
              <a:gd name="connsiteY87" fmla="*/ 177800 h 1829497"/>
              <a:gd name="connsiteX88" fmla="*/ 641350 w 2090570"/>
              <a:gd name="connsiteY88" fmla="*/ 196850 h 1829497"/>
              <a:gd name="connsiteX89" fmla="*/ 647700 w 2090570"/>
              <a:gd name="connsiteY89" fmla="*/ 215900 h 1829497"/>
              <a:gd name="connsiteX90" fmla="*/ 635000 w 2090570"/>
              <a:gd name="connsiteY90" fmla="*/ 257175 h 1829497"/>
              <a:gd name="connsiteX91" fmla="*/ 625475 w 2090570"/>
              <a:gd name="connsiteY91" fmla="*/ 263525 h 1829497"/>
              <a:gd name="connsiteX92" fmla="*/ 622300 w 2090570"/>
              <a:gd name="connsiteY92" fmla="*/ 273050 h 1829497"/>
              <a:gd name="connsiteX93" fmla="*/ 635000 w 2090570"/>
              <a:gd name="connsiteY93" fmla="*/ 298450 h 1829497"/>
              <a:gd name="connsiteX94" fmla="*/ 644525 w 2090570"/>
              <a:gd name="connsiteY94" fmla="*/ 301625 h 1829497"/>
              <a:gd name="connsiteX95" fmla="*/ 650875 w 2090570"/>
              <a:gd name="connsiteY95" fmla="*/ 311150 h 1829497"/>
              <a:gd name="connsiteX96" fmla="*/ 660400 w 2090570"/>
              <a:gd name="connsiteY96" fmla="*/ 330200 h 1829497"/>
              <a:gd name="connsiteX97" fmla="*/ 669925 w 2090570"/>
              <a:gd name="connsiteY97" fmla="*/ 336550 h 1829497"/>
              <a:gd name="connsiteX98" fmla="*/ 679450 w 2090570"/>
              <a:gd name="connsiteY98" fmla="*/ 327025 h 1829497"/>
              <a:gd name="connsiteX99" fmla="*/ 685800 w 2090570"/>
              <a:gd name="connsiteY99" fmla="*/ 317500 h 1829497"/>
              <a:gd name="connsiteX100" fmla="*/ 704850 w 2090570"/>
              <a:gd name="connsiteY100" fmla="*/ 304800 h 1829497"/>
              <a:gd name="connsiteX101" fmla="*/ 708025 w 2090570"/>
              <a:gd name="connsiteY101" fmla="*/ 263525 h 1829497"/>
              <a:gd name="connsiteX102" fmla="*/ 704850 w 2090570"/>
              <a:gd name="connsiteY102" fmla="*/ 254000 h 1829497"/>
              <a:gd name="connsiteX103" fmla="*/ 695325 w 2090570"/>
              <a:gd name="connsiteY103" fmla="*/ 250825 h 1829497"/>
              <a:gd name="connsiteX104" fmla="*/ 679450 w 2090570"/>
              <a:gd name="connsiteY104" fmla="*/ 247650 h 1829497"/>
              <a:gd name="connsiteX105" fmla="*/ 676275 w 2090570"/>
              <a:gd name="connsiteY105" fmla="*/ 238125 h 1829497"/>
              <a:gd name="connsiteX106" fmla="*/ 685800 w 2090570"/>
              <a:gd name="connsiteY106" fmla="*/ 203200 h 1829497"/>
              <a:gd name="connsiteX107" fmla="*/ 695325 w 2090570"/>
              <a:gd name="connsiteY107" fmla="*/ 196850 h 1829497"/>
              <a:gd name="connsiteX108" fmla="*/ 714375 w 2090570"/>
              <a:gd name="connsiteY108" fmla="*/ 190500 h 1829497"/>
              <a:gd name="connsiteX109" fmla="*/ 739775 w 2090570"/>
              <a:gd name="connsiteY109" fmla="*/ 203200 h 1829497"/>
              <a:gd name="connsiteX110" fmla="*/ 752475 w 2090570"/>
              <a:gd name="connsiteY110" fmla="*/ 222250 h 1829497"/>
              <a:gd name="connsiteX111" fmla="*/ 777875 w 2090570"/>
              <a:gd name="connsiteY111" fmla="*/ 228600 h 1829497"/>
              <a:gd name="connsiteX112" fmla="*/ 806450 w 2090570"/>
              <a:gd name="connsiteY112" fmla="*/ 219075 h 1829497"/>
              <a:gd name="connsiteX113" fmla="*/ 809625 w 2090570"/>
              <a:gd name="connsiteY113" fmla="*/ 209550 h 1829497"/>
              <a:gd name="connsiteX114" fmla="*/ 803275 w 2090570"/>
              <a:gd name="connsiteY114" fmla="*/ 184150 h 1829497"/>
              <a:gd name="connsiteX115" fmla="*/ 800100 w 2090570"/>
              <a:gd name="connsiteY115" fmla="*/ 152400 h 1829497"/>
              <a:gd name="connsiteX116" fmla="*/ 793750 w 2090570"/>
              <a:gd name="connsiteY116" fmla="*/ 130175 h 1829497"/>
              <a:gd name="connsiteX117" fmla="*/ 800100 w 2090570"/>
              <a:gd name="connsiteY117" fmla="*/ 79375 h 1829497"/>
              <a:gd name="connsiteX118" fmla="*/ 806450 w 2090570"/>
              <a:gd name="connsiteY118" fmla="*/ 69850 h 1829497"/>
              <a:gd name="connsiteX119" fmla="*/ 815975 w 2090570"/>
              <a:gd name="connsiteY119" fmla="*/ 60325 h 1829497"/>
              <a:gd name="connsiteX120" fmla="*/ 822325 w 2090570"/>
              <a:gd name="connsiteY120" fmla="*/ 25400 h 1829497"/>
              <a:gd name="connsiteX121" fmla="*/ 825500 w 2090570"/>
              <a:gd name="connsiteY121" fmla="*/ 15875 h 1829497"/>
              <a:gd name="connsiteX122" fmla="*/ 844550 w 2090570"/>
              <a:gd name="connsiteY122" fmla="*/ 9525 h 1829497"/>
              <a:gd name="connsiteX123" fmla="*/ 854075 w 2090570"/>
              <a:gd name="connsiteY123" fmla="*/ 3175 h 1829497"/>
              <a:gd name="connsiteX124" fmla="*/ 866775 w 2090570"/>
              <a:gd name="connsiteY124" fmla="*/ 0 h 1829497"/>
              <a:gd name="connsiteX125" fmla="*/ 892175 w 2090570"/>
              <a:gd name="connsiteY125" fmla="*/ 6350 h 1829497"/>
              <a:gd name="connsiteX126" fmla="*/ 901700 w 2090570"/>
              <a:gd name="connsiteY126" fmla="*/ 12700 h 1829497"/>
              <a:gd name="connsiteX127" fmla="*/ 920750 w 2090570"/>
              <a:gd name="connsiteY127" fmla="*/ 19050 h 1829497"/>
              <a:gd name="connsiteX128" fmla="*/ 930275 w 2090570"/>
              <a:gd name="connsiteY128" fmla="*/ 25400 h 1829497"/>
              <a:gd name="connsiteX129" fmla="*/ 949325 w 2090570"/>
              <a:gd name="connsiteY129" fmla="*/ 31750 h 1829497"/>
              <a:gd name="connsiteX130" fmla="*/ 977900 w 2090570"/>
              <a:gd name="connsiteY130" fmla="*/ 25400 h 1829497"/>
              <a:gd name="connsiteX131" fmla="*/ 996950 w 2090570"/>
              <a:gd name="connsiteY131" fmla="*/ 12700 h 1829497"/>
              <a:gd name="connsiteX132" fmla="*/ 1006475 w 2090570"/>
              <a:gd name="connsiteY132" fmla="*/ 6350 h 1829497"/>
              <a:gd name="connsiteX133" fmla="*/ 1028700 w 2090570"/>
              <a:gd name="connsiteY133" fmla="*/ 0 h 1829497"/>
              <a:gd name="connsiteX134" fmla="*/ 1095375 w 2090570"/>
              <a:gd name="connsiteY134" fmla="*/ 3175 h 1829497"/>
              <a:gd name="connsiteX135" fmla="*/ 1127125 w 2090570"/>
              <a:gd name="connsiteY135" fmla="*/ 19050 h 1829497"/>
              <a:gd name="connsiteX136" fmla="*/ 1149350 w 2090570"/>
              <a:gd name="connsiteY136" fmla="*/ 34925 h 1829497"/>
              <a:gd name="connsiteX137" fmla="*/ 1168400 w 2090570"/>
              <a:gd name="connsiteY137" fmla="*/ 50800 h 1829497"/>
              <a:gd name="connsiteX138" fmla="*/ 1177925 w 2090570"/>
              <a:gd name="connsiteY138" fmla="*/ 69850 h 1829497"/>
              <a:gd name="connsiteX139" fmla="*/ 1181100 w 2090570"/>
              <a:gd name="connsiteY139" fmla="*/ 79375 h 1829497"/>
              <a:gd name="connsiteX140" fmla="*/ 1187450 w 2090570"/>
              <a:gd name="connsiteY140" fmla="*/ 88900 h 1829497"/>
              <a:gd name="connsiteX141" fmla="*/ 1190625 w 2090570"/>
              <a:gd name="connsiteY141" fmla="*/ 98425 h 1829497"/>
              <a:gd name="connsiteX142" fmla="*/ 1196975 w 2090570"/>
              <a:gd name="connsiteY142" fmla="*/ 107950 h 1829497"/>
              <a:gd name="connsiteX143" fmla="*/ 1200150 w 2090570"/>
              <a:gd name="connsiteY143" fmla="*/ 117475 h 1829497"/>
              <a:gd name="connsiteX144" fmla="*/ 1209675 w 2090570"/>
              <a:gd name="connsiteY144" fmla="*/ 123825 h 1829497"/>
              <a:gd name="connsiteX145" fmla="*/ 1219200 w 2090570"/>
              <a:gd name="connsiteY145" fmla="*/ 142875 h 1829497"/>
              <a:gd name="connsiteX146" fmla="*/ 1228725 w 2090570"/>
              <a:gd name="connsiteY146" fmla="*/ 161925 h 1829497"/>
              <a:gd name="connsiteX147" fmla="*/ 1238250 w 2090570"/>
              <a:gd name="connsiteY147" fmla="*/ 193675 h 1829497"/>
              <a:gd name="connsiteX148" fmla="*/ 1247775 w 2090570"/>
              <a:gd name="connsiteY148" fmla="*/ 196850 h 1829497"/>
              <a:gd name="connsiteX149" fmla="*/ 1266825 w 2090570"/>
              <a:gd name="connsiteY149" fmla="*/ 206375 h 1829497"/>
              <a:gd name="connsiteX150" fmla="*/ 1285875 w 2090570"/>
              <a:gd name="connsiteY150" fmla="*/ 215900 h 1829497"/>
              <a:gd name="connsiteX151" fmla="*/ 1295400 w 2090570"/>
              <a:gd name="connsiteY151" fmla="*/ 222250 h 1829497"/>
              <a:gd name="connsiteX152" fmla="*/ 1314450 w 2090570"/>
              <a:gd name="connsiteY152" fmla="*/ 228600 h 1829497"/>
              <a:gd name="connsiteX153" fmla="*/ 1323975 w 2090570"/>
              <a:gd name="connsiteY153" fmla="*/ 234950 h 1829497"/>
              <a:gd name="connsiteX154" fmla="*/ 1330325 w 2090570"/>
              <a:gd name="connsiteY154" fmla="*/ 244475 h 1829497"/>
              <a:gd name="connsiteX155" fmla="*/ 1339850 w 2090570"/>
              <a:gd name="connsiteY155" fmla="*/ 279400 h 1829497"/>
              <a:gd name="connsiteX156" fmla="*/ 1346200 w 2090570"/>
              <a:gd name="connsiteY156" fmla="*/ 304800 h 1829497"/>
              <a:gd name="connsiteX157" fmla="*/ 1355725 w 2090570"/>
              <a:gd name="connsiteY157" fmla="*/ 311150 h 1829497"/>
              <a:gd name="connsiteX158" fmla="*/ 1384300 w 2090570"/>
              <a:gd name="connsiteY158" fmla="*/ 317500 h 1829497"/>
              <a:gd name="connsiteX159" fmla="*/ 1403350 w 2090570"/>
              <a:gd name="connsiteY159" fmla="*/ 323850 h 1829497"/>
              <a:gd name="connsiteX160" fmla="*/ 1431925 w 2090570"/>
              <a:gd name="connsiteY160" fmla="*/ 317500 h 1829497"/>
              <a:gd name="connsiteX161" fmla="*/ 1450975 w 2090570"/>
              <a:gd name="connsiteY161" fmla="*/ 311150 h 1829497"/>
              <a:gd name="connsiteX162" fmla="*/ 1479550 w 2090570"/>
              <a:gd name="connsiteY162" fmla="*/ 320675 h 1829497"/>
              <a:gd name="connsiteX163" fmla="*/ 1492250 w 2090570"/>
              <a:gd name="connsiteY163" fmla="*/ 336550 h 1829497"/>
              <a:gd name="connsiteX164" fmla="*/ 1511300 w 2090570"/>
              <a:gd name="connsiteY164" fmla="*/ 342900 h 1829497"/>
              <a:gd name="connsiteX165" fmla="*/ 1527175 w 2090570"/>
              <a:gd name="connsiteY165" fmla="*/ 330200 h 1829497"/>
              <a:gd name="connsiteX166" fmla="*/ 1546225 w 2090570"/>
              <a:gd name="connsiteY166" fmla="*/ 320675 h 1829497"/>
              <a:gd name="connsiteX167" fmla="*/ 1577975 w 2090570"/>
              <a:gd name="connsiteY167" fmla="*/ 323850 h 1829497"/>
              <a:gd name="connsiteX168" fmla="*/ 1587500 w 2090570"/>
              <a:gd name="connsiteY168" fmla="*/ 333375 h 1829497"/>
              <a:gd name="connsiteX169" fmla="*/ 1606550 w 2090570"/>
              <a:gd name="connsiteY169" fmla="*/ 346075 h 1829497"/>
              <a:gd name="connsiteX170" fmla="*/ 1606550 w 2090570"/>
              <a:gd name="connsiteY170" fmla="*/ 346075 h 1829497"/>
              <a:gd name="connsiteX171" fmla="*/ 1631950 w 2090570"/>
              <a:gd name="connsiteY171" fmla="*/ 352425 h 1829497"/>
              <a:gd name="connsiteX172" fmla="*/ 1651000 w 2090570"/>
              <a:gd name="connsiteY172" fmla="*/ 358775 h 1829497"/>
              <a:gd name="connsiteX173" fmla="*/ 1660525 w 2090570"/>
              <a:gd name="connsiteY173" fmla="*/ 361950 h 1829497"/>
              <a:gd name="connsiteX174" fmla="*/ 1682750 w 2090570"/>
              <a:gd name="connsiteY174" fmla="*/ 365125 h 1829497"/>
              <a:gd name="connsiteX175" fmla="*/ 1701800 w 2090570"/>
              <a:gd name="connsiteY175" fmla="*/ 371475 h 1829497"/>
              <a:gd name="connsiteX176" fmla="*/ 1724025 w 2090570"/>
              <a:gd name="connsiteY176" fmla="*/ 377825 h 1829497"/>
              <a:gd name="connsiteX177" fmla="*/ 1727200 w 2090570"/>
              <a:gd name="connsiteY177" fmla="*/ 387350 h 1829497"/>
              <a:gd name="connsiteX178" fmla="*/ 1736725 w 2090570"/>
              <a:gd name="connsiteY178" fmla="*/ 396875 h 1829497"/>
              <a:gd name="connsiteX179" fmla="*/ 1749425 w 2090570"/>
              <a:gd name="connsiteY179" fmla="*/ 400050 h 1829497"/>
              <a:gd name="connsiteX180" fmla="*/ 1778000 w 2090570"/>
              <a:gd name="connsiteY180" fmla="*/ 403225 h 1829497"/>
              <a:gd name="connsiteX181" fmla="*/ 1790700 w 2090570"/>
              <a:gd name="connsiteY181" fmla="*/ 400050 h 1829497"/>
              <a:gd name="connsiteX182" fmla="*/ 1812925 w 2090570"/>
              <a:gd name="connsiteY182" fmla="*/ 384175 h 1829497"/>
              <a:gd name="connsiteX183" fmla="*/ 1825625 w 2090570"/>
              <a:gd name="connsiteY183" fmla="*/ 381000 h 1829497"/>
              <a:gd name="connsiteX184" fmla="*/ 1835150 w 2090570"/>
              <a:gd name="connsiteY184" fmla="*/ 384175 h 1829497"/>
              <a:gd name="connsiteX185" fmla="*/ 1838325 w 2090570"/>
              <a:gd name="connsiteY185" fmla="*/ 393700 h 1829497"/>
              <a:gd name="connsiteX186" fmla="*/ 1847850 w 2090570"/>
              <a:gd name="connsiteY186" fmla="*/ 403225 h 1829497"/>
              <a:gd name="connsiteX187" fmla="*/ 1863725 w 2090570"/>
              <a:gd name="connsiteY187" fmla="*/ 431800 h 1829497"/>
              <a:gd name="connsiteX188" fmla="*/ 1866900 w 2090570"/>
              <a:gd name="connsiteY188" fmla="*/ 441325 h 1829497"/>
              <a:gd name="connsiteX189" fmla="*/ 1892300 w 2090570"/>
              <a:gd name="connsiteY189" fmla="*/ 469900 h 1829497"/>
              <a:gd name="connsiteX190" fmla="*/ 1898650 w 2090570"/>
              <a:gd name="connsiteY190" fmla="*/ 479425 h 1829497"/>
              <a:gd name="connsiteX191" fmla="*/ 1917700 w 2090570"/>
              <a:gd name="connsiteY191" fmla="*/ 488950 h 1829497"/>
              <a:gd name="connsiteX192" fmla="*/ 1936750 w 2090570"/>
              <a:gd name="connsiteY192" fmla="*/ 504825 h 1829497"/>
              <a:gd name="connsiteX193" fmla="*/ 1943100 w 2090570"/>
              <a:gd name="connsiteY193" fmla="*/ 523875 h 1829497"/>
              <a:gd name="connsiteX194" fmla="*/ 1952625 w 2090570"/>
              <a:gd name="connsiteY194" fmla="*/ 533400 h 1829497"/>
              <a:gd name="connsiteX195" fmla="*/ 1971675 w 2090570"/>
              <a:gd name="connsiteY195" fmla="*/ 561975 h 1829497"/>
              <a:gd name="connsiteX196" fmla="*/ 1981200 w 2090570"/>
              <a:gd name="connsiteY196" fmla="*/ 568325 h 1829497"/>
              <a:gd name="connsiteX197" fmla="*/ 2003425 w 2090570"/>
              <a:gd name="connsiteY197" fmla="*/ 577850 h 1829497"/>
              <a:gd name="connsiteX198" fmla="*/ 2047875 w 2090570"/>
              <a:gd name="connsiteY198" fmla="*/ 584200 h 1829497"/>
              <a:gd name="connsiteX199" fmla="*/ 2082800 w 2090570"/>
              <a:gd name="connsiteY199" fmla="*/ 593725 h 1829497"/>
              <a:gd name="connsiteX200" fmla="*/ 2089150 w 2090570"/>
              <a:gd name="connsiteY200" fmla="*/ 612775 h 1829497"/>
              <a:gd name="connsiteX201" fmla="*/ 2079625 w 2090570"/>
              <a:gd name="connsiteY201" fmla="*/ 622300 h 1829497"/>
              <a:gd name="connsiteX202" fmla="*/ 2060575 w 2090570"/>
              <a:gd name="connsiteY202" fmla="*/ 631825 h 1829497"/>
              <a:gd name="connsiteX203" fmla="*/ 2057400 w 2090570"/>
              <a:gd name="connsiteY203" fmla="*/ 641350 h 1829497"/>
              <a:gd name="connsiteX204" fmla="*/ 2054225 w 2090570"/>
              <a:gd name="connsiteY204" fmla="*/ 657225 h 1829497"/>
              <a:gd name="connsiteX205" fmla="*/ 2041525 w 2090570"/>
              <a:gd name="connsiteY205" fmla="*/ 663575 h 1829497"/>
              <a:gd name="connsiteX206" fmla="*/ 2022475 w 2090570"/>
              <a:gd name="connsiteY206" fmla="*/ 676275 h 1829497"/>
              <a:gd name="connsiteX207" fmla="*/ 2000250 w 2090570"/>
              <a:gd name="connsiteY207" fmla="*/ 704850 h 1829497"/>
              <a:gd name="connsiteX208" fmla="*/ 1984375 w 2090570"/>
              <a:gd name="connsiteY208" fmla="*/ 708025 h 1829497"/>
              <a:gd name="connsiteX209" fmla="*/ 1974850 w 2090570"/>
              <a:gd name="connsiteY209" fmla="*/ 711200 h 1829497"/>
              <a:gd name="connsiteX210" fmla="*/ 1939925 w 2090570"/>
              <a:gd name="connsiteY210" fmla="*/ 701675 h 1829497"/>
              <a:gd name="connsiteX211" fmla="*/ 1936750 w 2090570"/>
              <a:gd name="connsiteY211" fmla="*/ 692150 h 1829497"/>
              <a:gd name="connsiteX212" fmla="*/ 1866900 w 2090570"/>
              <a:gd name="connsiteY212" fmla="*/ 698500 h 1829497"/>
              <a:gd name="connsiteX213" fmla="*/ 1847850 w 2090570"/>
              <a:gd name="connsiteY213" fmla="*/ 704850 h 1829497"/>
              <a:gd name="connsiteX214" fmla="*/ 1831975 w 2090570"/>
              <a:gd name="connsiteY214" fmla="*/ 720725 h 1829497"/>
              <a:gd name="connsiteX215" fmla="*/ 1822450 w 2090570"/>
              <a:gd name="connsiteY215" fmla="*/ 727075 h 1829497"/>
              <a:gd name="connsiteX216" fmla="*/ 1771650 w 2090570"/>
              <a:gd name="connsiteY216" fmla="*/ 736600 h 1829497"/>
              <a:gd name="connsiteX217" fmla="*/ 1752600 w 2090570"/>
              <a:gd name="connsiteY217" fmla="*/ 746125 h 1829497"/>
              <a:gd name="connsiteX218" fmla="*/ 1755775 w 2090570"/>
              <a:gd name="connsiteY218" fmla="*/ 765175 h 1829497"/>
              <a:gd name="connsiteX219" fmla="*/ 1765300 w 2090570"/>
              <a:gd name="connsiteY219" fmla="*/ 796925 h 1829497"/>
              <a:gd name="connsiteX220" fmla="*/ 1768475 w 2090570"/>
              <a:gd name="connsiteY220" fmla="*/ 806450 h 1829497"/>
              <a:gd name="connsiteX221" fmla="*/ 1774825 w 2090570"/>
              <a:gd name="connsiteY221" fmla="*/ 838200 h 1829497"/>
              <a:gd name="connsiteX222" fmla="*/ 1781175 w 2090570"/>
              <a:gd name="connsiteY222" fmla="*/ 847725 h 1829497"/>
              <a:gd name="connsiteX223" fmla="*/ 1800225 w 2090570"/>
              <a:gd name="connsiteY223" fmla="*/ 869950 h 1829497"/>
              <a:gd name="connsiteX224" fmla="*/ 1809750 w 2090570"/>
              <a:gd name="connsiteY224" fmla="*/ 889000 h 1829497"/>
              <a:gd name="connsiteX225" fmla="*/ 1822450 w 2090570"/>
              <a:gd name="connsiteY225" fmla="*/ 908050 h 1829497"/>
              <a:gd name="connsiteX226" fmla="*/ 1825625 w 2090570"/>
              <a:gd name="connsiteY226" fmla="*/ 917575 h 1829497"/>
              <a:gd name="connsiteX227" fmla="*/ 1831975 w 2090570"/>
              <a:gd name="connsiteY227" fmla="*/ 927100 h 1829497"/>
              <a:gd name="connsiteX228" fmla="*/ 1835150 w 2090570"/>
              <a:gd name="connsiteY228" fmla="*/ 939800 h 1829497"/>
              <a:gd name="connsiteX229" fmla="*/ 1838325 w 2090570"/>
              <a:gd name="connsiteY229" fmla="*/ 949325 h 1829497"/>
              <a:gd name="connsiteX230" fmla="*/ 1841500 w 2090570"/>
              <a:gd name="connsiteY230" fmla="*/ 965200 h 1829497"/>
              <a:gd name="connsiteX231" fmla="*/ 1851025 w 2090570"/>
              <a:gd name="connsiteY231" fmla="*/ 971550 h 1829497"/>
              <a:gd name="connsiteX232" fmla="*/ 1841500 w 2090570"/>
              <a:gd name="connsiteY232" fmla="*/ 981075 h 1829497"/>
              <a:gd name="connsiteX233" fmla="*/ 1831975 w 2090570"/>
              <a:gd name="connsiteY233" fmla="*/ 987425 h 1829497"/>
              <a:gd name="connsiteX234" fmla="*/ 1847850 w 2090570"/>
              <a:gd name="connsiteY234" fmla="*/ 1016000 h 1829497"/>
              <a:gd name="connsiteX235" fmla="*/ 1860550 w 2090570"/>
              <a:gd name="connsiteY235" fmla="*/ 1038225 h 1829497"/>
              <a:gd name="connsiteX236" fmla="*/ 1879600 w 2090570"/>
              <a:gd name="connsiteY236" fmla="*/ 1054100 h 1829497"/>
              <a:gd name="connsiteX237" fmla="*/ 1889125 w 2090570"/>
              <a:gd name="connsiteY237" fmla="*/ 1063625 h 1829497"/>
              <a:gd name="connsiteX238" fmla="*/ 1873250 w 2090570"/>
              <a:gd name="connsiteY238" fmla="*/ 1079500 h 1829497"/>
              <a:gd name="connsiteX239" fmla="*/ 1857375 w 2090570"/>
              <a:gd name="connsiteY239" fmla="*/ 1095375 h 1829497"/>
              <a:gd name="connsiteX240" fmla="*/ 1870075 w 2090570"/>
              <a:gd name="connsiteY240" fmla="*/ 1136650 h 1829497"/>
              <a:gd name="connsiteX241" fmla="*/ 1879600 w 2090570"/>
              <a:gd name="connsiteY241" fmla="*/ 1143000 h 1829497"/>
              <a:gd name="connsiteX242" fmla="*/ 1885950 w 2090570"/>
              <a:gd name="connsiteY242" fmla="*/ 1152525 h 1829497"/>
              <a:gd name="connsiteX243" fmla="*/ 1885950 w 2090570"/>
              <a:gd name="connsiteY243" fmla="*/ 1171575 h 1829497"/>
              <a:gd name="connsiteX244" fmla="*/ 1876425 w 2090570"/>
              <a:gd name="connsiteY244" fmla="*/ 1177925 h 1829497"/>
              <a:gd name="connsiteX245" fmla="*/ 1866900 w 2090570"/>
              <a:gd name="connsiteY245" fmla="*/ 1187450 h 1829497"/>
              <a:gd name="connsiteX246" fmla="*/ 1876425 w 2090570"/>
              <a:gd name="connsiteY246" fmla="*/ 1206500 h 1829497"/>
              <a:gd name="connsiteX247" fmla="*/ 1879600 w 2090570"/>
              <a:gd name="connsiteY247" fmla="*/ 1216025 h 1829497"/>
              <a:gd name="connsiteX248" fmla="*/ 1870075 w 2090570"/>
              <a:gd name="connsiteY248" fmla="*/ 1225550 h 1829497"/>
              <a:gd name="connsiteX249" fmla="*/ 1863725 w 2090570"/>
              <a:gd name="connsiteY249" fmla="*/ 1244600 h 1829497"/>
              <a:gd name="connsiteX250" fmla="*/ 1857375 w 2090570"/>
              <a:gd name="connsiteY250" fmla="*/ 1263650 h 1829497"/>
              <a:gd name="connsiteX251" fmla="*/ 1844675 w 2090570"/>
              <a:gd name="connsiteY251" fmla="*/ 1282700 h 1829497"/>
              <a:gd name="connsiteX252" fmla="*/ 1825625 w 2090570"/>
              <a:gd name="connsiteY252" fmla="*/ 1292225 h 1829497"/>
              <a:gd name="connsiteX253" fmla="*/ 1803400 w 2090570"/>
              <a:gd name="connsiteY253" fmla="*/ 1289050 h 1829497"/>
              <a:gd name="connsiteX254" fmla="*/ 1784350 w 2090570"/>
              <a:gd name="connsiteY254" fmla="*/ 1292225 h 1829497"/>
              <a:gd name="connsiteX255" fmla="*/ 1755775 w 2090570"/>
              <a:gd name="connsiteY255" fmla="*/ 1301750 h 1829497"/>
              <a:gd name="connsiteX256" fmla="*/ 1724025 w 2090570"/>
              <a:gd name="connsiteY256" fmla="*/ 1304925 h 1829497"/>
              <a:gd name="connsiteX257" fmla="*/ 1704975 w 2090570"/>
              <a:gd name="connsiteY257" fmla="*/ 1311275 h 1829497"/>
              <a:gd name="connsiteX258" fmla="*/ 1685925 w 2090570"/>
              <a:gd name="connsiteY258" fmla="*/ 1327150 h 1829497"/>
              <a:gd name="connsiteX259" fmla="*/ 1682750 w 2090570"/>
              <a:gd name="connsiteY259" fmla="*/ 1336675 h 1829497"/>
              <a:gd name="connsiteX260" fmla="*/ 1695450 w 2090570"/>
              <a:gd name="connsiteY260" fmla="*/ 1358900 h 1829497"/>
              <a:gd name="connsiteX261" fmla="*/ 1704975 w 2090570"/>
              <a:gd name="connsiteY261" fmla="*/ 1377950 h 1829497"/>
              <a:gd name="connsiteX262" fmla="*/ 1708150 w 2090570"/>
              <a:gd name="connsiteY262" fmla="*/ 1387475 h 1829497"/>
              <a:gd name="connsiteX263" fmla="*/ 1698625 w 2090570"/>
              <a:gd name="connsiteY263" fmla="*/ 1416050 h 1829497"/>
              <a:gd name="connsiteX264" fmla="*/ 1685925 w 2090570"/>
              <a:gd name="connsiteY264" fmla="*/ 1422400 h 1829497"/>
              <a:gd name="connsiteX265" fmla="*/ 1682750 w 2090570"/>
              <a:gd name="connsiteY265" fmla="*/ 1431925 h 1829497"/>
              <a:gd name="connsiteX266" fmla="*/ 1673225 w 2090570"/>
              <a:gd name="connsiteY266" fmla="*/ 1441450 h 1829497"/>
              <a:gd name="connsiteX267" fmla="*/ 1682750 w 2090570"/>
              <a:gd name="connsiteY267" fmla="*/ 1466850 h 1829497"/>
              <a:gd name="connsiteX268" fmla="*/ 1689100 w 2090570"/>
              <a:gd name="connsiteY268" fmla="*/ 1485900 h 1829497"/>
              <a:gd name="connsiteX269" fmla="*/ 1698625 w 2090570"/>
              <a:gd name="connsiteY269" fmla="*/ 1514475 h 1829497"/>
              <a:gd name="connsiteX270" fmla="*/ 1704975 w 2090570"/>
              <a:gd name="connsiteY270" fmla="*/ 1543050 h 1829497"/>
              <a:gd name="connsiteX271" fmla="*/ 1714500 w 2090570"/>
              <a:gd name="connsiteY271" fmla="*/ 1577975 h 1829497"/>
              <a:gd name="connsiteX272" fmla="*/ 1704975 w 2090570"/>
              <a:gd name="connsiteY272" fmla="*/ 1625600 h 1829497"/>
              <a:gd name="connsiteX273" fmla="*/ 1695450 w 2090570"/>
              <a:gd name="connsiteY273" fmla="*/ 1631950 h 1829497"/>
              <a:gd name="connsiteX274" fmla="*/ 1682750 w 2090570"/>
              <a:gd name="connsiteY274" fmla="*/ 1628775 h 1829497"/>
              <a:gd name="connsiteX275" fmla="*/ 1673225 w 2090570"/>
              <a:gd name="connsiteY275" fmla="*/ 1625600 h 1829497"/>
              <a:gd name="connsiteX276" fmla="*/ 1638300 w 2090570"/>
              <a:gd name="connsiteY276" fmla="*/ 1628775 h 1829497"/>
              <a:gd name="connsiteX277" fmla="*/ 1622425 w 2090570"/>
              <a:gd name="connsiteY277" fmla="*/ 1625600 h 1829497"/>
              <a:gd name="connsiteX278" fmla="*/ 1612900 w 2090570"/>
              <a:gd name="connsiteY278" fmla="*/ 1622425 h 1829497"/>
              <a:gd name="connsiteX279" fmla="*/ 1590675 w 2090570"/>
              <a:gd name="connsiteY279" fmla="*/ 1625600 h 1829497"/>
              <a:gd name="connsiteX280" fmla="*/ 1581150 w 2090570"/>
              <a:gd name="connsiteY280" fmla="*/ 1628775 h 1829497"/>
              <a:gd name="connsiteX281" fmla="*/ 1577975 w 2090570"/>
              <a:gd name="connsiteY281" fmla="*/ 1638300 h 1829497"/>
              <a:gd name="connsiteX282" fmla="*/ 1571625 w 2090570"/>
              <a:gd name="connsiteY282" fmla="*/ 1647825 h 1829497"/>
              <a:gd name="connsiteX283" fmla="*/ 1555750 w 2090570"/>
              <a:gd name="connsiteY283" fmla="*/ 1676400 h 1829497"/>
              <a:gd name="connsiteX284" fmla="*/ 1543050 w 2090570"/>
              <a:gd name="connsiteY284" fmla="*/ 1682750 h 1829497"/>
              <a:gd name="connsiteX285" fmla="*/ 1524000 w 2090570"/>
              <a:gd name="connsiteY285" fmla="*/ 1695450 h 1829497"/>
              <a:gd name="connsiteX286" fmla="*/ 1517650 w 2090570"/>
              <a:gd name="connsiteY286" fmla="*/ 1704975 h 1829497"/>
              <a:gd name="connsiteX287" fmla="*/ 1508125 w 2090570"/>
              <a:gd name="connsiteY287" fmla="*/ 1708150 h 1829497"/>
              <a:gd name="connsiteX288" fmla="*/ 1498600 w 2090570"/>
              <a:gd name="connsiteY288" fmla="*/ 1714500 h 1829497"/>
              <a:gd name="connsiteX289" fmla="*/ 1479550 w 2090570"/>
              <a:gd name="connsiteY289" fmla="*/ 1720850 h 1829497"/>
              <a:gd name="connsiteX290" fmla="*/ 1470025 w 2090570"/>
              <a:gd name="connsiteY290" fmla="*/ 1724025 h 1829497"/>
              <a:gd name="connsiteX291" fmla="*/ 1460500 w 2090570"/>
              <a:gd name="connsiteY291" fmla="*/ 1727200 h 1829497"/>
              <a:gd name="connsiteX292" fmla="*/ 1450975 w 2090570"/>
              <a:gd name="connsiteY292" fmla="*/ 1733550 h 1829497"/>
              <a:gd name="connsiteX293" fmla="*/ 1431925 w 2090570"/>
              <a:gd name="connsiteY293" fmla="*/ 1739900 h 1829497"/>
              <a:gd name="connsiteX294" fmla="*/ 1409700 w 2090570"/>
              <a:gd name="connsiteY294" fmla="*/ 1755775 h 1829497"/>
              <a:gd name="connsiteX295" fmla="*/ 1403350 w 2090570"/>
              <a:gd name="connsiteY295" fmla="*/ 1765300 h 1829497"/>
              <a:gd name="connsiteX296" fmla="*/ 1374775 w 2090570"/>
              <a:gd name="connsiteY296" fmla="*/ 1743075 h 1829497"/>
              <a:gd name="connsiteX297" fmla="*/ 1327150 w 2090570"/>
              <a:gd name="connsiteY297" fmla="*/ 1746250 h 1829497"/>
              <a:gd name="connsiteX298" fmla="*/ 1314450 w 2090570"/>
              <a:gd name="connsiteY298" fmla="*/ 1749425 h 1829497"/>
              <a:gd name="connsiteX299" fmla="*/ 1304925 w 2090570"/>
              <a:gd name="connsiteY299" fmla="*/ 1768475 h 1829497"/>
              <a:gd name="connsiteX300" fmla="*/ 1314450 w 2090570"/>
              <a:gd name="connsiteY300" fmla="*/ 1803400 h 1829497"/>
              <a:gd name="connsiteX301" fmla="*/ 1317625 w 2090570"/>
              <a:gd name="connsiteY301" fmla="*/ 1812925 h 1829497"/>
              <a:gd name="connsiteX302" fmla="*/ 1311275 w 2090570"/>
              <a:gd name="connsiteY302" fmla="*/ 1822450 h 1829497"/>
              <a:gd name="connsiteX303" fmla="*/ 1301750 w 2090570"/>
              <a:gd name="connsiteY303" fmla="*/ 1828800 h 1829497"/>
              <a:gd name="connsiteX304" fmla="*/ 1276350 w 2090570"/>
              <a:gd name="connsiteY304" fmla="*/ 1822450 h 1829497"/>
              <a:gd name="connsiteX305" fmla="*/ 1257300 w 2090570"/>
              <a:gd name="connsiteY305" fmla="*/ 1809750 h 1829497"/>
              <a:gd name="connsiteX306" fmla="*/ 1247775 w 2090570"/>
              <a:gd name="connsiteY306" fmla="*/ 1803400 h 1829497"/>
              <a:gd name="connsiteX307" fmla="*/ 1238250 w 2090570"/>
              <a:gd name="connsiteY307" fmla="*/ 1800225 h 1829497"/>
              <a:gd name="connsiteX308" fmla="*/ 1222375 w 2090570"/>
              <a:gd name="connsiteY308" fmla="*/ 1781175 h 1829497"/>
              <a:gd name="connsiteX309" fmla="*/ 1228725 w 2090570"/>
              <a:gd name="connsiteY309" fmla="*/ 1752600 h 1829497"/>
              <a:gd name="connsiteX310" fmla="*/ 1250950 w 2090570"/>
              <a:gd name="connsiteY310" fmla="*/ 1739900 h 1829497"/>
              <a:gd name="connsiteX311" fmla="*/ 1260475 w 2090570"/>
              <a:gd name="connsiteY311" fmla="*/ 1720850 h 1829497"/>
              <a:gd name="connsiteX312" fmla="*/ 1257300 w 2090570"/>
              <a:gd name="connsiteY312" fmla="*/ 1704975 h 1829497"/>
              <a:gd name="connsiteX313" fmla="*/ 1250950 w 2090570"/>
              <a:gd name="connsiteY313" fmla="*/ 1695450 h 1829497"/>
              <a:gd name="connsiteX314" fmla="*/ 1244600 w 2090570"/>
              <a:gd name="connsiteY314" fmla="*/ 1676400 h 1829497"/>
              <a:gd name="connsiteX315" fmla="*/ 1241425 w 2090570"/>
              <a:gd name="connsiteY315" fmla="*/ 1666875 h 1829497"/>
              <a:gd name="connsiteX316" fmla="*/ 1244600 w 2090570"/>
              <a:gd name="connsiteY316" fmla="*/ 1654175 h 1829497"/>
              <a:gd name="connsiteX317" fmla="*/ 1263650 w 2090570"/>
              <a:gd name="connsiteY317" fmla="*/ 1644650 h 1829497"/>
              <a:gd name="connsiteX318" fmla="*/ 1276350 w 2090570"/>
              <a:gd name="connsiteY318" fmla="*/ 1638300 h 1829497"/>
              <a:gd name="connsiteX319" fmla="*/ 1282700 w 2090570"/>
              <a:gd name="connsiteY319" fmla="*/ 1628775 h 1829497"/>
              <a:gd name="connsiteX320" fmla="*/ 1279525 w 2090570"/>
              <a:gd name="connsiteY320" fmla="*/ 1619250 h 1829497"/>
              <a:gd name="connsiteX321" fmla="*/ 1263650 w 2090570"/>
              <a:gd name="connsiteY321" fmla="*/ 1600200 h 1829497"/>
              <a:gd name="connsiteX322" fmla="*/ 1206500 w 2090570"/>
              <a:gd name="connsiteY322" fmla="*/ 1590675 h 1829497"/>
              <a:gd name="connsiteX323" fmla="*/ 1190625 w 2090570"/>
              <a:gd name="connsiteY323" fmla="*/ 1571625 h 1829497"/>
              <a:gd name="connsiteX324" fmla="*/ 1171575 w 2090570"/>
              <a:gd name="connsiteY324" fmla="*/ 1574800 h 1829497"/>
              <a:gd name="connsiteX325" fmla="*/ 1162050 w 2090570"/>
              <a:gd name="connsiteY325" fmla="*/ 1577975 h 1829497"/>
              <a:gd name="connsiteX326" fmla="*/ 1155700 w 2090570"/>
              <a:gd name="connsiteY326" fmla="*/ 1568450 h 1829497"/>
              <a:gd name="connsiteX327" fmla="*/ 1158875 w 2090570"/>
              <a:gd name="connsiteY327" fmla="*/ 1530350 h 1829497"/>
              <a:gd name="connsiteX328" fmla="*/ 1162050 w 2090570"/>
              <a:gd name="connsiteY328" fmla="*/ 1511300 h 1829497"/>
              <a:gd name="connsiteX329" fmla="*/ 1168400 w 2090570"/>
              <a:gd name="connsiteY329" fmla="*/ 1479550 h 1829497"/>
              <a:gd name="connsiteX330" fmla="*/ 1177925 w 2090570"/>
              <a:gd name="connsiteY330" fmla="*/ 1460500 h 1829497"/>
              <a:gd name="connsiteX331" fmla="*/ 1168400 w 2090570"/>
              <a:gd name="connsiteY331" fmla="*/ 1441450 h 1829497"/>
              <a:gd name="connsiteX332" fmla="*/ 1158875 w 2090570"/>
              <a:gd name="connsiteY332" fmla="*/ 1435100 h 1829497"/>
              <a:gd name="connsiteX333" fmla="*/ 1149350 w 2090570"/>
              <a:gd name="connsiteY333" fmla="*/ 1431925 h 1829497"/>
              <a:gd name="connsiteX334" fmla="*/ 1127125 w 2090570"/>
              <a:gd name="connsiteY334" fmla="*/ 1409700 h 1829497"/>
              <a:gd name="connsiteX335" fmla="*/ 1130300 w 2090570"/>
              <a:gd name="connsiteY335" fmla="*/ 1390650 h 1829497"/>
              <a:gd name="connsiteX336" fmla="*/ 1111250 w 2090570"/>
              <a:gd name="connsiteY336" fmla="*/ 1384300 h 1829497"/>
              <a:gd name="connsiteX337" fmla="*/ 1082675 w 2090570"/>
              <a:gd name="connsiteY337" fmla="*/ 1362075 h 1829497"/>
              <a:gd name="connsiteX338" fmla="*/ 1073150 w 2090570"/>
              <a:gd name="connsiteY338" fmla="*/ 1343025 h 1829497"/>
              <a:gd name="connsiteX339" fmla="*/ 1066800 w 2090570"/>
              <a:gd name="connsiteY339" fmla="*/ 1333500 h 1829497"/>
              <a:gd name="connsiteX340" fmla="*/ 1066800 w 2090570"/>
              <a:gd name="connsiteY340" fmla="*/ 1285875 h 1829497"/>
              <a:gd name="connsiteX341" fmla="*/ 1073150 w 2090570"/>
              <a:gd name="connsiteY341" fmla="*/ 1266825 h 1829497"/>
              <a:gd name="connsiteX342" fmla="*/ 1069975 w 2090570"/>
              <a:gd name="connsiteY342" fmla="*/ 1250950 h 1829497"/>
              <a:gd name="connsiteX343" fmla="*/ 1054100 w 2090570"/>
              <a:gd name="connsiteY343" fmla="*/ 1235075 h 1829497"/>
              <a:gd name="connsiteX344" fmla="*/ 1031875 w 2090570"/>
              <a:gd name="connsiteY344" fmla="*/ 1231900 h 1829497"/>
              <a:gd name="connsiteX345" fmla="*/ 1003300 w 2090570"/>
              <a:gd name="connsiteY345" fmla="*/ 1225550 h 1829497"/>
              <a:gd name="connsiteX346" fmla="*/ 993775 w 2090570"/>
              <a:gd name="connsiteY346" fmla="*/ 1196975 h 1829497"/>
              <a:gd name="connsiteX347" fmla="*/ 1003300 w 2090570"/>
              <a:gd name="connsiteY347" fmla="*/ 1193800 h 1829497"/>
              <a:gd name="connsiteX348" fmla="*/ 1012825 w 2090570"/>
              <a:gd name="connsiteY348" fmla="*/ 1152525 h 1829497"/>
              <a:gd name="connsiteX349" fmla="*/ 1006475 w 2090570"/>
              <a:gd name="connsiteY349" fmla="*/ 1143000 h 1829497"/>
              <a:gd name="connsiteX350" fmla="*/ 987425 w 2090570"/>
              <a:gd name="connsiteY350" fmla="*/ 1136650 h 1829497"/>
              <a:gd name="connsiteX351" fmla="*/ 987425 w 2090570"/>
              <a:gd name="connsiteY351" fmla="*/ 1114425 h 1829497"/>
              <a:gd name="connsiteX352" fmla="*/ 990600 w 2090570"/>
              <a:gd name="connsiteY352" fmla="*/ 1104900 h 1829497"/>
              <a:gd name="connsiteX353" fmla="*/ 1000125 w 2090570"/>
              <a:gd name="connsiteY353" fmla="*/ 1098550 h 1829497"/>
              <a:gd name="connsiteX354" fmla="*/ 1025525 w 2090570"/>
              <a:gd name="connsiteY354" fmla="*/ 1076325 h 1829497"/>
              <a:gd name="connsiteX355" fmla="*/ 1041400 w 2090570"/>
              <a:gd name="connsiteY355" fmla="*/ 1057275 h 1829497"/>
              <a:gd name="connsiteX356" fmla="*/ 1041400 w 2090570"/>
              <a:gd name="connsiteY356" fmla="*/ 987425 h 1829497"/>
              <a:gd name="connsiteX357" fmla="*/ 1031875 w 2090570"/>
              <a:gd name="connsiteY357" fmla="*/ 977900 h 1829497"/>
              <a:gd name="connsiteX358" fmla="*/ 1012825 w 2090570"/>
              <a:gd name="connsiteY358" fmla="*/ 981075 h 1829497"/>
              <a:gd name="connsiteX359" fmla="*/ 996950 w 2090570"/>
              <a:gd name="connsiteY359" fmla="*/ 996950 h 1829497"/>
              <a:gd name="connsiteX360" fmla="*/ 977900 w 2090570"/>
              <a:gd name="connsiteY360" fmla="*/ 1016000 h 1829497"/>
              <a:gd name="connsiteX361" fmla="*/ 949325 w 2090570"/>
              <a:gd name="connsiteY361" fmla="*/ 1035050 h 1829497"/>
              <a:gd name="connsiteX362" fmla="*/ 930275 w 2090570"/>
              <a:gd name="connsiteY362" fmla="*/ 1041400 h 1829497"/>
              <a:gd name="connsiteX363" fmla="*/ 920750 w 2090570"/>
              <a:gd name="connsiteY363" fmla="*/ 1047750 h 1829497"/>
              <a:gd name="connsiteX364" fmla="*/ 895350 w 2090570"/>
              <a:gd name="connsiteY364" fmla="*/ 1054100 h 1829497"/>
              <a:gd name="connsiteX365" fmla="*/ 885825 w 2090570"/>
              <a:gd name="connsiteY365" fmla="*/ 1050925 h 1829497"/>
              <a:gd name="connsiteX366" fmla="*/ 879475 w 2090570"/>
              <a:gd name="connsiteY366" fmla="*/ 1041400 h 1829497"/>
              <a:gd name="connsiteX367" fmla="*/ 873125 w 2090570"/>
              <a:gd name="connsiteY367" fmla="*/ 977900 h 1829497"/>
              <a:gd name="connsiteX368" fmla="*/ 866775 w 2090570"/>
              <a:gd name="connsiteY368" fmla="*/ 955675 h 1829497"/>
              <a:gd name="connsiteX369" fmla="*/ 857250 w 2090570"/>
              <a:gd name="connsiteY369" fmla="*/ 952500 h 1829497"/>
              <a:gd name="connsiteX370" fmla="*/ 831850 w 2090570"/>
              <a:gd name="connsiteY370" fmla="*/ 955675 h 1829497"/>
              <a:gd name="connsiteX371" fmla="*/ 812800 w 2090570"/>
              <a:gd name="connsiteY371" fmla="*/ 965200 h 1829497"/>
              <a:gd name="connsiteX372" fmla="*/ 803275 w 2090570"/>
              <a:gd name="connsiteY372" fmla="*/ 968375 h 1829497"/>
              <a:gd name="connsiteX373" fmla="*/ 784225 w 2090570"/>
              <a:gd name="connsiteY373" fmla="*/ 958850 h 1829497"/>
              <a:gd name="connsiteX374" fmla="*/ 765175 w 2090570"/>
              <a:gd name="connsiteY374" fmla="*/ 962025 h 1829497"/>
              <a:gd name="connsiteX375" fmla="*/ 755650 w 2090570"/>
              <a:gd name="connsiteY375" fmla="*/ 990600 h 1829497"/>
              <a:gd name="connsiteX376" fmla="*/ 752475 w 2090570"/>
              <a:gd name="connsiteY376" fmla="*/ 1000125 h 1829497"/>
              <a:gd name="connsiteX377" fmla="*/ 742950 w 2090570"/>
              <a:gd name="connsiteY377" fmla="*/ 1003300 h 1829497"/>
              <a:gd name="connsiteX378" fmla="*/ 733425 w 2090570"/>
              <a:gd name="connsiteY378" fmla="*/ 1009650 h 1829497"/>
              <a:gd name="connsiteX379" fmla="*/ 695325 w 2090570"/>
              <a:gd name="connsiteY379" fmla="*/ 1003300 h 1829497"/>
              <a:gd name="connsiteX380" fmla="*/ 688975 w 2090570"/>
              <a:gd name="connsiteY380" fmla="*/ 1012825 h 1829497"/>
              <a:gd name="connsiteX381" fmla="*/ 692150 w 2090570"/>
              <a:gd name="connsiteY381" fmla="*/ 1022350 h 1829497"/>
              <a:gd name="connsiteX382" fmla="*/ 711200 w 2090570"/>
              <a:gd name="connsiteY382" fmla="*/ 1035050 h 1829497"/>
              <a:gd name="connsiteX383" fmla="*/ 730250 w 2090570"/>
              <a:gd name="connsiteY383" fmla="*/ 1044575 h 1829497"/>
              <a:gd name="connsiteX384" fmla="*/ 752475 w 2090570"/>
              <a:gd name="connsiteY384" fmla="*/ 1073150 h 1829497"/>
              <a:gd name="connsiteX385" fmla="*/ 755650 w 2090570"/>
              <a:gd name="connsiteY385" fmla="*/ 1082675 h 1829497"/>
              <a:gd name="connsiteX386" fmla="*/ 758825 w 2090570"/>
              <a:gd name="connsiteY386" fmla="*/ 1101725 h 1829497"/>
              <a:gd name="connsiteX387" fmla="*/ 762000 w 2090570"/>
              <a:gd name="connsiteY387" fmla="*/ 1114425 h 1829497"/>
              <a:gd name="connsiteX388" fmla="*/ 752475 w 2090570"/>
              <a:gd name="connsiteY388" fmla="*/ 1149350 h 1829497"/>
              <a:gd name="connsiteX389" fmla="*/ 746125 w 2090570"/>
              <a:gd name="connsiteY389" fmla="*/ 1158875 h 1829497"/>
              <a:gd name="connsiteX390" fmla="*/ 746125 w 2090570"/>
              <a:gd name="connsiteY390" fmla="*/ 1187450 h 1829497"/>
              <a:gd name="connsiteX391" fmla="*/ 755650 w 2090570"/>
              <a:gd name="connsiteY391" fmla="*/ 1193800 h 1829497"/>
              <a:gd name="connsiteX392" fmla="*/ 758825 w 2090570"/>
              <a:gd name="connsiteY392" fmla="*/ 1203325 h 1829497"/>
              <a:gd name="connsiteX393" fmla="*/ 749300 w 2090570"/>
              <a:gd name="connsiteY393" fmla="*/ 1225550 h 1829497"/>
              <a:gd name="connsiteX394" fmla="*/ 739775 w 2090570"/>
              <a:gd name="connsiteY394" fmla="*/ 1231900 h 1829497"/>
              <a:gd name="connsiteX395" fmla="*/ 733425 w 2090570"/>
              <a:gd name="connsiteY395" fmla="*/ 1241425 h 1829497"/>
              <a:gd name="connsiteX396" fmla="*/ 723900 w 2090570"/>
              <a:gd name="connsiteY396" fmla="*/ 1238250 h 1829497"/>
              <a:gd name="connsiteX397" fmla="*/ 704850 w 2090570"/>
              <a:gd name="connsiteY397" fmla="*/ 1225550 h 1829497"/>
              <a:gd name="connsiteX398" fmla="*/ 663575 w 2090570"/>
              <a:gd name="connsiteY398" fmla="*/ 1228725 h 1829497"/>
              <a:gd name="connsiteX399" fmla="*/ 644525 w 2090570"/>
              <a:gd name="connsiteY399" fmla="*/ 1235075 h 1829497"/>
              <a:gd name="connsiteX400" fmla="*/ 635000 w 2090570"/>
              <a:gd name="connsiteY400" fmla="*/ 1244600 h 1829497"/>
              <a:gd name="connsiteX401" fmla="*/ 625475 w 2090570"/>
              <a:gd name="connsiteY401" fmla="*/ 1250950 h 1829497"/>
              <a:gd name="connsiteX402" fmla="*/ 609600 w 2090570"/>
              <a:gd name="connsiteY402" fmla="*/ 1263650 h 1829497"/>
              <a:gd name="connsiteX403" fmla="*/ 600075 w 2090570"/>
              <a:gd name="connsiteY403" fmla="*/ 1270000 h 1829497"/>
              <a:gd name="connsiteX404" fmla="*/ 568325 w 2090570"/>
              <a:gd name="connsiteY404" fmla="*/ 1270000 h 1829497"/>
              <a:gd name="connsiteX405" fmla="*/ 546100 w 2090570"/>
              <a:gd name="connsiteY405" fmla="*/ 1276350 h 1829497"/>
              <a:gd name="connsiteX406" fmla="*/ 539750 w 2090570"/>
              <a:gd name="connsiteY406" fmla="*/ 1285875 h 1829497"/>
              <a:gd name="connsiteX407" fmla="*/ 517525 w 2090570"/>
              <a:gd name="connsiteY407" fmla="*/ 1276350 h 1829497"/>
              <a:gd name="connsiteX408" fmla="*/ 511175 w 2090570"/>
              <a:gd name="connsiteY408" fmla="*/ 1266825 h 1829497"/>
              <a:gd name="connsiteX409" fmla="*/ 523875 w 2090570"/>
              <a:gd name="connsiteY409" fmla="*/ 1244600 h 1829497"/>
              <a:gd name="connsiteX410" fmla="*/ 542925 w 2090570"/>
              <a:gd name="connsiteY410" fmla="*/ 1231900 h 1829497"/>
              <a:gd name="connsiteX411" fmla="*/ 549275 w 2090570"/>
              <a:gd name="connsiteY411" fmla="*/ 1222375 h 1829497"/>
              <a:gd name="connsiteX412" fmla="*/ 546100 w 2090570"/>
              <a:gd name="connsiteY412" fmla="*/ 1212850 h 1829497"/>
              <a:gd name="connsiteX413" fmla="*/ 542925 w 2090570"/>
              <a:gd name="connsiteY413" fmla="*/ 1200150 h 1829497"/>
              <a:gd name="connsiteX414" fmla="*/ 527050 w 2090570"/>
              <a:gd name="connsiteY414" fmla="*/ 1171575 h 1829497"/>
              <a:gd name="connsiteX415" fmla="*/ 533400 w 2090570"/>
              <a:gd name="connsiteY415" fmla="*/ 1123950 h 1829497"/>
              <a:gd name="connsiteX416" fmla="*/ 536575 w 2090570"/>
              <a:gd name="connsiteY416" fmla="*/ 1108075 h 1829497"/>
              <a:gd name="connsiteX417" fmla="*/ 546100 w 2090570"/>
              <a:gd name="connsiteY417" fmla="*/ 1098550 h 1829497"/>
              <a:gd name="connsiteX418" fmla="*/ 539750 w 2090570"/>
              <a:gd name="connsiteY418" fmla="*/ 1066800 h 1829497"/>
              <a:gd name="connsiteX419" fmla="*/ 536575 w 2090570"/>
              <a:gd name="connsiteY419" fmla="*/ 1057275 h 1829497"/>
              <a:gd name="connsiteX420" fmla="*/ 527050 w 2090570"/>
              <a:gd name="connsiteY420" fmla="*/ 1054100 h 1829497"/>
              <a:gd name="connsiteX421" fmla="*/ 495300 w 2090570"/>
              <a:gd name="connsiteY421" fmla="*/ 1050925 h 1829497"/>
              <a:gd name="connsiteX422" fmla="*/ 463550 w 2090570"/>
              <a:gd name="connsiteY422" fmla="*/ 1044575 h 1829497"/>
              <a:gd name="connsiteX423" fmla="*/ 454025 w 2090570"/>
              <a:gd name="connsiteY423" fmla="*/ 1038225 h 1829497"/>
              <a:gd name="connsiteX424" fmla="*/ 441325 w 2090570"/>
              <a:gd name="connsiteY424" fmla="*/ 1019175 h 1829497"/>
              <a:gd name="connsiteX425" fmla="*/ 428625 w 2090570"/>
              <a:gd name="connsiteY425" fmla="*/ 1000125 h 1829497"/>
              <a:gd name="connsiteX426" fmla="*/ 419100 w 2090570"/>
              <a:gd name="connsiteY426" fmla="*/ 990600 h 1829497"/>
              <a:gd name="connsiteX427" fmla="*/ 409575 w 2090570"/>
              <a:gd name="connsiteY427" fmla="*/ 984250 h 1829497"/>
              <a:gd name="connsiteX428" fmla="*/ 387350 w 2090570"/>
              <a:gd name="connsiteY428" fmla="*/ 977900 h 1829497"/>
              <a:gd name="connsiteX429" fmla="*/ 377825 w 2090570"/>
              <a:gd name="connsiteY429" fmla="*/ 974725 h 1829497"/>
              <a:gd name="connsiteX430" fmla="*/ 381000 w 2090570"/>
              <a:gd name="connsiteY430" fmla="*/ 1012825 h 1829497"/>
              <a:gd name="connsiteX431" fmla="*/ 381000 w 2090570"/>
              <a:gd name="connsiteY431" fmla="*/ 1035050 h 1829497"/>
              <a:gd name="connsiteX432" fmla="*/ 368300 w 2090570"/>
              <a:gd name="connsiteY432" fmla="*/ 1054100 h 1829497"/>
              <a:gd name="connsiteX433" fmla="*/ 355600 w 2090570"/>
              <a:gd name="connsiteY433" fmla="*/ 1063625 h 1829497"/>
              <a:gd name="connsiteX434" fmla="*/ 327025 w 2090570"/>
              <a:gd name="connsiteY434" fmla="*/ 1073150 h 1829497"/>
              <a:gd name="connsiteX435" fmla="*/ 317500 w 2090570"/>
              <a:gd name="connsiteY435" fmla="*/ 1076325 h 1829497"/>
              <a:gd name="connsiteX436" fmla="*/ 307975 w 2090570"/>
              <a:gd name="connsiteY436" fmla="*/ 1079500 h 1829497"/>
              <a:gd name="connsiteX437" fmla="*/ 298450 w 2090570"/>
              <a:gd name="connsiteY437" fmla="*/ 1085850 h 1829497"/>
              <a:gd name="connsiteX438" fmla="*/ 279400 w 2090570"/>
              <a:gd name="connsiteY438" fmla="*/ 1092200 h 1829497"/>
              <a:gd name="connsiteX439" fmla="*/ 269875 w 2090570"/>
              <a:gd name="connsiteY439" fmla="*/ 1098550 h 1829497"/>
              <a:gd name="connsiteX440" fmla="*/ 250825 w 2090570"/>
              <a:gd name="connsiteY440" fmla="*/ 1114425 h 1829497"/>
              <a:gd name="connsiteX441" fmla="*/ 215900 w 2090570"/>
              <a:gd name="connsiteY441" fmla="*/ 1123950 h 1829497"/>
              <a:gd name="connsiteX442" fmla="*/ 146050 w 2090570"/>
              <a:gd name="connsiteY442" fmla="*/ 1111250 h 1829497"/>
              <a:gd name="connsiteX443" fmla="*/ 152400 w 2090570"/>
              <a:gd name="connsiteY443" fmla="*/ 1123950 h 1829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Lst>
            <a:rect l="l" t="t" r="r" b="b"/>
            <a:pathLst>
              <a:path w="2090570" h="1829497">
                <a:moveTo>
                  <a:pt x="152400" y="1123950"/>
                </a:moveTo>
                <a:cubicBezTo>
                  <a:pt x="150283" y="1115483"/>
                  <a:pt x="148810" y="1106829"/>
                  <a:pt x="146050" y="1098550"/>
                </a:cubicBezTo>
                <a:lnTo>
                  <a:pt x="139700" y="1079500"/>
                </a:lnTo>
                <a:cubicBezTo>
                  <a:pt x="140758" y="1076325"/>
                  <a:pt x="140508" y="1072342"/>
                  <a:pt x="142875" y="1069975"/>
                </a:cubicBezTo>
                <a:cubicBezTo>
                  <a:pt x="145242" y="1067608"/>
                  <a:pt x="150455" y="1069523"/>
                  <a:pt x="152400" y="1066800"/>
                </a:cubicBezTo>
                <a:cubicBezTo>
                  <a:pt x="156291" y="1061353"/>
                  <a:pt x="158750" y="1047750"/>
                  <a:pt x="158750" y="1047750"/>
                </a:cubicBezTo>
                <a:cubicBezTo>
                  <a:pt x="156937" y="1038686"/>
                  <a:pt x="155090" y="1028143"/>
                  <a:pt x="152400" y="1019175"/>
                </a:cubicBezTo>
                <a:cubicBezTo>
                  <a:pt x="150477" y="1012764"/>
                  <a:pt x="148167" y="1006475"/>
                  <a:pt x="146050" y="1000125"/>
                </a:cubicBezTo>
                <a:cubicBezTo>
                  <a:pt x="143958" y="993850"/>
                  <a:pt x="142120" y="985551"/>
                  <a:pt x="136525" y="981075"/>
                </a:cubicBezTo>
                <a:cubicBezTo>
                  <a:pt x="133912" y="978984"/>
                  <a:pt x="130175" y="978958"/>
                  <a:pt x="127000" y="977900"/>
                </a:cubicBezTo>
                <a:cubicBezTo>
                  <a:pt x="96027" y="985643"/>
                  <a:pt x="134702" y="976188"/>
                  <a:pt x="98425" y="984250"/>
                </a:cubicBezTo>
                <a:cubicBezTo>
                  <a:pt x="94165" y="985197"/>
                  <a:pt x="89958" y="986367"/>
                  <a:pt x="85725" y="987425"/>
                </a:cubicBezTo>
                <a:cubicBezTo>
                  <a:pt x="82550" y="986367"/>
                  <a:pt x="79126" y="985875"/>
                  <a:pt x="76200" y="984250"/>
                </a:cubicBezTo>
                <a:cubicBezTo>
                  <a:pt x="69529" y="980544"/>
                  <a:pt x="64554" y="973401"/>
                  <a:pt x="57150" y="971550"/>
                </a:cubicBezTo>
                <a:cubicBezTo>
                  <a:pt x="35153" y="966051"/>
                  <a:pt x="48787" y="968857"/>
                  <a:pt x="15875" y="965200"/>
                </a:cubicBezTo>
                <a:cubicBezTo>
                  <a:pt x="12700" y="963083"/>
                  <a:pt x="8372" y="962086"/>
                  <a:pt x="6350" y="958850"/>
                </a:cubicBezTo>
                <a:cubicBezTo>
                  <a:pt x="2802" y="953174"/>
                  <a:pt x="0" y="939800"/>
                  <a:pt x="0" y="939800"/>
                </a:cubicBezTo>
                <a:cubicBezTo>
                  <a:pt x="2117" y="936625"/>
                  <a:pt x="3652" y="932973"/>
                  <a:pt x="6350" y="930275"/>
                </a:cubicBezTo>
                <a:cubicBezTo>
                  <a:pt x="9048" y="927577"/>
                  <a:pt x="13491" y="926905"/>
                  <a:pt x="15875" y="923925"/>
                </a:cubicBezTo>
                <a:cubicBezTo>
                  <a:pt x="17966" y="921312"/>
                  <a:pt x="17992" y="917575"/>
                  <a:pt x="19050" y="914400"/>
                </a:cubicBezTo>
                <a:cubicBezTo>
                  <a:pt x="11437" y="891562"/>
                  <a:pt x="20673" y="920082"/>
                  <a:pt x="12700" y="892175"/>
                </a:cubicBezTo>
                <a:cubicBezTo>
                  <a:pt x="11781" y="888957"/>
                  <a:pt x="10406" y="885879"/>
                  <a:pt x="9525" y="882650"/>
                </a:cubicBezTo>
                <a:cubicBezTo>
                  <a:pt x="7229" y="874230"/>
                  <a:pt x="3175" y="857250"/>
                  <a:pt x="3175" y="857250"/>
                </a:cubicBezTo>
                <a:cubicBezTo>
                  <a:pt x="5082" y="849624"/>
                  <a:pt x="5848" y="840507"/>
                  <a:pt x="12700" y="835025"/>
                </a:cubicBezTo>
                <a:cubicBezTo>
                  <a:pt x="15313" y="832934"/>
                  <a:pt x="19050" y="832908"/>
                  <a:pt x="22225" y="831850"/>
                </a:cubicBezTo>
                <a:cubicBezTo>
                  <a:pt x="25400" y="829733"/>
                  <a:pt x="27943" y="825754"/>
                  <a:pt x="31750" y="825500"/>
                </a:cubicBezTo>
                <a:cubicBezTo>
                  <a:pt x="47499" y="824450"/>
                  <a:pt x="69095" y="828155"/>
                  <a:pt x="85725" y="831850"/>
                </a:cubicBezTo>
                <a:cubicBezTo>
                  <a:pt x="89985" y="832797"/>
                  <a:pt x="94132" y="834244"/>
                  <a:pt x="98425" y="835025"/>
                </a:cubicBezTo>
                <a:cubicBezTo>
                  <a:pt x="105788" y="836364"/>
                  <a:pt x="113242" y="837142"/>
                  <a:pt x="120650" y="838200"/>
                </a:cubicBezTo>
                <a:cubicBezTo>
                  <a:pt x="134907" y="836904"/>
                  <a:pt x="158750" y="845490"/>
                  <a:pt x="158750" y="825500"/>
                </a:cubicBezTo>
                <a:cubicBezTo>
                  <a:pt x="158750" y="822153"/>
                  <a:pt x="156633" y="819150"/>
                  <a:pt x="155575" y="815975"/>
                </a:cubicBezTo>
                <a:cubicBezTo>
                  <a:pt x="156633" y="811742"/>
                  <a:pt x="157496" y="807455"/>
                  <a:pt x="158750" y="803275"/>
                </a:cubicBezTo>
                <a:cubicBezTo>
                  <a:pt x="161635" y="793658"/>
                  <a:pt x="165100" y="784225"/>
                  <a:pt x="168275" y="774700"/>
                </a:cubicBezTo>
                <a:lnTo>
                  <a:pt x="171450" y="765175"/>
                </a:lnTo>
                <a:lnTo>
                  <a:pt x="174625" y="755650"/>
                </a:lnTo>
                <a:cubicBezTo>
                  <a:pt x="175099" y="750438"/>
                  <a:pt x="176121" y="719352"/>
                  <a:pt x="180975" y="708025"/>
                </a:cubicBezTo>
                <a:cubicBezTo>
                  <a:pt x="182478" y="704518"/>
                  <a:pt x="185618" y="701913"/>
                  <a:pt x="187325" y="698500"/>
                </a:cubicBezTo>
                <a:cubicBezTo>
                  <a:pt x="188822" y="695507"/>
                  <a:pt x="188644" y="691760"/>
                  <a:pt x="190500" y="688975"/>
                </a:cubicBezTo>
                <a:cubicBezTo>
                  <a:pt x="192991" y="685239"/>
                  <a:pt x="197268" y="682994"/>
                  <a:pt x="200025" y="679450"/>
                </a:cubicBezTo>
                <a:lnTo>
                  <a:pt x="219075" y="650875"/>
                </a:lnTo>
                <a:lnTo>
                  <a:pt x="225425" y="641350"/>
                </a:lnTo>
                <a:cubicBezTo>
                  <a:pt x="226483" y="636058"/>
                  <a:pt x="227180" y="630681"/>
                  <a:pt x="228600" y="625475"/>
                </a:cubicBezTo>
                <a:cubicBezTo>
                  <a:pt x="230361" y="619017"/>
                  <a:pt x="234950" y="606425"/>
                  <a:pt x="234950" y="606425"/>
                </a:cubicBezTo>
                <a:cubicBezTo>
                  <a:pt x="233892" y="586317"/>
                  <a:pt x="231775" y="566236"/>
                  <a:pt x="231775" y="546100"/>
                </a:cubicBezTo>
                <a:cubicBezTo>
                  <a:pt x="231775" y="534497"/>
                  <a:pt x="236719" y="507952"/>
                  <a:pt x="238125" y="495300"/>
                </a:cubicBezTo>
                <a:cubicBezTo>
                  <a:pt x="239416" y="483682"/>
                  <a:pt x="240009" y="471993"/>
                  <a:pt x="241300" y="460375"/>
                </a:cubicBezTo>
                <a:cubicBezTo>
                  <a:pt x="242375" y="450698"/>
                  <a:pt x="245072" y="432588"/>
                  <a:pt x="247650" y="422275"/>
                </a:cubicBezTo>
                <a:cubicBezTo>
                  <a:pt x="248462" y="419028"/>
                  <a:pt x="248969" y="415535"/>
                  <a:pt x="250825" y="412750"/>
                </a:cubicBezTo>
                <a:cubicBezTo>
                  <a:pt x="253316" y="409014"/>
                  <a:pt x="257475" y="406674"/>
                  <a:pt x="260350" y="403225"/>
                </a:cubicBezTo>
                <a:cubicBezTo>
                  <a:pt x="262793" y="400294"/>
                  <a:pt x="264583" y="396875"/>
                  <a:pt x="266700" y="393700"/>
                </a:cubicBezTo>
                <a:cubicBezTo>
                  <a:pt x="267758" y="389467"/>
                  <a:pt x="271074" y="385196"/>
                  <a:pt x="269875" y="381000"/>
                </a:cubicBezTo>
                <a:cubicBezTo>
                  <a:pt x="268641" y="376683"/>
                  <a:pt x="264275" y="373656"/>
                  <a:pt x="260350" y="371475"/>
                </a:cubicBezTo>
                <a:cubicBezTo>
                  <a:pt x="249384" y="365383"/>
                  <a:pt x="230951" y="363138"/>
                  <a:pt x="219075" y="361950"/>
                </a:cubicBezTo>
                <a:cubicBezTo>
                  <a:pt x="205345" y="360577"/>
                  <a:pt x="191558" y="359833"/>
                  <a:pt x="177800" y="358775"/>
                </a:cubicBezTo>
                <a:cubicBezTo>
                  <a:pt x="173567" y="357717"/>
                  <a:pt x="167051" y="359503"/>
                  <a:pt x="165100" y="355600"/>
                </a:cubicBezTo>
                <a:cubicBezTo>
                  <a:pt x="162687" y="350773"/>
                  <a:pt x="168275" y="345121"/>
                  <a:pt x="168275" y="339725"/>
                </a:cubicBezTo>
                <a:cubicBezTo>
                  <a:pt x="168275" y="335361"/>
                  <a:pt x="166158" y="331258"/>
                  <a:pt x="165100" y="327025"/>
                </a:cubicBezTo>
                <a:cubicBezTo>
                  <a:pt x="168203" y="280486"/>
                  <a:pt x="166645" y="290039"/>
                  <a:pt x="171450" y="254000"/>
                </a:cubicBezTo>
                <a:cubicBezTo>
                  <a:pt x="172439" y="246582"/>
                  <a:pt x="171586" y="238614"/>
                  <a:pt x="174625" y="231775"/>
                </a:cubicBezTo>
                <a:cubicBezTo>
                  <a:pt x="176766" y="226958"/>
                  <a:pt x="189449" y="223659"/>
                  <a:pt x="193675" y="222250"/>
                </a:cubicBezTo>
                <a:cubicBezTo>
                  <a:pt x="216345" y="229807"/>
                  <a:pt x="209012" y="223031"/>
                  <a:pt x="219075" y="238125"/>
                </a:cubicBezTo>
                <a:cubicBezTo>
                  <a:pt x="222250" y="237067"/>
                  <a:pt x="227357" y="238057"/>
                  <a:pt x="228600" y="234950"/>
                </a:cubicBezTo>
                <a:cubicBezTo>
                  <a:pt x="230221" y="230898"/>
                  <a:pt x="227846" y="225881"/>
                  <a:pt x="225425" y="222250"/>
                </a:cubicBezTo>
                <a:cubicBezTo>
                  <a:pt x="221908" y="216974"/>
                  <a:pt x="211808" y="214536"/>
                  <a:pt x="206375" y="212725"/>
                </a:cubicBezTo>
                <a:cubicBezTo>
                  <a:pt x="204258" y="209550"/>
                  <a:pt x="200565" y="206978"/>
                  <a:pt x="200025" y="203200"/>
                </a:cubicBezTo>
                <a:cubicBezTo>
                  <a:pt x="199408" y="198880"/>
                  <a:pt x="201946" y="194680"/>
                  <a:pt x="203200" y="190500"/>
                </a:cubicBezTo>
                <a:cubicBezTo>
                  <a:pt x="208310" y="173466"/>
                  <a:pt x="205375" y="171950"/>
                  <a:pt x="219075" y="165100"/>
                </a:cubicBezTo>
                <a:cubicBezTo>
                  <a:pt x="222068" y="163603"/>
                  <a:pt x="225425" y="162983"/>
                  <a:pt x="228600" y="161925"/>
                </a:cubicBezTo>
                <a:lnTo>
                  <a:pt x="257175" y="142875"/>
                </a:lnTo>
                <a:cubicBezTo>
                  <a:pt x="260350" y="140758"/>
                  <a:pt x="263080" y="137732"/>
                  <a:pt x="266700" y="136525"/>
                </a:cubicBezTo>
                <a:lnTo>
                  <a:pt x="304800" y="123825"/>
                </a:lnTo>
                <a:cubicBezTo>
                  <a:pt x="307975" y="122767"/>
                  <a:pt x="310988" y="120907"/>
                  <a:pt x="314325" y="120650"/>
                </a:cubicBezTo>
                <a:lnTo>
                  <a:pt x="355600" y="117475"/>
                </a:lnTo>
                <a:cubicBezTo>
                  <a:pt x="362917" y="118694"/>
                  <a:pt x="376359" y="119917"/>
                  <a:pt x="384175" y="123825"/>
                </a:cubicBezTo>
                <a:cubicBezTo>
                  <a:pt x="408794" y="136135"/>
                  <a:pt x="379284" y="125370"/>
                  <a:pt x="403225" y="133350"/>
                </a:cubicBezTo>
                <a:cubicBezTo>
                  <a:pt x="425664" y="128862"/>
                  <a:pt x="413980" y="131882"/>
                  <a:pt x="438150" y="123825"/>
                </a:cubicBezTo>
                <a:lnTo>
                  <a:pt x="438150" y="123825"/>
                </a:lnTo>
                <a:cubicBezTo>
                  <a:pt x="442383" y="122767"/>
                  <a:pt x="446670" y="121904"/>
                  <a:pt x="450850" y="120650"/>
                </a:cubicBezTo>
                <a:cubicBezTo>
                  <a:pt x="457261" y="118727"/>
                  <a:pt x="463550" y="116417"/>
                  <a:pt x="469900" y="114300"/>
                </a:cubicBezTo>
                <a:cubicBezTo>
                  <a:pt x="473075" y="113242"/>
                  <a:pt x="476104" y="111540"/>
                  <a:pt x="479425" y="111125"/>
                </a:cubicBezTo>
                <a:cubicBezTo>
                  <a:pt x="511213" y="107152"/>
                  <a:pt x="496409" y="109353"/>
                  <a:pt x="523875" y="104775"/>
                </a:cubicBezTo>
                <a:cubicBezTo>
                  <a:pt x="539750" y="105833"/>
                  <a:pt x="555750" y="105700"/>
                  <a:pt x="571500" y="107950"/>
                </a:cubicBezTo>
                <a:cubicBezTo>
                  <a:pt x="578126" y="108897"/>
                  <a:pt x="590550" y="114300"/>
                  <a:pt x="590550" y="114300"/>
                </a:cubicBezTo>
                <a:cubicBezTo>
                  <a:pt x="593725" y="116417"/>
                  <a:pt x="598053" y="117414"/>
                  <a:pt x="600075" y="120650"/>
                </a:cubicBezTo>
                <a:cubicBezTo>
                  <a:pt x="603623" y="126326"/>
                  <a:pt x="604308" y="133350"/>
                  <a:pt x="606425" y="139700"/>
                </a:cubicBezTo>
                <a:lnTo>
                  <a:pt x="609600" y="149225"/>
                </a:lnTo>
                <a:cubicBezTo>
                  <a:pt x="610658" y="152400"/>
                  <a:pt x="610919" y="155965"/>
                  <a:pt x="612775" y="158750"/>
                </a:cubicBezTo>
                <a:cubicBezTo>
                  <a:pt x="621616" y="172011"/>
                  <a:pt x="616427" y="165577"/>
                  <a:pt x="628650" y="177800"/>
                </a:cubicBezTo>
                <a:cubicBezTo>
                  <a:pt x="639154" y="209312"/>
                  <a:pt x="621531" y="161175"/>
                  <a:pt x="641350" y="196850"/>
                </a:cubicBezTo>
                <a:cubicBezTo>
                  <a:pt x="644601" y="202701"/>
                  <a:pt x="647700" y="215900"/>
                  <a:pt x="647700" y="215900"/>
                </a:cubicBezTo>
                <a:cubicBezTo>
                  <a:pt x="644812" y="244776"/>
                  <a:pt x="651736" y="243228"/>
                  <a:pt x="635000" y="257175"/>
                </a:cubicBezTo>
                <a:cubicBezTo>
                  <a:pt x="632069" y="259618"/>
                  <a:pt x="628650" y="261408"/>
                  <a:pt x="625475" y="263525"/>
                </a:cubicBezTo>
                <a:cubicBezTo>
                  <a:pt x="624417" y="266700"/>
                  <a:pt x="622300" y="269703"/>
                  <a:pt x="622300" y="273050"/>
                </a:cubicBezTo>
                <a:cubicBezTo>
                  <a:pt x="622300" y="285280"/>
                  <a:pt x="625034" y="291806"/>
                  <a:pt x="635000" y="298450"/>
                </a:cubicBezTo>
                <a:cubicBezTo>
                  <a:pt x="637785" y="300306"/>
                  <a:pt x="641350" y="300567"/>
                  <a:pt x="644525" y="301625"/>
                </a:cubicBezTo>
                <a:cubicBezTo>
                  <a:pt x="646642" y="304800"/>
                  <a:pt x="649168" y="307737"/>
                  <a:pt x="650875" y="311150"/>
                </a:cubicBezTo>
                <a:cubicBezTo>
                  <a:pt x="656040" y="321479"/>
                  <a:pt x="651301" y="321101"/>
                  <a:pt x="660400" y="330200"/>
                </a:cubicBezTo>
                <a:cubicBezTo>
                  <a:pt x="663098" y="332898"/>
                  <a:pt x="666750" y="334433"/>
                  <a:pt x="669925" y="336550"/>
                </a:cubicBezTo>
                <a:cubicBezTo>
                  <a:pt x="673100" y="333375"/>
                  <a:pt x="676575" y="330474"/>
                  <a:pt x="679450" y="327025"/>
                </a:cubicBezTo>
                <a:cubicBezTo>
                  <a:pt x="681893" y="324094"/>
                  <a:pt x="682928" y="320013"/>
                  <a:pt x="685800" y="317500"/>
                </a:cubicBezTo>
                <a:cubicBezTo>
                  <a:pt x="691543" y="312474"/>
                  <a:pt x="704850" y="304800"/>
                  <a:pt x="704850" y="304800"/>
                </a:cubicBezTo>
                <a:cubicBezTo>
                  <a:pt x="716542" y="287262"/>
                  <a:pt x="713135" y="296739"/>
                  <a:pt x="708025" y="263525"/>
                </a:cubicBezTo>
                <a:cubicBezTo>
                  <a:pt x="707516" y="260217"/>
                  <a:pt x="707217" y="256367"/>
                  <a:pt x="704850" y="254000"/>
                </a:cubicBezTo>
                <a:cubicBezTo>
                  <a:pt x="702483" y="251633"/>
                  <a:pt x="698572" y="251637"/>
                  <a:pt x="695325" y="250825"/>
                </a:cubicBezTo>
                <a:cubicBezTo>
                  <a:pt x="690090" y="249516"/>
                  <a:pt x="684742" y="248708"/>
                  <a:pt x="679450" y="247650"/>
                </a:cubicBezTo>
                <a:cubicBezTo>
                  <a:pt x="678392" y="244475"/>
                  <a:pt x="676275" y="241472"/>
                  <a:pt x="676275" y="238125"/>
                </a:cubicBezTo>
                <a:cubicBezTo>
                  <a:pt x="676275" y="224978"/>
                  <a:pt x="676349" y="212651"/>
                  <a:pt x="685800" y="203200"/>
                </a:cubicBezTo>
                <a:cubicBezTo>
                  <a:pt x="688498" y="200502"/>
                  <a:pt x="691838" y="198400"/>
                  <a:pt x="695325" y="196850"/>
                </a:cubicBezTo>
                <a:cubicBezTo>
                  <a:pt x="701442" y="194132"/>
                  <a:pt x="714375" y="190500"/>
                  <a:pt x="714375" y="190500"/>
                </a:cubicBezTo>
                <a:cubicBezTo>
                  <a:pt x="730434" y="193712"/>
                  <a:pt x="729945" y="190561"/>
                  <a:pt x="739775" y="203200"/>
                </a:cubicBezTo>
                <a:cubicBezTo>
                  <a:pt x="744460" y="209224"/>
                  <a:pt x="745071" y="220399"/>
                  <a:pt x="752475" y="222250"/>
                </a:cubicBezTo>
                <a:lnTo>
                  <a:pt x="777875" y="228600"/>
                </a:lnTo>
                <a:cubicBezTo>
                  <a:pt x="787170" y="227051"/>
                  <a:pt x="799582" y="227660"/>
                  <a:pt x="806450" y="219075"/>
                </a:cubicBezTo>
                <a:cubicBezTo>
                  <a:pt x="808541" y="216462"/>
                  <a:pt x="808567" y="212725"/>
                  <a:pt x="809625" y="209550"/>
                </a:cubicBezTo>
                <a:lnTo>
                  <a:pt x="803275" y="184150"/>
                </a:lnTo>
                <a:cubicBezTo>
                  <a:pt x="800695" y="173831"/>
                  <a:pt x="801604" y="162929"/>
                  <a:pt x="800100" y="152400"/>
                </a:cubicBezTo>
                <a:cubicBezTo>
                  <a:pt x="799103" y="145423"/>
                  <a:pt x="796012" y="136960"/>
                  <a:pt x="793750" y="130175"/>
                </a:cubicBezTo>
                <a:cubicBezTo>
                  <a:pt x="794356" y="122297"/>
                  <a:pt x="793247" y="93082"/>
                  <a:pt x="800100" y="79375"/>
                </a:cubicBezTo>
                <a:cubicBezTo>
                  <a:pt x="801807" y="75962"/>
                  <a:pt x="804007" y="72781"/>
                  <a:pt x="806450" y="69850"/>
                </a:cubicBezTo>
                <a:cubicBezTo>
                  <a:pt x="809325" y="66401"/>
                  <a:pt x="812800" y="63500"/>
                  <a:pt x="815975" y="60325"/>
                </a:cubicBezTo>
                <a:cubicBezTo>
                  <a:pt x="823256" y="38481"/>
                  <a:pt x="815145" y="64891"/>
                  <a:pt x="822325" y="25400"/>
                </a:cubicBezTo>
                <a:cubicBezTo>
                  <a:pt x="822924" y="22107"/>
                  <a:pt x="822777" y="17820"/>
                  <a:pt x="825500" y="15875"/>
                </a:cubicBezTo>
                <a:cubicBezTo>
                  <a:pt x="830947" y="11984"/>
                  <a:pt x="844550" y="9525"/>
                  <a:pt x="844550" y="9525"/>
                </a:cubicBezTo>
                <a:cubicBezTo>
                  <a:pt x="847725" y="7408"/>
                  <a:pt x="850568" y="4678"/>
                  <a:pt x="854075" y="3175"/>
                </a:cubicBezTo>
                <a:cubicBezTo>
                  <a:pt x="858086" y="1456"/>
                  <a:pt x="862411" y="0"/>
                  <a:pt x="866775" y="0"/>
                </a:cubicBezTo>
                <a:cubicBezTo>
                  <a:pt x="874438" y="0"/>
                  <a:pt x="884659" y="3845"/>
                  <a:pt x="892175" y="6350"/>
                </a:cubicBezTo>
                <a:cubicBezTo>
                  <a:pt x="895350" y="8467"/>
                  <a:pt x="898213" y="11150"/>
                  <a:pt x="901700" y="12700"/>
                </a:cubicBezTo>
                <a:cubicBezTo>
                  <a:pt x="907817" y="15418"/>
                  <a:pt x="920750" y="19050"/>
                  <a:pt x="920750" y="19050"/>
                </a:cubicBezTo>
                <a:cubicBezTo>
                  <a:pt x="923925" y="21167"/>
                  <a:pt x="926788" y="23850"/>
                  <a:pt x="930275" y="25400"/>
                </a:cubicBezTo>
                <a:cubicBezTo>
                  <a:pt x="936392" y="28118"/>
                  <a:pt x="949325" y="31750"/>
                  <a:pt x="949325" y="31750"/>
                </a:cubicBezTo>
                <a:cubicBezTo>
                  <a:pt x="954494" y="30889"/>
                  <a:pt x="971200" y="29122"/>
                  <a:pt x="977900" y="25400"/>
                </a:cubicBezTo>
                <a:cubicBezTo>
                  <a:pt x="984571" y="21694"/>
                  <a:pt x="990600" y="16933"/>
                  <a:pt x="996950" y="12700"/>
                </a:cubicBezTo>
                <a:cubicBezTo>
                  <a:pt x="1000125" y="10583"/>
                  <a:pt x="1002855" y="7557"/>
                  <a:pt x="1006475" y="6350"/>
                </a:cubicBezTo>
                <a:cubicBezTo>
                  <a:pt x="1020140" y="1795"/>
                  <a:pt x="1012753" y="3987"/>
                  <a:pt x="1028700" y="0"/>
                </a:cubicBezTo>
                <a:cubicBezTo>
                  <a:pt x="1050925" y="1058"/>
                  <a:pt x="1073196" y="1401"/>
                  <a:pt x="1095375" y="3175"/>
                </a:cubicBezTo>
                <a:cubicBezTo>
                  <a:pt x="1112488" y="4544"/>
                  <a:pt x="1109676" y="10325"/>
                  <a:pt x="1127125" y="19050"/>
                </a:cubicBezTo>
                <a:cubicBezTo>
                  <a:pt x="1150625" y="30800"/>
                  <a:pt x="1130042" y="18835"/>
                  <a:pt x="1149350" y="34925"/>
                </a:cubicBezTo>
                <a:cubicBezTo>
                  <a:pt x="1175872" y="57027"/>
                  <a:pt x="1140573" y="22973"/>
                  <a:pt x="1168400" y="50800"/>
                </a:cubicBezTo>
                <a:cubicBezTo>
                  <a:pt x="1176380" y="74741"/>
                  <a:pt x="1165615" y="45231"/>
                  <a:pt x="1177925" y="69850"/>
                </a:cubicBezTo>
                <a:cubicBezTo>
                  <a:pt x="1179422" y="72843"/>
                  <a:pt x="1179603" y="76382"/>
                  <a:pt x="1181100" y="79375"/>
                </a:cubicBezTo>
                <a:cubicBezTo>
                  <a:pt x="1182807" y="82788"/>
                  <a:pt x="1185743" y="85487"/>
                  <a:pt x="1187450" y="88900"/>
                </a:cubicBezTo>
                <a:cubicBezTo>
                  <a:pt x="1188947" y="91893"/>
                  <a:pt x="1189128" y="95432"/>
                  <a:pt x="1190625" y="98425"/>
                </a:cubicBezTo>
                <a:cubicBezTo>
                  <a:pt x="1192332" y="101838"/>
                  <a:pt x="1195268" y="104537"/>
                  <a:pt x="1196975" y="107950"/>
                </a:cubicBezTo>
                <a:cubicBezTo>
                  <a:pt x="1198472" y="110943"/>
                  <a:pt x="1198059" y="114862"/>
                  <a:pt x="1200150" y="117475"/>
                </a:cubicBezTo>
                <a:cubicBezTo>
                  <a:pt x="1202534" y="120455"/>
                  <a:pt x="1206500" y="121708"/>
                  <a:pt x="1209675" y="123825"/>
                </a:cubicBezTo>
                <a:cubicBezTo>
                  <a:pt x="1227873" y="151122"/>
                  <a:pt x="1206055" y="116585"/>
                  <a:pt x="1219200" y="142875"/>
                </a:cubicBezTo>
                <a:cubicBezTo>
                  <a:pt x="1228477" y="161428"/>
                  <a:pt x="1223405" y="143304"/>
                  <a:pt x="1228725" y="161925"/>
                </a:cubicBezTo>
                <a:cubicBezTo>
                  <a:pt x="1238322" y="195514"/>
                  <a:pt x="1223160" y="148404"/>
                  <a:pt x="1238250" y="193675"/>
                </a:cubicBezTo>
                <a:cubicBezTo>
                  <a:pt x="1239308" y="196850"/>
                  <a:pt x="1244600" y="195792"/>
                  <a:pt x="1247775" y="196850"/>
                </a:cubicBezTo>
                <a:cubicBezTo>
                  <a:pt x="1275072" y="215048"/>
                  <a:pt x="1240535" y="193230"/>
                  <a:pt x="1266825" y="206375"/>
                </a:cubicBezTo>
                <a:cubicBezTo>
                  <a:pt x="1291444" y="218685"/>
                  <a:pt x="1261934" y="207920"/>
                  <a:pt x="1285875" y="215900"/>
                </a:cubicBezTo>
                <a:cubicBezTo>
                  <a:pt x="1289050" y="218017"/>
                  <a:pt x="1291913" y="220700"/>
                  <a:pt x="1295400" y="222250"/>
                </a:cubicBezTo>
                <a:cubicBezTo>
                  <a:pt x="1301517" y="224968"/>
                  <a:pt x="1314450" y="228600"/>
                  <a:pt x="1314450" y="228600"/>
                </a:cubicBezTo>
                <a:cubicBezTo>
                  <a:pt x="1317625" y="230717"/>
                  <a:pt x="1321277" y="232252"/>
                  <a:pt x="1323975" y="234950"/>
                </a:cubicBezTo>
                <a:cubicBezTo>
                  <a:pt x="1326673" y="237648"/>
                  <a:pt x="1328775" y="240988"/>
                  <a:pt x="1330325" y="244475"/>
                </a:cubicBezTo>
                <a:cubicBezTo>
                  <a:pt x="1337262" y="260084"/>
                  <a:pt x="1336265" y="263863"/>
                  <a:pt x="1339850" y="279400"/>
                </a:cubicBezTo>
                <a:cubicBezTo>
                  <a:pt x="1341812" y="287904"/>
                  <a:pt x="1338938" y="299959"/>
                  <a:pt x="1346200" y="304800"/>
                </a:cubicBezTo>
                <a:cubicBezTo>
                  <a:pt x="1349375" y="306917"/>
                  <a:pt x="1352218" y="309647"/>
                  <a:pt x="1355725" y="311150"/>
                </a:cubicBezTo>
                <a:cubicBezTo>
                  <a:pt x="1360715" y="313288"/>
                  <a:pt x="1380156" y="316370"/>
                  <a:pt x="1384300" y="317500"/>
                </a:cubicBezTo>
                <a:cubicBezTo>
                  <a:pt x="1390758" y="319261"/>
                  <a:pt x="1403350" y="323850"/>
                  <a:pt x="1403350" y="323850"/>
                </a:cubicBezTo>
                <a:cubicBezTo>
                  <a:pt x="1422929" y="336903"/>
                  <a:pt x="1402292" y="327378"/>
                  <a:pt x="1431925" y="317500"/>
                </a:cubicBezTo>
                <a:lnTo>
                  <a:pt x="1450975" y="311150"/>
                </a:lnTo>
                <a:cubicBezTo>
                  <a:pt x="1460270" y="312699"/>
                  <a:pt x="1472682" y="312090"/>
                  <a:pt x="1479550" y="320675"/>
                </a:cubicBezTo>
                <a:cubicBezTo>
                  <a:pt x="1490472" y="334328"/>
                  <a:pt x="1472483" y="327765"/>
                  <a:pt x="1492250" y="336550"/>
                </a:cubicBezTo>
                <a:cubicBezTo>
                  <a:pt x="1498367" y="339268"/>
                  <a:pt x="1511300" y="342900"/>
                  <a:pt x="1511300" y="342900"/>
                </a:cubicBezTo>
                <a:cubicBezTo>
                  <a:pt x="1529843" y="336719"/>
                  <a:pt x="1512814" y="344561"/>
                  <a:pt x="1527175" y="330200"/>
                </a:cubicBezTo>
                <a:cubicBezTo>
                  <a:pt x="1533330" y="324045"/>
                  <a:pt x="1538478" y="323257"/>
                  <a:pt x="1546225" y="320675"/>
                </a:cubicBezTo>
                <a:cubicBezTo>
                  <a:pt x="1556808" y="321733"/>
                  <a:pt x="1567809" y="320722"/>
                  <a:pt x="1577975" y="323850"/>
                </a:cubicBezTo>
                <a:cubicBezTo>
                  <a:pt x="1582267" y="325170"/>
                  <a:pt x="1583956" y="330618"/>
                  <a:pt x="1587500" y="333375"/>
                </a:cubicBezTo>
                <a:cubicBezTo>
                  <a:pt x="1593524" y="338060"/>
                  <a:pt x="1600200" y="341842"/>
                  <a:pt x="1606550" y="346075"/>
                </a:cubicBezTo>
                <a:lnTo>
                  <a:pt x="1606550" y="346075"/>
                </a:lnTo>
                <a:lnTo>
                  <a:pt x="1631950" y="352425"/>
                </a:lnTo>
                <a:cubicBezTo>
                  <a:pt x="1638444" y="354048"/>
                  <a:pt x="1644650" y="356658"/>
                  <a:pt x="1651000" y="358775"/>
                </a:cubicBezTo>
                <a:cubicBezTo>
                  <a:pt x="1654175" y="359833"/>
                  <a:pt x="1657212" y="361477"/>
                  <a:pt x="1660525" y="361950"/>
                </a:cubicBezTo>
                <a:lnTo>
                  <a:pt x="1682750" y="365125"/>
                </a:lnTo>
                <a:cubicBezTo>
                  <a:pt x="1689100" y="367242"/>
                  <a:pt x="1695306" y="369852"/>
                  <a:pt x="1701800" y="371475"/>
                </a:cubicBezTo>
                <a:cubicBezTo>
                  <a:pt x="1717747" y="375462"/>
                  <a:pt x="1710360" y="373270"/>
                  <a:pt x="1724025" y="377825"/>
                </a:cubicBezTo>
                <a:cubicBezTo>
                  <a:pt x="1725083" y="381000"/>
                  <a:pt x="1725344" y="384565"/>
                  <a:pt x="1727200" y="387350"/>
                </a:cubicBezTo>
                <a:cubicBezTo>
                  <a:pt x="1729691" y="391086"/>
                  <a:pt x="1732826" y="394647"/>
                  <a:pt x="1736725" y="396875"/>
                </a:cubicBezTo>
                <a:cubicBezTo>
                  <a:pt x="1740514" y="399040"/>
                  <a:pt x="1745112" y="399386"/>
                  <a:pt x="1749425" y="400050"/>
                </a:cubicBezTo>
                <a:cubicBezTo>
                  <a:pt x="1758897" y="401507"/>
                  <a:pt x="1768475" y="402167"/>
                  <a:pt x="1778000" y="403225"/>
                </a:cubicBezTo>
                <a:cubicBezTo>
                  <a:pt x="1782233" y="402167"/>
                  <a:pt x="1786689" y="401769"/>
                  <a:pt x="1790700" y="400050"/>
                </a:cubicBezTo>
                <a:cubicBezTo>
                  <a:pt x="1797960" y="396939"/>
                  <a:pt x="1806420" y="387428"/>
                  <a:pt x="1812925" y="384175"/>
                </a:cubicBezTo>
                <a:cubicBezTo>
                  <a:pt x="1816828" y="382224"/>
                  <a:pt x="1821392" y="382058"/>
                  <a:pt x="1825625" y="381000"/>
                </a:cubicBezTo>
                <a:cubicBezTo>
                  <a:pt x="1828800" y="382058"/>
                  <a:pt x="1832783" y="381808"/>
                  <a:pt x="1835150" y="384175"/>
                </a:cubicBezTo>
                <a:cubicBezTo>
                  <a:pt x="1837517" y="386542"/>
                  <a:pt x="1836469" y="390915"/>
                  <a:pt x="1838325" y="393700"/>
                </a:cubicBezTo>
                <a:cubicBezTo>
                  <a:pt x="1840816" y="397436"/>
                  <a:pt x="1844675" y="400050"/>
                  <a:pt x="1847850" y="403225"/>
                </a:cubicBezTo>
                <a:cubicBezTo>
                  <a:pt x="1853438" y="419990"/>
                  <a:pt x="1849169" y="409965"/>
                  <a:pt x="1863725" y="431800"/>
                </a:cubicBezTo>
                <a:cubicBezTo>
                  <a:pt x="1865581" y="434585"/>
                  <a:pt x="1865403" y="438332"/>
                  <a:pt x="1866900" y="441325"/>
                </a:cubicBezTo>
                <a:cubicBezTo>
                  <a:pt x="1876141" y="459807"/>
                  <a:pt x="1875471" y="444656"/>
                  <a:pt x="1892300" y="469900"/>
                </a:cubicBezTo>
                <a:cubicBezTo>
                  <a:pt x="1894417" y="473075"/>
                  <a:pt x="1895952" y="476727"/>
                  <a:pt x="1898650" y="479425"/>
                </a:cubicBezTo>
                <a:cubicBezTo>
                  <a:pt x="1904805" y="485580"/>
                  <a:pt x="1909953" y="486368"/>
                  <a:pt x="1917700" y="488950"/>
                </a:cubicBezTo>
                <a:cubicBezTo>
                  <a:pt x="1923628" y="492902"/>
                  <a:pt x="1933155" y="498354"/>
                  <a:pt x="1936750" y="504825"/>
                </a:cubicBezTo>
                <a:cubicBezTo>
                  <a:pt x="1940001" y="510676"/>
                  <a:pt x="1938367" y="519142"/>
                  <a:pt x="1943100" y="523875"/>
                </a:cubicBezTo>
                <a:cubicBezTo>
                  <a:pt x="1946275" y="527050"/>
                  <a:pt x="1949868" y="529856"/>
                  <a:pt x="1952625" y="533400"/>
                </a:cubicBezTo>
                <a:lnTo>
                  <a:pt x="1971675" y="561975"/>
                </a:lnTo>
                <a:cubicBezTo>
                  <a:pt x="1973792" y="565150"/>
                  <a:pt x="1977887" y="566432"/>
                  <a:pt x="1981200" y="568325"/>
                </a:cubicBezTo>
                <a:cubicBezTo>
                  <a:pt x="1987377" y="571855"/>
                  <a:pt x="1996139" y="576231"/>
                  <a:pt x="2003425" y="577850"/>
                </a:cubicBezTo>
                <a:cubicBezTo>
                  <a:pt x="2030115" y="583781"/>
                  <a:pt x="2017117" y="578433"/>
                  <a:pt x="2047875" y="584200"/>
                </a:cubicBezTo>
                <a:cubicBezTo>
                  <a:pt x="2064245" y="587269"/>
                  <a:pt x="2069704" y="589360"/>
                  <a:pt x="2082800" y="593725"/>
                </a:cubicBezTo>
                <a:lnTo>
                  <a:pt x="2089150" y="612775"/>
                </a:lnTo>
                <a:cubicBezTo>
                  <a:pt x="2090570" y="617035"/>
                  <a:pt x="2083074" y="619425"/>
                  <a:pt x="2079625" y="622300"/>
                </a:cubicBezTo>
                <a:cubicBezTo>
                  <a:pt x="2071419" y="629139"/>
                  <a:pt x="2070121" y="628643"/>
                  <a:pt x="2060575" y="631825"/>
                </a:cubicBezTo>
                <a:cubicBezTo>
                  <a:pt x="2059517" y="635000"/>
                  <a:pt x="2058212" y="638103"/>
                  <a:pt x="2057400" y="641350"/>
                </a:cubicBezTo>
                <a:cubicBezTo>
                  <a:pt x="2056091" y="646585"/>
                  <a:pt x="2057362" y="652834"/>
                  <a:pt x="2054225" y="657225"/>
                </a:cubicBezTo>
                <a:cubicBezTo>
                  <a:pt x="2051474" y="661076"/>
                  <a:pt x="2045584" y="661140"/>
                  <a:pt x="2041525" y="663575"/>
                </a:cubicBezTo>
                <a:cubicBezTo>
                  <a:pt x="2034981" y="667502"/>
                  <a:pt x="2022475" y="676275"/>
                  <a:pt x="2022475" y="676275"/>
                </a:cubicBezTo>
                <a:cubicBezTo>
                  <a:pt x="2019965" y="680040"/>
                  <a:pt x="2007711" y="701120"/>
                  <a:pt x="2000250" y="704850"/>
                </a:cubicBezTo>
                <a:cubicBezTo>
                  <a:pt x="1995423" y="707263"/>
                  <a:pt x="1989610" y="706716"/>
                  <a:pt x="1984375" y="708025"/>
                </a:cubicBezTo>
                <a:cubicBezTo>
                  <a:pt x="1981128" y="708837"/>
                  <a:pt x="1978025" y="710142"/>
                  <a:pt x="1974850" y="711200"/>
                </a:cubicBezTo>
                <a:cubicBezTo>
                  <a:pt x="1964939" y="709961"/>
                  <a:pt x="1947929" y="711680"/>
                  <a:pt x="1939925" y="701675"/>
                </a:cubicBezTo>
                <a:cubicBezTo>
                  <a:pt x="1937834" y="699062"/>
                  <a:pt x="1937808" y="695325"/>
                  <a:pt x="1936750" y="692150"/>
                </a:cubicBezTo>
                <a:cubicBezTo>
                  <a:pt x="1924910" y="692939"/>
                  <a:pt x="1884531" y="694431"/>
                  <a:pt x="1866900" y="698500"/>
                </a:cubicBezTo>
                <a:cubicBezTo>
                  <a:pt x="1860378" y="700005"/>
                  <a:pt x="1847850" y="704850"/>
                  <a:pt x="1847850" y="704850"/>
                </a:cubicBezTo>
                <a:cubicBezTo>
                  <a:pt x="1822450" y="721783"/>
                  <a:pt x="1853142" y="699558"/>
                  <a:pt x="1831975" y="720725"/>
                </a:cubicBezTo>
                <a:cubicBezTo>
                  <a:pt x="1829277" y="723423"/>
                  <a:pt x="1825937" y="725525"/>
                  <a:pt x="1822450" y="727075"/>
                </a:cubicBezTo>
                <a:cubicBezTo>
                  <a:pt x="1802710" y="735848"/>
                  <a:pt x="1795123" y="734253"/>
                  <a:pt x="1771650" y="736600"/>
                </a:cubicBezTo>
                <a:cubicBezTo>
                  <a:pt x="1768320" y="737710"/>
                  <a:pt x="1753719" y="741649"/>
                  <a:pt x="1752600" y="746125"/>
                </a:cubicBezTo>
                <a:cubicBezTo>
                  <a:pt x="1751039" y="752370"/>
                  <a:pt x="1754512" y="758862"/>
                  <a:pt x="1755775" y="765175"/>
                </a:cubicBezTo>
                <a:cubicBezTo>
                  <a:pt x="1758174" y="777171"/>
                  <a:pt x="1761250" y="784776"/>
                  <a:pt x="1765300" y="796925"/>
                </a:cubicBezTo>
                <a:lnTo>
                  <a:pt x="1768475" y="806450"/>
                </a:lnTo>
                <a:cubicBezTo>
                  <a:pt x="1772414" y="818268"/>
                  <a:pt x="1770057" y="827074"/>
                  <a:pt x="1774825" y="838200"/>
                </a:cubicBezTo>
                <a:cubicBezTo>
                  <a:pt x="1776328" y="841707"/>
                  <a:pt x="1778957" y="844620"/>
                  <a:pt x="1781175" y="847725"/>
                </a:cubicBezTo>
                <a:cubicBezTo>
                  <a:pt x="1804956" y="881019"/>
                  <a:pt x="1777148" y="842257"/>
                  <a:pt x="1800225" y="869950"/>
                </a:cubicBezTo>
                <a:cubicBezTo>
                  <a:pt x="1814320" y="886864"/>
                  <a:pt x="1800204" y="871817"/>
                  <a:pt x="1809750" y="889000"/>
                </a:cubicBezTo>
                <a:cubicBezTo>
                  <a:pt x="1813456" y="895671"/>
                  <a:pt x="1818217" y="901700"/>
                  <a:pt x="1822450" y="908050"/>
                </a:cubicBezTo>
                <a:cubicBezTo>
                  <a:pt x="1824306" y="910835"/>
                  <a:pt x="1824128" y="914582"/>
                  <a:pt x="1825625" y="917575"/>
                </a:cubicBezTo>
                <a:cubicBezTo>
                  <a:pt x="1827332" y="920988"/>
                  <a:pt x="1829858" y="923925"/>
                  <a:pt x="1831975" y="927100"/>
                </a:cubicBezTo>
                <a:cubicBezTo>
                  <a:pt x="1833033" y="931333"/>
                  <a:pt x="1833951" y="935604"/>
                  <a:pt x="1835150" y="939800"/>
                </a:cubicBezTo>
                <a:cubicBezTo>
                  <a:pt x="1836069" y="943018"/>
                  <a:pt x="1837513" y="946078"/>
                  <a:pt x="1838325" y="949325"/>
                </a:cubicBezTo>
                <a:cubicBezTo>
                  <a:pt x="1839634" y="954560"/>
                  <a:pt x="1838823" y="960515"/>
                  <a:pt x="1841500" y="965200"/>
                </a:cubicBezTo>
                <a:cubicBezTo>
                  <a:pt x="1843393" y="968513"/>
                  <a:pt x="1847850" y="969433"/>
                  <a:pt x="1851025" y="971550"/>
                </a:cubicBezTo>
                <a:cubicBezTo>
                  <a:pt x="1847850" y="974725"/>
                  <a:pt x="1844949" y="978200"/>
                  <a:pt x="1841500" y="981075"/>
                </a:cubicBezTo>
                <a:cubicBezTo>
                  <a:pt x="1838569" y="983518"/>
                  <a:pt x="1832448" y="983639"/>
                  <a:pt x="1831975" y="987425"/>
                </a:cubicBezTo>
                <a:cubicBezTo>
                  <a:pt x="1829748" y="1005241"/>
                  <a:pt x="1840298" y="1005427"/>
                  <a:pt x="1847850" y="1016000"/>
                </a:cubicBezTo>
                <a:cubicBezTo>
                  <a:pt x="1863377" y="1037738"/>
                  <a:pt x="1845552" y="1020227"/>
                  <a:pt x="1860550" y="1038225"/>
                </a:cubicBezTo>
                <a:cubicBezTo>
                  <a:pt x="1873199" y="1053404"/>
                  <a:pt x="1865977" y="1042748"/>
                  <a:pt x="1879600" y="1054100"/>
                </a:cubicBezTo>
                <a:cubicBezTo>
                  <a:pt x="1883049" y="1056975"/>
                  <a:pt x="1885950" y="1060450"/>
                  <a:pt x="1889125" y="1063625"/>
                </a:cubicBezTo>
                <a:cubicBezTo>
                  <a:pt x="1872192" y="1089025"/>
                  <a:pt x="1894417" y="1058333"/>
                  <a:pt x="1873250" y="1079500"/>
                </a:cubicBezTo>
                <a:cubicBezTo>
                  <a:pt x="1852083" y="1100667"/>
                  <a:pt x="1882775" y="1078442"/>
                  <a:pt x="1857375" y="1095375"/>
                </a:cubicBezTo>
                <a:cubicBezTo>
                  <a:pt x="1860263" y="1124251"/>
                  <a:pt x="1853339" y="1122703"/>
                  <a:pt x="1870075" y="1136650"/>
                </a:cubicBezTo>
                <a:cubicBezTo>
                  <a:pt x="1873006" y="1139093"/>
                  <a:pt x="1876425" y="1140883"/>
                  <a:pt x="1879600" y="1143000"/>
                </a:cubicBezTo>
                <a:cubicBezTo>
                  <a:pt x="1881717" y="1146175"/>
                  <a:pt x="1884243" y="1149112"/>
                  <a:pt x="1885950" y="1152525"/>
                </a:cubicBezTo>
                <a:cubicBezTo>
                  <a:pt x="1889206" y="1159038"/>
                  <a:pt x="1891160" y="1165062"/>
                  <a:pt x="1885950" y="1171575"/>
                </a:cubicBezTo>
                <a:cubicBezTo>
                  <a:pt x="1883566" y="1174555"/>
                  <a:pt x="1879356" y="1175482"/>
                  <a:pt x="1876425" y="1177925"/>
                </a:cubicBezTo>
                <a:cubicBezTo>
                  <a:pt x="1872976" y="1180800"/>
                  <a:pt x="1870075" y="1184275"/>
                  <a:pt x="1866900" y="1187450"/>
                </a:cubicBezTo>
                <a:cubicBezTo>
                  <a:pt x="1874880" y="1211391"/>
                  <a:pt x="1864115" y="1181881"/>
                  <a:pt x="1876425" y="1206500"/>
                </a:cubicBezTo>
                <a:cubicBezTo>
                  <a:pt x="1877922" y="1209493"/>
                  <a:pt x="1878542" y="1212850"/>
                  <a:pt x="1879600" y="1216025"/>
                </a:cubicBezTo>
                <a:cubicBezTo>
                  <a:pt x="1876425" y="1219200"/>
                  <a:pt x="1872256" y="1221625"/>
                  <a:pt x="1870075" y="1225550"/>
                </a:cubicBezTo>
                <a:cubicBezTo>
                  <a:pt x="1866824" y="1231401"/>
                  <a:pt x="1865842" y="1238250"/>
                  <a:pt x="1863725" y="1244600"/>
                </a:cubicBezTo>
                <a:lnTo>
                  <a:pt x="1857375" y="1263650"/>
                </a:lnTo>
                <a:cubicBezTo>
                  <a:pt x="1854962" y="1270890"/>
                  <a:pt x="1848908" y="1276350"/>
                  <a:pt x="1844675" y="1282700"/>
                </a:cubicBezTo>
                <a:cubicBezTo>
                  <a:pt x="1841158" y="1287976"/>
                  <a:pt x="1831058" y="1290414"/>
                  <a:pt x="1825625" y="1292225"/>
                </a:cubicBezTo>
                <a:cubicBezTo>
                  <a:pt x="1818217" y="1291167"/>
                  <a:pt x="1810884" y="1289050"/>
                  <a:pt x="1803400" y="1289050"/>
                </a:cubicBezTo>
                <a:cubicBezTo>
                  <a:pt x="1796962" y="1289050"/>
                  <a:pt x="1790595" y="1290664"/>
                  <a:pt x="1784350" y="1292225"/>
                </a:cubicBezTo>
                <a:lnTo>
                  <a:pt x="1755775" y="1301750"/>
                </a:lnTo>
                <a:cubicBezTo>
                  <a:pt x="1745685" y="1305113"/>
                  <a:pt x="1734608" y="1303867"/>
                  <a:pt x="1724025" y="1304925"/>
                </a:cubicBezTo>
                <a:cubicBezTo>
                  <a:pt x="1717675" y="1307042"/>
                  <a:pt x="1709708" y="1306542"/>
                  <a:pt x="1704975" y="1311275"/>
                </a:cubicBezTo>
                <a:cubicBezTo>
                  <a:pt x="1692752" y="1323498"/>
                  <a:pt x="1699186" y="1318309"/>
                  <a:pt x="1685925" y="1327150"/>
                </a:cubicBezTo>
                <a:cubicBezTo>
                  <a:pt x="1684867" y="1330325"/>
                  <a:pt x="1682750" y="1333328"/>
                  <a:pt x="1682750" y="1336675"/>
                </a:cubicBezTo>
                <a:cubicBezTo>
                  <a:pt x="1682750" y="1344756"/>
                  <a:pt x="1691583" y="1353744"/>
                  <a:pt x="1695450" y="1358900"/>
                </a:cubicBezTo>
                <a:cubicBezTo>
                  <a:pt x="1703430" y="1382841"/>
                  <a:pt x="1692665" y="1353331"/>
                  <a:pt x="1704975" y="1377950"/>
                </a:cubicBezTo>
                <a:cubicBezTo>
                  <a:pt x="1706472" y="1380943"/>
                  <a:pt x="1707092" y="1384300"/>
                  <a:pt x="1708150" y="1387475"/>
                </a:cubicBezTo>
                <a:cubicBezTo>
                  <a:pt x="1706507" y="1397331"/>
                  <a:pt x="1707266" y="1408849"/>
                  <a:pt x="1698625" y="1416050"/>
                </a:cubicBezTo>
                <a:cubicBezTo>
                  <a:pt x="1694989" y="1419080"/>
                  <a:pt x="1690158" y="1420283"/>
                  <a:pt x="1685925" y="1422400"/>
                </a:cubicBezTo>
                <a:cubicBezTo>
                  <a:pt x="1684867" y="1425575"/>
                  <a:pt x="1684606" y="1429140"/>
                  <a:pt x="1682750" y="1431925"/>
                </a:cubicBezTo>
                <a:cubicBezTo>
                  <a:pt x="1680259" y="1435661"/>
                  <a:pt x="1674314" y="1437094"/>
                  <a:pt x="1673225" y="1441450"/>
                </a:cubicBezTo>
                <a:cubicBezTo>
                  <a:pt x="1669913" y="1454698"/>
                  <a:pt x="1678523" y="1457339"/>
                  <a:pt x="1682750" y="1466850"/>
                </a:cubicBezTo>
                <a:cubicBezTo>
                  <a:pt x="1685468" y="1472967"/>
                  <a:pt x="1686983" y="1479550"/>
                  <a:pt x="1689100" y="1485900"/>
                </a:cubicBezTo>
                <a:lnTo>
                  <a:pt x="1698625" y="1514475"/>
                </a:lnTo>
                <a:cubicBezTo>
                  <a:pt x="1702902" y="1527305"/>
                  <a:pt x="1701200" y="1529210"/>
                  <a:pt x="1704975" y="1543050"/>
                </a:cubicBezTo>
                <a:cubicBezTo>
                  <a:pt x="1717060" y="1587361"/>
                  <a:pt x="1706765" y="1539298"/>
                  <a:pt x="1714500" y="1577975"/>
                </a:cubicBezTo>
                <a:cubicBezTo>
                  <a:pt x="1710586" y="1613203"/>
                  <a:pt x="1714356" y="1597458"/>
                  <a:pt x="1704975" y="1625600"/>
                </a:cubicBezTo>
                <a:cubicBezTo>
                  <a:pt x="1703768" y="1629220"/>
                  <a:pt x="1698625" y="1629833"/>
                  <a:pt x="1695450" y="1631950"/>
                </a:cubicBezTo>
                <a:cubicBezTo>
                  <a:pt x="1691217" y="1630892"/>
                  <a:pt x="1686946" y="1629974"/>
                  <a:pt x="1682750" y="1628775"/>
                </a:cubicBezTo>
                <a:cubicBezTo>
                  <a:pt x="1679532" y="1627856"/>
                  <a:pt x="1676572" y="1625600"/>
                  <a:pt x="1673225" y="1625600"/>
                </a:cubicBezTo>
                <a:cubicBezTo>
                  <a:pt x="1661535" y="1625600"/>
                  <a:pt x="1649942" y="1627717"/>
                  <a:pt x="1638300" y="1628775"/>
                </a:cubicBezTo>
                <a:cubicBezTo>
                  <a:pt x="1633008" y="1627717"/>
                  <a:pt x="1627660" y="1626909"/>
                  <a:pt x="1622425" y="1625600"/>
                </a:cubicBezTo>
                <a:cubicBezTo>
                  <a:pt x="1619178" y="1624788"/>
                  <a:pt x="1616247" y="1622425"/>
                  <a:pt x="1612900" y="1622425"/>
                </a:cubicBezTo>
                <a:cubicBezTo>
                  <a:pt x="1605416" y="1622425"/>
                  <a:pt x="1598083" y="1624542"/>
                  <a:pt x="1590675" y="1625600"/>
                </a:cubicBezTo>
                <a:cubicBezTo>
                  <a:pt x="1587500" y="1626658"/>
                  <a:pt x="1583517" y="1626408"/>
                  <a:pt x="1581150" y="1628775"/>
                </a:cubicBezTo>
                <a:cubicBezTo>
                  <a:pt x="1578783" y="1631142"/>
                  <a:pt x="1579472" y="1635307"/>
                  <a:pt x="1577975" y="1638300"/>
                </a:cubicBezTo>
                <a:cubicBezTo>
                  <a:pt x="1576268" y="1641713"/>
                  <a:pt x="1573332" y="1644412"/>
                  <a:pt x="1571625" y="1647825"/>
                </a:cubicBezTo>
                <a:cubicBezTo>
                  <a:pt x="1566567" y="1657942"/>
                  <a:pt x="1569098" y="1669726"/>
                  <a:pt x="1555750" y="1676400"/>
                </a:cubicBezTo>
                <a:cubicBezTo>
                  <a:pt x="1551517" y="1678517"/>
                  <a:pt x="1547109" y="1680315"/>
                  <a:pt x="1543050" y="1682750"/>
                </a:cubicBezTo>
                <a:cubicBezTo>
                  <a:pt x="1536506" y="1686677"/>
                  <a:pt x="1524000" y="1695450"/>
                  <a:pt x="1524000" y="1695450"/>
                </a:cubicBezTo>
                <a:cubicBezTo>
                  <a:pt x="1521883" y="1698625"/>
                  <a:pt x="1520630" y="1702591"/>
                  <a:pt x="1517650" y="1704975"/>
                </a:cubicBezTo>
                <a:cubicBezTo>
                  <a:pt x="1515037" y="1707066"/>
                  <a:pt x="1511118" y="1706653"/>
                  <a:pt x="1508125" y="1708150"/>
                </a:cubicBezTo>
                <a:cubicBezTo>
                  <a:pt x="1504712" y="1709857"/>
                  <a:pt x="1502087" y="1712950"/>
                  <a:pt x="1498600" y="1714500"/>
                </a:cubicBezTo>
                <a:cubicBezTo>
                  <a:pt x="1492483" y="1717218"/>
                  <a:pt x="1485900" y="1718733"/>
                  <a:pt x="1479550" y="1720850"/>
                </a:cubicBezTo>
                <a:lnTo>
                  <a:pt x="1470025" y="1724025"/>
                </a:lnTo>
                <a:lnTo>
                  <a:pt x="1460500" y="1727200"/>
                </a:lnTo>
                <a:cubicBezTo>
                  <a:pt x="1457325" y="1729317"/>
                  <a:pt x="1454462" y="1732000"/>
                  <a:pt x="1450975" y="1733550"/>
                </a:cubicBezTo>
                <a:cubicBezTo>
                  <a:pt x="1444858" y="1736268"/>
                  <a:pt x="1431925" y="1739900"/>
                  <a:pt x="1431925" y="1739900"/>
                </a:cubicBezTo>
                <a:cubicBezTo>
                  <a:pt x="1426517" y="1743506"/>
                  <a:pt x="1413638" y="1751837"/>
                  <a:pt x="1409700" y="1755775"/>
                </a:cubicBezTo>
                <a:cubicBezTo>
                  <a:pt x="1407002" y="1758473"/>
                  <a:pt x="1405467" y="1762125"/>
                  <a:pt x="1403350" y="1765300"/>
                </a:cubicBezTo>
                <a:cubicBezTo>
                  <a:pt x="1381933" y="1743883"/>
                  <a:pt x="1392819" y="1749090"/>
                  <a:pt x="1374775" y="1743075"/>
                </a:cubicBezTo>
                <a:cubicBezTo>
                  <a:pt x="1358900" y="1744133"/>
                  <a:pt x="1342973" y="1744584"/>
                  <a:pt x="1327150" y="1746250"/>
                </a:cubicBezTo>
                <a:cubicBezTo>
                  <a:pt x="1322810" y="1746707"/>
                  <a:pt x="1318081" y="1747004"/>
                  <a:pt x="1314450" y="1749425"/>
                </a:cubicBezTo>
                <a:cubicBezTo>
                  <a:pt x="1309174" y="1752942"/>
                  <a:pt x="1306736" y="1763042"/>
                  <a:pt x="1304925" y="1768475"/>
                </a:cubicBezTo>
                <a:cubicBezTo>
                  <a:pt x="1309413" y="1790914"/>
                  <a:pt x="1306393" y="1779230"/>
                  <a:pt x="1314450" y="1803400"/>
                </a:cubicBezTo>
                <a:lnTo>
                  <a:pt x="1317625" y="1812925"/>
                </a:lnTo>
                <a:cubicBezTo>
                  <a:pt x="1315508" y="1816100"/>
                  <a:pt x="1313973" y="1819752"/>
                  <a:pt x="1311275" y="1822450"/>
                </a:cubicBezTo>
                <a:cubicBezTo>
                  <a:pt x="1308577" y="1825148"/>
                  <a:pt x="1305536" y="1828327"/>
                  <a:pt x="1301750" y="1828800"/>
                </a:cubicBezTo>
                <a:cubicBezTo>
                  <a:pt x="1296177" y="1829497"/>
                  <a:pt x="1282570" y="1824523"/>
                  <a:pt x="1276350" y="1822450"/>
                </a:cubicBezTo>
                <a:lnTo>
                  <a:pt x="1257300" y="1809750"/>
                </a:lnTo>
                <a:cubicBezTo>
                  <a:pt x="1254125" y="1807633"/>
                  <a:pt x="1251395" y="1804607"/>
                  <a:pt x="1247775" y="1803400"/>
                </a:cubicBezTo>
                <a:lnTo>
                  <a:pt x="1238250" y="1800225"/>
                </a:lnTo>
                <a:cubicBezTo>
                  <a:pt x="1235779" y="1797754"/>
                  <a:pt x="1222928" y="1786148"/>
                  <a:pt x="1222375" y="1781175"/>
                </a:cubicBezTo>
                <a:cubicBezTo>
                  <a:pt x="1222360" y="1781039"/>
                  <a:pt x="1225459" y="1756683"/>
                  <a:pt x="1228725" y="1752600"/>
                </a:cubicBezTo>
                <a:cubicBezTo>
                  <a:pt x="1231717" y="1748860"/>
                  <a:pt x="1247825" y="1741462"/>
                  <a:pt x="1250950" y="1739900"/>
                </a:cubicBezTo>
                <a:cubicBezTo>
                  <a:pt x="1254161" y="1735084"/>
                  <a:pt x="1260475" y="1727423"/>
                  <a:pt x="1260475" y="1720850"/>
                </a:cubicBezTo>
                <a:cubicBezTo>
                  <a:pt x="1260475" y="1715454"/>
                  <a:pt x="1259195" y="1710028"/>
                  <a:pt x="1257300" y="1704975"/>
                </a:cubicBezTo>
                <a:cubicBezTo>
                  <a:pt x="1255960" y="1701402"/>
                  <a:pt x="1252500" y="1698937"/>
                  <a:pt x="1250950" y="1695450"/>
                </a:cubicBezTo>
                <a:cubicBezTo>
                  <a:pt x="1248232" y="1689333"/>
                  <a:pt x="1246717" y="1682750"/>
                  <a:pt x="1244600" y="1676400"/>
                </a:cubicBezTo>
                <a:lnTo>
                  <a:pt x="1241425" y="1666875"/>
                </a:lnTo>
                <a:cubicBezTo>
                  <a:pt x="1242483" y="1662642"/>
                  <a:pt x="1242179" y="1657806"/>
                  <a:pt x="1244600" y="1654175"/>
                </a:cubicBezTo>
                <a:cubicBezTo>
                  <a:pt x="1248668" y="1648073"/>
                  <a:pt x="1257734" y="1647186"/>
                  <a:pt x="1263650" y="1644650"/>
                </a:cubicBezTo>
                <a:cubicBezTo>
                  <a:pt x="1268000" y="1642786"/>
                  <a:pt x="1272117" y="1640417"/>
                  <a:pt x="1276350" y="1638300"/>
                </a:cubicBezTo>
                <a:cubicBezTo>
                  <a:pt x="1278467" y="1635125"/>
                  <a:pt x="1282073" y="1632539"/>
                  <a:pt x="1282700" y="1628775"/>
                </a:cubicBezTo>
                <a:cubicBezTo>
                  <a:pt x="1283250" y="1625474"/>
                  <a:pt x="1281022" y="1622243"/>
                  <a:pt x="1279525" y="1619250"/>
                </a:cubicBezTo>
                <a:cubicBezTo>
                  <a:pt x="1276941" y="1614082"/>
                  <a:pt x="1268511" y="1602901"/>
                  <a:pt x="1263650" y="1600200"/>
                </a:cubicBezTo>
                <a:cubicBezTo>
                  <a:pt x="1247164" y="1591041"/>
                  <a:pt x="1223370" y="1592081"/>
                  <a:pt x="1206500" y="1590675"/>
                </a:cubicBezTo>
                <a:cubicBezTo>
                  <a:pt x="1203982" y="1586898"/>
                  <a:pt x="1195408" y="1572688"/>
                  <a:pt x="1190625" y="1571625"/>
                </a:cubicBezTo>
                <a:cubicBezTo>
                  <a:pt x="1184341" y="1570228"/>
                  <a:pt x="1177925" y="1573742"/>
                  <a:pt x="1171575" y="1574800"/>
                </a:cubicBezTo>
                <a:cubicBezTo>
                  <a:pt x="1168400" y="1575858"/>
                  <a:pt x="1165157" y="1579218"/>
                  <a:pt x="1162050" y="1577975"/>
                </a:cubicBezTo>
                <a:cubicBezTo>
                  <a:pt x="1158507" y="1576558"/>
                  <a:pt x="1155954" y="1572257"/>
                  <a:pt x="1155700" y="1568450"/>
                </a:cubicBezTo>
                <a:cubicBezTo>
                  <a:pt x="1154852" y="1555734"/>
                  <a:pt x="1157468" y="1543016"/>
                  <a:pt x="1158875" y="1530350"/>
                </a:cubicBezTo>
                <a:cubicBezTo>
                  <a:pt x="1159586" y="1523952"/>
                  <a:pt x="1161071" y="1517663"/>
                  <a:pt x="1162050" y="1511300"/>
                </a:cubicBezTo>
                <a:cubicBezTo>
                  <a:pt x="1163350" y="1502850"/>
                  <a:pt x="1163909" y="1488533"/>
                  <a:pt x="1168400" y="1479550"/>
                </a:cubicBezTo>
                <a:cubicBezTo>
                  <a:pt x="1180710" y="1454931"/>
                  <a:pt x="1169945" y="1484441"/>
                  <a:pt x="1177925" y="1460500"/>
                </a:cubicBezTo>
                <a:cubicBezTo>
                  <a:pt x="1175343" y="1452753"/>
                  <a:pt x="1174555" y="1447605"/>
                  <a:pt x="1168400" y="1441450"/>
                </a:cubicBezTo>
                <a:cubicBezTo>
                  <a:pt x="1165702" y="1438752"/>
                  <a:pt x="1162288" y="1436807"/>
                  <a:pt x="1158875" y="1435100"/>
                </a:cubicBezTo>
                <a:cubicBezTo>
                  <a:pt x="1155882" y="1433603"/>
                  <a:pt x="1152525" y="1432983"/>
                  <a:pt x="1149350" y="1431925"/>
                </a:cubicBezTo>
                <a:cubicBezTo>
                  <a:pt x="1127515" y="1417369"/>
                  <a:pt x="1132713" y="1426465"/>
                  <a:pt x="1127125" y="1409700"/>
                </a:cubicBezTo>
                <a:cubicBezTo>
                  <a:pt x="1130174" y="1405126"/>
                  <a:pt x="1139205" y="1397011"/>
                  <a:pt x="1130300" y="1390650"/>
                </a:cubicBezTo>
                <a:cubicBezTo>
                  <a:pt x="1124853" y="1386759"/>
                  <a:pt x="1111250" y="1384300"/>
                  <a:pt x="1111250" y="1384300"/>
                </a:cubicBezTo>
                <a:cubicBezTo>
                  <a:pt x="1097975" y="1375450"/>
                  <a:pt x="1092001" y="1373266"/>
                  <a:pt x="1082675" y="1362075"/>
                </a:cubicBezTo>
                <a:cubicBezTo>
                  <a:pt x="1071301" y="1348426"/>
                  <a:pt x="1080310" y="1357344"/>
                  <a:pt x="1073150" y="1343025"/>
                </a:cubicBezTo>
                <a:cubicBezTo>
                  <a:pt x="1071443" y="1339612"/>
                  <a:pt x="1068917" y="1336675"/>
                  <a:pt x="1066800" y="1333500"/>
                </a:cubicBezTo>
                <a:cubicBezTo>
                  <a:pt x="1064002" y="1308319"/>
                  <a:pt x="1061319" y="1307801"/>
                  <a:pt x="1066800" y="1285875"/>
                </a:cubicBezTo>
                <a:cubicBezTo>
                  <a:pt x="1068423" y="1279381"/>
                  <a:pt x="1073150" y="1266825"/>
                  <a:pt x="1073150" y="1266825"/>
                </a:cubicBezTo>
                <a:cubicBezTo>
                  <a:pt x="1072092" y="1261533"/>
                  <a:pt x="1071870" y="1256003"/>
                  <a:pt x="1069975" y="1250950"/>
                </a:cubicBezTo>
                <a:cubicBezTo>
                  <a:pt x="1067650" y="1244749"/>
                  <a:pt x="1060659" y="1237043"/>
                  <a:pt x="1054100" y="1235075"/>
                </a:cubicBezTo>
                <a:cubicBezTo>
                  <a:pt x="1046932" y="1232925"/>
                  <a:pt x="1039257" y="1233130"/>
                  <a:pt x="1031875" y="1231900"/>
                </a:cubicBezTo>
                <a:cubicBezTo>
                  <a:pt x="1019783" y="1229885"/>
                  <a:pt x="1014717" y="1228404"/>
                  <a:pt x="1003300" y="1225550"/>
                </a:cubicBezTo>
                <a:cubicBezTo>
                  <a:pt x="998938" y="1219007"/>
                  <a:pt x="983716" y="1207034"/>
                  <a:pt x="993775" y="1196975"/>
                </a:cubicBezTo>
                <a:cubicBezTo>
                  <a:pt x="996142" y="1194608"/>
                  <a:pt x="1000125" y="1194858"/>
                  <a:pt x="1003300" y="1193800"/>
                </a:cubicBezTo>
                <a:cubicBezTo>
                  <a:pt x="1016860" y="1173460"/>
                  <a:pt x="1020307" y="1177464"/>
                  <a:pt x="1012825" y="1152525"/>
                </a:cubicBezTo>
                <a:cubicBezTo>
                  <a:pt x="1011729" y="1148870"/>
                  <a:pt x="1009711" y="1145022"/>
                  <a:pt x="1006475" y="1143000"/>
                </a:cubicBezTo>
                <a:cubicBezTo>
                  <a:pt x="1000799" y="1139452"/>
                  <a:pt x="987425" y="1136650"/>
                  <a:pt x="987425" y="1136650"/>
                </a:cubicBezTo>
                <a:cubicBezTo>
                  <a:pt x="983105" y="1123691"/>
                  <a:pt x="983132" y="1129452"/>
                  <a:pt x="987425" y="1114425"/>
                </a:cubicBezTo>
                <a:cubicBezTo>
                  <a:pt x="988344" y="1111207"/>
                  <a:pt x="988509" y="1107513"/>
                  <a:pt x="990600" y="1104900"/>
                </a:cubicBezTo>
                <a:cubicBezTo>
                  <a:pt x="992984" y="1101920"/>
                  <a:pt x="996950" y="1100667"/>
                  <a:pt x="1000125" y="1098550"/>
                </a:cubicBezTo>
                <a:cubicBezTo>
                  <a:pt x="1018117" y="1071563"/>
                  <a:pt x="988483" y="1113367"/>
                  <a:pt x="1025525" y="1076325"/>
                </a:cubicBezTo>
                <a:cubicBezTo>
                  <a:pt x="1037748" y="1064102"/>
                  <a:pt x="1032559" y="1070536"/>
                  <a:pt x="1041400" y="1057275"/>
                </a:cubicBezTo>
                <a:cubicBezTo>
                  <a:pt x="1041747" y="1051728"/>
                  <a:pt x="1048590" y="1003602"/>
                  <a:pt x="1041400" y="987425"/>
                </a:cubicBezTo>
                <a:cubicBezTo>
                  <a:pt x="1039576" y="983322"/>
                  <a:pt x="1035050" y="981075"/>
                  <a:pt x="1031875" y="977900"/>
                </a:cubicBezTo>
                <a:cubicBezTo>
                  <a:pt x="1025525" y="978958"/>
                  <a:pt x="1018932" y="979039"/>
                  <a:pt x="1012825" y="981075"/>
                </a:cubicBezTo>
                <a:cubicBezTo>
                  <a:pt x="1001462" y="984863"/>
                  <a:pt x="1004080" y="988929"/>
                  <a:pt x="996950" y="996950"/>
                </a:cubicBezTo>
                <a:cubicBezTo>
                  <a:pt x="990984" y="1003662"/>
                  <a:pt x="984250" y="1009650"/>
                  <a:pt x="977900" y="1016000"/>
                </a:cubicBezTo>
                <a:lnTo>
                  <a:pt x="949325" y="1035050"/>
                </a:lnTo>
                <a:cubicBezTo>
                  <a:pt x="943756" y="1038763"/>
                  <a:pt x="930275" y="1041400"/>
                  <a:pt x="930275" y="1041400"/>
                </a:cubicBezTo>
                <a:cubicBezTo>
                  <a:pt x="927100" y="1043517"/>
                  <a:pt x="924163" y="1046043"/>
                  <a:pt x="920750" y="1047750"/>
                </a:cubicBezTo>
                <a:cubicBezTo>
                  <a:pt x="914241" y="1051004"/>
                  <a:pt x="901388" y="1052892"/>
                  <a:pt x="895350" y="1054100"/>
                </a:cubicBezTo>
                <a:cubicBezTo>
                  <a:pt x="892175" y="1053042"/>
                  <a:pt x="888438" y="1053016"/>
                  <a:pt x="885825" y="1050925"/>
                </a:cubicBezTo>
                <a:cubicBezTo>
                  <a:pt x="882845" y="1048541"/>
                  <a:pt x="880129" y="1045159"/>
                  <a:pt x="879475" y="1041400"/>
                </a:cubicBezTo>
                <a:cubicBezTo>
                  <a:pt x="875830" y="1020442"/>
                  <a:pt x="875242" y="999067"/>
                  <a:pt x="873125" y="977900"/>
                </a:cubicBezTo>
                <a:cubicBezTo>
                  <a:pt x="873116" y="977808"/>
                  <a:pt x="868279" y="957179"/>
                  <a:pt x="866775" y="955675"/>
                </a:cubicBezTo>
                <a:cubicBezTo>
                  <a:pt x="864408" y="953308"/>
                  <a:pt x="860425" y="953558"/>
                  <a:pt x="857250" y="952500"/>
                </a:cubicBezTo>
                <a:cubicBezTo>
                  <a:pt x="848783" y="953558"/>
                  <a:pt x="840245" y="954149"/>
                  <a:pt x="831850" y="955675"/>
                </a:cubicBezTo>
                <a:cubicBezTo>
                  <a:pt x="819309" y="957955"/>
                  <a:pt x="824421" y="959390"/>
                  <a:pt x="812800" y="965200"/>
                </a:cubicBezTo>
                <a:cubicBezTo>
                  <a:pt x="809807" y="966697"/>
                  <a:pt x="806450" y="967317"/>
                  <a:pt x="803275" y="968375"/>
                </a:cubicBezTo>
                <a:cubicBezTo>
                  <a:pt x="798459" y="965164"/>
                  <a:pt x="790798" y="958850"/>
                  <a:pt x="784225" y="958850"/>
                </a:cubicBezTo>
                <a:cubicBezTo>
                  <a:pt x="777787" y="958850"/>
                  <a:pt x="771525" y="960967"/>
                  <a:pt x="765175" y="962025"/>
                </a:cubicBezTo>
                <a:lnTo>
                  <a:pt x="755650" y="990600"/>
                </a:lnTo>
                <a:cubicBezTo>
                  <a:pt x="754592" y="993775"/>
                  <a:pt x="755650" y="999067"/>
                  <a:pt x="752475" y="1000125"/>
                </a:cubicBezTo>
                <a:lnTo>
                  <a:pt x="742950" y="1003300"/>
                </a:lnTo>
                <a:cubicBezTo>
                  <a:pt x="739775" y="1005417"/>
                  <a:pt x="737228" y="1009333"/>
                  <a:pt x="733425" y="1009650"/>
                </a:cubicBezTo>
                <a:cubicBezTo>
                  <a:pt x="716411" y="1011068"/>
                  <a:pt x="708743" y="1007773"/>
                  <a:pt x="695325" y="1003300"/>
                </a:cubicBezTo>
                <a:cubicBezTo>
                  <a:pt x="693208" y="1006475"/>
                  <a:pt x="689602" y="1009061"/>
                  <a:pt x="688975" y="1012825"/>
                </a:cubicBezTo>
                <a:cubicBezTo>
                  <a:pt x="688425" y="1016126"/>
                  <a:pt x="689783" y="1019983"/>
                  <a:pt x="692150" y="1022350"/>
                </a:cubicBezTo>
                <a:cubicBezTo>
                  <a:pt x="697546" y="1027746"/>
                  <a:pt x="704850" y="1030817"/>
                  <a:pt x="711200" y="1035050"/>
                </a:cubicBezTo>
                <a:cubicBezTo>
                  <a:pt x="723510" y="1043256"/>
                  <a:pt x="717105" y="1040193"/>
                  <a:pt x="730250" y="1044575"/>
                </a:cubicBezTo>
                <a:cubicBezTo>
                  <a:pt x="745441" y="1067361"/>
                  <a:pt x="737554" y="1058229"/>
                  <a:pt x="752475" y="1073150"/>
                </a:cubicBezTo>
                <a:cubicBezTo>
                  <a:pt x="753533" y="1076325"/>
                  <a:pt x="754924" y="1079408"/>
                  <a:pt x="755650" y="1082675"/>
                </a:cubicBezTo>
                <a:cubicBezTo>
                  <a:pt x="757047" y="1088959"/>
                  <a:pt x="757562" y="1095412"/>
                  <a:pt x="758825" y="1101725"/>
                </a:cubicBezTo>
                <a:cubicBezTo>
                  <a:pt x="759681" y="1106004"/>
                  <a:pt x="760942" y="1110192"/>
                  <a:pt x="762000" y="1114425"/>
                </a:cubicBezTo>
                <a:cubicBezTo>
                  <a:pt x="760296" y="1122945"/>
                  <a:pt x="757079" y="1142444"/>
                  <a:pt x="752475" y="1149350"/>
                </a:cubicBezTo>
                <a:lnTo>
                  <a:pt x="746125" y="1158875"/>
                </a:lnTo>
                <a:cubicBezTo>
                  <a:pt x="744227" y="1168365"/>
                  <a:pt x="739917" y="1178137"/>
                  <a:pt x="746125" y="1187450"/>
                </a:cubicBezTo>
                <a:cubicBezTo>
                  <a:pt x="748242" y="1190625"/>
                  <a:pt x="752475" y="1191683"/>
                  <a:pt x="755650" y="1193800"/>
                </a:cubicBezTo>
                <a:cubicBezTo>
                  <a:pt x="756708" y="1196975"/>
                  <a:pt x="758825" y="1199978"/>
                  <a:pt x="758825" y="1203325"/>
                </a:cubicBezTo>
                <a:cubicBezTo>
                  <a:pt x="758825" y="1210612"/>
                  <a:pt x="754485" y="1220365"/>
                  <a:pt x="749300" y="1225550"/>
                </a:cubicBezTo>
                <a:cubicBezTo>
                  <a:pt x="746602" y="1228248"/>
                  <a:pt x="742950" y="1229783"/>
                  <a:pt x="739775" y="1231900"/>
                </a:cubicBezTo>
                <a:cubicBezTo>
                  <a:pt x="737658" y="1235075"/>
                  <a:pt x="736968" y="1240008"/>
                  <a:pt x="733425" y="1241425"/>
                </a:cubicBezTo>
                <a:cubicBezTo>
                  <a:pt x="730318" y="1242668"/>
                  <a:pt x="726826" y="1239875"/>
                  <a:pt x="723900" y="1238250"/>
                </a:cubicBezTo>
                <a:cubicBezTo>
                  <a:pt x="717229" y="1234544"/>
                  <a:pt x="704850" y="1225550"/>
                  <a:pt x="704850" y="1225550"/>
                </a:cubicBezTo>
                <a:cubicBezTo>
                  <a:pt x="691092" y="1226608"/>
                  <a:pt x="677205" y="1226573"/>
                  <a:pt x="663575" y="1228725"/>
                </a:cubicBezTo>
                <a:cubicBezTo>
                  <a:pt x="656963" y="1229769"/>
                  <a:pt x="644525" y="1235075"/>
                  <a:pt x="644525" y="1235075"/>
                </a:cubicBezTo>
                <a:cubicBezTo>
                  <a:pt x="641350" y="1238250"/>
                  <a:pt x="638449" y="1241725"/>
                  <a:pt x="635000" y="1244600"/>
                </a:cubicBezTo>
                <a:cubicBezTo>
                  <a:pt x="632069" y="1247043"/>
                  <a:pt x="628173" y="1248252"/>
                  <a:pt x="625475" y="1250950"/>
                </a:cubicBezTo>
                <a:cubicBezTo>
                  <a:pt x="611114" y="1265311"/>
                  <a:pt x="628143" y="1257469"/>
                  <a:pt x="609600" y="1263650"/>
                </a:cubicBezTo>
                <a:cubicBezTo>
                  <a:pt x="606425" y="1265767"/>
                  <a:pt x="603488" y="1268293"/>
                  <a:pt x="600075" y="1270000"/>
                </a:cubicBezTo>
                <a:cubicBezTo>
                  <a:pt x="587761" y="1276157"/>
                  <a:pt x="584226" y="1272272"/>
                  <a:pt x="568325" y="1270000"/>
                </a:cubicBezTo>
                <a:cubicBezTo>
                  <a:pt x="567495" y="1270207"/>
                  <a:pt x="548170" y="1274694"/>
                  <a:pt x="546100" y="1276350"/>
                </a:cubicBezTo>
                <a:cubicBezTo>
                  <a:pt x="543120" y="1278734"/>
                  <a:pt x="541867" y="1282700"/>
                  <a:pt x="539750" y="1285875"/>
                </a:cubicBezTo>
                <a:cubicBezTo>
                  <a:pt x="530034" y="1283446"/>
                  <a:pt x="524834" y="1283659"/>
                  <a:pt x="517525" y="1276350"/>
                </a:cubicBezTo>
                <a:cubicBezTo>
                  <a:pt x="514827" y="1273652"/>
                  <a:pt x="513292" y="1270000"/>
                  <a:pt x="511175" y="1266825"/>
                </a:cubicBezTo>
                <a:cubicBezTo>
                  <a:pt x="514594" y="1253150"/>
                  <a:pt x="512134" y="1253732"/>
                  <a:pt x="523875" y="1244600"/>
                </a:cubicBezTo>
                <a:cubicBezTo>
                  <a:pt x="529899" y="1239915"/>
                  <a:pt x="542925" y="1231900"/>
                  <a:pt x="542925" y="1231900"/>
                </a:cubicBezTo>
                <a:cubicBezTo>
                  <a:pt x="545042" y="1228725"/>
                  <a:pt x="548648" y="1226139"/>
                  <a:pt x="549275" y="1222375"/>
                </a:cubicBezTo>
                <a:cubicBezTo>
                  <a:pt x="549825" y="1219074"/>
                  <a:pt x="547019" y="1216068"/>
                  <a:pt x="546100" y="1212850"/>
                </a:cubicBezTo>
                <a:cubicBezTo>
                  <a:pt x="544901" y="1208654"/>
                  <a:pt x="544876" y="1204053"/>
                  <a:pt x="542925" y="1200150"/>
                </a:cubicBezTo>
                <a:cubicBezTo>
                  <a:pt x="521090" y="1156481"/>
                  <a:pt x="535830" y="1197915"/>
                  <a:pt x="527050" y="1171575"/>
                </a:cubicBezTo>
                <a:cubicBezTo>
                  <a:pt x="534060" y="1143536"/>
                  <a:pt x="527152" y="1173931"/>
                  <a:pt x="533400" y="1123950"/>
                </a:cubicBezTo>
                <a:cubicBezTo>
                  <a:pt x="534069" y="1118595"/>
                  <a:pt x="534162" y="1112902"/>
                  <a:pt x="536575" y="1108075"/>
                </a:cubicBezTo>
                <a:cubicBezTo>
                  <a:pt x="538583" y="1104059"/>
                  <a:pt x="542925" y="1101725"/>
                  <a:pt x="546100" y="1098550"/>
                </a:cubicBezTo>
                <a:cubicBezTo>
                  <a:pt x="543605" y="1083581"/>
                  <a:pt x="543539" y="1080062"/>
                  <a:pt x="539750" y="1066800"/>
                </a:cubicBezTo>
                <a:cubicBezTo>
                  <a:pt x="538831" y="1063582"/>
                  <a:pt x="538942" y="1059642"/>
                  <a:pt x="536575" y="1057275"/>
                </a:cubicBezTo>
                <a:cubicBezTo>
                  <a:pt x="534208" y="1054908"/>
                  <a:pt x="530358" y="1054609"/>
                  <a:pt x="527050" y="1054100"/>
                </a:cubicBezTo>
                <a:cubicBezTo>
                  <a:pt x="516538" y="1052483"/>
                  <a:pt x="505818" y="1052503"/>
                  <a:pt x="495300" y="1050925"/>
                </a:cubicBezTo>
                <a:cubicBezTo>
                  <a:pt x="484626" y="1049324"/>
                  <a:pt x="463550" y="1044575"/>
                  <a:pt x="463550" y="1044575"/>
                </a:cubicBezTo>
                <a:cubicBezTo>
                  <a:pt x="460375" y="1042458"/>
                  <a:pt x="456538" y="1041097"/>
                  <a:pt x="454025" y="1038225"/>
                </a:cubicBezTo>
                <a:cubicBezTo>
                  <a:pt x="448999" y="1032482"/>
                  <a:pt x="445558" y="1025525"/>
                  <a:pt x="441325" y="1019175"/>
                </a:cubicBezTo>
                <a:lnTo>
                  <a:pt x="428625" y="1000125"/>
                </a:lnTo>
                <a:cubicBezTo>
                  <a:pt x="426134" y="996389"/>
                  <a:pt x="422549" y="993475"/>
                  <a:pt x="419100" y="990600"/>
                </a:cubicBezTo>
                <a:cubicBezTo>
                  <a:pt x="416169" y="988157"/>
                  <a:pt x="412988" y="985957"/>
                  <a:pt x="409575" y="984250"/>
                </a:cubicBezTo>
                <a:cubicBezTo>
                  <a:pt x="404500" y="981712"/>
                  <a:pt x="392097" y="979256"/>
                  <a:pt x="387350" y="977900"/>
                </a:cubicBezTo>
                <a:cubicBezTo>
                  <a:pt x="384132" y="976981"/>
                  <a:pt x="381000" y="975783"/>
                  <a:pt x="377825" y="974725"/>
                </a:cubicBezTo>
                <a:cubicBezTo>
                  <a:pt x="378883" y="987425"/>
                  <a:pt x="379316" y="1000193"/>
                  <a:pt x="381000" y="1012825"/>
                </a:cubicBezTo>
                <a:cubicBezTo>
                  <a:pt x="382754" y="1025977"/>
                  <a:pt x="388639" y="1019772"/>
                  <a:pt x="381000" y="1035050"/>
                </a:cubicBezTo>
                <a:cubicBezTo>
                  <a:pt x="377587" y="1041876"/>
                  <a:pt x="372533" y="1047750"/>
                  <a:pt x="368300" y="1054100"/>
                </a:cubicBezTo>
                <a:cubicBezTo>
                  <a:pt x="365365" y="1058503"/>
                  <a:pt x="360333" y="1061258"/>
                  <a:pt x="355600" y="1063625"/>
                </a:cubicBezTo>
                <a:lnTo>
                  <a:pt x="327025" y="1073150"/>
                </a:lnTo>
                <a:lnTo>
                  <a:pt x="317500" y="1076325"/>
                </a:lnTo>
                <a:lnTo>
                  <a:pt x="307975" y="1079500"/>
                </a:lnTo>
                <a:cubicBezTo>
                  <a:pt x="304800" y="1081617"/>
                  <a:pt x="301937" y="1084300"/>
                  <a:pt x="298450" y="1085850"/>
                </a:cubicBezTo>
                <a:cubicBezTo>
                  <a:pt x="292333" y="1088568"/>
                  <a:pt x="279400" y="1092200"/>
                  <a:pt x="279400" y="1092200"/>
                </a:cubicBezTo>
                <a:cubicBezTo>
                  <a:pt x="276225" y="1094317"/>
                  <a:pt x="272806" y="1096107"/>
                  <a:pt x="269875" y="1098550"/>
                </a:cubicBezTo>
                <a:cubicBezTo>
                  <a:pt x="261330" y="1105671"/>
                  <a:pt x="260960" y="1109920"/>
                  <a:pt x="250825" y="1114425"/>
                </a:cubicBezTo>
                <a:cubicBezTo>
                  <a:pt x="237642" y="1120284"/>
                  <a:pt x="229481" y="1121234"/>
                  <a:pt x="215900" y="1123950"/>
                </a:cubicBezTo>
                <a:cubicBezTo>
                  <a:pt x="189633" y="1122637"/>
                  <a:pt x="156766" y="1138039"/>
                  <a:pt x="146050" y="1111250"/>
                </a:cubicBezTo>
                <a:cubicBezTo>
                  <a:pt x="145264" y="1109285"/>
                  <a:pt x="146050" y="1107017"/>
                  <a:pt x="152400" y="1123950"/>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16" name="Freeform 15"/>
          <p:cNvSpPr/>
          <p:nvPr>
            <p:custDataLst>
              <p:tags r:id="rId5"/>
            </p:custDataLst>
          </p:nvPr>
        </p:nvSpPr>
        <p:spPr bwMode="auto">
          <a:xfrm>
            <a:off x="761766" y="2188446"/>
            <a:ext cx="60771" cy="46022"/>
          </a:xfrm>
          <a:custGeom>
            <a:avLst/>
            <a:gdLst>
              <a:gd name="connsiteX0" fmla="*/ 47995 w 72418"/>
              <a:gd name="connsiteY0" fmla="*/ 652 h 54842"/>
              <a:gd name="connsiteX1" fmla="*/ 3545 w 72418"/>
              <a:gd name="connsiteY1" fmla="*/ 3827 h 54842"/>
              <a:gd name="connsiteX2" fmla="*/ 370 w 72418"/>
              <a:gd name="connsiteY2" fmla="*/ 13352 h 54842"/>
              <a:gd name="connsiteX3" fmla="*/ 16245 w 72418"/>
              <a:gd name="connsiteY3" fmla="*/ 38752 h 54842"/>
              <a:gd name="connsiteX4" fmla="*/ 38470 w 72418"/>
              <a:gd name="connsiteY4" fmla="*/ 54627 h 54842"/>
              <a:gd name="connsiteX5" fmla="*/ 60695 w 72418"/>
              <a:gd name="connsiteY5" fmla="*/ 29227 h 54842"/>
              <a:gd name="connsiteX6" fmla="*/ 60695 w 72418"/>
              <a:gd name="connsiteY6" fmla="*/ 10177 h 54842"/>
              <a:gd name="connsiteX7" fmla="*/ 47995 w 72418"/>
              <a:gd name="connsiteY7" fmla="*/ 7002 h 54842"/>
              <a:gd name="connsiteX8" fmla="*/ 47995 w 72418"/>
              <a:gd name="connsiteY8" fmla="*/ 652 h 54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418" h="54842">
                <a:moveTo>
                  <a:pt x="47995" y="652"/>
                </a:moveTo>
                <a:cubicBezTo>
                  <a:pt x="40587" y="123"/>
                  <a:pt x="17898" y="0"/>
                  <a:pt x="3545" y="3827"/>
                </a:cubicBezTo>
                <a:cubicBezTo>
                  <a:pt x="311" y="4689"/>
                  <a:pt x="0" y="10026"/>
                  <a:pt x="370" y="13352"/>
                </a:cubicBezTo>
                <a:cubicBezTo>
                  <a:pt x="2915" y="36259"/>
                  <a:pt x="4008" y="28554"/>
                  <a:pt x="16245" y="38752"/>
                </a:cubicBezTo>
                <a:cubicBezTo>
                  <a:pt x="35553" y="54842"/>
                  <a:pt x="14970" y="42877"/>
                  <a:pt x="38470" y="54627"/>
                </a:cubicBezTo>
                <a:cubicBezTo>
                  <a:pt x="53287" y="32402"/>
                  <a:pt x="44820" y="39810"/>
                  <a:pt x="60695" y="29227"/>
                </a:cubicBezTo>
                <a:cubicBezTo>
                  <a:pt x="65905" y="21412"/>
                  <a:pt x="72418" y="17992"/>
                  <a:pt x="60695" y="10177"/>
                </a:cubicBezTo>
                <a:cubicBezTo>
                  <a:pt x="57064" y="7756"/>
                  <a:pt x="52191" y="8201"/>
                  <a:pt x="47995" y="7002"/>
                </a:cubicBezTo>
                <a:cubicBezTo>
                  <a:pt x="44777" y="6083"/>
                  <a:pt x="55403" y="1181"/>
                  <a:pt x="47995" y="652"/>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17" name="Freeform 16"/>
          <p:cNvSpPr/>
          <p:nvPr>
            <p:custDataLst>
              <p:tags r:id="rId6"/>
            </p:custDataLst>
          </p:nvPr>
        </p:nvSpPr>
        <p:spPr bwMode="auto">
          <a:xfrm>
            <a:off x="836678" y="2144559"/>
            <a:ext cx="88552" cy="23119"/>
          </a:xfrm>
          <a:custGeom>
            <a:avLst/>
            <a:gdLst>
              <a:gd name="connsiteX0" fmla="*/ 3175 w 105523"/>
              <a:gd name="connsiteY0" fmla="*/ 8500 h 27550"/>
              <a:gd name="connsiteX1" fmla="*/ 22225 w 105523"/>
              <a:gd name="connsiteY1" fmla="*/ 5325 h 27550"/>
              <a:gd name="connsiteX2" fmla="*/ 34925 w 105523"/>
              <a:gd name="connsiteY2" fmla="*/ 2150 h 27550"/>
              <a:gd name="connsiteX3" fmla="*/ 69850 w 105523"/>
              <a:gd name="connsiteY3" fmla="*/ 8500 h 27550"/>
              <a:gd name="connsiteX4" fmla="*/ 98425 w 105523"/>
              <a:gd name="connsiteY4" fmla="*/ 11675 h 27550"/>
              <a:gd name="connsiteX5" fmla="*/ 104775 w 105523"/>
              <a:gd name="connsiteY5" fmla="*/ 21200 h 27550"/>
              <a:gd name="connsiteX6" fmla="*/ 95250 w 105523"/>
              <a:gd name="connsiteY6" fmla="*/ 27550 h 27550"/>
              <a:gd name="connsiteX7" fmla="*/ 19050 w 105523"/>
              <a:gd name="connsiteY7" fmla="*/ 24375 h 27550"/>
              <a:gd name="connsiteX8" fmla="*/ 3175 w 105523"/>
              <a:gd name="connsiteY8" fmla="*/ 11675 h 27550"/>
              <a:gd name="connsiteX9" fmla="*/ 3175 w 105523"/>
              <a:gd name="connsiteY9" fmla="*/ 8500 h 2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523" h="27550">
                <a:moveTo>
                  <a:pt x="3175" y="8500"/>
                </a:moveTo>
                <a:cubicBezTo>
                  <a:pt x="6350" y="7442"/>
                  <a:pt x="15912" y="6588"/>
                  <a:pt x="22225" y="5325"/>
                </a:cubicBezTo>
                <a:cubicBezTo>
                  <a:pt x="26504" y="4469"/>
                  <a:pt x="30561" y="2150"/>
                  <a:pt x="34925" y="2150"/>
                </a:cubicBezTo>
                <a:cubicBezTo>
                  <a:pt x="58216" y="2150"/>
                  <a:pt x="51787" y="5721"/>
                  <a:pt x="69850" y="8500"/>
                </a:cubicBezTo>
                <a:cubicBezTo>
                  <a:pt x="79322" y="9957"/>
                  <a:pt x="88900" y="10617"/>
                  <a:pt x="98425" y="11675"/>
                </a:cubicBezTo>
                <a:cubicBezTo>
                  <a:pt x="100542" y="14850"/>
                  <a:pt x="105523" y="17458"/>
                  <a:pt x="104775" y="21200"/>
                </a:cubicBezTo>
                <a:cubicBezTo>
                  <a:pt x="104027" y="24942"/>
                  <a:pt x="99063" y="27409"/>
                  <a:pt x="95250" y="27550"/>
                </a:cubicBezTo>
                <a:lnTo>
                  <a:pt x="19050" y="24375"/>
                </a:lnTo>
                <a:cubicBezTo>
                  <a:pt x="15040" y="23038"/>
                  <a:pt x="966" y="20513"/>
                  <a:pt x="3175" y="11675"/>
                </a:cubicBezTo>
                <a:cubicBezTo>
                  <a:pt x="6094" y="0"/>
                  <a:pt x="0" y="9558"/>
                  <a:pt x="3175" y="8500"/>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18" name="Freeform 17"/>
          <p:cNvSpPr/>
          <p:nvPr>
            <p:custDataLst>
              <p:tags r:id="rId7"/>
            </p:custDataLst>
          </p:nvPr>
        </p:nvSpPr>
        <p:spPr bwMode="auto">
          <a:xfrm>
            <a:off x="936592" y="2106398"/>
            <a:ext cx="233131" cy="48511"/>
          </a:xfrm>
          <a:custGeom>
            <a:avLst/>
            <a:gdLst>
              <a:gd name="connsiteX0" fmla="*/ 1587 w 277812"/>
              <a:gd name="connsiteY0" fmla="*/ 41275 h 57809"/>
              <a:gd name="connsiteX1" fmla="*/ 11112 w 277812"/>
              <a:gd name="connsiteY1" fmla="*/ 34925 h 57809"/>
              <a:gd name="connsiteX2" fmla="*/ 20637 w 277812"/>
              <a:gd name="connsiteY2" fmla="*/ 25400 h 57809"/>
              <a:gd name="connsiteX3" fmla="*/ 30162 w 277812"/>
              <a:gd name="connsiteY3" fmla="*/ 22225 h 57809"/>
              <a:gd name="connsiteX4" fmla="*/ 80962 w 277812"/>
              <a:gd name="connsiteY4" fmla="*/ 28575 h 57809"/>
              <a:gd name="connsiteX5" fmla="*/ 90487 w 277812"/>
              <a:gd name="connsiteY5" fmla="*/ 31750 h 57809"/>
              <a:gd name="connsiteX6" fmla="*/ 131762 w 277812"/>
              <a:gd name="connsiteY6" fmla="*/ 22225 h 57809"/>
              <a:gd name="connsiteX7" fmla="*/ 141287 w 277812"/>
              <a:gd name="connsiteY7" fmla="*/ 19050 h 57809"/>
              <a:gd name="connsiteX8" fmla="*/ 150812 w 277812"/>
              <a:gd name="connsiteY8" fmla="*/ 15875 h 57809"/>
              <a:gd name="connsiteX9" fmla="*/ 198437 w 277812"/>
              <a:gd name="connsiteY9" fmla="*/ 19050 h 57809"/>
              <a:gd name="connsiteX10" fmla="*/ 223837 w 277812"/>
              <a:gd name="connsiteY10" fmla="*/ 9525 h 57809"/>
              <a:gd name="connsiteX11" fmla="*/ 233362 w 277812"/>
              <a:gd name="connsiteY11" fmla="*/ 3175 h 57809"/>
              <a:gd name="connsiteX12" fmla="*/ 242887 w 277812"/>
              <a:gd name="connsiteY12" fmla="*/ 0 h 57809"/>
              <a:gd name="connsiteX13" fmla="*/ 277812 w 277812"/>
              <a:gd name="connsiteY13" fmla="*/ 9525 h 57809"/>
              <a:gd name="connsiteX14" fmla="*/ 239712 w 277812"/>
              <a:gd name="connsiteY14" fmla="*/ 19050 h 57809"/>
              <a:gd name="connsiteX15" fmla="*/ 214312 w 277812"/>
              <a:gd name="connsiteY15" fmla="*/ 25400 h 57809"/>
              <a:gd name="connsiteX16" fmla="*/ 188912 w 277812"/>
              <a:gd name="connsiteY16" fmla="*/ 22225 h 57809"/>
              <a:gd name="connsiteX17" fmla="*/ 179387 w 277812"/>
              <a:gd name="connsiteY17" fmla="*/ 19050 h 57809"/>
              <a:gd name="connsiteX18" fmla="*/ 160337 w 277812"/>
              <a:gd name="connsiteY18" fmla="*/ 22225 h 57809"/>
              <a:gd name="connsiteX19" fmla="*/ 138112 w 277812"/>
              <a:gd name="connsiteY19" fmla="*/ 28575 h 57809"/>
              <a:gd name="connsiteX20" fmla="*/ 115887 w 277812"/>
              <a:gd name="connsiteY20" fmla="*/ 38100 h 57809"/>
              <a:gd name="connsiteX21" fmla="*/ 84137 w 277812"/>
              <a:gd name="connsiteY21" fmla="*/ 31750 h 57809"/>
              <a:gd name="connsiteX22" fmla="*/ 55562 w 277812"/>
              <a:gd name="connsiteY22" fmla="*/ 34925 h 57809"/>
              <a:gd name="connsiteX23" fmla="*/ 20637 w 277812"/>
              <a:gd name="connsiteY23" fmla="*/ 41275 h 57809"/>
              <a:gd name="connsiteX24" fmla="*/ 4762 w 277812"/>
              <a:gd name="connsiteY24" fmla="*/ 53975 h 57809"/>
              <a:gd name="connsiteX25" fmla="*/ 1587 w 277812"/>
              <a:gd name="connsiteY25" fmla="*/ 44450 h 57809"/>
              <a:gd name="connsiteX26" fmla="*/ 1587 w 277812"/>
              <a:gd name="connsiteY26" fmla="*/ 41275 h 5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7812" h="57809">
                <a:moveTo>
                  <a:pt x="1587" y="41275"/>
                </a:moveTo>
                <a:cubicBezTo>
                  <a:pt x="3174" y="39688"/>
                  <a:pt x="8181" y="37368"/>
                  <a:pt x="11112" y="34925"/>
                </a:cubicBezTo>
                <a:cubicBezTo>
                  <a:pt x="14561" y="32050"/>
                  <a:pt x="16901" y="27891"/>
                  <a:pt x="20637" y="25400"/>
                </a:cubicBezTo>
                <a:cubicBezTo>
                  <a:pt x="23422" y="23544"/>
                  <a:pt x="26987" y="23283"/>
                  <a:pt x="30162" y="22225"/>
                </a:cubicBezTo>
                <a:cubicBezTo>
                  <a:pt x="46132" y="23822"/>
                  <a:pt x="64849" y="24994"/>
                  <a:pt x="80962" y="28575"/>
                </a:cubicBezTo>
                <a:cubicBezTo>
                  <a:pt x="84229" y="29301"/>
                  <a:pt x="87312" y="30692"/>
                  <a:pt x="90487" y="31750"/>
                </a:cubicBezTo>
                <a:cubicBezTo>
                  <a:pt x="119338" y="27628"/>
                  <a:pt x="105612" y="30942"/>
                  <a:pt x="131762" y="22225"/>
                </a:cubicBezTo>
                <a:lnTo>
                  <a:pt x="141287" y="19050"/>
                </a:lnTo>
                <a:lnTo>
                  <a:pt x="150812" y="15875"/>
                </a:lnTo>
                <a:cubicBezTo>
                  <a:pt x="166687" y="16933"/>
                  <a:pt x="182527" y="19050"/>
                  <a:pt x="198437" y="19050"/>
                </a:cubicBezTo>
                <a:cubicBezTo>
                  <a:pt x="206250" y="19050"/>
                  <a:pt x="217515" y="13138"/>
                  <a:pt x="223837" y="9525"/>
                </a:cubicBezTo>
                <a:cubicBezTo>
                  <a:pt x="227150" y="7632"/>
                  <a:pt x="229949" y="4882"/>
                  <a:pt x="233362" y="3175"/>
                </a:cubicBezTo>
                <a:cubicBezTo>
                  <a:pt x="236355" y="1678"/>
                  <a:pt x="239712" y="1058"/>
                  <a:pt x="242887" y="0"/>
                </a:cubicBezTo>
                <a:cubicBezTo>
                  <a:pt x="271534" y="7162"/>
                  <a:pt x="260008" y="3590"/>
                  <a:pt x="277812" y="9525"/>
                </a:cubicBezTo>
                <a:cubicBezTo>
                  <a:pt x="259532" y="21712"/>
                  <a:pt x="274041" y="14146"/>
                  <a:pt x="239712" y="19050"/>
                </a:cubicBezTo>
                <a:cubicBezTo>
                  <a:pt x="226302" y="20966"/>
                  <a:pt x="225392" y="21707"/>
                  <a:pt x="214312" y="25400"/>
                </a:cubicBezTo>
                <a:cubicBezTo>
                  <a:pt x="205845" y="24342"/>
                  <a:pt x="197307" y="23751"/>
                  <a:pt x="188912" y="22225"/>
                </a:cubicBezTo>
                <a:cubicBezTo>
                  <a:pt x="185619" y="21626"/>
                  <a:pt x="182734" y="19050"/>
                  <a:pt x="179387" y="19050"/>
                </a:cubicBezTo>
                <a:cubicBezTo>
                  <a:pt x="172949" y="19050"/>
                  <a:pt x="166650" y="20962"/>
                  <a:pt x="160337" y="22225"/>
                </a:cubicBezTo>
                <a:cubicBezTo>
                  <a:pt x="150370" y="24218"/>
                  <a:pt x="147190" y="25549"/>
                  <a:pt x="138112" y="28575"/>
                </a:cubicBezTo>
                <a:cubicBezTo>
                  <a:pt x="131202" y="33181"/>
                  <a:pt x="125146" y="38761"/>
                  <a:pt x="115887" y="38100"/>
                </a:cubicBezTo>
                <a:cubicBezTo>
                  <a:pt x="105122" y="37331"/>
                  <a:pt x="84137" y="31750"/>
                  <a:pt x="84137" y="31750"/>
                </a:cubicBezTo>
                <a:cubicBezTo>
                  <a:pt x="74612" y="32808"/>
                  <a:pt x="65062" y="33658"/>
                  <a:pt x="55562" y="34925"/>
                </a:cubicBezTo>
                <a:cubicBezTo>
                  <a:pt x="43375" y="36550"/>
                  <a:pt x="32609" y="38881"/>
                  <a:pt x="20637" y="41275"/>
                </a:cubicBezTo>
                <a:cubicBezTo>
                  <a:pt x="18675" y="44217"/>
                  <a:pt x="12430" y="57809"/>
                  <a:pt x="4762" y="53975"/>
                </a:cubicBezTo>
                <a:cubicBezTo>
                  <a:pt x="1769" y="52478"/>
                  <a:pt x="2399" y="47697"/>
                  <a:pt x="1587" y="44450"/>
                </a:cubicBezTo>
                <a:cubicBezTo>
                  <a:pt x="1330" y="43423"/>
                  <a:pt x="0" y="42862"/>
                  <a:pt x="1587" y="41275"/>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19" name="Freeform 18"/>
          <p:cNvSpPr/>
          <p:nvPr>
            <p:custDataLst>
              <p:tags r:id="rId8"/>
            </p:custDataLst>
          </p:nvPr>
        </p:nvSpPr>
        <p:spPr bwMode="auto">
          <a:xfrm>
            <a:off x="1185736" y="2092614"/>
            <a:ext cx="65904" cy="40427"/>
          </a:xfrm>
          <a:custGeom>
            <a:avLst/>
            <a:gdLst>
              <a:gd name="connsiteX0" fmla="*/ 3143 w 78535"/>
              <a:gd name="connsiteY0" fmla="*/ 6900 h 48175"/>
              <a:gd name="connsiteX1" fmla="*/ 22193 w 78535"/>
              <a:gd name="connsiteY1" fmla="*/ 3725 h 48175"/>
              <a:gd name="connsiteX2" fmla="*/ 31718 w 78535"/>
              <a:gd name="connsiteY2" fmla="*/ 550 h 48175"/>
              <a:gd name="connsiteX3" fmla="*/ 41243 w 78535"/>
              <a:gd name="connsiteY3" fmla="*/ 6900 h 48175"/>
              <a:gd name="connsiteX4" fmla="*/ 53943 w 78535"/>
              <a:gd name="connsiteY4" fmla="*/ 25950 h 48175"/>
              <a:gd name="connsiteX5" fmla="*/ 72993 w 78535"/>
              <a:gd name="connsiteY5" fmla="*/ 32300 h 48175"/>
              <a:gd name="connsiteX6" fmla="*/ 76168 w 78535"/>
              <a:gd name="connsiteY6" fmla="*/ 41825 h 48175"/>
              <a:gd name="connsiteX7" fmla="*/ 57118 w 78535"/>
              <a:gd name="connsiteY7" fmla="*/ 48175 h 48175"/>
              <a:gd name="connsiteX8" fmla="*/ 44418 w 78535"/>
              <a:gd name="connsiteY8" fmla="*/ 35475 h 48175"/>
              <a:gd name="connsiteX9" fmla="*/ 25368 w 78535"/>
              <a:gd name="connsiteY9" fmla="*/ 19600 h 48175"/>
              <a:gd name="connsiteX10" fmla="*/ 3143 w 78535"/>
              <a:gd name="connsiteY10" fmla="*/ 6900 h 4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535" h="48175">
                <a:moveTo>
                  <a:pt x="3143" y="6900"/>
                </a:moveTo>
                <a:cubicBezTo>
                  <a:pt x="2614" y="4254"/>
                  <a:pt x="15909" y="5122"/>
                  <a:pt x="22193" y="3725"/>
                </a:cubicBezTo>
                <a:cubicBezTo>
                  <a:pt x="25460" y="2999"/>
                  <a:pt x="28417" y="0"/>
                  <a:pt x="31718" y="550"/>
                </a:cubicBezTo>
                <a:cubicBezTo>
                  <a:pt x="35482" y="1177"/>
                  <a:pt x="38068" y="4783"/>
                  <a:pt x="41243" y="6900"/>
                </a:cubicBezTo>
                <a:cubicBezTo>
                  <a:pt x="44226" y="15850"/>
                  <a:pt x="44214" y="20545"/>
                  <a:pt x="53943" y="25950"/>
                </a:cubicBezTo>
                <a:cubicBezTo>
                  <a:pt x="59794" y="29201"/>
                  <a:pt x="72993" y="32300"/>
                  <a:pt x="72993" y="32300"/>
                </a:cubicBezTo>
                <a:cubicBezTo>
                  <a:pt x="74051" y="35475"/>
                  <a:pt x="78535" y="39458"/>
                  <a:pt x="76168" y="41825"/>
                </a:cubicBezTo>
                <a:cubicBezTo>
                  <a:pt x="71435" y="46558"/>
                  <a:pt x="57118" y="48175"/>
                  <a:pt x="57118" y="48175"/>
                </a:cubicBezTo>
                <a:cubicBezTo>
                  <a:pt x="51070" y="30032"/>
                  <a:pt x="58932" y="45151"/>
                  <a:pt x="44418" y="35475"/>
                </a:cubicBezTo>
                <a:cubicBezTo>
                  <a:pt x="36687" y="30321"/>
                  <a:pt x="34811" y="22433"/>
                  <a:pt x="25368" y="19600"/>
                </a:cubicBezTo>
                <a:cubicBezTo>
                  <a:pt x="0" y="11990"/>
                  <a:pt x="3672" y="9546"/>
                  <a:pt x="3143" y="6900"/>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20" name="Freeform 19"/>
          <p:cNvSpPr/>
          <p:nvPr>
            <p:custDataLst>
              <p:tags r:id="rId9"/>
            </p:custDataLst>
          </p:nvPr>
        </p:nvSpPr>
        <p:spPr bwMode="auto">
          <a:xfrm>
            <a:off x="1443931" y="1480829"/>
            <a:ext cx="879858" cy="923455"/>
          </a:xfrm>
          <a:custGeom>
            <a:avLst/>
            <a:gdLst>
              <a:gd name="connsiteX0" fmla="*/ 178064 w 1048488"/>
              <a:gd name="connsiteY0" fmla="*/ 724826 h 1100441"/>
              <a:gd name="connsiteX1" fmla="*/ 154252 w 1048488"/>
              <a:gd name="connsiteY1" fmla="*/ 705776 h 1100441"/>
              <a:gd name="connsiteX2" fmla="*/ 125677 w 1048488"/>
              <a:gd name="connsiteY2" fmla="*/ 686726 h 1100441"/>
              <a:gd name="connsiteX3" fmla="*/ 116152 w 1048488"/>
              <a:gd name="connsiteY3" fmla="*/ 672438 h 1100441"/>
              <a:gd name="connsiteX4" fmla="*/ 116152 w 1048488"/>
              <a:gd name="connsiteY4" fmla="*/ 620051 h 1100441"/>
              <a:gd name="connsiteX5" fmla="*/ 130439 w 1048488"/>
              <a:gd name="connsiteY5" fmla="*/ 615288 h 1100441"/>
              <a:gd name="connsiteX6" fmla="*/ 159014 w 1048488"/>
              <a:gd name="connsiteY6" fmla="*/ 620051 h 1100441"/>
              <a:gd name="connsiteX7" fmla="*/ 168539 w 1048488"/>
              <a:gd name="connsiteY7" fmla="*/ 596238 h 1100441"/>
              <a:gd name="connsiteX8" fmla="*/ 154252 w 1048488"/>
              <a:gd name="connsiteY8" fmla="*/ 581951 h 1100441"/>
              <a:gd name="connsiteX9" fmla="*/ 135202 w 1048488"/>
              <a:gd name="connsiteY9" fmla="*/ 558138 h 1100441"/>
              <a:gd name="connsiteX10" fmla="*/ 106627 w 1048488"/>
              <a:gd name="connsiteY10" fmla="*/ 548613 h 1100441"/>
              <a:gd name="connsiteX11" fmla="*/ 111389 w 1048488"/>
              <a:gd name="connsiteY11" fmla="*/ 486701 h 1100441"/>
              <a:gd name="connsiteX12" fmla="*/ 111389 w 1048488"/>
              <a:gd name="connsiteY12" fmla="*/ 453363 h 1100441"/>
              <a:gd name="connsiteX13" fmla="*/ 97102 w 1048488"/>
              <a:gd name="connsiteY13" fmla="*/ 443838 h 1100441"/>
              <a:gd name="connsiteX14" fmla="*/ 63764 w 1048488"/>
              <a:gd name="connsiteY14" fmla="*/ 448601 h 1100441"/>
              <a:gd name="connsiteX15" fmla="*/ 35189 w 1048488"/>
              <a:gd name="connsiteY15" fmla="*/ 458126 h 1100441"/>
              <a:gd name="connsiteX16" fmla="*/ 20902 w 1048488"/>
              <a:gd name="connsiteY16" fmla="*/ 448601 h 1100441"/>
              <a:gd name="connsiteX17" fmla="*/ 16139 w 1048488"/>
              <a:gd name="connsiteY17" fmla="*/ 396213 h 1100441"/>
              <a:gd name="connsiteX18" fmla="*/ 59002 w 1048488"/>
              <a:gd name="connsiteY18" fmla="*/ 391451 h 1100441"/>
              <a:gd name="connsiteX19" fmla="*/ 54239 w 1048488"/>
              <a:gd name="connsiteY19" fmla="*/ 372401 h 1100441"/>
              <a:gd name="connsiteX20" fmla="*/ 68527 w 1048488"/>
              <a:gd name="connsiteY20" fmla="*/ 362876 h 1100441"/>
              <a:gd name="connsiteX21" fmla="*/ 144727 w 1048488"/>
              <a:gd name="connsiteY21" fmla="*/ 358113 h 1100441"/>
              <a:gd name="connsiteX22" fmla="*/ 168539 w 1048488"/>
              <a:gd name="connsiteY22" fmla="*/ 329538 h 1100441"/>
              <a:gd name="connsiteX23" fmla="*/ 178064 w 1048488"/>
              <a:gd name="connsiteY23" fmla="*/ 300963 h 1100441"/>
              <a:gd name="connsiteX24" fmla="*/ 173302 w 1048488"/>
              <a:gd name="connsiteY24" fmla="*/ 267626 h 1100441"/>
              <a:gd name="connsiteX25" fmla="*/ 149489 w 1048488"/>
              <a:gd name="connsiteY25" fmla="*/ 239051 h 1100441"/>
              <a:gd name="connsiteX26" fmla="*/ 125677 w 1048488"/>
              <a:gd name="connsiteY26" fmla="*/ 215238 h 1100441"/>
              <a:gd name="connsiteX27" fmla="*/ 116152 w 1048488"/>
              <a:gd name="connsiteY27" fmla="*/ 200951 h 1100441"/>
              <a:gd name="connsiteX28" fmla="*/ 101864 w 1048488"/>
              <a:gd name="connsiteY28" fmla="*/ 186663 h 1100441"/>
              <a:gd name="connsiteX29" fmla="*/ 97102 w 1048488"/>
              <a:gd name="connsiteY29" fmla="*/ 172376 h 1100441"/>
              <a:gd name="connsiteX30" fmla="*/ 73289 w 1048488"/>
              <a:gd name="connsiteY30" fmla="*/ 148563 h 1100441"/>
              <a:gd name="connsiteX31" fmla="*/ 63764 w 1048488"/>
              <a:gd name="connsiteY31" fmla="*/ 119988 h 1100441"/>
              <a:gd name="connsiteX32" fmla="*/ 54239 w 1048488"/>
              <a:gd name="connsiteY32" fmla="*/ 81888 h 1100441"/>
              <a:gd name="connsiteX33" fmla="*/ 39952 w 1048488"/>
              <a:gd name="connsiteY33" fmla="*/ 67601 h 1100441"/>
              <a:gd name="connsiteX34" fmla="*/ 30427 w 1048488"/>
              <a:gd name="connsiteY34" fmla="*/ 53313 h 1100441"/>
              <a:gd name="connsiteX35" fmla="*/ 49477 w 1048488"/>
              <a:gd name="connsiteY35" fmla="*/ 926 h 1100441"/>
              <a:gd name="connsiteX36" fmla="*/ 68527 w 1048488"/>
              <a:gd name="connsiteY36" fmla="*/ 5688 h 1100441"/>
              <a:gd name="connsiteX37" fmla="*/ 120914 w 1048488"/>
              <a:gd name="connsiteY37" fmla="*/ 10451 h 1100441"/>
              <a:gd name="connsiteX38" fmla="*/ 159014 w 1048488"/>
              <a:gd name="connsiteY38" fmla="*/ 15213 h 1100441"/>
              <a:gd name="connsiteX39" fmla="*/ 187589 w 1048488"/>
              <a:gd name="connsiteY39" fmla="*/ 24738 h 1100441"/>
              <a:gd name="connsiteX40" fmla="*/ 201877 w 1048488"/>
              <a:gd name="connsiteY40" fmla="*/ 34263 h 1100441"/>
              <a:gd name="connsiteX41" fmla="*/ 268552 w 1048488"/>
              <a:gd name="connsiteY41" fmla="*/ 43788 h 1100441"/>
              <a:gd name="connsiteX42" fmla="*/ 282839 w 1048488"/>
              <a:gd name="connsiteY42" fmla="*/ 53313 h 1100441"/>
              <a:gd name="connsiteX43" fmla="*/ 287602 w 1048488"/>
              <a:gd name="connsiteY43" fmla="*/ 67601 h 1100441"/>
              <a:gd name="connsiteX44" fmla="*/ 297127 w 1048488"/>
              <a:gd name="connsiteY44" fmla="*/ 81888 h 1100441"/>
              <a:gd name="connsiteX45" fmla="*/ 330464 w 1048488"/>
              <a:gd name="connsiteY45" fmla="*/ 77126 h 1100441"/>
              <a:gd name="connsiteX46" fmla="*/ 339989 w 1048488"/>
              <a:gd name="connsiteY46" fmla="*/ 62838 h 1100441"/>
              <a:gd name="connsiteX47" fmla="*/ 373327 w 1048488"/>
              <a:gd name="connsiteY47" fmla="*/ 58076 h 1100441"/>
              <a:gd name="connsiteX48" fmla="*/ 387614 w 1048488"/>
              <a:gd name="connsiteY48" fmla="*/ 48551 h 1100441"/>
              <a:gd name="connsiteX49" fmla="*/ 401902 w 1048488"/>
              <a:gd name="connsiteY49" fmla="*/ 34263 h 1100441"/>
              <a:gd name="connsiteX50" fmla="*/ 430477 w 1048488"/>
              <a:gd name="connsiteY50" fmla="*/ 24738 h 1100441"/>
              <a:gd name="connsiteX51" fmla="*/ 440002 w 1048488"/>
              <a:gd name="connsiteY51" fmla="*/ 39026 h 1100441"/>
              <a:gd name="connsiteX52" fmla="*/ 444764 w 1048488"/>
              <a:gd name="connsiteY52" fmla="*/ 58076 h 1100441"/>
              <a:gd name="connsiteX53" fmla="*/ 459052 w 1048488"/>
              <a:gd name="connsiteY53" fmla="*/ 62838 h 1100441"/>
              <a:gd name="connsiteX54" fmla="*/ 468577 w 1048488"/>
              <a:gd name="connsiteY54" fmla="*/ 77126 h 1100441"/>
              <a:gd name="connsiteX55" fmla="*/ 482864 w 1048488"/>
              <a:gd name="connsiteY55" fmla="*/ 81888 h 1100441"/>
              <a:gd name="connsiteX56" fmla="*/ 511439 w 1048488"/>
              <a:gd name="connsiteY56" fmla="*/ 96176 h 1100441"/>
              <a:gd name="connsiteX57" fmla="*/ 535252 w 1048488"/>
              <a:gd name="connsiteY57" fmla="*/ 119988 h 1100441"/>
              <a:gd name="connsiteX58" fmla="*/ 544777 w 1048488"/>
              <a:gd name="connsiteY58" fmla="*/ 105701 h 1100441"/>
              <a:gd name="connsiteX59" fmla="*/ 559064 w 1048488"/>
              <a:gd name="connsiteY59" fmla="*/ 96176 h 1100441"/>
              <a:gd name="connsiteX60" fmla="*/ 573352 w 1048488"/>
              <a:gd name="connsiteY60" fmla="*/ 100938 h 1100441"/>
              <a:gd name="connsiteX61" fmla="*/ 582877 w 1048488"/>
              <a:gd name="connsiteY61" fmla="*/ 115226 h 1100441"/>
              <a:gd name="connsiteX62" fmla="*/ 592402 w 1048488"/>
              <a:gd name="connsiteY62" fmla="*/ 148563 h 1100441"/>
              <a:gd name="connsiteX63" fmla="*/ 597164 w 1048488"/>
              <a:gd name="connsiteY63" fmla="*/ 162851 h 1100441"/>
              <a:gd name="connsiteX64" fmla="*/ 606689 w 1048488"/>
              <a:gd name="connsiteY64" fmla="*/ 220001 h 1100441"/>
              <a:gd name="connsiteX65" fmla="*/ 601927 w 1048488"/>
              <a:gd name="connsiteY65" fmla="*/ 253338 h 1100441"/>
              <a:gd name="connsiteX66" fmla="*/ 582877 w 1048488"/>
              <a:gd name="connsiteY66" fmla="*/ 281913 h 1100441"/>
              <a:gd name="connsiteX67" fmla="*/ 573352 w 1048488"/>
              <a:gd name="connsiteY67" fmla="*/ 296201 h 1100441"/>
              <a:gd name="connsiteX68" fmla="*/ 544777 w 1048488"/>
              <a:gd name="connsiteY68" fmla="*/ 305726 h 1100441"/>
              <a:gd name="connsiteX69" fmla="*/ 530489 w 1048488"/>
              <a:gd name="connsiteY69" fmla="*/ 315251 h 1100441"/>
              <a:gd name="connsiteX70" fmla="*/ 525727 w 1048488"/>
              <a:gd name="connsiteY70" fmla="*/ 329538 h 1100441"/>
              <a:gd name="connsiteX71" fmla="*/ 563827 w 1048488"/>
              <a:gd name="connsiteY71" fmla="*/ 329538 h 1100441"/>
              <a:gd name="connsiteX72" fmla="*/ 578114 w 1048488"/>
              <a:gd name="connsiteY72" fmla="*/ 320013 h 1100441"/>
              <a:gd name="connsiteX73" fmla="*/ 606689 w 1048488"/>
              <a:gd name="connsiteY73" fmla="*/ 310488 h 1100441"/>
              <a:gd name="connsiteX74" fmla="*/ 649552 w 1048488"/>
              <a:gd name="connsiteY74" fmla="*/ 315251 h 1100441"/>
              <a:gd name="connsiteX75" fmla="*/ 659077 w 1048488"/>
              <a:gd name="connsiteY75" fmla="*/ 329538 h 1100441"/>
              <a:gd name="connsiteX76" fmla="*/ 668602 w 1048488"/>
              <a:gd name="connsiteY76" fmla="*/ 367638 h 1100441"/>
              <a:gd name="connsiteX77" fmla="*/ 682889 w 1048488"/>
              <a:gd name="connsiteY77" fmla="*/ 358113 h 1100441"/>
              <a:gd name="connsiteX78" fmla="*/ 711464 w 1048488"/>
              <a:gd name="connsiteY78" fmla="*/ 343826 h 1100441"/>
              <a:gd name="connsiteX79" fmla="*/ 749564 w 1048488"/>
              <a:gd name="connsiteY79" fmla="*/ 348588 h 1100441"/>
              <a:gd name="connsiteX80" fmla="*/ 778139 w 1048488"/>
              <a:gd name="connsiteY80" fmla="*/ 367638 h 1100441"/>
              <a:gd name="connsiteX81" fmla="*/ 792427 w 1048488"/>
              <a:gd name="connsiteY81" fmla="*/ 377163 h 1100441"/>
              <a:gd name="connsiteX82" fmla="*/ 806714 w 1048488"/>
              <a:gd name="connsiteY82" fmla="*/ 391451 h 1100441"/>
              <a:gd name="connsiteX83" fmla="*/ 840052 w 1048488"/>
              <a:gd name="connsiteY83" fmla="*/ 405738 h 1100441"/>
              <a:gd name="connsiteX84" fmla="*/ 868627 w 1048488"/>
              <a:gd name="connsiteY84" fmla="*/ 424788 h 1100441"/>
              <a:gd name="connsiteX85" fmla="*/ 882914 w 1048488"/>
              <a:gd name="connsiteY85" fmla="*/ 434313 h 1100441"/>
              <a:gd name="connsiteX86" fmla="*/ 897202 w 1048488"/>
              <a:gd name="connsiteY86" fmla="*/ 439076 h 1100441"/>
              <a:gd name="connsiteX87" fmla="*/ 925777 w 1048488"/>
              <a:gd name="connsiteY87" fmla="*/ 424788 h 1100441"/>
              <a:gd name="connsiteX88" fmla="*/ 935302 w 1048488"/>
              <a:gd name="connsiteY88" fmla="*/ 410501 h 1100441"/>
              <a:gd name="connsiteX89" fmla="*/ 963877 w 1048488"/>
              <a:gd name="connsiteY89" fmla="*/ 391451 h 1100441"/>
              <a:gd name="connsiteX90" fmla="*/ 992452 w 1048488"/>
              <a:gd name="connsiteY90" fmla="*/ 377163 h 1100441"/>
              <a:gd name="connsiteX91" fmla="*/ 1016264 w 1048488"/>
              <a:gd name="connsiteY91" fmla="*/ 381926 h 1100441"/>
              <a:gd name="connsiteX92" fmla="*/ 1030552 w 1048488"/>
              <a:gd name="connsiteY92" fmla="*/ 386688 h 1100441"/>
              <a:gd name="connsiteX93" fmla="*/ 1035314 w 1048488"/>
              <a:gd name="connsiteY93" fmla="*/ 400976 h 1100441"/>
              <a:gd name="connsiteX94" fmla="*/ 1040077 w 1048488"/>
              <a:gd name="connsiteY94" fmla="*/ 448601 h 1100441"/>
              <a:gd name="connsiteX95" fmla="*/ 1040077 w 1048488"/>
              <a:gd name="connsiteY95" fmla="*/ 515276 h 1100441"/>
              <a:gd name="connsiteX96" fmla="*/ 1035314 w 1048488"/>
              <a:gd name="connsiteY96" fmla="*/ 529563 h 1100441"/>
              <a:gd name="connsiteX97" fmla="*/ 1006739 w 1048488"/>
              <a:gd name="connsiteY97" fmla="*/ 553376 h 1100441"/>
              <a:gd name="connsiteX98" fmla="*/ 997214 w 1048488"/>
              <a:gd name="connsiteY98" fmla="*/ 567663 h 1100441"/>
              <a:gd name="connsiteX99" fmla="*/ 954352 w 1048488"/>
              <a:gd name="connsiteY99" fmla="*/ 591476 h 1100441"/>
              <a:gd name="connsiteX100" fmla="*/ 925777 w 1048488"/>
              <a:gd name="connsiteY100" fmla="*/ 572426 h 1100441"/>
              <a:gd name="connsiteX101" fmla="*/ 916252 w 1048488"/>
              <a:gd name="connsiteY101" fmla="*/ 601001 h 1100441"/>
              <a:gd name="connsiteX102" fmla="*/ 921014 w 1048488"/>
              <a:gd name="connsiteY102" fmla="*/ 639101 h 1100441"/>
              <a:gd name="connsiteX103" fmla="*/ 935302 w 1048488"/>
              <a:gd name="connsiteY103" fmla="*/ 643863 h 1100441"/>
              <a:gd name="connsiteX104" fmla="*/ 963877 w 1048488"/>
              <a:gd name="connsiteY104" fmla="*/ 667676 h 1100441"/>
              <a:gd name="connsiteX105" fmla="*/ 949589 w 1048488"/>
              <a:gd name="connsiteY105" fmla="*/ 710538 h 1100441"/>
              <a:gd name="connsiteX106" fmla="*/ 921014 w 1048488"/>
              <a:gd name="connsiteY106" fmla="*/ 729588 h 1100441"/>
              <a:gd name="connsiteX107" fmla="*/ 916252 w 1048488"/>
              <a:gd name="connsiteY107" fmla="*/ 743876 h 1100441"/>
              <a:gd name="connsiteX108" fmla="*/ 901964 w 1048488"/>
              <a:gd name="connsiteY108" fmla="*/ 772451 h 1100441"/>
              <a:gd name="connsiteX109" fmla="*/ 906727 w 1048488"/>
              <a:gd name="connsiteY109" fmla="*/ 801026 h 1100441"/>
              <a:gd name="connsiteX110" fmla="*/ 911489 w 1048488"/>
              <a:gd name="connsiteY110" fmla="*/ 820076 h 1100441"/>
              <a:gd name="connsiteX111" fmla="*/ 916252 w 1048488"/>
              <a:gd name="connsiteY111" fmla="*/ 848651 h 1100441"/>
              <a:gd name="connsiteX112" fmla="*/ 968639 w 1048488"/>
              <a:gd name="connsiteY112" fmla="*/ 862938 h 1100441"/>
              <a:gd name="connsiteX113" fmla="*/ 982927 w 1048488"/>
              <a:gd name="connsiteY113" fmla="*/ 872463 h 1100441"/>
              <a:gd name="connsiteX114" fmla="*/ 978164 w 1048488"/>
              <a:gd name="connsiteY114" fmla="*/ 915326 h 1100441"/>
              <a:gd name="connsiteX115" fmla="*/ 968639 w 1048488"/>
              <a:gd name="connsiteY115" fmla="*/ 943901 h 1100441"/>
              <a:gd name="connsiteX116" fmla="*/ 954352 w 1048488"/>
              <a:gd name="connsiteY116" fmla="*/ 953426 h 1100441"/>
              <a:gd name="connsiteX117" fmla="*/ 935302 w 1048488"/>
              <a:gd name="connsiteY117" fmla="*/ 977238 h 1100441"/>
              <a:gd name="connsiteX118" fmla="*/ 906727 w 1048488"/>
              <a:gd name="connsiteY118" fmla="*/ 1005813 h 1100441"/>
              <a:gd name="connsiteX119" fmla="*/ 897202 w 1048488"/>
              <a:gd name="connsiteY119" fmla="*/ 1020101 h 1100441"/>
              <a:gd name="connsiteX120" fmla="*/ 868627 w 1048488"/>
              <a:gd name="connsiteY120" fmla="*/ 1043913 h 1100441"/>
              <a:gd name="connsiteX121" fmla="*/ 849577 w 1048488"/>
              <a:gd name="connsiteY121" fmla="*/ 1072488 h 1100441"/>
              <a:gd name="connsiteX122" fmla="*/ 844814 w 1048488"/>
              <a:gd name="connsiteY122" fmla="*/ 1086776 h 1100441"/>
              <a:gd name="connsiteX123" fmla="*/ 830527 w 1048488"/>
              <a:gd name="connsiteY123" fmla="*/ 1096301 h 1100441"/>
              <a:gd name="connsiteX124" fmla="*/ 797189 w 1048488"/>
              <a:gd name="connsiteY124" fmla="*/ 1086776 h 1100441"/>
              <a:gd name="connsiteX125" fmla="*/ 754327 w 1048488"/>
              <a:gd name="connsiteY125" fmla="*/ 1077251 h 1100441"/>
              <a:gd name="connsiteX126" fmla="*/ 725752 w 1048488"/>
              <a:gd name="connsiteY126" fmla="*/ 1053438 h 1100441"/>
              <a:gd name="connsiteX127" fmla="*/ 711464 w 1048488"/>
              <a:gd name="connsiteY127" fmla="*/ 1048676 h 1100441"/>
              <a:gd name="connsiteX128" fmla="*/ 701939 w 1048488"/>
              <a:gd name="connsiteY128" fmla="*/ 1034388 h 1100441"/>
              <a:gd name="connsiteX129" fmla="*/ 697177 w 1048488"/>
              <a:gd name="connsiteY129" fmla="*/ 1020101 h 1100441"/>
              <a:gd name="connsiteX130" fmla="*/ 678127 w 1048488"/>
              <a:gd name="connsiteY130" fmla="*/ 991526 h 1100441"/>
              <a:gd name="connsiteX131" fmla="*/ 668602 w 1048488"/>
              <a:gd name="connsiteY131" fmla="*/ 977238 h 1100441"/>
              <a:gd name="connsiteX132" fmla="*/ 659077 w 1048488"/>
              <a:gd name="connsiteY132" fmla="*/ 962951 h 1100441"/>
              <a:gd name="connsiteX133" fmla="*/ 682889 w 1048488"/>
              <a:gd name="connsiteY133" fmla="*/ 920088 h 1100441"/>
              <a:gd name="connsiteX134" fmla="*/ 678127 w 1048488"/>
              <a:gd name="connsiteY134" fmla="*/ 896276 h 1100441"/>
              <a:gd name="connsiteX135" fmla="*/ 673364 w 1048488"/>
              <a:gd name="connsiteY135" fmla="*/ 881988 h 1100441"/>
              <a:gd name="connsiteX136" fmla="*/ 668602 w 1048488"/>
              <a:gd name="connsiteY136" fmla="*/ 839126 h 1100441"/>
              <a:gd name="connsiteX137" fmla="*/ 654314 w 1048488"/>
              <a:gd name="connsiteY137" fmla="*/ 834363 h 1100441"/>
              <a:gd name="connsiteX138" fmla="*/ 625739 w 1048488"/>
              <a:gd name="connsiteY138" fmla="*/ 848651 h 1100441"/>
              <a:gd name="connsiteX139" fmla="*/ 616214 w 1048488"/>
              <a:gd name="connsiteY139" fmla="*/ 862938 h 1100441"/>
              <a:gd name="connsiteX140" fmla="*/ 611452 w 1048488"/>
              <a:gd name="connsiteY140" fmla="*/ 877226 h 1100441"/>
              <a:gd name="connsiteX141" fmla="*/ 597164 w 1048488"/>
              <a:gd name="connsiteY141" fmla="*/ 886751 h 1100441"/>
              <a:gd name="connsiteX142" fmla="*/ 549539 w 1048488"/>
              <a:gd name="connsiteY142" fmla="*/ 896276 h 1100441"/>
              <a:gd name="connsiteX143" fmla="*/ 544777 w 1048488"/>
              <a:gd name="connsiteY143" fmla="*/ 910563 h 1100441"/>
              <a:gd name="connsiteX144" fmla="*/ 540014 w 1048488"/>
              <a:gd name="connsiteY144" fmla="*/ 929613 h 1100441"/>
              <a:gd name="connsiteX145" fmla="*/ 525727 w 1048488"/>
              <a:gd name="connsiteY145" fmla="*/ 939138 h 1100441"/>
              <a:gd name="connsiteX146" fmla="*/ 506677 w 1048488"/>
              <a:gd name="connsiteY146" fmla="*/ 920088 h 1100441"/>
              <a:gd name="connsiteX147" fmla="*/ 492389 w 1048488"/>
              <a:gd name="connsiteY147" fmla="*/ 915326 h 1100441"/>
              <a:gd name="connsiteX148" fmla="*/ 478102 w 1048488"/>
              <a:gd name="connsiteY148" fmla="*/ 929613 h 1100441"/>
              <a:gd name="connsiteX149" fmla="*/ 473339 w 1048488"/>
              <a:gd name="connsiteY149" fmla="*/ 943901 h 1100441"/>
              <a:gd name="connsiteX150" fmla="*/ 459052 w 1048488"/>
              <a:gd name="connsiteY150" fmla="*/ 948663 h 1100441"/>
              <a:gd name="connsiteX151" fmla="*/ 416189 w 1048488"/>
              <a:gd name="connsiteY151" fmla="*/ 929613 h 1100441"/>
              <a:gd name="connsiteX152" fmla="*/ 401902 w 1048488"/>
              <a:gd name="connsiteY152" fmla="*/ 920088 h 1100441"/>
              <a:gd name="connsiteX153" fmla="*/ 387614 w 1048488"/>
              <a:gd name="connsiteY153" fmla="*/ 891513 h 1100441"/>
              <a:gd name="connsiteX154" fmla="*/ 382852 w 1048488"/>
              <a:gd name="connsiteY154" fmla="*/ 877226 h 1100441"/>
              <a:gd name="connsiteX155" fmla="*/ 359039 w 1048488"/>
              <a:gd name="connsiteY155" fmla="*/ 815313 h 1100441"/>
              <a:gd name="connsiteX156" fmla="*/ 349514 w 1048488"/>
              <a:gd name="connsiteY156" fmla="*/ 801026 h 1100441"/>
              <a:gd name="connsiteX157" fmla="*/ 330464 w 1048488"/>
              <a:gd name="connsiteY157" fmla="*/ 758163 h 1100441"/>
              <a:gd name="connsiteX158" fmla="*/ 273314 w 1048488"/>
              <a:gd name="connsiteY158" fmla="*/ 729588 h 1100441"/>
              <a:gd name="connsiteX159" fmla="*/ 259027 w 1048488"/>
              <a:gd name="connsiteY159" fmla="*/ 724826 h 1100441"/>
              <a:gd name="connsiteX160" fmla="*/ 244739 w 1048488"/>
              <a:gd name="connsiteY160" fmla="*/ 720063 h 1100441"/>
              <a:gd name="connsiteX161" fmla="*/ 178064 w 1048488"/>
              <a:gd name="connsiteY161" fmla="*/ 724826 h 110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048488" h="1100441">
                <a:moveTo>
                  <a:pt x="178064" y="724826"/>
                </a:moveTo>
                <a:cubicBezTo>
                  <a:pt x="156761" y="692871"/>
                  <a:pt x="181856" y="724179"/>
                  <a:pt x="154252" y="705776"/>
                </a:cubicBezTo>
                <a:cubicBezTo>
                  <a:pt x="118578" y="681993"/>
                  <a:pt x="159647" y="698049"/>
                  <a:pt x="125677" y="686726"/>
                </a:cubicBezTo>
                <a:cubicBezTo>
                  <a:pt x="122502" y="681963"/>
                  <a:pt x="118712" y="677558"/>
                  <a:pt x="116152" y="672438"/>
                </a:cubicBezTo>
                <a:cubicBezTo>
                  <a:pt x="108126" y="656387"/>
                  <a:pt x="108765" y="636673"/>
                  <a:pt x="116152" y="620051"/>
                </a:cubicBezTo>
                <a:cubicBezTo>
                  <a:pt x="118191" y="615464"/>
                  <a:pt x="125677" y="616876"/>
                  <a:pt x="130439" y="615288"/>
                </a:cubicBezTo>
                <a:cubicBezTo>
                  <a:pt x="139964" y="616876"/>
                  <a:pt x="149417" y="621117"/>
                  <a:pt x="159014" y="620051"/>
                </a:cubicBezTo>
                <a:cubicBezTo>
                  <a:pt x="176870" y="618067"/>
                  <a:pt x="175647" y="606900"/>
                  <a:pt x="168539" y="596238"/>
                </a:cubicBezTo>
                <a:cubicBezTo>
                  <a:pt x="164803" y="590634"/>
                  <a:pt x="159014" y="586713"/>
                  <a:pt x="154252" y="581951"/>
                </a:cubicBezTo>
                <a:cubicBezTo>
                  <a:pt x="149087" y="566458"/>
                  <a:pt x="152060" y="565631"/>
                  <a:pt x="135202" y="558138"/>
                </a:cubicBezTo>
                <a:cubicBezTo>
                  <a:pt x="126027" y="554060"/>
                  <a:pt x="106627" y="548613"/>
                  <a:pt x="106627" y="548613"/>
                </a:cubicBezTo>
                <a:cubicBezTo>
                  <a:pt x="108214" y="527976"/>
                  <a:pt x="108971" y="507258"/>
                  <a:pt x="111389" y="486701"/>
                </a:cubicBezTo>
                <a:cubicBezTo>
                  <a:pt x="113010" y="472920"/>
                  <a:pt x="121566" y="466084"/>
                  <a:pt x="111389" y="453363"/>
                </a:cubicBezTo>
                <a:cubicBezTo>
                  <a:pt x="107813" y="448894"/>
                  <a:pt x="101864" y="447013"/>
                  <a:pt x="97102" y="443838"/>
                </a:cubicBezTo>
                <a:cubicBezTo>
                  <a:pt x="85989" y="445426"/>
                  <a:pt x="74702" y="446077"/>
                  <a:pt x="63764" y="448601"/>
                </a:cubicBezTo>
                <a:cubicBezTo>
                  <a:pt x="53981" y="450859"/>
                  <a:pt x="35189" y="458126"/>
                  <a:pt x="35189" y="458126"/>
                </a:cubicBezTo>
                <a:cubicBezTo>
                  <a:pt x="30427" y="454951"/>
                  <a:pt x="24949" y="452648"/>
                  <a:pt x="20902" y="448601"/>
                </a:cubicBezTo>
                <a:cubicBezTo>
                  <a:pt x="9048" y="436747"/>
                  <a:pt x="0" y="410738"/>
                  <a:pt x="16139" y="396213"/>
                </a:cubicBezTo>
                <a:cubicBezTo>
                  <a:pt x="26824" y="386596"/>
                  <a:pt x="44714" y="393038"/>
                  <a:pt x="59002" y="391451"/>
                </a:cubicBezTo>
                <a:cubicBezTo>
                  <a:pt x="57414" y="385101"/>
                  <a:pt x="52169" y="378611"/>
                  <a:pt x="54239" y="372401"/>
                </a:cubicBezTo>
                <a:cubicBezTo>
                  <a:pt x="56049" y="366971"/>
                  <a:pt x="62873" y="363769"/>
                  <a:pt x="68527" y="362876"/>
                </a:cubicBezTo>
                <a:cubicBezTo>
                  <a:pt x="93665" y="358907"/>
                  <a:pt x="119327" y="359701"/>
                  <a:pt x="144727" y="358113"/>
                </a:cubicBezTo>
                <a:cubicBezTo>
                  <a:pt x="153700" y="349140"/>
                  <a:pt x="163234" y="341474"/>
                  <a:pt x="168539" y="329538"/>
                </a:cubicBezTo>
                <a:cubicBezTo>
                  <a:pt x="172617" y="320363"/>
                  <a:pt x="178064" y="300963"/>
                  <a:pt x="178064" y="300963"/>
                </a:cubicBezTo>
                <a:cubicBezTo>
                  <a:pt x="176477" y="289851"/>
                  <a:pt x="176527" y="278378"/>
                  <a:pt x="173302" y="267626"/>
                </a:cubicBezTo>
                <a:cubicBezTo>
                  <a:pt x="169976" y="256538"/>
                  <a:pt x="156135" y="247026"/>
                  <a:pt x="149489" y="239051"/>
                </a:cubicBezTo>
                <a:cubicBezTo>
                  <a:pt x="129643" y="215236"/>
                  <a:pt x="151872" y="232702"/>
                  <a:pt x="125677" y="215238"/>
                </a:cubicBezTo>
                <a:cubicBezTo>
                  <a:pt x="122502" y="210476"/>
                  <a:pt x="119816" y="205348"/>
                  <a:pt x="116152" y="200951"/>
                </a:cubicBezTo>
                <a:cubicBezTo>
                  <a:pt x="111840" y="195777"/>
                  <a:pt x="105600" y="192267"/>
                  <a:pt x="101864" y="186663"/>
                </a:cubicBezTo>
                <a:cubicBezTo>
                  <a:pt x="99079" y="182486"/>
                  <a:pt x="99347" y="176866"/>
                  <a:pt x="97102" y="172376"/>
                </a:cubicBezTo>
                <a:cubicBezTo>
                  <a:pt x="89164" y="156500"/>
                  <a:pt x="87577" y="158088"/>
                  <a:pt x="73289" y="148563"/>
                </a:cubicBezTo>
                <a:lnTo>
                  <a:pt x="63764" y="119988"/>
                </a:lnTo>
                <a:cubicBezTo>
                  <a:pt x="62159" y="115174"/>
                  <a:pt x="58993" y="89019"/>
                  <a:pt x="54239" y="81888"/>
                </a:cubicBezTo>
                <a:cubicBezTo>
                  <a:pt x="50503" y="76284"/>
                  <a:pt x="44264" y="72775"/>
                  <a:pt x="39952" y="67601"/>
                </a:cubicBezTo>
                <a:cubicBezTo>
                  <a:pt x="36288" y="63204"/>
                  <a:pt x="33602" y="58076"/>
                  <a:pt x="30427" y="53313"/>
                </a:cubicBezTo>
                <a:cubicBezTo>
                  <a:pt x="31923" y="39847"/>
                  <a:pt x="24780" y="4454"/>
                  <a:pt x="49477" y="926"/>
                </a:cubicBezTo>
                <a:cubicBezTo>
                  <a:pt x="55957" y="0"/>
                  <a:pt x="62177" y="4101"/>
                  <a:pt x="68527" y="5688"/>
                </a:cubicBezTo>
                <a:cubicBezTo>
                  <a:pt x="97134" y="24760"/>
                  <a:pt x="68927" y="10451"/>
                  <a:pt x="120914" y="10451"/>
                </a:cubicBezTo>
                <a:cubicBezTo>
                  <a:pt x="133713" y="10451"/>
                  <a:pt x="146314" y="13626"/>
                  <a:pt x="159014" y="15213"/>
                </a:cubicBezTo>
                <a:cubicBezTo>
                  <a:pt x="168539" y="18388"/>
                  <a:pt x="179235" y="19169"/>
                  <a:pt x="187589" y="24738"/>
                </a:cubicBezTo>
                <a:cubicBezTo>
                  <a:pt x="192352" y="27913"/>
                  <a:pt x="196616" y="32008"/>
                  <a:pt x="201877" y="34263"/>
                </a:cubicBezTo>
                <a:cubicBezTo>
                  <a:pt x="217643" y="41020"/>
                  <a:pt x="260145" y="42947"/>
                  <a:pt x="268552" y="43788"/>
                </a:cubicBezTo>
                <a:cubicBezTo>
                  <a:pt x="273314" y="46963"/>
                  <a:pt x="279263" y="48844"/>
                  <a:pt x="282839" y="53313"/>
                </a:cubicBezTo>
                <a:cubicBezTo>
                  <a:pt x="285975" y="57233"/>
                  <a:pt x="285357" y="63111"/>
                  <a:pt x="287602" y="67601"/>
                </a:cubicBezTo>
                <a:cubicBezTo>
                  <a:pt x="290162" y="72720"/>
                  <a:pt x="293952" y="77126"/>
                  <a:pt x="297127" y="81888"/>
                </a:cubicBezTo>
                <a:cubicBezTo>
                  <a:pt x="308239" y="80301"/>
                  <a:pt x="320206" y="81685"/>
                  <a:pt x="330464" y="77126"/>
                </a:cubicBezTo>
                <a:cubicBezTo>
                  <a:pt x="335695" y="74801"/>
                  <a:pt x="334758" y="65163"/>
                  <a:pt x="339989" y="62838"/>
                </a:cubicBezTo>
                <a:cubicBezTo>
                  <a:pt x="350247" y="58279"/>
                  <a:pt x="362214" y="59663"/>
                  <a:pt x="373327" y="58076"/>
                </a:cubicBezTo>
                <a:cubicBezTo>
                  <a:pt x="378089" y="54901"/>
                  <a:pt x="383217" y="52215"/>
                  <a:pt x="387614" y="48551"/>
                </a:cubicBezTo>
                <a:cubicBezTo>
                  <a:pt x="392788" y="44239"/>
                  <a:pt x="396014" y="37534"/>
                  <a:pt x="401902" y="34263"/>
                </a:cubicBezTo>
                <a:cubicBezTo>
                  <a:pt x="410679" y="29387"/>
                  <a:pt x="430477" y="24738"/>
                  <a:pt x="430477" y="24738"/>
                </a:cubicBezTo>
                <a:cubicBezTo>
                  <a:pt x="433652" y="29501"/>
                  <a:pt x="437747" y="33765"/>
                  <a:pt x="440002" y="39026"/>
                </a:cubicBezTo>
                <a:cubicBezTo>
                  <a:pt x="442580" y="45042"/>
                  <a:pt x="440675" y="52965"/>
                  <a:pt x="444764" y="58076"/>
                </a:cubicBezTo>
                <a:cubicBezTo>
                  <a:pt x="447900" y="61996"/>
                  <a:pt x="454289" y="61251"/>
                  <a:pt x="459052" y="62838"/>
                </a:cubicBezTo>
                <a:cubicBezTo>
                  <a:pt x="462227" y="67601"/>
                  <a:pt x="464107" y="73550"/>
                  <a:pt x="468577" y="77126"/>
                </a:cubicBezTo>
                <a:cubicBezTo>
                  <a:pt x="472497" y="80262"/>
                  <a:pt x="478374" y="79643"/>
                  <a:pt x="482864" y="81888"/>
                </a:cubicBezTo>
                <a:cubicBezTo>
                  <a:pt x="519800" y="100356"/>
                  <a:pt x="475522" y="84202"/>
                  <a:pt x="511439" y="96176"/>
                </a:cubicBezTo>
                <a:cubicBezTo>
                  <a:pt x="514428" y="100659"/>
                  <a:pt x="525913" y="121855"/>
                  <a:pt x="535252" y="119988"/>
                </a:cubicBezTo>
                <a:cubicBezTo>
                  <a:pt x="540865" y="118866"/>
                  <a:pt x="540730" y="109748"/>
                  <a:pt x="544777" y="105701"/>
                </a:cubicBezTo>
                <a:cubicBezTo>
                  <a:pt x="548824" y="101654"/>
                  <a:pt x="554302" y="99351"/>
                  <a:pt x="559064" y="96176"/>
                </a:cubicBezTo>
                <a:cubicBezTo>
                  <a:pt x="563827" y="97763"/>
                  <a:pt x="569432" y="97802"/>
                  <a:pt x="573352" y="100938"/>
                </a:cubicBezTo>
                <a:cubicBezTo>
                  <a:pt x="577822" y="104514"/>
                  <a:pt x="580317" y="110106"/>
                  <a:pt x="582877" y="115226"/>
                </a:cubicBezTo>
                <a:cubicBezTo>
                  <a:pt x="586681" y="122834"/>
                  <a:pt x="590369" y="141448"/>
                  <a:pt x="592402" y="148563"/>
                </a:cubicBezTo>
                <a:cubicBezTo>
                  <a:pt x="593781" y="153390"/>
                  <a:pt x="595946" y="157981"/>
                  <a:pt x="597164" y="162851"/>
                </a:cubicBezTo>
                <a:cubicBezTo>
                  <a:pt x="601809" y="181432"/>
                  <a:pt x="603999" y="201169"/>
                  <a:pt x="606689" y="220001"/>
                </a:cubicBezTo>
                <a:cubicBezTo>
                  <a:pt x="605102" y="231113"/>
                  <a:pt x="605957" y="242861"/>
                  <a:pt x="601927" y="253338"/>
                </a:cubicBezTo>
                <a:cubicBezTo>
                  <a:pt x="597818" y="264023"/>
                  <a:pt x="589227" y="272388"/>
                  <a:pt x="582877" y="281913"/>
                </a:cubicBezTo>
                <a:lnTo>
                  <a:pt x="573352" y="296201"/>
                </a:lnTo>
                <a:cubicBezTo>
                  <a:pt x="567783" y="304555"/>
                  <a:pt x="553131" y="300157"/>
                  <a:pt x="544777" y="305726"/>
                </a:cubicBezTo>
                <a:lnTo>
                  <a:pt x="530489" y="315251"/>
                </a:lnTo>
                <a:cubicBezTo>
                  <a:pt x="528902" y="320013"/>
                  <a:pt x="522715" y="325522"/>
                  <a:pt x="525727" y="329538"/>
                </a:cubicBezTo>
                <a:cubicBezTo>
                  <a:pt x="533749" y="340234"/>
                  <a:pt x="555805" y="331544"/>
                  <a:pt x="563827" y="329538"/>
                </a:cubicBezTo>
                <a:cubicBezTo>
                  <a:pt x="568589" y="326363"/>
                  <a:pt x="572884" y="322338"/>
                  <a:pt x="578114" y="320013"/>
                </a:cubicBezTo>
                <a:cubicBezTo>
                  <a:pt x="587289" y="315935"/>
                  <a:pt x="606689" y="310488"/>
                  <a:pt x="606689" y="310488"/>
                </a:cubicBezTo>
                <a:cubicBezTo>
                  <a:pt x="620977" y="312076"/>
                  <a:pt x="636042" y="310338"/>
                  <a:pt x="649552" y="315251"/>
                </a:cubicBezTo>
                <a:cubicBezTo>
                  <a:pt x="654931" y="317207"/>
                  <a:pt x="657121" y="324159"/>
                  <a:pt x="659077" y="329538"/>
                </a:cubicBezTo>
                <a:cubicBezTo>
                  <a:pt x="663551" y="341841"/>
                  <a:pt x="668602" y="367638"/>
                  <a:pt x="668602" y="367638"/>
                </a:cubicBezTo>
                <a:cubicBezTo>
                  <a:pt x="673364" y="364463"/>
                  <a:pt x="677770" y="360673"/>
                  <a:pt x="682889" y="358113"/>
                </a:cubicBezTo>
                <a:cubicBezTo>
                  <a:pt x="722324" y="338396"/>
                  <a:pt x="670521" y="371123"/>
                  <a:pt x="711464" y="343826"/>
                </a:cubicBezTo>
                <a:cubicBezTo>
                  <a:pt x="724164" y="345413"/>
                  <a:pt x="737511" y="344283"/>
                  <a:pt x="749564" y="348588"/>
                </a:cubicBezTo>
                <a:cubicBezTo>
                  <a:pt x="760345" y="352438"/>
                  <a:pt x="768614" y="361288"/>
                  <a:pt x="778139" y="367638"/>
                </a:cubicBezTo>
                <a:lnTo>
                  <a:pt x="792427" y="377163"/>
                </a:lnTo>
                <a:cubicBezTo>
                  <a:pt x="798031" y="380899"/>
                  <a:pt x="801233" y="387536"/>
                  <a:pt x="806714" y="391451"/>
                </a:cubicBezTo>
                <a:cubicBezTo>
                  <a:pt x="817014" y="398808"/>
                  <a:pt x="828391" y="401852"/>
                  <a:pt x="840052" y="405738"/>
                </a:cubicBezTo>
                <a:lnTo>
                  <a:pt x="868627" y="424788"/>
                </a:lnTo>
                <a:cubicBezTo>
                  <a:pt x="873389" y="427963"/>
                  <a:pt x="877484" y="432503"/>
                  <a:pt x="882914" y="434313"/>
                </a:cubicBezTo>
                <a:lnTo>
                  <a:pt x="897202" y="439076"/>
                </a:lnTo>
                <a:cubicBezTo>
                  <a:pt x="908821" y="435202"/>
                  <a:pt x="916545" y="434019"/>
                  <a:pt x="925777" y="424788"/>
                </a:cubicBezTo>
                <a:cubicBezTo>
                  <a:pt x="929824" y="420741"/>
                  <a:pt x="930994" y="414270"/>
                  <a:pt x="935302" y="410501"/>
                </a:cubicBezTo>
                <a:cubicBezTo>
                  <a:pt x="943917" y="402963"/>
                  <a:pt x="954352" y="397801"/>
                  <a:pt x="963877" y="391451"/>
                </a:cubicBezTo>
                <a:cubicBezTo>
                  <a:pt x="982342" y="379141"/>
                  <a:pt x="972733" y="383736"/>
                  <a:pt x="992452" y="377163"/>
                </a:cubicBezTo>
                <a:cubicBezTo>
                  <a:pt x="1000389" y="378751"/>
                  <a:pt x="1008411" y="379963"/>
                  <a:pt x="1016264" y="381926"/>
                </a:cubicBezTo>
                <a:cubicBezTo>
                  <a:pt x="1021134" y="383144"/>
                  <a:pt x="1027002" y="383138"/>
                  <a:pt x="1030552" y="386688"/>
                </a:cubicBezTo>
                <a:cubicBezTo>
                  <a:pt x="1034102" y="390238"/>
                  <a:pt x="1033727" y="396213"/>
                  <a:pt x="1035314" y="400976"/>
                </a:cubicBezTo>
                <a:cubicBezTo>
                  <a:pt x="1036902" y="416851"/>
                  <a:pt x="1038098" y="432770"/>
                  <a:pt x="1040077" y="448601"/>
                </a:cubicBezTo>
                <a:cubicBezTo>
                  <a:pt x="1045093" y="488730"/>
                  <a:pt x="1048488" y="469014"/>
                  <a:pt x="1040077" y="515276"/>
                </a:cubicBezTo>
                <a:cubicBezTo>
                  <a:pt x="1039179" y="520215"/>
                  <a:pt x="1038099" y="525386"/>
                  <a:pt x="1035314" y="529563"/>
                </a:cubicBezTo>
                <a:cubicBezTo>
                  <a:pt x="1027978" y="540566"/>
                  <a:pt x="1017284" y="546346"/>
                  <a:pt x="1006739" y="553376"/>
                </a:cubicBezTo>
                <a:cubicBezTo>
                  <a:pt x="1003564" y="558138"/>
                  <a:pt x="1001522" y="563894"/>
                  <a:pt x="997214" y="567663"/>
                </a:cubicBezTo>
                <a:cubicBezTo>
                  <a:pt x="977060" y="585298"/>
                  <a:pt x="973975" y="584934"/>
                  <a:pt x="954352" y="591476"/>
                </a:cubicBezTo>
                <a:lnTo>
                  <a:pt x="925777" y="572426"/>
                </a:lnTo>
                <a:cubicBezTo>
                  <a:pt x="917423" y="566857"/>
                  <a:pt x="916252" y="601001"/>
                  <a:pt x="916252" y="601001"/>
                </a:cubicBezTo>
                <a:cubicBezTo>
                  <a:pt x="917839" y="613701"/>
                  <a:pt x="915816" y="627405"/>
                  <a:pt x="921014" y="639101"/>
                </a:cubicBezTo>
                <a:cubicBezTo>
                  <a:pt x="923053" y="643689"/>
                  <a:pt x="930812" y="641618"/>
                  <a:pt x="935302" y="643863"/>
                </a:cubicBezTo>
                <a:cubicBezTo>
                  <a:pt x="948561" y="650492"/>
                  <a:pt x="953346" y="657145"/>
                  <a:pt x="963877" y="667676"/>
                </a:cubicBezTo>
                <a:cubicBezTo>
                  <a:pt x="970083" y="686295"/>
                  <a:pt x="976386" y="692674"/>
                  <a:pt x="949589" y="710538"/>
                </a:cubicBezTo>
                <a:lnTo>
                  <a:pt x="921014" y="729588"/>
                </a:lnTo>
                <a:cubicBezTo>
                  <a:pt x="919427" y="734351"/>
                  <a:pt x="918497" y="739386"/>
                  <a:pt x="916252" y="743876"/>
                </a:cubicBezTo>
                <a:cubicBezTo>
                  <a:pt x="897784" y="780813"/>
                  <a:pt x="913939" y="736530"/>
                  <a:pt x="901964" y="772451"/>
                </a:cubicBezTo>
                <a:cubicBezTo>
                  <a:pt x="903552" y="781976"/>
                  <a:pt x="904833" y="791557"/>
                  <a:pt x="906727" y="801026"/>
                </a:cubicBezTo>
                <a:cubicBezTo>
                  <a:pt x="908011" y="807444"/>
                  <a:pt x="910205" y="813658"/>
                  <a:pt x="911489" y="820076"/>
                </a:cubicBezTo>
                <a:cubicBezTo>
                  <a:pt x="913383" y="829545"/>
                  <a:pt x="909893" y="841384"/>
                  <a:pt x="916252" y="848651"/>
                </a:cubicBezTo>
                <a:cubicBezTo>
                  <a:pt x="921379" y="854511"/>
                  <a:pt x="960076" y="861226"/>
                  <a:pt x="968639" y="862938"/>
                </a:cubicBezTo>
                <a:cubicBezTo>
                  <a:pt x="973402" y="866113"/>
                  <a:pt x="979351" y="867993"/>
                  <a:pt x="982927" y="872463"/>
                </a:cubicBezTo>
                <a:cubicBezTo>
                  <a:pt x="994132" y="886470"/>
                  <a:pt x="982739" y="901600"/>
                  <a:pt x="978164" y="915326"/>
                </a:cubicBezTo>
                <a:lnTo>
                  <a:pt x="968639" y="943901"/>
                </a:lnTo>
                <a:cubicBezTo>
                  <a:pt x="966829" y="949331"/>
                  <a:pt x="959114" y="950251"/>
                  <a:pt x="954352" y="953426"/>
                </a:cubicBezTo>
                <a:cubicBezTo>
                  <a:pt x="946074" y="978257"/>
                  <a:pt x="955710" y="959098"/>
                  <a:pt x="935302" y="977238"/>
                </a:cubicBezTo>
                <a:cubicBezTo>
                  <a:pt x="925234" y="986187"/>
                  <a:pt x="914199" y="994605"/>
                  <a:pt x="906727" y="1005813"/>
                </a:cubicBezTo>
                <a:cubicBezTo>
                  <a:pt x="903552" y="1010576"/>
                  <a:pt x="901249" y="1016054"/>
                  <a:pt x="897202" y="1020101"/>
                </a:cubicBezTo>
                <a:cubicBezTo>
                  <a:pt x="869684" y="1047619"/>
                  <a:pt x="895935" y="1008803"/>
                  <a:pt x="868627" y="1043913"/>
                </a:cubicBezTo>
                <a:cubicBezTo>
                  <a:pt x="861599" y="1052949"/>
                  <a:pt x="855927" y="1062963"/>
                  <a:pt x="849577" y="1072488"/>
                </a:cubicBezTo>
                <a:cubicBezTo>
                  <a:pt x="846792" y="1076665"/>
                  <a:pt x="847950" y="1082856"/>
                  <a:pt x="844814" y="1086776"/>
                </a:cubicBezTo>
                <a:cubicBezTo>
                  <a:pt x="841238" y="1091245"/>
                  <a:pt x="835289" y="1093126"/>
                  <a:pt x="830527" y="1096301"/>
                </a:cubicBezTo>
                <a:cubicBezTo>
                  <a:pt x="770974" y="1081411"/>
                  <a:pt x="845016" y="1100441"/>
                  <a:pt x="797189" y="1086776"/>
                </a:cubicBezTo>
                <a:cubicBezTo>
                  <a:pt x="781485" y="1082289"/>
                  <a:pt x="770709" y="1080527"/>
                  <a:pt x="754327" y="1077251"/>
                </a:cubicBezTo>
                <a:cubicBezTo>
                  <a:pt x="743796" y="1066720"/>
                  <a:pt x="739011" y="1060067"/>
                  <a:pt x="725752" y="1053438"/>
                </a:cubicBezTo>
                <a:cubicBezTo>
                  <a:pt x="721262" y="1051193"/>
                  <a:pt x="716227" y="1050263"/>
                  <a:pt x="711464" y="1048676"/>
                </a:cubicBezTo>
                <a:cubicBezTo>
                  <a:pt x="708289" y="1043913"/>
                  <a:pt x="704499" y="1039508"/>
                  <a:pt x="701939" y="1034388"/>
                </a:cubicBezTo>
                <a:cubicBezTo>
                  <a:pt x="699694" y="1029898"/>
                  <a:pt x="699615" y="1024489"/>
                  <a:pt x="697177" y="1020101"/>
                </a:cubicBezTo>
                <a:cubicBezTo>
                  <a:pt x="691618" y="1010094"/>
                  <a:pt x="684477" y="1001051"/>
                  <a:pt x="678127" y="991526"/>
                </a:cubicBezTo>
                <a:lnTo>
                  <a:pt x="668602" y="977238"/>
                </a:lnTo>
                <a:lnTo>
                  <a:pt x="659077" y="962951"/>
                </a:lnTo>
                <a:cubicBezTo>
                  <a:pt x="680912" y="930199"/>
                  <a:pt x="674507" y="945236"/>
                  <a:pt x="682889" y="920088"/>
                </a:cubicBezTo>
                <a:cubicBezTo>
                  <a:pt x="681302" y="912151"/>
                  <a:pt x="680090" y="904129"/>
                  <a:pt x="678127" y="896276"/>
                </a:cubicBezTo>
                <a:cubicBezTo>
                  <a:pt x="676909" y="891406"/>
                  <a:pt x="674189" y="886940"/>
                  <a:pt x="673364" y="881988"/>
                </a:cubicBezTo>
                <a:cubicBezTo>
                  <a:pt x="671001" y="867808"/>
                  <a:pt x="673941" y="852473"/>
                  <a:pt x="668602" y="839126"/>
                </a:cubicBezTo>
                <a:cubicBezTo>
                  <a:pt x="666737" y="834465"/>
                  <a:pt x="659077" y="835951"/>
                  <a:pt x="654314" y="834363"/>
                </a:cubicBezTo>
                <a:cubicBezTo>
                  <a:pt x="642695" y="838237"/>
                  <a:pt x="634971" y="839420"/>
                  <a:pt x="625739" y="848651"/>
                </a:cubicBezTo>
                <a:cubicBezTo>
                  <a:pt x="621692" y="852698"/>
                  <a:pt x="619389" y="858176"/>
                  <a:pt x="616214" y="862938"/>
                </a:cubicBezTo>
                <a:cubicBezTo>
                  <a:pt x="614627" y="867701"/>
                  <a:pt x="614588" y="873306"/>
                  <a:pt x="611452" y="877226"/>
                </a:cubicBezTo>
                <a:cubicBezTo>
                  <a:pt x="607876" y="881696"/>
                  <a:pt x="602284" y="884191"/>
                  <a:pt x="597164" y="886751"/>
                </a:cubicBezTo>
                <a:cubicBezTo>
                  <a:pt x="583866" y="893400"/>
                  <a:pt x="561821" y="894521"/>
                  <a:pt x="549539" y="896276"/>
                </a:cubicBezTo>
                <a:cubicBezTo>
                  <a:pt x="547952" y="901038"/>
                  <a:pt x="546156" y="905736"/>
                  <a:pt x="544777" y="910563"/>
                </a:cubicBezTo>
                <a:cubicBezTo>
                  <a:pt x="542979" y="916857"/>
                  <a:pt x="543645" y="924167"/>
                  <a:pt x="540014" y="929613"/>
                </a:cubicBezTo>
                <a:cubicBezTo>
                  <a:pt x="536839" y="934375"/>
                  <a:pt x="530489" y="935963"/>
                  <a:pt x="525727" y="939138"/>
                </a:cubicBezTo>
                <a:cubicBezTo>
                  <a:pt x="487626" y="926439"/>
                  <a:pt x="532077" y="945488"/>
                  <a:pt x="506677" y="920088"/>
                </a:cubicBezTo>
                <a:cubicBezTo>
                  <a:pt x="503127" y="916538"/>
                  <a:pt x="497152" y="916913"/>
                  <a:pt x="492389" y="915326"/>
                </a:cubicBezTo>
                <a:cubicBezTo>
                  <a:pt x="487627" y="920088"/>
                  <a:pt x="481838" y="924009"/>
                  <a:pt x="478102" y="929613"/>
                </a:cubicBezTo>
                <a:cubicBezTo>
                  <a:pt x="475317" y="933790"/>
                  <a:pt x="476889" y="940351"/>
                  <a:pt x="473339" y="943901"/>
                </a:cubicBezTo>
                <a:cubicBezTo>
                  <a:pt x="469789" y="947451"/>
                  <a:pt x="463814" y="947076"/>
                  <a:pt x="459052" y="948663"/>
                </a:cubicBezTo>
                <a:cubicBezTo>
                  <a:pt x="436410" y="933569"/>
                  <a:pt x="450194" y="940948"/>
                  <a:pt x="416189" y="929613"/>
                </a:cubicBezTo>
                <a:cubicBezTo>
                  <a:pt x="410759" y="927803"/>
                  <a:pt x="406664" y="923263"/>
                  <a:pt x="401902" y="920088"/>
                </a:cubicBezTo>
                <a:cubicBezTo>
                  <a:pt x="389928" y="884171"/>
                  <a:pt x="406082" y="928449"/>
                  <a:pt x="387614" y="891513"/>
                </a:cubicBezTo>
                <a:cubicBezTo>
                  <a:pt x="385369" y="887023"/>
                  <a:pt x="384439" y="881988"/>
                  <a:pt x="382852" y="877226"/>
                </a:cubicBezTo>
                <a:cubicBezTo>
                  <a:pt x="376470" y="832556"/>
                  <a:pt x="384316" y="853228"/>
                  <a:pt x="359039" y="815313"/>
                </a:cubicBezTo>
                <a:lnTo>
                  <a:pt x="349514" y="801026"/>
                </a:lnTo>
                <a:cubicBezTo>
                  <a:pt x="345967" y="790384"/>
                  <a:pt x="341118" y="767486"/>
                  <a:pt x="330464" y="758163"/>
                </a:cubicBezTo>
                <a:cubicBezTo>
                  <a:pt x="307739" y="738279"/>
                  <a:pt x="300291" y="738580"/>
                  <a:pt x="273314" y="729588"/>
                </a:cubicBezTo>
                <a:lnTo>
                  <a:pt x="259027" y="724826"/>
                </a:lnTo>
                <a:cubicBezTo>
                  <a:pt x="254264" y="723238"/>
                  <a:pt x="249759" y="720063"/>
                  <a:pt x="244739" y="720063"/>
                </a:cubicBezTo>
                <a:lnTo>
                  <a:pt x="178064" y="724826"/>
                </a:ln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21" name="Freeform 20"/>
          <p:cNvSpPr/>
          <p:nvPr>
            <p:custDataLst>
              <p:tags r:id="rId10"/>
            </p:custDataLst>
          </p:nvPr>
        </p:nvSpPr>
        <p:spPr bwMode="auto">
          <a:xfrm>
            <a:off x="1834515" y="2163682"/>
            <a:ext cx="200459" cy="197828"/>
          </a:xfrm>
          <a:custGeom>
            <a:avLst/>
            <a:gdLst>
              <a:gd name="connsiteX0" fmla="*/ 10278 w 238878"/>
              <a:gd name="connsiteY0" fmla="*/ 111918 h 235743"/>
              <a:gd name="connsiteX1" fmla="*/ 15041 w 238878"/>
              <a:gd name="connsiteY1" fmla="*/ 104775 h 235743"/>
              <a:gd name="connsiteX2" fmla="*/ 17422 w 238878"/>
              <a:gd name="connsiteY2" fmla="*/ 95250 h 235743"/>
              <a:gd name="connsiteX3" fmla="*/ 31710 w 238878"/>
              <a:gd name="connsiteY3" fmla="*/ 88106 h 235743"/>
              <a:gd name="connsiteX4" fmla="*/ 41235 w 238878"/>
              <a:gd name="connsiteY4" fmla="*/ 90487 h 235743"/>
              <a:gd name="connsiteX5" fmla="*/ 43616 w 238878"/>
              <a:gd name="connsiteY5" fmla="*/ 100012 h 235743"/>
              <a:gd name="connsiteX6" fmla="*/ 57903 w 238878"/>
              <a:gd name="connsiteY6" fmla="*/ 104775 h 235743"/>
              <a:gd name="connsiteX7" fmla="*/ 74572 w 238878"/>
              <a:gd name="connsiteY7" fmla="*/ 102393 h 235743"/>
              <a:gd name="connsiteX8" fmla="*/ 81716 w 238878"/>
              <a:gd name="connsiteY8" fmla="*/ 95250 h 235743"/>
              <a:gd name="connsiteX9" fmla="*/ 86478 w 238878"/>
              <a:gd name="connsiteY9" fmla="*/ 73818 h 235743"/>
              <a:gd name="connsiteX10" fmla="*/ 88860 w 238878"/>
              <a:gd name="connsiteY10" fmla="*/ 66675 h 235743"/>
              <a:gd name="connsiteX11" fmla="*/ 98385 w 238878"/>
              <a:gd name="connsiteY11" fmla="*/ 64293 h 235743"/>
              <a:gd name="connsiteX12" fmla="*/ 115053 w 238878"/>
              <a:gd name="connsiteY12" fmla="*/ 61912 h 235743"/>
              <a:gd name="connsiteX13" fmla="*/ 131722 w 238878"/>
              <a:gd name="connsiteY13" fmla="*/ 57150 h 235743"/>
              <a:gd name="connsiteX14" fmla="*/ 146010 w 238878"/>
              <a:gd name="connsiteY14" fmla="*/ 47625 h 235743"/>
              <a:gd name="connsiteX15" fmla="*/ 153153 w 238878"/>
              <a:gd name="connsiteY15" fmla="*/ 42862 h 235743"/>
              <a:gd name="connsiteX16" fmla="*/ 160297 w 238878"/>
              <a:gd name="connsiteY16" fmla="*/ 21431 h 235743"/>
              <a:gd name="connsiteX17" fmla="*/ 181728 w 238878"/>
              <a:gd name="connsiteY17" fmla="*/ 4762 h 235743"/>
              <a:gd name="connsiteX18" fmla="*/ 188872 w 238878"/>
              <a:gd name="connsiteY18" fmla="*/ 0 h 235743"/>
              <a:gd name="connsiteX19" fmla="*/ 198397 w 238878"/>
              <a:gd name="connsiteY19" fmla="*/ 2381 h 235743"/>
              <a:gd name="connsiteX20" fmla="*/ 207922 w 238878"/>
              <a:gd name="connsiteY20" fmla="*/ 40481 h 235743"/>
              <a:gd name="connsiteX21" fmla="*/ 212685 w 238878"/>
              <a:gd name="connsiteY21" fmla="*/ 54768 h 235743"/>
              <a:gd name="connsiteX22" fmla="*/ 212685 w 238878"/>
              <a:gd name="connsiteY22" fmla="*/ 95250 h 235743"/>
              <a:gd name="connsiteX23" fmla="*/ 203160 w 238878"/>
              <a:gd name="connsiteY23" fmla="*/ 109537 h 235743"/>
              <a:gd name="connsiteX24" fmla="*/ 198397 w 238878"/>
              <a:gd name="connsiteY24" fmla="*/ 123825 h 235743"/>
              <a:gd name="connsiteX25" fmla="*/ 210303 w 238878"/>
              <a:gd name="connsiteY25" fmla="*/ 145256 h 235743"/>
              <a:gd name="connsiteX26" fmla="*/ 215066 w 238878"/>
              <a:gd name="connsiteY26" fmla="*/ 159543 h 235743"/>
              <a:gd name="connsiteX27" fmla="*/ 222210 w 238878"/>
              <a:gd name="connsiteY27" fmla="*/ 173831 h 235743"/>
              <a:gd name="connsiteX28" fmla="*/ 231735 w 238878"/>
              <a:gd name="connsiteY28" fmla="*/ 195262 h 235743"/>
              <a:gd name="connsiteX29" fmla="*/ 236497 w 238878"/>
              <a:gd name="connsiteY29" fmla="*/ 209550 h 235743"/>
              <a:gd name="connsiteX30" fmla="*/ 238878 w 238878"/>
              <a:gd name="connsiteY30" fmla="*/ 216693 h 235743"/>
              <a:gd name="connsiteX31" fmla="*/ 231735 w 238878"/>
              <a:gd name="connsiteY31" fmla="*/ 223837 h 235743"/>
              <a:gd name="connsiteX32" fmla="*/ 226972 w 238878"/>
              <a:gd name="connsiteY32" fmla="*/ 230981 h 235743"/>
              <a:gd name="connsiteX33" fmla="*/ 219828 w 238878"/>
              <a:gd name="connsiteY33" fmla="*/ 235743 h 235743"/>
              <a:gd name="connsiteX34" fmla="*/ 196016 w 238878"/>
              <a:gd name="connsiteY34" fmla="*/ 230981 h 235743"/>
              <a:gd name="connsiteX35" fmla="*/ 174585 w 238878"/>
              <a:gd name="connsiteY35" fmla="*/ 214312 h 235743"/>
              <a:gd name="connsiteX36" fmla="*/ 169822 w 238878"/>
              <a:gd name="connsiteY36" fmla="*/ 207168 h 235743"/>
              <a:gd name="connsiteX37" fmla="*/ 153153 w 238878"/>
              <a:gd name="connsiteY37" fmla="*/ 202406 h 235743"/>
              <a:gd name="connsiteX38" fmla="*/ 141247 w 238878"/>
              <a:gd name="connsiteY38" fmla="*/ 204787 h 235743"/>
              <a:gd name="connsiteX39" fmla="*/ 134103 w 238878"/>
              <a:gd name="connsiteY39" fmla="*/ 207168 h 235743"/>
              <a:gd name="connsiteX40" fmla="*/ 131722 w 238878"/>
              <a:gd name="connsiteY40" fmla="*/ 214312 h 235743"/>
              <a:gd name="connsiteX41" fmla="*/ 117435 w 238878"/>
              <a:gd name="connsiteY41" fmla="*/ 219075 h 235743"/>
              <a:gd name="connsiteX42" fmla="*/ 110291 w 238878"/>
              <a:gd name="connsiteY42" fmla="*/ 221456 h 235743"/>
              <a:gd name="connsiteX43" fmla="*/ 103147 w 238878"/>
              <a:gd name="connsiteY43" fmla="*/ 216693 h 235743"/>
              <a:gd name="connsiteX44" fmla="*/ 79335 w 238878"/>
              <a:gd name="connsiteY44" fmla="*/ 211931 h 235743"/>
              <a:gd name="connsiteX45" fmla="*/ 57903 w 238878"/>
              <a:gd name="connsiteY45" fmla="*/ 200025 h 235743"/>
              <a:gd name="connsiteX46" fmla="*/ 48378 w 238878"/>
              <a:gd name="connsiteY46" fmla="*/ 185737 h 235743"/>
              <a:gd name="connsiteX47" fmla="*/ 43616 w 238878"/>
              <a:gd name="connsiteY47" fmla="*/ 178593 h 235743"/>
              <a:gd name="connsiteX48" fmla="*/ 36472 w 238878"/>
              <a:gd name="connsiteY48" fmla="*/ 150018 h 235743"/>
              <a:gd name="connsiteX49" fmla="*/ 34091 w 238878"/>
              <a:gd name="connsiteY49" fmla="*/ 142875 h 235743"/>
              <a:gd name="connsiteX50" fmla="*/ 31710 w 238878"/>
              <a:gd name="connsiteY50" fmla="*/ 135731 h 235743"/>
              <a:gd name="connsiteX51" fmla="*/ 24566 w 238878"/>
              <a:gd name="connsiteY51" fmla="*/ 128587 h 235743"/>
              <a:gd name="connsiteX52" fmla="*/ 10278 w 238878"/>
              <a:gd name="connsiteY52" fmla="*/ 121443 h 235743"/>
              <a:gd name="connsiteX53" fmla="*/ 3135 w 238878"/>
              <a:gd name="connsiteY53" fmla="*/ 116681 h 235743"/>
              <a:gd name="connsiteX54" fmla="*/ 10278 w 238878"/>
              <a:gd name="connsiteY54" fmla="*/ 111918 h 23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38878" h="235743">
                <a:moveTo>
                  <a:pt x="10278" y="111918"/>
                </a:moveTo>
                <a:cubicBezTo>
                  <a:pt x="12262" y="109934"/>
                  <a:pt x="13914" y="107405"/>
                  <a:pt x="15041" y="104775"/>
                </a:cubicBezTo>
                <a:cubicBezTo>
                  <a:pt x="16330" y="101767"/>
                  <a:pt x="15607" y="97973"/>
                  <a:pt x="17422" y="95250"/>
                </a:cubicBezTo>
                <a:cubicBezTo>
                  <a:pt x="20060" y="91292"/>
                  <a:pt x="27634" y="89464"/>
                  <a:pt x="31710" y="88106"/>
                </a:cubicBezTo>
                <a:cubicBezTo>
                  <a:pt x="34885" y="88900"/>
                  <a:pt x="38921" y="88173"/>
                  <a:pt x="41235" y="90487"/>
                </a:cubicBezTo>
                <a:cubicBezTo>
                  <a:pt x="43549" y="92801"/>
                  <a:pt x="41131" y="97882"/>
                  <a:pt x="43616" y="100012"/>
                </a:cubicBezTo>
                <a:cubicBezTo>
                  <a:pt x="47427" y="103279"/>
                  <a:pt x="57903" y="104775"/>
                  <a:pt x="57903" y="104775"/>
                </a:cubicBezTo>
                <a:cubicBezTo>
                  <a:pt x="63459" y="103981"/>
                  <a:pt x="69361" y="104477"/>
                  <a:pt x="74572" y="102393"/>
                </a:cubicBezTo>
                <a:cubicBezTo>
                  <a:pt x="77699" y="101142"/>
                  <a:pt x="79848" y="98052"/>
                  <a:pt x="81716" y="95250"/>
                </a:cubicBezTo>
                <a:cubicBezTo>
                  <a:pt x="84396" y="91230"/>
                  <a:pt x="86046" y="75761"/>
                  <a:pt x="86478" y="73818"/>
                </a:cubicBezTo>
                <a:cubicBezTo>
                  <a:pt x="87023" y="71368"/>
                  <a:pt x="86900" y="68243"/>
                  <a:pt x="88860" y="66675"/>
                </a:cubicBezTo>
                <a:cubicBezTo>
                  <a:pt x="91416" y="64631"/>
                  <a:pt x="95165" y="64879"/>
                  <a:pt x="98385" y="64293"/>
                </a:cubicBezTo>
                <a:cubicBezTo>
                  <a:pt x="103907" y="63289"/>
                  <a:pt x="109531" y="62916"/>
                  <a:pt x="115053" y="61912"/>
                </a:cubicBezTo>
                <a:cubicBezTo>
                  <a:pt x="121631" y="60716"/>
                  <a:pt x="125601" y="59190"/>
                  <a:pt x="131722" y="57150"/>
                </a:cubicBezTo>
                <a:lnTo>
                  <a:pt x="146010" y="47625"/>
                </a:lnTo>
                <a:lnTo>
                  <a:pt x="153153" y="42862"/>
                </a:lnTo>
                <a:lnTo>
                  <a:pt x="160297" y="21431"/>
                </a:lnTo>
                <a:cubicBezTo>
                  <a:pt x="165929" y="4531"/>
                  <a:pt x="172082" y="9585"/>
                  <a:pt x="181728" y="4762"/>
                </a:cubicBezTo>
                <a:cubicBezTo>
                  <a:pt x="184288" y="3482"/>
                  <a:pt x="186491" y="1587"/>
                  <a:pt x="188872" y="0"/>
                </a:cubicBezTo>
                <a:cubicBezTo>
                  <a:pt x="192047" y="794"/>
                  <a:pt x="195555" y="757"/>
                  <a:pt x="198397" y="2381"/>
                </a:cubicBezTo>
                <a:cubicBezTo>
                  <a:pt x="212777" y="10598"/>
                  <a:pt x="205534" y="25358"/>
                  <a:pt x="207922" y="40481"/>
                </a:cubicBezTo>
                <a:cubicBezTo>
                  <a:pt x="208705" y="45440"/>
                  <a:pt x="212685" y="54768"/>
                  <a:pt x="212685" y="54768"/>
                </a:cubicBezTo>
                <a:cubicBezTo>
                  <a:pt x="215252" y="70174"/>
                  <a:pt x="217782" y="77921"/>
                  <a:pt x="212685" y="95250"/>
                </a:cubicBezTo>
                <a:cubicBezTo>
                  <a:pt x="211070" y="100741"/>
                  <a:pt x="206335" y="104775"/>
                  <a:pt x="203160" y="109537"/>
                </a:cubicBezTo>
                <a:cubicBezTo>
                  <a:pt x="200375" y="113714"/>
                  <a:pt x="198397" y="123825"/>
                  <a:pt x="198397" y="123825"/>
                </a:cubicBezTo>
                <a:cubicBezTo>
                  <a:pt x="202588" y="136398"/>
                  <a:pt x="199386" y="128880"/>
                  <a:pt x="210303" y="145256"/>
                </a:cubicBezTo>
                <a:cubicBezTo>
                  <a:pt x="213088" y="149433"/>
                  <a:pt x="213478" y="154781"/>
                  <a:pt x="215066" y="159543"/>
                </a:cubicBezTo>
                <a:cubicBezTo>
                  <a:pt x="218353" y="169404"/>
                  <a:pt x="216053" y="164596"/>
                  <a:pt x="222210" y="173831"/>
                </a:cubicBezTo>
                <a:cubicBezTo>
                  <a:pt x="227877" y="190833"/>
                  <a:pt x="224187" y="183941"/>
                  <a:pt x="231735" y="195262"/>
                </a:cubicBezTo>
                <a:lnTo>
                  <a:pt x="236497" y="209550"/>
                </a:lnTo>
                <a:lnTo>
                  <a:pt x="238878" y="216693"/>
                </a:lnTo>
                <a:cubicBezTo>
                  <a:pt x="236497" y="219074"/>
                  <a:pt x="233891" y="221250"/>
                  <a:pt x="231735" y="223837"/>
                </a:cubicBezTo>
                <a:cubicBezTo>
                  <a:pt x="229903" y="226036"/>
                  <a:pt x="228996" y="228957"/>
                  <a:pt x="226972" y="230981"/>
                </a:cubicBezTo>
                <a:cubicBezTo>
                  <a:pt x="224948" y="233005"/>
                  <a:pt x="222209" y="234156"/>
                  <a:pt x="219828" y="235743"/>
                </a:cubicBezTo>
                <a:cubicBezTo>
                  <a:pt x="215688" y="235152"/>
                  <a:pt x="201770" y="234177"/>
                  <a:pt x="196016" y="230981"/>
                </a:cubicBezTo>
                <a:cubicBezTo>
                  <a:pt x="187772" y="226401"/>
                  <a:pt x="180571" y="221495"/>
                  <a:pt x="174585" y="214312"/>
                </a:cubicBezTo>
                <a:cubicBezTo>
                  <a:pt x="172753" y="212113"/>
                  <a:pt x="172057" y="208956"/>
                  <a:pt x="169822" y="207168"/>
                </a:cubicBezTo>
                <a:cubicBezTo>
                  <a:pt x="168269" y="205926"/>
                  <a:pt x="153775" y="202561"/>
                  <a:pt x="153153" y="202406"/>
                </a:cubicBezTo>
                <a:cubicBezTo>
                  <a:pt x="149184" y="203200"/>
                  <a:pt x="145173" y="203805"/>
                  <a:pt x="141247" y="204787"/>
                </a:cubicBezTo>
                <a:cubicBezTo>
                  <a:pt x="138812" y="205396"/>
                  <a:pt x="135878" y="205393"/>
                  <a:pt x="134103" y="207168"/>
                </a:cubicBezTo>
                <a:cubicBezTo>
                  <a:pt x="132328" y="208943"/>
                  <a:pt x="133764" y="212853"/>
                  <a:pt x="131722" y="214312"/>
                </a:cubicBezTo>
                <a:cubicBezTo>
                  <a:pt x="127637" y="217230"/>
                  <a:pt x="122197" y="217487"/>
                  <a:pt x="117435" y="219075"/>
                </a:cubicBezTo>
                <a:lnTo>
                  <a:pt x="110291" y="221456"/>
                </a:lnTo>
                <a:cubicBezTo>
                  <a:pt x="107910" y="219868"/>
                  <a:pt x="105707" y="217973"/>
                  <a:pt x="103147" y="216693"/>
                </a:cubicBezTo>
                <a:cubicBezTo>
                  <a:pt x="96499" y="213369"/>
                  <a:pt x="85475" y="212808"/>
                  <a:pt x="79335" y="211931"/>
                </a:cubicBezTo>
                <a:cubicBezTo>
                  <a:pt x="66637" y="207698"/>
                  <a:pt x="65388" y="209648"/>
                  <a:pt x="57903" y="200025"/>
                </a:cubicBezTo>
                <a:cubicBezTo>
                  <a:pt x="54389" y="195507"/>
                  <a:pt x="51553" y="190500"/>
                  <a:pt x="48378" y="185737"/>
                </a:cubicBezTo>
                <a:lnTo>
                  <a:pt x="43616" y="178593"/>
                </a:lnTo>
                <a:cubicBezTo>
                  <a:pt x="40410" y="159353"/>
                  <a:pt x="42762" y="168887"/>
                  <a:pt x="36472" y="150018"/>
                </a:cubicBezTo>
                <a:lnTo>
                  <a:pt x="34091" y="142875"/>
                </a:lnTo>
                <a:cubicBezTo>
                  <a:pt x="33297" y="140494"/>
                  <a:pt x="33485" y="137506"/>
                  <a:pt x="31710" y="135731"/>
                </a:cubicBezTo>
                <a:cubicBezTo>
                  <a:pt x="29329" y="133350"/>
                  <a:pt x="27153" y="130743"/>
                  <a:pt x="24566" y="128587"/>
                </a:cubicBezTo>
                <a:cubicBezTo>
                  <a:pt x="14333" y="120060"/>
                  <a:pt x="21015" y="126812"/>
                  <a:pt x="10278" y="121443"/>
                </a:cubicBezTo>
                <a:cubicBezTo>
                  <a:pt x="7719" y="120163"/>
                  <a:pt x="5516" y="118268"/>
                  <a:pt x="3135" y="116681"/>
                </a:cubicBezTo>
                <a:cubicBezTo>
                  <a:pt x="0" y="107278"/>
                  <a:pt x="8294" y="113902"/>
                  <a:pt x="10278" y="111918"/>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22" name="Freeform 21"/>
          <p:cNvSpPr/>
          <p:nvPr>
            <p:custDataLst>
              <p:tags r:id="rId11"/>
            </p:custDataLst>
          </p:nvPr>
        </p:nvSpPr>
        <p:spPr bwMode="auto">
          <a:xfrm>
            <a:off x="2150535" y="2551346"/>
            <a:ext cx="942856" cy="1238927"/>
          </a:xfrm>
          <a:custGeom>
            <a:avLst/>
            <a:gdLst>
              <a:gd name="connsiteX0" fmla="*/ 374260 w 1123560"/>
              <a:gd name="connsiteY0" fmla="*/ 3175 h 1476375"/>
              <a:gd name="connsiteX1" fmla="*/ 412360 w 1123560"/>
              <a:gd name="connsiteY1" fmla="*/ 0 h 1476375"/>
              <a:gd name="connsiteX2" fmla="*/ 437760 w 1123560"/>
              <a:gd name="connsiteY2" fmla="*/ 3175 h 1476375"/>
              <a:gd name="connsiteX3" fmla="*/ 444110 w 1123560"/>
              <a:gd name="connsiteY3" fmla="*/ 12700 h 1476375"/>
              <a:gd name="connsiteX4" fmla="*/ 447285 w 1123560"/>
              <a:gd name="connsiteY4" fmla="*/ 22225 h 1476375"/>
              <a:gd name="connsiteX5" fmla="*/ 450460 w 1123560"/>
              <a:gd name="connsiteY5" fmla="*/ 38100 h 1476375"/>
              <a:gd name="connsiteX6" fmla="*/ 469510 w 1123560"/>
              <a:gd name="connsiteY6" fmla="*/ 53975 h 1476375"/>
              <a:gd name="connsiteX7" fmla="*/ 488560 w 1123560"/>
              <a:gd name="connsiteY7" fmla="*/ 47625 h 1476375"/>
              <a:gd name="connsiteX8" fmla="*/ 498085 w 1123560"/>
              <a:gd name="connsiteY8" fmla="*/ 44450 h 1476375"/>
              <a:gd name="connsiteX9" fmla="*/ 507610 w 1123560"/>
              <a:gd name="connsiteY9" fmla="*/ 53975 h 1476375"/>
              <a:gd name="connsiteX10" fmla="*/ 517135 w 1123560"/>
              <a:gd name="connsiteY10" fmla="*/ 60325 h 1476375"/>
              <a:gd name="connsiteX11" fmla="*/ 529835 w 1123560"/>
              <a:gd name="connsiteY11" fmla="*/ 79375 h 1476375"/>
              <a:gd name="connsiteX12" fmla="*/ 545710 w 1123560"/>
              <a:gd name="connsiteY12" fmla="*/ 104775 h 1476375"/>
              <a:gd name="connsiteX13" fmla="*/ 564760 w 1123560"/>
              <a:gd name="connsiteY13" fmla="*/ 111125 h 1476375"/>
              <a:gd name="connsiteX14" fmla="*/ 583810 w 1123560"/>
              <a:gd name="connsiteY14" fmla="*/ 117475 h 1476375"/>
              <a:gd name="connsiteX15" fmla="*/ 593335 w 1123560"/>
              <a:gd name="connsiteY15" fmla="*/ 120650 h 1476375"/>
              <a:gd name="connsiteX16" fmla="*/ 602860 w 1123560"/>
              <a:gd name="connsiteY16" fmla="*/ 123825 h 1476375"/>
              <a:gd name="connsiteX17" fmla="*/ 618735 w 1123560"/>
              <a:gd name="connsiteY17" fmla="*/ 120650 h 1476375"/>
              <a:gd name="connsiteX18" fmla="*/ 637785 w 1123560"/>
              <a:gd name="connsiteY18" fmla="*/ 114300 h 1476375"/>
              <a:gd name="connsiteX19" fmla="*/ 656835 w 1123560"/>
              <a:gd name="connsiteY19" fmla="*/ 111125 h 1476375"/>
              <a:gd name="connsiteX20" fmla="*/ 660010 w 1123560"/>
              <a:gd name="connsiteY20" fmla="*/ 120650 h 1476375"/>
              <a:gd name="connsiteX21" fmla="*/ 666360 w 1123560"/>
              <a:gd name="connsiteY21" fmla="*/ 142875 h 1476375"/>
              <a:gd name="connsiteX22" fmla="*/ 682235 w 1123560"/>
              <a:gd name="connsiteY22" fmla="*/ 123825 h 1476375"/>
              <a:gd name="connsiteX23" fmla="*/ 691760 w 1123560"/>
              <a:gd name="connsiteY23" fmla="*/ 120650 h 1476375"/>
              <a:gd name="connsiteX24" fmla="*/ 701285 w 1123560"/>
              <a:gd name="connsiteY24" fmla="*/ 123825 h 1476375"/>
              <a:gd name="connsiteX25" fmla="*/ 707635 w 1123560"/>
              <a:gd name="connsiteY25" fmla="*/ 146050 h 1476375"/>
              <a:gd name="connsiteX26" fmla="*/ 704460 w 1123560"/>
              <a:gd name="connsiteY26" fmla="*/ 184150 h 1476375"/>
              <a:gd name="connsiteX27" fmla="*/ 691760 w 1123560"/>
              <a:gd name="connsiteY27" fmla="*/ 212725 h 1476375"/>
              <a:gd name="connsiteX28" fmla="*/ 688585 w 1123560"/>
              <a:gd name="connsiteY28" fmla="*/ 222250 h 1476375"/>
              <a:gd name="connsiteX29" fmla="*/ 691760 w 1123560"/>
              <a:gd name="connsiteY29" fmla="*/ 241300 h 1476375"/>
              <a:gd name="connsiteX30" fmla="*/ 704460 w 1123560"/>
              <a:gd name="connsiteY30" fmla="*/ 260350 h 1476375"/>
              <a:gd name="connsiteX31" fmla="*/ 698110 w 1123560"/>
              <a:gd name="connsiteY31" fmla="*/ 282575 h 1476375"/>
              <a:gd name="connsiteX32" fmla="*/ 679060 w 1123560"/>
              <a:gd name="connsiteY32" fmla="*/ 301625 h 1476375"/>
              <a:gd name="connsiteX33" fmla="*/ 675885 w 1123560"/>
              <a:gd name="connsiteY33" fmla="*/ 311150 h 1476375"/>
              <a:gd name="connsiteX34" fmla="*/ 675885 w 1123560"/>
              <a:gd name="connsiteY34" fmla="*/ 368300 h 1476375"/>
              <a:gd name="connsiteX35" fmla="*/ 685410 w 1123560"/>
              <a:gd name="connsiteY35" fmla="*/ 371475 h 1476375"/>
              <a:gd name="connsiteX36" fmla="*/ 698110 w 1123560"/>
              <a:gd name="connsiteY36" fmla="*/ 374650 h 1476375"/>
              <a:gd name="connsiteX37" fmla="*/ 717160 w 1123560"/>
              <a:gd name="connsiteY37" fmla="*/ 381000 h 1476375"/>
              <a:gd name="connsiteX38" fmla="*/ 726685 w 1123560"/>
              <a:gd name="connsiteY38" fmla="*/ 387350 h 1476375"/>
              <a:gd name="connsiteX39" fmla="*/ 736210 w 1123560"/>
              <a:gd name="connsiteY39" fmla="*/ 390525 h 1476375"/>
              <a:gd name="connsiteX40" fmla="*/ 742560 w 1123560"/>
              <a:gd name="connsiteY40" fmla="*/ 400050 h 1476375"/>
              <a:gd name="connsiteX41" fmla="*/ 733035 w 1123560"/>
              <a:gd name="connsiteY41" fmla="*/ 434975 h 1476375"/>
              <a:gd name="connsiteX42" fmla="*/ 729860 w 1123560"/>
              <a:gd name="connsiteY42" fmla="*/ 444500 h 1476375"/>
              <a:gd name="connsiteX43" fmla="*/ 733035 w 1123560"/>
              <a:gd name="connsiteY43" fmla="*/ 463550 h 1476375"/>
              <a:gd name="connsiteX44" fmla="*/ 726685 w 1123560"/>
              <a:gd name="connsiteY44" fmla="*/ 517525 h 1476375"/>
              <a:gd name="connsiteX45" fmla="*/ 720335 w 1123560"/>
              <a:gd name="connsiteY45" fmla="*/ 536575 h 1476375"/>
              <a:gd name="connsiteX46" fmla="*/ 713985 w 1123560"/>
              <a:gd name="connsiteY46" fmla="*/ 546100 h 1476375"/>
              <a:gd name="connsiteX47" fmla="*/ 717160 w 1123560"/>
              <a:gd name="connsiteY47" fmla="*/ 612775 h 1476375"/>
              <a:gd name="connsiteX48" fmla="*/ 720335 w 1123560"/>
              <a:gd name="connsiteY48" fmla="*/ 622300 h 1476375"/>
              <a:gd name="connsiteX49" fmla="*/ 726685 w 1123560"/>
              <a:gd name="connsiteY49" fmla="*/ 631825 h 1476375"/>
              <a:gd name="connsiteX50" fmla="*/ 733035 w 1123560"/>
              <a:gd name="connsiteY50" fmla="*/ 650875 h 1476375"/>
              <a:gd name="connsiteX51" fmla="*/ 739385 w 1123560"/>
              <a:gd name="connsiteY51" fmla="*/ 660400 h 1476375"/>
              <a:gd name="connsiteX52" fmla="*/ 742560 w 1123560"/>
              <a:gd name="connsiteY52" fmla="*/ 669925 h 1476375"/>
              <a:gd name="connsiteX53" fmla="*/ 752085 w 1123560"/>
              <a:gd name="connsiteY53" fmla="*/ 676275 h 1476375"/>
              <a:gd name="connsiteX54" fmla="*/ 767960 w 1123560"/>
              <a:gd name="connsiteY54" fmla="*/ 698500 h 1476375"/>
              <a:gd name="connsiteX55" fmla="*/ 787010 w 1123560"/>
              <a:gd name="connsiteY55" fmla="*/ 708025 h 1476375"/>
              <a:gd name="connsiteX56" fmla="*/ 806060 w 1123560"/>
              <a:gd name="connsiteY56" fmla="*/ 723900 h 1476375"/>
              <a:gd name="connsiteX57" fmla="*/ 828285 w 1123560"/>
              <a:gd name="connsiteY57" fmla="*/ 730250 h 1476375"/>
              <a:gd name="connsiteX58" fmla="*/ 856860 w 1123560"/>
              <a:gd name="connsiteY58" fmla="*/ 739775 h 1476375"/>
              <a:gd name="connsiteX59" fmla="*/ 866385 w 1123560"/>
              <a:gd name="connsiteY59" fmla="*/ 742950 h 1476375"/>
              <a:gd name="connsiteX60" fmla="*/ 882260 w 1123560"/>
              <a:gd name="connsiteY60" fmla="*/ 739775 h 1476375"/>
              <a:gd name="connsiteX61" fmla="*/ 901310 w 1123560"/>
              <a:gd name="connsiteY61" fmla="*/ 733425 h 1476375"/>
              <a:gd name="connsiteX62" fmla="*/ 917185 w 1123560"/>
              <a:gd name="connsiteY62" fmla="*/ 720725 h 1476375"/>
              <a:gd name="connsiteX63" fmla="*/ 926710 w 1123560"/>
              <a:gd name="connsiteY63" fmla="*/ 723900 h 1476375"/>
              <a:gd name="connsiteX64" fmla="*/ 942585 w 1123560"/>
              <a:gd name="connsiteY64" fmla="*/ 742950 h 1476375"/>
              <a:gd name="connsiteX65" fmla="*/ 948935 w 1123560"/>
              <a:gd name="connsiteY65" fmla="*/ 752475 h 1476375"/>
              <a:gd name="connsiteX66" fmla="*/ 967985 w 1123560"/>
              <a:gd name="connsiteY66" fmla="*/ 768350 h 1476375"/>
              <a:gd name="connsiteX67" fmla="*/ 987035 w 1123560"/>
              <a:gd name="connsiteY67" fmla="*/ 774700 h 1476375"/>
              <a:gd name="connsiteX68" fmla="*/ 996560 w 1123560"/>
              <a:gd name="connsiteY68" fmla="*/ 777875 h 1476375"/>
              <a:gd name="connsiteX69" fmla="*/ 1009260 w 1123560"/>
              <a:gd name="connsiteY69" fmla="*/ 774700 h 1476375"/>
              <a:gd name="connsiteX70" fmla="*/ 1018785 w 1123560"/>
              <a:gd name="connsiteY70" fmla="*/ 771525 h 1476375"/>
              <a:gd name="connsiteX71" fmla="*/ 1041010 w 1123560"/>
              <a:gd name="connsiteY71" fmla="*/ 774700 h 1476375"/>
              <a:gd name="connsiteX72" fmla="*/ 1050535 w 1123560"/>
              <a:gd name="connsiteY72" fmla="*/ 777875 h 1476375"/>
              <a:gd name="connsiteX73" fmla="*/ 1053710 w 1123560"/>
              <a:gd name="connsiteY73" fmla="*/ 787400 h 1476375"/>
              <a:gd name="connsiteX74" fmla="*/ 1060060 w 1123560"/>
              <a:gd name="connsiteY74" fmla="*/ 796925 h 1476375"/>
              <a:gd name="connsiteX75" fmla="*/ 1079110 w 1123560"/>
              <a:gd name="connsiteY75" fmla="*/ 809625 h 1476375"/>
              <a:gd name="connsiteX76" fmla="*/ 1098160 w 1123560"/>
              <a:gd name="connsiteY76" fmla="*/ 815975 h 1476375"/>
              <a:gd name="connsiteX77" fmla="*/ 1107685 w 1123560"/>
              <a:gd name="connsiteY77" fmla="*/ 822325 h 1476375"/>
              <a:gd name="connsiteX78" fmla="*/ 1120385 w 1123560"/>
              <a:gd name="connsiteY78" fmla="*/ 841375 h 1476375"/>
              <a:gd name="connsiteX79" fmla="*/ 1117210 w 1123560"/>
              <a:gd name="connsiteY79" fmla="*/ 882650 h 1476375"/>
              <a:gd name="connsiteX80" fmla="*/ 1123560 w 1123560"/>
              <a:gd name="connsiteY80" fmla="*/ 914400 h 1476375"/>
              <a:gd name="connsiteX81" fmla="*/ 1120385 w 1123560"/>
              <a:gd name="connsiteY81" fmla="*/ 933450 h 1476375"/>
              <a:gd name="connsiteX82" fmla="*/ 1117210 w 1123560"/>
              <a:gd name="connsiteY82" fmla="*/ 942975 h 1476375"/>
              <a:gd name="connsiteX83" fmla="*/ 1098160 w 1123560"/>
              <a:gd name="connsiteY83" fmla="*/ 955675 h 1476375"/>
              <a:gd name="connsiteX84" fmla="*/ 1069585 w 1123560"/>
              <a:gd name="connsiteY84" fmla="*/ 977900 h 1476375"/>
              <a:gd name="connsiteX85" fmla="*/ 1060060 w 1123560"/>
              <a:gd name="connsiteY85" fmla="*/ 981075 h 1476375"/>
              <a:gd name="connsiteX86" fmla="*/ 983860 w 1123560"/>
              <a:gd name="connsiteY86" fmla="*/ 977900 h 1476375"/>
              <a:gd name="connsiteX87" fmla="*/ 967985 w 1123560"/>
              <a:gd name="connsiteY87" fmla="*/ 974725 h 1476375"/>
              <a:gd name="connsiteX88" fmla="*/ 948935 w 1123560"/>
              <a:gd name="connsiteY88" fmla="*/ 968375 h 1476375"/>
              <a:gd name="connsiteX89" fmla="*/ 923535 w 1123560"/>
              <a:gd name="connsiteY89" fmla="*/ 971550 h 1476375"/>
              <a:gd name="connsiteX90" fmla="*/ 904485 w 1123560"/>
              <a:gd name="connsiteY90" fmla="*/ 984250 h 1476375"/>
              <a:gd name="connsiteX91" fmla="*/ 885435 w 1123560"/>
              <a:gd name="connsiteY91" fmla="*/ 996950 h 1476375"/>
              <a:gd name="connsiteX92" fmla="*/ 866385 w 1123560"/>
              <a:gd name="connsiteY92" fmla="*/ 1003300 h 1476375"/>
              <a:gd name="connsiteX93" fmla="*/ 844160 w 1123560"/>
              <a:gd name="connsiteY93" fmla="*/ 1009650 h 1476375"/>
              <a:gd name="connsiteX94" fmla="*/ 796535 w 1123560"/>
              <a:gd name="connsiteY94" fmla="*/ 1016000 h 1476375"/>
              <a:gd name="connsiteX95" fmla="*/ 777485 w 1123560"/>
              <a:gd name="connsiteY95" fmla="*/ 1022350 h 1476375"/>
              <a:gd name="connsiteX96" fmla="*/ 755260 w 1123560"/>
              <a:gd name="connsiteY96" fmla="*/ 1031875 h 1476375"/>
              <a:gd name="connsiteX97" fmla="*/ 736210 w 1123560"/>
              <a:gd name="connsiteY97" fmla="*/ 1044575 h 1476375"/>
              <a:gd name="connsiteX98" fmla="*/ 710810 w 1123560"/>
              <a:gd name="connsiteY98" fmla="*/ 1073150 h 1476375"/>
              <a:gd name="connsiteX99" fmla="*/ 701285 w 1123560"/>
              <a:gd name="connsiteY99" fmla="*/ 1082675 h 1476375"/>
              <a:gd name="connsiteX100" fmla="*/ 694935 w 1123560"/>
              <a:gd name="connsiteY100" fmla="*/ 1101725 h 1476375"/>
              <a:gd name="connsiteX101" fmla="*/ 698110 w 1123560"/>
              <a:gd name="connsiteY101" fmla="*/ 1114425 h 1476375"/>
              <a:gd name="connsiteX102" fmla="*/ 704460 w 1123560"/>
              <a:gd name="connsiteY102" fmla="*/ 1143000 h 1476375"/>
              <a:gd name="connsiteX103" fmla="*/ 701285 w 1123560"/>
              <a:gd name="connsiteY103" fmla="*/ 1181100 h 1476375"/>
              <a:gd name="connsiteX104" fmla="*/ 698110 w 1123560"/>
              <a:gd name="connsiteY104" fmla="*/ 1196975 h 1476375"/>
              <a:gd name="connsiteX105" fmla="*/ 694935 w 1123560"/>
              <a:gd name="connsiteY105" fmla="*/ 1219200 h 1476375"/>
              <a:gd name="connsiteX106" fmla="*/ 707635 w 1123560"/>
              <a:gd name="connsiteY106" fmla="*/ 1235075 h 1476375"/>
              <a:gd name="connsiteX107" fmla="*/ 710810 w 1123560"/>
              <a:gd name="connsiteY107" fmla="*/ 1244600 h 1476375"/>
              <a:gd name="connsiteX108" fmla="*/ 720335 w 1123560"/>
              <a:gd name="connsiteY108" fmla="*/ 1263650 h 1476375"/>
              <a:gd name="connsiteX109" fmla="*/ 717160 w 1123560"/>
              <a:gd name="connsiteY109" fmla="*/ 1292225 h 1476375"/>
              <a:gd name="connsiteX110" fmla="*/ 713985 w 1123560"/>
              <a:gd name="connsiteY110" fmla="*/ 1301750 h 1476375"/>
              <a:gd name="connsiteX111" fmla="*/ 720335 w 1123560"/>
              <a:gd name="connsiteY111" fmla="*/ 1330325 h 1476375"/>
              <a:gd name="connsiteX112" fmla="*/ 726685 w 1123560"/>
              <a:gd name="connsiteY112" fmla="*/ 1339850 h 1476375"/>
              <a:gd name="connsiteX113" fmla="*/ 729860 w 1123560"/>
              <a:gd name="connsiteY113" fmla="*/ 1349375 h 1476375"/>
              <a:gd name="connsiteX114" fmla="*/ 739385 w 1123560"/>
              <a:gd name="connsiteY114" fmla="*/ 1355725 h 1476375"/>
              <a:gd name="connsiteX115" fmla="*/ 755260 w 1123560"/>
              <a:gd name="connsiteY115" fmla="*/ 1374775 h 1476375"/>
              <a:gd name="connsiteX116" fmla="*/ 752085 w 1123560"/>
              <a:gd name="connsiteY116" fmla="*/ 1384300 h 1476375"/>
              <a:gd name="connsiteX117" fmla="*/ 761610 w 1123560"/>
              <a:gd name="connsiteY117" fmla="*/ 1403350 h 1476375"/>
              <a:gd name="connsiteX118" fmla="*/ 764785 w 1123560"/>
              <a:gd name="connsiteY118" fmla="*/ 1412875 h 1476375"/>
              <a:gd name="connsiteX119" fmla="*/ 755260 w 1123560"/>
              <a:gd name="connsiteY119" fmla="*/ 1463675 h 1476375"/>
              <a:gd name="connsiteX120" fmla="*/ 745735 w 1123560"/>
              <a:gd name="connsiteY120" fmla="*/ 1473200 h 1476375"/>
              <a:gd name="connsiteX121" fmla="*/ 729860 w 1123560"/>
              <a:gd name="connsiteY121" fmla="*/ 1476375 h 1476375"/>
              <a:gd name="connsiteX122" fmla="*/ 723510 w 1123560"/>
              <a:gd name="connsiteY122" fmla="*/ 1466850 h 1476375"/>
              <a:gd name="connsiteX123" fmla="*/ 682235 w 1123560"/>
              <a:gd name="connsiteY123" fmla="*/ 1463675 h 1476375"/>
              <a:gd name="connsiteX124" fmla="*/ 672710 w 1123560"/>
              <a:gd name="connsiteY124" fmla="*/ 1466850 h 1476375"/>
              <a:gd name="connsiteX125" fmla="*/ 637785 w 1123560"/>
              <a:gd name="connsiteY125" fmla="*/ 1457325 h 1476375"/>
              <a:gd name="connsiteX126" fmla="*/ 628260 w 1123560"/>
              <a:gd name="connsiteY126" fmla="*/ 1447800 h 1476375"/>
              <a:gd name="connsiteX127" fmla="*/ 625085 w 1123560"/>
              <a:gd name="connsiteY127" fmla="*/ 1438275 h 1476375"/>
              <a:gd name="connsiteX128" fmla="*/ 602860 w 1123560"/>
              <a:gd name="connsiteY128" fmla="*/ 1409700 h 1476375"/>
              <a:gd name="connsiteX129" fmla="*/ 593335 w 1123560"/>
              <a:gd name="connsiteY129" fmla="*/ 1403350 h 1476375"/>
              <a:gd name="connsiteX130" fmla="*/ 520310 w 1123560"/>
              <a:gd name="connsiteY130" fmla="*/ 1400175 h 1476375"/>
              <a:gd name="connsiteX131" fmla="*/ 501260 w 1123560"/>
              <a:gd name="connsiteY131" fmla="*/ 1387475 h 1476375"/>
              <a:gd name="connsiteX132" fmla="*/ 482210 w 1123560"/>
              <a:gd name="connsiteY132" fmla="*/ 1371600 h 1476375"/>
              <a:gd name="connsiteX133" fmla="*/ 463160 w 1123560"/>
              <a:gd name="connsiteY133" fmla="*/ 1365250 h 1476375"/>
              <a:gd name="connsiteX134" fmla="*/ 396485 w 1123560"/>
              <a:gd name="connsiteY134" fmla="*/ 1358900 h 1476375"/>
              <a:gd name="connsiteX135" fmla="*/ 390135 w 1123560"/>
              <a:gd name="connsiteY135" fmla="*/ 1349375 h 1476375"/>
              <a:gd name="connsiteX136" fmla="*/ 390135 w 1123560"/>
              <a:gd name="connsiteY136" fmla="*/ 1304925 h 1476375"/>
              <a:gd name="connsiteX137" fmla="*/ 383785 w 1123560"/>
              <a:gd name="connsiteY137" fmla="*/ 1295400 h 1476375"/>
              <a:gd name="connsiteX138" fmla="*/ 358385 w 1123560"/>
              <a:gd name="connsiteY138" fmla="*/ 1289050 h 1476375"/>
              <a:gd name="connsiteX139" fmla="*/ 361560 w 1123560"/>
              <a:gd name="connsiteY139" fmla="*/ 1270000 h 1476375"/>
              <a:gd name="connsiteX140" fmla="*/ 380610 w 1123560"/>
              <a:gd name="connsiteY140" fmla="*/ 1257300 h 1476375"/>
              <a:gd name="connsiteX141" fmla="*/ 380610 w 1123560"/>
              <a:gd name="connsiteY141" fmla="*/ 1219200 h 1476375"/>
              <a:gd name="connsiteX142" fmla="*/ 364735 w 1123560"/>
              <a:gd name="connsiteY142" fmla="*/ 1190625 h 1476375"/>
              <a:gd name="connsiteX143" fmla="*/ 348860 w 1123560"/>
              <a:gd name="connsiteY143" fmla="*/ 1171575 h 1476375"/>
              <a:gd name="connsiteX144" fmla="*/ 329810 w 1123560"/>
              <a:gd name="connsiteY144" fmla="*/ 1165225 h 1476375"/>
              <a:gd name="connsiteX145" fmla="*/ 310760 w 1123560"/>
              <a:gd name="connsiteY145" fmla="*/ 1158875 h 1476375"/>
              <a:gd name="connsiteX146" fmla="*/ 244085 w 1123560"/>
              <a:gd name="connsiteY146" fmla="*/ 1152525 h 1476375"/>
              <a:gd name="connsiteX147" fmla="*/ 221860 w 1123560"/>
              <a:gd name="connsiteY147" fmla="*/ 1149350 h 1476375"/>
              <a:gd name="connsiteX148" fmla="*/ 177410 w 1123560"/>
              <a:gd name="connsiteY148" fmla="*/ 1143000 h 1476375"/>
              <a:gd name="connsiteX149" fmla="*/ 171060 w 1123560"/>
              <a:gd name="connsiteY149" fmla="*/ 1133475 h 1476375"/>
              <a:gd name="connsiteX150" fmla="*/ 161535 w 1123560"/>
              <a:gd name="connsiteY150" fmla="*/ 1101725 h 1476375"/>
              <a:gd name="connsiteX151" fmla="*/ 155185 w 1123560"/>
              <a:gd name="connsiteY151" fmla="*/ 1082675 h 1476375"/>
              <a:gd name="connsiteX152" fmla="*/ 145660 w 1123560"/>
              <a:gd name="connsiteY152" fmla="*/ 1076325 h 1476375"/>
              <a:gd name="connsiteX153" fmla="*/ 139310 w 1123560"/>
              <a:gd name="connsiteY153" fmla="*/ 1066800 h 1476375"/>
              <a:gd name="connsiteX154" fmla="*/ 139310 w 1123560"/>
              <a:gd name="connsiteY154" fmla="*/ 1022350 h 1476375"/>
              <a:gd name="connsiteX155" fmla="*/ 129785 w 1123560"/>
              <a:gd name="connsiteY155" fmla="*/ 1003300 h 1476375"/>
              <a:gd name="connsiteX156" fmla="*/ 120260 w 1123560"/>
              <a:gd name="connsiteY156" fmla="*/ 1000125 h 1476375"/>
              <a:gd name="connsiteX157" fmla="*/ 91685 w 1123560"/>
              <a:gd name="connsiteY157" fmla="*/ 990600 h 1476375"/>
              <a:gd name="connsiteX158" fmla="*/ 44060 w 1123560"/>
              <a:gd name="connsiteY158" fmla="*/ 984250 h 1476375"/>
              <a:gd name="connsiteX159" fmla="*/ 37710 w 1123560"/>
              <a:gd name="connsiteY159" fmla="*/ 962025 h 1476375"/>
              <a:gd name="connsiteX160" fmla="*/ 31360 w 1123560"/>
              <a:gd name="connsiteY160" fmla="*/ 942975 h 1476375"/>
              <a:gd name="connsiteX161" fmla="*/ 25010 w 1123560"/>
              <a:gd name="connsiteY161" fmla="*/ 933450 h 1476375"/>
              <a:gd name="connsiteX162" fmla="*/ 18660 w 1123560"/>
              <a:gd name="connsiteY162" fmla="*/ 914400 h 1476375"/>
              <a:gd name="connsiteX163" fmla="*/ 12310 w 1123560"/>
              <a:gd name="connsiteY163" fmla="*/ 892175 h 1476375"/>
              <a:gd name="connsiteX164" fmla="*/ 2785 w 1123560"/>
              <a:gd name="connsiteY164" fmla="*/ 873125 h 1476375"/>
              <a:gd name="connsiteX165" fmla="*/ 5960 w 1123560"/>
              <a:gd name="connsiteY165" fmla="*/ 857250 h 1476375"/>
              <a:gd name="connsiteX166" fmla="*/ 25010 w 1123560"/>
              <a:gd name="connsiteY166" fmla="*/ 847725 h 1476375"/>
              <a:gd name="connsiteX167" fmla="*/ 28185 w 1123560"/>
              <a:gd name="connsiteY167" fmla="*/ 838200 h 1476375"/>
              <a:gd name="connsiteX168" fmla="*/ 34535 w 1123560"/>
              <a:gd name="connsiteY168" fmla="*/ 828675 h 1476375"/>
              <a:gd name="connsiteX169" fmla="*/ 40885 w 1123560"/>
              <a:gd name="connsiteY169" fmla="*/ 809625 h 1476375"/>
              <a:gd name="connsiteX170" fmla="*/ 31360 w 1123560"/>
              <a:gd name="connsiteY170" fmla="*/ 790575 h 1476375"/>
              <a:gd name="connsiteX171" fmla="*/ 18660 w 1123560"/>
              <a:gd name="connsiteY171" fmla="*/ 771525 h 1476375"/>
              <a:gd name="connsiteX172" fmla="*/ 15485 w 1123560"/>
              <a:gd name="connsiteY172" fmla="*/ 762000 h 1476375"/>
              <a:gd name="connsiteX173" fmla="*/ 18660 w 1123560"/>
              <a:gd name="connsiteY173" fmla="*/ 749300 h 1476375"/>
              <a:gd name="connsiteX174" fmla="*/ 37710 w 1123560"/>
              <a:gd name="connsiteY174" fmla="*/ 739775 h 1476375"/>
              <a:gd name="connsiteX175" fmla="*/ 66285 w 1123560"/>
              <a:gd name="connsiteY175" fmla="*/ 730250 h 1476375"/>
              <a:gd name="connsiteX176" fmla="*/ 85335 w 1123560"/>
              <a:gd name="connsiteY176" fmla="*/ 723900 h 1476375"/>
              <a:gd name="connsiteX177" fmla="*/ 113910 w 1123560"/>
              <a:gd name="connsiteY177" fmla="*/ 717550 h 1476375"/>
              <a:gd name="connsiteX178" fmla="*/ 155185 w 1123560"/>
              <a:gd name="connsiteY178" fmla="*/ 714375 h 1476375"/>
              <a:gd name="connsiteX179" fmla="*/ 164710 w 1123560"/>
              <a:gd name="connsiteY179" fmla="*/ 708025 h 1476375"/>
              <a:gd name="connsiteX180" fmla="*/ 177410 w 1123560"/>
              <a:gd name="connsiteY180" fmla="*/ 688975 h 1476375"/>
              <a:gd name="connsiteX181" fmla="*/ 183760 w 1123560"/>
              <a:gd name="connsiteY181" fmla="*/ 679450 h 1476375"/>
              <a:gd name="connsiteX182" fmla="*/ 193285 w 1123560"/>
              <a:gd name="connsiteY182" fmla="*/ 669925 h 1476375"/>
              <a:gd name="connsiteX183" fmla="*/ 196460 w 1123560"/>
              <a:gd name="connsiteY183" fmla="*/ 660400 h 1476375"/>
              <a:gd name="connsiteX184" fmla="*/ 205985 w 1123560"/>
              <a:gd name="connsiteY184" fmla="*/ 654050 h 1476375"/>
              <a:gd name="connsiteX185" fmla="*/ 212335 w 1123560"/>
              <a:gd name="connsiteY185" fmla="*/ 635000 h 1476375"/>
              <a:gd name="connsiteX186" fmla="*/ 209160 w 1123560"/>
              <a:gd name="connsiteY186" fmla="*/ 619125 h 1476375"/>
              <a:gd name="connsiteX187" fmla="*/ 199635 w 1123560"/>
              <a:gd name="connsiteY187" fmla="*/ 612775 h 1476375"/>
              <a:gd name="connsiteX188" fmla="*/ 202810 w 1123560"/>
              <a:gd name="connsiteY188" fmla="*/ 603250 h 1476375"/>
              <a:gd name="connsiteX189" fmla="*/ 212335 w 1123560"/>
              <a:gd name="connsiteY189" fmla="*/ 593725 h 1476375"/>
              <a:gd name="connsiteX190" fmla="*/ 218685 w 1123560"/>
              <a:gd name="connsiteY190" fmla="*/ 584200 h 1476375"/>
              <a:gd name="connsiteX191" fmla="*/ 209160 w 1123560"/>
              <a:gd name="connsiteY191" fmla="*/ 558800 h 1476375"/>
              <a:gd name="connsiteX192" fmla="*/ 199635 w 1123560"/>
              <a:gd name="connsiteY192" fmla="*/ 552450 h 1476375"/>
              <a:gd name="connsiteX193" fmla="*/ 186935 w 1123560"/>
              <a:gd name="connsiteY193" fmla="*/ 533400 h 1476375"/>
              <a:gd name="connsiteX194" fmla="*/ 190110 w 1123560"/>
              <a:gd name="connsiteY194" fmla="*/ 517525 h 1476375"/>
              <a:gd name="connsiteX195" fmla="*/ 205985 w 1123560"/>
              <a:gd name="connsiteY195" fmla="*/ 501650 h 1476375"/>
              <a:gd name="connsiteX196" fmla="*/ 212335 w 1123560"/>
              <a:gd name="connsiteY196" fmla="*/ 492125 h 1476375"/>
              <a:gd name="connsiteX197" fmla="*/ 215510 w 1123560"/>
              <a:gd name="connsiteY197" fmla="*/ 482600 h 1476375"/>
              <a:gd name="connsiteX198" fmla="*/ 199635 w 1123560"/>
              <a:gd name="connsiteY198" fmla="*/ 457200 h 1476375"/>
              <a:gd name="connsiteX199" fmla="*/ 190110 w 1123560"/>
              <a:gd name="connsiteY199" fmla="*/ 447675 h 1476375"/>
              <a:gd name="connsiteX200" fmla="*/ 177410 w 1123560"/>
              <a:gd name="connsiteY200" fmla="*/ 428625 h 1476375"/>
              <a:gd name="connsiteX201" fmla="*/ 171060 w 1123560"/>
              <a:gd name="connsiteY201" fmla="*/ 419100 h 1476375"/>
              <a:gd name="connsiteX202" fmla="*/ 167885 w 1123560"/>
              <a:gd name="connsiteY202" fmla="*/ 409575 h 1476375"/>
              <a:gd name="connsiteX203" fmla="*/ 174235 w 1123560"/>
              <a:gd name="connsiteY203" fmla="*/ 400050 h 1476375"/>
              <a:gd name="connsiteX204" fmla="*/ 180585 w 1123560"/>
              <a:gd name="connsiteY204" fmla="*/ 381000 h 1476375"/>
              <a:gd name="connsiteX205" fmla="*/ 167885 w 1123560"/>
              <a:gd name="connsiteY205" fmla="*/ 352425 h 1476375"/>
              <a:gd name="connsiteX206" fmla="*/ 161535 w 1123560"/>
              <a:gd name="connsiteY206" fmla="*/ 342900 h 1476375"/>
              <a:gd name="connsiteX207" fmla="*/ 155185 w 1123560"/>
              <a:gd name="connsiteY207" fmla="*/ 323850 h 1476375"/>
              <a:gd name="connsiteX208" fmla="*/ 142485 w 1123560"/>
              <a:gd name="connsiteY208" fmla="*/ 304800 h 1476375"/>
              <a:gd name="connsiteX209" fmla="*/ 110735 w 1123560"/>
              <a:gd name="connsiteY209" fmla="*/ 257175 h 1476375"/>
              <a:gd name="connsiteX210" fmla="*/ 107560 w 1123560"/>
              <a:gd name="connsiteY210" fmla="*/ 247650 h 1476375"/>
              <a:gd name="connsiteX211" fmla="*/ 94860 w 1123560"/>
              <a:gd name="connsiteY211" fmla="*/ 228600 h 1476375"/>
              <a:gd name="connsiteX212" fmla="*/ 88510 w 1123560"/>
              <a:gd name="connsiteY212" fmla="*/ 209550 h 1476375"/>
              <a:gd name="connsiteX213" fmla="*/ 85335 w 1123560"/>
              <a:gd name="connsiteY213" fmla="*/ 200025 h 1476375"/>
              <a:gd name="connsiteX214" fmla="*/ 82160 w 1123560"/>
              <a:gd name="connsiteY214" fmla="*/ 190500 h 1476375"/>
              <a:gd name="connsiteX215" fmla="*/ 78985 w 1123560"/>
              <a:gd name="connsiteY215" fmla="*/ 171450 h 1476375"/>
              <a:gd name="connsiteX216" fmla="*/ 82160 w 1123560"/>
              <a:gd name="connsiteY216" fmla="*/ 161925 h 1476375"/>
              <a:gd name="connsiteX217" fmla="*/ 139310 w 1123560"/>
              <a:gd name="connsiteY217" fmla="*/ 152400 h 1476375"/>
              <a:gd name="connsiteX218" fmla="*/ 158360 w 1123560"/>
              <a:gd name="connsiteY218" fmla="*/ 146050 h 1476375"/>
              <a:gd name="connsiteX219" fmla="*/ 164710 w 1123560"/>
              <a:gd name="connsiteY219" fmla="*/ 136525 h 1476375"/>
              <a:gd name="connsiteX220" fmla="*/ 174235 w 1123560"/>
              <a:gd name="connsiteY220" fmla="*/ 130175 h 1476375"/>
              <a:gd name="connsiteX221" fmla="*/ 193285 w 1123560"/>
              <a:gd name="connsiteY221" fmla="*/ 123825 h 1476375"/>
              <a:gd name="connsiteX222" fmla="*/ 221860 w 1123560"/>
              <a:gd name="connsiteY222" fmla="*/ 117475 h 1476375"/>
              <a:gd name="connsiteX223" fmla="*/ 259960 w 1123560"/>
              <a:gd name="connsiteY223" fmla="*/ 120650 h 1476375"/>
              <a:gd name="connsiteX224" fmla="*/ 279010 w 1123560"/>
              <a:gd name="connsiteY224" fmla="*/ 127000 h 1476375"/>
              <a:gd name="connsiteX225" fmla="*/ 288535 w 1123560"/>
              <a:gd name="connsiteY225" fmla="*/ 133350 h 1476375"/>
              <a:gd name="connsiteX226" fmla="*/ 317110 w 1123560"/>
              <a:gd name="connsiteY226" fmla="*/ 127000 h 1476375"/>
              <a:gd name="connsiteX227" fmla="*/ 342510 w 1123560"/>
              <a:gd name="connsiteY227" fmla="*/ 120650 h 1476375"/>
              <a:gd name="connsiteX228" fmla="*/ 345685 w 1123560"/>
              <a:gd name="connsiteY228" fmla="*/ 111125 h 1476375"/>
              <a:gd name="connsiteX229" fmla="*/ 364735 w 1123560"/>
              <a:gd name="connsiteY229" fmla="*/ 98425 h 1476375"/>
              <a:gd name="connsiteX230" fmla="*/ 383785 w 1123560"/>
              <a:gd name="connsiteY230" fmla="*/ 82550 h 1476375"/>
              <a:gd name="connsiteX231" fmla="*/ 386960 w 1123560"/>
              <a:gd name="connsiteY231" fmla="*/ 53975 h 1476375"/>
              <a:gd name="connsiteX232" fmla="*/ 406010 w 1123560"/>
              <a:gd name="connsiteY232" fmla="*/ 47625 h 1476375"/>
              <a:gd name="connsiteX233" fmla="*/ 415535 w 1123560"/>
              <a:gd name="connsiteY233" fmla="*/ 41275 h 1476375"/>
              <a:gd name="connsiteX234" fmla="*/ 415535 w 1123560"/>
              <a:gd name="connsiteY234" fmla="*/ 22225 h 1476375"/>
              <a:gd name="connsiteX235" fmla="*/ 406010 w 1123560"/>
              <a:gd name="connsiteY235" fmla="*/ 19050 h 1476375"/>
              <a:gd name="connsiteX236" fmla="*/ 402835 w 1123560"/>
              <a:gd name="connsiteY236" fmla="*/ 9525 h 1476375"/>
              <a:gd name="connsiteX237" fmla="*/ 374260 w 1123560"/>
              <a:gd name="connsiteY237" fmla="*/ 3175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1123560" h="1476375">
                <a:moveTo>
                  <a:pt x="374260" y="3175"/>
                </a:moveTo>
                <a:cubicBezTo>
                  <a:pt x="375847" y="1588"/>
                  <a:pt x="399616" y="0"/>
                  <a:pt x="412360" y="0"/>
                </a:cubicBezTo>
                <a:cubicBezTo>
                  <a:pt x="420893" y="0"/>
                  <a:pt x="429838" y="6"/>
                  <a:pt x="437760" y="3175"/>
                </a:cubicBezTo>
                <a:cubicBezTo>
                  <a:pt x="441303" y="4592"/>
                  <a:pt x="442403" y="9287"/>
                  <a:pt x="444110" y="12700"/>
                </a:cubicBezTo>
                <a:cubicBezTo>
                  <a:pt x="445607" y="15693"/>
                  <a:pt x="446473" y="18978"/>
                  <a:pt x="447285" y="22225"/>
                </a:cubicBezTo>
                <a:cubicBezTo>
                  <a:pt x="448594" y="27460"/>
                  <a:pt x="448047" y="33273"/>
                  <a:pt x="450460" y="38100"/>
                </a:cubicBezTo>
                <a:cubicBezTo>
                  <a:pt x="453516" y="44212"/>
                  <a:pt x="464040" y="50328"/>
                  <a:pt x="469510" y="53975"/>
                </a:cubicBezTo>
                <a:lnTo>
                  <a:pt x="488560" y="47625"/>
                </a:lnTo>
                <a:lnTo>
                  <a:pt x="498085" y="44450"/>
                </a:lnTo>
                <a:cubicBezTo>
                  <a:pt x="501260" y="47625"/>
                  <a:pt x="504161" y="51100"/>
                  <a:pt x="507610" y="53975"/>
                </a:cubicBezTo>
                <a:cubicBezTo>
                  <a:pt x="510541" y="56418"/>
                  <a:pt x="514622" y="57453"/>
                  <a:pt x="517135" y="60325"/>
                </a:cubicBezTo>
                <a:cubicBezTo>
                  <a:pt x="522161" y="66068"/>
                  <a:pt x="525602" y="73025"/>
                  <a:pt x="529835" y="79375"/>
                </a:cubicBezTo>
                <a:cubicBezTo>
                  <a:pt x="542556" y="98456"/>
                  <a:pt x="527672" y="96758"/>
                  <a:pt x="545710" y="104775"/>
                </a:cubicBezTo>
                <a:cubicBezTo>
                  <a:pt x="551827" y="107493"/>
                  <a:pt x="558410" y="109008"/>
                  <a:pt x="564760" y="111125"/>
                </a:cubicBezTo>
                <a:lnTo>
                  <a:pt x="583810" y="117475"/>
                </a:lnTo>
                <a:lnTo>
                  <a:pt x="593335" y="120650"/>
                </a:lnTo>
                <a:lnTo>
                  <a:pt x="602860" y="123825"/>
                </a:lnTo>
                <a:cubicBezTo>
                  <a:pt x="608152" y="122767"/>
                  <a:pt x="613529" y="122070"/>
                  <a:pt x="618735" y="120650"/>
                </a:cubicBezTo>
                <a:cubicBezTo>
                  <a:pt x="625193" y="118889"/>
                  <a:pt x="637785" y="114300"/>
                  <a:pt x="637785" y="114300"/>
                </a:cubicBezTo>
                <a:cubicBezTo>
                  <a:pt x="644100" y="110090"/>
                  <a:pt x="648948" y="103238"/>
                  <a:pt x="656835" y="111125"/>
                </a:cubicBezTo>
                <a:cubicBezTo>
                  <a:pt x="659202" y="113492"/>
                  <a:pt x="658952" y="117475"/>
                  <a:pt x="660010" y="120650"/>
                </a:cubicBezTo>
                <a:cubicBezTo>
                  <a:pt x="652280" y="143840"/>
                  <a:pt x="647166" y="138077"/>
                  <a:pt x="666360" y="142875"/>
                </a:cubicBezTo>
                <a:cubicBezTo>
                  <a:pt x="671046" y="135847"/>
                  <a:pt x="674901" y="128714"/>
                  <a:pt x="682235" y="123825"/>
                </a:cubicBezTo>
                <a:cubicBezTo>
                  <a:pt x="685020" y="121969"/>
                  <a:pt x="688585" y="121708"/>
                  <a:pt x="691760" y="120650"/>
                </a:cubicBezTo>
                <a:cubicBezTo>
                  <a:pt x="694935" y="121708"/>
                  <a:pt x="698918" y="121458"/>
                  <a:pt x="701285" y="123825"/>
                </a:cubicBezTo>
                <a:cubicBezTo>
                  <a:pt x="702803" y="125343"/>
                  <a:pt x="707608" y="145940"/>
                  <a:pt x="707635" y="146050"/>
                </a:cubicBezTo>
                <a:cubicBezTo>
                  <a:pt x="706577" y="158750"/>
                  <a:pt x="706555" y="171579"/>
                  <a:pt x="704460" y="184150"/>
                </a:cubicBezTo>
                <a:cubicBezTo>
                  <a:pt x="700364" y="208724"/>
                  <a:pt x="699850" y="196545"/>
                  <a:pt x="691760" y="212725"/>
                </a:cubicBezTo>
                <a:cubicBezTo>
                  <a:pt x="690263" y="215718"/>
                  <a:pt x="689643" y="219075"/>
                  <a:pt x="688585" y="222250"/>
                </a:cubicBezTo>
                <a:cubicBezTo>
                  <a:pt x="689643" y="228600"/>
                  <a:pt x="689284" y="235358"/>
                  <a:pt x="691760" y="241300"/>
                </a:cubicBezTo>
                <a:cubicBezTo>
                  <a:pt x="694695" y="248345"/>
                  <a:pt x="704460" y="260350"/>
                  <a:pt x="704460" y="260350"/>
                </a:cubicBezTo>
                <a:cubicBezTo>
                  <a:pt x="704224" y="261293"/>
                  <a:pt x="699788" y="280417"/>
                  <a:pt x="698110" y="282575"/>
                </a:cubicBezTo>
                <a:cubicBezTo>
                  <a:pt x="692597" y="289664"/>
                  <a:pt x="679060" y="301625"/>
                  <a:pt x="679060" y="301625"/>
                </a:cubicBezTo>
                <a:cubicBezTo>
                  <a:pt x="678002" y="304800"/>
                  <a:pt x="676611" y="307883"/>
                  <a:pt x="675885" y="311150"/>
                </a:cubicBezTo>
                <a:cubicBezTo>
                  <a:pt x="671711" y="329935"/>
                  <a:pt x="670006" y="349194"/>
                  <a:pt x="675885" y="368300"/>
                </a:cubicBezTo>
                <a:cubicBezTo>
                  <a:pt x="676869" y="371499"/>
                  <a:pt x="682192" y="370556"/>
                  <a:pt x="685410" y="371475"/>
                </a:cubicBezTo>
                <a:cubicBezTo>
                  <a:pt x="689606" y="372674"/>
                  <a:pt x="693930" y="373396"/>
                  <a:pt x="698110" y="374650"/>
                </a:cubicBezTo>
                <a:cubicBezTo>
                  <a:pt x="704521" y="376573"/>
                  <a:pt x="717160" y="381000"/>
                  <a:pt x="717160" y="381000"/>
                </a:cubicBezTo>
                <a:cubicBezTo>
                  <a:pt x="720335" y="383117"/>
                  <a:pt x="723272" y="385643"/>
                  <a:pt x="726685" y="387350"/>
                </a:cubicBezTo>
                <a:cubicBezTo>
                  <a:pt x="729678" y="388847"/>
                  <a:pt x="733597" y="388434"/>
                  <a:pt x="736210" y="390525"/>
                </a:cubicBezTo>
                <a:cubicBezTo>
                  <a:pt x="739190" y="392909"/>
                  <a:pt x="740443" y="396875"/>
                  <a:pt x="742560" y="400050"/>
                </a:cubicBezTo>
                <a:cubicBezTo>
                  <a:pt x="738072" y="422489"/>
                  <a:pt x="741092" y="410805"/>
                  <a:pt x="733035" y="434975"/>
                </a:cubicBezTo>
                <a:lnTo>
                  <a:pt x="729860" y="444500"/>
                </a:lnTo>
                <a:cubicBezTo>
                  <a:pt x="730918" y="450850"/>
                  <a:pt x="733035" y="457112"/>
                  <a:pt x="733035" y="463550"/>
                </a:cubicBezTo>
                <a:cubicBezTo>
                  <a:pt x="733035" y="483728"/>
                  <a:pt x="732097" y="499485"/>
                  <a:pt x="726685" y="517525"/>
                </a:cubicBezTo>
                <a:cubicBezTo>
                  <a:pt x="724762" y="523936"/>
                  <a:pt x="724048" y="531006"/>
                  <a:pt x="720335" y="536575"/>
                </a:cubicBezTo>
                <a:lnTo>
                  <a:pt x="713985" y="546100"/>
                </a:lnTo>
                <a:cubicBezTo>
                  <a:pt x="715043" y="568325"/>
                  <a:pt x="715312" y="590602"/>
                  <a:pt x="717160" y="612775"/>
                </a:cubicBezTo>
                <a:cubicBezTo>
                  <a:pt x="717438" y="616110"/>
                  <a:pt x="718838" y="619307"/>
                  <a:pt x="720335" y="622300"/>
                </a:cubicBezTo>
                <a:cubicBezTo>
                  <a:pt x="722042" y="625713"/>
                  <a:pt x="725135" y="628338"/>
                  <a:pt x="726685" y="631825"/>
                </a:cubicBezTo>
                <a:cubicBezTo>
                  <a:pt x="729403" y="637942"/>
                  <a:pt x="729322" y="645306"/>
                  <a:pt x="733035" y="650875"/>
                </a:cubicBezTo>
                <a:cubicBezTo>
                  <a:pt x="735152" y="654050"/>
                  <a:pt x="737678" y="656987"/>
                  <a:pt x="739385" y="660400"/>
                </a:cubicBezTo>
                <a:cubicBezTo>
                  <a:pt x="740882" y="663393"/>
                  <a:pt x="740469" y="667312"/>
                  <a:pt x="742560" y="669925"/>
                </a:cubicBezTo>
                <a:cubicBezTo>
                  <a:pt x="744944" y="672905"/>
                  <a:pt x="748910" y="674158"/>
                  <a:pt x="752085" y="676275"/>
                </a:cubicBezTo>
                <a:cubicBezTo>
                  <a:pt x="759493" y="698500"/>
                  <a:pt x="752085" y="693208"/>
                  <a:pt x="767960" y="698500"/>
                </a:cubicBezTo>
                <a:cubicBezTo>
                  <a:pt x="795257" y="716698"/>
                  <a:pt x="760720" y="694880"/>
                  <a:pt x="787010" y="708025"/>
                </a:cubicBezTo>
                <a:cubicBezTo>
                  <a:pt x="807785" y="718413"/>
                  <a:pt x="784994" y="709856"/>
                  <a:pt x="806060" y="723900"/>
                </a:cubicBezTo>
                <a:cubicBezTo>
                  <a:pt x="808970" y="725840"/>
                  <a:pt x="826361" y="729673"/>
                  <a:pt x="828285" y="730250"/>
                </a:cubicBezTo>
                <a:lnTo>
                  <a:pt x="856860" y="739775"/>
                </a:lnTo>
                <a:lnTo>
                  <a:pt x="866385" y="742950"/>
                </a:lnTo>
                <a:cubicBezTo>
                  <a:pt x="871677" y="741892"/>
                  <a:pt x="877054" y="741195"/>
                  <a:pt x="882260" y="739775"/>
                </a:cubicBezTo>
                <a:cubicBezTo>
                  <a:pt x="888718" y="738014"/>
                  <a:pt x="901310" y="733425"/>
                  <a:pt x="901310" y="733425"/>
                </a:cubicBezTo>
                <a:cubicBezTo>
                  <a:pt x="906186" y="726111"/>
                  <a:pt x="906961" y="720725"/>
                  <a:pt x="917185" y="720725"/>
                </a:cubicBezTo>
                <a:cubicBezTo>
                  <a:pt x="920532" y="720725"/>
                  <a:pt x="923535" y="722842"/>
                  <a:pt x="926710" y="723900"/>
                </a:cubicBezTo>
                <a:cubicBezTo>
                  <a:pt x="942476" y="747549"/>
                  <a:pt x="922213" y="718504"/>
                  <a:pt x="942585" y="742950"/>
                </a:cubicBezTo>
                <a:cubicBezTo>
                  <a:pt x="945028" y="745881"/>
                  <a:pt x="946492" y="749544"/>
                  <a:pt x="948935" y="752475"/>
                </a:cubicBezTo>
                <a:cubicBezTo>
                  <a:pt x="953333" y="757753"/>
                  <a:pt x="961374" y="765412"/>
                  <a:pt x="967985" y="768350"/>
                </a:cubicBezTo>
                <a:cubicBezTo>
                  <a:pt x="974102" y="771068"/>
                  <a:pt x="980685" y="772583"/>
                  <a:pt x="987035" y="774700"/>
                </a:cubicBezTo>
                <a:lnTo>
                  <a:pt x="996560" y="777875"/>
                </a:lnTo>
                <a:cubicBezTo>
                  <a:pt x="1000793" y="776817"/>
                  <a:pt x="1005064" y="775899"/>
                  <a:pt x="1009260" y="774700"/>
                </a:cubicBezTo>
                <a:cubicBezTo>
                  <a:pt x="1012478" y="773781"/>
                  <a:pt x="1015438" y="771525"/>
                  <a:pt x="1018785" y="771525"/>
                </a:cubicBezTo>
                <a:cubicBezTo>
                  <a:pt x="1026269" y="771525"/>
                  <a:pt x="1033602" y="773642"/>
                  <a:pt x="1041010" y="774700"/>
                </a:cubicBezTo>
                <a:cubicBezTo>
                  <a:pt x="1044185" y="775758"/>
                  <a:pt x="1048168" y="775508"/>
                  <a:pt x="1050535" y="777875"/>
                </a:cubicBezTo>
                <a:cubicBezTo>
                  <a:pt x="1052902" y="780242"/>
                  <a:pt x="1052213" y="784407"/>
                  <a:pt x="1053710" y="787400"/>
                </a:cubicBezTo>
                <a:cubicBezTo>
                  <a:pt x="1055417" y="790813"/>
                  <a:pt x="1057188" y="794412"/>
                  <a:pt x="1060060" y="796925"/>
                </a:cubicBezTo>
                <a:cubicBezTo>
                  <a:pt x="1065803" y="801951"/>
                  <a:pt x="1072760" y="805392"/>
                  <a:pt x="1079110" y="809625"/>
                </a:cubicBezTo>
                <a:cubicBezTo>
                  <a:pt x="1084679" y="813338"/>
                  <a:pt x="1098160" y="815975"/>
                  <a:pt x="1098160" y="815975"/>
                </a:cubicBezTo>
                <a:cubicBezTo>
                  <a:pt x="1101335" y="818092"/>
                  <a:pt x="1105172" y="819453"/>
                  <a:pt x="1107685" y="822325"/>
                </a:cubicBezTo>
                <a:cubicBezTo>
                  <a:pt x="1112711" y="828068"/>
                  <a:pt x="1120385" y="841375"/>
                  <a:pt x="1120385" y="841375"/>
                </a:cubicBezTo>
                <a:cubicBezTo>
                  <a:pt x="1119327" y="855133"/>
                  <a:pt x="1117210" y="868851"/>
                  <a:pt x="1117210" y="882650"/>
                </a:cubicBezTo>
                <a:cubicBezTo>
                  <a:pt x="1117210" y="890435"/>
                  <a:pt x="1121462" y="906008"/>
                  <a:pt x="1123560" y="914400"/>
                </a:cubicBezTo>
                <a:cubicBezTo>
                  <a:pt x="1122502" y="920750"/>
                  <a:pt x="1121782" y="927166"/>
                  <a:pt x="1120385" y="933450"/>
                </a:cubicBezTo>
                <a:cubicBezTo>
                  <a:pt x="1119659" y="936717"/>
                  <a:pt x="1119577" y="940608"/>
                  <a:pt x="1117210" y="942975"/>
                </a:cubicBezTo>
                <a:cubicBezTo>
                  <a:pt x="1111814" y="948371"/>
                  <a:pt x="1103556" y="950279"/>
                  <a:pt x="1098160" y="955675"/>
                </a:cubicBezTo>
                <a:cubicBezTo>
                  <a:pt x="1083239" y="970596"/>
                  <a:pt x="1092371" y="962709"/>
                  <a:pt x="1069585" y="977900"/>
                </a:cubicBezTo>
                <a:cubicBezTo>
                  <a:pt x="1066800" y="979756"/>
                  <a:pt x="1063235" y="980017"/>
                  <a:pt x="1060060" y="981075"/>
                </a:cubicBezTo>
                <a:cubicBezTo>
                  <a:pt x="1034660" y="980017"/>
                  <a:pt x="1009222" y="979649"/>
                  <a:pt x="983860" y="977900"/>
                </a:cubicBezTo>
                <a:cubicBezTo>
                  <a:pt x="978476" y="977529"/>
                  <a:pt x="973191" y="976145"/>
                  <a:pt x="967985" y="974725"/>
                </a:cubicBezTo>
                <a:cubicBezTo>
                  <a:pt x="961527" y="972964"/>
                  <a:pt x="948935" y="968375"/>
                  <a:pt x="948935" y="968375"/>
                </a:cubicBezTo>
                <a:cubicBezTo>
                  <a:pt x="940468" y="969433"/>
                  <a:pt x="931570" y="968680"/>
                  <a:pt x="923535" y="971550"/>
                </a:cubicBezTo>
                <a:cubicBezTo>
                  <a:pt x="916348" y="974117"/>
                  <a:pt x="910835" y="980017"/>
                  <a:pt x="904485" y="984250"/>
                </a:cubicBezTo>
                <a:lnTo>
                  <a:pt x="885435" y="996950"/>
                </a:lnTo>
                <a:cubicBezTo>
                  <a:pt x="879866" y="1000663"/>
                  <a:pt x="872735" y="1001183"/>
                  <a:pt x="866385" y="1003300"/>
                </a:cubicBezTo>
                <a:cubicBezTo>
                  <a:pt x="858224" y="1006020"/>
                  <a:pt x="852931" y="1008055"/>
                  <a:pt x="844160" y="1009650"/>
                </a:cubicBezTo>
                <a:cubicBezTo>
                  <a:pt x="834520" y="1011403"/>
                  <a:pt x="805380" y="1014894"/>
                  <a:pt x="796535" y="1016000"/>
                </a:cubicBezTo>
                <a:cubicBezTo>
                  <a:pt x="790185" y="1018117"/>
                  <a:pt x="783472" y="1019357"/>
                  <a:pt x="777485" y="1022350"/>
                </a:cubicBezTo>
                <a:cubicBezTo>
                  <a:pt x="761792" y="1030197"/>
                  <a:pt x="769275" y="1027203"/>
                  <a:pt x="755260" y="1031875"/>
                </a:cubicBezTo>
                <a:cubicBezTo>
                  <a:pt x="748910" y="1036108"/>
                  <a:pt x="740443" y="1038225"/>
                  <a:pt x="736210" y="1044575"/>
                </a:cubicBezTo>
                <a:cubicBezTo>
                  <a:pt x="724879" y="1061572"/>
                  <a:pt x="732558" y="1051402"/>
                  <a:pt x="710810" y="1073150"/>
                </a:cubicBezTo>
                <a:lnTo>
                  <a:pt x="701285" y="1082675"/>
                </a:lnTo>
                <a:lnTo>
                  <a:pt x="694935" y="1101725"/>
                </a:lnTo>
                <a:cubicBezTo>
                  <a:pt x="693555" y="1105865"/>
                  <a:pt x="696911" y="1110229"/>
                  <a:pt x="698110" y="1114425"/>
                </a:cubicBezTo>
                <a:cubicBezTo>
                  <a:pt x="704363" y="1136310"/>
                  <a:pt x="698730" y="1108621"/>
                  <a:pt x="704460" y="1143000"/>
                </a:cubicBezTo>
                <a:cubicBezTo>
                  <a:pt x="703402" y="1155700"/>
                  <a:pt x="702774" y="1168443"/>
                  <a:pt x="701285" y="1181100"/>
                </a:cubicBezTo>
                <a:cubicBezTo>
                  <a:pt x="700654" y="1186459"/>
                  <a:pt x="698997" y="1191652"/>
                  <a:pt x="698110" y="1196975"/>
                </a:cubicBezTo>
                <a:cubicBezTo>
                  <a:pt x="696880" y="1204357"/>
                  <a:pt x="695993" y="1211792"/>
                  <a:pt x="694935" y="1219200"/>
                </a:cubicBezTo>
                <a:cubicBezTo>
                  <a:pt x="702915" y="1243141"/>
                  <a:pt x="691222" y="1214559"/>
                  <a:pt x="707635" y="1235075"/>
                </a:cubicBezTo>
                <a:cubicBezTo>
                  <a:pt x="709726" y="1237688"/>
                  <a:pt x="709313" y="1241607"/>
                  <a:pt x="710810" y="1244600"/>
                </a:cubicBezTo>
                <a:cubicBezTo>
                  <a:pt x="723120" y="1269219"/>
                  <a:pt x="712355" y="1239709"/>
                  <a:pt x="720335" y="1263650"/>
                </a:cubicBezTo>
                <a:cubicBezTo>
                  <a:pt x="719277" y="1273175"/>
                  <a:pt x="718736" y="1282772"/>
                  <a:pt x="717160" y="1292225"/>
                </a:cubicBezTo>
                <a:cubicBezTo>
                  <a:pt x="716610" y="1295526"/>
                  <a:pt x="713985" y="1298403"/>
                  <a:pt x="713985" y="1301750"/>
                </a:cubicBezTo>
                <a:cubicBezTo>
                  <a:pt x="713985" y="1306628"/>
                  <a:pt x="717061" y="1323777"/>
                  <a:pt x="720335" y="1330325"/>
                </a:cubicBezTo>
                <a:cubicBezTo>
                  <a:pt x="722042" y="1333738"/>
                  <a:pt x="724978" y="1336437"/>
                  <a:pt x="726685" y="1339850"/>
                </a:cubicBezTo>
                <a:cubicBezTo>
                  <a:pt x="728182" y="1342843"/>
                  <a:pt x="727769" y="1346762"/>
                  <a:pt x="729860" y="1349375"/>
                </a:cubicBezTo>
                <a:cubicBezTo>
                  <a:pt x="732244" y="1352355"/>
                  <a:pt x="736454" y="1353282"/>
                  <a:pt x="739385" y="1355725"/>
                </a:cubicBezTo>
                <a:cubicBezTo>
                  <a:pt x="748552" y="1363365"/>
                  <a:pt x="749016" y="1365409"/>
                  <a:pt x="755260" y="1374775"/>
                </a:cubicBezTo>
                <a:cubicBezTo>
                  <a:pt x="754202" y="1377950"/>
                  <a:pt x="752085" y="1380953"/>
                  <a:pt x="752085" y="1384300"/>
                </a:cubicBezTo>
                <a:cubicBezTo>
                  <a:pt x="752085" y="1392280"/>
                  <a:pt x="758399" y="1396929"/>
                  <a:pt x="761610" y="1403350"/>
                </a:cubicBezTo>
                <a:cubicBezTo>
                  <a:pt x="763107" y="1406343"/>
                  <a:pt x="763727" y="1409700"/>
                  <a:pt x="764785" y="1412875"/>
                </a:cubicBezTo>
                <a:cubicBezTo>
                  <a:pt x="764374" y="1416986"/>
                  <a:pt x="762815" y="1456120"/>
                  <a:pt x="755260" y="1463675"/>
                </a:cubicBezTo>
                <a:cubicBezTo>
                  <a:pt x="752085" y="1466850"/>
                  <a:pt x="749751" y="1471192"/>
                  <a:pt x="745735" y="1473200"/>
                </a:cubicBezTo>
                <a:cubicBezTo>
                  <a:pt x="740908" y="1475613"/>
                  <a:pt x="735152" y="1475317"/>
                  <a:pt x="729860" y="1476375"/>
                </a:cubicBezTo>
                <a:cubicBezTo>
                  <a:pt x="727743" y="1473200"/>
                  <a:pt x="726208" y="1469548"/>
                  <a:pt x="723510" y="1466850"/>
                </a:cubicBezTo>
                <a:cubicBezTo>
                  <a:pt x="710703" y="1454043"/>
                  <a:pt x="702262" y="1461672"/>
                  <a:pt x="682235" y="1463675"/>
                </a:cubicBezTo>
                <a:cubicBezTo>
                  <a:pt x="679060" y="1464733"/>
                  <a:pt x="676057" y="1466850"/>
                  <a:pt x="672710" y="1466850"/>
                </a:cubicBezTo>
                <a:cubicBezTo>
                  <a:pt x="660381" y="1466850"/>
                  <a:pt x="647957" y="1464590"/>
                  <a:pt x="637785" y="1457325"/>
                </a:cubicBezTo>
                <a:cubicBezTo>
                  <a:pt x="634131" y="1454715"/>
                  <a:pt x="631435" y="1450975"/>
                  <a:pt x="628260" y="1447800"/>
                </a:cubicBezTo>
                <a:cubicBezTo>
                  <a:pt x="627202" y="1444625"/>
                  <a:pt x="626710" y="1441201"/>
                  <a:pt x="625085" y="1438275"/>
                </a:cubicBezTo>
                <a:cubicBezTo>
                  <a:pt x="618981" y="1427288"/>
                  <a:pt x="612435" y="1417679"/>
                  <a:pt x="602860" y="1409700"/>
                </a:cubicBezTo>
                <a:cubicBezTo>
                  <a:pt x="599929" y="1407257"/>
                  <a:pt x="597126" y="1403787"/>
                  <a:pt x="593335" y="1403350"/>
                </a:cubicBezTo>
                <a:cubicBezTo>
                  <a:pt x="569131" y="1400557"/>
                  <a:pt x="544652" y="1401233"/>
                  <a:pt x="520310" y="1400175"/>
                </a:cubicBezTo>
                <a:cubicBezTo>
                  <a:pt x="513960" y="1395942"/>
                  <a:pt x="506656" y="1392871"/>
                  <a:pt x="501260" y="1387475"/>
                </a:cubicBezTo>
                <a:cubicBezTo>
                  <a:pt x="495278" y="1381493"/>
                  <a:pt x="490167" y="1375136"/>
                  <a:pt x="482210" y="1371600"/>
                </a:cubicBezTo>
                <a:cubicBezTo>
                  <a:pt x="476093" y="1368882"/>
                  <a:pt x="469510" y="1367367"/>
                  <a:pt x="463160" y="1365250"/>
                </a:cubicBezTo>
                <a:cubicBezTo>
                  <a:pt x="435535" y="1356042"/>
                  <a:pt x="456977" y="1362261"/>
                  <a:pt x="396485" y="1358900"/>
                </a:cubicBezTo>
                <a:cubicBezTo>
                  <a:pt x="394368" y="1355725"/>
                  <a:pt x="391842" y="1352788"/>
                  <a:pt x="390135" y="1349375"/>
                </a:cubicBezTo>
                <a:cubicBezTo>
                  <a:pt x="382735" y="1334575"/>
                  <a:pt x="388503" y="1322874"/>
                  <a:pt x="390135" y="1304925"/>
                </a:cubicBezTo>
                <a:cubicBezTo>
                  <a:pt x="388018" y="1301750"/>
                  <a:pt x="387198" y="1297107"/>
                  <a:pt x="383785" y="1295400"/>
                </a:cubicBezTo>
                <a:cubicBezTo>
                  <a:pt x="375979" y="1291497"/>
                  <a:pt x="358385" y="1289050"/>
                  <a:pt x="358385" y="1289050"/>
                </a:cubicBezTo>
                <a:cubicBezTo>
                  <a:pt x="355164" y="1279388"/>
                  <a:pt x="352030" y="1278339"/>
                  <a:pt x="361560" y="1270000"/>
                </a:cubicBezTo>
                <a:cubicBezTo>
                  <a:pt x="367303" y="1264974"/>
                  <a:pt x="380610" y="1257300"/>
                  <a:pt x="380610" y="1257300"/>
                </a:cubicBezTo>
                <a:cubicBezTo>
                  <a:pt x="386197" y="1240540"/>
                  <a:pt x="385927" y="1245784"/>
                  <a:pt x="380610" y="1219200"/>
                </a:cubicBezTo>
                <a:cubicBezTo>
                  <a:pt x="375811" y="1195204"/>
                  <a:pt x="377000" y="1205343"/>
                  <a:pt x="364735" y="1190625"/>
                </a:cubicBezTo>
                <a:cubicBezTo>
                  <a:pt x="358943" y="1183674"/>
                  <a:pt x="357496" y="1176373"/>
                  <a:pt x="348860" y="1171575"/>
                </a:cubicBezTo>
                <a:cubicBezTo>
                  <a:pt x="343009" y="1168324"/>
                  <a:pt x="336160" y="1167342"/>
                  <a:pt x="329810" y="1165225"/>
                </a:cubicBezTo>
                <a:lnTo>
                  <a:pt x="310760" y="1158875"/>
                </a:lnTo>
                <a:cubicBezTo>
                  <a:pt x="289580" y="1151815"/>
                  <a:pt x="266186" y="1155682"/>
                  <a:pt x="244085" y="1152525"/>
                </a:cubicBezTo>
                <a:lnTo>
                  <a:pt x="221860" y="1149350"/>
                </a:lnTo>
                <a:cubicBezTo>
                  <a:pt x="181637" y="1144322"/>
                  <a:pt x="206221" y="1148762"/>
                  <a:pt x="177410" y="1143000"/>
                </a:cubicBezTo>
                <a:cubicBezTo>
                  <a:pt x="175293" y="1139825"/>
                  <a:pt x="172610" y="1136962"/>
                  <a:pt x="171060" y="1133475"/>
                </a:cubicBezTo>
                <a:cubicBezTo>
                  <a:pt x="164152" y="1117932"/>
                  <a:pt x="165798" y="1115933"/>
                  <a:pt x="161535" y="1101725"/>
                </a:cubicBezTo>
                <a:cubicBezTo>
                  <a:pt x="159612" y="1095314"/>
                  <a:pt x="160754" y="1086388"/>
                  <a:pt x="155185" y="1082675"/>
                </a:cubicBezTo>
                <a:lnTo>
                  <a:pt x="145660" y="1076325"/>
                </a:lnTo>
                <a:cubicBezTo>
                  <a:pt x="143543" y="1073150"/>
                  <a:pt x="141017" y="1070213"/>
                  <a:pt x="139310" y="1066800"/>
                </a:cubicBezTo>
                <a:cubicBezTo>
                  <a:pt x="131910" y="1052000"/>
                  <a:pt x="137678" y="1040299"/>
                  <a:pt x="139310" y="1022350"/>
                </a:cubicBezTo>
                <a:cubicBezTo>
                  <a:pt x="137218" y="1016075"/>
                  <a:pt x="135380" y="1007776"/>
                  <a:pt x="129785" y="1003300"/>
                </a:cubicBezTo>
                <a:cubicBezTo>
                  <a:pt x="127172" y="1001209"/>
                  <a:pt x="123435" y="1001183"/>
                  <a:pt x="120260" y="1000125"/>
                </a:cubicBezTo>
                <a:cubicBezTo>
                  <a:pt x="104413" y="989560"/>
                  <a:pt x="116129" y="995489"/>
                  <a:pt x="91685" y="990600"/>
                </a:cubicBezTo>
                <a:cubicBezTo>
                  <a:pt x="56626" y="983588"/>
                  <a:pt x="112848" y="990503"/>
                  <a:pt x="44060" y="984250"/>
                </a:cubicBezTo>
                <a:cubicBezTo>
                  <a:pt x="33390" y="952239"/>
                  <a:pt x="49670" y="1001892"/>
                  <a:pt x="37710" y="962025"/>
                </a:cubicBezTo>
                <a:cubicBezTo>
                  <a:pt x="35787" y="955614"/>
                  <a:pt x="35073" y="948544"/>
                  <a:pt x="31360" y="942975"/>
                </a:cubicBezTo>
                <a:cubicBezTo>
                  <a:pt x="29243" y="939800"/>
                  <a:pt x="26560" y="936937"/>
                  <a:pt x="25010" y="933450"/>
                </a:cubicBezTo>
                <a:cubicBezTo>
                  <a:pt x="22292" y="927333"/>
                  <a:pt x="20283" y="920894"/>
                  <a:pt x="18660" y="914400"/>
                </a:cubicBezTo>
                <a:cubicBezTo>
                  <a:pt x="17643" y="910331"/>
                  <a:pt x="14587" y="896730"/>
                  <a:pt x="12310" y="892175"/>
                </a:cubicBezTo>
                <a:cubicBezTo>
                  <a:pt x="0" y="867556"/>
                  <a:pt x="10765" y="897066"/>
                  <a:pt x="2785" y="873125"/>
                </a:cubicBezTo>
                <a:cubicBezTo>
                  <a:pt x="3843" y="867833"/>
                  <a:pt x="3283" y="861935"/>
                  <a:pt x="5960" y="857250"/>
                </a:cubicBezTo>
                <a:cubicBezTo>
                  <a:pt x="8856" y="852181"/>
                  <a:pt x="20121" y="849355"/>
                  <a:pt x="25010" y="847725"/>
                </a:cubicBezTo>
                <a:cubicBezTo>
                  <a:pt x="26068" y="844550"/>
                  <a:pt x="26688" y="841193"/>
                  <a:pt x="28185" y="838200"/>
                </a:cubicBezTo>
                <a:cubicBezTo>
                  <a:pt x="29892" y="834787"/>
                  <a:pt x="32985" y="832162"/>
                  <a:pt x="34535" y="828675"/>
                </a:cubicBezTo>
                <a:cubicBezTo>
                  <a:pt x="37253" y="822558"/>
                  <a:pt x="40885" y="809625"/>
                  <a:pt x="40885" y="809625"/>
                </a:cubicBezTo>
                <a:cubicBezTo>
                  <a:pt x="32905" y="785684"/>
                  <a:pt x="43670" y="815194"/>
                  <a:pt x="31360" y="790575"/>
                </a:cubicBezTo>
                <a:cubicBezTo>
                  <a:pt x="22170" y="772195"/>
                  <a:pt x="36716" y="789581"/>
                  <a:pt x="18660" y="771525"/>
                </a:cubicBezTo>
                <a:cubicBezTo>
                  <a:pt x="17602" y="768350"/>
                  <a:pt x="15485" y="765347"/>
                  <a:pt x="15485" y="762000"/>
                </a:cubicBezTo>
                <a:cubicBezTo>
                  <a:pt x="15485" y="757636"/>
                  <a:pt x="16239" y="752931"/>
                  <a:pt x="18660" y="749300"/>
                </a:cubicBezTo>
                <a:cubicBezTo>
                  <a:pt x="22177" y="744024"/>
                  <a:pt x="32277" y="741586"/>
                  <a:pt x="37710" y="739775"/>
                </a:cubicBezTo>
                <a:cubicBezTo>
                  <a:pt x="55296" y="728051"/>
                  <a:pt x="38908" y="737094"/>
                  <a:pt x="66285" y="730250"/>
                </a:cubicBezTo>
                <a:cubicBezTo>
                  <a:pt x="72779" y="728627"/>
                  <a:pt x="78841" y="725523"/>
                  <a:pt x="85335" y="723900"/>
                </a:cubicBezTo>
                <a:cubicBezTo>
                  <a:pt x="92841" y="722024"/>
                  <a:pt x="106655" y="718356"/>
                  <a:pt x="113910" y="717550"/>
                </a:cubicBezTo>
                <a:cubicBezTo>
                  <a:pt x="127625" y="716026"/>
                  <a:pt x="141427" y="715433"/>
                  <a:pt x="155185" y="714375"/>
                </a:cubicBezTo>
                <a:cubicBezTo>
                  <a:pt x="158360" y="712258"/>
                  <a:pt x="162197" y="710897"/>
                  <a:pt x="164710" y="708025"/>
                </a:cubicBezTo>
                <a:cubicBezTo>
                  <a:pt x="169736" y="702282"/>
                  <a:pt x="173177" y="695325"/>
                  <a:pt x="177410" y="688975"/>
                </a:cubicBezTo>
                <a:cubicBezTo>
                  <a:pt x="179527" y="685800"/>
                  <a:pt x="181062" y="682148"/>
                  <a:pt x="183760" y="679450"/>
                </a:cubicBezTo>
                <a:lnTo>
                  <a:pt x="193285" y="669925"/>
                </a:lnTo>
                <a:cubicBezTo>
                  <a:pt x="194343" y="666750"/>
                  <a:pt x="194369" y="663013"/>
                  <a:pt x="196460" y="660400"/>
                </a:cubicBezTo>
                <a:cubicBezTo>
                  <a:pt x="198844" y="657420"/>
                  <a:pt x="203963" y="657286"/>
                  <a:pt x="205985" y="654050"/>
                </a:cubicBezTo>
                <a:cubicBezTo>
                  <a:pt x="209533" y="648374"/>
                  <a:pt x="212335" y="635000"/>
                  <a:pt x="212335" y="635000"/>
                </a:cubicBezTo>
                <a:cubicBezTo>
                  <a:pt x="211277" y="629708"/>
                  <a:pt x="211837" y="623810"/>
                  <a:pt x="209160" y="619125"/>
                </a:cubicBezTo>
                <a:cubicBezTo>
                  <a:pt x="207267" y="615812"/>
                  <a:pt x="201052" y="616318"/>
                  <a:pt x="199635" y="612775"/>
                </a:cubicBezTo>
                <a:cubicBezTo>
                  <a:pt x="198392" y="609668"/>
                  <a:pt x="200954" y="606035"/>
                  <a:pt x="202810" y="603250"/>
                </a:cubicBezTo>
                <a:cubicBezTo>
                  <a:pt x="205301" y="599514"/>
                  <a:pt x="209460" y="597174"/>
                  <a:pt x="212335" y="593725"/>
                </a:cubicBezTo>
                <a:cubicBezTo>
                  <a:pt x="214778" y="590794"/>
                  <a:pt x="216568" y="587375"/>
                  <a:pt x="218685" y="584200"/>
                </a:cubicBezTo>
                <a:cubicBezTo>
                  <a:pt x="216413" y="572842"/>
                  <a:pt x="217335" y="566975"/>
                  <a:pt x="209160" y="558800"/>
                </a:cubicBezTo>
                <a:cubicBezTo>
                  <a:pt x="206462" y="556102"/>
                  <a:pt x="202810" y="554567"/>
                  <a:pt x="199635" y="552450"/>
                </a:cubicBezTo>
                <a:lnTo>
                  <a:pt x="186935" y="533400"/>
                </a:lnTo>
                <a:cubicBezTo>
                  <a:pt x="183942" y="528910"/>
                  <a:pt x="188215" y="522578"/>
                  <a:pt x="190110" y="517525"/>
                </a:cubicBezTo>
                <a:cubicBezTo>
                  <a:pt x="193638" y="508118"/>
                  <a:pt x="198224" y="506824"/>
                  <a:pt x="205985" y="501650"/>
                </a:cubicBezTo>
                <a:cubicBezTo>
                  <a:pt x="208102" y="498475"/>
                  <a:pt x="210628" y="495538"/>
                  <a:pt x="212335" y="492125"/>
                </a:cubicBezTo>
                <a:cubicBezTo>
                  <a:pt x="213832" y="489132"/>
                  <a:pt x="215880" y="485926"/>
                  <a:pt x="215510" y="482600"/>
                </a:cubicBezTo>
                <a:cubicBezTo>
                  <a:pt x="212965" y="459693"/>
                  <a:pt x="211872" y="467398"/>
                  <a:pt x="199635" y="457200"/>
                </a:cubicBezTo>
                <a:cubicBezTo>
                  <a:pt x="196186" y="454325"/>
                  <a:pt x="192867" y="451219"/>
                  <a:pt x="190110" y="447675"/>
                </a:cubicBezTo>
                <a:cubicBezTo>
                  <a:pt x="185425" y="441651"/>
                  <a:pt x="181643" y="434975"/>
                  <a:pt x="177410" y="428625"/>
                </a:cubicBezTo>
                <a:cubicBezTo>
                  <a:pt x="175293" y="425450"/>
                  <a:pt x="172267" y="422720"/>
                  <a:pt x="171060" y="419100"/>
                </a:cubicBezTo>
                <a:lnTo>
                  <a:pt x="167885" y="409575"/>
                </a:lnTo>
                <a:cubicBezTo>
                  <a:pt x="170002" y="406400"/>
                  <a:pt x="172685" y="403537"/>
                  <a:pt x="174235" y="400050"/>
                </a:cubicBezTo>
                <a:cubicBezTo>
                  <a:pt x="176953" y="393933"/>
                  <a:pt x="180585" y="381000"/>
                  <a:pt x="180585" y="381000"/>
                </a:cubicBezTo>
                <a:cubicBezTo>
                  <a:pt x="170522" y="365906"/>
                  <a:pt x="175442" y="375095"/>
                  <a:pt x="167885" y="352425"/>
                </a:cubicBezTo>
                <a:cubicBezTo>
                  <a:pt x="166678" y="348805"/>
                  <a:pt x="163085" y="346387"/>
                  <a:pt x="161535" y="342900"/>
                </a:cubicBezTo>
                <a:cubicBezTo>
                  <a:pt x="158817" y="336783"/>
                  <a:pt x="157302" y="330200"/>
                  <a:pt x="155185" y="323850"/>
                </a:cubicBezTo>
                <a:cubicBezTo>
                  <a:pt x="152772" y="316610"/>
                  <a:pt x="146718" y="311150"/>
                  <a:pt x="142485" y="304800"/>
                </a:cubicBezTo>
                <a:lnTo>
                  <a:pt x="110735" y="257175"/>
                </a:lnTo>
                <a:cubicBezTo>
                  <a:pt x="108879" y="254390"/>
                  <a:pt x="109185" y="250576"/>
                  <a:pt x="107560" y="247650"/>
                </a:cubicBezTo>
                <a:cubicBezTo>
                  <a:pt x="103854" y="240979"/>
                  <a:pt x="99093" y="234950"/>
                  <a:pt x="94860" y="228600"/>
                </a:cubicBezTo>
                <a:cubicBezTo>
                  <a:pt x="91147" y="223031"/>
                  <a:pt x="90627" y="215900"/>
                  <a:pt x="88510" y="209550"/>
                </a:cubicBezTo>
                <a:lnTo>
                  <a:pt x="85335" y="200025"/>
                </a:lnTo>
                <a:cubicBezTo>
                  <a:pt x="84277" y="196850"/>
                  <a:pt x="82710" y="193801"/>
                  <a:pt x="82160" y="190500"/>
                </a:cubicBezTo>
                <a:lnTo>
                  <a:pt x="78985" y="171450"/>
                </a:lnTo>
                <a:cubicBezTo>
                  <a:pt x="80043" y="168275"/>
                  <a:pt x="79437" y="163870"/>
                  <a:pt x="82160" y="161925"/>
                </a:cubicBezTo>
                <a:cubicBezTo>
                  <a:pt x="94499" y="153112"/>
                  <a:pt x="130337" y="153148"/>
                  <a:pt x="139310" y="152400"/>
                </a:cubicBezTo>
                <a:lnTo>
                  <a:pt x="158360" y="146050"/>
                </a:lnTo>
                <a:cubicBezTo>
                  <a:pt x="161980" y="144843"/>
                  <a:pt x="162012" y="139223"/>
                  <a:pt x="164710" y="136525"/>
                </a:cubicBezTo>
                <a:cubicBezTo>
                  <a:pt x="167408" y="133827"/>
                  <a:pt x="170748" y="131725"/>
                  <a:pt x="174235" y="130175"/>
                </a:cubicBezTo>
                <a:cubicBezTo>
                  <a:pt x="180352" y="127457"/>
                  <a:pt x="186935" y="125942"/>
                  <a:pt x="193285" y="123825"/>
                </a:cubicBezTo>
                <a:cubicBezTo>
                  <a:pt x="208917" y="118614"/>
                  <a:pt x="199509" y="121200"/>
                  <a:pt x="221860" y="117475"/>
                </a:cubicBezTo>
                <a:cubicBezTo>
                  <a:pt x="234560" y="118533"/>
                  <a:pt x="247389" y="118555"/>
                  <a:pt x="259960" y="120650"/>
                </a:cubicBezTo>
                <a:cubicBezTo>
                  <a:pt x="266562" y="121750"/>
                  <a:pt x="279010" y="127000"/>
                  <a:pt x="279010" y="127000"/>
                </a:cubicBezTo>
                <a:cubicBezTo>
                  <a:pt x="282185" y="129117"/>
                  <a:pt x="284742" y="132929"/>
                  <a:pt x="288535" y="133350"/>
                </a:cubicBezTo>
                <a:cubicBezTo>
                  <a:pt x="300632" y="134694"/>
                  <a:pt x="306809" y="129575"/>
                  <a:pt x="317110" y="127000"/>
                </a:cubicBezTo>
                <a:lnTo>
                  <a:pt x="342510" y="120650"/>
                </a:lnTo>
                <a:cubicBezTo>
                  <a:pt x="343568" y="117475"/>
                  <a:pt x="343318" y="113492"/>
                  <a:pt x="345685" y="111125"/>
                </a:cubicBezTo>
                <a:cubicBezTo>
                  <a:pt x="351081" y="105729"/>
                  <a:pt x="358385" y="102658"/>
                  <a:pt x="364735" y="98425"/>
                </a:cubicBezTo>
                <a:cubicBezTo>
                  <a:pt x="377996" y="89584"/>
                  <a:pt x="371562" y="94773"/>
                  <a:pt x="383785" y="82550"/>
                </a:cubicBezTo>
                <a:cubicBezTo>
                  <a:pt x="382193" y="72999"/>
                  <a:pt x="375729" y="60995"/>
                  <a:pt x="386960" y="53975"/>
                </a:cubicBezTo>
                <a:cubicBezTo>
                  <a:pt x="392636" y="50427"/>
                  <a:pt x="406010" y="47625"/>
                  <a:pt x="406010" y="47625"/>
                </a:cubicBezTo>
                <a:cubicBezTo>
                  <a:pt x="409185" y="45508"/>
                  <a:pt x="413151" y="44255"/>
                  <a:pt x="415535" y="41275"/>
                </a:cubicBezTo>
                <a:cubicBezTo>
                  <a:pt x="419298" y="36571"/>
                  <a:pt x="420239" y="26929"/>
                  <a:pt x="415535" y="22225"/>
                </a:cubicBezTo>
                <a:cubicBezTo>
                  <a:pt x="413168" y="19858"/>
                  <a:pt x="409185" y="20108"/>
                  <a:pt x="406010" y="19050"/>
                </a:cubicBezTo>
                <a:cubicBezTo>
                  <a:pt x="404952" y="15875"/>
                  <a:pt x="401592" y="12632"/>
                  <a:pt x="402835" y="9525"/>
                </a:cubicBezTo>
                <a:cubicBezTo>
                  <a:pt x="404252" y="5982"/>
                  <a:pt x="372673" y="4762"/>
                  <a:pt x="374260" y="3175"/>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23" name="Freeform 22"/>
          <p:cNvSpPr/>
          <p:nvPr>
            <p:custDataLst>
              <p:tags r:id="rId12"/>
            </p:custDataLst>
          </p:nvPr>
        </p:nvSpPr>
        <p:spPr bwMode="auto">
          <a:xfrm>
            <a:off x="1100450" y="3385290"/>
            <a:ext cx="921868" cy="1278893"/>
          </a:xfrm>
          <a:custGeom>
            <a:avLst/>
            <a:gdLst>
              <a:gd name="connsiteX0" fmla="*/ 161925 w 1098550"/>
              <a:gd name="connsiteY0" fmla="*/ 644525 h 1524000"/>
              <a:gd name="connsiteX1" fmla="*/ 158750 w 1098550"/>
              <a:gd name="connsiteY1" fmla="*/ 704850 h 1524000"/>
              <a:gd name="connsiteX2" fmla="*/ 165100 w 1098550"/>
              <a:gd name="connsiteY2" fmla="*/ 714375 h 1524000"/>
              <a:gd name="connsiteX3" fmla="*/ 171450 w 1098550"/>
              <a:gd name="connsiteY3" fmla="*/ 733425 h 1524000"/>
              <a:gd name="connsiteX4" fmla="*/ 161925 w 1098550"/>
              <a:gd name="connsiteY4" fmla="*/ 762000 h 1524000"/>
              <a:gd name="connsiteX5" fmla="*/ 152400 w 1098550"/>
              <a:gd name="connsiteY5" fmla="*/ 768350 h 1524000"/>
              <a:gd name="connsiteX6" fmla="*/ 133350 w 1098550"/>
              <a:gd name="connsiteY6" fmla="*/ 774700 h 1524000"/>
              <a:gd name="connsiteX7" fmla="*/ 123825 w 1098550"/>
              <a:gd name="connsiteY7" fmla="*/ 771525 h 1524000"/>
              <a:gd name="connsiteX8" fmla="*/ 101600 w 1098550"/>
              <a:gd name="connsiteY8" fmla="*/ 777875 h 1524000"/>
              <a:gd name="connsiteX9" fmla="*/ 95250 w 1098550"/>
              <a:gd name="connsiteY9" fmla="*/ 796925 h 1524000"/>
              <a:gd name="connsiteX10" fmla="*/ 104775 w 1098550"/>
              <a:gd name="connsiteY10" fmla="*/ 866775 h 1524000"/>
              <a:gd name="connsiteX11" fmla="*/ 111125 w 1098550"/>
              <a:gd name="connsiteY11" fmla="*/ 876300 h 1524000"/>
              <a:gd name="connsiteX12" fmla="*/ 130175 w 1098550"/>
              <a:gd name="connsiteY12" fmla="*/ 895350 h 1524000"/>
              <a:gd name="connsiteX13" fmla="*/ 136525 w 1098550"/>
              <a:gd name="connsiteY13" fmla="*/ 904875 h 1524000"/>
              <a:gd name="connsiteX14" fmla="*/ 149225 w 1098550"/>
              <a:gd name="connsiteY14" fmla="*/ 936625 h 1524000"/>
              <a:gd name="connsiteX15" fmla="*/ 152400 w 1098550"/>
              <a:gd name="connsiteY15" fmla="*/ 946150 h 1524000"/>
              <a:gd name="connsiteX16" fmla="*/ 149225 w 1098550"/>
              <a:gd name="connsiteY16" fmla="*/ 962025 h 1524000"/>
              <a:gd name="connsiteX17" fmla="*/ 136525 w 1098550"/>
              <a:gd name="connsiteY17" fmla="*/ 965200 h 1524000"/>
              <a:gd name="connsiteX18" fmla="*/ 117475 w 1098550"/>
              <a:gd name="connsiteY18" fmla="*/ 971550 h 1524000"/>
              <a:gd name="connsiteX19" fmla="*/ 120650 w 1098550"/>
              <a:gd name="connsiteY19" fmla="*/ 990600 h 1524000"/>
              <a:gd name="connsiteX20" fmla="*/ 114300 w 1098550"/>
              <a:gd name="connsiteY20" fmla="*/ 1000125 h 1524000"/>
              <a:gd name="connsiteX21" fmla="*/ 104775 w 1098550"/>
              <a:gd name="connsiteY21" fmla="*/ 1003300 h 1524000"/>
              <a:gd name="connsiteX22" fmla="*/ 82550 w 1098550"/>
              <a:gd name="connsiteY22" fmla="*/ 1009650 h 1524000"/>
              <a:gd name="connsiteX23" fmla="*/ 63500 w 1098550"/>
              <a:gd name="connsiteY23" fmla="*/ 1000125 h 1524000"/>
              <a:gd name="connsiteX24" fmla="*/ 47625 w 1098550"/>
              <a:gd name="connsiteY24" fmla="*/ 1003300 h 1524000"/>
              <a:gd name="connsiteX25" fmla="*/ 38100 w 1098550"/>
              <a:gd name="connsiteY25" fmla="*/ 1022350 h 1524000"/>
              <a:gd name="connsiteX26" fmla="*/ 41275 w 1098550"/>
              <a:gd name="connsiteY26" fmla="*/ 1035050 h 1524000"/>
              <a:gd name="connsiteX27" fmla="*/ 50800 w 1098550"/>
              <a:gd name="connsiteY27" fmla="*/ 1044575 h 1524000"/>
              <a:gd name="connsiteX28" fmla="*/ 53975 w 1098550"/>
              <a:gd name="connsiteY28" fmla="*/ 1054100 h 1524000"/>
              <a:gd name="connsiteX29" fmla="*/ 47625 w 1098550"/>
              <a:gd name="connsiteY29" fmla="*/ 1063625 h 1524000"/>
              <a:gd name="connsiteX30" fmla="*/ 28575 w 1098550"/>
              <a:gd name="connsiteY30" fmla="*/ 1073150 h 1524000"/>
              <a:gd name="connsiteX31" fmla="*/ 19050 w 1098550"/>
              <a:gd name="connsiteY31" fmla="*/ 1079500 h 1524000"/>
              <a:gd name="connsiteX32" fmla="*/ 3175 w 1098550"/>
              <a:gd name="connsiteY32" fmla="*/ 1098550 h 1524000"/>
              <a:gd name="connsiteX33" fmla="*/ 0 w 1098550"/>
              <a:gd name="connsiteY33" fmla="*/ 1108075 h 1524000"/>
              <a:gd name="connsiteX34" fmla="*/ 3175 w 1098550"/>
              <a:gd name="connsiteY34" fmla="*/ 1127125 h 1524000"/>
              <a:gd name="connsiteX35" fmla="*/ 12700 w 1098550"/>
              <a:gd name="connsiteY35" fmla="*/ 1133475 h 1524000"/>
              <a:gd name="connsiteX36" fmla="*/ 34925 w 1098550"/>
              <a:gd name="connsiteY36" fmla="*/ 1158875 h 1524000"/>
              <a:gd name="connsiteX37" fmla="*/ 41275 w 1098550"/>
              <a:gd name="connsiteY37" fmla="*/ 1168400 h 1524000"/>
              <a:gd name="connsiteX38" fmla="*/ 60325 w 1098550"/>
              <a:gd name="connsiteY38" fmla="*/ 1177925 h 1524000"/>
              <a:gd name="connsiteX39" fmla="*/ 111125 w 1098550"/>
              <a:gd name="connsiteY39" fmla="*/ 1171575 h 1524000"/>
              <a:gd name="connsiteX40" fmla="*/ 130175 w 1098550"/>
              <a:gd name="connsiteY40" fmla="*/ 1165225 h 1524000"/>
              <a:gd name="connsiteX41" fmla="*/ 136525 w 1098550"/>
              <a:gd name="connsiteY41" fmla="*/ 1155700 h 1524000"/>
              <a:gd name="connsiteX42" fmla="*/ 171450 w 1098550"/>
              <a:gd name="connsiteY42" fmla="*/ 1139825 h 1524000"/>
              <a:gd name="connsiteX43" fmla="*/ 206375 w 1098550"/>
              <a:gd name="connsiteY43" fmla="*/ 1143000 h 1524000"/>
              <a:gd name="connsiteX44" fmla="*/ 215900 w 1098550"/>
              <a:gd name="connsiteY44" fmla="*/ 1146175 h 1524000"/>
              <a:gd name="connsiteX45" fmla="*/ 228600 w 1098550"/>
              <a:gd name="connsiteY45" fmla="*/ 1165225 h 1524000"/>
              <a:gd name="connsiteX46" fmla="*/ 234950 w 1098550"/>
              <a:gd name="connsiteY46" fmla="*/ 1174750 h 1524000"/>
              <a:gd name="connsiteX47" fmla="*/ 247650 w 1098550"/>
              <a:gd name="connsiteY47" fmla="*/ 1203325 h 1524000"/>
              <a:gd name="connsiteX48" fmla="*/ 250825 w 1098550"/>
              <a:gd name="connsiteY48" fmla="*/ 1212850 h 1524000"/>
              <a:gd name="connsiteX49" fmla="*/ 247650 w 1098550"/>
              <a:gd name="connsiteY49" fmla="*/ 1235075 h 1524000"/>
              <a:gd name="connsiteX50" fmla="*/ 244475 w 1098550"/>
              <a:gd name="connsiteY50" fmla="*/ 1244600 h 1524000"/>
              <a:gd name="connsiteX51" fmla="*/ 254000 w 1098550"/>
              <a:gd name="connsiteY51" fmla="*/ 1257300 h 1524000"/>
              <a:gd name="connsiteX52" fmla="*/ 269875 w 1098550"/>
              <a:gd name="connsiteY52" fmla="*/ 1276350 h 1524000"/>
              <a:gd name="connsiteX53" fmla="*/ 276225 w 1098550"/>
              <a:gd name="connsiteY53" fmla="*/ 1295400 h 1524000"/>
              <a:gd name="connsiteX54" fmla="*/ 279400 w 1098550"/>
              <a:gd name="connsiteY54" fmla="*/ 1308100 h 1524000"/>
              <a:gd name="connsiteX55" fmla="*/ 288925 w 1098550"/>
              <a:gd name="connsiteY55" fmla="*/ 1317625 h 1524000"/>
              <a:gd name="connsiteX56" fmla="*/ 295275 w 1098550"/>
              <a:gd name="connsiteY56" fmla="*/ 1327150 h 1524000"/>
              <a:gd name="connsiteX57" fmla="*/ 292100 w 1098550"/>
              <a:gd name="connsiteY57" fmla="*/ 1343025 h 1524000"/>
              <a:gd name="connsiteX58" fmla="*/ 273050 w 1098550"/>
              <a:gd name="connsiteY58" fmla="*/ 1352550 h 1524000"/>
              <a:gd name="connsiteX59" fmla="*/ 244475 w 1098550"/>
              <a:gd name="connsiteY59" fmla="*/ 1374775 h 1524000"/>
              <a:gd name="connsiteX60" fmla="*/ 250825 w 1098550"/>
              <a:gd name="connsiteY60" fmla="*/ 1397000 h 1524000"/>
              <a:gd name="connsiteX61" fmla="*/ 260350 w 1098550"/>
              <a:gd name="connsiteY61" fmla="*/ 1403350 h 1524000"/>
              <a:gd name="connsiteX62" fmla="*/ 263525 w 1098550"/>
              <a:gd name="connsiteY62" fmla="*/ 1412875 h 1524000"/>
              <a:gd name="connsiteX63" fmla="*/ 269875 w 1098550"/>
              <a:gd name="connsiteY63" fmla="*/ 1422400 h 1524000"/>
              <a:gd name="connsiteX64" fmla="*/ 282575 w 1098550"/>
              <a:gd name="connsiteY64" fmla="*/ 1447800 h 1524000"/>
              <a:gd name="connsiteX65" fmla="*/ 314325 w 1098550"/>
              <a:gd name="connsiteY65" fmla="*/ 1450975 h 1524000"/>
              <a:gd name="connsiteX66" fmla="*/ 330200 w 1098550"/>
              <a:gd name="connsiteY66" fmla="*/ 1466850 h 1524000"/>
              <a:gd name="connsiteX67" fmla="*/ 346075 w 1098550"/>
              <a:gd name="connsiteY67" fmla="*/ 1492250 h 1524000"/>
              <a:gd name="connsiteX68" fmla="*/ 365125 w 1098550"/>
              <a:gd name="connsiteY68" fmla="*/ 1482725 h 1524000"/>
              <a:gd name="connsiteX69" fmla="*/ 371475 w 1098550"/>
              <a:gd name="connsiteY69" fmla="*/ 1463675 h 1524000"/>
              <a:gd name="connsiteX70" fmla="*/ 365125 w 1098550"/>
              <a:gd name="connsiteY70" fmla="*/ 1454150 h 1524000"/>
              <a:gd name="connsiteX71" fmla="*/ 346075 w 1098550"/>
              <a:gd name="connsiteY71" fmla="*/ 1444625 h 1524000"/>
              <a:gd name="connsiteX72" fmla="*/ 349250 w 1098550"/>
              <a:gd name="connsiteY72" fmla="*/ 1431925 h 1524000"/>
              <a:gd name="connsiteX73" fmla="*/ 368300 w 1098550"/>
              <a:gd name="connsiteY73" fmla="*/ 1419225 h 1524000"/>
              <a:gd name="connsiteX74" fmla="*/ 403225 w 1098550"/>
              <a:gd name="connsiteY74" fmla="*/ 1431925 h 1524000"/>
              <a:gd name="connsiteX75" fmla="*/ 400050 w 1098550"/>
              <a:gd name="connsiteY75" fmla="*/ 1447800 h 1524000"/>
              <a:gd name="connsiteX76" fmla="*/ 403225 w 1098550"/>
              <a:gd name="connsiteY76" fmla="*/ 1470025 h 1524000"/>
              <a:gd name="connsiteX77" fmla="*/ 425450 w 1098550"/>
              <a:gd name="connsiteY77" fmla="*/ 1492250 h 1524000"/>
              <a:gd name="connsiteX78" fmla="*/ 438150 w 1098550"/>
              <a:gd name="connsiteY78" fmla="*/ 1495425 h 1524000"/>
              <a:gd name="connsiteX79" fmla="*/ 460375 w 1098550"/>
              <a:gd name="connsiteY79" fmla="*/ 1501775 h 1524000"/>
              <a:gd name="connsiteX80" fmla="*/ 485775 w 1098550"/>
              <a:gd name="connsiteY80" fmla="*/ 1508125 h 1524000"/>
              <a:gd name="connsiteX81" fmla="*/ 495300 w 1098550"/>
              <a:gd name="connsiteY81" fmla="*/ 1514475 h 1524000"/>
              <a:gd name="connsiteX82" fmla="*/ 527050 w 1098550"/>
              <a:gd name="connsiteY82" fmla="*/ 1524000 h 1524000"/>
              <a:gd name="connsiteX83" fmla="*/ 542925 w 1098550"/>
              <a:gd name="connsiteY83" fmla="*/ 1511300 h 1524000"/>
              <a:gd name="connsiteX84" fmla="*/ 552450 w 1098550"/>
              <a:gd name="connsiteY84" fmla="*/ 1504950 h 1524000"/>
              <a:gd name="connsiteX85" fmla="*/ 590550 w 1098550"/>
              <a:gd name="connsiteY85" fmla="*/ 1495425 h 1524000"/>
              <a:gd name="connsiteX86" fmla="*/ 587375 w 1098550"/>
              <a:gd name="connsiteY86" fmla="*/ 1479550 h 1524000"/>
              <a:gd name="connsiteX87" fmla="*/ 581025 w 1098550"/>
              <a:gd name="connsiteY87" fmla="*/ 1470025 h 1524000"/>
              <a:gd name="connsiteX88" fmla="*/ 577850 w 1098550"/>
              <a:gd name="connsiteY88" fmla="*/ 1460500 h 1524000"/>
              <a:gd name="connsiteX89" fmla="*/ 581025 w 1098550"/>
              <a:gd name="connsiteY89" fmla="*/ 1438275 h 1524000"/>
              <a:gd name="connsiteX90" fmla="*/ 587375 w 1098550"/>
              <a:gd name="connsiteY90" fmla="*/ 1419225 h 1524000"/>
              <a:gd name="connsiteX91" fmla="*/ 590550 w 1098550"/>
              <a:gd name="connsiteY91" fmla="*/ 1406525 h 1524000"/>
              <a:gd name="connsiteX92" fmla="*/ 596900 w 1098550"/>
              <a:gd name="connsiteY92" fmla="*/ 1387475 h 1524000"/>
              <a:gd name="connsiteX93" fmla="*/ 600075 w 1098550"/>
              <a:gd name="connsiteY93" fmla="*/ 1377950 h 1524000"/>
              <a:gd name="connsiteX94" fmla="*/ 609600 w 1098550"/>
              <a:gd name="connsiteY94" fmla="*/ 1343025 h 1524000"/>
              <a:gd name="connsiteX95" fmla="*/ 606425 w 1098550"/>
              <a:gd name="connsiteY95" fmla="*/ 1320800 h 1524000"/>
              <a:gd name="connsiteX96" fmla="*/ 590550 w 1098550"/>
              <a:gd name="connsiteY96" fmla="*/ 1292225 h 1524000"/>
              <a:gd name="connsiteX97" fmla="*/ 581025 w 1098550"/>
              <a:gd name="connsiteY97" fmla="*/ 1285875 h 1524000"/>
              <a:gd name="connsiteX98" fmla="*/ 568325 w 1098550"/>
              <a:gd name="connsiteY98" fmla="*/ 1266825 h 1524000"/>
              <a:gd name="connsiteX99" fmla="*/ 561975 w 1098550"/>
              <a:gd name="connsiteY99" fmla="*/ 1257300 h 1524000"/>
              <a:gd name="connsiteX100" fmla="*/ 555625 w 1098550"/>
              <a:gd name="connsiteY100" fmla="*/ 1238250 h 1524000"/>
              <a:gd name="connsiteX101" fmla="*/ 552450 w 1098550"/>
              <a:gd name="connsiteY101" fmla="*/ 1228725 h 1524000"/>
              <a:gd name="connsiteX102" fmla="*/ 552450 w 1098550"/>
              <a:gd name="connsiteY102" fmla="*/ 1139825 h 1524000"/>
              <a:gd name="connsiteX103" fmla="*/ 555625 w 1098550"/>
              <a:gd name="connsiteY103" fmla="*/ 1130300 h 1524000"/>
              <a:gd name="connsiteX104" fmla="*/ 536575 w 1098550"/>
              <a:gd name="connsiteY104" fmla="*/ 1114425 h 1524000"/>
              <a:gd name="connsiteX105" fmla="*/ 533400 w 1098550"/>
              <a:gd name="connsiteY105" fmla="*/ 1104900 h 1524000"/>
              <a:gd name="connsiteX106" fmla="*/ 536575 w 1098550"/>
              <a:gd name="connsiteY106" fmla="*/ 1095375 h 1524000"/>
              <a:gd name="connsiteX107" fmla="*/ 546100 w 1098550"/>
              <a:gd name="connsiteY107" fmla="*/ 1089025 h 1524000"/>
              <a:gd name="connsiteX108" fmla="*/ 565150 w 1098550"/>
              <a:gd name="connsiteY108" fmla="*/ 1076325 h 1524000"/>
              <a:gd name="connsiteX109" fmla="*/ 584200 w 1098550"/>
              <a:gd name="connsiteY109" fmla="*/ 1066800 h 1524000"/>
              <a:gd name="connsiteX110" fmla="*/ 593725 w 1098550"/>
              <a:gd name="connsiteY110" fmla="*/ 1060450 h 1524000"/>
              <a:gd name="connsiteX111" fmla="*/ 644525 w 1098550"/>
              <a:gd name="connsiteY111" fmla="*/ 1054100 h 1524000"/>
              <a:gd name="connsiteX112" fmla="*/ 685800 w 1098550"/>
              <a:gd name="connsiteY112" fmla="*/ 1057275 h 1524000"/>
              <a:gd name="connsiteX113" fmla="*/ 704850 w 1098550"/>
              <a:gd name="connsiteY113" fmla="*/ 1063625 h 1524000"/>
              <a:gd name="connsiteX114" fmla="*/ 723900 w 1098550"/>
              <a:gd name="connsiteY114" fmla="*/ 1076325 h 1524000"/>
              <a:gd name="connsiteX115" fmla="*/ 733425 w 1098550"/>
              <a:gd name="connsiteY115" fmla="*/ 1095375 h 1524000"/>
              <a:gd name="connsiteX116" fmla="*/ 742950 w 1098550"/>
              <a:gd name="connsiteY116" fmla="*/ 1098550 h 1524000"/>
              <a:gd name="connsiteX117" fmla="*/ 752475 w 1098550"/>
              <a:gd name="connsiteY117" fmla="*/ 1104900 h 1524000"/>
              <a:gd name="connsiteX118" fmla="*/ 777875 w 1098550"/>
              <a:gd name="connsiteY118" fmla="*/ 1092200 h 1524000"/>
              <a:gd name="connsiteX119" fmla="*/ 777875 w 1098550"/>
              <a:gd name="connsiteY119" fmla="*/ 1035050 h 1524000"/>
              <a:gd name="connsiteX120" fmla="*/ 771525 w 1098550"/>
              <a:gd name="connsiteY120" fmla="*/ 1016000 h 1524000"/>
              <a:gd name="connsiteX121" fmla="*/ 774700 w 1098550"/>
              <a:gd name="connsiteY121" fmla="*/ 1006475 h 1524000"/>
              <a:gd name="connsiteX122" fmla="*/ 793750 w 1098550"/>
              <a:gd name="connsiteY122" fmla="*/ 996950 h 1524000"/>
              <a:gd name="connsiteX123" fmla="*/ 825500 w 1098550"/>
              <a:gd name="connsiteY123" fmla="*/ 996950 h 1524000"/>
              <a:gd name="connsiteX124" fmla="*/ 841375 w 1098550"/>
              <a:gd name="connsiteY124" fmla="*/ 977900 h 1524000"/>
              <a:gd name="connsiteX125" fmla="*/ 844550 w 1098550"/>
              <a:gd name="connsiteY125" fmla="*/ 968375 h 1524000"/>
              <a:gd name="connsiteX126" fmla="*/ 854075 w 1098550"/>
              <a:gd name="connsiteY126" fmla="*/ 965200 h 1524000"/>
              <a:gd name="connsiteX127" fmla="*/ 863600 w 1098550"/>
              <a:gd name="connsiteY127" fmla="*/ 958850 h 1524000"/>
              <a:gd name="connsiteX128" fmla="*/ 873125 w 1098550"/>
              <a:gd name="connsiteY128" fmla="*/ 955675 h 1524000"/>
              <a:gd name="connsiteX129" fmla="*/ 882650 w 1098550"/>
              <a:gd name="connsiteY129" fmla="*/ 946150 h 1524000"/>
              <a:gd name="connsiteX130" fmla="*/ 882650 w 1098550"/>
              <a:gd name="connsiteY130" fmla="*/ 917575 h 1524000"/>
              <a:gd name="connsiteX131" fmla="*/ 885825 w 1098550"/>
              <a:gd name="connsiteY131" fmla="*/ 892175 h 1524000"/>
              <a:gd name="connsiteX132" fmla="*/ 889000 w 1098550"/>
              <a:gd name="connsiteY132" fmla="*/ 882650 h 1524000"/>
              <a:gd name="connsiteX133" fmla="*/ 911225 w 1098550"/>
              <a:gd name="connsiteY133" fmla="*/ 873125 h 1524000"/>
              <a:gd name="connsiteX134" fmla="*/ 962025 w 1098550"/>
              <a:gd name="connsiteY134" fmla="*/ 869950 h 1524000"/>
              <a:gd name="connsiteX135" fmla="*/ 981075 w 1098550"/>
              <a:gd name="connsiteY135" fmla="*/ 854075 h 1524000"/>
              <a:gd name="connsiteX136" fmla="*/ 996950 w 1098550"/>
              <a:gd name="connsiteY136" fmla="*/ 838200 h 1524000"/>
              <a:gd name="connsiteX137" fmla="*/ 1009650 w 1098550"/>
              <a:gd name="connsiteY137" fmla="*/ 819150 h 1524000"/>
              <a:gd name="connsiteX138" fmla="*/ 1016000 w 1098550"/>
              <a:gd name="connsiteY138" fmla="*/ 800100 h 1524000"/>
              <a:gd name="connsiteX139" fmla="*/ 1012825 w 1098550"/>
              <a:gd name="connsiteY139" fmla="*/ 787400 h 1524000"/>
              <a:gd name="connsiteX140" fmla="*/ 1009650 w 1098550"/>
              <a:gd name="connsiteY140" fmla="*/ 777875 h 1524000"/>
              <a:gd name="connsiteX141" fmla="*/ 1012825 w 1098550"/>
              <a:gd name="connsiteY141" fmla="*/ 730250 h 1524000"/>
              <a:gd name="connsiteX142" fmla="*/ 1016000 w 1098550"/>
              <a:gd name="connsiteY142" fmla="*/ 714375 h 1524000"/>
              <a:gd name="connsiteX143" fmla="*/ 1022350 w 1098550"/>
              <a:gd name="connsiteY143" fmla="*/ 695325 h 1524000"/>
              <a:gd name="connsiteX144" fmla="*/ 1012825 w 1098550"/>
              <a:gd name="connsiteY144" fmla="*/ 688975 h 1524000"/>
              <a:gd name="connsiteX145" fmla="*/ 974725 w 1098550"/>
              <a:gd name="connsiteY145" fmla="*/ 695325 h 1524000"/>
              <a:gd name="connsiteX146" fmla="*/ 968375 w 1098550"/>
              <a:gd name="connsiteY146" fmla="*/ 704850 h 1524000"/>
              <a:gd name="connsiteX147" fmla="*/ 946150 w 1098550"/>
              <a:gd name="connsiteY147" fmla="*/ 692150 h 1524000"/>
              <a:gd name="connsiteX148" fmla="*/ 952500 w 1098550"/>
              <a:gd name="connsiteY148" fmla="*/ 669925 h 1524000"/>
              <a:gd name="connsiteX149" fmla="*/ 962025 w 1098550"/>
              <a:gd name="connsiteY149" fmla="*/ 663575 h 1524000"/>
              <a:gd name="connsiteX150" fmla="*/ 965200 w 1098550"/>
              <a:gd name="connsiteY150" fmla="*/ 654050 h 1524000"/>
              <a:gd name="connsiteX151" fmla="*/ 974725 w 1098550"/>
              <a:gd name="connsiteY151" fmla="*/ 644525 h 1524000"/>
              <a:gd name="connsiteX152" fmla="*/ 971550 w 1098550"/>
              <a:gd name="connsiteY152" fmla="*/ 625475 h 1524000"/>
              <a:gd name="connsiteX153" fmla="*/ 965200 w 1098550"/>
              <a:gd name="connsiteY153" fmla="*/ 606425 h 1524000"/>
              <a:gd name="connsiteX154" fmla="*/ 968375 w 1098550"/>
              <a:gd name="connsiteY154" fmla="*/ 584200 h 1524000"/>
              <a:gd name="connsiteX155" fmla="*/ 990600 w 1098550"/>
              <a:gd name="connsiteY155" fmla="*/ 571500 h 1524000"/>
              <a:gd name="connsiteX156" fmla="*/ 1012825 w 1098550"/>
              <a:gd name="connsiteY156" fmla="*/ 565150 h 1524000"/>
              <a:gd name="connsiteX157" fmla="*/ 1022350 w 1098550"/>
              <a:gd name="connsiteY157" fmla="*/ 555625 h 1524000"/>
              <a:gd name="connsiteX158" fmla="*/ 1028700 w 1098550"/>
              <a:gd name="connsiteY158" fmla="*/ 536575 h 1524000"/>
              <a:gd name="connsiteX159" fmla="*/ 1022350 w 1098550"/>
              <a:gd name="connsiteY159" fmla="*/ 517525 h 1524000"/>
              <a:gd name="connsiteX160" fmla="*/ 1019175 w 1098550"/>
              <a:gd name="connsiteY160" fmla="*/ 504825 h 1524000"/>
              <a:gd name="connsiteX161" fmla="*/ 1012825 w 1098550"/>
              <a:gd name="connsiteY161" fmla="*/ 495300 h 1524000"/>
              <a:gd name="connsiteX162" fmla="*/ 1009650 w 1098550"/>
              <a:gd name="connsiteY162" fmla="*/ 485775 h 1524000"/>
              <a:gd name="connsiteX163" fmla="*/ 1012825 w 1098550"/>
              <a:gd name="connsiteY163" fmla="*/ 457200 h 1524000"/>
              <a:gd name="connsiteX164" fmla="*/ 1031875 w 1098550"/>
              <a:gd name="connsiteY164" fmla="*/ 444500 h 1524000"/>
              <a:gd name="connsiteX165" fmla="*/ 1079500 w 1098550"/>
              <a:gd name="connsiteY165" fmla="*/ 450850 h 1524000"/>
              <a:gd name="connsiteX166" fmla="*/ 1098550 w 1098550"/>
              <a:gd name="connsiteY166" fmla="*/ 447675 h 1524000"/>
              <a:gd name="connsiteX167" fmla="*/ 1089025 w 1098550"/>
              <a:gd name="connsiteY167" fmla="*/ 438150 h 1524000"/>
              <a:gd name="connsiteX168" fmla="*/ 1082675 w 1098550"/>
              <a:gd name="connsiteY168" fmla="*/ 428625 h 1524000"/>
              <a:gd name="connsiteX169" fmla="*/ 1063625 w 1098550"/>
              <a:gd name="connsiteY169" fmla="*/ 415925 h 1524000"/>
              <a:gd name="connsiteX170" fmla="*/ 1066800 w 1098550"/>
              <a:gd name="connsiteY170" fmla="*/ 393700 h 1524000"/>
              <a:gd name="connsiteX171" fmla="*/ 1069975 w 1098550"/>
              <a:gd name="connsiteY171" fmla="*/ 384175 h 1524000"/>
              <a:gd name="connsiteX172" fmla="*/ 1079500 w 1098550"/>
              <a:gd name="connsiteY172" fmla="*/ 381000 h 1524000"/>
              <a:gd name="connsiteX173" fmla="*/ 1089025 w 1098550"/>
              <a:gd name="connsiteY173" fmla="*/ 371475 h 1524000"/>
              <a:gd name="connsiteX174" fmla="*/ 1089025 w 1098550"/>
              <a:gd name="connsiteY174" fmla="*/ 320675 h 1524000"/>
              <a:gd name="connsiteX175" fmla="*/ 1069975 w 1098550"/>
              <a:gd name="connsiteY175" fmla="*/ 314325 h 1524000"/>
              <a:gd name="connsiteX176" fmla="*/ 1060450 w 1098550"/>
              <a:gd name="connsiteY176" fmla="*/ 307975 h 1524000"/>
              <a:gd name="connsiteX177" fmla="*/ 1047750 w 1098550"/>
              <a:gd name="connsiteY177" fmla="*/ 304800 h 1524000"/>
              <a:gd name="connsiteX178" fmla="*/ 1038225 w 1098550"/>
              <a:gd name="connsiteY178" fmla="*/ 301625 h 1524000"/>
              <a:gd name="connsiteX179" fmla="*/ 1022350 w 1098550"/>
              <a:gd name="connsiteY179" fmla="*/ 282575 h 1524000"/>
              <a:gd name="connsiteX180" fmla="*/ 1019175 w 1098550"/>
              <a:gd name="connsiteY180" fmla="*/ 273050 h 1524000"/>
              <a:gd name="connsiteX181" fmla="*/ 1003300 w 1098550"/>
              <a:gd name="connsiteY181" fmla="*/ 254000 h 1524000"/>
              <a:gd name="connsiteX182" fmla="*/ 993775 w 1098550"/>
              <a:gd name="connsiteY182" fmla="*/ 250825 h 1524000"/>
              <a:gd name="connsiteX183" fmla="*/ 984250 w 1098550"/>
              <a:gd name="connsiteY183" fmla="*/ 244475 h 1524000"/>
              <a:gd name="connsiteX184" fmla="*/ 977900 w 1098550"/>
              <a:gd name="connsiteY184" fmla="*/ 225425 h 1524000"/>
              <a:gd name="connsiteX185" fmla="*/ 971550 w 1098550"/>
              <a:gd name="connsiteY185" fmla="*/ 200025 h 1524000"/>
              <a:gd name="connsiteX186" fmla="*/ 968375 w 1098550"/>
              <a:gd name="connsiteY186" fmla="*/ 187325 h 1524000"/>
              <a:gd name="connsiteX187" fmla="*/ 958850 w 1098550"/>
              <a:gd name="connsiteY187" fmla="*/ 177800 h 1524000"/>
              <a:gd name="connsiteX188" fmla="*/ 939800 w 1098550"/>
              <a:gd name="connsiteY188" fmla="*/ 171450 h 1524000"/>
              <a:gd name="connsiteX189" fmla="*/ 904875 w 1098550"/>
              <a:gd name="connsiteY189" fmla="*/ 174625 h 1524000"/>
              <a:gd name="connsiteX190" fmla="*/ 895350 w 1098550"/>
              <a:gd name="connsiteY190" fmla="*/ 177800 h 1524000"/>
              <a:gd name="connsiteX191" fmla="*/ 889000 w 1098550"/>
              <a:gd name="connsiteY191" fmla="*/ 196850 h 1524000"/>
              <a:gd name="connsiteX192" fmla="*/ 892175 w 1098550"/>
              <a:gd name="connsiteY192" fmla="*/ 206375 h 1524000"/>
              <a:gd name="connsiteX193" fmla="*/ 898525 w 1098550"/>
              <a:gd name="connsiteY193" fmla="*/ 215900 h 1524000"/>
              <a:gd name="connsiteX194" fmla="*/ 904875 w 1098550"/>
              <a:gd name="connsiteY194" fmla="*/ 234950 h 1524000"/>
              <a:gd name="connsiteX195" fmla="*/ 901700 w 1098550"/>
              <a:gd name="connsiteY195" fmla="*/ 244475 h 1524000"/>
              <a:gd name="connsiteX196" fmla="*/ 879475 w 1098550"/>
              <a:gd name="connsiteY196" fmla="*/ 254000 h 1524000"/>
              <a:gd name="connsiteX197" fmla="*/ 869950 w 1098550"/>
              <a:gd name="connsiteY197" fmla="*/ 257175 h 1524000"/>
              <a:gd name="connsiteX198" fmla="*/ 841375 w 1098550"/>
              <a:gd name="connsiteY198" fmla="*/ 247650 h 1524000"/>
              <a:gd name="connsiteX199" fmla="*/ 831850 w 1098550"/>
              <a:gd name="connsiteY199" fmla="*/ 244475 h 1524000"/>
              <a:gd name="connsiteX200" fmla="*/ 803275 w 1098550"/>
              <a:gd name="connsiteY200" fmla="*/ 222250 h 1524000"/>
              <a:gd name="connsiteX201" fmla="*/ 796925 w 1098550"/>
              <a:gd name="connsiteY201" fmla="*/ 212725 h 1524000"/>
              <a:gd name="connsiteX202" fmla="*/ 793750 w 1098550"/>
              <a:gd name="connsiteY202" fmla="*/ 203200 h 1524000"/>
              <a:gd name="connsiteX203" fmla="*/ 796925 w 1098550"/>
              <a:gd name="connsiteY203" fmla="*/ 184150 h 1524000"/>
              <a:gd name="connsiteX204" fmla="*/ 800100 w 1098550"/>
              <a:gd name="connsiteY204" fmla="*/ 174625 h 1524000"/>
              <a:gd name="connsiteX205" fmla="*/ 819150 w 1098550"/>
              <a:gd name="connsiteY205" fmla="*/ 168275 h 1524000"/>
              <a:gd name="connsiteX206" fmla="*/ 835025 w 1098550"/>
              <a:gd name="connsiteY206" fmla="*/ 149225 h 1524000"/>
              <a:gd name="connsiteX207" fmla="*/ 828675 w 1098550"/>
              <a:gd name="connsiteY207" fmla="*/ 130175 h 1524000"/>
              <a:gd name="connsiteX208" fmla="*/ 822325 w 1098550"/>
              <a:gd name="connsiteY208" fmla="*/ 104775 h 1524000"/>
              <a:gd name="connsiteX209" fmla="*/ 815975 w 1098550"/>
              <a:gd name="connsiteY209" fmla="*/ 82550 h 1524000"/>
              <a:gd name="connsiteX210" fmla="*/ 822325 w 1098550"/>
              <a:gd name="connsiteY210" fmla="*/ 73025 h 1524000"/>
              <a:gd name="connsiteX211" fmla="*/ 835025 w 1098550"/>
              <a:gd name="connsiteY211" fmla="*/ 69850 h 1524000"/>
              <a:gd name="connsiteX212" fmla="*/ 844550 w 1098550"/>
              <a:gd name="connsiteY212" fmla="*/ 66675 h 1524000"/>
              <a:gd name="connsiteX213" fmla="*/ 854075 w 1098550"/>
              <a:gd name="connsiteY213" fmla="*/ 47625 h 1524000"/>
              <a:gd name="connsiteX214" fmla="*/ 838200 w 1098550"/>
              <a:gd name="connsiteY214" fmla="*/ 31750 h 1524000"/>
              <a:gd name="connsiteX215" fmla="*/ 812800 w 1098550"/>
              <a:gd name="connsiteY215" fmla="*/ 25400 h 1524000"/>
              <a:gd name="connsiteX216" fmla="*/ 793750 w 1098550"/>
              <a:gd name="connsiteY216" fmla="*/ 19050 h 1524000"/>
              <a:gd name="connsiteX217" fmla="*/ 774700 w 1098550"/>
              <a:gd name="connsiteY217" fmla="*/ 6350 h 1524000"/>
              <a:gd name="connsiteX218" fmla="*/ 765175 w 1098550"/>
              <a:gd name="connsiteY218" fmla="*/ 0 h 1524000"/>
              <a:gd name="connsiteX219" fmla="*/ 736600 w 1098550"/>
              <a:gd name="connsiteY219" fmla="*/ 3175 h 1524000"/>
              <a:gd name="connsiteX220" fmla="*/ 727075 w 1098550"/>
              <a:gd name="connsiteY220" fmla="*/ 9525 h 1524000"/>
              <a:gd name="connsiteX221" fmla="*/ 730250 w 1098550"/>
              <a:gd name="connsiteY221" fmla="*/ 31750 h 1524000"/>
              <a:gd name="connsiteX222" fmla="*/ 723900 w 1098550"/>
              <a:gd name="connsiteY222" fmla="*/ 60325 h 1524000"/>
              <a:gd name="connsiteX223" fmla="*/ 717550 w 1098550"/>
              <a:gd name="connsiteY223" fmla="*/ 69850 h 1524000"/>
              <a:gd name="connsiteX224" fmla="*/ 708025 w 1098550"/>
              <a:gd name="connsiteY224" fmla="*/ 79375 h 1524000"/>
              <a:gd name="connsiteX225" fmla="*/ 698500 w 1098550"/>
              <a:gd name="connsiteY225" fmla="*/ 82550 h 1524000"/>
              <a:gd name="connsiteX226" fmla="*/ 688975 w 1098550"/>
              <a:gd name="connsiteY226" fmla="*/ 92075 h 1524000"/>
              <a:gd name="connsiteX227" fmla="*/ 669925 w 1098550"/>
              <a:gd name="connsiteY227" fmla="*/ 104775 h 1524000"/>
              <a:gd name="connsiteX228" fmla="*/ 660400 w 1098550"/>
              <a:gd name="connsiteY228" fmla="*/ 114300 h 1524000"/>
              <a:gd name="connsiteX229" fmla="*/ 647700 w 1098550"/>
              <a:gd name="connsiteY229" fmla="*/ 123825 h 1524000"/>
              <a:gd name="connsiteX230" fmla="*/ 641350 w 1098550"/>
              <a:gd name="connsiteY230" fmla="*/ 133350 h 1524000"/>
              <a:gd name="connsiteX231" fmla="*/ 609600 w 1098550"/>
              <a:gd name="connsiteY231" fmla="*/ 149225 h 1524000"/>
              <a:gd name="connsiteX232" fmla="*/ 587375 w 1098550"/>
              <a:gd name="connsiteY232" fmla="*/ 142875 h 1524000"/>
              <a:gd name="connsiteX233" fmla="*/ 581025 w 1098550"/>
              <a:gd name="connsiteY233" fmla="*/ 133350 h 1524000"/>
              <a:gd name="connsiteX234" fmla="*/ 571500 w 1098550"/>
              <a:gd name="connsiteY234" fmla="*/ 127000 h 1524000"/>
              <a:gd name="connsiteX235" fmla="*/ 568325 w 1098550"/>
              <a:gd name="connsiteY235" fmla="*/ 117475 h 1524000"/>
              <a:gd name="connsiteX236" fmla="*/ 571500 w 1098550"/>
              <a:gd name="connsiteY236" fmla="*/ 101600 h 1524000"/>
              <a:gd name="connsiteX237" fmla="*/ 561975 w 1098550"/>
              <a:gd name="connsiteY237" fmla="*/ 95250 h 1524000"/>
              <a:gd name="connsiteX238" fmla="*/ 527050 w 1098550"/>
              <a:gd name="connsiteY238" fmla="*/ 107950 h 1524000"/>
              <a:gd name="connsiteX239" fmla="*/ 530225 w 1098550"/>
              <a:gd name="connsiteY239" fmla="*/ 139700 h 1524000"/>
              <a:gd name="connsiteX240" fmla="*/ 536575 w 1098550"/>
              <a:gd name="connsiteY240" fmla="*/ 158750 h 1524000"/>
              <a:gd name="connsiteX241" fmla="*/ 533400 w 1098550"/>
              <a:gd name="connsiteY241" fmla="*/ 174625 h 1524000"/>
              <a:gd name="connsiteX242" fmla="*/ 511175 w 1098550"/>
              <a:gd name="connsiteY242" fmla="*/ 190500 h 1524000"/>
              <a:gd name="connsiteX243" fmla="*/ 492125 w 1098550"/>
              <a:gd name="connsiteY243" fmla="*/ 196850 h 1524000"/>
              <a:gd name="connsiteX244" fmla="*/ 463550 w 1098550"/>
              <a:gd name="connsiteY244" fmla="*/ 193675 h 1524000"/>
              <a:gd name="connsiteX245" fmla="*/ 412750 w 1098550"/>
              <a:gd name="connsiteY245" fmla="*/ 200025 h 1524000"/>
              <a:gd name="connsiteX246" fmla="*/ 403225 w 1098550"/>
              <a:gd name="connsiteY246" fmla="*/ 206375 h 1524000"/>
              <a:gd name="connsiteX247" fmla="*/ 393700 w 1098550"/>
              <a:gd name="connsiteY247" fmla="*/ 209550 h 1524000"/>
              <a:gd name="connsiteX248" fmla="*/ 381000 w 1098550"/>
              <a:gd name="connsiteY248" fmla="*/ 228600 h 1524000"/>
              <a:gd name="connsiteX249" fmla="*/ 374650 w 1098550"/>
              <a:gd name="connsiteY249" fmla="*/ 247650 h 1524000"/>
              <a:gd name="connsiteX250" fmla="*/ 377825 w 1098550"/>
              <a:gd name="connsiteY250" fmla="*/ 273050 h 1524000"/>
              <a:gd name="connsiteX251" fmla="*/ 409575 w 1098550"/>
              <a:gd name="connsiteY251" fmla="*/ 266700 h 1524000"/>
              <a:gd name="connsiteX252" fmla="*/ 447675 w 1098550"/>
              <a:gd name="connsiteY252" fmla="*/ 269875 h 1524000"/>
              <a:gd name="connsiteX253" fmla="*/ 450850 w 1098550"/>
              <a:gd name="connsiteY253" fmla="*/ 298450 h 1524000"/>
              <a:gd name="connsiteX254" fmla="*/ 441325 w 1098550"/>
              <a:gd name="connsiteY254" fmla="*/ 327025 h 1524000"/>
              <a:gd name="connsiteX255" fmla="*/ 434975 w 1098550"/>
              <a:gd name="connsiteY255" fmla="*/ 336550 h 1524000"/>
              <a:gd name="connsiteX256" fmla="*/ 431800 w 1098550"/>
              <a:gd name="connsiteY256" fmla="*/ 349250 h 1524000"/>
              <a:gd name="connsiteX257" fmla="*/ 422275 w 1098550"/>
              <a:gd name="connsiteY257" fmla="*/ 384175 h 1524000"/>
              <a:gd name="connsiteX258" fmla="*/ 403225 w 1098550"/>
              <a:gd name="connsiteY258" fmla="*/ 390525 h 1524000"/>
              <a:gd name="connsiteX259" fmla="*/ 393700 w 1098550"/>
              <a:gd name="connsiteY259" fmla="*/ 393700 h 1524000"/>
              <a:gd name="connsiteX260" fmla="*/ 377825 w 1098550"/>
              <a:gd name="connsiteY260" fmla="*/ 390525 h 1524000"/>
              <a:gd name="connsiteX261" fmla="*/ 358775 w 1098550"/>
              <a:gd name="connsiteY261" fmla="*/ 384175 h 1524000"/>
              <a:gd name="connsiteX262" fmla="*/ 346075 w 1098550"/>
              <a:gd name="connsiteY262" fmla="*/ 387350 h 1524000"/>
              <a:gd name="connsiteX263" fmla="*/ 346075 w 1098550"/>
              <a:gd name="connsiteY263" fmla="*/ 457200 h 1524000"/>
              <a:gd name="connsiteX264" fmla="*/ 336550 w 1098550"/>
              <a:gd name="connsiteY264" fmla="*/ 460375 h 1524000"/>
              <a:gd name="connsiteX265" fmla="*/ 317500 w 1098550"/>
              <a:gd name="connsiteY265" fmla="*/ 473075 h 1524000"/>
              <a:gd name="connsiteX266" fmla="*/ 301625 w 1098550"/>
              <a:gd name="connsiteY266" fmla="*/ 501650 h 1524000"/>
              <a:gd name="connsiteX267" fmla="*/ 288925 w 1098550"/>
              <a:gd name="connsiteY267" fmla="*/ 520700 h 1524000"/>
              <a:gd name="connsiteX268" fmla="*/ 285750 w 1098550"/>
              <a:gd name="connsiteY268" fmla="*/ 533400 h 1524000"/>
              <a:gd name="connsiteX269" fmla="*/ 282575 w 1098550"/>
              <a:gd name="connsiteY269" fmla="*/ 549275 h 1524000"/>
              <a:gd name="connsiteX270" fmla="*/ 260350 w 1098550"/>
              <a:gd name="connsiteY270" fmla="*/ 558800 h 1524000"/>
              <a:gd name="connsiteX271" fmla="*/ 250825 w 1098550"/>
              <a:gd name="connsiteY271" fmla="*/ 552450 h 1524000"/>
              <a:gd name="connsiteX272" fmla="*/ 231775 w 1098550"/>
              <a:gd name="connsiteY272" fmla="*/ 546100 h 1524000"/>
              <a:gd name="connsiteX273" fmla="*/ 209550 w 1098550"/>
              <a:gd name="connsiteY273" fmla="*/ 549275 h 1524000"/>
              <a:gd name="connsiteX274" fmla="*/ 200025 w 1098550"/>
              <a:gd name="connsiteY274" fmla="*/ 555625 h 1524000"/>
              <a:gd name="connsiteX275" fmla="*/ 177800 w 1098550"/>
              <a:gd name="connsiteY275" fmla="*/ 584200 h 1524000"/>
              <a:gd name="connsiteX276" fmla="*/ 174625 w 1098550"/>
              <a:gd name="connsiteY276" fmla="*/ 593725 h 1524000"/>
              <a:gd name="connsiteX277" fmla="*/ 165100 w 1098550"/>
              <a:gd name="connsiteY277" fmla="*/ 600075 h 1524000"/>
              <a:gd name="connsiteX278" fmla="*/ 158750 w 1098550"/>
              <a:gd name="connsiteY278" fmla="*/ 609600 h 1524000"/>
              <a:gd name="connsiteX279" fmla="*/ 168275 w 1098550"/>
              <a:gd name="connsiteY279" fmla="*/ 628650 h 1524000"/>
              <a:gd name="connsiteX280" fmla="*/ 158750 w 1098550"/>
              <a:gd name="connsiteY280" fmla="*/ 650875 h 1524000"/>
              <a:gd name="connsiteX281" fmla="*/ 149225 w 1098550"/>
              <a:gd name="connsiteY281" fmla="*/ 657225 h 1524000"/>
              <a:gd name="connsiteX282" fmla="*/ 161925 w 1098550"/>
              <a:gd name="connsiteY282" fmla="*/ 644525 h 15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1098550" h="1524000">
                <a:moveTo>
                  <a:pt x="161925" y="644525"/>
                </a:moveTo>
                <a:cubicBezTo>
                  <a:pt x="152857" y="671728"/>
                  <a:pt x="151668" y="667081"/>
                  <a:pt x="158750" y="704850"/>
                </a:cubicBezTo>
                <a:cubicBezTo>
                  <a:pt x="159453" y="708601"/>
                  <a:pt x="163550" y="710888"/>
                  <a:pt x="165100" y="714375"/>
                </a:cubicBezTo>
                <a:cubicBezTo>
                  <a:pt x="167818" y="720492"/>
                  <a:pt x="171450" y="733425"/>
                  <a:pt x="171450" y="733425"/>
                </a:cubicBezTo>
                <a:cubicBezTo>
                  <a:pt x="169321" y="746197"/>
                  <a:pt x="170854" y="753071"/>
                  <a:pt x="161925" y="762000"/>
                </a:cubicBezTo>
                <a:cubicBezTo>
                  <a:pt x="159227" y="764698"/>
                  <a:pt x="155887" y="766800"/>
                  <a:pt x="152400" y="768350"/>
                </a:cubicBezTo>
                <a:cubicBezTo>
                  <a:pt x="146283" y="771068"/>
                  <a:pt x="133350" y="774700"/>
                  <a:pt x="133350" y="774700"/>
                </a:cubicBezTo>
                <a:cubicBezTo>
                  <a:pt x="130175" y="773642"/>
                  <a:pt x="127172" y="771525"/>
                  <a:pt x="123825" y="771525"/>
                </a:cubicBezTo>
                <a:cubicBezTo>
                  <a:pt x="119838" y="771525"/>
                  <a:pt x="106092" y="776378"/>
                  <a:pt x="101600" y="777875"/>
                </a:cubicBezTo>
                <a:cubicBezTo>
                  <a:pt x="99483" y="784225"/>
                  <a:pt x="94773" y="790249"/>
                  <a:pt x="95250" y="796925"/>
                </a:cubicBezTo>
                <a:cubicBezTo>
                  <a:pt x="99047" y="850080"/>
                  <a:pt x="94822" y="826964"/>
                  <a:pt x="104775" y="866775"/>
                </a:cubicBezTo>
                <a:cubicBezTo>
                  <a:pt x="105700" y="870477"/>
                  <a:pt x="108590" y="873448"/>
                  <a:pt x="111125" y="876300"/>
                </a:cubicBezTo>
                <a:cubicBezTo>
                  <a:pt x="117091" y="883012"/>
                  <a:pt x="123825" y="889000"/>
                  <a:pt x="130175" y="895350"/>
                </a:cubicBezTo>
                <a:cubicBezTo>
                  <a:pt x="132873" y="898048"/>
                  <a:pt x="134632" y="901562"/>
                  <a:pt x="136525" y="904875"/>
                </a:cubicBezTo>
                <a:cubicBezTo>
                  <a:pt x="144000" y="917956"/>
                  <a:pt x="144021" y="921013"/>
                  <a:pt x="149225" y="936625"/>
                </a:cubicBezTo>
                <a:lnTo>
                  <a:pt x="152400" y="946150"/>
                </a:lnTo>
                <a:cubicBezTo>
                  <a:pt x="151342" y="951442"/>
                  <a:pt x="152680" y="957879"/>
                  <a:pt x="149225" y="962025"/>
                </a:cubicBezTo>
                <a:cubicBezTo>
                  <a:pt x="146431" y="965377"/>
                  <a:pt x="140705" y="963946"/>
                  <a:pt x="136525" y="965200"/>
                </a:cubicBezTo>
                <a:cubicBezTo>
                  <a:pt x="130114" y="967123"/>
                  <a:pt x="123825" y="969433"/>
                  <a:pt x="117475" y="971550"/>
                </a:cubicBezTo>
                <a:cubicBezTo>
                  <a:pt x="105896" y="1006288"/>
                  <a:pt x="120650" y="953671"/>
                  <a:pt x="120650" y="990600"/>
                </a:cubicBezTo>
                <a:cubicBezTo>
                  <a:pt x="120650" y="994416"/>
                  <a:pt x="117280" y="997741"/>
                  <a:pt x="114300" y="1000125"/>
                </a:cubicBezTo>
                <a:cubicBezTo>
                  <a:pt x="111687" y="1002216"/>
                  <a:pt x="107993" y="1002381"/>
                  <a:pt x="104775" y="1003300"/>
                </a:cubicBezTo>
                <a:cubicBezTo>
                  <a:pt x="76868" y="1011273"/>
                  <a:pt x="105388" y="1002037"/>
                  <a:pt x="82550" y="1009650"/>
                </a:cubicBezTo>
                <a:cubicBezTo>
                  <a:pt x="77734" y="1006439"/>
                  <a:pt x="70073" y="1000125"/>
                  <a:pt x="63500" y="1000125"/>
                </a:cubicBezTo>
                <a:cubicBezTo>
                  <a:pt x="58104" y="1000125"/>
                  <a:pt x="52917" y="1002242"/>
                  <a:pt x="47625" y="1003300"/>
                </a:cubicBezTo>
                <a:cubicBezTo>
                  <a:pt x="44414" y="1008116"/>
                  <a:pt x="38100" y="1015777"/>
                  <a:pt x="38100" y="1022350"/>
                </a:cubicBezTo>
                <a:cubicBezTo>
                  <a:pt x="38100" y="1026714"/>
                  <a:pt x="39110" y="1031261"/>
                  <a:pt x="41275" y="1035050"/>
                </a:cubicBezTo>
                <a:cubicBezTo>
                  <a:pt x="43503" y="1038949"/>
                  <a:pt x="47625" y="1041400"/>
                  <a:pt x="50800" y="1044575"/>
                </a:cubicBezTo>
                <a:cubicBezTo>
                  <a:pt x="51858" y="1047750"/>
                  <a:pt x="54525" y="1050799"/>
                  <a:pt x="53975" y="1054100"/>
                </a:cubicBezTo>
                <a:cubicBezTo>
                  <a:pt x="53348" y="1057864"/>
                  <a:pt x="50323" y="1060927"/>
                  <a:pt x="47625" y="1063625"/>
                </a:cubicBezTo>
                <a:cubicBezTo>
                  <a:pt x="41470" y="1069780"/>
                  <a:pt x="36322" y="1070568"/>
                  <a:pt x="28575" y="1073150"/>
                </a:cubicBezTo>
                <a:cubicBezTo>
                  <a:pt x="25400" y="1075267"/>
                  <a:pt x="21981" y="1077057"/>
                  <a:pt x="19050" y="1079500"/>
                </a:cubicBezTo>
                <a:cubicBezTo>
                  <a:pt x="13031" y="1084516"/>
                  <a:pt x="6743" y="1091414"/>
                  <a:pt x="3175" y="1098550"/>
                </a:cubicBezTo>
                <a:cubicBezTo>
                  <a:pt x="1678" y="1101543"/>
                  <a:pt x="1058" y="1104900"/>
                  <a:pt x="0" y="1108075"/>
                </a:cubicBezTo>
                <a:cubicBezTo>
                  <a:pt x="1058" y="1114425"/>
                  <a:pt x="296" y="1121367"/>
                  <a:pt x="3175" y="1127125"/>
                </a:cubicBezTo>
                <a:cubicBezTo>
                  <a:pt x="4882" y="1130538"/>
                  <a:pt x="10187" y="1130603"/>
                  <a:pt x="12700" y="1133475"/>
                </a:cubicBezTo>
                <a:cubicBezTo>
                  <a:pt x="38629" y="1163108"/>
                  <a:pt x="13494" y="1144587"/>
                  <a:pt x="34925" y="1158875"/>
                </a:cubicBezTo>
                <a:cubicBezTo>
                  <a:pt x="37042" y="1162050"/>
                  <a:pt x="38577" y="1165702"/>
                  <a:pt x="41275" y="1168400"/>
                </a:cubicBezTo>
                <a:cubicBezTo>
                  <a:pt x="47430" y="1174555"/>
                  <a:pt x="52578" y="1175343"/>
                  <a:pt x="60325" y="1177925"/>
                </a:cubicBezTo>
                <a:cubicBezTo>
                  <a:pt x="76937" y="1176415"/>
                  <a:pt x="94722" y="1176048"/>
                  <a:pt x="111125" y="1171575"/>
                </a:cubicBezTo>
                <a:cubicBezTo>
                  <a:pt x="117583" y="1169814"/>
                  <a:pt x="130175" y="1165225"/>
                  <a:pt x="130175" y="1165225"/>
                </a:cubicBezTo>
                <a:cubicBezTo>
                  <a:pt x="132292" y="1162050"/>
                  <a:pt x="133653" y="1158213"/>
                  <a:pt x="136525" y="1155700"/>
                </a:cubicBezTo>
                <a:cubicBezTo>
                  <a:pt x="152800" y="1141460"/>
                  <a:pt x="153229" y="1143469"/>
                  <a:pt x="171450" y="1139825"/>
                </a:cubicBezTo>
                <a:cubicBezTo>
                  <a:pt x="183092" y="1140883"/>
                  <a:pt x="194803" y="1141347"/>
                  <a:pt x="206375" y="1143000"/>
                </a:cubicBezTo>
                <a:cubicBezTo>
                  <a:pt x="209688" y="1143473"/>
                  <a:pt x="213533" y="1143808"/>
                  <a:pt x="215900" y="1146175"/>
                </a:cubicBezTo>
                <a:cubicBezTo>
                  <a:pt x="221296" y="1151571"/>
                  <a:pt x="224367" y="1158875"/>
                  <a:pt x="228600" y="1165225"/>
                </a:cubicBezTo>
                <a:lnTo>
                  <a:pt x="234950" y="1174750"/>
                </a:lnTo>
                <a:cubicBezTo>
                  <a:pt x="245013" y="1189844"/>
                  <a:pt x="240093" y="1180655"/>
                  <a:pt x="247650" y="1203325"/>
                </a:cubicBezTo>
                <a:lnTo>
                  <a:pt x="250825" y="1212850"/>
                </a:lnTo>
                <a:cubicBezTo>
                  <a:pt x="249767" y="1220258"/>
                  <a:pt x="249118" y="1227737"/>
                  <a:pt x="247650" y="1235075"/>
                </a:cubicBezTo>
                <a:cubicBezTo>
                  <a:pt x="246994" y="1238357"/>
                  <a:pt x="243556" y="1241382"/>
                  <a:pt x="244475" y="1244600"/>
                </a:cubicBezTo>
                <a:cubicBezTo>
                  <a:pt x="245929" y="1249688"/>
                  <a:pt x="250556" y="1253282"/>
                  <a:pt x="254000" y="1257300"/>
                </a:cubicBezTo>
                <a:cubicBezTo>
                  <a:pt x="260902" y="1265352"/>
                  <a:pt x="265557" y="1266634"/>
                  <a:pt x="269875" y="1276350"/>
                </a:cubicBezTo>
                <a:cubicBezTo>
                  <a:pt x="272593" y="1282467"/>
                  <a:pt x="274602" y="1288906"/>
                  <a:pt x="276225" y="1295400"/>
                </a:cubicBezTo>
                <a:cubicBezTo>
                  <a:pt x="277283" y="1299633"/>
                  <a:pt x="277235" y="1304311"/>
                  <a:pt x="279400" y="1308100"/>
                </a:cubicBezTo>
                <a:cubicBezTo>
                  <a:pt x="281628" y="1311999"/>
                  <a:pt x="286050" y="1314176"/>
                  <a:pt x="288925" y="1317625"/>
                </a:cubicBezTo>
                <a:cubicBezTo>
                  <a:pt x="291368" y="1320556"/>
                  <a:pt x="293158" y="1323975"/>
                  <a:pt x="295275" y="1327150"/>
                </a:cubicBezTo>
                <a:cubicBezTo>
                  <a:pt x="294217" y="1332442"/>
                  <a:pt x="294777" y="1338340"/>
                  <a:pt x="292100" y="1343025"/>
                </a:cubicBezTo>
                <a:cubicBezTo>
                  <a:pt x="289204" y="1348094"/>
                  <a:pt x="277939" y="1350920"/>
                  <a:pt x="273050" y="1352550"/>
                </a:cubicBezTo>
                <a:cubicBezTo>
                  <a:pt x="250264" y="1367741"/>
                  <a:pt x="259396" y="1359854"/>
                  <a:pt x="244475" y="1374775"/>
                </a:cubicBezTo>
                <a:cubicBezTo>
                  <a:pt x="244682" y="1375605"/>
                  <a:pt x="249169" y="1394930"/>
                  <a:pt x="250825" y="1397000"/>
                </a:cubicBezTo>
                <a:cubicBezTo>
                  <a:pt x="253209" y="1399980"/>
                  <a:pt x="257175" y="1401233"/>
                  <a:pt x="260350" y="1403350"/>
                </a:cubicBezTo>
                <a:cubicBezTo>
                  <a:pt x="261408" y="1406525"/>
                  <a:pt x="262028" y="1409882"/>
                  <a:pt x="263525" y="1412875"/>
                </a:cubicBezTo>
                <a:cubicBezTo>
                  <a:pt x="265232" y="1416288"/>
                  <a:pt x="268668" y="1418780"/>
                  <a:pt x="269875" y="1422400"/>
                </a:cubicBezTo>
                <a:cubicBezTo>
                  <a:pt x="273845" y="1434309"/>
                  <a:pt x="267594" y="1444343"/>
                  <a:pt x="282575" y="1447800"/>
                </a:cubicBezTo>
                <a:cubicBezTo>
                  <a:pt x="292939" y="1450192"/>
                  <a:pt x="303742" y="1449917"/>
                  <a:pt x="314325" y="1450975"/>
                </a:cubicBezTo>
                <a:cubicBezTo>
                  <a:pt x="323014" y="1456768"/>
                  <a:pt x="325744" y="1456824"/>
                  <a:pt x="330200" y="1466850"/>
                </a:cubicBezTo>
                <a:cubicBezTo>
                  <a:pt x="341336" y="1491906"/>
                  <a:pt x="328940" y="1480827"/>
                  <a:pt x="346075" y="1492250"/>
                </a:cubicBezTo>
                <a:cubicBezTo>
                  <a:pt x="351265" y="1490520"/>
                  <a:pt x="361886" y="1487908"/>
                  <a:pt x="365125" y="1482725"/>
                </a:cubicBezTo>
                <a:cubicBezTo>
                  <a:pt x="368673" y="1477049"/>
                  <a:pt x="371475" y="1463675"/>
                  <a:pt x="371475" y="1463675"/>
                </a:cubicBezTo>
                <a:cubicBezTo>
                  <a:pt x="369358" y="1460500"/>
                  <a:pt x="367823" y="1456848"/>
                  <a:pt x="365125" y="1454150"/>
                </a:cubicBezTo>
                <a:cubicBezTo>
                  <a:pt x="358970" y="1447995"/>
                  <a:pt x="353822" y="1447207"/>
                  <a:pt x="346075" y="1444625"/>
                </a:cubicBezTo>
                <a:cubicBezTo>
                  <a:pt x="347133" y="1440392"/>
                  <a:pt x="347085" y="1435714"/>
                  <a:pt x="349250" y="1431925"/>
                </a:cubicBezTo>
                <a:cubicBezTo>
                  <a:pt x="354846" y="1422132"/>
                  <a:pt x="359208" y="1422256"/>
                  <a:pt x="368300" y="1419225"/>
                </a:cubicBezTo>
                <a:cubicBezTo>
                  <a:pt x="382601" y="1420655"/>
                  <a:pt x="403225" y="1412964"/>
                  <a:pt x="403225" y="1431925"/>
                </a:cubicBezTo>
                <a:cubicBezTo>
                  <a:pt x="403225" y="1437321"/>
                  <a:pt x="401108" y="1442508"/>
                  <a:pt x="400050" y="1447800"/>
                </a:cubicBezTo>
                <a:cubicBezTo>
                  <a:pt x="401108" y="1455208"/>
                  <a:pt x="400539" y="1463040"/>
                  <a:pt x="403225" y="1470025"/>
                </a:cubicBezTo>
                <a:cubicBezTo>
                  <a:pt x="410076" y="1487838"/>
                  <a:pt x="412064" y="1488425"/>
                  <a:pt x="425450" y="1492250"/>
                </a:cubicBezTo>
                <a:cubicBezTo>
                  <a:pt x="429646" y="1493449"/>
                  <a:pt x="433954" y="1494226"/>
                  <a:pt x="438150" y="1495425"/>
                </a:cubicBezTo>
                <a:cubicBezTo>
                  <a:pt x="456712" y="1500729"/>
                  <a:pt x="438042" y="1496812"/>
                  <a:pt x="460375" y="1501775"/>
                </a:cubicBezTo>
                <a:cubicBezTo>
                  <a:pt x="483363" y="1506883"/>
                  <a:pt x="468754" y="1502451"/>
                  <a:pt x="485775" y="1508125"/>
                </a:cubicBezTo>
                <a:cubicBezTo>
                  <a:pt x="488950" y="1510242"/>
                  <a:pt x="491813" y="1512925"/>
                  <a:pt x="495300" y="1514475"/>
                </a:cubicBezTo>
                <a:cubicBezTo>
                  <a:pt x="505238" y="1518892"/>
                  <a:pt x="516495" y="1521361"/>
                  <a:pt x="527050" y="1524000"/>
                </a:cubicBezTo>
                <a:cubicBezTo>
                  <a:pt x="537754" y="1507943"/>
                  <a:pt x="527589" y="1518968"/>
                  <a:pt x="542925" y="1511300"/>
                </a:cubicBezTo>
                <a:cubicBezTo>
                  <a:pt x="546338" y="1509593"/>
                  <a:pt x="548963" y="1506500"/>
                  <a:pt x="552450" y="1504950"/>
                </a:cubicBezTo>
                <a:cubicBezTo>
                  <a:pt x="567544" y="1498241"/>
                  <a:pt x="574576" y="1498087"/>
                  <a:pt x="590550" y="1495425"/>
                </a:cubicBezTo>
                <a:cubicBezTo>
                  <a:pt x="589492" y="1490133"/>
                  <a:pt x="589270" y="1484603"/>
                  <a:pt x="587375" y="1479550"/>
                </a:cubicBezTo>
                <a:cubicBezTo>
                  <a:pt x="586035" y="1475977"/>
                  <a:pt x="582732" y="1473438"/>
                  <a:pt x="581025" y="1470025"/>
                </a:cubicBezTo>
                <a:cubicBezTo>
                  <a:pt x="579528" y="1467032"/>
                  <a:pt x="578908" y="1463675"/>
                  <a:pt x="577850" y="1460500"/>
                </a:cubicBezTo>
                <a:cubicBezTo>
                  <a:pt x="578908" y="1453092"/>
                  <a:pt x="579342" y="1445567"/>
                  <a:pt x="581025" y="1438275"/>
                </a:cubicBezTo>
                <a:cubicBezTo>
                  <a:pt x="582530" y="1431753"/>
                  <a:pt x="585752" y="1425719"/>
                  <a:pt x="587375" y="1419225"/>
                </a:cubicBezTo>
                <a:cubicBezTo>
                  <a:pt x="588433" y="1414992"/>
                  <a:pt x="589296" y="1410705"/>
                  <a:pt x="590550" y="1406525"/>
                </a:cubicBezTo>
                <a:cubicBezTo>
                  <a:pt x="592473" y="1400114"/>
                  <a:pt x="594783" y="1393825"/>
                  <a:pt x="596900" y="1387475"/>
                </a:cubicBezTo>
                <a:cubicBezTo>
                  <a:pt x="597958" y="1384300"/>
                  <a:pt x="599263" y="1381197"/>
                  <a:pt x="600075" y="1377950"/>
                </a:cubicBezTo>
                <a:cubicBezTo>
                  <a:pt x="607237" y="1349303"/>
                  <a:pt x="603665" y="1360829"/>
                  <a:pt x="609600" y="1343025"/>
                </a:cubicBezTo>
                <a:cubicBezTo>
                  <a:pt x="608542" y="1335617"/>
                  <a:pt x="608108" y="1328092"/>
                  <a:pt x="606425" y="1320800"/>
                </a:cubicBezTo>
                <a:cubicBezTo>
                  <a:pt x="602627" y="1304343"/>
                  <a:pt x="602143" y="1301886"/>
                  <a:pt x="590550" y="1292225"/>
                </a:cubicBezTo>
                <a:cubicBezTo>
                  <a:pt x="587619" y="1289782"/>
                  <a:pt x="584200" y="1287992"/>
                  <a:pt x="581025" y="1285875"/>
                </a:cubicBezTo>
                <a:lnTo>
                  <a:pt x="568325" y="1266825"/>
                </a:lnTo>
                <a:cubicBezTo>
                  <a:pt x="566208" y="1263650"/>
                  <a:pt x="563182" y="1260920"/>
                  <a:pt x="561975" y="1257300"/>
                </a:cubicBezTo>
                <a:lnTo>
                  <a:pt x="555625" y="1238250"/>
                </a:lnTo>
                <a:lnTo>
                  <a:pt x="552450" y="1228725"/>
                </a:lnTo>
                <a:cubicBezTo>
                  <a:pt x="547278" y="1187351"/>
                  <a:pt x="547279" y="1199289"/>
                  <a:pt x="552450" y="1139825"/>
                </a:cubicBezTo>
                <a:cubicBezTo>
                  <a:pt x="552740" y="1136491"/>
                  <a:pt x="554567" y="1133475"/>
                  <a:pt x="555625" y="1130300"/>
                </a:cubicBezTo>
                <a:cubicBezTo>
                  <a:pt x="548597" y="1125614"/>
                  <a:pt x="541464" y="1121759"/>
                  <a:pt x="536575" y="1114425"/>
                </a:cubicBezTo>
                <a:cubicBezTo>
                  <a:pt x="534719" y="1111640"/>
                  <a:pt x="534458" y="1108075"/>
                  <a:pt x="533400" y="1104900"/>
                </a:cubicBezTo>
                <a:cubicBezTo>
                  <a:pt x="534458" y="1101725"/>
                  <a:pt x="534484" y="1097988"/>
                  <a:pt x="536575" y="1095375"/>
                </a:cubicBezTo>
                <a:cubicBezTo>
                  <a:pt x="538959" y="1092395"/>
                  <a:pt x="543169" y="1091468"/>
                  <a:pt x="546100" y="1089025"/>
                </a:cubicBezTo>
                <a:cubicBezTo>
                  <a:pt x="561955" y="1075812"/>
                  <a:pt x="548411" y="1081905"/>
                  <a:pt x="565150" y="1076325"/>
                </a:cubicBezTo>
                <a:cubicBezTo>
                  <a:pt x="592447" y="1058127"/>
                  <a:pt x="557910" y="1079945"/>
                  <a:pt x="584200" y="1066800"/>
                </a:cubicBezTo>
                <a:cubicBezTo>
                  <a:pt x="587613" y="1065093"/>
                  <a:pt x="590152" y="1061790"/>
                  <a:pt x="593725" y="1060450"/>
                </a:cubicBezTo>
                <a:cubicBezTo>
                  <a:pt x="604223" y="1056513"/>
                  <a:pt x="640704" y="1054447"/>
                  <a:pt x="644525" y="1054100"/>
                </a:cubicBezTo>
                <a:cubicBezTo>
                  <a:pt x="658283" y="1055158"/>
                  <a:pt x="672170" y="1055123"/>
                  <a:pt x="685800" y="1057275"/>
                </a:cubicBezTo>
                <a:cubicBezTo>
                  <a:pt x="692412" y="1058319"/>
                  <a:pt x="704850" y="1063625"/>
                  <a:pt x="704850" y="1063625"/>
                </a:cubicBezTo>
                <a:lnTo>
                  <a:pt x="723900" y="1076325"/>
                </a:lnTo>
                <a:cubicBezTo>
                  <a:pt x="741566" y="1088102"/>
                  <a:pt x="720747" y="1082697"/>
                  <a:pt x="733425" y="1095375"/>
                </a:cubicBezTo>
                <a:cubicBezTo>
                  <a:pt x="735792" y="1097742"/>
                  <a:pt x="739775" y="1097492"/>
                  <a:pt x="742950" y="1098550"/>
                </a:cubicBezTo>
                <a:cubicBezTo>
                  <a:pt x="746125" y="1100667"/>
                  <a:pt x="748689" y="1104427"/>
                  <a:pt x="752475" y="1104900"/>
                </a:cubicBezTo>
                <a:cubicBezTo>
                  <a:pt x="766895" y="1106702"/>
                  <a:pt x="769408" y="1100667"/>
                  <a:pt x="777875" y="1092200"/>
                </a:cubicBezTo>
                <a:cubicBezTo>
                  <a:pt x="783949" y="1067905"/>
                  <a:pt x="783757" y="1074266"/>
                  <a:pt x="777875" y="1035050"/>
                </a:cubicBezTo>
                <a:cubicBezTo>
                  <a:pt x="776882" y="1028431"/>
                  <a:pt x="771525" y="1016000"/>
                  <a:pt x="771525" y="1016000"/>
                </a:cubicBezTo>
                <a:cubicBezTo>
                  <a:pt x="772583" y="1012825"/>
                  <a:pt x="772609" y="1009088"/>
                  <a:pt x="774700" y="1006475"/>
                </a:cubicBezTo>
                <a:cubicBezTo>
                  <a:pt x="779176" y="1000880"/>
                  <a:pt x="787475" y="999042"/>
                  <a:pt x="793750" y="996950"/>
                </a:cubicBezTo>
                <a:cubicBezTo>
                  <a:pt x="805845" y="999369"/>
                  <a:pt x="813405" y="1002998"/>
                  <a:pt x="825500" y="996950"/>
                </a:cubicBezTo>
                <a:cubicBezTo>
                  <a:pt x="830181" y="994609"/>
                  <a:pt x="838944" y="982762"/>
                  <a:pt x="841375" y="977900"/>
                </a:cubicBezTo>
                <a:cubicBezTo>
                  <a:pt x="842872" y="974907"/>
                  <a:pt x="842183" y="970742"/>
                  <a:pt x="844550" y="968375"/>
                </a:cubicBezTo>
                <a:cubicBezTo>
                  <a:pt x="846917" y="966008"/>
                  <a:pt x="850900" y="966258"/>
                  <a:pt x="854075" y="965200"/>
                </a:cubicBezTo>
                <a:cubicBezTo>
                  <a:pt x="857250" y="963083"/>
                  <a:pt x="860187" y="960557"/>
                  <a:pt x="863600" y="958850"/>
                </a:cubicBezTo>
                <a:cubicBezTo>
                  <a:pt x="866593" y="957353"/>
                  <a:pt x="870340" y="957531"/>
                  <a:pt x="873125" y="955675"/>
                </a:cubicBezTo>
                <a:cubicBezTo>
                  <a:pt x="876861" y="953184"/>
                  <a:pt x="879475" y="949325"/>
                  <a:pt x="882650" y="946150"/>
                </a:cubicBezTo>
                <a:cubicBezTo>
                  <a:pt x="889797" y="924708"/>
                  <a:pt x="882650" y="951102"/>
                  <a:pt x="882650" y="917575"/>
                </a:cubicBezTo>
                <a:cubicBezTo>
                  <a:pt x="882650" y="909042"/>
                  <a:pt x="884299" y="900570"/>
                  <a:pt x="885825" y="892175"/>
                </a:cubicBezTo>
                <a:cubicBezTo>
                  <a:pt x="886424" y="888882"/>
                  <a:pt x="886909" y="885263"/>
                  <a:pt x="889000" y="882650"/>
                </a:cubicBezTo>
                <a:cubicBezTo>
                  <a:pt x="893612" y="876885"/>
                  <a:pt x="904594" y="873788"/>
                  <a:pt x="911225" y="873125"/>
                </a:cubicBezTo>
                <a:cubicBezTo>
                  <a:pt x="928107" y="871437"/>
                  <a:pt x="945092" y="871008"/>
                  <a:pt x="962025" y="869950"/>
                </a:cubicBezTo>
                <a:cubicBezTo>
                  <a:pt x="971391" y="863706"/>
                  <a:pt x="973435" y="863242"/>
                  <a:pt x="981075" y="854075"/>
                </a:cubicBezTo>
                <a:cubicBezTo>
                  <a:pt x="994304" y="838200"/>
                  <a:pt x="979487" y="849842"/>
                  <a:pt x="996950" y="838200"/>
                </a:cubicBezTo>
                <a:cubicBezTo>
                  <a:pt x="1001183" y="831850"/>
                  <a:pt x="1007237" y="826390"/>
                  <a:pt x="1009650" y="819150"/>
                </a:cubicBezTo>
                <a:lnTo>
                  <a:pt x="1016000" y="800100"/>
                </a:lnTo>
                <a:cubicBezTo>
                  <a:pt x="1014942" y="795867"/>
                  <a:pt x="1014024" y="791596"/>
                  <a:pt x="1012825" y="787400"/>
                </a:cubicBezTo>
                <a:cubicBezTo>
                  <a:pt x="1011906" y="784182"/>
                  <a:pt x="1009650" y="781222"/>
                  <a:pt x="1009650" y="777875"/>
                </a:cubicBezTo>
                <a:cubicBezTo>
                  <a:pt x="1009650" y="761965"/>
                  <a:pt x="1011242" y="746081"/>
                  <a:pt x="1012825" y="730250"/>
                </a:cubicBezTo>
                <a:cubicBezTo>
                  <a:pt x="1013362" y="724880"/>
                  <a:pt x="1014580" y="719581"/>
                  <a:pt x="1016000" y="714375"/>
                </a:cubicBezTo>
                <a:cubicBezTo>
                  <a:pt x="1017761" y="707917"/>
                  <a:pt x="1022350" y="695325"/>
                  <a:pt x="1022350" y="695325"/>
                </a:cubicBezTo>
                <a:cubicBezTo>
                  <a:pt x="1019175" y="693208"/>
                  <a:pt x="1016628" y="689292"/>
                  <a:pt x="1012825" y="688975"/>
                </a:cubicBezTo>
                <a:cubicBezTo>
                  <a:pt x="995811" y="687557"/>
                  <a:pt x="988143" y="690852"/>
                  <a:pt x="974725" y="695325"/>
                </a:cubicBezTo>
                <a:cubicBezTo>
                  <a:pt x="972608" y="698500"/>
                  <a:pt x="972044" y="703802"/>
                  <a:pt x="968375" y="704850"/>
                </a:cubicBezTo>
                <a:cubicBezTo>
                  <a:pt x="954094" y="708930"/>
                  <a:pt x="951720" y="700506"/>
                  <a:pt x="946150" y="692150"/>
                </a:cubicBezTo>
                <a:cubicBezTo>
                  <a:pt x="946357" y="691320"/>
                  <a:pt x="950844" y="671995"/>
                  <a:pt x="952500" y="669925"/>
                </a:cubicBezTo>
                <a:cubicBezTo>
                  <a:pt x="954884" y="666945"/>
                  <a:pt x="958850" y="665692"/>
                  <a:pt x="962025" y="663575"/>
                </a:cubicBezTo>
                <a:cubicBezTo>
                  <a:pt x="963083" y="660400"/>
                  <a:pt x="963344" y="656835"/>
                  <a:pt x="965200" y="654050"/>
                </a:cubicBezTo>
                <a:cubicBezTo>
                  <a:pt x="967691" y="650314"/>
                  <a:pt x="973751" y="648908"/>
                  <a:pt x="974725" y="644525"/>
                </a:cubicBezTo>
                <a:cubicBezTo>
                  <a:pt x="976122" y="638241"/>
                  <a:pt x="973111" y="631720"/>
                  <a:pt x="971550" y="625475"/>
                </a:cubicBezTo>
                <a:cubicBezTo>
                  <a:pt x="969927" y="618981"/>
                  <a:pt x="965200" y="606425"/>
                  <a:pt x="965200" y="606425"/>
                </a:cubicBezTo>
                <a:cubicBezTo>
                  <a:pt x="966258" y="599017"/>
                  <a:pt x="965596" y="591148"/>
                  <a:pt x="968375" y="584200"/>
                </a:cubicBezTo>
                <a:cubicBezTo>
                  <a:pt x="972726" y="573323"/>
                  <a:pt x="981571" y="574080"/>
                  <a:pt x="990600" y="571500"/>
                </a:cubicBezTo>
                <a:cubicBezTo>
                  <a:pt x="1022484" y="562390"/>
                  <a:pt x="973123" y="575076"/>
                  <a:pt x="1012825" y="565150"/>
                </a:cubicBezTo>
                <a:cubicBezTo>
                  <a:pt x="1016000" y="561975"/>
                  <a:pt x="1020169" y="559550"/>
                  <a:pt x="1022350" y="555625"/>
                </a:cubicBezTo>
                <a:cubicBezTo>
                  <a:pt x="1025601" y="549774"/>
                  <a:pt x="1028700" y="536575"/>
                  <a:pt x="1028700" y="536575"/>
                </a:cubicBezTo>
                <a:lnTo>
                  <a:pt x="1022350" y="517525"/>
                </a:lnTo>
                <a:cubicBezTo>
                  <a:pt x="1020970" y="513385"/>
                  <a:pt x="1020894" y="508836"/>
                  <a:pt x="1019175" y="504825"/>
                </a:cubicBezTo>
                <a:cubicBezTo>
                  <a:pt x="1017672" y="501318"/>
                  <a:pt x="1014532" y="498713"/>
                  <a:pt x="1012825" y="495300"/>
                </a:cubicBezTo>
                <a:cubicBezTo>
                  <a:pt x="1011328" y="492307"/>
                  <a:pt x="1010708" y="488950"/>
                  <a:pt x="1009650" y="485775"/>
                </a:cubicBezTo>
                <a:cubicBezTo>
                  <a:pt x="1010708" y="476250"/>
                  <a:pt x="1008281" y="465638"/>
                  <a:pt x="1012825" y="457200"/>
                </a:cubicBezTo>
                <a:cubicBezTo>
                  <a:pt x="1016443" y="450480"/>
                  <a:pt x="1031875" y="444500"/>
                  <a:pt x="1031875" y="444500"/>
                </a:cubicBezTo>
                <a:cubicBezTo>
                  <a:pt x="1044717" y="446640"/>
                  <a:pt x="1067842" y="450850"/>
                  <a:pt x="1079500" y="450850"/>
                </a:cubicBezTo>
                <a:cubicBezTo>
                  <a:pt x="1085938" y="450850"/>
                  <a:pt x="1092200" y="448733"/>
                  <a:pt x="1098550" y="447675"/>
                </a:cubicBezTo>
                <a:cubicBezTo>
                  <a:pt x="1095375" y="444500"/>
                  <a:pt x="1091900" y="441599"/>
                  <a:pt x="1089025" y="438150"/>
                </a:cubicBezTo>
                <a:cubicBezTo>
                  <a:pt x="1086582" y="435219"/>
                  <a:pt x="1085547" y="431138"/>
                  <a:pt x="1082675" y="428625"/>
                </a:cubicBezTo>
                <a:cubicBezTo>
                  <a:pt x="1076932" y="423599"/>
                  <a:pt x="1063625" y="415925"/>
                  <a:pt x="1063625" y="415925"/>
                </a:cubicBezTo>
                <a:cubicBezTo>
                  <a:pt x="1064683" y="408517"/>
                  <a:pt x="1065332" y="401038"/>
                  <a:pt x="1066800" y="393700"/>
                </a:cubicBezTo>
                <a:cubicBezTo>
                  <a:pt x="1067456" y="390418"/>
                  <a:pt x="1067608" y="386542"/>
                  <a:pt x="1069975" y="384175"/>
                </a:cubicBezTo>
                <a:cubicBezTo>
                  <a:pt x="1072342" y="381808"/>
                  <a:pt x="1076325" y="382058"/>
                  <a:pt x="1079500" y="381000"/>
                </a:cubicBezTo>
                <a:cubicBezTo>
                  <a:pt x="1082675" y="377825"/>
                  <a:pt x="1086534" y="375211"/>
                  <a:pt x="1089025" y="371475"/>
                </a:cubicBezTo>
                <a:cubicBezTo>
                  <a:pt x="1097187" y="359232"/>
                  <a:pt x="1089886" y="322519"/>
                  <a:pt x="1089025" y="320675"/>
                </a:cubicBezTo>
                <a:cubicBezTo>
                  <a:pt x="1086194" y="314609"/>
                  <a:pt x="1069975" y="314325"/>
                  <a:pt x="1069975" y="314325"/>
                </a:cubicBezTo>
                <a:cubicBezTo>
                  <a:pt x="1066800" y="312208"/>
                  <a:pt x="1063957" y="309478"/>
                  <a:pt x="1060450" y="307975"/>
                </a:cubicBezTo>
                <a:cubicBezTo>
                  <a:pt x="1056439" y="306256"/>
                  <a:pt x="1051946" y="305999"/>
                  <a:pt x="1047750" y="304800"/>
                </a:cubicBezTo>
                <a:cubicBezTo>
                  <a:pt x="1044532" y="303881"/>
                  <a:pt x="1041400" y="302683"/>
                  <a:pt x="1038225" y="301625"/>
                </a:cubicBezTo>
                <a:cubicBezTo>
                  <a:pt x="1031203" y="294603"/>
                  <a:pt x="1026770" y="291416"/>
                  <a:pt x="1022350" y="282575"/>
                </a:cubicBezTo>
                <a:cubicBezTo>
                  <a:pt x="1020853" y="279582"/>
                  <a:pt x="1020672" y="276043"/>
                  <a:pt x="1019175" y="273050"/>
                </a:cubicBezTo>
                <a:cubicBezTo>
                  <a:pt x="1016247" y="267193"/>
                  <a:pt x="1008566" y="257511"/>
                  <a:pt x="1003300" y="254000"/>
                </a:cubicBezTo>
                <a:cubicBezTo>
                  <a:pt x="1000515" y="252144"/>
                  <a:pt x="996950" y="251883"/>
                  <a:pt x="993775" y="250825"/>
                </a:cubicBezTo>
                <a:cubicBezTo>
                  <a:pt x="990600" y="248708"/>
                  <a:pt x="986272" y="247711"/>
                  <a:pt x="984250" y="244475"/>
                </a:cubicBezTo>
                <a:cubicBezTo>
                  <a:pt x="980702" y="238799"/>
                  <a:pt x="980017" y="231775"/>
                  <a:pt x="977900" y="225425"/>
                </a:cubicBezTo>
                <a:cubicBezTo>
                  <a:pt x="972226" y="208404"/>
                  <a:pt x="976658" y="223013"/>
                  <a:pt x="971550" y="200025"/>
                </a:cubicBezTo>
                <a:cubicBezTo>
                  <a:pt x="970603" y="195765"/>
                  <a:pt x="970540" y="191114"/>
                  <a:pt x="968375" y="187325"/>
                </a:cubicBezTo>
                <a:cubicBezTo>
                  <a:pt x="966147" y="183426"/>
                  <a:pt x="962775" y="179981"/>
                  <a:pt x="958850" y="177800"/>
                </a:cubicBezTo>
                <a:cubicBezTo>
                  <a:pt x="952999" y="174549"/>
                  <a:pt x="939800" y="171450"/>
                  <a:pt x="939800" y="171450"/>
                </a:cubicBezTo>
                <a:cubicBezTo>
                  <a:pt x="928158" y="172508"/>
                  <a:pt x="916447" y="172972"/>
                  <a:pt x="904875" y="174625"/>
                </a:cubicBezTo>
                <a:cubicBezTo>
                  <a:pt x="901562" y="175098"/>
                  <a:pt x="897295" y="175077"/>
                  <a:pt x="895350" y="177800"/>
                </a:cubicBezTo>
                <a:cubicBezTo>
                  <a:pt x="891459" y="183247"/>
                  <a:pt x="889000" y="196850"/>
                  <a:pt x="889000" y="196850"/>
                </a:cubicBezTo>
                <a:cubicBezTo>
                  <a:pt x="890058" y="200025"/>
                  <a:pt x="890678" y="203382"/>
                  <a:pt x="892175" y="206375"/>
                </a:cubicBezTo>
                <a:cubicBezTo>
                  <a:pt x="893882" y="209788"/>
                  <a:pt x="896975" y="212413"/>
                  <a:pt x="898525" y="215900"/>
                </a:cubicBezTo>
                <a:cubicBezTo>
                  <a:pt x="901243" y="222017"/>
                  <a:pt x="904875" y="234950"/>
                  <a:pt x="904875" y="234950"/>
                </a:cubicBezTo>
                <a:cubicBezTo>
                  <a:pt x="903817" y="238125"/>
                  <a:pt x="903791" y="241862"/>
                  <a:pt x="901700" y="244475"/>
                </a:cubicBezTo>
                <a:cubicBezTo>
                  <a:pt x="895971" y="251636"/>
                  <a:pt x="887384" y="251740"/>
                  <a:pt x="879475" y="254000"/>
                </a:cubicBezTo>
                <a:cubicBezTo>
                  <a:pt x="876257" y="254919"/>
                  <a:pt x="873125" y="256117"/>
                  <a:pt x="869950" y="257175"/>
                </a:cubicBezTo>
                <a:lnTo>
                  <a:pt x="841375" y="247650"/>
                </a:lnTo>
                <a:lnTo>
                  <a:pt x="831850" y="244475"/>
                </a:lnTo>
                <a:cubicBezTo>
                  <a:pt x="818575" y="235625"/>
                  <a:pt x="812601" y="233441"/>
                  <a:pt x="803275" y="222250"/>
                </a:cubicBezTo>
                <a:cubicBezTo>
                  <a:pt x="800832" y="219319"/>
                  <a:pt x="798632" y="216138"/>
                  <a:pt x="796925" y="212725"/>
                </a:cubicBezTo>
                <a:cubicBezTo>
                  <a:pt x="795428" y="209732"/>
                  <a:pt x="794808" y="206375"/>
                  <a:pt x="793750" y="203200"/>
                </a:cubicBezTo>
                <a:cubicBezTo>
                  <a:pt x="794808" y="196850"/>
                  <a:pt x="795528" y="190434"/>
                  <a:pt x="796925" y="184150"/>
                </a:cubicBezTo>
                <a:cubicBezTo>
                  <a:pt x="797651" y="180883"/>
                  <a:pt x="797377" y="176570"/>
                  <a:pt x="800100" y="174625"/>
                </a:cubicBezTo>
                <a:cubicBezTo>
                  <a:pt x="805547" y="170734"/>
                  <a:pt x="819150" y="168275"/>
                  <a:pt x="819150" y="168275"/>
                </a:cubicBezTo>
                <a:cubicBezTo>
                  <a:pt x="826118" y="163630"/>
                  <a:pt x="835025" y="159967"/>
                  <a:pt x="835025" y="149225"/>
                </a:cubicBezTo>
                <a:cubicBezTo>
                  <a:pt x="835025" y="142532"/>
                  <a:pt x="830792" y="136525"/>
                  <a:pt x="828675" y="130175"/>
                </a:cubicBezTo>
                <a:cubicBezTo>
                  <a:pt x="823001" y="113154"/>
                  <a:pt x="827433" y="127763"/>
                  <a:pt x="822325" y="104775"/>
                </a:cubicBezTo>
                <a:cubicBezTo>
                  <a:pt x="819667" y="92815"/>
                  <a:pt x="819511" y="93157"/>
                  <a:pt x="815975" y="82550"/>
                </a:cubicBezTo>
                <a:cubicBezTo>
                  <a:pt x="818092" y="79375"/>
                  <a:pt x="819150" y="75142"/>
                  <a:pt x="822325" y="73025"/>
                </a:cubicBezTo>
                <a:cubicBezTo>
                  <a:pt x="825956" y="70604"/>
                  <a:pt x="830829" y="71049"/>
                  <a:pt x="835025" y="69850"/>
                </a:cubicBezTo>
                <a:cubicBezTo>
                  <a:pt x="838243" y="68931"/>
                  <a:pt x="841375" y="67733"/>
                  <a:pt x="844550" y="66675"/>
                </a:cubicBezTo>
                <a:cubicBezTo>
                  <a:pt x="846761" y="63358"/>
                  <a:pt x="854951" y="52883"/>
                  <a:pt x="854075" y="47625"/>
                </a:cubicBezTo>
                <a:cubicBezTo>
                  <a:pt x="852920" y="40698"/>
                  <a:pt x="843588" y="34444"/>
                  <a:pt x="838200" y="31750"/>
                </a:cubicBezTo>
                <a:cubicBezTo>
                  <a:pt x="830493" y="27897"/>
                  <a:pt x="820770" y="27574"/>
                  <a:pt x="812800" y="25400"/>
                </a:cubicBezTo>
                <a:cubicBezTo>
                  <a:pt x="806342" y="23639"/>
                  <a:pt x="793750" y="19050"/>
                  <a:pt x="793750" y="19050"/>
                </a:cubicBezTo>
                <a:lnTo>
                  <a:pt x="774700" y="6350"/>
                </a:lnTo>
                <a:lnTo>
                  <a:pt x="765175" y="0"/>
                </a:lnTo>
                <a:cubicBezTo>
                  <a:pt x="755650" y="1058"/>
                  <a:pt x="745897" y="851"/>
                  <a:pt x="736600" y="3175"/>
                </a:cubicBezTo>
                <a:cubicBezTo>
                  <a:pt x="732898" y="4100"/>
                  <a:pt x="727903" y="5800"/>
                  <a:pt x="727075" y="9525"/>
                </a:cubicBezTo>
                <a:cubicBezTo>
                  <a:pt x="725452" y="16830"/>
                  <a:pt x="729192" y="24342"/>
                  <a:pt x="730250" y="31750"/>
                </a:cubicBezTo>
                <a:cubicBezTo>
                  <a:pt x="729031" y="39067"/>
                  <a:pt x="727808" y="52509"/>
                  <a:pt x="723900" y="60325"/>
                </a:cubicBezTo>
                <a:cubicBezTo>
                  <a:pt x="722193" y="63738"/>
                  <a:pt x="719993" y="66919"/>
                  <a:pt x="717550" y="69850"/>
                </a:cubicBezTo>
                <a:cubicBezTo>
                  <a:pt x="714675" y="73299"/>
                  <a:pt x="711761" y="76884"/>
                  <a:pt x="708025" y="79375"/>
                </a:cubicBezTo>
                <a:cubicBezTo>
                  <a:pt x="705240" y="81231"/>
                  <a:pt x="701675" y="81492"/>
                  <a:pt x="698500" y="82550"/>
                </a:cubicBezTo>
                <a:cubicBezTo>
                  <a:pt x="695325" y="85725"/>
                  <a:pt x="692519" y="89318"/>
                  <a:pt x="688975" y="92075"/>
                </a:cubicBezTo>
                <a:cubicBezTo>
                  <a:pt x="682951" y="96760"/>
                  <a:pt x="675321" y="99379"/>
                  <a:pt x="669925" y="104775"/>
                </a:cubicBezTo>
                <a:cubicBezTo>
                  <a:pt x="666750" y="107950"/>
                  <a:pt x="663809" y="111378"/>
                  <a:pt x="660400" y="114300"/>
                </a:cubicBezTo>
                <a:cubicBezTo>
                  <a:pt x="656382" y="117744"/>
                  <a:pt x="651442" y="120083"/>
                  <a:pt x="647700" y="123825"/>
                </a:cubicBezTo>
                <a:cubicBezTo>
                  <a:pt x="645002" y="126523"/>
                  <a:pt x="644222" y="130837"/>
                  <a:pt x="641350" y="133350"/>
                </a:cubicBezTo>
                <a:cubicBezTo>
                  <a:pt x="626229" y="146580"/>
                  <a:pt x="625381" y="145280"/>
                  <a:pt x="609600" y="149225"/>
                </a:cubicBezTo>
                <a:cubicBezTo>
                  <a:pt x="608770" y="149018"/>
                  <a:pt x="589445" y="144531"/>
                  <a:pt x="587375" y="142875"/>
                </a:cubicBezTo>
                <a:cubicBezTo>
                  <a:pt x="584395" y="140491"/>
                  <a:pt x="583723" y="136048"/>
                  <a:pt x="581025" y="133350"/>
                </a:cubicBezTo>
                <a:cubicBezTo>
                  <a:pt x="578327" y="130652"/>
                  <a:pt x="574675" y="129117"/>
                  <a:pt x="571500" y="127000"/>
                </a:cubicBezTo>
                <a:cubicBezTo>
                  <a:pt x="570442" y="123825"/>
                  <a:pt x="568325" y="120822"/>
                  <a:pt x="568325" y="117475"/>
                </a:cubicBezTo>
                <a:cubicBezTo>
                  <a:pt x="568325" y="112079"/>
                  <a:pt x="572983" y="106789"/>
                  <a:pt x="571500" y="101600"/>
                </a:cubicBezTo>
                <a:cubicBezTo>
                  <a:pt x="570452" y="97931"/>
                  <a:pt x="565150" y="97367"/>
                  <a:pt x="561975" y="95250"/>
                </a:cubicBezTo>
                <a:cubicBezTo>
                  <a:pt x="532873" y="102525"/>
                  <a:pt x="543837" y="96759"/>
                  <a:pt x="527050" y="107950"/>
                </a:cubicBezTo>
                <a:cubicBezTo>
                  <a:pt x="528108" y="118533"/>
                  <a:pt x="528265" y="129246"/>
                  <a:pt x="530225" y="139700"/>
                </a:cubicBezTo>
                <a:cubicBezTo>
                  <a:pt x="531459" y="146279"/>
                  <a:pt x="536575" y="158750"/>
                  <a:pt x="536575" y="158750"/>
                </a:cubicBezTo>
                <a:cubicBezTo>
                  <a:pt x="535517" y="164042"/>
                  <a:pt x="535813" y="169798"/>
                  <a:pt x="533400" y="174625"/>
                </a:cubicBezTo>
                <a:cubicBezTo>
                  <a:pt x="529564" y="182297"/>
                  <a:pt x="518366" y="187623"/>
                  <a:pt x="511175" y="190500"/>
                </a:cubicBezTo>
                <a:cubicBezTo>
                  <a:pt x="504960" y="192986"/>
                  <a:pt x="492125" y="196850"/>
                  <a:pt x="492125" y="196850"/>
                </a:cubicBezTo>
                <a:cubicBezTo>
                  <a:pt x="482600" y="195792"/>
                  <a:pt x="473134" y="193675"/>
                  <a:pt x="463550" y="193675"/>
                </a:cubicBezTo>
                <a:cubicBezTo>
                  <a:pt x="441569" y="193675"/>
                  <a:pt x="431631" y="196249"/>
                  <a:pt x="412750" y="200025"/>
                </a:cubicBezTo>
                <a:cubicBezTo>
                  <a:pt x="409575" y="202142"/>
                  <a:pt x="406638" y="204668"/>
                  <a:pt x="403225" y="206375"/>
                </a:cubicBezTo>
                <a:cubicBezTo>
                  <a:pt x="400232" y="207872"/>
                  <a:pt x="396067" y="207183"/>
                  <a:pt x="393700" y="209550"/>
                </a:cubicBezTo>
                <a:cubicBezTo>
                  <a:pt x="388304" y="214946"/>
                  <a:pt x="385233" y="222250"/>
                  <a:pt x="381000" y="228600"/>
                </a:cubicBezTo>
                <a:cubicBezTo>
                  <a:pt x="377287" y="234169"/>
                  <a:pt x="374650" y="247650"/>
                  <a:pt x="374650" y="247650"/>
                </a:cubicBezTo>
                <a:cubicBezTo>
                  <a:pt x="375708" y="256117"/>
                  <a:pt x="371404" y="267431"/>
                  <a:pt x="377825" y="273050"/>
                </a:cubicBezTo>
                <a:cubicBezTo>
                  <a:pt x="381851" y="276572"/>
                  <a:pt x="402571" y="269035"/>
                  <a:pt x="409575" y="266700"/>
                </a:cubicBezTo>
                <a:cubicBezTo>
                  <a:pt x="422275" y="267758"/>
                  <a:pt x="435421" y="266374"/>
                  <a:pt x="447675" y="269875"/>
                </a:cubicBezTo>
                <a:cubicBezTo>
                  <a:pt x="459355" y="273212"/>
                  <a:pt x="451685" y="295112"/>
                  <a:pt x="450850" y="298450"/>
                </a:cubicBezTo>
                <a:lnTo>
                  <a:pt x="441325" y="327025"/>
                </a:lnTo>
                <a:cubicBezTo>
                  <a:pt x="440118" y="330645"/>
                  <a:pt x="437092" y="333375"/>
                  <a:pt x="434975" y="336550"/>
                </a:cubicBezTo>
                <a:cubicBezTo>
                  <a:pt x="433917" y="340783"/>
                  <a:pt x="432517" y="344946"/>
                  <a:pt x="431800" y="349250"/>
                </a:cubicBezTo>
                <a:cubicBezTo>
                  <a:pt x="430829" y="355079"/>
                  <a:pt x="432161" y="377996"/>
                  <a:pt x="422275" y="384175"/>
                </a:cubicBezTo>
                <a:cubicBezTo>
                  <a:pt x="416599" y="387723"/>
                  <a:pt x="409575" y="388408"/>
                  <a:pt x="403225" y="390525"/>
                </a:cubicBezTo>
                <a:lnTo>
                  <a:pt x="393700" y="393700"/>
                </a:lnTo>
                <a:cubicBezTo>
                  <a:pt x="388408" y="392642"/>
                  <a:pt x="383031" y="391945"/>
                  <a:pt x="377825" y="390525"/>
                </a:cubicBezTo>
                <a:cubicBezTo>
                  <a:pt x="371367" y="388764"/>
                  <a:pt x="358775" y="384175"/>
                  <a:pt x="358775" y="384175"/>
                </a:cubicBezTo>
                <a:cubicBezTo>
                  <a:pt x="354542" y="385233"/>
                  <a:pt x="346931" y="383071"/>
                  <a:pt x="346075" y="387350"/>
                </a:cubicBezTo>
                <a:cubicBezTo>
                  <a:pt x="341985" y="407798"/>
                  <a:pt x="355615" y="435736"/>
                  <a:pt x="346075" y="457200"/>
                </a:cubicBezTo>
                <a:cubicBezTo>
                  <a:pt x="344716" y="460258"/>
                  <a:pt x="339725" y="459317"/>
                  <a:pt x="336550" y="460375"/>
                </a:cubicBezTo>
                <a:lnTo>
                  <a:pt x="317500" y="473075"/>
                </a:lnTo>
                <a:cubicBezTo>
                  <a:pt x="300154" y="484639"/>
                  <a:pt x="308437" y="489389"/>
                  <a:pt x="301625" y="501650"/>
                </a:cubicBezTo>
                <a:cubicBezTo>
                  <a:pt x="297919" y="508321"/>
                  <a:pt x="288925" y="520700"/>
                  <a:pt x="288925" y="520700"/>
                </a:cubicBezTo>
                <a:cubicBezTo>
                  <a:pt x="287867" y="524933"/>
                  <a:pt x="286697" y="529140"/>
                  <a:pt x="285750" y="533400"/>
                </a:cubicBezTo>
                <a:cubicBezTo>
                  <a:pt x="284579" y="538668"/>
                  <a:pt x="285252" y="544590"/>
                  <a:pt x="282575" y="549275"/>
                </a:cubicBezTo>
                <a:cubicBezTo>
                  <a:pt x="278921" y="555670"/>
                  <a:pt x="265887" y="557416"/>
                  <a:pt x="260350" y="558800"/>
                </a:cubicBezTo>
                <a:cubicBezTo>
                  <a:pt x="257175" y="556683"/>
                  <a:pt x="254312" y="554000"/>
                  <a:pt x="250825" y="552450"/>
                </a:cubicBezTo>
                <a:cubicBezTo>
                  <a:pt x="244708" y="549732"/>
                  <a:pt x="231775" y="546100"/>
                  <a:pt x="231775" y="546100"/>
                </a:cubicBezTo>
                <a:cubicBezTo>
                  <a:pt x="224367" y="547158"/>
                  <a:pt x="216718" y="547125"/>
                  <a:pt x="209550" y="549275"/>
                </a:cubicBezTo>
                <a:cubicBezTo>
                  <a:pt x="205895" y="550371"/>
                  <a:pt x="202956" y="553182"/>
                  <a:pt x="200025" y="555625"/>
                </a:cubicBezTo>
                <a:cubicBezTo>
                  <a:pt x="188834" y="564951"/>
                  <a:pt x="186650" y="570925"/>
                  <a:pt x="177800" y="584200"/>
                </a:cubicBezTo>
                <a:cubicBezTo>
                  <a:pt x="175944" y="586985"/>
                  <a:pt x="176716" y="591112"/>
                  <a:pt x="174625" y="593725"/>
                </a:cubicBezTo>
                <a:cubicBezTo>
                  <a:pt x="172241" y="596705"/>
                  <a:pt x="168275" y="597958"/>
                  <a:pt x="165100" y="600075"/>
                </a:cubicBezTo>
                <a:cubicBezTo>
                  <a:pt x="162983" y="603250"/>
                  <a:pt x="159377" y="605836"/>
                  <a:pt x="158750" y="609600"/>
                </a:cubicBezTo>
                <a:cubicBezTo>
                  <a:pt x="157874" y="614858"/>
                  <a:pt x="166064" y="625333"/>
                  <a:pt x="168275" y="628650"/>
                </a:cubicBezTo>
                <a:cubicBezTo>
                  <a:pt x="165846" y="638366"/>
                  <a:pt x="166059" y="643566"/>
                  <a:pt x="158750" y="650875"/>
                </a:cubicBezTo>
                <a:cubicBezTo>
                  <a:pt x="156052" y="653573"/>
                  <a:pt x="152400" y="655108"/>
                  <a:pt x="149225" y="657225"/>
                </a:cubicBezTo>
                <a:lnTo>
                  <a:pt x="161925" y="644525"/>
                </a:ln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24" name="Freeform 23"/>
          <p:cNvSpPr/>
          <p:nvPr>
            <p:custDataLst>
              <p:tags r:id="rId13"/>
            </p:custDataLst>
          </p:nvPr>
        </p:nvSpPr>
        <p:spPr bwMode="auto">
          <a:xfrm>
            <a:off x="1899758" y="3374189"/>
            <a:ext cx="1023114" cy="864589"/>
          </a:xfrm>
          <a:custGeom>
            <a:avLst/>
            <a:gdLst>
              <a:gd name="connsiteX0" fmla="*/ 342900 w 1219200"/>
              <a:gd name="connsiteY0" fmla="*/ 6879 h 1030293"/>
              <a:gd name="connsiteX1" fmla="*/ 333375 w 1219200"/>
              <a:gd name="connsiteY1" fmla="*/ 60854 h 1030293"/>
              <a:gd name="connsiteX2" fmla="*/ 323850 w 1219200"/>
              <a:gd name="connsiteY2" fmla="*/ 64029 h 1030293"/>
              <a:gd name="connsiteX3" fmla="*/ 311150 w 1219200"/>
              <a:gd name="connsiteY3" fmla="*/ 67204 h 1030293"/>
              <a:gd name="connsiteX4" fmla="*/ 276225 w 1219200"/>
              <a:gd name="connsiteY4" fmla="*/ 67204 h 1030293"/>
              <a:gd name="connsiteX5" fmla="*/ 257175 w 1219200"/>
              <a:gd name="connsiteY5" fmla="*/ 73554 h 1030293"/>
              <a:gd name="connsiteX6" fmla="*/ 244475 w 1219200"/>
              <a:gd name="connsiteY6" fmla="*/ 70379 h 1030293"/>
              <a:gd name="connsiteX7" fmla="*/ 234950 w 1219200"/>
              <a:gd name="connsiteY7" fmla="*/ 64029 h 1030293"/>
              <a:gd name="connsiteX8" fmla="*/ 222250 w 1219200"/>
              <a:gd name="connsiteY8" fmla="*/ 67204 h 1030293"/>
              <a:gd name="connsiteX9" fmla="*/ 200025 w 1219200"/>
              <a:gd name="connsiteY9" fmla="*/ 79904 h 1030293"/>
              <a:gd name="connsiteX10" fmla="*/ 196850 w 1219200"/>
              <a:gd name="connsiteY10" fmla="*/ 89429 h 1030293"/>
              <a:gd name="connsiteX11" fmla="*/ 180975 w 1219200"/>
              <a:gd name="connsiteY11" fmla="*/ 124354 h 1030293"/>
              <a:gd name="connsiteX12" fmla="*/ 171450 w 1219200"/>
              <a:gd name="connsiteY12" fmla="*/ 127529 h 1030293"/>
              <a:gd name="connsiteX13" fmla="*/ 161925 w 1219200"/>
              <a:gd name="connsiteY13" fmla="*/ 133879 h 1030293"/>
              <a:gd name="connsiteX14" fmla="*/ 142875 w 1219200"/>
              <a:gd name="connsiteY14" fmla="*/ 143404 h 1030293"/>
              <a:gd name="connsiteX15" fmla="*/ 133350 w 1219200"/>
              <a:gd name="connsiteY15" fmla="*/ 152929 h 1030293"/>
              <a:gd name="connsiteX16" fmla="*/ 114300 w 1219200"/>
              <a:gd name="connsiteY16" fmla="*/ 159279 h 1030293"/>
              <a:gd name="connsiteX17" fmla="*/ 104775 w 1219200"/>
              <a:gd name="connsiteY17" fmla="*/ 162454 h 1030293"/>
              <a:gd name="connsiteX18" fmla="*/ 76200 w 1219200"/>
              <a:gd name="connsiteY18" fmla="*/ 175154 h 1030293"/>
              <a:gd name="connsiteX19" fmla="*/ 66675 w 1219200"/>
              <a:gd name="connsiteY19" fmla="*/ 178329 h 1030293"/>
              <a:gd name="connsiteX20" fmla="*/ 57150 w 1219200"/>
              <a:gd name="connsiteY20" fmla="*/ 181504 h 1030293"/>
              <a:gd name="connsiteX21" fmla="*/ 41275 w 1219200"/>
              <a:gd name="connsiteY21" fmla="*/ 197379 h 1030293"/>
              <a:gd name="connsiteX22" fmla="*/ 31750 w 1219200"/>
              <a:gd name="connsiteY22" fmla="*/ 203729 h 1030293"/>
              <a:gd name="connsiteX23" fmla="*/ 25400 w 1219200"/>
              <a:gd name="connsiteY23" fmla="*/ 213254 h 1030293"/>
              <a:gd name="connsiteX24" fmla="*/ 28575 w 1219200"/>
              <a:gd name="connsiteY24" fmla="*/ 251354 h 1030293"/>
              <a:gd name="connsiteX25" fmla="*/ 50800 w 1219200"/>
              <a:gd name="connsiteY25" fmla="*/ 276754 h 1030293"/>
              <a:gd name="connsiteX26" fmla="*/ 60325 w 1219200"/>
              <a:gd name="connsiteY26" fmla="*/ 279929 h 1030293"/>
              <a:gd name="connsiteX27" fmla="*/ 69850 w 1219200"/>
              <a:gd name="connsiteY27" fmla="*/ 289454 h 1030293"/>
              <a:gd name="connsiteX28" fmla="*/ 73025 w 1219200"/>
              <a:gd name="connsiteY28" fmla="*/ 302154 h 1030293"/>
              <a:gd name="connsiteX29" fmla="*/ 98425 w 1219200"/>
              <a:gd name="connsiteY29" fmla="*/ 324379 h 1030293"/>
              <a:gd name="connsiteX30" fmla="*/ 120650 w 1219200"/>
              <a:gd name="connsiteY30" fmla="*/ 333904 h 1030293"/>
              <a:gd name="connsiteX31" fmla="*/ 139700 w 1219200"/>
              <a:gd name="connsiteY31" fmla="*/ 340254 h 1030293"/>
              <a:gd name="connsiteX32" fmla="*/ 142875 w 1219200"/>
              <a:gd name="connsiteY32" fmla="*/ 387879 h 1030293"/>
              <a:gd name="connsiteX33" fmla="*/ 136525 w 1219200"/>
              <a:gd name="connsiteY33" fmla="*/ 397404 h 1030293"/>
              <a:gd name="connsiteX34" fmla="*/ 127000 w 1219200"/>
              <a:gd name="connsiteY34" fmla="*/ 403754 h 1030293"/>
              <a:gd name="connsiteX35" fmla="*/ 127000 w 1219200"/>
              <a:gd name="connsiteY35" fmla="*/ 429154 h 1030293"/>
              <a:gd name="connsiteX36" fmla="*/ 130175 w 1219200"/>
              <a:gd name="connsiteY36" fmla="*/ 441854 h 1030293"/>
              <a:gd name="connsiteX37" fmla="*/ 139700 w 1219200"/>
              <a:gd name="connsiteY37" fmla="*/ 445029 h 1030293"/>
              <a:gd name="connsiteX38" fmla="*/ 146050 w 1219200"/>
              <a:gd name="connsiteY38" fmla="*/ 454554 h 1030293"/>
              <a:gd name="connsiteX39" fmla="*/ 130175 w 1219200"/>
              <a:gd name="connsiteY39" fmla="*/ 470429 h 1030293"/>
              <a:gd name="connsiteX40" fmla="*/ 76200 w 1219200"/>
              <a:gd name="connsiteY40" fmla="*/ 473604 h 1030293"/>
              <a:gd name="connsiteX41" fmla="*/ 66675 w 1219200"/>
              <a:gd name="connsiteY41" fmla="*/ 492654 h 1030293"/>
              <a:gd name="connsiteX42" fmla="*/ 73025 w 1219200"/>
              <a:gd name="connsiteY42" fmla="*/ 518054 h 1030293"/>
              <a:gd name="connsiteX43" fmla="*/ 76200 w 1219200"/>
              <a:gd name="connsiteY43" fmla="*/ 540279 h 1030293"/>
              <a:gd name="connsiteX44" fmla="*/ 79375 w 1219200"/>
              <a:gd name="connsiteY44" fmla="*/ 559329 h 1030293"/>
              <a:gd name="connsiteX45" fmla="*/ 47625 w 1219200"/>
              <a:gd name="connsiteY45" fmla="*/ 591079 h 1030293"/>
              <a:gd name="connsiteX46" fmla="*/ 38100 w 1219200"/>
              <a:gd name="connsiteY46" fmla="*/ 597429 h 1030293"/>
              <a:gd name="connsiteX47" fmla="*/ 28575 w 1219200"/>
              <a:gd name="connsiteY47" fmla="*/ 603779 h 1030293"/>
              <a:gd name="connsiteX48" fmla="*/ 19050 w 1219200"/>
              <a:gd name="connsiteY48" fmla="*/ 613304 h 1030293"/>
              <a:gd name="connsiteX49" fmla="*/ 19050 w 1219200"/>
              <a:gd name="connsiteY49" fmla="*/ 670454 h 1030293"/>
              <a:gd name="connsiteX50" fmla="*/ 9525 w 1219200"/>
              <a:gd name="connsiteY50" fmla="*/ 676804 h 1030293"/>
              <a:gd name="connsiteX51" fmla="*/ 3175 w 1219200"/>
              <a:gd name="connsiteY51" fmla="*/ 695854 h 1030293"/>
              <a:gd name="connsiteX52" fmla="*/ 0 w 1219200"/>
              <a:gd name="connsiteY52" fmla="*/ 705379 h 1030293"/>
              <a:gd name="connsiteX53" fmla="*/ 12700 w 1219200"/>
              <a:gd name="connsiteY53" fmla="*/ 718079 h 1030293"/>
              <a:gd name="connsiteX54" fmla="*/ 22225 w 1219200"/>
              <a:gd name="connsiteY54" fmla="*/ 708554 h 1030293"/>
              <a:gd name="connsiteX55" fmla="*/ 31750 w 1219200"/>
              <a:gd name="connsiteY55" fmla="*/ 705379 h 1030293"/>
              <a:gd name="connsiteX56" fmla="*/ 53975 w 1219200"/>
              <a:gd name="connsiteY56" fmla="*/ 699029 h 1030293"/>
              <a:gd name="connsiteX57" fmla="*/ 79375 w 1219200"/>
              <a:gd name="connsiteY57" fmla="*/ 711729 h 1030293"/>
              <a:gd name="connsiteX58" fmla="*/ 76200 w 1219200"/>
              <a:gd name="connsiteY58" fmla="*/ 724429 h 1030293"/>
              <a:gd name="connsiteX59" fmla="*/ 66675 w 1219200"/>
              <a:gd name="connsiteY59" fmla="*/ 743479 h 1030293"/>
              <a:gd name="connsiteX60" fmla="*/ 60325 w 1219200"/>
              <a:gd name="connsiteY60" fmla="*/ 762529 h 1030293"/>
              <a:gd name="connsiteX61" fmla="*/ 63500 w 1219200"/>
              <a:gd name="connsiteY61" fmla="*/ 810154 h 1030293"/>
              <a:gd name="connsiteX62" fmla="*/ 76200 w 1219200"/>
              <a:gd name="connsiteY62" fmla="*/ 806979 h 1030293"/>
              <a:gd name="connsiteX63" fmla="*/ 85725 w 1219200"/>
              <a:gd name="connsiteY63" fmla="*/ 797454 h 1030293"/>
              <a:gd name="connsiteX64" fmla="*/ 104775 w 1219200"/>
              <a:gd name="connsiteY64" fmla="*/ 787929 h 1030293"/>
              <a:gd name="connsiteX65" fmla="*/ 117475 w 1219200"/>
              <a:gd name="connsiteY65" fmla="*/ 778404 h 1030293"/>
              <a:gd name="connsiteX66" fmla="*/ 139700 w 1219200"/>
              <a:gd name="connsiteY66" fmla="*/ 791104 h 1030293"/>
              <a:gd name="connsiteX67" fmla="*/ 155575 w 1219200"/>
              <a:gd name="connsiteY67" fmla="*/ 819679 h 1030293"/>
              <a:gd name="connsiteX68" fmla="*/ 165100 w 1219200"/>
              <a:gd name="connsiteY68" fmla="*/ 822854 h 1030293"/>
              <a:gd name="connsiteX69" fmla="*/ 180975 w 1219200"/>
              <a:gd name="connsiteY69" fmla="*/ 826029 h 1030293"/>
              <a:gd name="connsiteX70" fmla="*/ 190500 w 1219200"/>
              <a:gd name="connsiteY70" fmla="*/ 838729 h 1030293"/>
              <a:gd name="connsiteX71" fmla="*/ 200025 w 1219200"/>
              <a:gd name="connsiteY71" fmla="*/ 845079 h 1030293"/>
              <a:gd name="connsiteX72" fmla="*/ 203200 w 1219200"/>
              <a:gd name="connsiteY72" fmla="*/ 854604 h 1030293"/>
              <a:gd name="connsiteX73" fmla="*/ 209550 w 1219200"/>
              <a:gd name="connsiteY73" fmla="*/ 864129 h 1030293"/>
              <a:gd name="connsiteX74" fmla="*/ 225425 w 1219200"/>
              <a:gd name="connsiteY74" fmla="*/ 892704 h 1030293"/>
              <a:gd name="connsiteX75" fmla="*/ 244475 w 1219200"/>
              <a:gd name="connsiteY75" fmla="*/ 905404 h 1030293"/>
              <a:gd name="connsiteX76" fmla="*/ 254000 w 1219200"/>
              <a:gd name="connsiteY76" fmla="*/ 911754 h 1030293"/>
              <a:gd name="connsiteX77" fmla="*/ 263525 w 1219200"/>
              <a:gd name="connsiteY77" fmla="*/ 905404 h 1030293"/>
              <a:gd name="connsiteX78" fmla="*/ 260350 w 1219200"/>
              <a:gd name="connsiteY78" fmla="*/ 895879 h 1030293"/>
              <a:gd name="connsiteX79" fmla="*/ 263525 w 1219200"/>
              <a:gd name="connsiteY79" fmla="*/ 908579 h 1030293"/>
              <a:gd name="connsiteX80" fmla="*/ 276225 w 1219200"/>
              <a:gd name="connsiteY80" fmla="*/ 927629 h 1030293"/>
              <a:gd name="connsiteX81" fmla="*/ 298450 w 1219200"/>
              <a:gd name="connsiteY81" fmla="*/ 940329 h 1030293"/>
              <a:gd name="connsiteX82" fmla="*/ 317500 w 1219200"/>
              <a:gd name="connsiteY82" fmla="*/ 946679 h 1030293"/>
              <a:gd name="connsiteX83" fmla="*/ 323850 w 1219200"/>
              <a:gd name="connsiteY83" fmla="*/ 994304 h 1030293"/>
              <a:gd name="connsiteX84" fmla="*/ 330200 w 1219200"/>
              <a:gd name="connsiteY84" fmla="*/ 1013354 h 1030293"/>
              <a:gd name="connsiteX85" fmla="*/ 349250 w 1219200"/>
              <a:gd name="connsiteY85" fmla="*/ 1022879 h 1030293"/>
              <a:gd name="connsiteX86" fmla="*/ 358775 w 1219200"/>
              <a:gd name="connsiteY86" fmla="*/ 1029229 h 1030293"/>
              <a:gd name="connsiteX87" fmla="*/ 377825 w 1219200"/>
              <a:gd name="connsiteY87" fmla="*/ 1026054 h 1030293"/>
              <a:gd name="connsiteX88" fmla="*/ 384175 w 1219200"/>
              <a:gd name="connsiteY88" fmla="*/ 1007004 h 1030293"/>
              <a:gd name="connsiteX89" fmla="*/ 390525 w 1219200"/>
              <a:gd name="connsiteY89" fmla="*/ 997479 h 1030293"/>
              <a:gd name="connsiteX90" fmla="*/ 412750 w 1219200"/>
              <a:gd name="connsiteY90" fmla="*/ 1000654 h 1030293"/>
              <a:gd name="connsiteX91" fmla="*/ 422275 w 1219200"/>
              <a:gd name="connsiteY91" fmla="*/ 1003829 h 1030293"/>
              <a:gd name="connsiteX92" fmla="*/ 428625 w 1219200"/>
              <a:gd name="connsiteY92" fmla="*/ 994304 h 1030293"/>
              <a:gd name="connsiteX93" fmla="*/ 419100 w 1219200"/>
              <a:gd name="connsiteY93" fmla="*/ 984779 h 1030293"/>
              <a:gd name="connsiteX94" fmla="*/ 412750 w 1219200"/>
              <a:gd name="connsiteY94" fmla="*/ 975254 h 1030293"/>
              <a:gd name="connsiteX95" fmla="*/ 393700 w 1219200"/>
              <a:gd name="connsiteY95" fmla="*/ 956204 h 1030293"/>
              <a:gd name="connsiteX96" fmla="*/ 384175 w 1219200"/>
              <a:gd name="connsiteY96" fmla="*/ 946679 h 1030293"/>
              <a:gd name="connsiteX97" fmla="*/ 365125 w 1219200"/>
              <a:gd name="connsiteY97" fmla="*/ 933979 h 1030293"/>
              <a:gd name="connsiteX98" fmla="*/ 361950 w 1219200"/>
              <a:gd name="connsiteY98" fmla="*/ 924454 h 1030293"/>
              <a:gd name="connsiteX99" fmla="*/ 381000 w 1219200"/>
              <a:gd name="connsiteY99" fmla="*/ 911754 h 1030293"/>
              <a:gd name="connsiteX100" fmla="*/ 390525 w 1219200"/>
              <a:gd name="connsiteY100" fmla="*/ 905404 h 1030293"/>
              <a:gd name="connsiteX101" fmla="*/ 425450 w 1219200"/>
              <a:gd name="connsiteY101" fmla="*/ 895879 h 1030293"/>
              <a:gd name="connsiteX102" fmla="*/ 476250 w 1219200"/>
              <a:gd name="connsiteY102" fmla="*/ 899054 h 1030293"/>
              <a:gd name="connsiteX103" fmla="*/ 498475 w 1219200"/>
              <a:gd name="connsiteY103" fmla="*/ 924454 h 1030293"/>
              <a:gd name="connsiteX104" fmla="*/ 508000 w 1219200"/>
              <a:gd name="connsiteY104" fmla="*/ 927629 h 1030293"/>
              <a:gd name="connsiteX105" fmla="*/ 530225 w 1219200"/>
              <a:gd name="connsiteY105" fmla="*/ 924454 h 1030293"/>
              <a:gd name="connsiteX106" fmla="*/ 552450 w 1219200"/>
              <a:gd name="connsiteY106" fmla="*/ 921279 h 1030293"/>
              <a:gd name="connsiteX107" fmla="*/ 555625 w 1219200"/>
              <a:gd name="connsiteY107" fmla="*/ 930804 h 1030293"/>
              <a:gd name="connsiteX108" fmla="*/ 561975 w 1219200"/>
              <a:gd name="connsiteY108" fmla="*/ 940329 h 1030293"/>
              <a:gd name="connsiteX109" fmla="*/ 565150 w 1219200"/>
              <a:gd name="connsiteY109" fmla="*/ 956204 h 1030293"/>
              <a:gd name="connsiteX110" fmla="*/ 568325 w 1219200"/>
              <a:gd name="connsiteY110" fmla="*/ 981604 h 1030293"/>
              <a:gd name="connsiteX111" fmla="*/ 577850 w 1219200"/>
              <a:gd name="connsiteY111" fmla="*/ 984779 h 1030293"/>
              <a:gd name="connsiteX112" fmla="*/ 593725 w 1219200"/>
              <a:gd name="connsiteY112" fmla="*/ 981604 h 1030293"/>
              <a:gd name="connsiteX113" fmla="*/ 612775 w 1219200"/>
              <a:gd name="connsiteY113" fmla="*/ 968904 h 1030293"/>
              <a:gd name="connsiteX114" fmla="*/ 619125 w 1219200"/>
              <a:gd name="connsiteY114" fmla="*/ 959379 h 1030293"/>
              <a:gd name="connsiteX115" fmla="*/ 625475 w 1219200"/>
              <a:gd name="connsiteY115" fmla="*/ 940329 h 1030293"/>
              <a:gd name="connsiteX116" fmla="*/ 619125 w 1219200"/>
              <a:gd name="connsiteY116" fmla="*/ 905404 h 1030293"/>
              <a:gd name="connsiteX117" fmla="*/ 615950 w 1219200"/>
              <a:gd name="connsiteY117" fmla="*/ 867304 h 1030293"/>
              <a:gd name="connsiteX118" fmla="*/ 609600 w 1219200"/>
              <a:gd name="connsiteY118" fmla="*/ 854604 h 1030293"/>
              <a:gd name="connsiteX119" fmla="*/ 596900 w 1219200"/>
              <a:gd name="connsiteY119" fmla="*/ 835554 h 1030293"/>
              <a:gd name="connsiteX120" fmla="*/ 603250 w 1219200"/>
              <a:gd name="connsiteY120" fmla="*/ 826029 h 1030293"/>
              <a:gd name="connsiteX121" fmla="*/ 622300 w 1219200"/>
              <a:gd name="connsiteY121" fmla="*/ 819679 h 1030293"/>
              <a:gd name="connsiteX122" fmla="*/ 631825 w 1219200"/>
              <a:gd name="connsiteY122" fmla="*/ 816504 h 1030293"/>
              <a:gd name="connsiteX123" fmla="*/ 644525 w 1219200"/>
              <a:gd name="connsiteY123" fmla="*/ 813329 h 1030293"/>
              <a:gd name="connsiteX124" fmla="*/ 654050 w 1219200"/>
              <a:gd name="connsiteY124" fmla="*/ 810154 h 1030293"/>
              <a:gd name="connsiteX125" fmla="*/ 685800 w 1219200"/>
              <a:gd name="connsiteY125" fmla="*/ 806979 h 1030293"/>
              <a:gd name="connsiteX126" fmla="*/ 692150 w 1219200"/>
              <a:gd name="connsiteY126" fmla="*/ 816504 h 1030293"/>
              <a:gd name="connsiteX127" fmla="*/ 692150 w 1219200"/>
              <a:gd name="connsiteY127" fmla="*/ 851429 h 1030293"/>
              <a:gd name="connsiteX128" fmla="*/ 701675 w 1219200"/>
              <a:gd name="connsiteY128" fmla="*/ 854604 h 1030293"/>
              <a:gd name="connsiteX129" fmla="*/ 714375 w 1219200"/>
              <a:gd name="connsiteY129" fmla="*/ 864129 h 1030293"/>
              <a:gd name="connsiteX130" fmla="*/ 723900 w 1219200"/>
              <a:gd name="connsiteY130" fmla="*/ 883179 h 1030293"/>
              <a:gd name="connsiteX131" fmla="*/ 739775 w 1219200"/>
              <a:gd name="connsiteY131" fmla="*/ 899054 h 1030293"/>
              <a:gd name="connsiteX132" fmla="*/ 752475 w 1219200"/>
              <a:gd name="connsiteY132" fmla="*/ 895879 h 1030293"/>
              <a:gd name="connsiteX133" fmla="*/ 762000 w 1219200"/>
              <a:gd name="connsiteY133" fmla="*/ 886354 h 1030293"/>
              <a:gd name="connsiteX134" fmla="*/ 831850 w 1219200"/>
              <a:gd name="connsiteY134" fmla="*/ 889529 h 1030293"/>
              <a:gd name="connsiteX135" fmla="*/ 879475 w 1219200"/>
              <a:gd name="connsiteY135" fmla="*/ 886354 h 1030293"/>
              <a:gd name="connsiteX136" fmla="*/ 892175 w 1219200"/>
              <a:gd name="connsiteY136" fmla="*/ 867304 h 1030293"/>
              <a:gd name="connsiteX137" fmla="*/ 911225 w 1219200"/>
              <a:gd name="connsiteY137" fmla="*/ 857779 h 1030293"/>
              <a:gd name="connsiteX138" fmla="*/ 920750 w 1219200"/>
              <a:gd name="connsiteY138" fmla="*/ 851429 h 1030293"/>
              <a:gd name="connsiteX139" fmla="*/ 923925 w 1219200"/>
              <a:gd name="connsiteY139" fmla="*/ 835554 h 1030293"/>
              <a:gd name="connsiteX140" fmla="*/ 914400 w 1219200"/>
              <a:gd name="connsiteY140" fmla="*/ 806979 h 1030293"/>
              <a:gd name="connsiteX141" fmla="*/ 904875 w 1219200"/>
              <a:gd name="connsiteY141" fmla="*/ 797454 h 1030293"/>
              <a:gd name="connsiteX142" fmla="*/ 889000 w 1219200"/>
              <a:gd name="connsiteY142" fmla="*/ 794279 h 1030293"/>
              <a:gd name="connsiteX143" fmla="*/ 879475 w 1219200"/>
              <a:gd name="connsiteY143" fmla="*/ 784754 h 1030293"/>
              <a:gd name="connsiteX144" fmla="*/ 889000 w 1219200"/>
              <a:gd name="connsiteY144" fmla="*/ 759354 h 1030293"/>
              <a:gd name="connsiteX145" fmla="*/ 898525 w 1219200"/>
              <a:gd name="connsiteY145" fmla="*/ 749829 h 1030293"/>
              <a:gd name="connsiteX146" fmla="*/ 904875 w 1219200"/>
              <a:gd name="connsiteY146" fmla="*/ 740304 h 1030293"/>
              <a:gd name="connsiteX147" fmla="*/ 923925 w 1219200"/>
              <a:gd name="connsiteY147" fmla="*/ 727604 h 1030293"/>
              <a:gd name="connsiteX148" fmla="*/ 942975 w 1219200"/>
              <a:gd name="connsiteY148" fmla="*/ 718079 h 1030293"/>
              <a:gd name="connsiteX149" fmla="*/ 952500 w 1219200"/>
              <a:gd name="connsiteY149" fmla="*/ 724429 h 1030293"/>
              <a:gd name="connsiteX150" fmla="*/ 955675 w 1219200"/>
              <a:gd name="connsiteY150" fmla="*/ 733954 h 1030293"/>
              <a:gd name="connsiteX151" fmla="*/ 958850 w 1219200"/>
              <a:gd name="connsiteY151" fmla="*/ 759354 h 1030293"/>
              <a:gd name="connsiteX152" fmla="*/ 977900 w 1219200"/>
              <a:gd name="connsiteY152" fmla="*/ 768879 h 1030293"/>
              <a:gd name="connsiteX153" fmla="*/ 1003300 w 1219200"/>
              <a:gd name="connsiteY153" fmla="*/ 756179 h 1030293"/>
              <a:gd name="connsiteX154" fmla="*/ 1000125 w 1219200"/>
              <a:gd name="connsiteY154" fmla="*/ 746654 h 1030293"/>
              <a:gd name="connsiteX155" fmla="*/ 1003300 w 1219200"/>
              <a:gd name="connsiteY155" fmla="*/ 737129 h 1030293"/>
              <a:gd name="connsiteX156" fmla="*/ 1012825 w 1219200"/>
              <a:gd name="connsiteY156" fmla="*/ 730779 h 1030293"/>
              <a:gd name="connsiteX157" fmla="*/ 1041400 w 1219200"/>
              <a:gd name="connsiteY157" fmla="*/ 721254 h 1030293"/>
              <a:gd name="connsiteX158" fmla="*/ 1050925 w 1219200"/>
              <a:gd name="connsiteY158" fmla="*/ 718079 h 1030293"/>
              <a:gd name="connsiteX159" fmla="*/ 1060450 w 1219200"/>
              <a:gd name="connsiteY159" fmla="*/ 714904 h 1030293"/>
              <a:gd name="connsiteX160" fmla="*/ 1069975 w 1219200"/>
              <a:gd name="connsiteY160" fmla="*/ 708554 h 1030293"/>
              <a:gd name="connsiteX161" fmla="*/ 1079500 w 1219200"/>
              <a:gd name="connsiteY161" fmla="*/ 689504 h 1030293"/>
              <a:gd name="connsiteX162" fmla="*/ 1073150 w 1219200"/>
              <a:gd name="connsiteY162" fmla="*/ 679979 h 1030293"/>
              <a:gd name="connsiteX163" fmla="*/ 1054100 w 1219200"/>
              <a:gd name="connsiteY163" fmla="*/ 664104 h 1030293"/>
              <a:gd name="connsiteX164" fmla="*/ 1047750 w 1219200"/>
              <a:gd name="connsiteY164" fmla="*/ 654579 h 1030293"/>
              <a:gd name="connsiteX165" fmla="*/ 1044575 w 1219200"/>
              <a:gd name="connsiteY165" fmla="*/ 645054 h 1030293"/>
              <a:gd name="connsiteX166" fmla="*/ 1035050 w 1219200"/>
              <a:gd name="connsiteY166" fmla="*/ 632354 h 1030293"/>
              <a:gd name="connsiteX167" fmla="*/ 1041400 w 1219200"/>
              <a:gd name="connsiteY167" fmla="*/ 594254 h 1030293"/>
              <a:gd name="connsiteX168" fmla="*/ 1047750 w 1219200"/>
              <a:gd name="connsiteY168" fmla="*/ 584729 h 1030293"/>
              <a:gd name="connsiteX169" fmla="*/ 1066800 w 1219200"/>
              <a:gd name="connsiteY169" fmla="*/ 578379 h 1030293"/>
              <a:gd name="connsiteX170" fmla="*/ 1098550 w 1219200"/>
              <a:gd name="connsiteY170" fmla="*/ 578379 h 1030293"/>
              <a:gd name="connsiteX171" fmla="*/ 1108075 w 1219200"/>
              <a:gd name="connsiteY171" fmla="*/ 572029 h 1030293"/>
              <a:gd name="connsiteX172" fmla="*/ 1114425 w 1219200"/>
              <a:gd name="connsiteY172" fmla="*/ 562504 h 1030293"/>
              <a:gd name="connsiteX173" fmla="*/ 1143000 w 1219200"/>
              <a:gd name="connsiteY173" fmla="*/ 546629 h 1030293"/>
              <a:gd name="connsiteX174" fmla="*/ 1146175 w 1219200"/>
              <a:gd name="connsiteY174" fmla="*/ 533929 h 1030293"/>
              <a:gd name="connsiteX175" fmla="*/ 1155700 w 1219200"/>
              <a:gd name="connsiteY175" fmla="*/ 530754 h 1030293"/>
              <a:gd name="connsiteX176" fmla="*/ 1203325 w 1219200"/>
              <a:gd name="connsiteY176" fmla="*/ 521229 h 1030293"/>
              <a:gd name="connsiteX177" fmla="*/ 1212850 w 1219200"/>
              <a:gd name="connsiteY177" fmla="*/ 518054 h 1030293"/>
              <a:gd name="connsiteX178" fmla="*/ 1219200 w 1219200"/>
              <a:gd name="connsiteY178" fmla="*/ 495829 h 1030293"/>
              <a:gd name="connsiteX179" fmla="*/ 1203325 w 1219200"/>
              <a:gd name="connsiteY179" fmla="*/ 464079 h 1030293"/>
              <a:gd name="connsiteX180" fmla="*/ 1184275 w 1219200"/>
              <a:gd name="connsiteY180" fmla="*/ 457729 h 1030293"/>
              <a:gd name="connsiteX181" fmla="*/ 1174750 w 1219200"/>
              <a:gd name="connsiteY181" fmla="*/ 454554 h 1030293"/>
              <a:gd name="connsiteX182" fmla="*/ 1165225 w 1219200"/>
              <a:gd name="connsiteY182" fmla="*/ 448204 h 1030293"/>
              <a:gd name="connsiteX183" fmla="*/ 1162050 w 1219200"/>
              <a:gd name="connsiteY183" fmla="*/ 438679 h 1030293"/>
              <a:gd name="connsiteX184" fmla="*/ 1155700 w 1219200"/>
              <a:gd name="connsiteY184" fmla="*/ 429154 h 1030293"/>
              <a:gd name="connsiteX185" fmla="*/ 1152525 w 1219200"/>
              <a:gd name="connsiteY185" fmla="*/ 410104 h 1030293"/>
              <a:gd name="connsiteX186" fmla="*/ 1136650 w 1219200"/>
              <a:gd name="connsiteY186" fmla="*/ 394229 h 1030293"/>
              <a:gd name="connsiteX187" fmla="*/ 1123950 w 1219200"/>
              <a:gd name="connsiteY187" fmla="*/ 391054 h 1030293"/>
              <a:gd name="connsiteX188" fmla="*/ 1101725 w 1219200"/>
              <a:gd name="connsiteY188" fmla="*/ 387879 h 1030293"/>
              <a:gd name="connsiteX189" fmla="*/ 1063625 w 1219200"/>
              <a:gd name="connsiteY189" fmla="*/ 384704 h 1030293"/>
              <a:gd name="connsiteX190" fmla="*/ 1057275 w 1219200"/>
              <a:gd name="connsiteY190" fmla="*/ 416454 h 1030293"/>
              <a:gd name="connsiteX191" fmla="*/ 1063625 w 1219200"/>
              <a:gd name="connsiteY191" fmla="*/ 435504 h 1030293"/>
              <a:gd name="connsiteX192" fmla="*/ 1066800 w 1219200"/>
              <a:gd name="connsiteY192" fmla="*/ 445029 h 1030293"/>
              <a:gd name="connsiteX193" fmla="*/ 1057275 w 1219200"/>
              <a:gd name="connsiteY193" fmla="*/ 479954 h 1030293"/>
              <a:gd name="connsiteX194" fmla="*/ 1057275 w 1219200"/>
              <a:gd name="connsiteY194" fmla="*/ 479954 h 1030293"/>
              <a:gd name="connsiteX195" fmla="*/ 1054100 w 1219200"/>
              <a:gd name="connsiteY195" fmla="*/ 492654 h 1030293"/>
              <a:gd name="connsiteX196" fmla="*/ 1044575 w 1219200"/>
              <a:gd name="connsiteY196" fmla="*/ 499004 h 1030293"/>
              <a:gd name="connsiteX197" fmla="*/ 1028700 w 1219200"/>
              <a:gd name="connsiteY197" fmla="*/ 495829 h 1030293"/>
              <a:gd name="connsiteX198" fmla="*/ 1009650 w 1219200"/>
              <a:gd name="connsiteY198" fmla="*/ 483129 h 1030293"/>
              <a:gd name="connsiteX199" fmla="*/ 965200 w 1219200"/>
              <a:gd name="connsiteY199" fmla="*/ 489479 h 1030293"/>
              <a:gd name="connsiteX200" fmla="*/ 939800 w 1219200"/>
              <a:gd name="connsiteY200" fmla="*/ 486304 h 1030293"/>
              <a:gd name="connsiteX201" fmla="*/ 923925 w 1219200"/>
              <a:gd name="connsiteY201" fmla="*/ 470429 h 1030293"/>
              <a:gd name="connsiteX202" fmla="*/ 914400 w 1219200"/>
              <a:gd name="connsiteY202" fmla="*/ 464079 h 1030293"/>
              <a:gd name="connsiteX203" fmla="*/ 901700 w 1219200"/>
              <a:gd name="connsiteY203" fmla="*/ 435504 h 1030293"/>
              <a:gd name="connsiteX204" fmla="*/ 819150 w 1219200"/>
              <a:gd name="connsiteY204" fmla="*/ 425979 h 1030293"/>
              <a:gd name="connsiteX205" fmla="*/ 809625 w 1219200"/>
              <a:gd name="connsiteY205" fmla="*/ 422804 h 1030293"/>
              <a:gd name="connsiteX206" fmla="*/ 781050 w 1219200"/>
              <a:gd name="connsiteY206" fmla="*/ 406929 h 1030293"/>
              <a:gd name="connsiteX207" fmla="*/ 752475 w 1219200"/>
              <a:gd name="connsiteY207" fmla="*/ 391054 h 1030293"/>
              <a:gd name="connsiteX208" fmla="*/ 704850 w 1219200"/>
              <a:gd name="connsiteY208" fmla="*/ 387879 h 1030293"/>
              <a:gd name="connsiteX209" fmla="*/ 695325 w 1219200"/>
              <a:gd name="connsiteY209" fmla="*/ 384704 h 1030293"/>
              <a:gd name="connsiteX210" fmla="*/ 688975 w 1219200"/>
              <a:gd name="connsiteY210" fmla="*/ 375179 h 1030293"/>
              <a:gd name="connsiteX211" fmla="*/ 679450 w 1219200"/>
              <a:gd name="connsiteY211" fmla="*/ 340254 h 1030293"/>
              <a:gd name="connsiteX212" fmla="*/ 676275 w 1219200"/>
              <a:gd name="connsiteY212" fmla="*/ 311679 h 1030293"/>
              <a:gd name="connsiteX213" fmla="*/ 654050 w 1219200"/>
              <a:gd name="connsiteY213" fmla="*/ 298979 h 1030293"/>
              <a:gd name="connsiteX214" fmla="*/ 673100 w 1219200"/>
              <a:gd name="connsiteY214" fmla="*/ 286279 h 1030293"/>
              <a:gd name="connsiteX215" fmla="*/ 682625 w 1219200"/>
              <a:gd name="connsiteY215" fmla="*/ 251354 h 1030293"/>
              <a:gd name="connsiteX216" fmla="*/ 679450 w 1219200"/>
              <a:gd name="connsiteY216" fmla="*/ 225954 h 1030293"/>
              <a:gd name="connsiteX217" fmla="*/ 663575 w 1219200"/>
              <a:gd name="connsiteY217" fmla="*/ 210079 h 1030293"/>
              <a:gd name="connsiteX218" fmla="*/ 635000 w 1219200"/>
              <a:gd name="connsiteY218" fmla="*/ 187854 h 1030293"/>
              <a:gd name="connsiteX219" fmla="*/ 625475 w 1219200"/>
              <a:gd name="connsiteY219" fmla="*/ 181504 h 1030293"/>
              <a:gd name="connsiteX220" fmla="*/ 615950 w 1219200"/>
              <a:gd name="connsiteY220" fmla="*/ 178329 h 1030293"/>
              <a:gd name="connsiteX221" fmla="*/ 571500 w 1219200"/>
              <a:gd name="connsiteY221" fmla="*/ 175154 h 1030293"/>
              <a:gd name="connsiteX222" fmla="*/ 536575 w 1219200"/>
              <a:gd name="connsiteY222" fmla="*/ 171979 h 1030293"/>
              <a:gd name="connsiteX223" fmla="*/ 485775 w 1219200"/>
              <a:gd name="connsiteY223" fmla="*/ 165629 h 1030293"/>
              <a:gd name="connsiteX224" fmla="*/ 473075 w 1219200"/>
              <a:gd name="connsiteY224" fmla="*/ 162454 h 1030293"/>
              <a:gd name="connsiteX225" fmla="*/ 463550 w 1219200"/>
              <a:gd name="connsiteY225" fmla="*/ 152929 h 1030293"/>
              <a:gd name="connsiteX226" fmla="*/ 460375 w 1219200"/>
              <a:gd name="connsiteY226" fmla="*/ 143404 h 1030293"/>
              <a:gd name="connsiteX227" fmla="*/ 450850 w 1219200"/>
              <a:gd name="connsiteY227" fmla="*/ 105304 h 1030293"/>
              <a:gd name="connsiteX228" fmla="*/ 434975 w 1219200"/>
              <a:gd name="connsiteY228" fmla="*/ 86254 h 1030293"/>
              <a:gd name="connsiteX229" fmla="*/ 428625 w 1219200"/>
              <a:gd name="connsiteY229" fmla="*/ 38629 h 1030293"/>
              <a:gd name="connsiteX230" fmla="*/ 425450 w 1219200"/>
              <a:gd name="connsiteY230" fmla="*/ 29104 h 1030293"/>
              <a:gd name="connsiteX231" fmla="*/ 406400 w 1219200"/>
              <a:gd name="connsiteY231" fmla="*/ 19579 h 1030293"/>
              <a:gd name="connsiteX232" fmla="*/ 384175 w 1219200"/>
              <a:gd name="connsiteY232" fmla="*/ 10054 h 1030293"/>
              <a:gd name="connsiteX233" fmla="*/ 361950 w 1219200"/>
              <a:gd name="connsiteY233" fmla="*/ 6879 h 1030293"/>
              <a:gd name="connsiteX234" fmla="*/ 342900 w 1219200"/>
              <a:gd name="connsiteY234" fmla="*/ 10054 h 1030293"/>
              <a:gd name="connsiteX235" fmla="*/ 339725 w 1219200"/>
              <a:gd name="connsiteY235" fmla="*/ 19579 h 1030293"/>
              <a:gd name="connsiteX236" fmla="*/ 342900 w 1219200"/>
              <a:gd name="connsiteY236" fmla="*/ 6879 h 1030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Lst>
            <a:rect l="l" t="t" r="r" b="b"/>
            <a:pathLst>
              <a:path w="1219200" h="1030293">
                <a:moveTo>
                  <a:pt x="342900" y="6879"/>
                </a:moveTo>
                <a:cubicBezTo>
                  <a:pt x="341842" y="13758"/>
                  <a:pt x="347191" y="49801"/>
                  <a:pt x="333375" y="60854"/>
                </a:cubicBezTo>
                <a:cubicBezTo>
                  <a:pt x="330762" y="62945"/>
                  <a:pt x="327068" y="63110"/>
                  <a:pt x="323850" y="64029"/>
                </a:cubicBezTo>
                <a:cubicBezTo>
                  <a:pt x="319654" y="65228"/>
                  <a:pt x="315383" y="66146"/>
                  <a:pt x="311150" y="67204"/>
                </a:cubicBezTo>
                <a:cubicBezTo>
                  <a:pt x="294020" y="62922"/>
                  <a:pt x="297916" y="62198"/>
                  <a:pt x="276225" y="67204"/>
                </a:cubicBezTo>
                <a:cubicBezTo>
                  <a:pt x="269703" y="68709"/>
                  <a:pt x="257175" y="73554"/>
                  <a:pt x="257175" y="73554"/>
                </a:cubicBezTo>
                <a:cubicBezTo>
                  <a:pt x="252942" y="72496"/>
                  <a:pt x="248486" y="72098"/>
                  <a:pt x="244475" y="70379"/>
                </a:cubicBezTo>
                <a:cubicBezTo>
                  <a:pt x="240968" y="68876"/>
                  <a:pt x="238728" y="64569"/>
                  <a:pt x="234950" y="64029"/>
                </a:cubicBezTo>
                <a:cubicBezTo>
                  <a:pt x="230630" y="63412"/>
                  <a:pt x="226336" y="65672"/>
                  <a:pt x="222250" y="67204"/>
                </a:cubicBezTo>
                <a:cubicBezTo>
                  <a:pt x="213043" y="70657"/>
                  <a:pt x="207921" y="74640"/>
                  <a:pt x="200025" y="79904"/>
                </a:cubicBezTo>
                <a:cubicBezTo>
                  <a:pt x="198967" y="83079"/>
                  <a:pt x="197731" y="86200"/>
                  <a:pt x="196850" y="89429"/>
                </a:cubicBezTo>
                <a:cubicBezTo>
                  <a:pt x="191974" y="107307"/>
                  <a:pt x="195352" y="114769"/>
                  <a:pt x="180975" y="124354"/>
                </a:cubicBezTo>
                <a:cubicBezTo>
                  <a:pt x="178190" y="126210"/>
                  <a:pt x="174625" y="126471"/>
                  <a:pt x="171450" y="127529"/>
                </a:cubicBezTo>
                <a:cubicBezTo>
                  <a:pt x="168275" y="129646"/>
                  <a:pt x="165338" y="132172"/>
                  <a:pt x="161925" y="133879"/>
                </a:cubicBezTo>
                <a:cubicBezTo>
                  <a:pt x="147606" y="141039"/>
                  <a:pt x="156524" y="132030"/>
                  <a:pt x="142875" y="143404"/>
                </a:cubicBezTo>
                <a:cubicBezTo>
                  <a:pt x="139426" y="146279"/>
                  <a:pt x="137275" y="150748"/>
                  <a:pt x="133350" y="152929"/>
                </a:cubicBezTo>
                <a:cubicBezTo>
                  <a:pt x="127499" y="156180"/>
                  <a:pt x="120650" y="157162"/>
                  <a:pt x="114300" y="159279"/>
                </a:cubicBezTo>
                <a:lnTo>
                  <a:pt x="104775" y="162454"/>
                </a:lnTo>
                <a:cubicBezTo>
                  <a:pt x="89681" y="172517"/>
                  <a:pt x="98870" y="167597"/>
                  <a:pt x="76200" y="175154"/>
                </a:cubicBezTo>
                <a:lnTo>
                  <a:pt x="66675" y="178329"/>
                </a:lnTo>
                <a:lnTo>
                  <a:pt x="57150" y="181504"/>
                </a:lnTo>
                <a:cubicBezTo>
                  <a:pt x="31750" y="198437"/>
                  <a:pt x="62442" y="176212"/>
                  <a:pt x="41275" y="197379"/>
                </a:cubicBezTo>
                <a:cubicBezTo>
                  <a:pt x="38577" y="200077"/>
                  <a:pt x="34925" y="201612"/>
                  <a:pt x="31750" y="203729"/>
                </a:cubicBezTo>
                <a:cubicBezTo>
                  <a:pt x="29633" y="206904"/>
                  <a:pt x="25654" y="209447"/>
                  <a:pt x="25400" y="213254"/>
                </a:cubicBezTo>
                <a:cubicBezTo>
                  <a:pt x="24552" y="225970"/>
                  <a:pt x="25164" y="239075"/>
                  <a:pt x="28575" y="251354"/>
                </a:cubicBezTo>
                <a:cubicBezTo>
                  <a:pt x="31648" y="262415"/>
                  <a:pt x="40797" y="271753"/>
                  <a:pt x="50800" y="276754"/>
                </a:cubicBezTo>
                <a:cubicBezTo>
                  <a:pt x="53793" y="278251"/>
                  <a:pt x="57150" y="278871"/>
                  <a:pt x="60325" y="279929"/>
                </a:cubicBezTo>
                <a:cubicBezTo>
                  <a:pt x="63500" y="283104"/>
                  <a:pt x="67622" y="285555"/>
                  <a:pt x="69850" y="289454"/>
                </a:cubicBezTo>
                <a:cubicBezTo>
                  <a:pt x="72015" y="293243"/>
                  <a:pt x="71306" y="298143"/>
                  <a:pt x="73025" y="302154"/>
                </a:cubicBezTo>
                <a:cubicBezTo>
                  <a:pt x="77347" y="312238"/>
                  <a:pt x="88724" y="321145"/>
                  <a:pt x="98425" y="324379"/>
                </a:cubicBezTo>
                <a:cubicBezTo>
                  <a:pt x="129086" y="334599"/>
                  <a:pt x="81416" y="318211"/>
                  <a:pt x="120650" y="333904"/>
                </a:cubicBezTo>
                <a:cubicBezTo>
                  <a:pt x="126865" y="336390"/>
                  <a:pt x="139700" y="340254"/>
                  <a:pt x="139700" y="340254"/>
                </a:cubicBezTo>
                <a:cubicBezTo>
                  <a:pt x="147128" y="362538"/>
                  <a:pt x="149585" y="361039"/>
                  <a:pt x="142875" y="387879"/>
                </a:cubicBezTo>
                <a:cubicBezTo>
                  <a:pt x="141950" y="391581"/>
                  <a:pt x="139223" y="394706"/>
                  <a:pt x="136525" y="397404"/>
                </a:cubicBezTo>
                <a:cubicBezTo>
                  <a:pt x="133827" y="400102"/>
                  <a:pt x="130175" y="401637"/>
                  <a:pt x="127000" y="403754"/>
                </a:cubicBezTo>
                <a:cubicBezTo>
                  <a:pt x="122277" y="417923"/>
                  <a:pt x="122913" y="410764"/>
                  <a:pt x="127000" y="429154"/>
                </a:cubicBezTo>
                <a:cubicBezTo>
                  <a:pt x="127947" y="433414"/>
                  <a:pt x="127449" y="438447"/>
                  <a:pt x="130175" y="441854"/>
                </a:cubicBezTo>
                <a:cubicBezTo>
                  <a:pt x="132266" y="444467"/>
                  <a:pt x="136525" y="443971"/>
                  <a:pt x="139700" y="445029"/>
                </a:cubicBezTo>
                <a:cubicBezTo>
                  <a:pt x="141817" y="448204"/>
                  <a:pt x="145510" y="450776"/>
                  <a:pt x="146050" y="454554"/>
                </a:cubicBezTo>
                <a:cubicBezTo>
                  <a:pt x="148010" y="468277"/>
                  <a:pt x="140915" y="469406"/>
                  <a:pt x="130175" y="470429"/>
                </a:cubicBezTo>
                <a:cubicBezTo>
                  <a:pt x="112233" y="472138"/>
                  <a:pt x="94192" y="472546"/>
                  <a:pt x="76200" y="473604"/>
                </a:cubicBezTo>
                <a:cubicBezTo>
                  <a:pt x="72989" y="478420"/>
                  <a:pt x="66675" y="486081"/>
                  <a:pt x="66675" y="492654"/>
                </a:cubicBezTo>
                <a:cubicBezTo>
                  <a:pt x="66675" y="500317"/>
                  <a:pt x="70520" y="510538"/>
                  <a:pt x="73025" y="518054"/>
                </a:cubicBezTo>
                <a:cubicBezTo>
                  <a:pt x="74083" y="525462"/>
                  <a:pt x="75062" y="532882"/>
                  <a:pt x="76200" y="540279"/>
                </a:cubicBezTo>
                <a:cubicBezTo>
                  <a:pt x="77179" y="546642"/>
                  <a:pt x="80936" y="553084"/>
                  <a:pt x="79375" y="559329"/>
                </a:cubicBezTo>
                <a:cubicBezTo>
                  <a:pt x="75142" y="576262"/>
                  <a:pt x="60325" y="582612"/>
                  <a:pt x="47625" y="591079"/>
                </a:cubicBezTo>
                <a:lnTo>
                  <a:pt x="38100" y="597429"/>
                </a:lnTo>
                <a:cubicBezTo>
                  <a:pt x="34925" y="599546"/>
                  <a:pt x="31273" y="601081"/>
                  <a:pt x="28575" y="603779"/>
                </a:cubicBezTo>
                <a:lnTo>
                  <a:pt x="19050" y="613304"/>
                </a:lnTo>
                <a:cubicBezTo>
                  <a:pt x="22013" y="634048"/>
                  <a:pt x="25815" y="648466"/>
                  <a:pt x="19050" y="670454"/>
                </a:cubicBezTo>
                <a:cubicBezTo>
                  <a:pt x="17928" y="674101"/>
                  <a:pt x="12700" y="674687"/>
                  <a:pt x="9525" y="676804"/>
                </a:cubicBezTo>
                <a:lnTo>
                  <a:pt x="3175" y="695854"/>
                </a:lnTo>
                <a:lnTo>
                  <a:pt x="0" y="705379"/>
                </a:lnTo>
                <a:cubicBezTo>
                  <a:pt x="1693" y="710459"/>
                  <a:pt x="2540" y="721466"/>
                  <a:pt x="12700" y="718079"/>
                </a:cubicBezTo>
                <a:cubicBezTo>
                  <a:pt x="16960" y="716659"/>
                  <a:pt x="18489" y="711045"/>
                  <a:pt x="22225" y="708554"/>
                </a:cubicBezTo>
                <a:cubicBezTo>
                  <a:pt x="25010" y="706698"/>
                  <a:pt x="28532" y="706298"/>
                  <a:pt x="31750" y="705379"/>
                </a:cubicBezTo>
                <a:cubicBezTo>
                  <a:pt x="59657" y="697406"/>
                  <a:pt x="31137" y="706642"/>
                  <a:pt x="53975" y="699029"/>
                </a:cubicBezTo>
                <a:cubicBezTo>
                  <a:pt x="62106" y="700655"/>
                  <a:pt x="76141" y="700409"/>
                  <a:pt x="79375" y="711729"/>
                </a:cubicBezTo>
                <a:cubicBezTo>
                  <a:pt x="80574" y="715925"/>
                  <a:pt x="77399" y="720233"/>
                  <a:pt x="76200" y="724429"/>
                </a:cubicBezTo>
                <a:cubicBezTo>
                  <a:pt x="69252" y="748745"/>
                  <a:pt x="77807" y="718432"/>
                  <a:pt x="66675" y="743479"/>
                </a:cubicBezTo>
                <a:cubicBezTo>
                  <a:pt x="63957" y="749596"/>
                  <a:pt x="60325" y="762529"/>
                  <a:pt x="60325" y="762529"/>
                </a:cubicBezTo>
                <a:lnTo>
                  <a:pt x="63500" y="810154"/>
                </a:lnTo>
                <a:cubicBezTo>
                  <a:pt x="64968" y="814263"/>
                  <a:pt x="72411" y="809144"/>
                  <a:pt x="76200" y="806979"/>
                </a:cubicBezTo>
                <a:cubicBezTo>
                  <a:pt x="80099" y="804751"/>
                  <a:pt x="82276" y="800329"/>
                  <a:pt x="85725" y="797454"/>
                </a:cubicBezTo>
                <a:cubicBezTo>
                  <a:pt x="93931" y="790615"/>
                  <a:pt x="95229" y="791111"/>
                  <a:pt x="104775" y="787929"/>
                </a:cubicBezTo>
                <a:cubicBezTo>
                  <a:pt x="109008" y="784754"/>
                  <a:pt x="112341" y="779687"/>
                  <a:pt x="117475" y="778404"/>
                </a:cubicBezTo>
                <a:cubicBezTo>
                  <a:pt x="127709" y="775846"/>
                  <a:pt x="134110" y="785514"/>
                  <a:pt x="139700" y="791104"/>
                </a:cubicBezTo>
                <a:cubicBezTo>
                  <a:pt x="144434" y="805305"/>
                  <a:pt x="143354" y="811532"/>
                  <a:pt x="155575" y="819679"/>
                </a:cubicBezTo>
                <a:cubicBezTo>
                  <a:pt x="158360" y="821535"/>
                  <a:pt x="161853" y="822042"/>
                  <a:pt x="165100" y="822854"/>
                </a:cubicBezTo>
                <a:cubicBezTo>
                  <a:pt x="170335" y="824163"/>
                  <a:pt x="175683" y="824971"/>
                  <a:pt x="180975" y="826029"/>
                </a:cubicBezTo>
                <a:cubicBezTo>
                  <a:pt x="184150" y="830262"/>
                  <a:pt x="186758" y="834987"/>
                  <a:pt x="190500" y="838729"/>
                </a:cubicBezTo>
                <a:cubicBezTo>
                  <a:pt x="193198" y="841427"/>
                  <a:pt x="197641" y="842099"/>
                  <a:pt x="200025" y="845079"/>
                </a:cubicBezTo>
                <a:cubicBezTo>
                  <a:pt x="202116" y="847692"/>
                  <a:pt x="201703" y="851611"/>
                  <a:pt x="203200" y="854604"/>
                </a:cubicBezTo>
                <a:cubicBezTo>
                  <a:pt x="204907" y="858017"/>
                  <a:pt x="207843" y="860716"/>
                  <a:pt x="209550" y="864129"/>
                </a:cubicBezTo>
                <a:cubicBezTo>
                  <a:pt x="215340" y="875709"/>
                  <a:pt x="210409" y="882693"/>
                  <a:pt x="225425" y="892704"/>
                </a:cubicBezTo>
                <a:lnTo>
                  <a:pt x="244475" y="905404"/>
                </a:lnTo>
                <a:lnTo>
                  <a:pt x="254000" y="911754"/>
                </a:lnTo>
                <a:cubicBezTo>
                  <a:pt x="257175" y="909637"/>
                  <a:pt x="262108" y="908947"/>
                  <a:pt x="263525" y="905404"/>
                </a:cubicBezTo>
                <a:cubicBezTo>
                  <a:pt x="264768" y="902297"/>
                  <a:pt x="260350" y="892532"/>
                  <a:pt x="260350" y="895879"/>
                </a:cubicBezTo>
                <a:cubicBezTo>
                  <a:pt x="260350" y="900243"/>
                  <a:pt x="262326" y="904383"/>
                  <a:pt x="263525" y="908579"/>
                </a:cubicBezTo>
                <a:cubicBezTo>
                  <a:pt x="266704" y="919707"/>
                  <a:pt x="266233" y="919302"/>
                  <a:pt x="276225" y="927629"/>
                </a:cubicBezTo>
                <a:cubicBezTo>
                  <a:pt x="281512" y="932035"/>
                  <a:pt x="292478" y="937940"/>
                  <a:pt x="298450" y="940329"/>
                </a:cubicBezTo>
                <a:cubicBezTo>
                  <a:pt x="304665" y="942815"/>
                  <a:pt x="317500" y="946679"/>
                  <a:pt x="317500" y="946679"/>
                </a:cubicBezTo>
                <a:cubicBezTo>
                  <a:pt x="319029" y="961969"/>
                  <a:pt x="319697" y="979075"/>
                  <a:pt x="323850" y="994304"/>
                </a:cubicBezTo>
                <a:cubicBezTo>
                  <a:pt x="325611" y="1000762"/>
                  <a:pt x="328083" y="1007004"/>
                  <a:pt x="330200" y="1013354"/>
                </a:cubicBezTo>
                <a:cubicBezTo>
                  <a:pt x="331739" y="1017970"/>
                  <a:pt x="345552" y="1021646"/>
                  <a:pt x="349250" y="1022879"/>
                </a:cubicBezTo>
                <a:cubicBezTo>
                  <a:pt x="352425" y="1024996"/>
                  <a:pt x="354982" y="1028808"/>
                  <a:pt x="358775" y="1029229"/>
                </a:cubicBezTo>
                <a:cubicBezTo>
                  <a:pt x="365173" y="1029940"/>
                  <a:pt x="372980" y="1030293"/>
                  <a:pt x="377825" y="1026054"/>
                </a:cubicBezTo>
                <a:cubicBezTo>
                  <a:pt x="382862" y="1021646"/>
                  <a:pt x="380462" y="1012573"/>
                  <a:pt x="384175" y="1007004"/>
                </a:cubicBezTo>
                <a:lnTo>
                  <a:pt x="390525" y="997479"/>
                </a:lnTo>
                <a:cubicBezTo>
                  <a:pt x="397933" y="998537"/>
                  <a:pt x="405412" y="999186"/>
                  <a:pt x="412750" y="1000654"/>
                </a:cubicBezTo>
                <a:cubicBezTo>
                  <a:pt x="416032" y="1001310"/>
                  <a:pt x="419168" y="1005072"/>
                  <a:pt x="422275" y="1003829"/>
                </a:cubicBezTo>
                <a:cubicBezTo>
                  <a:pt x="425818" y="1002412"/>
                  <a:pt x="426508" y="997479"/>
                  <a:pt x="428625" y="994304"/>
                </a:cubicBezTo>
                <a:cubicBezTo>
                  <a:pt x="425450" y="991129"/>
                  <a:pt x="421975" y="988228"/>
                  <a:pt x="419100" y="984779"/>
                </a:cubicBezTo>
                <a:cubicBezTo>
                  <a:pt x="416657" y="981848"/>
                  <a:pt x="415285" y="978106"/>
                  <a:pt x="412750" y="975254"/>
                </a:cubicBezTo>
                <a:cubicBezTo>
                  <a:pt x="406784" y="968542"/>
                  <a:pt x="400050" y="962554"/>
                  <a:pt x="393700" y="956204"/>
                </a:cubicBezTo>
                <a:cubicBezTo>
                  <a:pt x="390525" y="953029"/>
                  <a:pt x="387911" y="949170"/>
                  <a:pt x="384175" y="946679"/>
                </a:cubicBezTo>
                <a:lnTo>
                  <a:pt x="365125" y="933979"/>
                </a:lnTo>
                <a:cubicBezTo>
                  <a:pt x="364067" y="930804"/>
                  <a:pt x="360005" y="927177"/>
                  <a:pt x="361950" y="924454"/>
                </a:cubicBezTo>
                <a:cubicBezTo>
                  <a:pt x="366386" y="918244"/>
                  <a:pt x="374650" y="915987"/>
                  <a:pt x="381000" y="911754"/>
                </a:cubicBezTo>
                <a:lnTo>
                  <a:pt x="390525" y="905404"/>
                </a:lnTo>
                <a:cubicBezTo>
                  <a:pt x="397431" y="900800"/>
                  <a:pt x="416930" y="897583"/>
                  <a:pt x="425450" y="895879"/>
                </a:cubicBezTo>
                <a:cubicBezTo>
                  <a:pt x="442383" y="896937"/>
                  <a:pt x="459491" y="896408"/>
                  <a:pt x="476250" y="899054"/>
                </a:cubicBezTo>
                <a:cubicBezTo>
                  <a:pt x="495353" y="902070"/>
                  <a:pt x="477203" y="917363"/>
                  <a:pt x="498475" y="924454"/>
                </a:cubicBezTo>
                <a:lnTo>
                  <a:pt x="508000" y="927629"/>
                </a:lnTo>
                <a:cubicBezTo>
                  <a:pt x="515408" y="926571"/>
                  <a:pt x="523057" y="926604"/>
                  <a:pt x="530225" y="924454"/>
                </a:cubicBezTo>
                <a:cubicBezTo>
                  <a:pt x="552151" y="917876"/>
                  <a:pt x="526019" y="914671"/>
                  <a:pt x="552450" y="921279"/>
                </a:cubicBezTo>
                <a:cubicBezTo>
                  <a:pt x="553508" y="924454"/>
                  <a:pt x="554128" y="927811"/>
                  <a:pt x="555625" y="930804"/>
                </a:cubicBezTo>
                <a:cubicBezTo>
                  <a:pt x="557332" y="934217"/>
                  <a:pt x="560635" y="936756"/>
                  <a:pt x="561975" y="940329"/>
                </a:cubicBezTo>
                <a:cubicBezTo>
                  <a:pt x="563870" y="945382"/>
                  <a:pt x="564329" y="950870"/>
                  <a:pt x="565150" y="956204"/>
                </a:cubicBezTo>
                <a:cubicBezTo>
                  <a:pt x="566447" y="964637"/>
                  <a:pt x="564860" y="973807"/>
                  <a:pt x="568325" y="981604"/>
                </a:cubicBezTo>
                <a:cubicBezTo>
                  <a:pt x="569684" y="984662"/>
                  <a:pt x="574675" y="983721"/>
                  <a:pt x="577850" y="984779"/>
                </a:cubicBezTo>
                <a:cubicBezTo>
                  <a:pt x="583142" y="983721"/>
                  <a:pt x="588812" y="983837"/>
                  <a:pt x="593725" y="981604"/>
                </a:cubicBezTo>
                <a:cubicBezTo>
                  <a:pt x="600673" y="978446"/>
                  <a:pt x="612775" y="968904"/>
                  <a:pt x="612775" y="968904"/>
                </a:cubicBezTo>
                <a:cubicBezTo>
                  <a:pt x="614892" y="965729"/>
                  <a:pt x="617575" y="962866"/>
                  <a:pt x="619125" y="959379"/>
                </a:cubicBezTo>
                <a:cubicBezTo>
                  <a:pt x="621843" y="953262"/>
                  <a:pt x="625475" y="940329"/>
                  <a:pt x="625475" y="940329"/>
                </a:cubicBezTo>
                <a:cubicBezTo>
                  <a:pt x="623591" y="930911"/>
                  <a:pt x="620141" y="914544"/>
                  <a:pt x="619125" y="905404"/>
                </a:cubicBezTo>
                <a:cubicBezTo>
                  <a:pt x="617718" y="892738"/>
                  <a:pt x="618299" y="879830"/>
                  <a:pt x="615950" y="867304"/>
                </a:cubicBezTo>
                <a:cubicBezTo>
                  <a:pt x="615078" y="862652"/>
                  <a:pt x="612035" y="858663"/>
                  <a:pt x="609600" y="854604"/>
                </a:cubicBezTo>
                <a:cubicBezTo>
                  <a:pt x="605673" y="848060"/>
                  <a:pt x="596900" y="835554"/>
                  <a:pt x="596900" y="835554"/>
                </a:cubicBezTo>
                <a:cubicBezTo>
                  <a:pt x="599017" y="832379"/>
                  <a:pt x="600014" y="828051"/>
                  <a:pt x="603250" y="826029"/>
                </a:cubicBezTo>
                <a:cubicBezTo>
                  <a:pt x="608926" y="822481"/>
                  <a:pt x="615950" y="821796"/>
                  <a:pt x="622300" y="819679"/>
                </a:cubicBezTo>
                <a:lnTo>
                  <a:pt x="631825" y="816504"/>
                </a:lnTo>
                <a:cubicBezTo>
                  <a:pt x="635965" y="815124"/>
                  <a:pt x="640329" y="814528"/>
                  <a:pt x="644525" y="813329"/>
                </a:cubicBezTo>
                <a:cubicBezTo>
                  <a:pt x="647743" y="812410"/>
                  <a:pt x="650875" y="811212"/>
                  <a:pt x="654050" y="810154"/>
                </a:cubicBezTo>
                <a:cubicBezTo>
                  <a:pt x="666203" y="802052"/>
                  <a:pt x="666855" y="798559"/>
                  <a:pt x="685800" y="806979"/>
                </a:cubicBezTo>
                <a:cubicBezTo>
                  <a:pt x="689287" y="808529"/>
                  <a:pt x="690033" y="813329"/>
                  <a:pt x="692150" y="816504"/>
                </a:cubicBezTo>
                <a:cubicBezTo>
                  <a:pt x="691210" y="823081"/>
                  <a:pt x="685497" y="843112"/>
                  <a:pt x="692150" y="851429"/>
                </a:cubicBezTo>
                <a:cubicBezTo>
                  <a:pt x="694241" y="854042"/>
                  <a:pt x="698500" y="853546"/>
                  <a:pt x="701675" y="854604"/>
                </a:cubicBezTo>
                <a:cubicBezTo>
                  <a:pt x="705908" y="857779"/>
                  <a:pt x="710633" y="860387"/>
                  <a:pt x="714375" y="864129"/>
                </a:cubicBezTo>
                <a:cubicBezTo>
                  <a:pt x="723474" y="873228"/>
                  <a:pt x="718735" y="872850"/>
                  <a:pt x="723900" y="883179"/>
                </a:cubicBezTo>
                <a:cubicBezTo>
                  <a:pt x="729192" y="893762"/>
                  <a:pt x="730250" y="892704"/>
                  <a:pt x="739775" y="899054"/>
                </a:cubicBezTo>
                <a:cubicBezTo>
                  <a:pt x="744008" y="897996"/>
                  <a:pt x="748686" y="898044"/>
                  <a:pt x="752475" y="895879"/>
                </a:cubicBezTo>
                <a:cubicBezTo>
                  <a:pt x="756374" y="893651"/>
                  <a:pt x="757524" y="886712"/>
                  <a:pt x="762000" y="886354"/>
                </a:cubicBezTo>
                <a:cubicBezTo>
                  <a:pt x="785233" y="884495"/>
                  <a:pt x="808567" y="888471"/>
                  <a:pt x="831850" y="889529"/>
                </a:cubicBezTo>
                <a:cubicBezTo>
                  <a:pt x="847725" y="888471"/>
                  <a:pt x="863781" y="888970"/>
                  <a:pt x="879475" y="886354"/>
                </a:cubicBezTo>
                <a:cubicBezTo>
                  <a:pt x="894421" y="883863"/>
                  <a:pt x="886028" y="876525"/>
                  <a:pt x="892175" y="867304"/>
                </a:cubicBezTo>
                <a:cubicBezTo>
                  <a:pt x="895692" y="862028"/>
                  <a:pt x="905792" y="859590"/>
                  <a:pt x="911225" y="857779"/>
                </a:cubicBezTo>
                <a:cubicBezTo>
                  <a:pt x="914400" y="855662"/>
                  <a:pt x="918857" y="854742"/>
                  <a:pt x="920750" y="851429"/>
                </a:cubicBezTo>
                <a:cubicBezTo>
                  <a:pt x="923427" y="846744"/>
                  <a:pt x="923925" y="840950"/>
                  <a:pt x="923925" y="835554"/>
                </a:cubicBezTo>
                <a:cubicBezTo>
                  <a:pt x="923925" y="822324"/>
                  <a:pt x="922067" y="816180"/>
                  <a:pt x="914400" y="806979"/>
                </a:cubicBezTo>
                <a:cubicBezTo>
                  <a:pt x="911525" y="803530"/>
                  <a:pt x="908891" y="799462"/>
                  <a:pt x="904875" y="797454"/>
                </a:cubicBezTo>
                <a:cubicBezTo>
                  <a:pt x="900048" y="795041"/>
                  <a:pt x="894292" y="795337"/>
                  <a:pt x="889000" y="794279"/>
                </a:cubicBezTo>
                <a:cubicBezTo>
                  <a:pt x="885825" y="791104"/>
                  <a:pt x="880564" y="789110"/>
                  <a:pt x="879475" y="784754"/>
                </a:cubicBezTo>
                <a:cubicBezTo>
                  <a:pt x="877370" y="776335"/>
                  <a:pt x="883919" y="765451"/>
                  <a:pt x="889000" y="759354"/>
                </a:cubicBezTo>
                <a:cubicBezTo>
                  <a:pt x="891875" y="755905"/>
                  <a:pt x="895650" y="753278"/>
                  <a:pt x="898525" y="749829"/>
                </a:cubicBezTo>
                <a:cubicBezTo>
                  <a:pt x="900968" y="746898"/>
                  <a:pt x="902003" y="742817"/>
                  <a:pt x="904875" y="740304"/>
                </a:cubicBezTo>
                <a:cubicBezTo>
                  <a:pt x="910618" y="735278"/>
                  <a:pt x="917575" y="731837"/>
                  <a:pt x="923925" y="727604"/>
                </a:cubicBezTo>
                <a:cubicBezTo>
                  <a:pt x="936235" y="719398"/>
                  <a:pt x="929830" y="722461"/>
                  <a:pt x="942975" y="718079"/>
                </a:cubicBezTo>
                <a:cubicBezTo>
                  <a:pt x="946150" y="720196"/>
                  <a:pt x="950116" y="721449"/>
                  <a:pt x="952500" y="724429"/>
                </a:cubicBezTo>
                <a:cubicBezTo>
                  <a:pt x="954591" y="727042"/>
                  <a:pt x="955076" y="730661"/>
                  <a:pt x="955675" y="733954"/>
                </a:cubicBezTo>
                <a:cubicBezTo>
                  <a:pt x="957201" y="742349"/>
                  <a:pt x="955681" y="751432"/>
                  <a:pt x="958850" y="759354"/>
                </a:cubicBezTo>
                <a:cubicBezTo>
                  <a:pt x="960744" y="764088"/>
                  <a:pt x="973890" y="767542"/>
                  <a:pt x="977900" y="768879"/>
                </a:cubicBezTo>
                <a:cubicBezTo>
                  <a:pt x="991047" y="767001"/>
                  <a:pt x="1003300" y="772012"/>
                  <a:pt x="1003300" y="756179"/>
                </a:cubicBezTo>
                <a:cubicBezTo>
                  <a:pt x="1003300" y="752832"/>
                  <a:pt x="1001183" y="749829"/>
                  <a:pt x="1000125" y="746654"/>
                </a:cubicBezTo>
                <a:cubicBezTo>
                  <a:pt x="1001183" y="743479"/>
                  <a:pt x="1001209" y="739742"/>
                  <a:pt x="1003300" y="737129"/>
                </a:cubicBezTo>
                <a:cubicBezTo>
                  <a:pt x="1005684" y="734149"/>
                  <a:pt x="1009338" y="732329"/>
                  <a:pt x="1012825" y="730779"/>
                </a:cubicBezTo>
                <a:lnTo>
                  <a:pt x="1041400" y="721254"/>
                </a:lnTo>
                <a:lnTo>
                  <a:pt x="1050925" y="718079"/>
                </a:lnTo>
                <a:lnTo>
                  <a:pt x="1060450" y="714904"/>
                </a:lnTo>
                <a:cubicBezTo>
                  <a:pt x="1063625" y="712787"/>
                  <a:pt x="1067277" y="711252"/>
                  <a:pt x="1069975" y="708554"/>
                </a:cubicBezTo>
                <a:cubicBezTo>
                  <a:pt x="1076130" y="702399"/>
                  <a:pt x="1076918" y="697251"/>
                  <a:pt x="1079500" y="689504"/>
                </a:cubicBezTo>
                <a:cubicBezTo>
                  <a:pt x="1077383" y="686329"/>
                  <a:pt x="1075593" y="682910"/>
                  <a:pt x="1073150" y="679979"/>
                </a:cubicBezTo>
                <a:cubicBezTo>
                  <a:pt x="1065510" y="670812"/>
                  <a:pt x="1063466" y="670348"/>
                  <a:pt x="1054100" y="664104"/>
                </a:cubicBezTo>
                <a:cubicBezTo>
                  <a:pt x="1051983" y="660929"/>
                  <a:pt x="1049457" y="657992"/>
                  <a:pt x="1047750" y="654579"/>
                </a:cubicBezTo>
                <a:cubicBezTo>
                  <a:pt x="1046253" y="651586"/>
                  <a:pt x="1046235" y="647960"/>
                  <a:pt x="1044575" y="645054"/>
                </a:cubicBezTo>
                <a:cubicBezTo>
                  <a:pt x="1041950" y="640460"/>
                  <a:pt x="1038225" y="636587"/>
                  <a:pt x="1035050" y="632354"/>
                </a:cubicBezTo>
                <a:cubicBezTo>
                  <a:pt x="1036056" y="623300"/>
                  <a:pt x="1036081" y="604892"/>
                  <a:pt x="1041400" y="594254"/>
                </a:cubicBezTo>
                <a:cubicBezTo>
                  <a:pt x="1043107" y="590841"/>
                  <a:pt x="1044514" y="586751"/>
                  <a:pt x="1047750" y="584729"/>
                </a:cubicBezTo>
                <a:cubicBezTo>
                  <a:pt x="1053426" y="581181"/>
                  <a:pt x="1066800" y="578379"/>
                  <a:pt x="1066800" y="578379"/>
                </a:cubicBezTo>
                <a:cubicBezTo>
                  <a:pt x="1081769" y="580874"/>
                  <a:pt x="1085288" y="584063"/>
                  <a:pt x="1098550" y="578379"/>
                </a:cubicBezTo>
                <a:cubicBezTo>
                  <a:pt x="1102057" y="576876"/>
                  <a:pt x="1104900" y="574146"/>
                  <a:pt x="1108075" y="572029"/>
                </a:cubicBezTo>
                <a:cubicBezTo>
                  <a:pt x="1110192" y="568854"/>
                  <a:pt x="1111089" y="564357"/>
                  <a:pt x="1114425" y="562504"/>
                </a:cubicBezTo>
                <a:cubicBezTo>
                  <a:pt x="1147717" y="544008"/>
                  <a:pt x="1128712" y="568061"/>
                  <a:pt x="1143000" y="546629"/>
                </a:cubicBezTo>
                <a:cubicBezTo>
                  <a:pt x="1144058" y="542396"/>
                  <a:pt x="1143449" y="537336"/>
                  <a:pt x="1146175" y="533929"/>
                </a:cubicBezTo>
                <a:cubicBezTo>
                  <a:pt x="1148266" y="531316"/>
                  <a:pt x="1152707" y="532251"/>
                  <a:pt x="1155700" y="530754"/>
                </a:cubicBezTo>
                <a:cubicBezTo>
                  <a:pt x="1183880" y="516664"/>
                  <a:pt x="1134533" y="526962"/>
                  <a:pt x="1203325" y="521229"/>
                </a:cubicBezTo>
                <a:cubicBezTo>
                  <a:pt x="1206500" y="520171"/>
                  <a:pt x="1210483" y="520421"/>
                  <a:pt x="1212850" y="518054"/>
                </a:cubicBezTo>
                <a:cubicBezTo>
                  <a:pt x="1214368" y="516536"/>
                  <a:pt x="1219173" y="495939"/>
                  <a:pt x="1219200" y="495829"/>
                </a:cubicBezTo>
                <a:cubicBezTo>
                  <a:pt x="1214174" y="475725"/>
                  <a:pt x="1218446" y="486760"/>
                  <a:pt x="1203325" y="464079"/>
                </a:cubicBezTo>
                <a:cubicBezTo>
                  <a:pt x="1199612" y="458510"/>
                  <a:pt x="1190625" y="459846"/>
                  <a:pt x="1184275" y="457729"/>
                </a:cubicBezTo>
                <a:lnTo>
                  <a:pt x="1174750" y="454554"/>
                </a:lnTo>
                <a:cubicBezTo>
                  <a:pt x="1171575" y="452437"/>
                  <a:pt x="1167609" y="451184"/>
                  <a:pt x="1165225" y="448204"/>
                </a:cubicBezTo>
                <a:cubicBezTo>
                  <a:pt x="1163134" y="445591"/>
                  <a:pt x="1163547" y="441672"/>
                  <a:pt x="1162050" y="438679"/>
                </a:cubicBezTo>
                <a:cubicBezTo>
                  <a:pt x="1160343" y="435266"/>
                  <a:pt x="1157817" y="432329"/>
                  <a:pt x="1155700" y="429154"/>
                </a:cubicBezTo>
                <a:cubicBezTo>
                  <a:pt x="1154642" y="422804"/>
                  <a:pt x="1154561" y="416211"/>
                  <a:pt x="1152525" y="410104"/>
                </a:cubicBezTo>
                <a:cubicBezTo>
                  <a:pt x="1150173" y="403048"/>
                  <a:pt x="1143235" y="397051"/>
                  <a:pt x="1136650" y="394229"/>
                </a:cubicBezTo>
                <a:cubicBezTo>
                  <a:pt x="1132639" y="392510"/>
                  <a:pt x="1128243" y="391835"/>
                  <a:pt x="1123950" y="391054"/>
                </a:cubicBezTo>
                <a:cubicBezTo>
                  <a:pt x="1116587" y="389715"/>
                  <a:pt x="1109167" y="388662"/>
                  <a:pt x="1101725" y="387879"/>
                </a:cubicBezTo>
                <a:cubicBezTo>
                  <a:pt x="1089051" y="386545"/>
                  <a:pt x="1076325" y="385762"/>
                  <a:pt x="1063625" y="384704"/>
                </a:cubicBezTo>
                <a:cubicBezTo>
                  <a:pt x="1048020" y="395107"/>
                  <a:pt x="1051347" y="388788"/>
                  <a:pt x="1057275" y="416454"/>
                </a:cubicBezTo>
                <a:cubicBezTo>
                  <a:pt x="1058677" y="422999"/>
                  <a:pt x="1061508" y="429154"/>
                  <a:pt x="1063625" y="435504"/>
                </a:cubicBezTo>
                <a:lnTo>
                  <a:pt x="1066800" y="445029"/>
                </a:lnTo>
                <a:cubicBezTo>
                  <a:pt x="1062312" y="467468"/>
                  <a:pt x="1065332" y="455784"/>
                  <a:pt x="1057275" y="479954"/>
                </a:cubicBezTo>
                <a:lnTo>
                  <a:pt x="1057275" y="479954"/>
                </a:lnTo>
                <a:cubicBezTo>
                  <a:pt x="1056217" y="484187"/>
                  <a:pt x="1056521" y="489023"/>
                  <a:pt x="1054100" y="492654"/>
                </a:cubicBezTo>
                <a:cubicBezTo>
                  <a:pt x="1051983" y="495829"/>
                  <a:pt x="1047750" y="496887"/>
                  <a:pt x="1044575" y="499004"/>
                </a:cubicBezTo>
                <a:cubicBezTo>
                  <a:pt x="1039283" y="497946"/>
                  <a:pt x="1033613" y="498062"/>
                  <a:pt x="1028700" y="495829"/>
                </a:cubicBezTo>
                <a:cubicBezTo>
                  <a:pt x="1021752" y="492671"/>
                  <a:pt x="1009650" y="483129"/>
                  <a:pt x="1009650" y="483129"/>
                </a:cubicBezTo>
                <a:cubicBezTo>
                  <a:pt x="994994" y="486060"/>
                  <a:pt x="980284" y="489479"/>
                  <a:pt x="965200" y="489479"/>
                </a:cubicBezTo>
                <a:cubicBezTo>
                  <a:pt x="956667" y="489479"/>
                  <a:pt x="948267" y="487362"/>
                  <a:pt x="939800" y="486304"/>
                </a:cubicBezTo>
                <a:cubicBezTo>
                  <a:pt x="914400" y="469371"/>
                  <a:pt x="945092" y="491596"/>
                  <a:pt x="923925" y="470429"/>
                </a:cubicBezTo>
                <a:cubicBezTo>
                  <a:pt x="921227" y="467731"/>
                  <a:pt x="917575" y="466196"/>
                  <a:pt x="914400" y="464079"/>
                </a:cubicBezTo>
                <a:cubicBezTo>
                  <a:pt x="913346" y="460918"/>
                  <a:pt x="908056" y="439476"/>
                  <a:pt x="901700" y="435504"/>
                </a:cubicBezTo>
                <a:cubicBezTo>
                  <a:pt x="882406" y="423445"/>
                  <a:pt x="826449" y="426344"/>
                  <a:pt x="819150" y="425979"/>
                </a:cubicBezTo>
                <a:cubicBezTo>
                  <a:pt x="815975" y="424921"/>
                  <a:pt x="812551" y="424429"/>
                  <a:pt x="809625" y="422804"/>
                </a:cubicBezTo>
                <a:cubicBezTo>
                  <a:pt x="776873" y="404608"/>
                  <a:pt x="802603" y="414113"/>
                  <a:pt x="781050" y="406929"/>
                </a:cubicBezTo>
                <a:cubicBezTo>
                  <a:pt x="774507" y="402567"/>
                  <a:pt x="762534" y="392172"/>
                  <a:pt x="752475" y="391054"/>
                </a:cubicBezTo>
                <a:cubicBezTo>
                  <a:pt x="736662" y="389297"/>
                  <a:pt x="720725" y="388937"/>
                  <a:pt x="704850" y="387879"/>
                </a:cubicBezTo>
                <a:cubicBezTo>
                  <a:pt x="701675" y="386821"/>
                  <a:pt x="697938" y="386795"/>
                  <a:pt x="695325" y="384704"/>
                </a:cubicBezTo>
                <a:cubicBezTo>
                  <a:pt x="692345" y="382320"/>
                  <a:pt x="690525" y="378666"/>
                  <a:pt x="688975" y="375179"/>
                </a:cubicBezTo>
                <a:cubicBezTo>
                  <a:pt x="684534" y="365187"/>
                  <a:pt x="681023" y="351262"/>
                  <a:pt x="679450" y="340254"/>
                </a:cubicBezTo>
                <a:cubicBezTo>
                  <a:pt x="678095" y="330767"/>
                  <a:pt x="679306" y="320771"/>
                  <a:pt x="676275" y="311679"/>
                </a:cubicBezTo>
                <a:cubicBezTo>
                  <a:pt x="672836" y="301361"/>
                  <a:pt x="662193" y="301015"/>
                  <a:pt x="654050" y="298979"/>
                </a:cubicBezTo>
                <a:cubicBezTo>
                  <a:pt x="660400" y="294746"/>
                  <a:pt x="670687" y="293519"/>
                  <a:pt x="673100" y="286279"/>
                </a:cubicBezTo>
                <a:cubicBezTo>
                  <a:pt x="681157" y="262109"/>
                  <a:pt x="678137" y="273793"/>
                  <a:pt x="682625" y="251354"/>
                </a:cubicBezTo>
                <a:cubicBezTo>
                  <a:pt x="681567" y="242887"/>
                  <a:pt x="681695" y="234186"/>
                  <a:pt x="679450" y="225954"/>
                </a:cubicBezTo>
                <a:cubicBezTo>
                  <a:pt x="676711" y="215910"/>
                  <a:pt x="670548" y="215889"/>
                  <a:pt x="663575" y="210079"/>
                </a:cubicBezTo>
                <a:cubicBezTo>
                  <a:pt x="633732" y="185210"/>
                  <a:pt x="683148" y="219952"/>
                  <a:pt x="635000" y="187854"/>
                </a:cubicBezTo>
                <a:lnTo>
                  <a:pt x="625475" y="181504"/>
                </a:lnTo>
                <a:cubicBezTo>
                  <a:pt x="622690" y="179648"/>
                  <a:pt x="619274" y="178720"/>
                  <a:pt x="615950" y="178329"/>
                </a:cubicBezTo>
                <a:cubicBezTo>
                  <a:pt x="601197" y="176593"/>
                  <a:pt x="586307" y="176339"/>
                  <a:pt x="571500" y="175154"/>
                </a:cubicBezTo>
                <a:cubicBezTo>
                  <a:pt x="559848" y="174222"/>
                  <a:pt x="548207" y="173142"/>
                  <a:pt x="536575" y="171979"/>
                </a:cubicBezTo>
                <a:cubicBezTo>
                  <a:pt x="524792" y="170801"/>
                  <a:pt x="498567" y="167955"/>
                  <a:pt x="485775" y="165629"/>
                </a:cubicBezTo>
                <a:cubicBezTo>
                  <a:pt x="481482" y="164848"/>
                  <a:pt x="477308" y="163512"/>
                  <a:pt x="473075" y="162454"/>
                </a:cubicBezTo>
                <a:cubicBezTo>
                  <a:pt x="469900" y="159279"/>
                  <a:pt x="466041" y="156665"/>
                  <a:pt x="463550" y="152929"/>
                </a:cubicBezTo>
                <a:cubicBezTo>
                  <a:pt x="461694" y="150144"/>
                  <a:pt x="461101" y="146671"/>
                  <a:pt x="460375" y="143404"/>
                </a:cubicBezTo>
                <a:cubicBezTo>
                  <a:pt x="457994" y="132692"/>
                  <a:pt x="457266" y="114927"/>
                  <a:pt x="450850" y="105304"/>
                </a:cubicBezTo>
                <a:cubicBezTo>
                  <a:pt x="442009" y="92043"/>
                  <a:pt x="447198" y="98477"/>
                  <a:pt x="434975" y="86254"/>
                </a:cubicBezTo>
                <a:cubicBezTo>
                  <a:pt x="432478" y="58790"/>
                  <a:pt x="434234" y="58262"/>
                  <a:pt x="428625" y="38629"/>
                </a:cubicBezTo>
                <a:cubicBezTo>
                  <a:pt x="427706" y="35411"/>
                  <a:pt x="427541" y="31717"/>
                  <a:pt x="425450" y="29104"/>
                </a:cubicBezTo>
                <a:cubicBezTo>
                  <a:pt x="420144" y="22472"/>
                  <a:pt x="413402" y="22580"/>
                  <a:pt x="406400" y="19579"/>
                </a:cubicBezTo>
                <a:cubicBezTo>
                  <a:pt x="397364" y="15707"/>
                  <a:pt x="393482" y="11915"/>
                  <a:pt x="384175" y="10054"/>
                </a:cubicBezTo>
                <a:cubicBezTo>
                  <a:pt x="376837" y="8586"/>
                  <a:pt x="369358" y="7937"/>
                  <a:pt x="361950" y="6879"/>
                </a:cubicBezTo>
                <a:cubicBezTo>
                  <a:pt x="355600" y="7937"/>
                  <a:pt x="348489" y="6860"/>
                  <a:pt x="342900" y="10054"/>
                </a:cubicBezTo>
                <a:cubicBezTo>
                  <a:pt x="339994" y="11714"/>
                  <a:pt x="340028" y="16246"/>
                  <a:pt x="339725" y="19579"/>
                </a:cubicBezTo>
                <a:cubicBezTo>
                  <a:pt x="338958" y="28011"/>
                  <a:pt x="343958" y="0"/>
                  <a:pt x="342900" y="6879"/>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25" name="Freeform 24"/>
          <p:cNvSpPr/>
          <p:nvPr>
            <p:custDataLst>
              <p:tags r:id="rId14"/>
            </p:custDataLst>
          </p:nvPr>
        </p:nvSpPr>
        <p:spPr bwMode="auto">
          <a:xfrm>
            <a:off x="1545398" y="4010620"/>
            <a:ext cx="1881038" cy="1951106"/>
          </a:xfrm>
          <a:custGeom>
            <a:avLst/>
            <a:gdLst>
              <a:gd name="connsiteX0" fmla="*/ 44450 w 2241550"/>
              <a:gd name="connsiteY0" fmla="*/ 674047 h 2325047"/>
              <a:gd name="connsiteX1" fmla="*/ 120650 w 2241550"/>
              <a:gd name="connsiteY1" fmla="*/ 667697 h 2325047"/>
              <a:gd name="connsiteX2" fmla="*/ 127000 w 2241550"/>
              <a:gd name="connsiteY2" fmla="*/ 642297 h 2325047"/>
              <a:gd name="connsiteX3" fmla="*/ 146050 w 2241550"/>
              <a:gd name="connsiteY3" fmla="*/ 635947 h 2325047"/>
              <a:gd name="connsiteX4" fmla="*/ 171450 w 2241550"/>
              <a:gd name="connsiteY4" fmla="*/ 642297 h 2325047"/>
              <a:gd name="connsiteX5" fmla="*/ 177800 w 2241550"/>
              <a:gd name="connsiteY5" fmla="*/ 623247 h 2325047"/>
              <a:gd name="connsiteX6" fmla="*/ 165100 w 2241550"/>
              <a:gd name="connsiteY6" fmla="*/ 604197 h 2325047"/>
              <a:gd name="connsiteX7" fmla="*/ 139700 w 2241550"/>
              <a:gd name="connsiteY7" fmla="*/ 566097 h 2325047"/>
              <a:gd name="connsiteX8" fmla="*/ 184150 w 2241550"/>
              <a:gd name="connsiteY8" fmla="*/ 547047 h 2325047"/>
              <a:gd name="connsiteX9" fmla="*/ 203200 w 2241550"/>
              <a:gd name="connsiteY9" fmla="*/ 553397 h 2325047"/>
              <a:gd name="connsiteX10" fmla="*/ 222250 w 2241550"/>
              <a:gd name="connsiteY10" fmla="*/ 566097 h 2325047"/>
              <a:gd name="connsiteX11" fmla="*/ 241300 w 2241550"/>
              <a:gd name="connsiteY11" fmla="*/ 553397 h 2325047"/>
              <a:gd name="connsiteX12" fmla="*/ 279400 w 2241550"/>
              <a:gd name="connsiteY12" fmla="*/ 547047 h 2325047"/>
              <a:gd name="connsiteX13" fmla="*/ 292100 w 2241550"/>
              <a:gd name="connsiteY13" fmla="*/ 566097 h 2325047"/>
              <a:gd name="connsiteX14" fmla="*/ 298450 w 2241550"/>
              <a:gd name="connsiteY14" fmla="*/ 604197 h 2325047"/>
              <a:gd name="connsiteX15" fmla="*/ 361950 w 2241550"/>
              <a:gd name="connsiteY15" fmla="*/ 591497 h 2325047"/>
              <a:gd name="connsiteX16" fmla="*/ 381000 w 2241550"/>
              <a:gd name="connsiteY16" fmla="*/ 597847 h 2325047"/>
              <a:gd name="connsiteX17" fmla="*/ 393700 w 2241550"/>
              <a:gd name="connsiteY17" fmla="*/ 635947 h 2325047"/>
              <a:gd name="connsiteX18" fmla="*/ 406400 w 2241550"/>
              <a:gd name="connsiteY18" fmla="*/ 654997 h 2325047"/>
              <a:gd name="connsiteX19" fmla="*/ 412750 w 2241550"/>
              <a:gd name="connsiteY19" fmla="*/ 705797 h 2325047"/>
              <a:gd name="connsiteX20" fmla="*/ 431800 w 2241550"/>
              <a:gd name="connsiteY20" fmla="*/ 750247 h 2325047"/>
              <a:gd name="connsiteX21" fmla="*/ 450850 w 2241550"/>
              <a:gd name="connsiteY21" fmla="*/ 762947 h 2325047"/>
              <a:gd name="connsiteX22" fmla="*/ 508000 w 2241550"/>
              <a:gd name="connsiteY22" fmla="*/ 743897 h 2325047"/>
              <a:gd name="connsiteX23" fmla="*/ 527050 w 2241550"/>
              <a:gd name="connsiteY23" fmla="*/ 921697 h 2325047"/>
              <a:gd name="connsiteX24" fmla="*/ 558800 w 2241550"/>
              <a:gd name="connsiteY24" fmla="*/ 978847 h 2325047"/>
              <a:gd name="connsiteX25" fmla="*/ 577850 w 2241550"/>
              <a:gd name="connsiteY25" fmla="*/ 1016947 h 2325047"/>
              <a:gd name="connsiteX26" fmla="*/ 603250 w 2241550"/>
              <a:gd name="connsiteY26" fmla="*/ 1061397 h 2325047"/>
              <a:gd name="connsiteX27" fmla="*/ 622300 w 2241550"/>
              <a:gd name="connsiteY27" fmla="*/ 1099497 h 2325047"/>
              <a:gd name="connsiteX28" fmla="*/ 641350 w 2241550"/>
              <a:gd name="connsiteY28" fmla="*/ 1112197 h 2325047"/>
              <a:gd name="connsiteX29" fmla="*/ 654050 w 2241550"/>
              <a:gd name="connsiteY29" fmla="*/ 1131247 h 2325047"/>
              <a:gd name="connsiteX30" fmla="*/ 666750 w 2241550"/>
              <a:gd name="connsiteY30" fmla="*/ 1207447 h 2325047"/>
              <a:gd name="connsiteX31" fmla="*/ 673100 w 2241550"/>
              <a:gd name="connsiteY31" fmla="*/ 1251897 h 2325047"/>
              <a:gd name="connsiteX32" fmla="*/ 698500 w 2241550"/>
              <a:gd name="connsiteY32" fmla="*/ 1309047 h 2325047"/>
              <a:gd name="connsiteX33" fmla="*/ 679450 w 2241550"/>
              <a:gd name="connsiteY33" fmla="*/ 1321747 h 2325047"/>
              <a:gd name="connsiteX34" fmla="*/ 641350 w 2241550"/>
              <a:gd name="connsiteY34" fmla="*/ 1334447 h 2325047"/>
              <a:gd name="connsiteX35" fmla="*/ 584200 w 2241550"/>
              <a:gd name="connsiteY35" fmla="*/ 1328097 h 2325047"/>
              <a:gd name="connsiteX36" fmla="*/ 577850 w 2241550"/>
              <a:gd name="connsiteY36" fmla="*/ 1347147 h 2325047"/>
              <a:gd name="connsiteX37" fmla="*/ 596900 w 2241550"/>
              <a:gd name="connsiteY37" fmla="*/ 1404297 h 2325047"/>
              <a:gd name="connsiteX38" fmla="*/ 603250 w 2241550"/>
              <a:gd name="connsiteY38" fmla="*/ 1423347 h 2325047"/>
              <a:gd name="connsiteX39" fmla="*/ 590550 w 2241550"/>
              <a:gd name="connsiteY39" fmla="*/ 1442397 h 2325047"/>
              <a:gd name="connsiteX40" fmla="*/ 565150 w 2241550"/>
              <a:gd name="connsiteY40" fmla="*/ 1448747 h 2325047"/>
              <a:gd name="connsiteX41" fmla="*/ 527050 w 2241550"/>
              <a:gd name="connsiteY41" fmla="*/ 1461447 h 2325047"/>
              <a:gd name="connsiteX42" fmla="*/ 508000 w 2241550"/>
              <a:gd name="connsiteY42" fmla="*/ 1467797 h 2325047"/>
              <a:gd name="connsiteX43" fmla="*/ 488950 w 2241550"/>
              <a:gd name="connsiteY43" fmla="*/ 1474147 h 2325047"/>
              <a:gd name="connsiteX44" fmla="*/ 476250 w 2241550"/>
              <a:gd name="connsiteY44" fmla="*/ 1493197 h 2325047"/>
              <a:gd name="connsiteX45" fmla="*/ 463550 w 2241550"/>
              <a:gd name="connsiteY45" fmla="*/ 1543997 h 2325047"/>
              <a:gd name="connsiteX46" fmla="*/ 469900 w 2241550"/>
              <a:gd name="connsiteY46" fmla="*/ 1569397 h 2325047"/>
              <a:gd name="connsiteX47" fmla="*/ 476250 w 2241550"/>
              <a:gd name="connsiteY47" fmla="*/ 1588447 h 2325047"/>
              <a:gd name="connsiteX48" fmla="*/ 488950 w 2241550"/>
              <a:gd name="connsiteY48" fmla="*/ 1639247 h 2325047"/>
              <a:gd name="connsiteX49" fmla="*/ 495300 w 2241550"/>
              <a:gd name="connsiteY49" fmla="*/ 1658297 h 2325047"/>
              <a:gd name="connsiteX50" fmla="*/ 508000 w 2241550"/>
              <a:gd name="connsiteY50" fmla="*/ 1709097 h 2325047"/>
              <a:gd name="connsiteX51" fmla="*/ 514350 w 2241550"/>
              <a:gd name="connsiteY51" fmla="*/ 1728147 h 2325047"/>
              <a:gd name="connsiteX52" fmla="*/ 527050 w 2241550"/>
              <a:gd name="connsiteY52" fmla="*/ 1747197 h 2325047"/>
              <a:gd name="connsiteX53" fmla="*/ 520700 w 2241550"/>
              <a:gd name="connsiteY53" fmla="*/ 1785297 h 2325047"/>
              <a:gd name="connsiteX54" fmla="*/ 514350 w 2241550"/>
              <a:gd name="connsiteY54" fmla="*/ 1804347 h 2325047"/>
              <a:gd name="connsiteX55" fmla="*/ 508000 w 2241550"/>
              <a:gd name="connsiteY55" fmla="*/ 1829747 h 2325047"/>
              <a:gd name="connsiteX56" fmla="*/ 501650 w 2241550"/>
              <a:gd name="connsiteY56" fmla="*/ 2001197 h 2325047"/>
              <a:gd name="connsiteX57" fmla="*/ 488950 w 2241550"/>
              <a:gd name="connsiteY57" fmla="*/ 2020247 h 2325047"/>
              <a:gd name="connsiteX58" fmla="*/ 482600 w 2241550"/>
              <a:gd name="connsiteY58" fmla="*/ 2039297 h 2325047"/>
              <a:gd name="connsiteX59" fmla="*/ 368300 w 2241550"/>
              <a:gd name="connsiteY59" fmla="*/ 2058347 h 2325047"/>
              <a:gd name="connsiteX60" fmla="*/ 349250 w 2241550"/>
              <a:gd name="connsiteY60" fmla="*/ 2064697 h 2325047"/>
              <a:gd name="connsiteX61" fmla="*/ 311150 w 2241550"/>
              <a:gd name="connsiteY61" fmla="*/ 2083747 h 2325047"/>
              <a:gd name="connsiteX62" fmla="*/ 279400 w 2241550"/>
              <a:gd name="connsiteY62" fmla="*/ 2115497 h 2325047"/>
              <a:gd name="connsiteX63" fmla="*/ 298450 w 2241550"/>
              <a:gd name="connsiteY63" fmla="*/ 2134547 h 2325047"/>
              <a:gd name="connsiteX64" fmla="*/ 336550 w 2241550"/>
              <a:gd name="connsiteY64" fmla="*/ 2147247 h 2325047"/>
              <a:gd name="connsiteX65" fmla="*/ 400050 w 2241550"/>
              <a:gd name="connsiteY65" fmla="*/ 2121847 h 2325047"/>
              <a:gd name="connsiteX66" fmla="*/ 419100 w 2241550"/>
              <a:gd name="connsiteY66" fmla="*/ 2134547 h 2325047"/>
              <a:gd name="connsiteX67" fmla="*/ 450850 w 2241550"/>
              <a:gd name="connsiteY67" fmla="*/ 2128197 h 2325047"/>
              <a:gd name="connsiteX68" fmla="*/ 469900 w 2241550"/>
              <a:gd name="connsiteY68" fmla="*/ 2140897 h 2325047"/>
              <a:gd name="connsiteX69" fmla="*/ 495300 w 2241550"/>
              <a:gd name="connsiteY69" fmla="*/ 2229797 h 2325047"/>
              <a:gd name="connsiteX70" fmla="*/ 520700 w 2241550"/>
              <a:gd name="connsiteY70" fmla="*/ 2236147 h 2325047"/>
              <a:gd name="connsiteX71" fmla="*/ 565150 w 2241550"/>
              <a:gd name="connsiteY71" fmla="*/ 2248847 h 2325047"/>
              <a:gd name="connsiteX72" fmla="*/ 558800 w 2241550"/>
              <a:gd name="connsiteY72" fmla="*/ 2274247 h 2325047"/>
              <a:gd name="connsiteX73" fmla="*/ 546100 w 2241550"/>
              <a:gd name="connsiteY73" fmla="*/ 2293297 h 2325047"/>
              <a:gd name="connsiteX74" fmla="*/ 552450 w 2241550"/>
              <a:gd name="connsiteY74" fmla="*/ 2325047 h 2325047"/>
              <a:gd name="connsiteX75" fmla="*/ 603250 w 2241550"/>
              <a:gd name="connsiteY75" fmla="*/ 2299647 h 2325047"/>
              <a:gd name="connsiteX76" fmla="*/ 615950 w 2241550"/>
              <a:gd name="connsiteY76" fmla="*/ 2261547 h 2325047"/>
              <a:gd name="connsiteX77" fmla="*/ 622300 w 2241550"/>
              <a:gd name="connsiteY77" fmla="*/ 2242497 h 2325047"/>
              <a:gd name="connsiteX78" fmla="*/ 635000 w 2241550"/>
              <a:gd name="connsiteY78" fmla="*/ 2223447 h 2325047"/>
              <a:gd name="connsiteX79" fmla="*/ 666750 w 2241550"/>
              <a:gd name="connsiteY79" fmla="*/ 2185347 h 2325047"/>
              <a:gd name="connsiteX80" fmla="*/ 673100 w 2241550"/>
              <a:gd name="connsiteY80" fmla="*/ 2166297 h 2325047"/>
              <a:gd name="connsiteX81" fmla="*/ 679450 w 2241550"/>
              <a:gd name="connsiteY81" fmla="*/ 2109147 h 2325047"/>
              <a:gd name="connsiteX82" fmla="*/ 711200 w 2241550"/>
              <a:gd name="connsiteY82" fmla="*/ 2115497 h 2325047"/>
              <a:gd name="connsiteX83" fmla="*/ 749300 w 2241550"/>
              <a:gd name="connsiteY83" fmla="*/ 2109147 h 2325047"/>
              <a:gd name="connsiteX84" fmla="*/ 774700 w 2241550"/>
              <a:gd name="connsiteY84" fmla="*/ 2115497 h 2325047"/>
              <a:gd name="connsiteX85" fmla="*/ 812800 w 2241550"/>
              <a:gd name="connsiteY85" fmla="*/ 2140897 h 2325047"/>
              <a:gd name="connsiteX86" fmla="*/ 857250 w 2241550"/>
              <a:gd name="connsiteY86" fmla="*/ 2134547 h 2325047"/>
              <a:gd name="connsiteX87" fmla="*/ 876300 w 2241550"/>
              <a:gd name="connsiteY87" fmla="*/ 2128197 h 2325047"/>
              <a:gd name="connsiteX88" fmla="*/ 895350 w 2241550"/>
              <a:gd name="connsiteY88" fmla="*/ 2134547 h 2325047"/>
              <a:gd name="connsiteX89" fmla="*/ 901700 w 2241550"/>
              <a:gd name="connsiteY89" fmla="*/ 2185347 h 2325047"/>
              <a:gd name="connsiteX90" fmla="*/ 920750 w 2241550"/>
              <a:gd name="connsiteY90" fmla="*/ 2204397 h 2325047"/>
              <a:gd name="connsiteX91" fmla="*/ 927100 w 2241550"/>
              <a:gd name="connsiteY91" fmla="*/ 2223447 h 2325047"/>
              <a:gd name="connsiteX92" fmla="*/ 965200 w 2241550"/>
              <a:gd name="connsiteY92" fmla="*/ 2242497 h 2325047"/>
              <a:gd name="connsiteX93" fmla="*/ 1028700 w 2241550"/>
              <a:gd name="connsiteY93" fmla="*/ 2223447 h 2325047"/>
              <a:gd name="connsiteX94" fmla="*/ 1035050 w 2241550"/>
              <a:gd name="connsiteY94" fmla="*/ 2204397 h 2325047"/>
              <a:gd name="connsiteX95" fmla="*/ 1079500 w 2241550"/>
              <a:gd name="connsiteY95" fmla="*/ 2198047 h 2325047"/>
              <a:gd name="connsiteX96" fmla="*/ 1104900 w 2241550"/>
              <a:gd name="connsiteY96" fmla="*/ 2166297 h 2325047"/>
              <a:gd name="connsiteX97" fmla="*/ 1123950 w 2241550"/>
              <a:gd name="connsiteY97" fmla="*/ 2153597 h 2325047"/>
              <a:gd name="connsiteX98" fmla="*/ 1225550 w 2241550"/>
              <a:gd name="connsiteY98" fmla="*/ 2134547 h 2325047"/>
              <a:gd name="connsiteX99" fmla="*/ 1219200 w 2241550"/>
              <a:gd name="connsiteY99" fmla="*/ 2102797 h 2325047"/>
              <a:gd name="connsiteX100" fmla="*/ 1212850 w 2241550"/>
              <a:gd name="connsiteY100" fmla="*/ 2083747 h 2325047"/>
              <a:gd name="connsiteX101" fmla="*/ 1231900 w 2241550"/>
              <a:gd name="connsiteY101" fmla="*/ 2077397 h 2325047"/>
              <a:gd name="connsiteX102" fmla="*/ 1339850 w 2241550"/>
              <a:gd name="connsiteY102" fmla="*/ 2077397 h 2325047"/>
              <a:gd name="connsiteX103" fmla="*/ 1377950 w 2241550"/>
              <a:gd name="connsiteY103" fmla="*/ 2064697 h 2325047"/>
              <a:gd name="connsiteX104" fmla="*/ 1492250 w 2241550"/>
              <a:gd name="connsiteY104" fmla="*/ 2064697 h 2325047"/>
              <a:gd name="connsiteX105" fmla="*/ 1504950 w 2241550"/>
              <a:gd name="connsiteY105" fmla="*/ 2026597 h 2325047"/>
              <a:gd name="connsiteX106" fmla="*/ 1530350 w 2241550"/>
              <a:gd name="connsiteY106" fmla="*/ 1975797 h 2325047"/>
              <a:gd name="connsiteX107" fmla="*/ 1543050 w 2241550"/>
              <a:gd name="connsiteY107" fmla="*/ 1994847 h 2325047"/>
              <a:gd name="connsiteX108" fmla="*/ 1562100 w 2241550"/>
              <a:gd name="connsiteY108" fmla="*/ 2001197 h 2325047"/>
              <a:gd name="connsiteX109" fmla="*/ 1606550 w 2241550"/>
              <a:gd name="connsiteY109" fmla="*/ 2013897 h 2325047"/>
              <a:gd name="connsiteX110" fmla="*/ 1644650 w 2241550"/>
              <a:gd name="connsiteY110" fmla="*/ 2039297 h 2325047"/>
              <a:gd name="connsiteX111" fmla="*/ 1670050 w 2241550"/>
              <a:gd name="connsiteY111" fmla="*/ 2032947 h 2325047"/>
              <a:gd name="connsiteX112" fmla="*/ 1689100 w 2241550"/>
              <a:gd name="connsiteY112" fmla="*/ 2013897 h 2325047"/>
              <a:gd name="connsiteX113" fmla="*/ 1758950 w 2241550"/>
              <a:gd name="connsiteY113" fmla="*/ 2013897 h 2325047"/>
              <a:gd name="connsiteX114" fmla="*/ 1778000 w 2241550"/>
              <a:gd name="connsiteY114" fmla="*/ 2026597 h 2325047"/>
              <a:gd name="connsiteX115" fmla="*/ 1790700 w 2241550"/>
              <a:gd name="connsiteY115" fmla="*/ 2083747 h 2325047"/>
              <a:gd name="connsiteX116" fmla="*/ 1835150 w 2241550"/>
              <a:gd name="connsiteY116" fmla="*/ 2109147 h 2325047"/>
              <a:gd name="connsiteX117" fmla="*/ 1892300 w 2241550"/>
              <a:gd name="connsiteY117" fmla="*/ 2140897 h 2325047"/>
              <a:gd name="connsiteX118" fmla="*/ 1911350 w 2241550"/>
              <a:gd name="connsiteY118" fmla="*/ 2071047 h 2325047"/>
              <a:gd name="connsiteX119" fmla="*/ 1924050 w 2241550"/>
              <a:gd name="connsiteY119" fmla="*/ 2051997 h 2325047"/>
              <a:gd name="connsiteX120" fmla="*/ 1930400 w 2241550"/>
              <a:gd name="connsiteY120" fmla="*/ 2032947 h 2325047"/>
              <a:gd name="connsiteX121" fmla="*/ 1924050 w 2241550"/>
              <a:gd name="connsiteY121" fmla="*/ 1994847 h 2325047"/>
              <a:gd name="connsiteX122" fmla="*/ 1917700 w 2241550"/>
              <a:gd name="connsiteY122" fmla="*/ 1975797 h 2325047"/>
              <a:gd name="connsiteX123" fmla="*/ 1898650 w 2241550"/>
              <a:gd name="connsiteY123" fmla="*/ 1969447 h 2325047"/>
              <a:gd name="connsiteX124" fmla="*/ 1847850 w 2241550"/>
              <a:gd name="connsiteY124" fmla="*/ 1963097 h 2325047"/>
              <a:gd name="connsiteX125" fmla="*/ 1841500 w 2241550"/>
              <a:gd name="connsiteY125" fmla="*/ 1944047 h 2325047"/>
              <a:gd name="connsiteX126" fmla="*/ 1854200 w 2241550"/>
              <a:gd name="connsiteY126" fmla="*/ 1924997 h 2325047"/>
              <a:gd name="connsiteX127" fmla="*/ 1873250 w 2241550"/>
              <a:gd name="connsiteY127" fmla="*/ 1886897 h 2325047"/>
              <a:gd name="connsiteX128" fmla="*/ 1866900 w 2241550"/>
              <a:gd name="connsiteY128" fmla="*/ 1836097 h 2325047"/>
              <a:gd name="connsiteX129" fmla="*/ 1860550 w 2241550"/>
              <a:gd name="connsiteY129" fmla="*/ 1817047 h 2325047"/>
              <a:gd name="connsiteX130" fmla="*/ 1835150 w 2241550"/>
              <a:gd name="connsiteY130" fmla="*/ 1810697 h 2325047"/>
              <a:gd name="connsiteX131" fmla="*/ 1816100 w 2241550"/>
              <a:gd name="connsiteY131" fmla="*/ 1804347 h 2325047"/>
              <a:gd name="connsiteX132" fmla="*/ 1803400 w 2241550"/>
              <a:gd name="connsiteY132" fmla="*/ 1785297 h 2325047"/>
              <a:gd name="connsiteX133" fmla="*/ 1790700 w 2241550"/>
              <a:gd name="connsiteY133" fmla="*/ 1747197 h 2325047"/>
              <a:gd name="connsiteX134" fmla="*/ 1758950 w 2241550"/>
              <a:gd name="connsiteY134" fmla="*/ 1690047 h 2325047"/>
              <a:gd name="connsiteX135" fmla="*/ 1765300 w 2241550"/>
              <a:gd name="connsiteY135" fmla="*/ 1664647 h 2325047"/>
              <a:gd name="connsiteX136" fmla="*/ 1784350 w 2241550"/>
              <a:gd name="connsiteY136" fmla="*/ 1658297 h 2325047"/>
              <a:gd name="connsiteX137" fmla="*/ 1822450 w 2241550"/>
              <a:gd name="connsiteY137" fmla="*/ 1632897 h 2325047"/>
              <a:gd name="connsiteX138" fmla="*/ 1841500 w 2241550"/>
              <a:gd name="connsiteY138" fmla="*/ 1620197 h 2325047"/>
              <a:gd name="connsiteX139" fmla="*/ 1854200 w 2241550"/>
              <a:gd name="connsiteY139" fmla="*/ 1601147 h 2325047"/>
              <a:gd name="connsiteX140" fmla="*/ 1892300 w 2241550"/>
              <a:gd name="connsiteY140" fmla="*/ 1569397 h 2325047"/>
              <a:gd name="connsiteX141" fmla="*/ 1936750 w 2241550"/>
              <a:gd name="connsiteY141" fmla="*/ 1556697 h 2325047"/>
              <a:gd name="connsiteX142" fmla="*/ 1955800 w 2241550"/>
              <a:gd name="connsiteY142" fmla="*/ 1550347 h 2325047"/>
              <a:gd name="connsiteX143" fmla="*/ 2006600 w 2241550"/>
              <a:gd name="connsiteY143" fmla="*/ 1537647 h 2325047"/>
              <a:gd name="connsiteX144" fmla="*/ 2025650 w 2241550"/>
              <a:gd name="connsiteY144" fmla="*/ 1524947 h 2325047"/>
              <a:gd name="connsiteX145" fmla="*/ 2038350 w 2241550"/>
              <a:gd name="connsiteY145" fmla="*/ 1480497 h 2325047"/>
              <a:gd name="connsiteX146" fmla="*/ 2057400 w 2241550"/>
              <a:gd name="connsiteY146" fmla="*/ 1467797 h 2325047"/>
              <a:gd name="connsiteX147" fmla="*/ 2070100 w 2241550"/>
              <a:gd name="connsiteY147" fmla="*/ 1404297 h 2325047"/>
              <a:gd name="connsiteX148" fmla="*/ 2076450 w 2241550"/>
              <a:gd name="connsiteY148" fmla="*/ 1378897 h 2325047"/>
              <a:gd name="connsiteX149" fmla="*/ 2089150 w 2241550"/>
              <a:gd name="connsiteY149" fmla="*/ 1359847 h 2325047"/>
              <a:gd name="connsiteX150" fmla="*/ 2171700 w 2241550"/>
              <a:gd name="connsiteY150" fmla="*/ 1378897 h 2325047"/>
              <a:gd name="connsiteX151" fmla="*/ 2190750 w 2241550"/>
              <a:gd name="connsiteY151" fmla="*/ 1385247 h 2325047"/>
              <a:gd name="connsiteX152" fmla="*/ 2228850 w 2241550"/>
              <a:gd name="connsiteY152" fmla="*/ 1366197 h 2325047"/>
              <a:gd name="connsiteX153" fmla="*/ 2235200 w 2241550"/>
              <a:gd name="connsiteY153" fmla="*/ 1340797 h 2325047"/>
              <a:gd name="connsiteX154" fmla="*/ 2241550 w 2241550"/>
              <a:gd name="connsiteY154" fmla="*/ 1296347 h 2325047"/>
              <a:gd name="connsiteX155" fmla="*/ 2235200 w 2241550"/>
              <a:gd name="connsiteY155" fmla="*/ 1245547 h 2325047"/>
              <a:gd name="connsiteX156" fmla="*/ 2228850 w 2241550"/>
              <a:gd name="connsiteY156" fmla="*/ 1226497 h 2325047"/>
              <a:gd name="connsiteX157" fmla="*/ 2222500 w 2241550"/>
              <a:gd name="connsiteY157" fmla="*/ 1162997 h 2325047"/>
              <a:gd name="connsiteX158" fmla="*/ 2184400 w 2241550"/>
              <a:gd name="connsiteY158" fmla="*/ 1143947 h 2325047"/>
              <a:gd name="connsiteX159" fmla="*/ 2152650 w 2241550"/>
              <a:gd name="connsiteY159" fmla="*/ 1112197 h 2325047"/>
              <a:gd name="connsiteX160" fmla="*/ 2139950 w 2241550"/>
              <a:gd name="connsiteY160" fmla="*/ 1086797 h 2325047"/>
              <a:gd name="connsiteX161" fmla="*/ 2120900 w 2241550"/>
              <a:gd name="connsiteY161" fmla="*/ 1080447 h 2325047"/>
              <a:gd name="connsiteX162" fmla="*/ 2057400 w 2241550"/>
              <a:gd name="connsiteY162" fmla="*/ 1074097 h 2325047"/>
              <a:gd name="connsiteX163" fmla="*/ 2038350 w 2241550"/>
              <a:gd name="connsiteY163" fmla="*/ 1067747 h 2325047"/>
              <a:gd name="connsiteX164" fmla="*/ 2012950 w 2241550"/>
              <a:gd name="connsiteY164" fmla="*/ 1010597 h 2325047"/>
              <a:gd name="connsiteX165" fmla="*/ 1955800 w 2241550"/>
              <a:gd name="connsiteY165" fmla="*/ 978847 h 2325047"/>
              <a:gd name="connsiteX166" fmla="*/ 1917700 w 2241550"/>
              <a:gd name="connsiteY166" fmla="*/ 953447 h 2325047"/>
              <a:gd name="connsiteX167" fmla="*/ 1885950 w 2241550"/>
              <a:gd name="connsiteY167" fmla="*/ 896297 h 2325047"/>
              <a:gd name="connsiteX168" fmla="*/ 1847850 w 2241550"/>
              <a:gd name="connsiteY168" fmla="*/ 870897 h 2325047"/>
              <a:gd name="connsiteX169" fmla="*/ 1828800 w 2241550"/>
              <a:gd name="connsiteY169" fmla="*/ 858197 h 2325047"/>
              <a:gd name="connsiteX170" fmla="*/ 1816100 w 2241550"/>
              <a:gd name="connsiteY170" fmla="*/ 839147 h 2325047"/>
              <a:gd name="connsiteX171" fmla="*/ 1739900 w 2241550"/>
              <a:gd name="connsiteY171" fmla="*/ 813747 h 2325047"/>
              <a:gd name="connsiteX172" fmla="*/ 1708150 w 2241550"/>
              <a:gd name="connsiteY172" fmla="*/ 781997 h 2325047"/>
              <a:gd name="connsiteX173" fmla="*/ 1689100 w 2241550"/>
              <a:gd name="connsiteY173" fmla="*/ 769297 h 2325047"/>
              <a:gd name="connsiteX174" fmla="*/ 1670050 w 2241550"/>
              <a:gd name="connsiteY174" fmla="*/ 731197 h 2325047"/>
              <a:gd name="connsiteX175" fmla="*/ 1663700 w 2241550"/>
              <a:gd name="connsiteY175" fmla="*/ 699447 h 2325047"/>
              <a:gd name="connsiteX176" fmla="*/ 1644650 w 2241550"/>
              <a:gd name="connsiteY176" fmla="*/ 680397 h 2325047"/>
              <a:gd name="connsiteX177" fmla="*/ 1625600 w 2241550"/>
              <a:gd name="connsiteY177" fmla="*/ 642297 h 2325047"/>
              <a:gd name="connsiteX178" fmla="*/ 1619250 w 2241550"/>
              <a:gd name="connsiteY178" fmla="*/ 623247 h 2325047"/>
              <a:gd name="connsiteX179" fmla="*/ 1593850 w 2241550"/>
              <a:gd name="connsiteY179" fmla="*/ 585147 h 2325047"/>
              <a:gd name="connsiteX180" fmla="*/ 1555750 w 2241550"/>
              <a:gd name="connsiteY180" fmla="*/ 547047 h 2325047"/>
              <a:gd name="connsiteX181" fmla="*/ 1562100 w 2241550"/>
              <a:gd name="connsiteY181" fmla="*/ 515297 h 2325047"/>
              <a:gd name="connsiteX182" fmla="*/ 1593850 w 2241550"/>
              <a:gd name="connsiteY182" fmla="*/ 477197 h 2325047"/>
              <a:gd name="connsiteX183" fmla="*/ 1574800 w 2241550"/>
              <a:gd name="connsiteY183" fmla="*/ 400997 h 2325047"/>
              <a:gd name="connsiteX184" fmla="*/ 1555750 w 2241550"/>
              <a:gd name="connsiteY184" fmla="*/ 362897 h 2325047"/>
              <a:gd name="connsiteX185" fmla="*/ 1536700 w 2241550"/>
              <a:gd name="connsiteY185" fmla="*/ 356547 h 2325047"/>
              <a:gd name="connsiteX186" fmla="*/ 1517650 w 2241550"/>
              <a:gd name="connsiteY186" fmla="*/ 343847 h 2325047"/>
              <a:gd name="connsiteX187" fmla="*/ 1498600 w 2241550"/>
              <a:gd name="connsiteY187" fmla="*/ 337497 h 2325047"/>
              <a:gd name="connsiteX188" fmla="*/ 1485900 w 2241550"/>
              <a:gd name="connsiteY188" fmla="*/ 318447 h 2325047"/>
              <a:gd name="connsiteX189" fmla="*/ 1466850 w 2241550"/>
              <a:gd name="connsiteY189" fmla="*/ 299397 h 2325047"/>
              <a:gd name="connsiteX190" fmla="*/ 1460500 w 2241550"/>
              <a:gd name="connsiteY190" fmla="*/ 273997 h 2325047"/>
              <a:gd name="connsiteX191" fmla="*/ 1454150 w 2241550"/>
              <a:gd name="connsiteY191" fmla="*/ 242247 h 2325047"/>
              <a:gd name="connsiteX192" fmla="*/ 1447800 w 2241550"/>
              <a:gd name="connsiteY192" fmla="*/ 223197 h 2325047"/>
              <a:gd name="connsiteX193" fmla="*/ 1416050 w 2241550"/>
              <a:gd name="connsiteY193" fmla="*/ 185097 h 2325047"/>
              <a:gd name="connsiteX194" fmla="*/ 1384300 w 2241550"/>
              <a:gd name="connsiteY194" fmla="*/ 134297 h 2325047"/>
              <a:gd name="connsiteX195" fmla="*/ 1365250 w 2241550"/>
              <a:gd name="connsiteY195" fmla="*/ 127947 h 2325047"/>
              <a:gd name="connsiteX196" fmla="*/ 1358900 w 2241550"/>
              <a:gd name="connsiteY196" fmla="*/ 108897 h 2325047"/>
              <a:gd name="connsiteX197" fmla="*/ 1339850 w 2241550"/>
              <a:gd name="connsiteY197" fmla="*/ 96197 h 2325047"/>
              <a:gd name="connsiteX198" fmla="*/ 1327150 w 2241550"/>
              <a:gd name="connsiteY198" fmla="*/ 77147 h 2325047"/>
              <a:gd name="connsiteX199" fmla="*/ 1308100 w 2241550"/>
              <a:gd name="connsiteY199" fmla="*/ 83497 h 2325047"/>
              <a:gd name="connsiteX200" fmla="*/ 1301750 w 2241550"/>
              <a:gd name="connsiteY200" fmla="*/ 102547 h 2325047"/>
              <a:gd name="connsiteX201" fmla="*/ 1263650 w 2241550"/>
              <a:gd name="connsiteY201" fmla="*/ 115247 h 2325047"/>
              <a:gd name="connsiteX202" fmla="*/ 1231900 w 2241550"/>
              <a:gd name="connsiteY202" fmla="*/ 108897 h 2325047"/>
              <a:gd name="connsiteX203" fmla="*/ 1168400 w 2241550"/>
              <a:gd name="connsiteY203" fmla="*/ 115247 h 2325047"/>
              <a:gd name="connsiteX204" fmla="*/ 1149350 w 2241550"/>
              <a:gd name="connsiteY204" fmla="*/ 102547 h 2325047"/>
              <a:gd name="connsiteX205" fmla="*/ 1130300 w 2241550"/>
              <a:gd name="connsiteY205" fmla="*/ 96197 h 2325047"/>
              <a:gd name="connsiteX206" fmla="*/ 1098550 w 2241550"/>
              <a:gd name="connsiteY206" fmla="*/ 58097 h 2325047"/>
              <a:gd name="connsiteX207" fmla="*/ 1073150 w 2241550"/>
              <a:gd name="connsiteY207" fmla="*/ 13647 h 2325047"/>
              <a:gd name="connsiteX208" fmla="*/ 1028700 w 2241550"/>
              <a:gd name="connsiteY208" fmla="*/ 45397 h 2325047"/>
              <a:gd name="connsiteX209" fmla="*/ 1016000 w 2241550"/>
              <a:gd name="connsiteY209" fmla="*/ 64447 h 2325047"/>
              <a:gd name="connsiteX210" fmla="*/ 1035050 w 2241550"/>
              <a:gd name="connsiteY210" fmla="*/ 102547 h 2325047"/>
              <a:gd name="connsiteX211" fmla="*/ 1041400 w 2241550"/>
              <a:gd name="connsiteY211" fmla="*/ 121597 h 2325047"/>
              <a:gd name="connsiteX212" fmla="*/ 1035050 w 2241550"/>
              <a:gd name="connsiteY212" fmla="*/ 166047 h 2325047"/>
              <a:gd name="connsiteX213" fmla="*/ 996950 w 2241550"/>
              <a:gd name="connsiteY213" fmla="*/ 191447 h 2325047"/>
              <a:gd name="connsiteX214" fmla="*/ 952500 w 2241550"/>
              <a:gd name="connsiteY214" fmla="*/ 146997 h 2325047"/>
              <a:gd name="connsiteX215" fmla="*/ 901700 w 2241550"/>
              <a:gd name="connsiteY215" fmla="*/ 140647 h 2325047"/>
              <a:gd name="connsiteX216" fmla="*/ 882650 w 2241550"/>
              <a:gd name="connsiteY216" fmla="*/ 127947 h 2325047"/>
              <a:gd name="connsiteX217" fmla="*/ 806450 w 2241550"/>
              <a:gd name="connsiteY217" fmla="*/ 127947 h 2325047"/>
              <a:gd name="connsiteX218" fmla="*/ 793750 w 2241550"/>
              <a:gd name="connsiteY218" fmla="*/ 153347 h 2325047"/>
              <a:gd name="connsiteX219" fmla="*/ 831850 w 2241550"/>
              <a:gd name="connsiteY219" fmla="*/ 178747 h 2325047"/>
              <a:gd name="connsiteX220" fmla="*/ 844550 w 2241550"/>
              <a:gd name="connsiteY220" fmla="*/ 197797 h 2325047"/>
              <a:gd name="connsiteX221" fmla="*/ 806450 w 2241550"/>
              <a:gd name="connsiteY221" fmla="*/ 223197 h 2325047"/>
              <a:gd name="connsiteX222" fmla="*/ 774700 w 2241550"/>
              <a:gd name="connsiteY222" fmla="*/ 254947 h 2325047"/>
              <a:gd name="connsiteX223" fmla="*/ 742950 w 2241550"/>
              <a:gd name="connsiteY223" fmla="*/ 248597 h 2325047"/>
              <a:gd name="connsiteX224" fmla="*/ 723900 w 2241550"/>
              <a:gd name="connsiteY224" fmla="*/ 229547 h 2325047"/>
              <a:gd name="connsiteX225" fmla="*/ 730250 w 2241550"/>
              <a:gd name="connsiteY225" fmla="*/ 210497 h 2325047"/>
              <a:gd name="connsiteX226" fmla="*/ 711200 w 2241550"/>
              <a:gd name="connsiteY226" fmla="*/ 166047 h 2325047"/>
              <a:gd name="connsiteX227" fmla="*/ 692150 w 2241550"/>
              <a:gd name="connsiteY227" fmla="*/ 159697 h 2325047"/>
              <a:gd name="connsiteX228" fmla="*/ 654050 w 2241550"/>
              <a:gd name="connsiteY228" fmla="*/ 127947 h 2325047"/>
              <a:gd name="connsiteX229" fmla="*/ 628650 w 2241550"/>
              <a:gd name="connsiteY229" fmla="*/ 89847 h 2325047"/>
              <a:gd name="connsiteX230" fmla="*/ 590550 w 2241550"/>
              <a:gd name="connsiteY230" fmla="*/ 64447 h 2325047"/>
              <a:gd name="connsiteX231" fmla="*/ 571500 w 2241550"/>
              <a:gd name="connsiteY231" fmla="*/ 51747 h 2325047"/>
              <a:gd name="connsiteX232" fmla="*/ 552450 w 2241550"/>
              <a:gd name="connsiteY232" fmla="*/ 32697 h 2325047"/>
              <a:gd name="connsiteX233" fmla="*/ 520700 w 2241550"/>
              <a:gd name="connsiteY233" fmla="*/ 947 h 2325047"/>
              <a:gd name="connsiteX234" fmla="*/ 501650 w 2241550"/>
              <a:gd name="connsiteY234" fmla="*/ 7297 h 2325047"/>
              <a:gd name="connsiteX235" fmla="*/ 488950 w 2241550"/>
              <a:gd name="connsiteY235" fmla="*/ 26347 h 2325047"/>
              <a:gd name="connsiteX236" fmla="*/ 469900 w 2241550"/>
              <a:gd name="connsiteY236" fmla="*/ 39047 h 2325047"/>
              <a:gd name="connsiteX237" fmla="*/ 463550 w 2241550"/>
              <a:gd name="connsiteY237" fmla="*/ 77147 h 2325047"/>
              <a:gd name="connsiteX238" fmla="*/ 444500 w 2241550"/>
              <a:gd name="connsiteY238" fmla="*/ 89847 h 2325047"/>
              <a:gd name="connsiteX239" fmla="*/ 374650 w 2241550"/>
              <a:gd name="connsiteY239" fmla="*/ 108897 h 2325047"/>
              <a:gd name="connsiteX240" fmla="*/ 355600 w 2241550"/>
              <a:gd name="connsiteY240" fmla="*/ 121597 h 2325047"/>
              <a:gd name="connsiteX241" fmla="*/ 342900 w 2241550"/>
              <a:gd name="connsiteY241" fmla="*/ 159697 h 2325047"/>
              <a:gd name="connsiteX242" fmla="*/ 336550 w 2241550"/>
              <a:gd name="connsiteY242" fmla="*/ 178747 h 2325047"/>
              <a:gd name="connsiteX243" fmla="*/ 317500 w 2241550"/>
              <a:gd name="connsiteY243" fmla="*/ 185097 h 2325047"/>
              <a:gd name="connsiteX244" fmla="*/ 292100 w 2241550"/>
              <a:gd name="connsiteY244" fmla="*/ 216847 h 2325047"/>
              <a:gd name="connsiteX245" fmla="*/ 241300 w 2241550"/>
              <a:gd name="connsiteY245" fmla="*/ 242247 h 2325047"/>
              <a:gd name="connsiteX246" fmla="*/ 234950 w 2241550"/>
              <a:gd name="connsiteY246" fmla="*/ 305747 h 2325047"/>
              <a:gd name="connsiteX247" fmla="*/ 222250 w 2241550"/>
              <a:gd name="connsiteY247" fmla="*/ 324797 h 2325047"/>
              <a:gd name="connsiteX248" fmla="*/ 184150 w 2241550"/>
              <a:gd name="connsiteY248" fmla="*/ 318447 h 2325047"/>
              <a:gd name="connsiteX249" fmla="*/ 139700 w 2241550"/>
              <a:gd name="connsiteY249" fmla="*/ 305747 h 2325047"/>
              <a:gd name="connsiteX250" fmla="*/ 95250 w 2241550"/>
              <a:gd name="connsiteY250" fmla="*/ 299397 h 2325047"/>
              <a:gd name="connsiteX251" fmla="*/ 38100 w 2241550"/>
              <a:gd name="connsiteY251" fmla="*/ 305747 h 2325047"/>
              <a:gd name="connsiteX252" fmla="*/ 19050 w 2241550"/>
              <a:gd name="connsiteY252" fmla="*/ 312097 h 2325047"/>
              <a:gd name="connsiteX253" fmla="*/ 0 w 2241550"/>
              <a:gd name="connsiteY253" fmla="*/ 331147 h 2325047"/>
              <a:gd name="connsiteX254" fmla="*/ 6350 w 2241550"/>
              <a:gd name="connsiteY254" fmla="*/ 356547 h 2325047"/>
              <a:gd name="connsiteX255" fmla="*/ 19050 w 2241550"/>
              <a:gd name="connsiteY255" fmla="*/ 375597 h 2325047"/>
              <a:gd name="connsiteX256" fmla="*/ 6350 w 2241550"/>
              <a:gd name="connsiteY256" fmla="*/ 426397 h 2325047"/>
              <a:gd name="connsiteX257" fmla="*/ 19050 w 2241550"/>
              <a:gd name="connsiteY257" fmla="*/ 489897 h 2325047"/>
              <a:gd name="connsiteX258" fmla="*/ 50800 w 2241550"/>
              <a:gd name="connsiteY258" fmla="*/ 527997 h 2325047"/>
              <a:gd name="connsiteX259" fmla="*/ 63500 w 2241550"/>
              <a:gd name="connsiteY259" fmla="*/ 547047 h 2325047"/>
              <a:gd name="connsiteX260" fmla="*/ 57150 w 2241550"/>
              <a:gd name="connsiteY260" fmla="*/ 623247 h 2325047"/>
              <a:gd name="connsiteX261" fmla="*/ 44450 w 2241550"/>
              <a:gd name="connsiteY261" fmla="*/ 674047 h 232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2241550" h="2325047">
                <a:moveTo>
                  <a:pt x="44450" y="674047"/>
                </a:moveTo>
                <a:cubicBezTo>
                  <a:pt x="55033" y="681455"/>
                  <a:pt x="96861" y="676847"/>
                  <a:pt x="120650" y="667697"/>
                </a:cubicBezTo>
                <a:cubicBezTo>
                  <a:pt x="128796" y="664564"/>
                  <a:pt x="121548" y="649112"/>
                  <a:pt x="127000" y="642297"/>
                </a:cubicBezTo>
                <a:cubicBezTo>
                  <a:pt x="131181" y="637070"/>
                  <a:pt x="139700" y="638064"/>
                  <a:pt x="146050" y="635947"/>
                </a:cubicBezTo>
                <a:cubicBezTo>
                  <a:pt x="154517" y="638064"/>
                  <a:pt x="163347" y="645538"/>
                  <a:pt x="171450" y="642297"/>
                </a:cubicBezTo>
                <a:cubicBezTo>
                  <a:pt x="177665" y="639811"/>
                  <a:pt x="178900" y="629849"/>
                  <a:pt x="177800" y="623247"/>
                </a:cubicBezTo>
                <a:cubicBezTo>
                  <a:pt x="176545" y="615719"/>
                  <a:pt x="168513" y="611023"/>
                  <a:pt x="165100" y="604197"/>
                </a:cubicBezTo>
                <a:cubicBezTo>
                  <a:pt x="146720" y="567438"/>
                  <a:pt x="175812" y="602209"/>
                  <a:pt x="139700" y="566097"/>
                </a:cubicBezTo>
                <a:cubicBezTo>
                  <a:pt x="155254" y="555728"/>
                  <a:pt x="163648" y="547047"/>
                  <a:pt x="184150" y="547047"/>
                </a:cubicBezTo>
                <a:cubicBezTo>
                  <a:pt x="190843" y="547047"/>
                  <a:pt x="196850" y="551280"/>
                  <a:pt x="203200" y="553397"/>
                </a:cubicBezTo>
                <a:cubicBezTo>
                  <a:pt x="209550" y="557630"/>
                  <a:pt x="214618" y="566097"/>
                  <a:pt x="222250" y="566097"/>
                </a:cubicBezTo>
                <a:cubicBezTo>
                  <a:pt x="229882" y="566097"/>
                  <a:pt x="234060" y="555810"/>
                  <a:pt x="241300" y="553397"/>
                </a:cubicBezTo>
                <a:cubicBezTo>
                  <a:pt x="253514" y="549326"/>
                  <a:pt x="266700" y="549164"/>
                  <a:pt x="279400" y="547047"/>
                </a:cubicBezTo>
                <a:cubicBezTo>
                  <a:pt x="283633" y="553397"/>
                  <a:pt x="289687" y="558857"/>
                  <a:pt x="292100" y="566097"/>
                </a:cubicBezTo>
                <a:cubicBezTo>
                  <a:pt x="296171" y="578311"/>
                  <a:pt x="287973" y="596713"/>
                  <a:pt x="298450" y="604197"/>
                </a:cubicBezTo>
                <a:cubicBezTo>
                  <a:pt x="302487" y="607080"/>
                  <a:pt x="352984" y="593739"/>
                  <a:pt x="361950" y="591497"/>
                </a:cubicBezTo>
                <a:cubicBezTo>
                  <a:pt x="368300" y="593614"/>
                  <a:pt x="377109" y="592400"/>
                  <a:pt x="381000" y="597847"/>
                </a:cubicBezTo>
                <a:cubicBezTo>
                  <a:pt x="388781" y="608740"/>
                  <a:pt x="389467" y="623247"/>
                  <a:pt x="393700" y="635947"/>
                </a:cubicBezTo>
                <a:cubicBezTo>
                  <a:pt x="396113" y="643187"/>
                  <a:pt x="402167" y="648647"/>
                  <a:pt x="406400" y="654997"/>
                </a:cubicBezTo>
                <a:cubicBezTo>
                  <a:pt x="408517" y="671930"/>
                  <a:pt x="409945" y="688964"/>
                  <a:pt x="412750" y="705797"/>
                </a:cubicBezTo>
                <a:cubicBezTo>
                  <a:pt x="415665" y="723285"/>
                  <a:pt x="418882" y="737329"/>
                  <a:pt x="431800" y="750247"/>
                </a:cubicBezTo>
                <a:cubicBezTo>
                  <a:pt x="437196" y="755643"/>
                  <a:pt x="444500" y="758714"/>
                  <a:pt x="450850" y="762947"/>
                </a:cubicBezTo>
                <a:cubicBezTo>
                  <a:pt x="494519" y="733834"/>
                  <a:pt x="474470" y="732720"/>
                  <a:pt x="508000" y="743897"/>
                </a:cubicBezTo>
                <a:cubicBezTo>
                  <a:pt x="534351" y="849299"/>
                  <a:pt x="511644" y="744526"/>
                  <a:pt x="527050" y="921697"/>
                </a:cubicBezTo>
                <a:cubicBezTo>
                  <a:pt x="528727" y="940977"/>
                  <a:pt x="551351" y="967673"/>
                  <a:pt x="558800" y="978847"/>
                </a:cubicBezTo>
                <a:cubicBezTo>
                  <a:pt x="595196" y="1033442"/>
                  <a:pt x="551560" y="964367"/>
                  <a:pt x="577850" y="1016947"/>
                </a:cubicBezTo>
                <a:cubicBezTo>
                  <a:pt x="609736" y="1080720"/>
                  <a:pt x="569852" y="983469"/>
                  <a:pt x="603250" y="1061397"/>
                </a:cubicBezTo>
                <a:cubicBezTo>
                  <a:pt x="610997" y="1079473"/>
                  <a:pt x="607046" y="1084243"/>
                  <a:pt x="622300" y="1099497"/>
                </a:cubicBezTo>
                <a:cubicBezTo>
                  <a:pt x="627696" y="1104893"/>
                  <a:pt x="635000" y="1107964"/>
                  <a:pt x="641350" y="1112197"/>
                </a:cubicBezTo>
                <a:cubicBezTo>
                  <a:pt x="645583" y="1118547"/>
                  <a:pt x="650637" y="1124421"/>
                  <a:pt x="654050" y="1131247"/>
                </a:cubicBezTo>
                <a:cubicBezTo>
                  <a:pt x="664805" y="1152758"/>
                  <a:pt x="664403" y="1188668"/>
                  <a:pt x="666750" y="1207447"/>
                </a:cubicBezTo>
                <a:cubicBezTo>
                  <a:pt x="668606" y="1222299"/>
                  <a:pt x="669735" y="1237313"/>
                  <a:pt x="673100" y="1251897"/>
                </a:cubicBezTo>
                <a:cubicBezTo>
                  <a:pt x="681101" y="1286569"/>
                  <a:pt x="682429" y="1284940"/>
                  <a:pt x="698500" y="1309047"/>
                </a:cubicBezTo>
                <a:cubicBezTo>
                  <a:pt x="692150" y="1313280"/>
                  <a:pt x="686424" y="1318647"/>
                  <a:pt x="679450" y="1321747"/>
                </a:cubicBezTo>
                <a:cubicBezTo>
                  <a:pt x="667217" y="1327184"/>
                  <a:pt x="641350" y="1334447"/>
                  <a:pt x="641350" y="1334447"/>
                </a:cubicBezTo>
                <a:cubicBezTo>
                  <a:pt x="620429" y="1320500"/>
                  <a:pt x="614911" y="1310548"/>
                  <a:pt x="584200" y="1328097"/>
                </a:cubicBezTo>
                <a:cubicBezTo>
                  <a:pt x="578388" y="1331418"/>
                  <a:pt x="579967" y="1340797"/>
                  <a:pt x="577850" y="1347147"/>
                </a:cubicBezTo>
                <a:lnTo>
                  <a:pt x="596900" y="1404297"/>
                </a:lnTo>
                <a:lnTo>
                  <a:pt x="603250" y="1423347"/>
                </a:lnTo>
                <a:cubicBezTo>
                  <a:pt x="599017" y="1429697"/>
                  <a:pt x="596900" y="1438164"/>
                  <a:pt x="590550" y="1442397"/>
                </a:cubicBezTo>
                <a:cubicBezTo>
                  <a:pt x="583288" y="1447238"/>
                  <a:pt x="573509" y="1446239"/>
                  <a:pt x="565150" y="1448747"/>
                </a:cubicBezTo>
                <a:cubicBezTo>
                  <a:pt x="552328" y="1452594"/>
                  <a:pt x="539750" y="1457214"/>
                  <a:pt x="527050" y="1461447"/>
                </a:cubicBezTo>
                <a:lnTo>
                  <a:pt x="508000" y="1467797"/>
                </a:lnTo>
                <a:lnTo>
                  <a:pt x="488950" y="1474147"/>
                </a:lnTo>
                <a:cubicBezTo>
                  <a:pt x="484717" y="1480497"/>
                  <a:pt x="479663" y="1486371"/>
                  <a:pt x="476250" y="1493197"/>
                </a:cubicBezTo>
                <a:cubicBezTo>
                  <a:pt x="469741" y="1506214"/>
                  <a:pt x="465965" y="1531921"/>
                  <a:pt x="463550" y="1543997"/>
                </a:cubicBezTo>
                <a:cubicBezTo>
                  <a:pt x="465667" y="1552464"/>
                  <a:pt x="467502" y="1561006"/>
                  <a:pt x="469900" y="1569397"/>
                </a:cubicBezTo>
                <a:cubicBezTo>
                  <a:pt x="471739" y="1575833"/>
                  <a:pt x="474489" y="1581989"/>
                  <a:pt x="476250" y="1588447"/>
                </a:cubicBezTo>
                <a:cubicBezTo>
                  <a:pt x="480843" y="1605286"/>
                  <a:pt x="483430" y="1622688"/>
                  <a:pt x="488950" y="1639247"/>
                </a:cubicBezTo>
                <a:cubicBezTo>
                  <a:pt x="491067" y="1645597"/>
                  <a:pt x="493539" y="1651839"/>
                  <a:pt x="495300" y="1658297"/>
                </a:cubicBezTo>
                <a:cubicBezTo>
                  <a:pt x="499893" y="1675136"/>
                  <a:pt x="502480" y="1692538"/>
                  <a:pt x="508000" y="1709097"/>
                </a:cubicBezTo>
                <a:cubicBezTo>
                  <a:pt x="510117" y="1715447"/>
                  <a:pt x="511357" y="1722160"/>
                  <a:pt x="514350" y="1728147"/>
                </a:cubicBezTo>
                <a:cubicBezTo>
                  <a:pt x="517763" y="1734973"/>
                  <a:pt x="522817" y="1740847"/>
                  <a:pt x="527050" y="1747197"/>
                </a:cubicBezTo>
                <a:cubicBezTo>
                  <a:pt x="524933" y="1759897"/>
                  <a:pt x="523493" y="1772728"/>
                  <a:pt x="520700" y="1785297"/>
                </a:cubicBezTo>
                <a:cubicBezTo>
                  <a:pt x="519248" y="1791831"/>
                  <a:pt x="516189" y="1797911"/>
                  <a:pt x="514350" y="1804347"/>
                </a:cubicBezTo>
                <a:cubicBezTo>
                  <a:pt x="511952" y="1812738"/>
                  <a:pt x="510117" y="1821280"/>
                  <a:pt x="508000" y="1829747"/>
                </a:cubicBezTo>
                <a:cubicBezTo>
                  <a:pt x="505883" y="1886897"/>
                  <a:pt x="507341" y="1944292"/>
                  <a:pt x="501650" y="2001197"/>
                </a:cubicBezTo>
                <a:cubicBezTo>
                  <a:pt x="500891" y="2008791"/>
                  <a:pt x="492363" y="2013421"/>
                  <a:pt x="488950" y="2020247"/>
                </a:cubicBezTo>
                <a:cubicBezTo>
                  <a:pt x="485957" y="2026234"/>
                  <a:pt x="488047" y="2035406"/>
                  <a:pt x="482600" y="2039297"/>
                </a:cubicBezTo>
                <a:cubicBezTo>
                  <a:pt x="457923" y="2056923"/>
                  <a:pt x="386247" y="2056851"/>
                  <a:pt x="368300" y="2058347"/>
                </a:cubicBezTo>
                <a:cubicBezTo>
                  <a:pt x="361950" y="2060464"/>
                  <a:pt x="355237" y="2061704"/>
                  <a:pt x="349250" y="2064697"/>
                </a:cubicBezTo>
                <a:cubicBezTo>
                  <a:pt x="300011" y="2089316"/>
                  <a:pt x="359033" y="2067786"/>
                  <a:pt x="311150" y="2083747"/>
                </a:cubicBezTo>
                <a:cubicBezTo>
                  <a:pt x="304800" y="2087980"/>
                  <a:pt x="277283" y="2102797"/>
                  <a:pt x="279400" y="2115497"/>
                </a:cubicBezTo>
                <a:cubicBezTo>
                  <a:pt x="280876" y="2124355"/>
                  <a:pt x="290600" y="2130186"/>
                  <a:pt x="298450" y="2134547"/>
                </a:cubicBezTo>
                <a:cubicBezTo>
                  <a:pt x="310152" y="2141048"/>
                  <a:pt x="336550" y="2147247"/>
                  <a:pt x="336550" y="2147247"/>
                </a:cubicBezTo>
                <a:cubicBezTo>
                  <a:pt x="377767" y="2106030"/>
                  <a:pt x="360470" y="2099230"/>
                  <a:pt x="400050" y="2121847"/>
                </a:cubicBezTo>
                <a:cubicBezTo>
                  <a:pt x="406676" y="2125633"/>
                  <a:pt x="412750" y="2130314"/>
                  <a:pt x="419100" y="2134547"/>
                </a:cubicBezTo>
                <a:cubicBezTo>
                  <a:pt x="429683" y="2132430"/>
                  <a:pt x="440140" y="2126858"/>
                  <a:pt x="450850" y="2128197"/>
                </a:cubicBezTo>
                <a:cubicBezTo>
                  <a:pt x="458423" y="2129144"/>
                  <a:pt x="465855" y="2134425"/>
                  <a:pt x="469900" y="2140897"/>
                </a:cubicBezTo>
                <a:cubicBezTo>
                  <a:pt x="477491" y="2153043"/>
                  <a:pt x="493211" y="2221439"/>
                  <a:pt x="495300" y="2229797"/>
                </a:cubicBezTo>
                <a:cubicBezTo>
                  <a:pt x="497417" y="2238264"/>
                  <a:pt x="512233" y="2234030"/>
                  <a:pt x="520700" y="2236147"/>
                </a:cubicBezTo>
                <a:cubicBezTo>
                  <a:pt x="567079" y="2220687"/>
                  <a:pt x="555553" y="2210460"/>
                  <a:pt x="565150" y="2248847"/>
                </a:cubicBezTo>
                <a:cubicBezTo>
                  <a:pt x="563033" y="2257314"/>
                  <a:pt x="562238" y="2266225"/>
                  <a:pt x="558800" y="2274247"/>
                </a:cubicBezTo>
                <a:cubicBezTo>
                  <a:pt x="555794" y="2281262"/>
                  <a:pt x="547047" y="2285724"/>
                  <a:pt x="546100" y="2293297"/>
                </a:cubicBezTo>
                <a:cubicBezTo>
                  <a:pt x="544761" y="2304007"/>
                  <a:pt x="550333" y="2314464"/>
                  <a:pt x="552450" y="2325047"/>
                </a:cubicBezTo>
                <a:cubicBezTo>
                  <a:pt x="576972" y="2320143"/>
                  <a:pt x="589909" y="2323661"/>
                  <a:pt x="603250" y="2299647"/>
                </a:cubicBezTo>
                <a:cubicBezTo>
                  <a:pt x="609751" y="2287945"/>
                  <a:pt x="611717" y="2274247"/>
                  <a:pt x="615950" y="2261547"/>
                </a:cubicBezTo>
                <a:cubicBezTo>
                  <a:pt x="618067" y="2255197"/>
                  <a:pt x="618587" y="2248066"/>
                  <a:pt x="622300" y="2242497"/>
                </a:cubicBezTo>
                <a:cubicBezTo>
                  <a:pt x="626533" y="2236147"/>
                  <a:pt x="630114" y="2229310"/>
                  <a:pt x="635000" y="2223447"/>
                </a:cubicBezTo>
                <a:cubicBezTo>
                  <a:pt x="652555" y="2202381"/>
                  <a:pt x="654926" y="2208996"/>
                  <a:pt x="666750" y="2185347"/>
                </a:cubicBezTo>
                <a:cubicBezTo>
                  <a:pt x="669743" y="2179360"/>
                  <a:pt x="670983" y="2172647"/>
                  <a:pt x="673100" y="2166297"/>
                </a:cubicBezTo>
                <a:cubicBezTo>
                  <a:pt x="675217" y="2147247"/>
                  <a:pt x="667950" y="2124481"/>
                  <a:pt x="679450" y="2109147"/>
                </a:cubicBezTo>
                <a:cubicBezTo>
                  <a:pt x="685926" y="2100513"/>
                  <a:pt x="700407" y="2115497"/>
                  <a:pt x="711200" y="2115497"/>
                </a:cubicBezTo>
                <a:cubicBezTo>
                  <a:pt x="724075" y="2115497"/>
                  <a:pt x="736600" y="2111264"/>
                  <a:pt x="749300" y="2109147"/>
                </a:cubicBezTo>
                <a:cubicBezTo>
                  <a:pt x="757767" y="2111264"/>
                  <a:pt x="766894" y="2111594"/>
                  <a:pt x="774700" y="2115497"/>
                </a:cubicBezTo>
                <a:cubicBezTo>
                  <a:pt x="788352" y="2122323"/>
                  <a:pt x="812800" y="2140897"/>
                  <a:pt x="812800" y="2140897"/>
                </a:cubicBezTo>
                <a:cubicBezTo>
                  <a:pt x="827617" y="2138780"/>
                  <a:pt x="842574" y="2137482"/>
                  <a:pt x="857250" y="2134547"/>
                </a:cubicBezTo>
                <a:cubicBezTo>
                  <a:pt x="863814" y="2133234"/>
                  <a:pt x="869607" y="2128197"/>
                  <a:pt x="876300" y="2128197"/>
                </a:cubicBezTo>
                <a:cubicBezTo>
                  <a:pt x="882993" y="2128197"/>
                  <a:pt x="889000" y="2132430"/>
                  <a:pt x="895350" y="2134547"/>
                </a:cubicBezTo>
                <a:cubicBezTo>
                  <a:pt x="897467" y="2151480"/>
                  <a:pt x="895868" y="2169309"/>
                  <a:pt x="901700" y="2185347"/>
                </a:cubicBezTo>
                <a:cubicBezTo>
                  <a:pt x="904769" y="2193787"/>
                  <a:pt x="915769" y="2196925"/>
                  <a:pt x="920750" y="2204397"/>
                </a:cubicBezTo>
                <a:cubicBezTo>
                  <a:pt x="924463" y="2209966"/>
                  <a:pt x="922919" y="2218220"/>
                  <a:pt x="927100" y="2223447"/>
                </a:cubicBezTo>
                <a:cubicBezTo>
                  <a:pt x="936052" y="2234638"/>
                  <a:pt x="952651" y="2238314"/>
                  <a:pt x="965200" y="2242497"/>
                </a:cubicBezTo>
                <a:cubicBezTo>
                  <a:pt x="984653" y="2239718"/>
                  <a:pt x="1013795" y="2242078"/>
                  <a:pt x="1028700" y="2223447"/>
                </a:cubicBezTo>
                <a:cubicBezTo>
                  <a:pt x="1032881" y="2218220"/>
                  <a:pt x="1029063" y="2207390"/>
                  <a:pt x="1035050" y="2204397"/>
                </a:cubicBezTo>
                <a:cubicBezTo>
                  <a:pt x="1048437" y="2197704"/>
                  <a:pt x="1064683" y="2200164"/>
                  <a:pt x="1079500" y="2198047"/>
                </a:cubicBezTo>
                <a:cubicBezTo>
                  <a:pt x="1134095" y="2161651"/>
                  <a:pt x="1069847" y="2210114"/>
                  <a:pt x="1104900" y="2166297"/>
                </a:cubicBezTo>
                <a:cubicBezTo>
                  <a:pt x="1109668" y="2160338"/>
                  <a:pt x="1116976" y="2156697"/>
                  <a:pt x="1123950" y="2153597"/>
                </a:cubicBezTo>
                <a:cubicBezTo>
                  <a:pt x="1163430" y="2136050"/>
                  <a:pt x="1178603" y="2139242"/>
                  <a:pt x="1225550" y="2134547"/>
                </a:cubicBezTo>
                <a:cubicBezTo>
                  <a:pt x="1223433" y="2123964"/>
                  <a:pt x="1221818" y="2113268"/>
                  <a:pt x="1219200" y="2102797"/>
                </a:cubicBezTo>
                <a:cubicBezTo>
                  <a:pt x="1217577" y="2096303"/>
                  <a:pt x="1209857" y="2089734"/>
                  <a:pt x="1212850" y="2083747"/>
                </a:cubicBezTo>
                <a:cubicBezTo>
                  <a:pt x="1215843" y="2077760"/>
                  <a:pt x="1225550" y="2079514"/>
                  <a:pt x="1231900" y="2077397"/>
                </a:cubicBezTo>
                <a:cubicBezTo>
                  <a:pt x="1282799" y="2084668"/>
                  <a:pt x="1282221" y="2088202"/>
                  <a:pt x="1339850" y="2077397"/>
                </a:cubicBezTo>
                <a:cubicBezTo>
                  <a:pt x="1353008" y="2074930"/>
                  <a:pt x="1377950" y="2064697"/>
                  <a:pt x="1377950" y="2064697"/>
                </a:cubicBezTo>
                <a:cubicBezTo>
                  <a:pt x="1405803" y="2068179"/>
                  <a:pt x="1466686" y="2079610"/>
                  <a:pt x="1492250" y="2064697"/>
                </a:cubicBezTo>
                <a:cubicBezTo>
                  <a:pt x="1503813" y="2057952"/>
                  <a:pt x="1502749" y="2039802"/>
                  <a:pt x="1504950" y="2026597"/>
                </a:cubicBezTo>
                <a:cubicBezTo>
                  <a:pt x="1512555" y="1980969"/>
                  <a:pt x="1500587" y="1995639"/>
                  <a:pt x="1530350" y="1975797"/>
                </a:cubicBezTo>
                <a:cubicBezTo>
                  <a:pt x="1534583" y="1982147"/>
                  <a:pt x="1537091" y="1990079"/>
                  <a:pt x="1543050" y="1994847"/>
                </a:cubicBezTo>
                <a:cubicBezTo>
                  <a:pt x="1548277" y="1999028"/>
                  <a:pt x="1555664" y="1999358"/>
                  <a:pt x="1562100" y="2001197"/>
                </a:cubicBezTo>
                <a:cubicBezTo>
                  <a:pt x="1617914" y="2017144"/>
                  <a:pt x="1560875" y="1998672"/>
                  <a:pt x="1606550" y="2013897"/>
                </a:cubicBezTo>
                <a:cubicBezTo>
                  <a:pt x="1618004" y="2025351"/>
                  <a:pt x="1626270" y="2039297"/>
                  <a:pt x="1644650" y="2039297"/>
                </a:cubicBezTo>
                <a:cubicBezTo>
                  <a:pt x="1653377" y="2039297"/>
                  <a:pt x="1661583" y="2035064"/>
                  <a:pt x="1670050" y="2032947"/>
                </a:cubicBezTo>
                <a:cubicBezTo>
                  <a:pt x="1676400" y="2026597"/>
                  <a:pt x="1681628" y="2018878"/>
                  <a:pt x="1689100" y="2013897"/>
                </a:cubicBezTo>
                <a:cubicBezTo>
                  <a:pt x="1709502" y="2000296"/>
                  <a:pt x="1739337" y="2011445"/>
                  <a:pt x="1758950" y="2013897"/>
                </a:cubicBezTo>
                <a:cubicBezTo>
                  <a:pt x="1765300" y="2018130"/>
                  <a:pt x="1773232" y="2020638"/>
                  <a:pt x="1778000" y="2026597"/>
                </a:cubicBezTo>
                <a:cubicBezTo>
                  <a:pt x="1784762" y="2035050"/>
                  <a:pt x="1790288" y="2082924"/>
                  <a:pt x="1790700" y="2083747"/>
                </a:cubicBezTo>
                <a:cubicBezTo>
                  <a:pt x="1793838" y="2090023"/>
                  <a:pt x="1832430" y="2107515"/>
                  <a:pt x="1835150" y="2109147"/>
                </a:cubicBezTo>
                <a:cubicBezTo>
                  <a:pt x="1889737" y="2141899"/>
                  <a:pt x="1853982" y="2128124"/>
                  <a:pt x="1892300" y="2140897"/>
                </a:cubicBezTo>
                <a:cubicBezTo>
                  <a:pt x="1920992" y="2097859"/>
                  <a:pt x="1889460" y="2151310"/>
                  <a:pt x="1911350" y="2071047"/>
                </a:cubicBezTo>
                <a:cubicBezTo>
                  <a:pt x="1913358" y="2063684"/>
                  <a:pt x="1920637" y="2058823"/>
                  <a:pt x="1924050" y="2051997"/>
                </a:cubicBezTo>
                <a:cubicBezTo>
                  <a:pt x="1927043" y="2046010"/>
                  <a:pt x="1928283" y="2039297"/>
                  <a:pt x="1930400" y="2032947"/>
                </a:cubicBezTo>
                <a:cubicBezTo>
                  <a:pt x="1928283" y="2020247"/>
                  <a:pt x="1926843" y="2007416"/>
                  <a:pt x="1924050" y="1994847"/>
                </a:cubicBezTo>
                <a:cubicBezTo>
                  <a:pt x="1922598" y="1988313"/>
                  <a:pt x="1922433" y="1980530"/>
                  <a:pt x="1917700" y="1975797"/>
                </a:cubicBezTo>
                <a:cubicBezTo>
                  <a:pt x="1912967" y="1971064"/>
                  <a:pt x="1905236" y="1970644"/>
                  <a:pt x="1898650" y="1969447"/>
                </a:cubicBezTo>
                <a:cubicBezTo>
                  <a:pt x="1881860" y="1966394"/>
                  <a:pt x="1864783" y="1965214"/>
                  <a:pt x="1847850" y="1963097"/>
                </a:cubicBezTo>
                <a:cubicBezTo>
                  <a:pt x="1845733" y="1956747"/>
                  <a:pt x="1840400" y="1950649"/>
                  <a:pt x="1841500" y="1944047"/>
                </a:cubicBezTo>
                <a:cubicBezTo>
                  <a:pt x="1842755" y="1936519"/>
                  <a:pt x="1850787" y="1931823"/>
                  <a:pt x="1854200" y="1924997"/>
                </a:cubicBezTo>
                <a:cubicBezTo>
                  <a:pt x="1880490" y="1872417"/>
                  <a:pt x="1836854" y="1941492"/>
                  <a:pt x="1873250" y="1886897"/>
                </a:cubicBezTo>
                <a:cubicBezTo>
                  <a:pt x="1871133" y="1869964"/>
                  <a:pt x="1869953" y="1852887"/>
                  <a:pt x="1866900" y="1836097"/>
                </a:cubicBezTo>
                <a:cubicBezTo>
                  <a:pt x="1865703" y="1829511"/>
                  <a:pt x="1865777" y="1821228"/>
                  <a:pt x="1860550" y="1817047"/>
                </a:cubicBezTo>
                <a:cubicBezTo>
                  <a:pt x="1853735" y="1811595"/>
                  <a:pt x="1843541" y="1813095"/>
                  <a:pt x="1835150" y="1810697"/>
                </a:cubicBezTo>
                <a:cubicBezTo>
                  <a:pt x="1828714" y="1808858"/>
                  <a:pt x="1822450" y="1806464"/>
                  <a:pt x="1816100" y="1804347"/>
                </a:cubicBezTo>
                <a:cubicBezTo>
                  <a:pt x="1811867" y="1797997"/>
                  <a:pt x="1806500" y="1792271"/>
                  <a:pt x="1803400" y="1785297"/>
                </a:cubicBezTo>
                <a:cubicBezTo>
                  <a:pt x="1797963" y="1773064"/>
                  <a:pt x="1798126" y="1758336"/>
                  <a:pt x="1790700" y="1747197"/>
                </a:cubicBezTo>
                <a:cubicBezTo>
                  <a:pt x="1761587" y="1703528"/>
                  <a:pt x="1770127" y="1723577"/>
                  <a:pt x="1758950" y="1690047"/>
                </a:cubicBezTo>
                <a:cubicBezTo>
                  <a:pt x="1761067" y="1681580"/>
                  <a:pt x="1759848" y="1671462"/>
                  <a:pt x="1765300" y="1664647"/>
                </a:cubicBezTo>
                <a:cubicBezTo>
                  <a:pt x="1769481" y="1659420"/>
                  <a:pt x="1778499" y="1661548"/>
                  <a:pt x="1784350" y="1658297"/>
                </a:cubicBezTo>
                <a:cubicBezTo>
                  <a:pt x="1797693" y="1650884"/>
                  <a:pt x="1809750" y="1641364"/>
                  <a:pt x="1822450" y="1632897"/>
                </a:cubicBezTo>
                <a:lnTo>
                  <a:pt x="1841500" y="1620197"/>
                </a:lnTo>
                <a:cubicBezTo>
                  <a:pt x="1845733" y="1613847"/>
                  <a:pt x="1849314" y="1607010"/>
                  <a:pt x="1854200" y="1601147"/>
                </a:cubicBezTo>
                <a:cubicBezTo>
                  <a:pt x="1864231" y="1589110"/>
                  <a:pt x="1878029" y="1576533"/>
                  <a:pt x="1892300" y="1569397"/>
                </a:cubicBezTo>
                <a:cubicBezTo>
                  <a:pt x="1902450" y="1564322"/>
                  <a:pt x="1927255" y="1559410"/>
                  <a:pt x="1936750" y="1556697"/>
                </a:cubicBezTo>
                <a:cubicBezTo>
                  <a:pt x="1943186" y="1554858"/>
                  <a:pt x="1949306" y="1551970"/>
                  <a:pt x="1955800" y="1550347"/>
                </a:cubicBezTo>
                <a:lnTo>
                  <a:pt x="2006600" y="1537647"/>
                </a:lnTo>
                <a:cubicBezTo>
                  <a:pt x="2012950" y="1533414"/>
                  <a:pt x="2020882" y="1530906"/>
                  <a:pt x="2025650" y="1524947"/>
                </a:cubicBezTo>
                <a:cubicBezTo>
                  <a:pt x="2032144" y="1516829"/>
                  <a:pt x="2033787" y="1487342"/>
                  <a:pt x="2038350" y="1480497"/>
                </a:cubicBezTo>
                <a:cubicBezTo>
                  <a:pt x="2042583" y="1474147"/>
                  <a:pt x="2051050" y="1472030"/>
                  <a:pt x="2057400" y="1467797"/>
                </a:cubicBezTo>
                <a:cubicBezTo>
                  <a:pt x="2072149" y="1408799"/>
                  <a:pt x="2054531" y="1482144"/>
                  <a:pt x="2070100" y="1404297"/>
                </a:cubicBezTo>
                <a:cubicBezTo>
                  <a:pt x="2071812" y="1395739"/>
                  <a:pt x="2073012" y="1386919"/>
                  <a:pt x="2076450" y="1378897"/>
                </a:cubicBezTo>
                <a:cubicBezTo>
                  <a:pt x="2079456" y="1371882"/>
                  <a:pt x="2084917" y="1366197"/>
                  <a:pt x="2089150" y="1359847"/>
                </a:cubicBezTo>
                <a:cubicBezTo>
                  <a:pt x="2146852" y="1368090"/>
                  <a:pt x="2119401" y="1361464"/>
                  <a:pt x="2171700" y="1378897"/>
                </a:cubicBezTo>
                <a:lnTo>
                  <a:pt x="2190750" y="1385247"/>
                </a:lnTo>
                <a:cubicBezTo>
                  <a:pt x="2201617" y="1381625"/>
                  <a:pt x="2221816" y="1376748"/>
                  <a:pt x="2228850" y="1366197"/>
                </a:cubicBezTo>
                <a:cubicBezTo>
                  <a:pt x="2233691" y="1358935"/>
                  <a:pt x="2233639" y="1349383"/>
                  <a:pt x="2235200" y="1340797"/>
                </a:cubicBezTo>
                <a:cubicBezTo>
                  <a:pt x="2237877" y="1326071"/>
                  <a:pt x="2239433" y="1311164"/>
                  <a:pt x="2241550" y="1296347"/>
                </a:cubicBezTo>
                <a:cubicBezTo>
                  <a:pt x="2239433" y="1279414"/>
                  <a:pt x="2238253" y="1262337"/>
                  <a:pt x="2235200" y="1245547"/>
                </a:cubicBezTo>
                <a:cubicBezTo>
                  <a:pt x="2234003" y="1238961"/>
                  <a:pt x="2229868" y="1233113"/>
                  <a:pt x="2228850" y="1226497"/>
                </a:cubicBezTo>
                <a:cubicBezTo>
                  <a:pt x="2225615" y="1205472"/>
                  <a:pt x="2229227" y="1183178"/>
                  <a:pt x="2222500" y="1162997"/>
                </a:cubicBezTo>
                <a:cubicBezTo>
                  <a:pt x="2219423" y="1153765"/>
                  <a:pt x="2191797" y="1146413"/>
                  <a:pt x="2184400" y="1143947"/>
                </a:cubicBezTo>
                <a:cubicBezTo>
                  <a:pt x="2162908" y="1129619"/>
                  <a:pt x="2165676" y="1134992"/>
                  <a:pt x="2152650" y="1112197"/>
                </a:cubicBezTo>
                <a:cubicBezTo>
                  <a:pt x="2147954" y="1103978"/>
                  <a:pt x="2146643" y="1093490"/>
                  <a:pt x="2139950" y="1086797"/>
                </a:cubicBezTo>
                <a:cubicBezTo>
                  <a:pt x="2135217" y="1082064"/>
                  <a:pt x="2127516" y="1081465"/>
                  <a:pt x="2120900" y="1080447"/>
                </a:cubicBezTo>
                <a:cubicBezTo>
                  <a:pt x="2099875" y="1077212"/>
                  <a:pt x="2078567" y="1076214"/>
                  <a:pt x="2057400" y="1074097"/>
                </a:cubicBezTo>
                <a:cubicBezTo>
                  <a:pt x="2051050" y="1071980"/>
                  <a:pt x="2043577" y="1071928"/>
                  <a:pt x="2038350" y="1067747"/>
                </a:cubicBezTo>
                <a:cubicBezTo>
                  <a:pt x="2024628" y="1056769"/>
                  <a:pt x="2016831" y="1022239"/>
                  <a:pt x="2012950" y="1010597"/>
                </a:cubicBezTo>
                <a:cubicBezTo>
                  <a:pt x="2007491" y="994221"/>
                  <a:pt x="1972574" y="984438"/>
                  <a:pt x="1955800" y="978847"/>
                </a:cubicBezTo>
                <a:cubicBezTo>
                  <a:pt x="1943100" y="970380"/>
                  <a:pt x="1922527" y="967927"/>
                  <a:pt x="1917700" y="953447"/>
                </a:cubicBezTo>
                <a:cubicBezTo>
                  <a:pt x="1906411" y="919580"/>
                  <a:pt x="1911614" y="916258"/>
                  <a:pt x="1885950" y="896297"/>
                </a:cubicBezTo>
                <a:cubicBezTo>
                  <a:pt x="1873902" y="886926"/>
                  <a:pt x="1860550" y="879364"/>
                  <a:pt x="1847850" y="870897"/>
                </a:cubicBezTo>
                <a:lnTo>
                  <a:pt x="1828800" y="858197"/>
                </a:lnTo>
                <a:cubicBezTo>
                  <a:pt x="1824567" y="851847"/>
                  <a:pt x="1821496" y="844543"/>
                  <a:pt x="1816100" y="839147"/>
                </a:cubicBezTo>
                <a:cubicBezTo>
                  <a:pt x="1796312" y="819359"/>
                  <a:pt x="1765302" y="817981"/>
                  <a:pt x="1739900" y="813747"/>
                </a:cubicBezTo>
                <a:cubicBezTo>
                  <a:pt x="1689100" y="779880"/>
                  <a:pt x="1750483" y="824330"/>
                  <a:pt x="1708150" y="781997"/>
                </a:cubicBezTo>
                <a:cubicBezTo>
                  <a:pt x="1702754" y="776601"/>
                  <a:pt x="1695450" y="773530"/>
                  <a:pt x="1689100" y="769297"/>
                </a:cubicBezTo>
                <a:cubicBezTo>
                  <a:pt x="1676684" y="750673"/>
                  <a:pt x="1675308" y="752229"/>
                  <a:pt x="1670050" y="731197"/>
                </a:cubicBezTo>
                <a:cubicBezTo>
                  <a:pt x="1667432" y="720726"/>
                  <a:pt x="1668527" y="709100"/>
                  <a:pt x="1663700" y="699447"/>
                </a:cubicBezTo>
                <a:cubicBezTo>
                  <a:pt x="1659684" y="691415"/>
                  <a:pt x="1651000" y="686747"/>
                  <a:pt x="1644650" y="680397"/>
                </a:cubicBezTo>
                <a:cubicBezTo>
                  <a:pt x="1628689" y="632514"/>
                  <a:pt x="1650219" y="691536"/>
                  <a:pt x="1625600" y="642297"/>
                </a:cubicBezTo>
                <a:cubicBezTo>
                  <a:pt x="1622607" y="636310"/>
                  <a:pt x="1622501" y="629098"/>
                  <a:pt x="1619250" y="623247"/>
                </a:cubicBezTo>
                <a:cubicBezTo>
                  <a:pt x="1611837" y="609904"/>
                  <a:pt x="1602317" y="597847"/>
                  <a:pt x="1593850" y="585147"/>
                </a:cubicBezTo>
                <a:cubicBezTo>
                  <a:pt x="1583887" y="570203"/>
                  <a:pt x="1555750" y="547047"/>
                  <a:pt x="1555750" y="547047"/>
                </a:cubicBezTo>
                <a:cubicBezTo>
                  <a:pt x="1557867" y="536464"/>
                  <a:pt x="1558310" y="525403"/>
                  <a:pt x="1562100" y="515297"/>
                </a:cubicBezTo>
                <a:cubicBezTo>
                  <a:pt x="1567404" y="501152"/>
                  <a:pt x="1583967" y="487080"/>
                  <a:pt x="1593850" y="477197"/>
                </a:cubicBezTo>
                <a:cubicBezTo>
                  <a:pt x="1585299" y="425892"/>
                  <a:pt x="1591571" y="451311"/>
                  <a:pt x="1574800" y="400997"/>
                </a:cubicBezTo>
                <a:cubicBezTo>
                  <a:pt x="1570617" y="388448"/>
                  <a:pt x="1566941" y="371849"/>
                  <a:pt x="1555750" y="362897"/>
                </a:cubicBezTo>
                <a:cubicBezTo>
                  <a:pt x="1550523" y="358716"/>
                  <a:pt x="1543050" y="358664"/>
                  <a:pt x="1536700" y="356547"/>
                </a:cubicBezTo>
                <a:cubicBezTo>
                  <a:pt x="1530350" y="352314"/>
                  <a:pt x="1524476" y="347260"/>
                  <a:pt x="1517650" y="343847"/>
                </a:cubicBezTo>
                <a:cubicBezTo>
                  <a:pt x="1511663" y="340854"/>
                  <a:pt x="1503827" y="341678"/>
                  <a:pt x="1498600" y="337497"/>
                </a:cubicBezTo>
                <a:cubicBezTo>
                  <a:pt x="1492641" y="332729"/>
                  <a:pt x="1490786" y="324310"/>
                  <a:pt x="1485900" y="318447"/>
                </a:cubicBezTo>
                <a:cubicBezTo>
                  <a:pt x="1480151" y="311548"/>
                  <a:pt x="1473200" y="305747"/>
                  <a:pt x="1466850" y="299397"/>
                </a:cubicBezTo>
                <a:cubicBezTo>
                  <a:pt x="1464733" y="290930"/>
                  <a:pt x="1462393" y="282516"/>
                  <a:pt x="1460500" y="273997"/>
                </a:cubicBezTo>
                <a:cubicBezTo>
                  <a:pt x="1458159" y="263461"/>
                  <a:pt x="1456768" y="252718"/>
                  <a:pt x="1454150" y="242247"/>
                </a:cubicBezTo>
                <a:cubicBezTo>
                  <a:pt x="1452527" y="235753"/>
                  <a:pt x="1451513" y="228766"/>
                  <a:pt x="1447800" y="223197"/>
                </a:cubicBezTo>
                <a:cubicBezTo>
                  <a:pt x="1427861" y="193289"/>
                  <a:pt x="1429900" y="216260"/>
                  <a:pt x="1416050" y="185097"/>
                </a:cubicBezTo>
                <a:cubicBezTo>
                  <a:pt x="1399503" y="147866"/>
                  <a:pt x="1415306" y="149800"/>
                  <a:pt x="1384300" y="134297"/>
                </a:cubicBezTo>
                <a:cubicBezTo>
                  <a:pt x="1378313" y="131304"/>
                  <a:pt x="1371600" y="130064"/>
                  <a:pt x="1365250" y="127947"/>
                </a:cubicBezTo>
                <a:cubicBezTo>
                  <a:pt x="1363133" y="121597"/>
                  <a:pt x="1363081" y="114124"/>
                  <a:pt x="1358900" y="108897"/>
                </a:cubicBezTo>
                <a:cubicBezTo>
                  <a:pt x="1354132" y="102938"/>
                  <a:pt x="1345246" y="101593"/>
                  <a:pt x="1339850" y="96197"/>
                </a:cubicBezTo>
                <a:cubicBezTo>
                  <a:pt x="1334454" y="90801"/>
                  <a:pt x="1331383" y="83497"/>
                  <a:pt x="1327150" y="77147"/>
                </a:cubicBezTo>
                <a:cubicBezTo>
                  <a:pt x="1320800" y="79264"/>
                  <a:pt x="1312833" y="78764"/>
                  <a:pt x="1308100" y="83497"/>
                </a:cubicBezTo>
                <a:cubicBezTo>
                  <a:pt x="1303367" y="88230"/>
                  <a:pt x="1307197" y="98656"/>
                  <a:pt x="1301750" y="102547"/>
                </a:cubicBezTo>
                <a:cubicBezTo>
                  <a:pt x="1290857" y="110328"/>
                  <a:pt x="1263650" y="115247"/>
                  <a:pt x="1263650" y="115247"/>
                </a:cubicBezTo>
                <a:cubicBezTo>
                  <a:pt x="1253067" y="113130"/>
                  <a:pt x="1242693" y="108897"/>
                  <a:pt x="1231900" y="108897"/>
                </a:cubicBezTo>
                <a:cubicBezTo>
                  <a:pt x="1210628" y="108897"/>
                  <a:pt x="1189610" y="116879"/>
                  <a:pt x="1168400" y="115247"/>
                </a:cubicBezTo>
                <a:cubicBezTo>
                  <a:pt x="1160791" y="114662"/>
                  <a:pt x="1156176" y="105960"/>
                  <a:pt x="1149350" y="102547"/>
                </a:cubicBezTo>
                <a:cubicBezTo>
                  <a:pt x="1143363" y="99554"/>
                  <a:pt x="1136650" y="98314"/>
                  <a:pt x="1130300" y="96197"/>
                </a:cubicBezTo>
                <a:cubicBezTo>
                  <a:pt x="1120417" y="86314"/>
                  <a:pt x="1103854" y="72242"/>
                  <a:pt x="1098550" y="58097"/>
                </a:cubicBezTo>
                <a:cubicBezTo>
                  <a:pt x="1081549" y="12760"/>
                  <a:pt x="1107653" y="36649"/>
                  <a:pt x="1073150" y="13647"/>
                </a:cubicBezTo>
                <a:cubicBezTo>
                  <a:pt x="1016000" y="32697"/>
                  <a:pt x="1045633" y="11530"/>
                  <a:pt x="1028700" y="45397"/>
                </a:cubicBezTo>
                <a:cubicBezTo>
                  <a:pt x="1025287" y="52223"/>
                  <a:pt x="1020233" y="58097"/>
                  <a:pt x="1016000" y="64447"/>
                </a:cubicBezTo>
                <a:cubicBezTo>
                  <a:pt x="1031961" y="112330"/>
                  <a:pt x="1010431" y="53308"/>
                  <a:pt x="1035050" y="102547"/>
                </a:cubicBezTo>
                <a:cubicBezTo>
                  <a:pt x="1038043" y="108534"/>
                  <a:pt x="1039283" y="115247"/>
                  <a:pt x="1041400" y="121597"/>
                </a:cubicBezTo>
                <a:cubicBezTo>
                  <a:pt x="1039283" y="136414"/>
                  <a:pt x="1043085" y="153420"/>
                  <a:pt x="1035050" y="166047"/>
                </a:cubicBezTo>
                <a:cubicBezTo>
                  <a:pt x="1026855" y="178924"/>
                  <a:pt x="996950" y="191447"/>
                  <a:pt x="996950" y="191447"/>
                </a:cubicBezTo>
                <a:cubicBezTo>
                  <a:pt x="976626" y="160961"/>
                  <a:pt x="982176" y="152393"/>
                  <a:pt x="952500" y="146997"/>
                </a:cubicBezTo>
                <a:cubicBezTo>
                  <a:pt x="935710" y="143944"/>
                  <a:pt x="918633" y="142764"/>
                  <a:pt x="901700" y="140647"/>
                </a:cubicBezTo>
                <a:cubicBezTo>
                  <a:pt x="895350" y="136414"/>
                  <a:pt x="889476" y="131360"/>
                  <a:pt x="882650" y="127947"/>
                </a:cubicBezTo>
                <a:cubicBezTo>
                  <a:pt x="855571" y="114407"/>
                  <a:pt x="841174" y="124089"/>
                  <a:pt x="806450" y="127947"/>
                </a:cubicBezTo>
                <a:cubicBezTo>
                  <a:pt x="793750" y="132180"/>
                  <a:pt x="772583" y="132180"/>
                  <a:pt x="793750" y="153347"/>
                </a:cubicBezTo>
                <a:cubicBezTo>
                  <a:pt x="804543" y="164140"/>
                  <a:pt x="831850" y="178747"/>
                  <a:pt x="831850" y="178747"/>
                </a:cubicBezTo>
                <a:cubicBezTo>
                  <a:pt x="836083" y="185097"/>
                  <a:pt x="844550" y="190165"/>
                  <a:pt x="844550" y="197797"/>
                </a:cubicBezTo>
                <a:cubicBezTo>
                  <a:pt x="844550" y="219723"/>
                  <a:pt x="819195" y="220011"/>
                  <a:pt x="806450" y="223197"/>
                </a:cubicBezTo>
                <a:cubicBezTo>
                  <a:pt x="799523" y="233588"/>
                  <a:pt x="790094" y="253023"/>
                  <a:pt x="774700" y="254947"/>
                </a:cubicBezTo>
                <a:cubicBezTo>
                  <a:pt x="763990" y="256286"/>
                  <a:pt x="753533" y="250714"/>
                  <a:pt x="742950" y="248597"/>
                </a:cubicBezTo>
                <a:cubicBezTo>
                  <a:pt x="736600" y="242247"/>
                  <a:pt x="726740" y="238066"/>
                  <a:pt x="723900" y="229547"/>
                </a:cubicBezTo>
                <a:cubicBezTo>
                  <a:pt x="721783" y="223197"/>
                  <a:pt x="730250" y="217190"/>
                  <a:pt x="730250" y="210497"/>
                </a:cubicBezTo>
                <a:cubicBezTo>
                  <a:pt x="730250" y="198295"/>
                  <a:pt x="721569" y="174343"/>
                  <a:pt x="711200" y="166047"/>
                </a:cubicBezTo>
                <a:cubicBezTo>
                  <a:pt x="705973" y="161866"/>
                  <a:pt x="698500" y="161814"/>
                  <a:pt x="692150" y="159697"/>
                </a:cubicBezTo>
                <a:cubicBezTo>
                  <a:pt x="675217" y="148408"/>
                  <a:pt x="667213" y="144871"/>
                  <a:pt x="654050" y="127947"/>
                </a:cubicBezTo>
                <a:cubicBezTo>
                  <a:pt x="644679" y="115899"/>
                  <a:pt x="641350" y="98314"/>
                  <a:pt x="628650" y="89847"/>
                </a:cubicBezTo>
                <a:lnTo>
                  <a:pt x="590550" y="64447"/>
                </a:lnTo>
                <a:cubicBezTo>
                  <a:pt x="584200" y="60214"/>
                  <a:pt x="576896" y="57143"/>
                  <a:pt x="571500" y="51747"/>
                </a:cubicBezTo>
                <a:lnTo>
                  <a:pt x="552450" y="32697"/>
                </a:lnTo>
                <a:cubicBezTo>
                  <a:pt x="545881" y="12989"/>
                  <a:pt x="548163" y="4870"/>
                  <a:pt x="520700" y="947"/>
                </a:cubicBezTo>
                <a:cubicBezTo>
                  <a:pt x="514074" y="0"/>
                  <a:pt x="508000" y="5180"/>
                  <a:pt x="501650" y="7297"/>
                </a:cubicBezTo>
                <a:cubicBezTo>
                  <a:pt x="497417" y="13647"/>
                  <a:pt x="494346" y="20951"/>
                  <a:pt x="488950" y="26347"/>
                </a:cubicBezTo>
                <a:cubicBezTo>
                  <a:pt x="483554" y="31743"/>
                  <a:pt x="473313" y="32221"/>
                  <a:pt x="469900" y="39047"/>
                </a:cubicBezTo>
                <a:cubicBezTo>
                  <a:pt x="464142" y="50563"/>
                  <a:pt x="469308" y="65631"/>
                  <a:pt x="463550" y="77147"/>
                </a:cubicBezTo>
                <a:cubicBezTo>
                  <a:pt x="460137" y="83973"/>
                  <a:pt x="451474" y="86747"/>
                  <a:pt x="444500" y="89847"/>
                </a:cubicBezTo>
                <a:cubicBezTo>
                  <a:pt x="418133" y="101566"/>
                  <a:pt x="401812" y="103465"/>
                  <a:pt x="374650" y="108897"/>
                </a:cubicBezTo>
                <a:cubicBezTo>
                  <a:pt x="368300" y="113130"/>
                  <a:pt x="359645" y="115125"/>
                  <a:pt x="355600" y="121597"/>
                </a:cubicBezTo>
                <a:cubicBezTo>
                  <a:pt x="348505" y="132949"/>
                  <a:pt x="347133" y="146997"/>
                  <a:pt x="342900" y="159697"/>
                </a:cubicBezTo>
                <a:lnTo>
                  <a:pt x="336550" y="178747"/>
                </a:lnTo>
                <a:cubicBezTo>
                  <a:pt x="334433" y="185097"/>
                  <a:pt x="323850" y="182980"/>
                  <a:pt x="317500" y="185097"/>
                </a:cubicBezTo>
                <a:cubicBezTo>
                  <a:pt x="262905" y="221493"/>
                  <a:pt x="327153" y="173030"/>
                  <a:pt x="292100" y="216847"/>
                </a:cubicBezTo>
                <a:cubicBezTo>
                  <a:pt x="283148" y="228037"/>
                  <a:pt x="250888" y="238412"/>
                  <a:pt x="241300" y="242247"/>
                </a:cubicBezTo>
                <a:cubicBezTo>
                  <a:pt x="239183" y="263414"/>
                  <a:pt x="239733" y="285020"/>
                  <a:pt x="234950" y="305747"/>
                </a:cubicBezTo>
                <a:cubicBezTo>
                  <a:pt x="233234" y="313183"/>
                  <a:pt x="229654" y="322946"/>
                  <a:pt x="222250" y="324797"/>
                </a:cubicBezTo>
                <a:cubicBezTo>
                  <a:pt x="209759" y="327920"/>
                  <a:pt x="196850" y="320564"/>
                  <a:pt x="184150" y="318447"/>
                </a:cubicBezTo>
                <a:cubicBezTo>
                  <a:pt x="167828" y="313006"/>
                  <a:pt x="157242" y="308936"/>
                  <a:pt x="139700" y="305747"/>
                </a:cubicBezTo>
                <a:cubicBezTo>
                  <a:pt x="124974" y="303070"/>
                  <a:pt x="110067" y="301514"/>
                  <a:pt x="95250" y="299397"/>
                </a:cubicBezTo>
                <a:cubicBezTo>
                  <a:pt x="76200" y="301514"/>
                  <a:pt x="57006" y="302596"/>
                  <a:pt x="38100" y="305747"/>
                </a:cubicBezTo>
                <a:cubicBezTo>
                  <a:pt x="31498" y="306847"/>
                  <a:pt x="24619" y="308384"/>
                  <a:pt x="19050" y="312097"/>
                </a:cubicBezTo>
                <a:cubicBezTo>
                  <a:pt x="11578" y="317078"/>
                  <a:pt x="6350" y="324797"/>
                  <a:pt x="0" y="331147"/>
                </a:cubicBezTo>
                <a:cubicBezTo>
                  <a:pt x="2117" y="339614"/>
                  <a:pt x="2912" y="348525"/>
                  <a:pt x="6350" y="356547"/>
                </a:cubicBezTo>
                <a:cubicBezTo>
                  <a:pt x="9356" y="363562"/>
                  <a:pt x="18103" y="368024"/>
                  <a:pt x="19050" y="375597"/>
                </a:cubicBezTo>
                <a:cubicBezTo>
                  <a:pt x="20443" y="386743"/>
                  <a:pt x="10497" y="413957"/>
                  <a:pt x="6350" y="426397"/>
                </a:cubicBezTo>
                <a:cubicBezTo>
                  <a:pt x="8690" y="442778"/>
                  <a:pt x="10184" y="472164"/>
                  <a:pt x="19050" y="489897"/>
                </a:cubicBezTo>
                <a:cubicBezTo>
                  <a:pt x="30874" y="513546"/>
                  <a:pt x="33245" y="506931"/>
                  <a:pt x="50800" y="527997"/>
                </a:cubicBezTo>
                <a:cubicBezTo>
                  <a:pt x="55686" y="533860"/>
                  <a:pt x="59267" y="540697"/>
                  <a:pt x="63500" y="547047"/>
                </a:cubicBezTo>
                <a:cubicBezTo>
                  <a:pt x="61383" y="572447"/>
                  <a:pt x="61340" y="598106"/>
                  <a:pt x="57150" y="623247"/>
                </a:cubicBezTo>
                <a:cubicBezTo>
                  <a:pt x="42442" y="711495"/>
                  <a:pt x="33867" y="666639"/>
                  <a:pt x="44450" y="674047"/>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26" name="Freeform 25"/>
          <p:cNvSpPr/>
          <p:nvPr>
            <p:custDataLst>
              <p:tags r:id="rId15"/>
            </p:custDataLst>
          </p:nvPr>
        </p:nvSpPr>
        <p:spPr bwMode="auto">
          <a:xfrm>
            <a:off x="943252" y="4464356"/>
            <a:ext cx="1198306" cy="1330221"/>
          </a:xfrm>
          <a:custGeom>
            <a:avLst/>
            <a:gdLst>
              <a:gd name="connsiteX0" fmla="*/ 457200 w 1427969"/>
              <a:gd name="connsiteY0" fmla="*/ 139700 h 1585166"/>
              <a:gd name="connsiteX1" fmla="*/ 488950 w 1427969"/>
              <a:gd name="connsiteY1" fmla="*/ 222250 h 1585166"/>
              <a:gd name="connsiteX2" fmla="*/ 488950 w 1427969"/>
              <a:gd name="connsiteY2" fmla="*/ 222250 h 1585166"/>
              <a:gd name="connsiteX3" fmla="*/ 508000 w 1427969"/>
              <a:gd name="connsiteY3" fmla="*/ 260350 h 1585166"/>
              <a:gd name="connsiteX4" fmla="*/ 495300 w 1427969"/>
              <a:gd name="connsiteY4" fmla="*/ 304800 h 1585166"/>
              <a:gd name="connsiteX5" fmla="*/ 469900 w 1427969"/>
              <a:gd name="connsiteY5" fmla="*/ 342900 h 1585166"/>
              <a:gd name="connsiteX6" fmla="*/ 450850 w 1427969"/>
              <a:gd name="connsiteY6" fmla="*/ 381000 h 1585166"/>
              <a:gd name="connsiteX7" fmla="*/ 431800 w 1427969"/>
              <a:gd name="connsiteY7" fmla="*/ 387350 h 1585166"/>
              <a:gd name="connsiteX8" fmla="*/ 419100 w 1427969"/>
              <a:gd name="connsiteY8" fmla="*/ 438150 h 1585166"/>
              <a:gd name="connsiteX9" fmla="*/ 412750 w 1427969"/>
              <a:gd name="connsiteY9" fmla="*/ 495300 h 1585166"/>
              <a:gd name="connsiteX10" fmla="*/ 400050 w 1427969"/>
              <a:gd name="connsiteY10" fmla="*/ 533400 h 1585166"/>
              <a:gd name="connsiteX11" fmla="*/ 381000 w 1427969"/>
              <a:gd name="connsiteY11" fmla="*/ 552450 h 1585166"/>
              <a:gd name="connsiteX12" fmla="*/ 355600 w 1427969"/>
              <a:gd name="connsiteY12" fmla="*/ 590550 h 1585166"/>
              <a:gd name="connsiteX13" fmla="*/ 330200 w 1427969"/>
              <a:gd name="connsiteY13" fmla="*/ 628650 h 1585166"/>
              <a:gd name="connsiteX14" fmla="*/ 273050 w 1427969"/>
              <a:gd name="connsiteY14" fmla="*/ 692150 h 1585166"/>
              <a:gd name="connsiteX15" fmla="*/ 254000 w 1427969"/>
              <a:gd name="connsiteY15" fmla="*/ 704850 h 1585166"/>
              <a:gd name="connsiteX16" fmla="*/ 234950 w 1427969"/>
              <a:gd name="connsiteY16" fmla="*/ 711200 h 1585166"/>
              <a:gd name="connsiteX17" fmla="*/ 203200 w 1427969"/>
              <a:gd name="connsiteY17" fmla="*/ 749300 h 1585166"/>
              <a:gd name="connsiteX18" fmla="*/ 171450 w 1427969"/>
              <a:gd name="connsiteY18" fmla="*/ 800100 h 1585166"/>
              <a:gd name="connsiteX19" fmla="*/ 152400 w 1427969"/>
              <a:gd name="connsiteY19" fmla="*/ 838200 h 1585166"/>
              <a:gd name="connsiteX20" fmla="*/ 139700 w 1427969"/>
              <a:gd name="connsiteY20" fmla="*/ 889000 h 1585166"/>
              <a:gd name="connsiteX21" fmla="*/ 133350 w 1427969"/>
              <a:gd name="connsiteY21" fmla="*/ 908050 h 1585166"/>
              <a:gd name="connsiteX22" fmla="*/ 127000 w 1427969"/>
              <a:gd name="connsiteY22" fmla="*/ 965200 h 1585166"/>
              <a:gd name="connsiteX23" fmla="*/ 120650 w 1427969"/>
              <a:gd name="connsiteY23" fmla="*/ 1035050 h 1585166"/>
              <a:gd name="connsiteX24" fmla="*/ 101600 w 1427969"/>
              <a:gd name="connsiteY24" fmla="*/ 1041400 h 1585166"/>
              <a:gd name="connsiteX25" fmla="*/ 82550 w 1427969"/>
              <a:gd name="connsiteY25" fmla="*/ 1079500 h 1585166"/>
              <a:gd name="connsiteX26" fmla="*/ 69850 w 1427969"/>
              <a:gd name="connsiteY26" fmla="*/ 1104900 h 1585166"/>
              <a:gd name="connsiteX27" fmla="*/ 57150 w 1427969"/>
              <a:gd name="connsiteY27" fmla="*/ 1149350 h 1585166"/>
              <a:gd name="connsiteX28" fmla="*/ 44450 w 1427969"/>
              <a:gd name="connsiteY28" fmla="*/ 1168400 h 1585166"/>
              <a:gd name="connsiteX29" fmla="*/ 31750 w 1427969"/>
              <a:gd name="connsiteY29" fmla="*/ 1206500 h 1585166"/>
              <a:gd name="connsiteX30" fmla="*/ 38100 w 1427969"/>
              <a:gd name="connsiteY30" fmla="*/ 1225550 h 1585166"/>
              <a:gd name="connsiteX31" fmla="*/ 57150 w 1427969"/>
              <a:gd name="connsiteY31" fmla="*/ 1238250 h 1585166"/>
              <a:gd name="connsiteX32" fmla="*/ 69850 w 1427969"/>
              <a:gd name="connsiteY32" fmla="*/ 1257300 h 1585166"/>
              <a:gd name="connsiteX33" fmla="*/ 57150 w 1427969"/>
              <a:gd name="connsiteY33" fmla="*/ 1308100 h 1585166"/>
              <a:gd name="connsiteX34" fmla="*/ 38100 w 1427969"/>
              <a:gd name="connsiteY34" fmla="*/ 1333500 h 1585166"/>
              <a:gd name="connsiteX35" fmla="*/ 31750 w 1427969"/>
              <a:gd name="connsiteY35" fmla="*/ 1352550 h 1585166"/>
              <a:gd name="connsiteX36" fmla="*/ 19050 w 1427969"/>
              <a:gd name="connsiteY36" fmla="*/ 1371600 h 1585166"/>
              <a:gd name="connsiteX37" fmla="*/ 12700 w 1427969"/>
              <a:gd name="connsiteY37" fmla="*/ 1397000 h 1585166"/>
              <a:gd name="connsiteX38" fmla="*/ 19050 w 1427969"/>
              <a:gd name="connsiteY38" fmla="*/ 1416050 h 1585166"/>
              <a:gd name="connsiteX39" fmla="*/ 0 w 1427969"/>
              <a:gd name="connsiteY39" fmla="*/ 1454150 h 1585166"/>
              <a:gd name="connsiteX40" fmla="*/ 44450 w 1427969"/>
              <a:gd name="connsiteY40" fmla="*/ 1530350 h 1585166"/>
              <a:gd name="connsiteX41" fmla="*/ 82550 w 1427969"/>
              <a:gd name="connsiteY41" fmla="*/ 1555750 h 1585166"/>
              <a:gd name="connsiteX42" fmla="*/ 88900 w 1427969"/>
              <a:gd name="connsiteY42" fmla="*/ 1581150 h 1585166"/>
              <a:gd name="connsiteX43" fmla="*/ 107950 w 1427969"/>
              <a:gd name="connsiteY43" fmla="*/ 1574800 h 1585166"/>
              <a:gd name="connsiteX44" fmla="*/ 152400 w 1427969"/>
              <a:gd name="connsiteY44" fmla="*/ 1549400 h 1585166"/>
              <a:gd name="connsiteX45" fmla="*/ 171450 w 1427969"/>
              <a:gd name="connsiteY45" fmla="*/ 1543050 h 1585166"/>
              <a:gd name="connsiteX46" fmla="*/ 203200 w 1427969"/>
              <a:gd name="connsiteY46" fmla="*/ 1549400 h 1585166"/>
              <a:gd name="connsiteX47" fmla="*/ 222250 w 1427969"/>
              <a:gd name="connsiteY47" fmla="*/ 1562100 h 1585166"/>
              <a:gd name="connsiteX48" fmla="*/ 266700 w 1427969"/>
              <a:gd name="connsiteY48" fmla="*/ 1555750 h 1585166"/>
              <a:gd name="connsiteX49" fmla="*/ 304800 w 1427969"/>
              <a:gd name="connsiteY49" fmla="*/ 1530350 h 1585166"/>
              <a:gd name="connsiteX50" fmla="*/ 342900 w 1427969"/>
              <a:gd name="connsiteY50" fmla="*/ 1517650 h 1585166"/>
              <a:gd name="connsiteX51" fmla="*/ 374650 w 1427969"/>
              <a:gd name="connsiteY51" fmla="*/ 1524000 h 1585166"/>
              <a:gd name="connsiteX52" fmla="*/ 381000 w 1427969"/>
              <a:gd name="connsiteY52" fmla="*/ 1543050 h 1585166"/>
              <a:gd name="connsiteX53" fmla="*/ 419100 w 1427969"/>
              <a:gd name="connsiteY53" fmla="*/ 1568450 h 1585166"/>
              <a:gd name="connsiteX54" fmla="*/ 482600 w 1427969"/>
              <a:gd name="connsiteY54" fmla="*/ 1543050 h 1585166"/>
              <a:gd name="connsiteX55" fmla="*/ 476250 w 1427969"/>
              <a:gd name="connsiteY55" fmla="*/ 1524000 h 1585166"/>
              <a:gd name="connsiteX56" fmla="*/ 501650 w 1427969"/>
              <a:gd name="connsiteY56" fmla="*/ 1517650 h 1585166"/>
              <a:gd name="connsiteX57" fmla="*/ 520700 w 1427969"/>
              <a:gd name="connsiteY57" fmla="*/ 1511300 h 1585166"/>
              <a:gd name="connsiteX58" fmla="*/ 495300 w 1427969"/>
              <a:gd name="connsiteY58" fmla="*/ 1479550 h 1585166"/>
              <a:gd name="connsiteX59" fmla="*/ 431800 w 1427969"/>
              <a:gd name="connsiteY59" fmla="*/ 1479550 h 1585166"/>
              <a:gd name="connsiteX60" fmla="*/ 425450 w 1427969"/>
              <a:gd name="connsiteY60" fmla="*/ 1460500 h 1585166"/>
              <a:gd name="connsiteX61" fmla="*/ 482600 w 1427969"/>
              <a:gd name="connsiteY61" fmla="*/ 1435100 h 1585166"/>
              <a:gd name="connsiteX62" fmla="*/ 501650 w 1427969"/>
              <a:gd name="connsiteY62" fmla="*/ 1428750 h 1585166"/>
              <a:gd name="connsiteX63" fmla="*/ 508000 w 1427969"/>
              <a:gd name="connsiteY63" fmla="*/ 1409700 h 1585166"/>
              <a:gd name="connsiteX64" fmla="*/ 552450 w 1427969"/>
              <a:gd name="connsiteY64" fmla="*/ 1409700 h 1585166"/>
              <a:gd name="connsiteX65" fmla="*/ 571500 w 1427969"/>
              <a:gd name="connsiteY65" fmla="*/ 1435100 h 1585166"/>
              <a:gd name="connsiteX66" fmla="*/ 571500 w 1427969"/>
              <a:gd name="connsiteY66" fmla="*/ 1473200 h 1585166"/>
              <a:gd name="connsiteX67" fmla="*/ 590550 w 1427969"/>
              <a:gd name="connsiteY67" fmla="*/ 1479550 h 1585166"/>
              <a:gd name="connsiteX68" fmla="*/ 666750 w 1427969"/>
              <a:gd name="connsiteY68" fmla="*/ 1492250 h 1585166"/>
              <a:gd name="connsiteX69" fmla="*/ 685800 w 1427969"/>
              <a:gd name="connsiteY69" fmla="*/ 1498600 h 1585166"/>
              <a:gd name="connsiteX70" fmla="*/ 704850 w 1427969"/>
              <a:gd name="connsiteY70" fmla="*/ 1485900 h 1585166"/>
              <a:gd name="connsiteX71" fmla="*/ 730250 w 1427969"/>
              <a:gd name="connsiteY71" fmla="*/ 1479550 h 1585166"/>
              <a:gd name="connsiteX72" fmla="*/ 762000 w 1427969"/>
              <a:gd name="connsiteY72" fmla="*/ 1485900 h 1585166"/>
              <a:gd name="connsiteX73" fmla="*/ 800100 w 1427969"/>
              <a:gd name="connsiteY73" fmla="*/ 1498600 h 1585166"/>
              <a:gd name="connsiteX74" fmla="*/ 806450 w 1427969"/>
              <a:gd name="connsiteY74" fmla="*/ 1479550 h 1585166"/>
              <a:gd name="connsiteX75" fmla="*/ 800100 w 1427969"/>
              <a:gd name="connsiteY75" fmla="*/ 1460500 h 1585166"/>
              <a:gd name="connsiteX76" fmla="*/ 762000 w 1427969"/>
              <a:gd name="connsiteY76" fmla="*/ 1428750 h 1585166"/>
              <a:gd name="connsiteX77" fmla="*/ 742950 w 1427969"/>
              <a:gd name="connsiteY77" fmla="*/ 1390650 h 1585166"/>
              <a:gd name="connsiteX78" fmla="*/ 768350 w 1427969"/>
              <a:gd name="connsiteY78" fmla="*/ 1377950 h 1585166"/>
              <a:gd name="connsiteX79" fmla="*/ 806450 w 1427969"/>
              <a:gd name="connsiteY79" fmla="*/ 1416050 h 1585166"/>
              <a:gd name="connsiteX80" fmla="*/ 819150 w 1427969"/>
              <a:gd name="connsiteY80" fmla="*/ 1454150 h 1585166"/>
              <a:gd name="connsiteX81" fmla="*/ 831850 w 1427969"/>
              <a:gd name="connsiteY81" fmla="*/ 1473200 h 1585166"/>
              <a:gd name="connsiteX82" fmla="*/ 869950 w 1427969"/>
              <a:gd name="connsiteY82" fmla="*/ 1498600 h 1585166"/>
              <a:gd name="connsiteX83" fmla="*/ 914400 w 1427969"/>
              <a:gd name="connsiteY83" fmla="*/ 1485900 h 1585166"/>
              <a:gd name="connsiteX84" fmla="*/ 946150 w 1427969"/>
              <a:gd name="connsiteY84" fmla="*/ 1492250 h 1585166"/>
              <a:gd name="connsiteX85" fmla="*/ 952500 w 1427969"/>
              <a:gd name="connsiteY85" fmla="*/ 1511300 h 1585166"/>
              <a:gd name="connsiteX86" fmla="*/ 958850 w 1427969"/>
              <a:gd name="connsiteY86" fmla="*/ 1543050 h 1585166"/>
              <a:gd name="connsiteX87" fmla="*/ 977900 w 1427969"/>
              <a:gd name="connsiteY87" fmla="*/ 1549400 h 1585166"/>
              <a:gd name="connsiteX88" fmla="*/ 1028700 w 1427969"/>
              <a:gd name="connsiteY88" fmla="*/ 1555750 h 1585166"/>
              <a:gd name="connsiteX89" fmla="*/ 1047750 w 1427969"/>
              <a:gd name="connsiteY89" fmla="*/ 1536700 h 1585166"/>
              <a:gd name="connsiteX90" fmla="*/ 1085850 w 1427969"/>
              <a:gd name="connsiteY90" fmla="*/ 1524000 h 1585166"/>
              <a:gd name="connsiteX91" fmla="*/ 1181100 w 1427969"/>
              <a:gd name="connsiteY91" fmla="*/ 1511300 h 1585166"/>
              <a:gd name="connsiteX92" fmla="*/ 1219200 w 1427969"/>
              <a:gd name="connsiteY92" fmla="*/ 1492250 h 1585166"/>
              <a:gd name="connsiteX93" fmla="*/ 1231900 w 1427969"/>
              <a:gd name="connsiteY93" fmla="*/ 1473200 h 1585166"/>
              <a:gd name="connsiteX94" fmla="*/ 1238250 w 1427969"/>
              <a:gd name="connsiteY94" fmla="*/ 1435100 h 1585166"/>
              <a:gd name="connsiteX95" fmla="*/ 1244600 w 1427969"/>
              <a:gd name="connsiteY95" fmla="*/ 1416050 h 1585166"/>
              <a:gd name="connsiteX96" fmla="*/ 1250950 w 1427969"/>
              <a:gd name="connsiteY96" fmla="*/ 1371600 h 1585166"/>
              <a:gd name="connsiteX97" fmla="*/ 1238250 w 1427969"/>
              <a:gd name="connsiteY97" fmla="*/ 1333500 h 1585166"/>
              <a:gd name="connsiteX98" fmla="*/ 1231900 w 1427969"/>
              <a:gd name="connsiteY98" fmla="*/ 1314450 h 1585166"/>
              <a:gd name="connsiteX99" fmla="*/ 1238250 w 1427969"/>
              <a:gd name="connsiteY99" fmla="*/ 1244600 h 1585166"/>
              <a:gd name="connsiteX100" fmla="*/ 1250950 w 1427969"/>
              <a:gd name="connsiteY100" fmla="*/ 1206500 h 1585166"/>
              <a:gd name="connsiteX101" fmla="*/ 1231900 w 1427969"/>
              <a:gd name="connsiteY101" fmla="*/ 1168400 h 1585166"/>
              <a:gd name="connsiteX102" fmla="*/ 1219200 w 1427969"/>
              <a:gd name="connsiteY102" fmla="*/ 1117600 h 1585166"/>
              <a:gd name="connsiteX103" fmla="*/ 1206500 w 1427969"/>
              <a:gd name="connsiteY103" fmla="*/ 1073150 h 1585166"/>
              <a:gd name="connsiteX104" fmla="*/ 1200150 w 1427969"/>
              <a:gd name="connsiteY104" fmla="*/ 996950 h 1585166"/>
              <a:gd name="connsiteX105" fmla="*/ 1200150 w 1427969"/>
              <a:gd name="connsiteY105" fmla="*/ 946150 h 1585166"/>
              <a:gd name="connsiteX106" fmla="*/ 1219200 w 1427969"/>
              <a:gd name="connsiteY106" fmla="*/ 933450 h 1585166"/>
              <a:gd name="connsiteX107" fmla="*/ 1257300 w 1427969"/>
              <a:gd name="connsiteY107" fmla="*/ 920750 h 1585166"/>
              <a:gd name="connsiteX108" fmla="*/ 1308100 w 1427969"/>
              <a:gd name="connsiteY108" fmla="*/ 908050 h 1585166"/>
              <a:gd name="connsiteX109" fmla="*/ 1327150 w 1427969"/>
              <a:gd name="connsiteY109" fmla="*/ 869950 h 1585166"/>
              <a:gd name="connsiteX110" fmla="*/ 1314450 w 1427969"/>
              <a:gd name="connsiteY110" fmla="*/ 844550 h 1585166"/>
              <a:gd name="connsiteX111" fmla="*/ 1295400 w 1427969"/>
              <a:gd name="connsiteY111" fmla="*/ 806450 h 1585166"/>
              <a:gd name="connsiteX112" fmla="*/ 1301750 w 1427969"/>
              <a:gd name="connsiteY112" fmla="*/ 787400 h 1585166"/>
              <a:gd name="connsiteX113" fmla="*/ 1358900 w 1427969"/>
              <a:gd name="connsiteY113" fmla="*/ 787400 h 1585166"/>
              <a:gd name="connsiteX114" fmla="*/ 1397000 w 1427969"/>
              <a:gd name="connsiteY114" fmla="*/ 800100 h 1585166"/>
              <a:gd name="connsiteX115" fmla="*/ 1422400 w 1427969"/>
              <a:gd name="connsiteY115" fmla="*/ 762000 h 1585166"/>
              <a:gd name="connsiteX116" fmla="*/ 1403350 w 1427969"/>
              <a:gd name="connsiteY116" fmla="*/ 723900 h 1585166"/>
              <a:gd name="connsiteX117" fmla="*/ 1397000 w 1427969"/>
              <a:gd name="connsiteY117" fmla="*/ 704850 h 1585166"/>
              <a:gd name="connsiteX118" fmla="*/ 1384300 w 1427969"/>
              <a:gd name="connsiteY118" fmla="*/ 590550 h 1585166"/>
              <a:gd name="connsiteX119" fmla="*/ 1377950 w 1427969"/>
              <a:gd name="connsiteY119" fmla="*/ 571500 h 1585166"/>
              <a:gd name="connsiteX120" fmla="*/ 1339850 w 1427969"/>
              <a:gd name="connsiteY120" fmla="*/ 546100 h 1585166"/>
              <a:gd name="connsiteX121" fmla="*/ 1301750 w 1427969"/>
              <a:gd name="connsiteY121" fmla="*/ 488950 h 1585166"/>
              <a:gd name="connsiteX122" fmla="*/ 1289050 w 1427969"/>
              <a:gd name="connsiteY122" fmla="*/ 444500 h 1585166"/>
              <a:gd name="connsiteX123" fmla="*/ 1270000 w 1427969"/>
              <a:gd name="connsiteY123" fmla="*/ 406400 h 1585166"/>
              <a:gd name="connsiteX124" fmla="*/ 1250950 w 1427969"/>
              <a:gd name="connsiteY124" fmla="*/ 349250 h 1585166"/>
              <a:gd name="connsiteX125" fmla="*/ 1244600 w 1427969"/>
              <a:gd name="connsiteY125" fmla="*/ 330200 h 1585166"/>
              <a:gd name="connsiteX126" fmla="*/ 1238250 w 1427969"/>
              <a:gd name="connsiteY126" fmla="*/ 215900 h 1585166"/>
              <a:gd name="connsiteX127" fmla="*/ 1219200 w 1427969"/>
              <a:gd name="connsiteY127" fmla="*/ 203200 h 1585166"/>
              <a:gd name="connsiteX128" fmla="*/ 1193800 w 1427969"/>
              <a:gd name="connsiteY128" fmla="*/ 209550 h 1585166"/>
              <a:gd name="connsiteX129" fmla="*/ 1155700 w 1427969"/>
              <a:gd name="connsiteY129" fmla="*/ 209550 h 1585166"/>
              <a:gd name="connsiteX130" fmla="*/ 1149350 w 1427969"/>
              <a:gd name="connsiteY130" fmla="*/ 184150 h 1585166"/>
              <a:gd name="connsiteX131" fmla="*/ 1143000 w 1427969"/>
              <a:gd name="connsiteY131" fmla="*/ 165100 h 1585166"/>
              <a:gd name="connsiteX132" fmla="*/ 1130300 w 1427969"/>
              <a:gd name="connsiteY132" fmla="*/ 120650 h 1585166"/>
              <a:gd name="connsiteX133" fmla="*/ 1117600 w 1427969"/>
              <a:gd name="connsiteY133" fmla="*/ 101600 h 1585166"/>
              <a:gd name="connsiteX134" fmla="*/ 1085850 w 1427969"/>
              <a:gd name="connsiteY134" fmla="*/ 50800 h 1585166"/>
              <a:gd name="connsiteX135" fmla="*/ 1028700 w 1427969"/>
              <a:gd name="connsiteY135" fmla="*/ 57150 h 1585166"/>
              <a:gd name="connsiteX136" fmla="*/ 1016000 w 1427969"/>
              <a:gd name="connsiteY136" fmla="*/ 38100 h 1585166"/>
              <a:gd name="connsiteX137" fmla="*/ 1009650 w 1427969"/>
              <a:gd name="connsiteY137" fmla="*/ 12700 h 1585166"/>
              <a:gd name="connsiteX138" fmla="*/ 990600 w 1427969"/>
              <a:gd name="connsiteY138" fmla="*/ 6350 h 1585166"/>
              <a:gd name="connsiteX139" fmla="*/ 920750 w 1427969"/>
              <a:gd name="connsiteY139" fmla="*/ 0 h 1585166"/>
              <a:gd name="connsiteX140" fmla="*/ 889000 w 1427969"/>
              <a:gd name="connsiteY140" fmla="*/ 6350 h 1585166"/>
              <a:gd name="connsiteX141" fmla="*/ 889000 w 1427969"/>
              <a:gd name="connsiteY141" fmla="*/ 50800 h 1585166"/>
              <a:gd name="connsiteX142" fmla="*/ 908050 w 1427969"/>
              <a:gd name="connsiteY142" fmla="*/ 57150 h 1585166"/>
              <a:gd name="connsiteX143" fmla="*/ 914400 w 1427969"/>
              <a:gd name="connsiteY143" fmla="*/ 76200 h 1585166"/>
              <a:gd name="connsiteX144" fmla="*/ 876300 w 1427969"/>
              <a:gd name="connsiteY144" fmla="*/ 95250 h 1585166"/>
              <a:gd name="connsiteX145" fmla="*/ 857250 w 1427969"/>
              <a:gd name="connsiteY145" fmla="*/ 107950 h 1585166"/>
              <a:gd name="connsiteX146" fmla="*/ 831850 w 1427969"/>
              <a:gd name="connsiteY146" fmla="*/ 139700 h 1585166"/>
              <a:gd name="connsiteX147" fmla="*/ 774700 w 1427969"/>
              <a:gd name="connsiteY147" fmla="*/ 152400 h 1585166"/>
              <a:gd name="connsiteX148" fmla="*/ 781050 w 1427969"/>
              <a:gd name="connsiteY148" fmla="*/ 171450 h 1585166"/>
              <a:gd name="connsiteX149" fmla="*/ 774700 w 1427969"/>
              <a:gd name="connsiteY149" fmla="*/ 196850 h 1585166"/>
              <a:gd name="connsiteX150" fmla="*/ 749300 w 1427969"/>
              <a:gd name="connsiteY150" fmla="*/ 203200 h 1585166"/>
              <a:gd name="connsiteX151" fmla="*/ 711200 w 1427969"/>
              <a:gd name="connsiteY151" fmla="*/ 209550 h 1585166"/>
              <a:gd name="connsiteX152" fmla="*/ 660400 w 1427969"/>
              <a:gd name="connsiteY152" fmla="*/ 203200 h 1585166"/>
              <a:gd name="connsiteX153" fmla="*/ 622300 w 1427969"/>
              <a:gd name="connsiteY153" fmla="*/ 177800 h 1585166"/>
              <a:gd name="connsiteX154" fmla="*/ 603250 w 1427969"/>
              <a:gd name="connsiteY154" fmla="*/ 171450 h 1585166"/>
              <a:gd name="connsiteX155" fmla="*/ 577850 w 1427969"/>
              <a:gd name="connsiteY155" fmla="*/ 114300 h 1585166"/>
              <a:gd name="connsiteX156" fmla="*/ 552450 w 1427969"/>
              <a:gd name="connsiteY156" fmla="*/ 101600 h 1585166"/>
              <a:gd name="connsiteX157" fmla="*/ 539750 w 1427969"/>
              <a:gd name="connsiteY157" fmla="*/ 120650 h 1585166"/>
              <a:gd name="connsiteX158" fmla="*/ 565150 w 1427969"/>
              <a:gd name="connsiteY158" fmla="*/ 158750 h 1585166"/>
              <a:gd name="connsiteX159" fmla="*/ 552450 w 1427969"/>
              <a:gd name="connsiteY159" fmla="*/ 177800 h 1585166"/>
              <a:gd name="connsiteX160" fmla="*/ 514350 w 1427969"/>
              <a:gd name="connsiteY160" fmla="*/ 158750 h 1585166"/>
              <a:gd name="connsiteX161" fmla="*/ 482600 w 1427969"/>
              <a:gd name="connsiteY161" fmla="*/ 152400 h 1585166"/>
              <a:gd name="connsiteX162" fmla="*/ 463550 w 1427969"/>
              <a:gd name="connsiteY162" fmla="*/ 146050 h 1585166"/>
              <a:gd name="connsiteX163" fmla="*/ 457200 w 1427969"/>
              <a:gd name="connsiteY163" fmla="*/ 139700 h 1585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427969" h="1585166">
                <a:moveTo>
                  <a:pt x="457200" y="139700"/>
                </a:moveTo>
                <a:cubicBezTo>
                  <a:pt x="467263" y="190014"/>
                  <a:pt x="458723" y="161797"/>
                  <a:pt x="488950" y="222250"/>
                </a:cubicBezTo>
                <a:lnTo>
                  <a:pt x="488950" y="222250"/>
                </a:lnTo>
                <a:cubicBezTo>
                  <a:pt x="497713" y="248540"/>
                  <a:pt x="491587" y="235731"/>
                  <a:pt x="508000" y="260350"/>
                </a:cubicBezTo>
                <a:cubicBezTo>
                  <a:pt x="506505" y="266329"/>
                  <a:pt x="499441" y="297347"/>
                  <a:pt x="495300" y="304800"/>
                </a:cubicBezTo>
                <a:cubicBezTo>
                  <a:pt x="487887" y="318143"/>
                  <a:pt x="478367" y="330200"/>
                  <a:pt x="469900" y="342900"/>
                </a:cubicBezTo>
                <a:cubicBezTo>
                  <a:pt x="456753" y="362620"/>
                  <a:pt x="472261" y="363871"/>
                  <a:pt x="450850" y="381000"/>
                </a:cubicBezTo>
                <a:cubicBezTo>
                  <a:pt x="445623" y="385181"/>
                  <a:pt x="438150" y="385233"/>
                  <a:pt x="431800" y="387350"/>
                </a:cubicBezTo>
                <a:cubicBezTo>
                  <a:pt x="424413" y="409511"/>
                  <a:pt x="422931" y="411331"/>
                  <a:pt x="419100" y="438150"/>
                </a:cubicBezTo>
                <a:cubicBezTo>
                  <a:pt x="416389" y="457125"/>
                  <a:pt x="416509" y="476505"/>
                  <a:pt x="412750" y="495300"/>
                </a:cubicBezTo>
                <a:cubicBezTo>
                  <a:pt x="410125" y="508427"/>
                  <a:pt x="409516" y="523934"/>
                  <a:pt x="400050" y="533400"/>
                </a:cubicBezTo>
                <a:lnTo>
                  <a:pt x="381000" y="552450"/>
                </a:lnTo>
                <a:cubicBezTo>
                  <a:pt x="368856" y="588883"/>
                  <a:pt x="383347" y="554875"/>
                  <a:pt x="355600" y="590550"/>
                </a:cubicBezTo>
                <a:cubicBezTo>
                  <a:pt x="346229" y="602598"/>
                  <a:pt x="339358" y="616439"/>
                  <a:pt x="330200" y="628650"/>
                </a:cubicBezTo>
                <a:cubicBezTo>
                  <a:pt x="300374" y="668418"/>
                  <a:pt x="318634" y="646566"/>
                  <a:pt x="273050" y="692150"/>
                </a:cubicBezTo>
                <a:cubicBezTo>
                  <a:pt x="267654" y="697546"/>
                  <a:pt x="260826" y="701437"/>
                  <a:pt x="254000" y="704850"/>
                </a:cubicBezTo>
                <a:cubicBezTo>
                  <a:pt x="248013" y="707843"/>
                  <a:pt x="241300" y="709083"/>
                  <a:pt x="234950" y="711200"/>
                </a:cubicBezTo>
                <a:cubicBezTo>
                  <a:pt x="222987" y="723163"/>
                  <a:pt x="210273" y="733387"/>
                  <a:pt x="203200" y="749300"/>
                </a:cubicBezTo>
                <a:cubicBezTo>
                  <a:pt x="180928" y="799413"/>
                  <a:pt x="205720" y="777253"/>
                  <a:pt x="171450" y="800100"/>
                </a:cubicBezTo>
                <a:cubicBezTo>
                  <a:pt x="155489" y="847983"/>
                  <a:pt x="177019" y="788961"/>
                  <a:pt x="152400" y="838200"/>
                </a:cubicBezTo>
                <a:cubicBezTo>
                  <a:pt x="145142" y="852715"/>
                  <a:pt x="143323" y="874509"/>
                  <a:pt x="139700" y="889000"/>
                </a:cubicBezTo>
                <a:cubicBezTo>
                  <a:pt x="138077" y="895494"/>
                  <a:pt x="135467" y="901700"/>
                  <a:pt x="133350" y="908050"/>
                </a:cubicBezTo>
                <a:cubicBezTo>
                  <a:pt x="131233" y="927100"/>
                  <a:pt x="128907" y="946128"/>
                  <a:pt x="127000" y="965200"/>
                </a:cubicBezTo>
                <a:cubicBezTo>
                  <a:pt x="124674" y="988463"/>
                  <a:pt x="128043" y="1012870"/>
                  <a:pt x="120650" y="1035050"/>
                </a:cubicBezTo>
                <a:cubicBezTo>
                  <a:pt x="118533" y="1041400"/>
                  <a:pt x="107950" y="1039283"/>
                  <a:pt x="101600" y="1041400"/>
                </a:cubicBezTo>
                <a:cubicBezTo>
                  <a:pt x="77194" y="1078009"/>
                  <a:pt x="98324" y="1042694"/>
                  <a:pt x="82550" y="1079500"/>
                </a:cubicBezTo>
                <a:cubicBezTo>
                  <a:pt x="78821" y="1088201"/>
                  <a:pt x="73174" y="1096037"/>
                  <a:pt x="69850" y="1104900"/>
                </a:cubicBezTo>
                <a:cubicBezTo>
                  <a:pt x="63746" y="1121176"/>
                  <a:pt x="64826" y="1133998"/>
                  <a:pt x="57150" y="1149350"/>
                </a:cubicBezTo>
                <a:cubicBezTo>
                  <a:pt x="53737" y="1156176"/>
                  <a:pt x="47550" y="1161426"/>
                  <a:pt x="44450" y="1168400"/>
                </a:cubicBezTo>
                <a:cubicBezTo>
                  <a:pt x="39013" y="1180633"/>
                  <a:pt x="31750" y="1206500"/>
                  <a:pt x="31750" y="1206500"/>
                </a:cubicBezTo>
                <a:cubicBezTo>
                  <a:pt x="33867" y="1212850"/>
                  <a:pt x="33919" y="1220323"/>
                  <a:pt x="38100" y="1225550"/>
                </a:cubicBezTo>
                <a:cubicBezTo>
                  <a:pt x="42868" y="1231509"/>
                  <a:pt x="51754" y="1232854"/>
                  <a:pt x="57150" y="1238250"/>
                </a:cubicBezTo>
                <a:cubicBezTo>
                  <a:pt x="62546" y="1243646"/>
                  <a:pt x="65617" y="1250950"/>
                  <a:pt x="69850" y="1257300"/>
                </a:cubicBezTo>
                <a:cubicBezTo>
                  <a:pt x="68242" y="1265340"/>
                  <a:pt x="63158" y="1297586"/>
                  <a:pt x="57150" y="1308100"/>
                </a:cubicBezTo>
                <a:cubicBezTo>
                  <a:pt x="51899" y="1317289"/>
                  <a:pt x="44450" y="1325033"/>
                  <a:pt x="38100" y="1333500"/>
                </a:cubicBezTo>
                <a:cubicBezTo>
                  <a:pt x="35983" y="1339850"/>
                  <a:pt x="34743" y="1346563"/>
                  <a:pt x="31750" y="1352550"/>
                </a:cubicBezTo>
                <a:cubicBezTo>
                  <a:pt x="28337" y="1359376"/>
                  <a:pt x="22056" y="1364585"/>
                  <a:pt x="19050" y="1371600"/>
                </a:cubicBezTo>
                <a:cubicBezTo>
                  <a:pt x="15612" y="1379622"/>
                  <a:pt x="14817" y="1388533"/>
                  <a:pt x="12700" y="1397000"/>
                </a:cubicBezTo>
                <a:cubicBezTo>
                  <a:pt x="14817" y="1403350"/>
                  <a:pt x="19050" y="1409357"/>
                  <a:pt x="19050" y="1416050"/>
                </a:cubicBezTo>
                <a:cubicBezTo>
                  <a:pt x="19050" y="1429195"/>
                  <a:pt x="6421" y="1444518"/>
                  <a:pt x="0" y="1454150"/>
                </a:cubicBezTo>
                <a:cubicBezTo>
                  <a:pt x="7188" y="1497277"/>
                  <a:pt x="196" y="1500847"/>
                  <a:pt x="44450" y="1530350"/>
                </a:cubicBezTo>
                <a:lnTo>
                  <a:pt x="82550" y="1555750"/>
                </a:lnTo>
                <a:cubicBezTo>
                  <a:pt x="84667" y="1564217"/>
                  <a:pt x="81918" y="1575914"/>
                  <a:pt x="88900" y="1581150"/>
                </a:cubicBezTo>
                <a:cubicBezTo>
                  <a:pt x="94255" y="1585166"/>
                  <a:pt x="101798" y="1577437"/>
                  <a:pt x="107950" y="1574800"/>
                </a:cubicBezTo>
                <a:cubicBezTo>
                  <a:pt x="185878" y="1541402"/>
                  <a:pt x="88627" y="1581286"/>
                  <a:pt x="152400" y="1549400"/>
                </a:cubicBezTo>
                <a:cubicBezTo>
                  <a:pt x="158387" y="1546407"/>
                  <a:pt x="165100" y="1545167"/>
                  <a:pt x="171450" y="1543050"/>
                </a:cubicBezTo>
                <a:cubicBezTo>
                  <a:pt x="182033" y="1545167"/>
                  <a:pt x="193094" y="1545610"/>
                  <a:pt x="203200" y="1549400"/>
                </a:cubicBezTo>
                <a:cubicBezTo>
                  <a:pt x="210346" y="1552080"/>
                  <a:pt x="214656" y="1561341"/>
                  <a:pt x="222250" y="1562100"/>
                </a:cubicBezTo>
                <a:cubicBezTo>
                  <a:pt x="237143" y="1563589"/>
                  <a:pt x="251883" y="1557867"/>
                  <a:pt x="266700" y="1555750"/>
                </a:cubicBezTo>
                <a:cubicBezTo>
                  <a:pt x="329723" y="1534742"/>
                  <a:pt x="233451" y="1569988"/>
                  <a:pt x="304800" y="1530350"/>
                </a:cubicBezTo>
                <a:cubicBezTo>
                  <a:pt x="316502" y="1523849"/>
                  <a:pt x="342900" y="1517650"/>
                  <a:pt x="342900" y="1517650"/>
                </a:cubicBezTo>
                <a:cubicBezTo>
                  <a:pt x="353483" y="1519767"/>
                  <a:pt x="365670" y="1518013"/>
                  <a:pt x="374650" y="1524000"/>
                </a:cubicBezTo>
                <a:cubicBezTo>
                  <a:pt x="380219" y="1527713"/>
                  <a:pt x="376267" y="1538317"/>
                  <a:pt x="381000" y="1543050"/>
                </a:cubicBezTo>
                <a:cubicBezTo>
                  <a:pt x="391793" y="1553843"/>
                  <a:pt x="419100" y="1568450"/>
                  <a:pt x="419100" y="1568450"/>
                </a:cubicBezTo>
                <a:cubicBezTo>
                  <a:pt x="439508" y="1565899"/>
                  <a:pt x="477412" y="1574177"/>
                  <a:pt x="482600" y="1543050"/>
                </a:cubicBezTo>
                <a:cubicBezTo>
                  <a:pt x="483700" y="1536448"/>
                  <a:pt x="478367" y="1530350"/>
                  <a:pt x="476250" y="1524000"/>
                </a:cubicBezTo>
                <a:cubicBezTo>
                  <a:pt x="484717" y="1521883"/>
                  <a:pt x="493259" y="1520048"/>
                  <a:pt x="501650" y="1517650"/>
                </a:cubicBezTo>
                <a:cubicBezTo>
                  <a:pt x="508086" y="1515811"/>
                  <a:pt x="518214" y="1517515"/>
                  <a:pt x="520700" y="1511300"/>
                </a:cubicBezTo>
                <a:cubicBezTo>
                  <a:pt x="531019" y="1485504"/>
                  <a:pt x="508600" y="1483983"/>
                  <a:pt x="495300" y="1479550"/>
                </a:cubicBezTo>
                <a:cubicBezTo>
                  <a:pt x="473010" y="1485122"/>
                  <a:pt x="455493" y="1493089"/>
                  <a:pt x="431800" y="1479550"/>
                </a:cubicBezTo>
                <a:cubicBezTo>
                  <a:pt x="425988" y="1476229"/>
                  <a:pt x="427567" y="1466850"/>
                  <a:pt x="425450" y="1460500"/>
                </a:cubicBezTo>
                <a:cubicBezTo>
                  <a:pt x="455639" y="1440374"/>
                  <a:pt x="437260" y="1450213"/>
                  <a:pt x="482600" y="1435100"/>
                </a:cubicBezTo>
                <a:lnTo>
                  <a:pt x="501650" y="1428750"/>
                </a:lnTo>
                <a:cubicBezTo>
                  <a:pt x="503767" y="1422400"/>
                  <a:pt x="503267" y="1414433"/>
                  <a:pt x="508000" y="1409700"/>
                </a:cubicBezTo>
                <a:cubicBezTo>
                  <a:pt x="520754" y="1396946"/>
                  <a:pt x="539561" y="1406478"/>
                  <a:pt x="552450" y="1409700"/>
                </a:cubicBezTo>
                <a:cubicBezTo>
                  <a:pt x="558800" y="1418167"/>
                  <a:pt x="568593" y="1424924"/>
                  <a:pt x="571500" y="1435100"/>
                </a:cubicBezTo>
                <a:cubicBezTo>
                  <a:pt x="578273" y="1458807"/>
                  <a:pt x="547793" y="1449493"/>
                  <a:pt x="571500" y="1473200"/>
                </a:cubicBezTo>
                <a:cubicBezTo>
                  <a:pt x="576233" y="1477933"/>
                  <a:pt x="584114" y="1477711"/>
                  <a:pt x="590550" y="1479550"/>
                </a:cubicBezTo>
                <a:cubicBezTo>
                  <a:pt x="623182" y="1488873"/>
                  <a:pt x="625521" y="1487096"/>
                  <a:pt x="666750" y="1492250"/>
                </a:cubicBezTo>
                <a:cubicBezTo>
                  <a:pt x="673100" y="1494367"/>
                  <a:pt x="679198" y="1499700"/>
                  <a:pt x="685800" y="1498600"/>
                </a:cubicBezTo>
                <a:cubicBezTo>
                  <a:pt x="693328" y="1497345"/>
                  <a:pt x="697835" y="1488906"/>
                  <a:pt x="704850" y="1485900"/>
                </a:cubicBezTo>
                <a:cubicBezTo>
                  <a:pt x="712872" y="1482462"/>
                  <a:pt x="721783" y="1481667"/>
                  <a:pt x="730250" y="1479550"/>
                </a:cubicBezTo>
                <a:cubicBezTo>
                  <a:pt x="740833" y="1481667"/>
                  <a:pt x="751587" y="1483060"/>
                  <a:pt x="762000" y="1485900"/>
                </a:cubicBezTo>
                <a:cubicBezTo>
                  <a:pt x="774915" y="1489422"/>
                  <a:pt x="800100" y="1498600"/>
                  <a:pt x="800100" y="1498600"/>
                </a:cubicBezTo>
                <a:cubicBezTo>
                  <a:pt x="802217" y="1492250"/>
                  <a:pt x="806450" y="1486243"/>
                  <a:pt x="806450" y="1479550"/>
                </a:cubicBezTo>
                <a:cubicBezTo>
                  <a:pt x="806450" y="1472857"/>
                  <a:pt x="803813" y="1466069"/>
                  <a:pt x="800100" y="1460500"/>
                </a:cubicBezTo>
                <a:cubicBezTo>
                  <a:pt x="790321" y="1445832"/>
                  <a:pt x="776057" y="1438121"/>
                  <a:pt x="762000" y="1428750"/>
                </a:cubicBezTo>
                <a:cubicBezTo>
                  <a:pt x="760312" y="1426218"/>
                  <a:pt x="738799" y="1397568"/>
                  <a:pt x="742950" y="1390650"/>
                </a:cubicBezTo>
                <a:cubicBezTo>
                  <a:pt x="747820" y="1382533"/>
                  <a:pt x="759883" y="1382183"/>
                  <a:pt x="768350" y="1377950"/>
                </a:cubicBezTo>
                <a:lnTo>
                  <a:pt x="806450" y="1416050"/>
                </a:lnTo>
                <a:cubicBezTo>
                  <a:pt x="815916" y="1425516"/>
                  <a:pt x="811724" y="1443011"/>
                  <a:pt x="819150" y="1454150"/>
                </a:cubicBezTo>
                <a:cubicBezTo>
                  <a:pt x="823383" y="1460500"/>
                  <a:pt x="826107" y="1468174"/>
                  <a:pt x="831850" y="1473200"/>
                </a:cubicBezTo>
                <a:cubicBezTo>
                  <a:pt x="843337" y="1483251"/>
                  <a:pt x="869950" y="1498600"/>
                  <a:pt x="869950" y="1498600"/>
                </a:cubicBezTo>
                <a:cubicBezTo>
                  <a:pt x="878933" y="1495606"/>
                  <a:pt x="906427" y="1485900"/>
                  <a:pt x="914400" y="1485900"/>
                </a:cubicBezTo>
                <a:cubicBezTo>
                  <a:pt x="925193" y="1485900"/>
                  <a:pt x="935567" y="1490133"/>
                  <a:pt x="946150" y="1492250"/>
                </a:cubicBezTo>
                <a:cubicBezTo>
                  <a:pt x="948267" y="1498600"/>
                  <a:pt x="950877" y="1504806"/>
                  <a:pt x="952500" y="1511300"/>
                </a:cubicBezTo>
                <a:cubicBezTo>
                  <a:pt x="955118" y="1521771"/>
                  <a:pt x="952863" y="1534070"/>
                  <a:pt x="958850" y="1543050"/>
                </a:cubicBezTo>
                <a:cubicBezTo>
                  <a:pt x="962563" y="1548619"/>
                  <a:pt x="971550" y="1547283"/>
                  <a:pt x="977900" y="1549400"/>
                </a:cubicBezTo>
                <a:cubicBezTo>
                  <a:pt x="998797" y="1563331"/>
                  <a:pt x="999555" y="1570322"/>
                  <a:pt x="1028700" y="1555750"/>
                </a:cubicBezTo>
                <a:cubicBezTo>
                  <a:pt x="1036732" y="1551734"/>
                  <a:pt x="1039900" y="1541061"/>
                  <a:pt x="1047750" y="1536700"/>
                </a:cubicBezTo>
                <a:cubicBezTo>
                  <a:pt x="1059452" y="1530199"/>
                  <a:pt x="1073150" y="1528233"/>
                  <a:pt x="1085850" y="1524000"/>
                </a:cubicBezTo>
                <a:cubicBezTo>
                  <a:pt x="1129080" y="1509590"/>
                  <a:pt x="1098230" y="1518206"/>
                  <a:pt x="1181100" y="1511300"/>
                </a:cubicBezTo>
                <a:cubicBezTo>
                  <a:pt x="1196594" y="1506135"/>
                  <a:pt x="1206890" y="1504560"/>
                  <a:pt x="1219200" y="1492250"/>
                </a:cubicBezTo>
                <a:cubicBezTo>
                  <a:pt x="1224596" y="1486854"/>
                  <a:pt x="1227667" y="1479550"/>
                  <a:pt x="1231900" y="1473200"/>
                </a:cubicBezTo>
                <a:cubicBezTo>
                  <a:pt x="1234017" y="1460500"/>
                  <a:pt x="1235457" y="1447669"/>
                  <a:pt x="1238250" y="1435100"/>
                </a:cubicBezTo>
                <a:cubicBezTo>
                  <a:pt x="1239702" y="1428566"/>
                  <a:pt x="1243287" y="1422614"/>
                  <a:pt x="1244600" y="1416050"/>
                </a:cubicBezTo>
                <a:cubicBezTo>
                  <a:pt x="1247535" y="1401374"/>
                  <a:pt x="1248833" y="1386417"/>
                  <a:pt x="1250950" y="1371600"/>
                </a:cubicBezTo>
                <a:lnTo>
                  <a:pt x="1238250" y="1333500"/>
                </a:lnTo>
                <a:lnTo>
                  <a:pt x="1231900" y="1314450"/>
                </a:lnTo>
                <a:cubicBezTo>
                  <a:pt x="1234017" y="1291167"/>
                  <a:pt x="1234187" y="1267624"/>
                  <a:pt x="1238250" y="1244600"/>
                </a:cubicBezTo>
                <a:cubicBezTo>
                  <a:pt x="1240576" y="1231417"/>
                  <a:pt x="1250950" y="1206500"/>
                  <a:pt x="1250950" y="1206500"/>
                </a:cubicBezTo>
                <a:cubicBezTo>
                  <a:pt x="1234989" y="1158617"/>
                  <a:pt x="1256519" y="1217639"/>
                  <a:pt x="1231900" y="1168400"/>
                </a:cubicBezTo>
                <a:cubicBezTo>
                  <a:pt x="1225092" y="1154783"/>
                  <a:pt x="1222098" y="1130642"/>
                  <a:pt x="1219200" y="1117600"/>
                </a:cubicBezTo>
                <a:cubicBezTo>
                  <a:pt x="1213884" y="1093680"/>
                  <a:pt x="1213571" y="1094364"/>
                  <a:pt x="1206500" y="1073150"/>
                </a:cubicBezTo>
                <a:cubicBezTo>
                  <a:pt x="1204383" y="1047750"/>
                  <a:pt x="1203519" y="1022214"/>
                  <a:pt x="1200150" y="996950"/>
                </a:cubicBezTo>
                <a:cubicBezTo>
                  <a:pt x="1196806" y="971872"/>
                  <a:pt x="1182137" y="977674"/>
                  <a:pt x="1200150" y="946150"/>
                </a:cubicBezTo>
                <a:cubicBezTo>
                  <a:pt x="1203936" y="939524"/>
                  <a:pt x="1212226" y="936550"/>
                  <a:pt x="1219200" y="933450"/>
                </a:cubicBezTo>
                <a:cubicBezTo>
                  <a:pt x="1231433" y="928013"/>
                  <a:pt x="1244600" y="924983"/>
                  <a:pt x="1257300" y="920750"/>
                </a:cubicBezTo>
                <a:cubicBezTo>
                  <a:pt x="1286589" y="910987"/>
                  <a:pt x="1269786" y="915713"/>
                  <a:pt x="1308100" y="908050"/>
                </a:cubicBezTo>
                <a:cubicBezTo>
                  <a:pt x="1312758" y="901063"/>
                  <a:pt x="1328696" y="880775"/>
                  <a:pt x="1327150" y="869950"/>
                </a:cubicBezTo>
                <a:cubicBezTo>
                  <a:pt x="1325811" y="860579"/>
                  <a:pt x="1318179" y="853251"/>
                  <a:pt x="1314450" y="844550"/>
                </a:cubicBezTo>
                <a:cubicBezTo>
                  <a:pt x="1298676" y="807744"/>
                  <a:pt x="1319806" y="843059"/>
                  <a:pt x="1295400" y="806450"/>
                </a:cubicBezTo>
                <a:cubicBezTo>
                  <a:pt x="1297517" y="800100"/>
                  <a:pt x="1297017" y="792133"/>
                  <a:pt x="1301750" y="787400"/>
                </a:cubicBezTo>
                <a:cubicBezTo>
                  <a:pt x="1315149" y="774001"/>
                  <a:pt x="1348562" y="785677"/>
                  <a:pt x="1358900" y="787400"/>
                </a:cubicBezTo>
                <a:cubicBezTo>
                  <a:pt x="1371600" y="791633"/>
                  <a:pt x="1389574" y="811239"/>
                  <a:pt x="1397000" y="800100"/>
                </a:cubicBezTo>
                <a:lnTo>
                  <a:pt x="1422400" y="762000"/>
                </a:lnTo>
                <a:cubicBezTo>
                  <a:pt x="1406439" y="714117"/>
                  <a:pt x="1427969" y="773139"/>
                  <a:pt x="1403350" y="723900"/>
                </a:cubicBezTo>
                <a:cubicBezTo>
                  <a:pt x="1400357" y="717913"/>
                  <a:pt x="1399117" y="711200"/>
                  <a:pt x="1397000" y="704850"/>
                </a:cubicBezTo>
                <a:cubicBezTo>
                  <a:pt x="1393164" y="654983"/>
                  <a:pt x="1394755" y="632372"/>
                  <a:pt x="1384300" y="590550"/>
                </a:cubicBezTo>
                <a:cubicBezTo>
                  <a:pt x="1382677" y="584056"/>
                  <a:pt x="1382683" y="576233"/>
                  <a:pt x="1377950" y="571500"/>
                </a:cubicBezTo>
                <a:cubicBezTo>
                  <a:pt x="1367157" y="560707"/>
                  <a:pt x="1339850" y="546100"/>
                  <a:pt x="1339850" y="546100"/>
                </a:cubicBezTo>
                <a:lnTo>
                  <a:pt x="1301750" y="488950"/>
                </a:lnTo>
                <a:cubicBezTo>
                  <a:pt x="1297944" y="483241"/>
                  <a:pt x="1290108" y="448205"/>
                  <a:pt x="1289050" y="444500"/>
                </a:cubicBezTo>
                <a:cubicBezTo>
                  <a:pt x="1275155" y="395867"/>
                  <a:pt x="1292264" y="456494"/>
                  <a:pt x="1270000" y="406400"/>
                </a:cubicBezTo>
                <a:lnTo>
                  <a:pt x="1250950" y="349250"/>
                </a:lnTo>
                <a:lnTo>
                  <a:pt x="1244600" y="330200"/>
                </a:lnTo>
                <a:cubicBezTo>
                  <a:pt x="1242483" y="292100"/>
                  <a:pt x="1245734" y="253318"/>
                  <a:pt x="1238250" y="215900"/>
                </a:cubicBezTo>
                <a:cubicBezTo>
                  <a:pt x="1236753" y="208416"/>
                  <a:pt x="1226755" y="204279"/>
                  <a:pt x="1219200" y="203200"/>
                </a:cubicBezTo>
                <a:cubicBezTo>
                  <a:pt x="1210560" y="201966"/>
                  <a:pt x="1202267" y="207433"/>
                  <a:pt x="1193800" y="209550"/>
                </a:cubicBezTo>
                <a:cubicBezTo>
                  <a:pt x="1178169" y="219971"/>
                  <a:pt x="1171331" y="232996"/>
                  <a:pt x="1155700" y="209550"/>
                </a:cubicBezTo>
                <a:cubicBezTo>
                  <a:pt x="1150859" y="202288"/>
                  <a:pt x="1151748" y="192541"/>
                  <a:pt x="1149350" y="184150"/>
                </a:cubicBezTo>
                <a:cubicBezTo>
                  <a:pt x="1147511" y="177714"/>
                  <a:pt x="1144839" y="171536"/>
                  <a:pt x="1143000" y="165100"/>
                </a:cubicBezTo>
                <a:cubicBezTo>
                  <a:pt x="1140287" y="155605"/>
                  <a:pt x="1135375" y="130800"/>
                  <a:pt x="1130300" y="120650"/>
                </a:cubicBezTo>
                <a:cubicBezTo>
                  <a:pt x="1126887" y="113824"/>
                  <a:pt x="1120700" y="108574"/>
                  <a:pt x="1117600" y="101600"/>
                </a:cubicBezTo>
                <a:cubicBezTo>
                  <a:pt x="1095328" y="51487"/>
                  <a:pt x="1120120" y="73647"/>
                  <a:pt x="1085850" y="50800"/>
                </a:cubicBezTo>
                <a:cubicBezTo>
                  <a:pt x="1041400" y="65617"/>
                  <a:pt x="1060450" y="67733"/>
                  <a:pt x="1028700" y="57150"/>
                </a:cubicBezTo>
                <a:cubicBezTo>
                  <a:pt x="1024467" y="50800"/>
                  <a:pt x="1019006" y="45115"/>
                  <a:pt x="1016000" y="38100"/>
                </a:cubicBezTo>
                <a:cubicBezTo>
                  <a:pt x="1012562" y="30078"/>
                  <a:pt x="1015102" y="19515"/>
                  <a:pt x="1009650" y="12700"/>
                </a:cubicBezTo>
                <a:cubicBezTo>
                  <a:pt x="1005469" y="7473"/>
                  <a:pt x="997226" y="7297"/>
                  <a:pt x="990600" y="6350"/>
                </a:cubicBezTo>
                <a:cubicBezTo>
                  <a:pt x="967456" y="3044"/>
                  <a:pt x="944033" y="2117"/>
                  <a:pt x="920750" y="0"/>
                </a:cubicBezTo>
                <a:cubicBezTo>
                  <a:pt x="910167" y="2117"/>
                  <a:pt x="897980" y="363"/>
                  <a:pt x="889000" y="6350"/>
                </a:cubicBezTo>
                <a:cubicBezTo>
                  <a:pt x="877574" y="13967"/>
                  <a:pt x="884046" y="44608"/>
                  <a:pt x="889000" y="50800"/>
                </a:cubicBezTo>
                <a:cubicBezTo>
                  <a:pt x="893181" y="56027"/>
                  <a:pt x="901700" y="55033"/>
                  <a:pt x="908050" y="57150"/>
                </a:cubicBezTo>
                <a:cubicBezTo>
                  <a:pt x="910167" y="63500"/>
                  <a:pt x="916886" y="69985"/>
                  <a:pt x="914400" y="76200"/>
                </a:cubicBezTo>
                <a:cubicBezTo>
                  <a:pt x="910612" y="85669"/>
                  <a:pt x="884319" y="92577"/>
                  <a:pt x="876300" y="95250"/>
                </a:cubicBezTo>
                <a:cubicBezTo>
                  <a:pt x="869950" y="99483"/>
                  <a:pt x="862018" y="101991"/>
                  <a:pt x="857250" y="107950"/>
                </a:cubicBezTo>
                <a:cubicBezTo>
                  <a:pt x="839608" y="130002"/>
                  <a:pt x="866592" y="128119"/>
                  <a:pt x="831850" y="139700"/>
                </a:cubicBezTo>
                <a:cubicBezTo>
                  <a:pt x="813337" y="145871"/>
                  <a:pt x="793750" y="148167"/>
                  <a:pt x="774700" y="152400"/>
                </a:cubicBezTo>
                <a:cubicBezTo>
                  <a:pt x="776817" y="158750"/>
                  <a:pt x="781050" y="164757"/>
                  <a:pt x="781050" y="171450"/>
                </a:cubicBezTo>
                <a:cubicBezTo>
                  <a:pt x="781050" y="180177"/>
                  <a:pt x="780871" y="190679"/>
                  <a:pt x="774700" y="196850"/>
                </a:cubicBezTo>
                <a:cubicBezTo>
                  <a:pt x="768529" y="203021"/>
                  <a:pt x="757858" y="201488"/>
                  <a:pt x="749300" y="203200"/>
                </a:cubicBezTo>
                <a:cubicBezTo>
                  <a:pt x="736675" y="205725"/>
                  <a:pt x="723900" y="207433"/>
                  <a:pt x="711200" y="209550"/>
                </a:cubicBezTo>
                <a:cubicBezTo>
                  <a:pt x="694267" y="207433"/>
                  <a:pt x="676471" y="208940"/>
                  <a:pt x="660400" y="203200"/>
                </a:cubicBezTo>
                <a:cubicBezTo>
                  <a:pt x="646026" y="198066"/>
                  <a:pt x="636780" y="182627"/>
                  <a:pt x="622300" y="177800"/>
                </a:cubicBezTo>
                <a:lnTo>
                  <a:pt x="603250" y="171450"/>
                </a:lnTo>
                <a:cubicBezTo>
                  <a:pt x="583124" y="141261"/>
                  <a:pt x="592963" y="159640"/>
                  <a:pt x="577850" y="114300"/>
                </a:cubicBezTo>
                <a:cubicBezTo>
                  <a:pt x="574857" y="105320"/>
                  <a:pt x="560917" y="105833"/>
                  <a:pt x="552450" y="101600"/>
                </a:cubicBezTo>
                <a:cubicBezTo>
                  <a:pt x="548217" y="107950"/>
                  <a:pt x="541005" y="113122"/>
                  <a:pt x="539750" y="120650"/>
                </a:cubicBezTo>
                <a:cubicBezTo>
                  <a:pt x="537124" y="136404"/>
                  <a:pt x="557219" y="150819"/>
                  <a:pt x="565150" y="158750"/>
                </a:cubicBezTo>
                <a:cubicBezTo>
                  <a:pt x="560917" y="165100"/>
                  <a:pt x="559536" y="174966"/>
                  <a:pt x="552450" y="177800"/>
                </a:cubicBezTo>
                <a:cubicBezTo>
                  <a:pt x="542910" y="181616"/>
                  <a:pt x="519871" y="160820"/>
                  <a:pt x="514350" y="158750"/>
                </a:cubicBezTo>
                <a:cubicBezTo>
                  <a:pt x="504244" y="154960"/>
                  <a:pt x="493071" y="155018"/>
                  <a:pt x="482600" y="152400"/>
                </a:cubicBezTo>
                <a:cubicBezTo>
                  <a:pt x="476106" y="150777"/>
                  <a:pt x="469900" y="148167"/>
                  <a:pt x="463550" y="146050"/>
                </a:cubicBezTo>
                <a:cubicBezTo>
                  <a:pt x="455703" y="169590"/>
                  <a:pt x="454207" y="159113"/>
                  <a:pt x="457200" y="139700"/>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27" name="Freeform 26"/>
          <p:cNvSpPr/>
          <p:nvPr>
            <p:custDataLst>
              <p:tags r:id="rId16"/>
            </p:custDataLst>
          </p:nvPr>
        </p:nvSpPr>
        <p:spPr bwMode="auto">
          <a:xfrm>
            <a:off x="468996" y="3792937"/>
            <a:ext cx="895225" cy="1145675"/>
          </a:xfrm>
          <a:custGeom>
            <a:avLst/>
            <a:gdLst>
              <a:gd name="connsiteX0" fmla="*/ 114300 w 1066800"/>
              <a:gd name="connsiteY0" fmla="*/ 355600 h 1365250"/>
              <a:gd name="connsiteX1" fmla="*/ 133350 w 1066800"/>
              <a:gd name="connsiteY1" fmla="*/ 374650 h 1365250"/>
              <a:gd name="connsiteX2" fmla="*/ 152400 w 1066800"/>
              <a:gd name="connsiteY2" fmla="*/ 387350 h 1365250"/>
              <a:gd name="connsiteX3" fmla="*/ 158750 w 1066800"/>
              <a:gd name="connsiteY3" fmla="*/ 406400 h 1365250"/>
              <a:gd name="connsiteX4" fmla="*/ 139700 w 1066800"/>
              <a:gd name="connsiteY4" fmla="*/ 412750 h 1365250"/>
              <a:gd name="connsiteX5" fmla="*/ 95250 w 1066800"/>
              <a:gd name="connsiteY5" fmla="*/ 393700 h 1365250"/>
              <a:gd name="connsiteX6" fmla="*/ 76200 w 1066800"/>
              <a:gd name="connsiteY6" fmla="*/ 412750 h 1365250"/>
              <a:gd name="connsiteX7" fmla="*/ 50800 w 1066800"/>
              <a:gd name="connsiteY7" fmla="*/ 450850 h 1365250"/>
              <a:gd name="connsiteX8" fmla="*/ 31750 w 1066800"/>
              <a:gd name="connsiteY8" fmla="*/ 463550 h 1365250"/>
              <a:gd name="connsiteX9" fmla="*/ 6350 w 1066800"/>
              <a:gd name="connsiteY9" fmla="*/ 457200 h 1365250"/>
              <a:gd name="connsiteX10" fmla="*/ 0 w 1066800"/>
              <a:gd name="connsiteY10" fmla="*/ 476250 h 1365250"/>
              <a:gd name="connsiteX11" fmla="*/ 6350 w 1066800"/>
              <a:gd name="connsiteY11" fmla="*/ 514350 h 1365250"/>
              <a:gd name="connsiteX12" fmla="*/ 12700 w 1066800"/>
              <a:gd name="connsiteY12" fmla="*/ 558800 h 1365250"/>
              <a:gd name="connsiteX13" fmla="*/ 19050 w 1066800"/>
              <a:gd name="connsiteY13" fmla="*/ 647700 h 1365250"/>
              <a:gd name="connsiteX14" fmla="*/ 25400 w 1066800"/>
              <a:gd name="connsiteY14" fmla="*/ 666750 h 1365250"/>
              <a:gd name="connsiteX15" fmla="*/ 44450 w 1066800"/>
              <a:gd name="connsiteY15" fmla="*/ 679450 h 1365250"/>
              <a:gd name="connsiteX16" fmla="*/ 57150 w 1066800"/>
              <a:gd name="connsiteY16" fmla="*/ 698500 h 1365250"/>
              <a:gd name="connsiteX17" fmla="*/ 88900 w 1066800"/>
              <a:gd name="connsiteY17" fmla="*/ 742950 h 1365250"/>
              <a:gd name="connsiteX18" fmla="*/ 127000 w 1066800"/>
              <a:gd name="connsiteY18" fmla="*/ 768350 h 1365250"/>
              <a:gd name="connsiteX19" fmla="*/ 146050 w 1066800"/>
              <a:gd name="connsiteY19" fmla="*/ 762000 h 1365250"/>
              <a:gd name="connsiteX20" fmla="*/ 177800 w 1066800"/>
              <a:gd name="connsiteY20" fmla="*/ 787400 h 1365250"/>
              <a:gd name="connsiteX21" fmla="*/ 158750 w 1066800"/>
              <a:gd name="connsiteY21" fmla="*/ 850900 h 1365250"/>
              <a:gd name="connsiteX22" fmla="*/ 146050 w 1066800"/>
              <a:gd name="connsiteY22" fmla="*/ 869950 h 1365250"/>
              <a:gd name="connsiteX23" fmla="*/ 127000 w 1066800"/>
              <a:gd name="connsiteY23" fmla="*/ 889000 h 1365250"/>
              <a:gd name="connsiteX24" fmla="*/ 107950 w 1066800"/>
              <a:gd name="connsiteY24" fmla="*/ 895350 h 1365250"/>
              <a:gd name="connsiteX25" fmla="*/ 82550 w 1066800"/>
              <a:gd name="connsiteY25" fmla="*/ 933450 h 1365250"/>
              <a:gd name="connsiteX26" fmla="*/ 88900 w 1066800"/>
              <a:gd name="connsiteY26" fmla="*/ 952500 h 1365250"/>
              <a:gd name="connsiteX27" fmla="*/ 184150 w 1066800"/>
              <a:gd name="connsiteY27" fmla="*/ 958850 h 1365250"/>
              <a:gd name="connsiteX28" fmla="*/ 254000 w 1066800"/>
              <a:gd name="connsiteY28" fmla="*/ 952500 h 1365250"/>
              <a:gd name="connsiteX29" fmla="*/ 266700 w 1066800"/>
              <a:gd name="connsiteY29" fmla="*/ 933450 h 1365250"/>
              <a:gd name="connsiteX30" fmla="*/ 285750 w 1066800"/>
              <a:gd name="connsiteY30" fmla="*/ 914400 h 1365250"/>
              <a:gd name="connsiteX31" fmla="*/ 304800 w 1066800"/>
              <a:gd name="connsiteY31" fmla="*/ 901700 h 1365250"/>
              <a:gd name="connsiteX32" fmla="*/ 336550 w 1066800"/>
              <a:gd name="connsiteY32" fmla="*/ 895350 h 1365250"/>
              <a:gd name="connsiteX33" fmla="*/ 355600 w 1066800"/>
              <a:gd name="connsiteY33" fmla="*/ 889000 h 1365250"/>
              <a:gd name="connsiteX34" fmla="*/ 406400 w 1066800"/>
              <a:gd name="connsiteY34" fmla="*/ 895350 h 1365250"/>
              <a:gd name="connsiteX35" fmla="*/ 419100 w 1066800"/>
              <a:gd name="connsiteY35" fmla="*/ 914400 h 1365250"/>
              <a:gd name="connsiteX36" fmla="*/ 488950 w 1066800"/>
              <a:gd name="connsiteY36" fmla="*/ 939800 h 1365250"/>
              <a:gd name="connsiteX37" fmla="*/ 501650 w 1066800"/>
              <a:gd name="connsiteY37" fmla="*/ 965200 h 1365250"/>
              <a:gd name="connsiteX38" fmla="*/ 495300 w 1066800"/>
              <a:gd name="connsiteY38" fmla="*/ 990600 h 1365250"/>
              <a:gd name="connsiteX39" fmla="*/ 501650 w 1066800"/>
              <a:gd name="connsiteY39" fmla="*/ 1047750 h 1365250"/>
              <a:gd name="connsiteX40" fmla="*/ 520700 w 1066800"/>
              <a:gd name="connsiteY40" fmla="*/ 1085850 h 1365250"/>
              <a:gd name="connsiteX41" fmla="*/ 539750 w 1066800"/>
              <a:gd name="connsiteY41" fmla="*/ 1104900 h 1365250"/>
              <a:gd name="connsiteX42" fmla="*/ 552450 w 1066800"/>
              <a:gd name="connsiteY42" fmla="*/ 1123950 h 1365250"/>
              <a:gd name="connsiteX43" fmla="*/ 533400 w 1066800"/>
              <a:gd name="connsiteY43" fmla="*/ 1225550 h 1365250"/>
              <a:gd name="connsiteX44" fmla="*/ 552450 w 1066800"/>
              <a:gd name="connsiteY44" fmla="*/ 1231900 h 1365250"/>
              <a:gd name="connsiteX45" fmla="*/ 590550 w 1066800"/>
              <a:gd name="connsiteY45" fmla="*/ 1231900 h 1365250"/>
              <a:gd name="connsiteX46" fmla="*/ 609600 w 1066800"/>
              <a:gd name="connsiteY46" fmla="*/ 1289050 h 1365250"/>
              <a:gd name="connsiteX47" fmla="*/ 666750 w 1066800"/>
              <a:gd name="connsiteY47" fmla="*/ 1320800 h 1365250"/>
              <a:gd name="connsiteX48" fmla="*/ 692150 w 1066800"/>
              <a:gd name="connsiteY48" fmla="*/ 1327150 h 1365250"/>
              <a:gd name="connsiteX49" fmla="*/ 793750 w 1066800"/>
              <a:gd name="connsiteY49" fmla="*/ 1320800 h 1365250"/>
              <a:gd name="connsiteX50" fmla="*/ 812800 w 1066800"/>
              <a:gd name="connsiteY50" fmla="*/ 1327150 h 1365250"/>
              <a:gd name="connsiteX51" fmla="*/ 850900 w 1066800"/>
              <a:gd name="connsiteY51" fmla="*/ 1352550 h 1365250"/>
              <a:gd name="connsiteX52" fmla="*/ 889000 w 1066800"/>
              <a:gd name="connsiteY52" fmla="*/ 1365250 h 1365250"/>
              <a:gd name="connsiteX53" fmla="*/ 952500 w 1066800"/>
              <a:gd name="connsiteY53" fmla="*/ 1352550 h 1365250"/>
              <a:gd name="connsiteX54" fmla="*/ 977900 w 1066800"/>
              <a:gd name="connsiteY54" fmla="*/ 1314450 h 1365250"/>
              <a:gd name="connsiteX55" fmla="*/ 990600 w 1066800"/>
              <a:gd name="connsiteY55" fmla="*/ 1295400 h 1365250"/>
              <a:gd name="connsiteX56" fmla="*/ 1016000 w 1066800"/>
              <a:gd name="connsiteY56" fmla="*/ 1181100 h 1365250"/>
              <a:gd name="connsiteX57" fmla="*/ 1035050 w 1066800"/>
              <a:gd name="connsiteY57" fmla="*/ 1168400 h 1365250"/>
              <a:gd name="connsiteX58" fmla="*/ 1041400 w 1066800"/>
              <a:gd name="connsiteY58" fmla="*/ 1143000 h 1365250"/>
              <a:gd name="connsiteX59" fmla="*/ 1066800 w 1066800"/>
              <a:gd name="connsiteY59" fmla="*/ 1104900 h 1365250"/>
              <a:gd name="connsiteX60" fmla="*/ 1060450 w 1066800"/>
              <a:gd name="connsiteY60" fmla="*/ 1079500 h 1365250"/>
              <a:gd name="connsiteX61" fmla="*/ 1047750 w 1066800"/>
              <a:gd name="connsiteY61" fmla="*/ 1035050 h 1365250"/>
              <a:gd name="connsiteX62" fmla="*/ 1028700 w 1066800"/>
              <a:gd name="connsiteY62" fmla="*/ 952500 h 1365250"/>
              <a:gd name="connsiteX63" fmla="*/ 1022350 w 1066800"/>
              <a:gd name="connsiteY63" fmla="*/ 933450 h 1365250"/>
              <a:gd name="connsiteX64" fmla="*/ 1016000 w 1066800"/>
              <a:gd name="connsiteY64" fmla="*/ 908050 h 1365250"/>
              <a:gd name="connsiteX65" fmla="*/ 990600 w 1066800"/>
              <a:gd name="connsiteY65" fmla="*/ 869950 h 1365250"/>
              <a:gd name="connsiteX66" fmla="*/ 1003300 w 1066800"/>
              <a:gd name="connsiteY66" fmla="*/ 850900 h 1365250"/>
              <a:gd name="connsiteX67" fmla="*/ 1041400 w 1066800"/>
              <a:gd name="connsiteY67" fmla="*/ 838200 h 1365250"/>
              <a:gd name="connsiteX68" fmla="*/ 1054100 w 1066800"/>
              <a:gd name="connsiteY68" fmla="*/ 819150 h 1365250"/>
              <a:gd name="connsiteX69" fmla="*/ 1035050 w 1066800"/>
              <a:gd name="connsiteY69" fmla="*/ 806450 h 1365250"/>
              <a:gd name="connsiteX70" fmla="*/ 1016000 w 1066800"/>
              <a:gd name="connsiteY70" fmla="*/ 787400 h 1365250"/>
              <a:gd name="connsiteX71" fmla="*/ 1003300 w 1066800"/>
              <a:gd name="connsiteY71" fmla="*/ 723900 h 1365250"/>
              <a:gd name="connsiteX72" fmla="*/ 984250 w 1066800"/>
              <a:gd name="connsiteY72" fmla="*/ 685800 h 1365250"/>
              <a:gd name="connsiteX73" fmla="*/ 977900 w 1066800"/>
              <a:gd name="connsiteY73" fmla="*/ 666750 h 1365250"/>
              <a:gd name="connsiteX74" fmla="*/ 939800 w 1066800"/>
              <a:gd name="connsiteY74" fmla="*/ 641350 h 1365250"/>
              <a:gd name="connsiteX75" fmla="*/ 882650 w 1066800"/>
              <a:gd name="connsiteY75" fmla="*/ 654050 h 1365250"/>
              <a:gd name="connsiteX76" fmla="*/ 863600 w 1066800"/>
              <a:gd name="connsiteY76" fmla="*/ 666750 h 1365250"/>
              <a:gd name="connsiteX77" fmla="*/ 819150 w 1066800"/>
              <a:gd name="connsiteY77" fmla="*/ 679450 h 1365250"/>
              <a:gd name="connsiteX78" fmla="*/ 793750 w 1066800"/>
              <a:gd name="connsiteY78" fmla="*/ 673100 h 1365250"/>
              <a:gd name="connsiteX79" fmla="*/ 762000 w 1066800"/>
              <a:gd name="connsiteY79" fmla="*/ 641350 h 1365250"/>
              <a:gd name="connsiteX80" fmla="*/ 749300 w 1066800"/>
              <a:gd name="connsiteY80" fmla="*/ 603250 h 1365250"/>
              <a:gd name="connsiteX81" fmla="*/ 755650 w 1066800"/>
              <a:gd name="connsiteY81" fmla="*/ 584200 h 1365250"/>
              <a:gd name="connsiteX82" fmla="*/ 793750 w 1066800"/>
              <a:gd name="connsiteY82" fmla="*/ 565150 h 1365250"/>
              <a:gd name="connsiteX83" fmla="*/ 800100 w 1066800"/>
              <a:gd name="connsiteY83" fmla="*/ 546100 h 1365250"/>
              <a:gd name="connsiteX84" fmla="*/ 787400 w 1066800"/>
              <a:gd name="connsiteY84" fmla="*/ 508000 h 1365250"/>
              <a:gd name="connsiteX85" fmla="*/ 831850 w 1066800"/>
              <a:gd name="connsiteY85" fmla="*/ 508000 h 1365250"/>
              <a:gd name="connsiteX86" fmla="*/ 869950 w 1066800"/>
              <a:gd name="connsiteY86" fmla="*/ 520700 h 1365250"/>
              <a:gd name="connsiteX87" fmla="*/ 876300 w 1066800"/>
              <a:gd name="connsiteY87" fmla="*/ 501650 h 1365250"/>
              <a:gd name="connsiteX88" fmla="*/ 869950 w 1066800"/>
              <a:gd name="connsiteY88" fmla="*/ 482600 h 1365250"/>
              <a:gd name="connsiteX89" fmla="*/ 895350 w 1066800"/>
              <a:gd name="connsiteY89" fmla="*/ 469900 h 1365250"/>
              <a:gd name="connsiteX90" fmla="*/ 908050 w 1066800"/>
              <a:gd name="connsiteY90" fmla="*/ 450850 h 1365250"/>
              <a:gd name="connsiteX91" fmla="*/ 882650 w 1066800"/>
              <a:gd name="connsiteY91" fmla="*/ 412750 h 1365250"/>
              <a:gd name="connsiteX92" fmla="*/ 876300 w 1066800"/>
              <a:gd name="connsiteY92" fmla="*/ 393700 h 1365250"/>
              <a:gd name="connsiteX93" fmla="*/ 869950 w 1066800"/>
              <a:gd name="connsiteY93" fmla="*/ 361950 h 1365250"/>
              <a:gd name="connsiteX94" fmla="*/ 857250 w 1066800"/>
              <a:gd name="connsiteY94" fmla="*/ 342900 h 1365250"/>
              <a:gd name="connsiteX95" fmla="*/ 857250 w 1066800"/>
              <a:gd name="connsiteY95" fmla="*/ 273050 h 1365250"/>
              <a:gd name="connsiteX96" fmla="*/ 895350 w 1066800"/>
              <a:gd name="connsiteY96" fmla="*/ 254000 h 1365250"/>
              <a:gd name="connsiteX97" fmla="*/ 908050 w 1066800"/>
              <a:gd name="connsiteY97" fmla="*/ 184150 h 1365250"/>
              <a:gd name="connsiteX98" fmla="*/ 869950 w 1066800"/>
              <a:gd name="connsiteY98" fmla="*/ 158750 h 1365250"/>
              <a:gd name="connsiteX99" fmla="*/ 844550 w 1066800"/>
              <a:gd name="connsiteY99" fmla="*/ 101600 h 1365250"/>
              <a:gd name="connsiteX100" fmla="*/ 831850 w 1066800"/>
              <a:gd name="connsiteY100" fmla="*/ 57150 h 1365250"/>
              <a:gd name="connsiteX101" fmla="*/ 793750 w 1066800"/>
              <a:gd name="connsiteY101" fmla="*/ 25400 h 1365250"/>
              <a:gd name="connsiteX102" fmla="*/ 774700 w 1066800"/>
              <a:gd name="connsiteY102" fmla="*/ 19050 h 1365250"/>
              <a:gd name="connsiteX103" fmla="*/ 768350 w 1066800"/>
              <a:gd name="connsiteY103" fmla="*/ 0 h 1365250"/>
              <a:gd name="connsiteX104" fmla="*/ 755650 w 1066800"/>
              <a:gd name="connsiteY104" fmla="*/ 19050 h 1365250"/>
              <a:gd name="connsiteX105" fmla="*/ 749300 w 1066800"/>
              <a:gd name="connsiteY105" fmla="*/ 57150 h 1365250"/>
              <a:gd name="connsiteX106" fmla="*/ 730250 w 1066800"/>
              <a:gd name="connsiteY106" fmla="*/ 69850 h 1365250"/>
              <a:gd name="connsiteX107" fmla="*/ 717550 w 1066800"/>
              <a:gd name="connsiteY107" fmla="*/ 88900 h 1365250"/>
              <a:gd name="connsiteX108" fmla="*/ 692150 w 1066800"/>
              <a:gd name="connsiteY108" fmla="*/ 120650 h 1365250"/>
              <a:gd name="connsiteX109" fmla="*/ 660400 w 1066800"/>
              <a:gd name="connsiteY109" fmla="*/ 127000 h 1365250"/>
              <a:gd name="connsiteX110" fmla="*/ 635000 w 1066800"/>
              <a:gd name="connsiteY110" fmla="*/ 133350 h 1365250"/>
              <a:gd name="connsiteX111" fmla="*/ 596900 w 1066800"/>
              <a:gd name="connsiteY111" fmla="*/ 146050 h 1365250"/>
              <a:gd name="connsiteX112" fmla="*/ 558800 w 1066800"/>
              <a:gd name="connsiteY112" fmla="*/ 171450 h 1365250"/>
              <a:gd name="connsiteX113" fmla="*/ 552450 w 1066800"/>
              <a:gd name="connsiteY113" fmla="*/ 196850 h 1365250"/>
              <a:gd name="connsiteX114" fmla="*/ 533400 w 1066800"/>
              <a:gd name="connsiteY114" fmla="*/ 203200 h 1365250"/>
              <a:gd name="connsiteX115" fmla="*/ 469900 w 1066800"/>
              <a:gd name="connsiteY115" fmla="*/ 209550 h 1365250"/>
              <a:gd name="connsiteX116" fmla="*/ 431800 w 1066800"/>
              <a:gd name="connsiteY116" fmla="*/ 222250 h 1365250"/>
              <a:gd name="connsiteX117" fmla="*/ 412750 w 1066800"/>
              <a:gd name="connsiteY117" fmla="*/ 228600 h 1365250"/>
              <a:gd name="connsiteX118" fmla="*/ 387350 w 1066800"/>
              <a:gd name="connsiteY118" fmla="*/ 260350 h 1365250"/>
              <a:gd name="connsiteX119" fmla="*/ 349250 w 1066800"/>
              <a:gd name="connsiteY119" fmla="*/ 298450 h 1365250"/>
              <a:gd name="connsiteX120" fmla="*/ 336550 w 1066800"/>
              <a:gd name="connsiteY120" fmla="*/ 317500 h 1365250"/>
              <a:gd name="connsiteX121" fmla="*/ 298450 w 1066800"/>
              <a:gd name="connsiteY121" fmla="*/ 342900 h 1365250"/>
              <a:gd name="connsiteX122" fmla="*/ 292100 w 1066800"/>
              <a:gd name="connsiteY122" fmla="*/ 361950 h 1365250"/>
              <a:gd name="connsiteX123" fmla="*/ 254000 w 1066800"/>
              <a:gd name="connsiteY123" fmla="*/ 374650 h 1365250"/>
              <a:gd name="connsiteX124" fmla="*/ 203200 w 1066800"/>
              <a:gd name="connsiteY124" fmla="*/ 368300 h 1365250"/>
              <a:gd name="connsiteX125" fmla="*/ 165100 w 1066800"/>
              <a:gd name="connsiteY125" fmla="*/ 361950 h 1365250"/>
              <a:gd name="connsiteX126" fmla="*/ 114300 w 1066800"/>
              <a:gd name="connsiteY126" fmla="*/ 355600 h 136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066800" h="1365250">
                <a:moveTo>
                  <a:pt x="114300" y="355600"/>
                </a:moveTo>
                <a:cubicBezTo>
                  <a:pt x="109008" y="357717"/>
                  <a:pt x="126451" y="368901"/>
                  <a:pt x="133350" y="374650"/>
                </a:cubicBezTo>
                <a:cubicBezTo>
                  <a:pt x="139213" y="379536"/>
                  <a:pt x="147632" y="381391"/>
                  <a:pt x="152400" y="387350"/>
                </a:cubicBezTo>
                <a:cubicBezTo>
                  <a:pt x="156581" y="392577"/>
                  <a:pt x="156633" y="400050"/>
                  <a:pt x="158750" y="406400"/>
                </a:cubicBezTo>
                <a:cubicBezTo>
                  <a:pt x="152400" y="408517"/>
                  <a:pt x="146393" y="412750"/>
                  <a:pt x="139700" y="412750"/>
                </a:cubicBezTo>
                <a:cubicBezTo>
                  <a:pt x="119198" y="412750"/>
                  <a:pt x="110804" y="404069"/>
                  <a:pt x="95250" y="393700"/>
                </a:cubicBezTo>
                <a:cubicBezTo>
                  <a:pt x="88900" y="400050"/>
                  <a:pt x="81713" y="405661"/>
                  <a:pt x="76200" y="412750"/>
                </a:cubicBezTo>
                <a:cubicBezTo>
                  <a:pt x="66829" y="424798"/>
                  <a:pt x="63500" y="442383"/>
                  <a:pt x="50800" y="450850"/>
                </a:cubicBezTo>
                <a:lnTo>
                  <a:pt x="31750" y="463550"/>
                </a:lnTo>
                <a:cubicBezTo>
                  <a:pt x="23283" y="461433"/>
                  <a:pt x="14453" y="453959"/>
                  <a:pt x="6350" y="457200"/>
                </a:cubicBezTo>
                <a:cubicBezTo>
                  <a:pt x="135" y="459686"/>
                  <a:pt x="0" y="469557"/>
                  <a:pt x="0" y="476250"/>
                </a:cubicBezTo>
                <a:cubicBezTo>
                  <a:pt x="0" y="489125"/>
                  <a:pt x="4392" y="501625"/>
                  <a:pt x="6350" y="514350"/>
                </a:cubicBezTo>
                <a:cubicBezTo>
                  <a:pt x="8626" y="529143"/>
                  <a:pt x="11281" y="543900"/>
                  <a:pt x="12700" y="558800"/>
                </a:cubicBezTo>
                <a:cubicBezTo>
                  <a:pt x="15517" y="588375"/>
                  <a:pt x="15579" y="618195"/>
                  <a:pt x="19050" y="647700"/>
                </a:cubicBezTo>
                <a:cubicBezTo>
                  <a:pt x="19832" y="654348"/>
                  <a:pt x="21219" y="661523"/>
                  <a:pt x="25400" y="666750"/>
                </a:cubicBezTo>
                <a:cubicBezTo>
                  <a:pt x="30168" y="672709"/>
                  <a:pt x="38100" y="675217"/>
                  <a:pt x="44450" y="679450"/>
                </a:cubicBezTo>
                <a:cubicBezTo>
                  <a:pt x="48683" y="685800"/>
                  <a:pt x="53364" y="691874"/>
                  <a:pt x="57150" y="698500"/>
                </a:cubicBezTo>
                <a:cubicBezTo>
                  <a:pt x="71962" y="724421"/>
                  <a:pt x="64963" y="724332"/>
                  <a:pt x="88900" y="742950"/>
                </a:cubicBezTo>
                <a:cubicBezTo>
                  <a:pt x="100948" y="752321"/>
                  <a:pt x="127000" y="768350"/>
                  <a:pt x="127000" y="768350"/>
                </a:cubicBezTo>
                <a:cubicBezTo>
                  <a:pt x="133350" y="766233"/>
                  <a:pt x="139357" y="762000"/>
                  <a:pt x="146050" y="762000"/>
                </a:cubicBezTo>
                <a:cubicBezTo>
                  <a:pt x="166498" y="762000"/>
                  <a:pt x="168048" y="772772"/>
                  <a:pt x="177800" y="787400"/>
                </a:cubicBezTo>
                <a:cubicBezTo>
                  <a:pt x="168203" y="825787"/>
                  <a:pt x="174210" y="804521"/>
                  <a:pt x="158750" y="850900"/>
                </a:cubicBezTo>
                <a:cubicBezTo>
                  <a:pt x="156337" y="858140"/>
                  <a:pt x="150936" y="864087"/>
                  <a:pt x="146050" y="869950"/>
                </a:cubicBezTo>
                <a:cubicBezTo>
                  <a:pt x="140301" y="876849"/>
                  <a:pt x="134472" y="884019"/>
                  <a:pt x="127000" y="889000"/>
                </a:cubicBezTo>
                <a:cubicBezTo>
                  <a:pt x="121431" y="892713"/>
                  <a:pt x="114300" y="893233"/>
                  <a:pt x="107950" y="895350"/>
                </a:cubicBezTo>
                <a:cubicBezTo>
                  <a:pt x="99483" y="908050"/>
                  <a:pt x="77723" y="918970"/>
                  <a:pt x="82550" y="933450"/>
                </a:cubicBezTo>
                <a:cubicBezTo>
                  <a:pt x="84667" y="939800"/>
                  <a:pt x="82406" y="950877"/>
                  <a:pt x="88900" y="952500"/>
                </a:cubicBezTo>
                <a:cubicBezTo>
                  <a:pt x="119770" y="960218"/>
                  <a:pt x="152400" y="956733"/>
                  <a:pt x="184150" y="958850"/>
                </a:cubicBezTo>
                <a:cubicBezTo>
                  <a:pt x="207433" y="956733"/>
                  <a:pt x="231655" y="959376"/>
                  <a:pt x="254000" y="952500"/>
                </a:cubicBezTo>
                <a:cubicBezTo>
                  <a:pt x="261294" y="950256"/>
                  <a:pt x="261814" y="939313"/>
                  <a:pt x="266700" y="933450"/>
                </a:cubicBezTo>
                <a:cubicBezTo>
                  <a:pt x="272449" y="926551"/>
                  <a:pt x="278851" y="920149"/>
                  <a:pt x="285750" y="914400"/>
                </a:cubicBezTo>
                <a:cubicBezTo>
                  <a:pt x="291613" y="909514"/>
                  <a:pt x="297654" y="904380"/>
                  <a:pt x="304800" y="901700"/>
                </a:cubicBezTo>
                <a:cubicBezTo>
                  <a:pt x="314906" y="897910"/>
                  <a:pt x="326079" y="897968"/>
                  <a:pt x="336550" y="895350"/>
                </a:cubicBezTo>
                <a:cubicBezTo>
                  <a:pt x="343044" y="893727"/>
                  <a:pt x="349250" y="891117"/>
                  <a:pt x="355600" y="889000"/>
                </a:cubicBezTo>
                <a:cubicBezTo>
                  <a:pt x="372533" y="891117"/>
                  <a:pt x="390555" y="889012"/>
                  <a:pt x="406400" y="895350"/>
                </a:cubicBezTo>
                <a:cubicBezTo>
                  <a:pt x="413486" y="898184"/>
                  <a:pt x="413704" y="909004"/>
                  <a:pt x="419100" y="914400"/>
                </a:cubicBezTo>
                <a:cubicBezTo>
                  <a:pt x="437282" y="932582"/>
                  <a:pt x="465454" y="935101"/>
                  <a:pt x="488950" y="939800"/>
                </a:cubicBezTo>
                <a:cubicBezTo>
                  <a:pt x="493183" y="948267"/>
                  <a:pt x="500476" y="955807"/>
                  <a:pt x="501650" y="965200"/>
                </a:cubicBezTo>
                <a:cubicBezTo>
                  <a:pt x="502732" y="973860"/>
                  <a:pt x="495300" y="981873"/>
                  <a:pt x="495300" y="990600"/>
                </a:cubicBezTo>
                <a:cubicBezTo>
                  <a:pt x="495300" y="1009767"/>
                  <a:pt x="498499" y="1028844"/>
                  <a:pt x="501650" y="1047750"/>
                </a:cubicBezTo>
                <a:cubicBezTo>
                  <a:pt x="504037" y="1062069"/>
                  <a:pt x="511558" y="1074879"/>
                  <a:pt x="520700" y="1085850"/>
                </a:cubicBezTo>
                <a:cubicBezTo>
                  <a:pt x="526449" y="1092749"/>
                  <a:pt x="534001" y="1098001"/>
                  <a:pt x="539750" y="1104900"/>
                </a:cubicBezTo>
                <a:cubicBezTo>
                  <a:pt x="544636" y="1110763"/>
                  <a:pt x="548217" y="1117600"/>
                  <a:pt x="552450" y="1123950"/>
                </a:cubicBezTo>
                <a:cubicBezTo>
                  <a:pt x="524882" y="1165302"/>
                  <a:pt x="512108" y="1166997"/>
                  <a:pt x="533400" y="1225550"/>
                </a:cubicBezTo>
                <a:cubicBezTo>
                  <a:pt x="535687" y="1231840"/>
                  <a:pt x="546100" y="1229783"/>
                  <a:pt x="552450" y="1231900"/>
                </a:cubicBezTo>
                <a:cubicBezTo>
                  <a:pt x="567391" y="1221939"/>
                  <a:pt x="575609" y="1207994"/>
                  <a:pt x="590550" y="1231900"/>
                </a:cubicBezTo>
                <a:lnTo>
                  <a:pt x="609600" y="1289050"/>
                </a:lnTo>
                <a:cubicBezTo>
                  <a:pt x="614388" y="1303413"/>
                  <a:pt x="650271" y="1316092"/>
                  <a:pt x="666750" y="1320800"/>
                </a:cubicBezTo>
                <a:cubicBezTo>
                  <a:pt x="675141" y="1323198"/>
                  <a:pt x="683683" y="1325033"/>
                  <a:pt x="692150" y="1327150"/>
                </a:cubicBezTo>
                <a:cubicBezTo>
                  <a:pt x="759506" y="1310311"/>
                  <a:pt x="725630" y="1312285"/>
                  <a:pt x="793750" y="1320800"/>
                </a:cubicBezTo>
                <a:cubicBezTo>
                  <a:pt x="800100" y="1322917"/>
                  <a:pt x="806949" y="1323899"/>
                  <a:pt x="812800" y="1327150"/>
                </a:cubicBezTo>
                <a:cubicBezTo>
                  <a:pt x="826143" y="1334563"/>
                  <a:pt x="836420" y="1347723"/>
                  <a:pt x="850900" y="1352550"/>
                </a:cubicBezTo>
                <a:lnTo>
                  <a:pt x="889000" y="1365250"/>
                </a:lnTo>
                <a:cubicBezTo>
                  <a:pt x="910167" y="1361017"/>
                  <a:pt x="933758" y="1363260"/>
                  <a:pt x="952500" y="1352550"/>
                </a:cubicBezTo>
                <a:cubicBezTo>
                  <a:pt x="965752" y="1344977"/>
                  <a:pt x="969433" y="1327150"/>
                  <a:pt x="977900" y="1314450"/>
                </a:cubicBezTo>
                <a:lnTo>
                  <a:pt x="990600" y="1295400"/>
                </a:lnTo>
                <a:cubicBezTo>
                  <a:pt x="995815" y="1217171"/>
                  <a:pt x="974938" y="1215318"/>
                  <a:pt x="1016000" y="1181100"/>
                </a:cubicBezTo>
                <a:cubicBezTo>
                  <a:pt x="1021863" y="1176214"/>
                  <a:pt x="1028700" y="1172633"/>
                  <a:pt x="1035050" y="1168400"/>
                </a:cubicBezTo>
                <a:cubicBezTo>
                  <a:pt x="1037167" y="1159933"/>
                  <a:pt x="1037497" y="1150806"/>
                  <a:pt x="1041400" y="1143000"/>
                </a:cubicBezTo>
                <a:cubicBezTo>
                  <a:pt x="1048226" y="1129348"/>
                  <a:pt x="1066800" y="1104900"/>
                  <a:pt x="1066800" y="1104900"/>
                </a:cubicBezTo>
                <a:cubicBezTo>
                  <a:pt x="1064683" y="1096433"/>
                  <a:pt x="1062848" y="1087891"/>
                  <a:pt x="1060450" y="1079500"/>
                </a:cubicBezTo>
                <a:cubicBezTo>
                  <a:pt x="1053649" y="1055697"/>
                  <a:pt x="1052713" y="1062345"/>
                  <a:pt x="1047750" y="1035050"/>
                </a:cubicBezTo>
                <a:cubicBezTo>
                  <a:pt x="1034561" y="962510"/>
                  <a:pt x="1050557" y="1018070"/>
                  <a:pt x="1028700" y="952500"/>
                </a:cubicBezTo>
                <a:cubicBezTo>
                  <a:pt x="1026583" y="946150"/>
                  <a:pt x="1023973" y="939944"/>
                  <a:pt x="1022350" y="933450"/>
                </a:cubicBezTo>
                <a:cubicBezTo>
                  <a:pt x="1020233" y="924983"/>
                  <a:pt x="1019903" y="915856"/>
                  <a:pt x="1016000" y="908050"/>
                </a:cubicBezTo>
                <a:cubicBezTo>
                  <a:pt x="1009174" y="894398"/>
                  <a:pt x="990600" y="869950"/>
                  <a:pt x="990600" y="869950"/>
                </a:cubicBezTo>
                <a:cubicBezTo>
                  <a:pt x="994833" y="863600"/>
                  <a:pt x="996828" y="854945"/>
                  <a:pt x="1003300" y="850900"/>
                </a:cubicBezTo>
                <a:cubicBezTo>
                  <a:pt x="1014652" y="843805"/>
                  <a:pt x="1041400" y="838200"/>
                  <a:pt x="1041400" y="838200"/>
                </a:cubicBezTo>
                <a:cubicBezTo>
                  <a:pt x="1045633" y="831850"/>
                  <a:pt x="1055597" y="826634"/>
                  <a:pt x="1054100" y="819150"/>
                </a:cubicBezTo>
                <a:cubicBezTo>
                  <a:pt x="1052603" y="811666"/>
                  <a:pt x="1040913" y="811336"/>
                  <a:pt x="1035050" y="806450"/>
                </a:cubicBezTo>
                <a:cubicBezTo>
                  <a:pt x="1028151" y="800701"/>
                  <a:pt x="1022350" y="793750"/>
                  <a:pt x="1016000" y="787400"/>
                </a:cubicBezTo>
                <a:cubicBezTo>
                  <a:pt x="1001654" y="744362"/>
                  <a:pt x="1017893" y="796866"/>
                  <a:pt x="1003300" y="723900"/>
                </a:cubicBezTo>
                <a:cubicBezTo>
                  <a:pt x="997980" y="697299"/>
                  <a:pt x="996737" y="710774"/>
                  <a:pt x="984250" y="685800"/>
                </a:cubicBezTo>
                <a:cubicBezTo>
                  <a:pt x="981257" y="679813"/>
                  <a:pt x="982633" y="671483"/>
                  <a:pt x="977900" y="666750"/>
                </a:cubicBezTo>
                <a:cubicBezTo>
                  <a:pt x="967107" y="655957"/>
                  <a:pt x="939800" y="641350"/>
                  <a:pt x="939800" y="641350"/>
                </a:cubicBezTo>
                <a:cubicBezTo>
                  <a:pt x="925167" y="643789"/>
                  <a:pt x="898282" y="646234"/>
                  <a:pt x="882650" y="654050"/>
                </a:cubicBezTo>
                <a:cubicBezTo>
                  <a:pt x="875824" y="657463"/>
                  <a:pt x="870426" y="663337"/>
                  <a:pt x="863600" y="666750"/>
                </a:cubicBezTo>
                <a:cubicBezTo>
                  <a:pt x="854490" y="671305"/>
                  <a:pt x="827288" y="677415"/>
                  <a:pt x="819150" y="679450"/>
                </a:cubicBezTo>
                <a:cubicBezTo>
                  <a:pt x="810683" y="677333"/>
                  <a:pt x="801772" y="676538"/>
                  <a:pt x="793750" y="673100"/>
                </a:cubicBezTo>
                <a:cubicBezTo>
                  <a:pt x="778643" y="666625"/>
                  <a:pt x="768641" y="656291"/>
                  <a:pt x="762000" y="641350"/>
                </a:cubicBezTo>
                <a:cubicBezTo>
                  <a:pt x="756563" y="629117"/>
                  <a:pt x="749300" y="603250"/>
                  <a:pt x="749300" y="603250"/>
                </a:cubicBezTo>
                <a:cubicBezTo>
                  <a:pt x="751417" y="596900"/>
                  <a:pt x="751469" y="589427"/>
                  <a:pt x="755650" y="584200"/>
                </a:cubicBezTo>
                <a:cubicBezTo>
                  <a:pt x="764602" y="573009"/>
                  <a:pt x="781201" y="569333"/>
                  <a:pt x="793750" y="565150"/>
                </a:cubicBezTo>
                <a:cubicBezTo>
                  <a:pt x="795867" y="558800"/>
                  <a:pt x="800839" y="552753"/>
                  <a:pt x="800100" y="546100"/>
                </a:cubicBezTo>
                <a:cubicBezTo>
                  <a:pt x="798622" y="532795"/>
                  <a:pt x="787400" y="508000"/>
                  <a:pt x="787400" y="508000"/>
                </a:cubicBezTo>
                <a:cubicBezTo>
                  <a:pt x="812798" y="499534"/>
                  <a:pt x="802474" y="499187"/>
                  <a:pt x="831850" y="508000"/>
                </a:cubicBezTo>
                <a:cubicBezTo>
                  <a:pt x="844672" y="511847"/>
                  <a:pt x="869950" y="520700"/>
                  <a:pt x="869950" y="520700"/>
                </a:cubicBezTo>
                <a:cubicBezTo>
                  <a:pt x="872067" y="514350"/>
                  <a:pt x="876300" y="508343"/>
                  <a:pt x="876300" y="501650"/>
                </a:cubicBezTo>
                <a:cubicBezTo>
                  <a:pt x="876300" y="494957"/>
                  <a:pt x="866506" y="488340"/>
                  <a:pt x="869950" y="482600"/>
                </a:cubicBezTo>
                <a:cubicBezTo>
                  <a:pt x="874820" y="474483"/>
                  <a:pt x="886883" y="474133"/>
                  <a:pt x="895350" y="469900"/>
                </a:cubicBezTo>
                <a:cubicBezTo>
                  <a:pt x="899583" y="463550"/>
                  <a:pt x="909706" y="458300"/>
                  <a:pt x="908050" y="450850"/>
                </a:cubicBezTo>
                <a:cubicBezTo>
                  <a:pt x="904739" y="435950"/>
                  <a:pt x="887477" y="427230"/>
                  <a:pt x="882650" y="412750"/>
                </a:cubicBezTo>
                <a:cubicBezTo>
                  <a:pt x="880533" y="406400"/>
                  <a:pt x="877923" y="400194"/>
                  <a:pt x="876300" y="393700"/>
                </a:cubicBezTo>
                <a:cubicBezTo>
                  <a:pt x="873682" y="383229"/>
                  <a:pt x="873740" y="372056"/>
                  <a:pt x="869950" y="361950"/>
                </a:cubicBezTo>
                <a:cubicBezTo>
                  <a:pt x="867270" y="354804"/>
                  <a:pt x="861483" y="349250"/>
                  <a:pt x="857250" y="342900"/>
                </a:cubicBezTo>
                <a:cubicBezTo>
                  <a:pt x="850631" y="316424"/>
                  <a:pt x="843902" y="303084"/>
                  <a:pt x="857250" y="273050"/>
                </a:cubicBezTo>
                <a:cubicBezTo>
                  <a:pt x="861532" y="263416"/>
                  <a:pt x="886897" y="256818"/>
                  <a:pt x="895350" y="254000"/>
                </a:cubicBezTo>
                <a:cubicBezTo>
                  <a:pt x="922243" y="236072"/>
                  <a:pt x="935600" y="235314"/>
                  <a:pt x="908050" y="184150"/>
                </a:cubicBezTo>
                <a:cubicBezTo>
                  <a:pt x="900814" y="170711"/>
                  <a:pt x="869950" y="158750"/>
                  <a:pt x="869950" y="158750"/>
                </a:cubicBezTo>
                <a:cubicBezTo>
                  <a:pt x="853271" y="133731"/>
                  <a:pt x="853618" y="137872"/>
                  <a:pt x="844550" y="101600"/>
                </a:cubicBezTo>
                <a:cubicBezTo>
                  <a:pt x="843703" y="98213"/>
                  <a:pt x="835494" y="62616"/>
                  <a:pt x="831850" y="57150"/>
                </a:cubicBezTo>
                <a:cubicBezTo>
                  <a:pt x="824828" y="46617"/>
                  <a:pt x="805464" y="31257"/>
                  <a:pt x="793750" y="25400"/>
                </a:cubicBezTo>
                <a:cubicBezTo>
                  <a:pt x="787763" y="22407"/>
                  <a:pt x="781050" y="21167"/>
                  <a:pt x="774700" y="19050"/>
                </a:cubicBezTo>
                <a:cubicBezTo>
                  <a:pt x="772583" y="12700"/>
                  <a:pt x="775043" y="0"/>
                  <a:pt x="768350" y="0"/>
                </a:cubicBezTo>
                <a:cubicBezTo>
                  <a:pt x="760718" y="0"/>
                  <a:pt x="758063" y="11810"/>
                  <a:pt x="755650" y="19050"/>
                </a:cubicBezTo>
                <a:cubicBezTo>
                  <a:pt x="751579" y="31264"/>
                  <a:pt x="755058" y="45634"/>
                  <a:pt x="749300" y="57150"/>
                </a:cubicBezTo>
                <a:cubicBezTo>
                  <a:pt x="745887" y="63976"/>
                  <a:pt x="736600" y="65617"/>
                  <a:pt x="730250" y="69850"/>
                </a:cubicBezTo>
                <a:cubicBezTo>
                  <a:pt x="726017" y="76200"/>
                  <a:pt x="720963" y="82074"/>
                  <a:pt x="717550" y="88900"/>
                </a:cubicBezTo>
                <a:cubicBezTo>
                  <a:pt x="707269" y="109461"/>
                  <a:pt x="718499" y="110769"/>
                  <a:pt x="692150" y="120650"/>
                </a:cubicBezTo>
                <a:cubicBezTo>
                  <a:pt x="682044" y="124440"/>
                  <a:pt x="670936" y="124659"/>
                  <a:pt x="660400" y="127000"/>
                </a:cubicBezTo>
                <a:cubicBezTo>
                  <a:pt x="651881" y="128893"/>
                  <a:pt x="643359" y="130842"/>
                  <a:pt x="635000" y="133350"/>
                </a:cubicBezTo>
                <a:cubicBezTo>
                  <a:pt x="622178" y="137197"/>
                  <a:pt x="596900" y="146050"/>
                  <a:pt x="596900" y="146050"/>
                </a:cubicBezTo>
                <a:cubicBezTo>
                  <a:pt x="584200" y="154517"/>
                  <a:pt x="562502" y="156642"/>
                  <a:pt x="558800" y="171450"/>
                </a:cubicBezTo>
                <a:cubicBezTo>
                  <a:pt x="556683" y="179917"/>
                  <a:pt x="557902" y="190035"/>
                  <a:pt x="552450" y="196850"/>
                </a:cubicBezTo>
                <a:cubicBezTo>
                  <a:pt x="548269" y="202077"/>
                  <a:pt x="540016" y="202182"/>
                  <a:pt x="533400" y="203200"/>
                </a:cubicBezTo>
                <a:cubicBezTo>
                  <a:pt x="512375" y="206435"/>
                  <a:pt x="491067" y="207433"/>
                  <a:pt x="469900" y="209550"/>
                </a:cubicBezTo>
                <a:lnTo>
                  <a:pt x="431800" y="222250"/>
                </a:lnTo>
                <a:lnTo>
                  <a:pt x="412750" y="228600"/>
                </a:lnTo>
                <a:cubicBezTo>
                  <a:pt x="360461" y="263459"/>
                  <a:pt x="420381" y="217881"/>
                  <a:pt x="387350" y="260350"/>
                </a:cubicBezTo>
                <a:cubicBezTo>
                  <a:pt x="376323" y="274527"/>
                  <a:pt x="359213" y="283506"/>
                  <a:pt x="349250" y="298450"/>
                </a:cubicBezTo>
                <a:cubicBezTo>
                  <a:pt x="345017" y="304800"/>
                  <a:pt x="342293" y="312474"/>
                  <a:pt x="336550" y="317500"/>
                </a:cubicBezTo>
                <a:cubicBezTo>
                  <a:pt x="325063" y="327551"/>
                  <a:pt x="298450" y="342900"/>
                  <a:pt x="298450" y="342900"/>
                </a:cubicBezTo>
                <a:cubicBezTo>
                  <a:pt x="296333" y="349250"/>
                  <a:pt x="297547" y="358059"/>
                  <a:pt x="292100" y="361950"/>
                </a:cubicBezTo>
                <a:cubicBezTo>
                  <a:pt x="281207" y="369731"/>
                  <a:pt x="254000" y="374650"/>
                  <a:pt x="254000" y="374650"/>
                </a:cubicBezTo>
                <a:lnTo>
                  <a:pt x="203200" y="368300"/>
                </a:lnTo>
                <a:cubicBezTo>
                  <a:pt x="190454" y="366479"/>
                  <a:pt x="177975" y="361950"/>
                  <a:pt x="165100" y="361950"/>
                </a:cubicBezTo>
                <a:cubicBezTo>
                  <a:pt x="122824" y="361950"/>
                  <a:pt x="119592" y="353483"/>
                  <a:pt x="114300" y="355600"/>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28" name="Freeform 27"/>
          <p:cNvSpPr/>
          <p:nvPr>
            <p:custDataLst>
              <p:tags r:id="rId17"/>
            </p:custDataLst>
          </p:nvPr>
        </p:nvSpPr>
        <p:spPr bwMode="auto">
          <a:xfrm>
            <a:off x="550361" y="4517643"/>
            <a:ext cx="392891" cy="314394"/>
          </a:xfrm>
          <a:custGeom>
            <a:avLst/>
            <a:gdLst>
              <a:gd name="connsiteX0" fmla="*/ 4641 w 468191"/>
              <a:gd name="connsiteY0" fmla="*/ 63500 h 374650"/>
              <a:gd name="connsiteX1" fmla="*/ 10991 w 468191"/>
              <a:gd name="connsiteY1" fmla="*/ 101600 h 374650"/>
              <a:gd name="connsiteX2" fmla="*/ 17341 w 468191"/>
              <a:gd name="connsiteY2" fmla="*/ 120650 h 374650"/>
              <a:gd name="connsiteX3" fmla="*/ 55441 w 468191"/>
              <a:gd name="connsiteY3" fmla="*/ 127000 h 374650"/>
              <a:gd name="connsiteX4" fmla="*/ 80841 w 468191"/>
              <a:gd name="connsiteY4" fmla="*/ 139700 h 374650"/>
              <a:gd name="connsiteX5" fmla="*/ 87191 w 468191"/>
              <a:gd name="connsiteY5" fmla="*/ 165100 h 374650"/>
              <a:gd name="connsiteX6" fmla="*/ 93541 w 468191"/>
              <a:gd name="connsiteY6" fmla="*/ 184150 h 374650"/>
              <a:gd name="connsiteX7" fmla="*/ 99891 w 468191"/>
              <a:gd name="connsiteY7" fmla="*/ 215900 h 374650"/>
              <a:gd name="connsiteX8" fmla="*/ 137991 w 468191"/>
              <a:gd name="connsiteY8" fmla="*/ 241300 h 374650"/>
              <a:gd name="connsiteX9" fmla="*/ 144341 w 468191"/>
              <a:gd name="connsiteY9" fmla="*/ 266700 h 374650"/>
              <a:gd name="connsiteX10" fmla="*/ 150691 w 468191"/>
              <a:gd name="connsiteY10" fmla="*/ 285750 h 374650"/>
              <a:gd name="connsiteX11" fmla="*/ 157041 w 468191"/>
              <a:gd name="connsiteY11" fmla="*/ 317500 h 374650"/>
              <a:gd name="connsiteX12" fmla="*/ 195141 w 468191"/>
              <a:gd name="connsiteY12" fmla="*/ 336550 h 374650"/>
              <a:gd name="connsiteX13" fmla="*/ 233241 w 468191"/>
              <a:gd name="connsiteY13" fmla="*/ 330200 h 374650"/>
              <a:gd name="connsiteX14" fmla="*/ 220541 w 468191"/>
              <a:gd name="connsiteY14" fmla="*/ 292100 h 374650"/>
              <a:gd name="connsiteX15" fmla="*/ 239591 w 468191"/>
              <a:gd name="connsiteY15" fmla="*/ 279400 h 374650"/>
              <a:gd name="connsiteX16" fmla="*/ 258641 w 468191"/>
              <a:gd name="connsiteY16" fmla="*/ 292100 h 374650"/>
              <a:gd name="connsiteX17" fmla="*/ 290391 w 468191"/>
              <a:gd name="connsiteY17" fmla="*/ 330200 h 374650"/>
              <a:gd name="connsiteX18" fmla="*/ 303091 w 468191"/>
              <a:gd name="connsiteY18" fmla="*/ 374650 h 374650"/>
              <a:gd name="connsiteX19" fmla="*/ 334841 w 468191"/>
              <a:gd name="connsiteY19" fmla="*/ 368300 h 374650"/>
              <a:gd name="connsiteX20" fmla="*/ 347541 w 468191"/>
              <a:gd name="connsiteY20" fmla="*/ 349250 h 374650"/>
              <a:gd name="connsiteX21" fmla="*/ 385641 w 468191"/>
              <a:gd name="connsiteY21" fmla="*/ 355600 h 374650"/>
              <a:gd name="connsiteX22" fmla="*/ 430091 w 468191"/>
              <a:gd name="connsiteY22" fmla="*/ 355600 h 374650"/>
              <a:gd name="connsiteX23" fmla="*/ 436441 w 468191"/>
              <a:gd name="connsiteY23" fmla="*/ 336550 h 374650"/>
              <a:gd name="connsiteX24" fmla="*/ 449141 w 468191"/>
              <a:gd name="connsiteY24" fmla="*/ 273050 h 374650"/>
              <a:gd name="connsiteX25" fmla="*/ 468191 w 468191"/>
              <a:gd name="connsiteY25" fmla="*/ 254000 h 374650"/>
              <a:gd name="connsiteX26" fmla="*/ 461841 w 468191"/>
              <a:gd name="connsiteY26" fmla="*/ 222250 h 374650"/>
              <a:gd name="connsiteX27" fmla="*/ 442791 w 468191"/>
              <a:gd name="connsiteY27" fmla="*/ 203200 h 374650"/>
              <a:gd name="connsiteX28" fmla="*/ 417391 w 468191"/>
              <a:gd name="connsiteY28" fmla="*/ 165100 h 374650"/>
              <a:gd name="connsiteX29" fmla="*/ 404691 w 468191"/>
              <a:gd name="connsiteY29" fmla="*/ 146050 h 374650"/>
              <a:gd name="connsiteX30" fmla="*/ 398341 w 468191"/>
              <a:gd name="connsiteY30" fmla="*/ 120650 h 374650"/>
              <a:gd name="connsiteX31" fmla="*/ 411041 w 468191"/>
              <a:gd name="connsiteY31" fmla="*/ 63500 h 374650"/>
              <a:gd name="connsiteX32" fmla="*/ 334841 w 468191"/>
              <a:gd name="connsiteY32" fmla="*/ 38100 h 374650"/>
              <a:gd name="connsiteX33" fmla="*/ 296741 w 468191"/>
              <a:gd name="connsiteY33" fmla="*/ 0 h 374650"/>
              <a:gd name="connsiteX34" fmla="*/ 233241 w 468191"/>
              <a:gd name="connsiteY34" fmla="*/ 12700 h 374650"/>
              <a:gd name="connsiteX35" fmla="*/ 195141 w 468191"/>
              <a:gd name="connsiteY35" fmla="*/ 38100 h 374650"/>
              <a:gd name="connsiteX36" fmla="*/ 182441 w 468191"/>
              <a:gd name="connsiteY36" fmla="*/ 57150 h 374650"/>
              <a:gd name="connsiteX37" fmla="*/ 36391 w 468191"/>
              <a:gd name="connsiteY37" fmla="*/ 76200 h 374650"/>
              <a:gd name="connsiteX38" fmla="*/ 4641 w 468191"/>
              <a:gd name="connsiteY38" fmla="*/ 63500 h 37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68191" h="374650">
                <a:moveTo>
                  <a:pt x="4641" y="63500"/>
                </a:moveTo>
                <a:cubicBezTo>
                  <a:pt x="408" y="67733"/>
                  <a:pt x="8198" y="89031"/>
                  <a:pt x="10991" y="101600"/>
                </a:cubicBezTo>
                <a:cubicBezTo>
                  <a:pt x="12443" y="108134"/>
                  <a:pt x="11529" y="117329"/>
                  <a:pt x="17341" y="120650"/>
                </a:cubicBezTo>
                <a:cubicBezTo>
                  <a:pt x="28520" y="127038"/>
                  <a:pt x="42741" y="124883"/>
                  <a:pt x="55441" y="127000"/>
                </a:cubicBezTo>
                <a:cubicBezTo>
                  <a:pt x="63908" y="131233"/>
                  <a:pt x="74781" y="132428"/>
                  <a:pt x="80841" y="139700"/>
                </a:cubicBezTo>
                <a:cubicBezTo>
                  <a:pt x="86428" y="146404"/>
                  <a:pt x="84793" y="156709"/>
                  <a:pt x="87191" y="165100"/>
                </a:cubicBezTo>
                <a:cubicBezTo>
                  <a:pt x="89030" y="171536"/>
                  <a:pt x="91918" y="177656"/>
                  <a:pt x="93541" y="184150"/>
                </a:cubicBezTo>
                <a:cubicBezTo>
                  <a:pt x="96159" y="194621"/>
                  <a:pt x="93265" y="207381"/>
                  <a:pt x="99891" y="215900"/>
                </a:cubicBezTo>
                <a:cubicBezTo>
                  <a:pt x="109262" y="227948"/>
                  <a:pt x="137991" y="241300"/>
                  <a:pt x="137991" y="241300"/>
                </a:cubicBezTo>
                <a:cubicBezTo>
                  <a:pt x="140108" y="249767"/>
                  <a:pt x="141943" y="258309"/>
                  <a:pt x="144341" y="266700"/>
                </a:cubicBezTo>
                <a:cubicBezTo>
                  <a:pt x="146180" y="273136"/>
                  <a:pt x="149068" y="279256"/>
                  <a:pt x="150691" y="285750"/>
                </a:cubicBezTo>
                <a:cubicBezTo>
                  <a:pt x="153309" y="296221"/>
                  <a:pt x="151686" y="308129"/>
                  <a:pt x="157041" y="317500"/>
                </a:cubicBezTo>
                <a:cubicBezTo>
                  <a:pt x="162834" y="327637"/>
                  <a:pt x="185363" y="333291"/>
                  <a:pt x="195141" y="336550"/>
                </a:cubicBezTo>
                <a:cubicBezTo>
                  <a:pt x="207841" y="334433"/>
                  <a:pt x="226853" y="341379"/>
                  <a:pt x="233241" y="330200"/>
                </a:cubicBezTo>
                <a:cubicBezTo>
                  <a:pt x="239883" y="318577"/>
                  <a:pt x="220541" y="292100"/>
                  <a:pt x="220541" y="292100"/>
                </a:cubicBezTo>
                <a:cubicBezTo>
                  <a:pt x="226891" y="287867"/>
                  <a:pt x="231959" y="279400"/>
                  <a:pt x="239591" y="279400"/>
                </a:cubicBezTo>
                <a:cubicBezTo>
                  <a:pt x="247223" y="279400"/>
                  <a:pt x="252778" y="287214"/>
                  <a:pt x="258641" y="292100"/>
                </a:cubicBezTo>
                <a:cubicBezTo>
                  <a:pt x="270678" y="302131"/>
                  <a:pt x="283255" y="315929"/>
                  <a:pt x="290391" y="330200"/>
                </a:cubicBezTo>
                <a:cubicBezTo>
                  <a:pt x="294946" y="339310"/>
                  <a:pt x="301056" y="366512"/>
                  <a:pt x="303091" y="374650"/>
                </a:cubicBezTo>
                <a:cubicBezTo>
                  <a:pt x="313674" y="372533"/>
                  <a:pt x="325470" y="373655"/>
                  <a:pt x="334841" y="368300"/>
                </a:cubicBezTo>
                <a:cubicBezTo>
                  <a:pt x="341467" y="364514"/>
                  <a:pt x="340137" y="351101"/>
                  <a:pt x="347541" y="349250"/>
                </a:cubicBezTo>
                <a:cubicBezTo>
                  <a:pt x="360032" y="346127"/>
                  <a:pt x="372941" y="353483"/>
                  <a:pt x="385641" y="355600"/>
                </a:cubicBezTo>
                <a:cubicBezTo>
                  <a:pt x="401099" y="360753"/>
                  <a:pt x="413675" y="368733"/>
                  <a:pt x="430091" y="355600"/>
                </a:cubicBezTo>
                <a:cubicBezTo>
                  <a:pt x="435318" y="351419"/>
                  <a:pt x="434324" y="342900"/>
                  <a:pt x="436441" y="336550"/>
                </a:cubicBezTo>
                <a:cubicBezTo>
                  <a:pt x="436979" y="332786"/>
                  <a:pt x="441081" y="285141"/>
                  <a:pt x="449141" y="273050"/>
                </a:cubicBezTo>
                <a:cubicBezTo>
                  <a:pt x="454122" y="265578"/>
                  <a:pt x="461841" y="260350"/>
                  <a:pt x="468191" y="254000"/>
                </a:cubicBezTo>
                <a:cubicBezTo>
                  <a:pt x="466074" y="243417"/>
                  <a:pt x="466668" y="231903"/>
                  <a:pt x="461841" y="222250"/>
                </a:cubicBezTo>
                <a:cubicBezTo>
                  <a:pt x="457825" y="214218"/>
                  <a:pt x="448304" y="210289"/>
                  <a:pt x="442791" y="203200"/>
                </a:cubicBezTo>
                <a:cubicBezTo>
                  <a:pt x="433420" y="191152"/>
                  <a:pt x="425858" y="177800"/>
                  <a:pt x="417391" y="165100"/>
                </a:cubicBezTo>
                <a:lnTo>
                  <a:pt x="404691" y="146050"/>
                </a:lnTo>
                <a:cubicBezTo>
                  <a:pt x="402574" y="137583"/>
                  <a:pt x="398341" y="129377"/>
                  <a:pt x="398341" y="120650"/>
                </a:cubicBezTo>
                <a:cubicBezTo>
                  <a:pt x="398341" y="98299"/>
                  <a:pt x="404493" y="83145"/>
                  <a:pt x="411041" y="63500"/>
                </a:cubicBezTo>
                <a:cubicBezTo>
                  <a:pt x="394582" y="14123"/>
                  <a:pt x="420842" y="73512"/>
                  <a:pt x="334841" y="38100"/>
                </a:cubicBezTo>
                <a:cubicBezTo>
                  <a:pt x="318233" y="31262"/>
                  <a:pt x="296741" y="0"/>
                  <a:pt x="296741" y="0"/>
                </a:cubicBezTo>
                <a:cubicBezTo>
                  <a:pt x="285698" y="1578"/>
                  <a:pt x="248587" y="4175"/>
                  <a:pt x="233241" y="12700"/>
                </a:cubicBezTo>
                <a:cubicBezTo>
                  <a:pt x="219898" y="20113"/>
                  <a:pt x="195141" y="38100"/>
                  <a:pt x="195141" y="38100"/>
                </a:cubicBezTo>
                <a:cubicBezTo>
                  <a:pt x="190908" y="44450"/>
                  <a:pt x="188304" y="52264"/>
                  <a:pt x="182441" y="57150"/>
                </a:cubicBezTo>
                <a:cubicBezTo>
                  <a:pt x="147245" y="86480"/>
                  <a:pt x="54924" y="75225"/>
                  <a:pt x="36391" y="76200"/>
                </a:cubicBezTo>
                <a:cubicBezTo>
                  <a:pt x="0" y="83478"/>
                  <a:pt x="8874" y="59267"/>
                  <a:pt x="4641" y="63500"/>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29" name="Freeform 28"/>
          <p:cNvSpPr/>
          <p:nvPr>
            <p:custDataLst>
              <p:tags r:id="rId18"/>
            </p:custDataLst>
          </p:nvPr>
        </p:nvSpPr>
        <p:spPr bwMode="auto">
          <a:xfrm>
            <a:off x="2155550" y="1752038"/>
            <a:ext cx="1334830" cy="778788"/>
          </a:xfrm>
          <a:custGeom>
            <a:avLst/>
            <a:gdLst>
              <a:gd name="connsiteX0" fmla="*/ 269858 w 1590658"/>
              <a:gd name="connsiteY0" fmla="*/ 920750 h 928047"/>
              <a:gd name="connsiteX1" fmla="*/ 307958 w 1590658"/>
              <a:gd name="connsiteY1" fmla="*/ 914400 h 928047"/>
              <a:gd name="connsiteX2" fmla="*/ 327008 w 1590658"/>
              <a:gd name="connsiteY2" fmla="*/ 908050 h 928047"/>
              <a:gd name="connsiteX3" fmla="*/ 384158 w 1590658"/>
              <a:gd name="connsiteY3" fmla="*/ 914400 h 928047"/>
              <a:gd name="connsiteX4" fmla="*/ 390508 w 1590658"/>
              <a:gd name="connsiteY4" fmla="*/ 895350 h 928047"/>
              <a:gd name="connsiteX5" fmla="*/ 403208 w 1590658"/>
              <a:gd name="connsiteY5" fmla="*/ 876300 h 928047"/>
              <a:gd name="connsiteX6" fmla="*/ 428608 w 1590658"/>
              <a:gd name="connsiteY6" fmla="*/ 831850 h 928047"/>
              <a:gd name="connsiteX7" fmla="*/ 454008 w 1590658"/>
              <a:gd name="connsiteY7" fmla="*/ 838200 h 928047"/>
              <a:gd name="connsiteX8" fmla="*/ 473058 w 1590658"/>
              <a:gd name="connsiteY8" fmla="*/ 850900 h 928047"/>
              <a:gd name="connsiteX9" fmla="*/ 492108 w 1590658"/>
              <a:gd name="connsiteY9" fmla="*/ 857250 h 928047"/>
              <a:gd name="connsiteX10" fmla="*/ 511158 w 1590658"/>
              <a:gd name="connsiteY10" fmla="*/ 831850 h 928047"/>
              <a:gd name="connsiteX11" fmla="*/ 568308 w 1590658"/>
              <a:gd name="connsiteY11" fmla="*/ 812800 h 928047"/>
              <a:gd name="connsiteX12" fmla="*/ 581008 w 1590658"/>
              <a:gd name="connsiteY12" fmla="*/ 768350 h 928047"/>
              <a:gd name="connsiteX13" fmla="*/ 600058 w 1590658"/>
              <a:gd name="connsiteY13" fmla="*/ 755650 h 928047"/>
              <a:gd name="connsiteX14" fmla="*/ 669908 w 1590658"/>
              <a:gd name="connsiteY14" fmla="*/ 762000 h 928047"/>
              <a:gd name="connsiteX15" fmla="*/ 708008 w 1590658"/>
              <a:gd name="connsiteY15" fmla="*/ 774700 h 928047"/>
              <a:gd name="connsiteX16" fmla="*/ 746108 w 1590658"/>
              <a:gd name="connsiteY16" fmla="*/ 806450 h 928047"/>
              <a:gd name="connsiteX17" fmla="*/ 758808 w 1590658"/>
              <a:gd name="connsiteY17" fmla="*/ 825500 h 928047"/>
              <a:gd name="connsiteX18" fmla="*/ 784208 w 1590658"/>
              <a:gd name="connsiteY18" fmla="*/ 831850 h 928047"/>
              <a:gd name="connsiteX19" fmla="*/ 822308 w 1590658"/>
              <a:gd name="connsiteY19" fmla="*/ 819150 h 928047"/>
              <a:gd name="connsiteX20" fmla="*/ 841358 w 1590658"/>
              <a:gd name="connsiteY20" fmla="*/ 812800 h 928047"/>
              <a:gd name="connsiteX21" fmla="*/ 860408 w 1590658"/>
              <a:gd name="connsiteY21" fmla="*/ 819150 h 928047"/>
              <a:gd name="connsiteX22" fmla="*/ 904858 w 1590658"/>
              <a:gd name="connsiteY22" fmla="*/ 869950 h 928047"/>
              <a:gd name="connsiteX23" fmla="*/ 936608 w 1590658"/>
              <a:gd name="connsiteY23" fmla="*/ 863600 h 928047"/>
              <a:gd name="connsiteX24" fmla="*/ 962008 w 1590658"/>
              <a:gd name="connsiteY24" fmla="*/ 857250 h 928047"/>
              <a:gd name="connsiteX25" fmla="*/ 981058 w 1590658"/>
              <a:gd name="connsiteY25" fmla="*/ 863600 h 928047"/>
              <a:gd name="connsiteX26" fmla="*/ 1019158 w 1590658"/>
              <a:gd name="connsiteY26" fmla="*/ 844550 h 928047"/>
              <a:gd name="connsiteX27" fmla="*/ 1050908 w 1590658"/>
              <a:gd name="connsiteY27" fmla="*/ 812800 h 928047"/>
              <a:gd name="connsiteX28" fmla="*/ 1069958 w 1590658"/>
              <a:gd name="connsiteY28" fmla="*/ 825500 h 928047"/>
              <a:gd name="connsiteX29" fmla="*/ 1095358 w 1590658"/>
              <a:gd name="connsiteY29" fmla="*/ 838200 h 928047"/>
              <a:gd name="connsiteX30" fmla="*/ 1120758 w 1590658"/>
              <a:gd name="connsiteY30" fmla="*/ 806450 h 928047"/>
              <a:gd name="connsiteX31" fmla="*/ 1146158 w 1590658"/>
              <a:gd name="connsiteY31" fmla="*/ 812800 h 928047"/>
              <a:gd name="connsiteX32" fmla="*/ 1165208 w 1590658"/>
              <a:gd name="connsiteY32" fmla="*/ 806450 h 928047"/>
              <a:gd name="connsiteX33" fmla="*/ 1203308 w 1590658"/>
              <a:gd name="connsiteY33" fmla="*/ 774700 h 928047"/>
              <a:gd name="connsiteX34" fmla="*/ 1216008 w 1590658"/>
              <a:gd name="connsiteY34" fmla="*/ 755650 h 928047"/>
              <a:gd name="connsiteX35" fmla="*/ 1235058 w 1590658"/>
              <a:gd name="connsiteY35" fmla="*/ 679450 h 928047"/>
              <a:gd name="connsiteX36" fmla="*/ 1292208 w 1590658"/>
              <a:gd name="connsiteY36" fmla="*/ 641350 h 928047"/>
              <a:gd name="connsiteX37" fmla="*/ 1311258 w 1590658"/>
              <a:gd name="connsiteY37" fmla="*/ 628650 h 928047"/>
              <a:gd name="connsiteX38" fmla="*/ 1336658 w 1590658"/>
              <a:gd name="connsiteY38" fmla="*/ 596900 h 928047"/>
              <a:gd name="connsiteX39" fmla="*/ 1355708 w 1590658"/>
              <a:gd name="connsiteY39" fmla="*/ 609600 h 928047"/>
              <a:gd name="connsiteX40" fmla="*/ 1362058 w 1590658"/>
              <a:gd name="connsiteY40" fmla="*/ 635000 h 928047"/>
              <a:gd name="connsiteX41" fmla="*/ 1374758 w 1590658"/>
              <a:gd name="connsiteY41" fmla="*/ 654050 h 928047"/>
              <a:gd name="connsiteX42" fmla="*/ 1457308 w 1590658"/>
              <a:gd name="connsiteY42" fmla="*/ 673100 h 928047"/>
              <a:gd name="connsiteX43" fmla="*/ 1495408 w 1590658"/>
              <a:gd name="connsiteY43" fmla="*/ 679450 h 928047"/>
              <a:gd name="connsiteX44" fmla="*/ 1508108 w 1590658"/>
              <a:gd name="connsiteY44" fmla="*/ 698500 h 928047"/>
              <a:gd name="connsiteX45" fmla="*/ 1495408 w 1590658"/>
              <a:gd name="connsiteY45" fmla="*/ 755650 h 928047"/>
              <a:gd name="connsiteX46" fmla="*/ 1501758 w 1590658"/>
              <a:gd name="connsiteY46" fmla="*/ 787400 h 928047"/>
              <a:gd name="connsiteX47" fmla="*/ 1539858 w 1590658"/>
              <a:gd name="connsiteY47" fmla="*/ 774700 h 928047"/>
              <a:gd name="connsiteX48" fmla="*/ 1558908 w 1590658"/>
              <a:gd name="connsiteY48" fmla="*/ 762000 h 928047"/>
              <a:gd name="connsiteX49" fmla="*/ 1571608 w 1590658"/>
              <a:gd name="connsiteY49" fmla="*/ 742950 h 928047"/>
              <a:gd name="connsiteX50" fmla="*/ 1590658 w 1590658"/>
              <a:gd name="connsiteY50" fmla="*/ 736600 h 928047"/>
              <a:gd name="connsiteX51" fmla="*/ 1584308 w 1590658"/>
              <a:gd name="connsiteY51" fmla="*/ 692150 h 928047"/>
              <a:gd name="connsiteX52" fmla="*/ 1565258 w 1590658"/>
              <a:gd name="connsiteY52" fmla="*/ 635000 h 928047"/>
              <a:gd name="connsiteX53" fmla="*/ 1558908 w 1590658"/>
              <a:gd name="connsiteY53" fmla="*/ 609600 h 928047"/>
              <a:gd name="connsiteX54" fmla="*/ 1546208 w 1590658"/>
              <a:gd name="connsiteY54" fmla="*/ 590550 h 928047"/>
              <a:gd name="connsiteX55" fmla="*/ 1539858 w 1590658"/>
              <a:gd name="connsiteY55" fmla="*/ 571500 h 928047"/>
              <a:gd name="connsiteX56" fmla="*/ 1533508 w 1590658"/>
              <a:gd name="connsiteY56" fmla="*/ 457200 h 928047"/>
              <a:gd name="connsiteX57" fmla="*/ 1514458 w 1590658"/>
              <a:gd name="connsiteY57" fmla="*/ 438150 h 928047"/>
              <a:gd name="connsiteX58" fmla="*/ 1463658 w 1590658"/>
              <a:gd name="connsiteY58" fmla="*/ 444500 h 928047"/>
              <a:gd name="connsiteX59" fmla="*/ 1419208 w 1590658"/>
              <a:gd name="connsiteY59" fmla="*/ 438150 h 928047"/>
              <a:gd name="connsiteX60" fmla="*/ 1400158 w 1590658"/>
              <a:gd name="connsiteY60" fmla="*/ 431800 h 928047"/>
              <a:gd name="connsiteX61" fmla="*/ 1368408 w 1590658"/>
              <a:gd name="connsiteY61" fmla="*/ 406400 h 928047"/>
              <a:gd name="connsiteX62" fmla="*/ 1349358 w 1590658"/>
              <a:gd name="connsiteY62" fmla="*/ 393700 h 928047"/>
              <a:gd name="connsiteX63" fmla="*/ 1355708 w 1590658"/>
              <a:gd name="connsiteY63" fmla="*/ 374650 h 928047"/>
              <a:gd name="connsiteX64" fmla="*/ 1438258 w 1590658"/>
              <a:gd name="connsiteY64" fmla="*/ 368300 h 928047"/>
              <a:gd name="connsiteX65" fmla="*/ 1457308 w 1590658"/>
              <a:gd name="connsiteY65" fmla="*/ 355600 h 928047"/>
              <a:gd name="connsiteX66" fmla="*/ 1470008 w 1590658"/>
              <a:gd name="connsiteY66" fmla="*/ 317500 h 928047"/>
              <a:gd name="connsiteX67" fmla="*/ 1450958 w 1590658"/>
              <a:gd name="connsiteY67" fmla="*/ 298450 h 928047"/>
              <a:gd name="connsiteX68" fmla="*/ 1438258 w 1590658"/>
              <a:gd name="connsiteY68" fmla="*/ 279400 h 928047"/>
              <a:gd name="connsiteX69" fmla="*/ 1419208 w 1590658"/>
              <a:gd name="connsiteY69" fmla="*/ 273050 h 928047"/>
              <a:gd name="connsiteX70" fmla="*/ 1381108 w 1590658"/>
              <a:gd name="connsiteY70" fmla="*/ 247650 h 928047"/>
              <a:gd name="connsiteX71" fmla="*/ 1343008 w 1590658"/>
              <a:gd name="connsiteY71" fmla="*/ 234950 h 928047"/>
              <a:gd name="connsiteX72" fmla="*/ 1330308 w 1590658"/>
              <a:gd name="connsiteY72" fmla="*/ 215900 h 928047"/>
              <a:gd name="connsiteX73" fmla="*/ 1323958 w 1590658"/>
              <a:gd name="connsiteY73" fmla="*/ 196850 h 928047"/>
              <a:gd name="connsiteX74" fmla="*/ 1304908 w 1590658"/>
              <a:gd name="connsiteY74" fmla="*/ 184150 h 928047"/>
              <a:gd name="connsiteX75" fmla="*/ 1266808 w 1590658"/>
              <a:gd name="connsiteY75" fmla="*/ 196850 h 928047"/>
              <a:gd name="connsiteX76" fmla="*/ 1228708 w 1590658"/>
              <a:gd name="connsiteY76" fmla="*/ 184150 h 928047"/>
              <a:gd name="connsiteX77" fmla="*/ 1196958 w 1590658"/>
              <a:gd name="connsiteY77" fmla="*/ 190500 h 928047"/>
              <a:gd name="connsiteX78" fmla="*/ 1177908 w 1590658"/>
              <a:gd name="connsiteY78" fmla="*/ 196850 h 928047"/>
              <a:gd name="connsiteX79" fmla="*/ 1139808 w 1590658"/>
              <a:gd name="connsiteY79" fmla="*/ 171450 h 928047"/>
              <a:gd name="connsiteX80" fmla="*/ 1120758 w 1590658"/>
              <a:gd name="connsiteY80" fmla="*/ 152400 h 928047"/>
              <a:gd name="connsiteX81" fmla="*/ 1082658 w 1590658"/>
              <a:gd name="connsiteY81" fmla="*/ 127000 h 928047"/>
              <a:gd name="connsiteX82" fmla="*/ 1069958 w 1590658"/>
              <a:gd name="connsiteY82" fmla="*/ 107950 h 928047"/>
              <a:gd name="connsiteX83" fmla="*/ 1031858 w 1590658"/>
              <a:gd name="connsiteY83" fmla="*/ 101600 h 928047"/>
              <a:gd name="connsiteX84" fmla="*/ 1012808 w 1590658"/>
              <a:gd name="connsiteY84" fmla="*/ 88900 h 928047"/>
              <a:gd name="connsiteX85" fmla="*/ 1019158 w 1590658"/>
              <a:gd name="connsiteY85" fmla="*/ 57150 h 928047"/>
              <a:gd name="connsiteX86" fmla="*/ 1025508 w 1590658"/>
              <a:gd name="connsiteY86" fmla="*/ 38100 h 928047"/>
              <a:gd name="connsiteX87" fmla="*/ 987408 w 1590658"/>
              <a:gd name="connsiteY87" fmla="*/ 12700 h 928047"/>
              <a:gd name="connsiteX88" fmla="*/ 949308 w 1590658"/>
              <a:gd name="connsiteY88" fmla="*/ 0 h 928047"/>
              <a:gd name="connsiteX89" fmla="*/ 911208 w 1590658"/>
              <a:gd name="connsiteY89" fmla="*/ 19050 h 928047"/>
              <a:gd name="connsiteX90" fmla="*/ 898508 w 1590658"/>
              <a:gd name="connsiteY90" fmla="*/ 38100 h 928047"/>
              <a:gd name="connsiteX91" fmla="*/ 873108 w 1590658"/>
              <a:gd name="connsiteY91" fmla="*/ 44450 h 928047"/>
              <a:gd name="connsiteX92" fmla="*/ 847708 w 1590658"/>
              <a:gd name="connsiteY92" fmla="*/ 38100 h 928047"/>
              <a:gd name="connsiteX93" fmla="*/ 809608 w 1590658"/>
              <a:gd name="connsiteY93" fmla="*/ 44450 h 928047"/>
              <a:gd name="connsiteX94" fmla="*/ 765158 w 1590658"/>
              <a:gd name="connsiteY94" fmla="*/ 57150 h 928047"/>
              <a:gd name="connsiteX95" fmla="*/ 746108 w 1590658"/>
              <a:gd name="connsiteY95" fmla="*/ 69850 h 928047"/>
              <a:gd name="connsiteX96" fmla="*/ 733408 w 1590658"/>
              <a:gd name="connsiteY96" fmla="*/ 127000 h 928047"/>
              <a:gd name="connsiteX97" fmla="*/ 714358 w 1590658"/>
              <a:gd name="connsiteY97" fmla="*/ 120650 h 928047"/>
              <a:gd name="connsiteX98" fmla="*/ 695308 w 1590658"/>
              <a:gd name="connsiteY98" fmla="*/ 107950 h 928047"/>
              <a:gd name="connsiteX99" fmla="*/ 676258 w 1590658"/>
              <a:gd name="connsiteY99" fmla="*/ 114300 h 928047"/>
              <a:gd name="connsiteX100" fmla="*/ 638158 w 1590658"/>
              <a:gd name="connsiteY100" fmla="*/ 139700 h 928047"/>
              <a:gd name="connsiteX101" fmla="*/ 606408 w 1590658"/>
              <a:gd name="connsiteY101" fmla="*/ 171450 h 928047"/>
              <a:gd name="connsiteX102" fmla="*/ 593708 w 1590658"/>
              <a:gd name="connsiteY102" fmla="*/ 190500 h 928047"/>
              <a:gd name="connsiteX103" fmla="*/ 441308 w 1590658"/>
              <a:gd name="connsiteY103" fmla="*/ 209550 h 928047"/>
              <a:gd name="connsiteX104" fmla="*/ 396858 w 1590658"/>
              <a:gd name="connsiteY104" fmla="*/ 222250 h 928047"/>
              <a:gd name="connsiteX105" fmla="*/ 390508 w 1590658"/>
              <a:gd name="connsiteY105" fmla="*/ 241300 h 928047"/>
              <a:gd name="connsiteX106" fmla="*/ 403208 w 1590658"/>
              <a:gd name="connsiteY106" fmla="*/ 260350 h 928047"/>
              <a:gd name="connsiteX107" fmla="*/ 377808 w 1590658"/>
              <a:gd name="connsiteY107" fmla="*/ 292100 h 928047"/>
              <a:gd name="connsiteX108" fmla="*/ 346058 w 1590658"/>
              <a:gd name="connsiteY108" fmla="*/ 330200 h 928047"/>
              <a:gd name="connsiteX109" fmla="*/ 320658 w 1590658"/>
              <a:gd name="connsiteY109" fmla="*/ 368300 h 928047"/>
              <a:gd name="connsiteX110" fmla="*/ 295258 w 1590658"/>
              <a:gd name="connsiteY110" fmla="*/ 361950 h 928047"/>
              <a:gd name="connsiteX111" fmla="*/ 276208 w 1590658"/>
              <a:gd name="connsiteY111" fmla="*/ 349250 h 928047"/>
              <a:gd name="connsiteX112" fmla="*/ 238108 w 1590658"/>
              <a:gd name="connsiteY112" fmla="*/ 330200 h 928047"/>
              <a:gd name="connsiteX113" fmla="*/ 231758 w 1590658"/>
              <a:gd name="connsiteY113" fmla="*/ 311150 h 928047"/>
              <a:gd name="connsiteX114" fmla="*/ 193658 w 1590658"/>
              <a:gd name="connsiteY114" fmla="*/ 298450 h 928047"/>
              <a:gd name="connsiteX115" fmla="*/ 168258 w 1590658"/>
              <a:gd name="connsiteY115" fmla="*/ 304800 h 928047"/>
              <a:gd name="connsiteX116" fmla="*/ 130158 w 1590658"/>
              <a:gd name="connsiteY116" fmla="*/ 317500 h 928047"/>
              <a:gd name="connsiteX117" fmla="*/ 111108 w 1590658"/>
              <a:gd name="connsiteY117" fmla="*/ 330200 h 928047"/>
              <a:gd name="connsiteX118" fmla="*/ 92058 w 1590658"/>
              <a:gd name="connsiteY118" fmla="*/ 381000 h 928047"/>
              <a:gd name="connsiteX119" fmla="*/ 73008 w 1590658"/>
              <a:gd name="connsiteY119" fmla="*/ 387350 h 928047"/>
              <a:gd name="connsiteX120" fmla="*/ 53958 w 1590658"/>
              <a:gd name="connsiteY120" fmla="*/ 463550 h 928047"/>
              <a:gd name="connsiteX121" fmla="*/ 60308 w 1590658"/>
              <a:gd name="connsiteY121" fmla="*/ 482600 h 928047"/>
              <a:gd name="connsiteX122" fmla="*/ 73008 w 1590658"/>
              <a:gd name="connsiteY122" fmla="*/ 501650 h 928047"/>
              <a:gd name="connsiteX123" fmla="*/ 111108 w 1590658"/>
              <a:gd name="connsiteY123" fmla="*/ 527050 h 928047"/>
              <a:gd name="connsiteX124" fmla="*/ 130158 w 1590658"/>
              <a:gd name="connsiteY124" fmla="*/ 565150 h 928047"/>
              <a:gd name="connsiteX125" fmla="*/ 104758 w 1590658"/>
              <a:gd name="connsiteY125" fmla="*/ 603250 h 928047"/>
              <a:gd name="connsiteX126" fmla="*/ 85708 w 1590658"/>
              <a:gd name="connsiteY126" fmla="*/ 641350 h 928047"/>
              <a:gd name="connsiteX127" fmla="*/ 47608 w 1590658"/>
              <a:gd name="connsiteY127" fmla="*/ 673100 h 928047"/>
              <a:gd name="connsiteX128" fmla="*/ 15858 w 1590658"/>
              <a:gd name="connsiteY128" fmla="*/ 704850 h 928047"/>
              <a:gd name="connsiteX129" fmla="*/ 3158 w 1590658"/>
              <a:gd name="connsiteY129" fmla="*/ 723900 h 928047"/>
              <a:gd name="connsiteX130" fmla="*/ 28558 w 1590658"/>
              <a:gd name="connsiteY130" fmla="*/ 762000 h 928047"/>
              <a:gd name="connsiteX131" fmla="*/ 47608 w 1590658"/>
              <a:gd name="connsiteY131" fmla="*/ 768350 h 928047"/>
              <a:gd name="connsiteX132" fmla="*/ 79358 w 1590658"/>
              <a:gd name="connsiteY132" fmla="*/ 800100 h 928047"/>
              <a:gd name="connsiteX133" fmla="*/ 123808 w 1590658"/>
              <a:gd name="connsiteY133" fmla="*/ 787400 h 928047"/>
              <a:gd name="connsiteX134" fmla="*/ 149208 w 1590658"/>
              <a:gd name="connsiteY134" fmla="*/ 793750 h 928047"/>
              <a:gd name="connsiteX135" fmla="*/ 161908 w 1590658"/>
              <a:gd name="connsiteY135" fmla="*/ 812800 h 928047"/>
              <a:gd name="connsiteX136" fmla="*/ 174608 w 1590658"/>
              <a:gd name="connsiteY136" fmla="*/ 850900 h 928047"/>
              <a:gd name="connsiteX137" fmla="*/ 212708 w 1590658"/>
              <a:gd name="connsiteY137" fmla="*/ 882650 h 928047"/>
              <a:gd name="connsiteX138" fmla="*/ 250808 w 1590658"/>
              <a:gd name="connsiteY138" fmla="*/ 908050 h 928047"/>
              <a:gd name="connsiteX139" fmla="*/ 269858 w 1590658"/>
              <a:gd name="connsiteY139" fmla="*/ 920750 h 928047"/>
              <a:gd name="connsiteX140" fmla="*/ 301608 w 1590658"/>
              <a:gd name="connsiteY140" fmla="*/ 927100 h 928047"/>
              <a:gd name="connsiteX141" fmla="*/ 269858 w 1590658"/>
              <a:gd name="connsiteY141" fmla="*/ 920750 h 928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590658" h="928047">
                <a:moveTo>
                  <a:pt x="269858" y="920750"/>
                </a:moveTo>
                <a:cubicBezTo>
                  <a:pt x="270916" y="918633"/>
                  <a:pt x="295389" y="917193"/>
                  <a:pt x="307958" y="914400"/>
                </a:cubicBezTo>
                <a:cubicBezTo>
                  <a:pt x="314492" y="912948"/>
                  <a:pt x="320315" y="908050"/>
                  <a:pt x="327008" y="908050"/>
                </a:cubicBezTo>
                <a:cubicBezTo>
                  <a:pt x="346175" y="908050"/>
                  <a:pt x="365108" y="912283"/>
                  <a:pt x="384158" y="914400"/>
                </a:cubicBezTo>
                <a:cubicBezTo>
                  <a:pt x="386275" y="908050"/>
                  <a:pt x="387515" y="901337"/>
                  <a:pt x="390508" y="895350"/>
                </a:cubicBezTo>
                <a:cubicBezTo>
                  <a:pt x="393921" y="888524"/>
                  <a:pt x="400795" y="883540"/>
                  <a:pt x="403208" y="876300"/>
                </a:cubicBezTo>
                <a:cubicBezTo>
                  <a:pt x="419040" y="828804"/>
                  <a:pt x="392986" y="843724"/>
                  <a:pt x="428608" y="831850"/>
                </a:cubicBezTo>
                <a:cubicBezTo>
                  <a:pt x="437075" y="833967"/>
                  <a:pt x="445986" y="834762"/>
                  <a:pt x="454008" y="838200"/>
                </a:cubicBezTo>
                <a:cubicBezTo>
                  <a:pt x="461023" y="841206"/>
                  <a:pt x="466232" y="847487"/>
                  <a:pt x="473058" y="850900"/>
                </a:cubicBezTo>
                <a:cubicBezTo>
                  <a:pt x="479045" y="853893"/>
                  <a:pt x="485758" y="855133"/>
                  <a:pt x="492108" y="857250"/>
                </a:cubicBezTo>
                <a:cubicBezTo>
                  <a:pt x="498458" y="848783"/>
                  <a:pt x="503123" y="838738"/>
                  <a:pt x="511158" y="831850"/>
                </a:cubicBezTo>
                <a:cubicBezTo>
                  <a:pt x="527161" y="818133"/>
                  <a:pt x="548997" y="816662"/>
                  <a:pt x="568308" y="812800"/>
                </a:cubicBezTo>
                <a:cubicBezTo>
                  <a:pt x="568723" y="811141"/>
                  <a:pt x="577695" y="772491"/>
                  <a:pt x="581008" y="768350"/>
                </a:cubicBezTo>
                <a:cubicBezTo>
                  <a:pt x="585776" y="762391"/>
                  <a:pt x="593708" y="759883"/>
                  <a:pt x="600058" y="755650"/>
                </a:cubicBezTo>
                <a:cubicBezTo>
                  <a:pt x="623341" y="757767"/>
                  <a:pt x="646884" y="757937"/>
                  <a:pt x="669908" y="762000"/>
                </a:cubicBezTo>
                <a:cubicBezTo>
                  <a:pt x="683091" y="764326"/>
                  <a:pt x="708008" y="774700"/>
                  <a:pt x="708008" y="774700"/>
                </a:cubicBezTo>
                <a:cubicBezTo>
                  <a:pt x="726739" y="787187"/>
                  <a:pt x="730829" y="788115"/>
                  <a:pt x="746108" y="806450"/>
                </a:cubicBezTo>
                <a:cubicBezTo>
                  <a:pt x="750994" y="812313"/>
                  <a:pt x="752458" y="821267"/>
                  <a:pt x="758808" y="825500"/>
                </a:cubicBezTo>
                <a:cubicBezTo>
                  <a:pt x="766070" y="830341"/>
                  <a:pt x="775741" y="829733"/>
                  <a:pt x="784208" y="831850"/>
                </a:cubicBezTo>
                <a:lnTo>
                  <a:pt x="822308" y="819150"/>
                </a:lnTo>
                <a:lnTo>
                  <a:pt x="841358" y="812800"/>
                </a:lnTo>
                <a:cubicBezTo>
                  <a:pt x="847708" y="814917"/>
                  <a:pt x="855675" y="814417"/>
                  <a:pt x="860408" y="819150"/>
                </a:cubicBezTo>
                <a:cubicBezTo>
                  <a:pt x="934491" y="893233"/>
                  <a:pt x="850883" y="833967"/>
                  <a:pt x="904858" y="869950"/>
                </a:cubicBezTo>
                <a:cubicBezTo>
                  <a:pt x="915441" y="867833"/>
                  <a:pt x="926072" y="865941"/>
                  <a:pt x="936608" y="863600"/>
                </a:cubicBezTo>
                <a:cubicBezTo>
                  <a:pt x="945127" y="861707"/>
                  <a:pt x="953281" y="857250"/>
                  <a:pt x="962008" y="857250"/>
                </a:cubicBezTo>
                <a:cubicBezTo>
                  <a:pt x="968701" y="857250"/>
                  <a:pt x="974708" y="861483"/>
                  <a:pt x="981058" y="863600"/>
                </a:cubicBezTo>
                <a:cubicBezTo>
                  <a:pt x="996552" y="858435"/>
                  <a:pt x="1006848" y="856860"/>
                  <a:pt x="1019158" y="844550"/>
                </a:cubicBezTo>
                <a:cubicBezTo>
                  <a:pt x="1061491" y="802217"/>
                  <a:pt x="1000108" y="846667"/>
                  <a:pt x="1050908" y="812800"/>
                </a:cubicBezTo>
                <a:cubicBezTo>
                  <a:pt x="1057258" y="817033"/>
                  <a:pt x="1065190" y="819541"/>
                  <a:pt x="1069958" y="825500"/>
                </a:cubicBezTo>
                <a:cubicBezTo>
                  <a:pt x="1087783" y="847781"/>
                  <a:pt x="1060600" y="849786"/>
                  <a:pt x="1095358" y="838200"/>
                </a:cubicBezTo>
                <a:cubicBezTo>
                  <a:pt x="1100163" y="823786"/>
                  <a:pt x="1100652" y="809322"/>
                  <a:pt x="1120758" y="806450"/>
                </a:cubicBezTo>
                <a:cubicBezTo>
                  <a:pt x="1129398" y="805216"/>
                  <a:pt x="1137691" y="810683"/>
                  <a:pt x="1146158" y="812800"/>
                </a:cubicBezTo>
                <a:cubicBezTo>
                  <a:pt x="1152508" y="810683"/>
                  <a:pt x="1159221" y="809443"/>
                  <a:pt x="1165208" y="806450"/>
                </a:cubicBezTo>
                <a:cubicBezTo>
                  <a:pt x="1179479" y="799314"/>
                  <a:pt x="1193277" y="786737"/>
                  <a:pt x="1203308" y="774700"/>
                </a:cubicBezTo>
                <a:cubicBezTo>
                  <a:pt x="1208194" y="768837"/>
                  <a:pt x="1211775" y="762000"/>
                  <a:pt x="1216008" y="755650"/>
                </a:cubicBezTo>
                <a:cubicBezTo>
                  <a:pt x="1218693" y="731483"/>
                  <a:pt x="1213521" y="698295"/>
                  <a:pt x="1235058" y="679450"/>
                </a:cubicBezTo>
                <a:lnTo>
                  <a:pt x="1292208" y="641350"/>
                </a:lnTo>
                <a:lnTo>
                  <a:pt x="1311258" y="628650"/>
                </a:lnTo>
                <a:cubicBezTo>
                  <a:pt x="1315223" y="616755"/>
                  <a:pt x="1317510" y="596900"/>
                  <a:pt x="1336658" y="596900"/>
                </a:cubicBezTo>
                <a:cubicBezTo>
                  <a:pt x="1344290" y="596900"/>
                  <a:pt x="1349358" y="605367"/>
                  <a:pt x="1355708" y="609600"/>
                </a:cubicBezTo>
                <a:cubicBezTo>
                  <a:pt x="1357825" y="618067"/>
                  <a:pt x="1358620" y="626978"/>
                  <a:pt x="1362058" y="635000"/>
                </a:cubicBezTo>
                <a:cubicBezTo>
                  <a:pt x="1365064" y="642015"/>
                  <a:pt x="1369362" y="648654"/>
                  <a:pt x="1374758" y="654050"/>
                </a:cubicBezTo>
                <a:cubicBezTo>
                  <a:pt x="1398236" y="677528"/>
                  <a:pt x="1423205" y="668837"/>
                  <a:pt x="1457308" y="673100"/>
                </a:cubicBezTo>
                <a:cubicBezTo>
                  <a:pt x="1470084" y="674697"/>
                  <a:pt x="1482708" y="677333"/>
                  <a:pt x="1495408" y="679450"/>
                </a:cubicBezTo>
                <a:cubicBezTo>
                  <a:pt x="1499641" y="685800"/>
                  <a:pt x="1507265" y="690915"/>
                  <a:pt x="1508108" y="698500"/>
                </a:cubicBezTo>
                <a:cubicBezTo>
                  <a:pt x="1509971" y="715263"/>
                  <a:pt x="1500988" y="738910"/>
                  <a:pt x="1495408" y="755650"/>
                </a:cubicBezTo>
                <a:cubicBezTo>
                  <a:pt x="1497525" y="766233"/>
                  <a:pt x="1491838" y="783148"/>
                  <a:pt x="1501758" y="787400"/>
                </a:cubicBezTo>
                <a:cubicBezTo>
                  <a:pt x="1514063" y="792673"/>
                  <a:pt x="1539858" y="774700"/>
                  <a:pt x="1539858" y="774700"/>
                </a:cubicBezTo>
                <a:cubicBezTo>
                  <a:pt x="1546208" y="770467"/>
                  <a:pt x="1553512" y="767396"/>
                  <a:pt x="1558908" y="762000"/>
                </a:cubicBezTo>
                <a:cubicBezTo>
                  <a:pt x="1564304" y="756604"/>
                  <a:pt x="1565649" y="747718"/>
                  <a:pt x="1571608" y="742950"/>
                </a:cubicBezTo>
                <a:cubicBezTo>
                  <a:pt x="1576835" y="738769"/>
                  <a:pt x="1584308" y="738717"/>
                  <a:pt x="1590658" y="736600"/>
                </a:cubicBezTo>
                <a:cubicBezTo>
                  <a:pt x="1588541" y="721783"/>
                  <a:pt x="1587673" y="706734"/>
                  <a:pt x="1584308" y="692150"/>
                </a:cubicBezTo>
                <a:cubicBezTo>
                  <a:pt x="1565258" y="609600"/>
                  <a:pt x="1577958" y="685800"/>
                  <a:pt x="1565258" y="635000"/>
                </a:cubicBezTo>
                <a:cubicBezTo>
                  <a:pt x="1563141" y="626533"/>
                  <a:pt x="1562346" y="617622"/>
                  <a:pt x="1558908" y="609600"/>
                </a:cubicBezTo>
                <a:cubicBezTo>
                  <a:pt x="1555902" y="602585"/>
                  <a:pt x="1549621" y="597376"/>
                  <a:pt x="1546208" y="590550"/>
                </a:cubicBezTo>
                <a:cubicBezTo>
                  <a:pt x="1543215" y="584563"/>
                  <a:pt x="1541975" y="577850"/>
                  <a:pt x="1539858" y="571500"/>
                </a:cubicBezTo>
                <a:cubicBezTo>
                  <a:pt x="1537741" y="533400"/>
                  <a:pt x="1540648" y="494685"/>
                  <a:pt x="1533508" y="457200"/>
                </a:cubicBezTo>
                <a:cubicBezTo>
                  <a:pt x="1531828" y="448378"/>
                  <a:pt x="1523293" y="439756"/>
                  <a:pt x="1514458" y="438150"/>
                </a:cubicBezTo>
                <a:cubicBezTo>
                  <a:pt x="1497668" y="435097"/>
                  <a:pt x="1480591" y="442383"/>
                  <a:pt x="1463658" y="444500"/>
                </a:cubicBezTo>
                <a:cubicBezTo>
                  <a:pt x="1448841" y="442383"/>
                  <a:pt x="1433884" y="441085"/>
                  <a:pt x="1419208" y="438150"/>
                </a:cubicBezTo>
                <a:cubicBezTo>
                  <a:pt x="1412644" y="436837"/>
                  <a:pt x="1405385" y="435981"/>
                  <a:pt x="1400158" y="431800"/>
                </a:cubicBezTo>
                <a:cubicBezTo>
                  <a:pt x="1359126" y="398974"/>
                  <a:pt x="1416291" y="422361"/>
                  <a:pt x="1368408" y="406400"/>
                </a:cubicBezTo>
                <a:cubicBezTo>
                  <a:pt x="1362058" y="402167"/>
                  <a:pt x="1352192" y="400786"/>
                  <a:pt x="1349358" y="393700"/>
                </a:cubicBezTo>
                <a:cubicBezTo>
                  <a:pt x="1346872" y="387485"/>
                  <a:pt x="1349272" y="376489"/>
                  <a:pt x="1355708" y="374650"/>
                </a:cubicBezTo>
                <a:cubicBezTo>
                  <a:pt x="1382244" y="367068"/>
                  <a:pt x="1410741" y="370417"/>
                  <a:pt x="1438258" y="368300"/>
                </a:cubicBezTo>
                <a:cubicBezTo>
                  <a:pt x="1444608" y="364067"/>
                  <a:pt x="1453263" y="362072"/>
                  <a:pt x="1457308" y="355600"/>
                </a:cubicBezTo>
                <a:cubicBezTo>
                  <a:pt x="1464403" y="344248"/>
                  <a:pt x="1470008" y="317500"/>
                  <a:pt x="1470008" y="317500"/>
                </a:cubicBezTo>
                <a:cubicBezTo>
                  <a:pt x="1463658" y="311150"/>
                  <a:pt x="1456707" y="305349"/>
                  <a:pt x="1450958" y="298450"/>
                </a:cubicBezTo>
                <a:cubicBezTo>
                  <a:pt x="1446072" y="292587"/>
                  <a:pt x="1444217" y="284168"/>
                  <a:pt x="1438258" y="279400"/>
                </a:cubicBezTo>
                <a:cubicBezTo>
                  <a:pt x="1433031" y="275219"/>
                  <a:pt x="1425558" y="275167"/>
                  <a:pt x="1419208" y="273050"/>
                </a:cubicBezTo>
                <a:lnTo>
                  <a:pt x="1381108" y="247650"/>
                </a:lnTo>
                <a:cubicBezTo>
                  <a:pt x="1369969" y="240224"/>
                  <a:pt x="1343008" y="234950"/>
                  <a:pt x="1343008" y="234950"/>
                </a:cubicBezTo>
                <a:cubicBezTo>
                  <a:pt x="1338775" y="228600"/>
                  <a:pt x="1333721" y="222726"/>
                  <a:pt x="1330308" y="215900"/>
                </a:cubicBezTo>
                <a:cubicBezTo>
                  <a:pt x="1327315" y="209913"/>
                  <a:pt x="1328139" y="202077"/>
                  <a:pt x="1323958" y="196850"/>
                </a:cubicBezTo>
                <a:cubicBezTo>
                  <a:pt x="1319190" y="190891"/>
                  <a:pt x="1311258" y="188383"/>
                  <a:pt x="1304908" y="184150"/>
                </a:cubicBezTo>
                <a:cubicBezTo>
                  <a:pt x="1292208" y="188383"/>
                  <a:pt x="1279508" y="201083"/>
                  <a:pt x="1266808" y="196850"/>
                </a:cubicBezTo>
                <a:lnTo>
                  <a:pt x="1228708" y="184150"/>
                </a:lnTo>
                <a:cubicBezTo>
                  <a:pt x="1218125" y="186267"/>
                  <a:pt x="1207429" y="187882"/>
                  <a:pt x="1196958" y="190500"/>
                </a:cubicBezTo>
                <a:cubicBezTo>
                  <a:pt x="1190464" y="192123"/>
                  <a:pt x="1184258" y="198967"/>
                  <a:pt x="1177908" y="196850"/>
                </a:cubicBezTo>
                <a:cubicBezTo>
                  <a:pt x="1163428" y="192023"/>
                  <a:pt x="1152508" y="179917"/>
                  <a:pt x="1139808" y="171450"/>
                </a:cubicBezTo>
                <a:cubicBezTo>
                  <a:pt x="1132336" y="166469"/>
                  <a:pt x="1127847" y="157913"/>
                  <a:pt x="1120758" y="152400"/>
                </a:cubicBezTo>
                <a:cubicBezTo>
                  <a:pt x="1108710" y="143029"/>
                  <a:pt x="1082658" y="127000"/>
                  <a:pt x="1082658" y="127000"/>
                </a:cubicBezTo>
                <a:cubicBezTo>
                  <a:pt x="1078425" y="120650"/>
                  <a:pt x="1076784" y="111363"/>
                  <a:pt x="1069958" y="107950"/>
                </a:cubicBezTo>
                <a:cubicBezTo>
                  <a:pt x="1058442" y="102192"/>
                  <a:pt x="1044072" y="105671"/>
                  <a:pt x="1031858" y="101600"/>
                </a:cubicBezTo>
                <a:cubicBezTo>
                  <a:pt x="1024618" y="99187"/>
                  <a:pt x="1019158" y="93133"/>
                  <a:pt x="1012808" y="88900"/>
                </a:cubicBezTo>
                <a:cubicBezTo>
                  <a:pt x="1014925" y="78317"/>
                  <a:pt x="1016540" y="67621"/>
                  <a:pt x="1019158" y="57150"/>
                </a:cubicBezTo>
                <a:cubicBezTo>
                  <a:pt x="1020781" y="50656"/>
                  <a:pt x="1029399" y="43547"/>
                  <a:pt x="1025508" y="38100"/>
                </a:cubicBezTo>
                <a:cubicBezTo>
                  <a:pt x="1016636" y="25680"/>
                  <a:pt x="1000108" y="21167"/>
                  <a:pt x="987408" y="12700"/>
                </a:cubicBezTo>
                <a:cubicBezTo>
                  <a:pt x="976269" y="5274"/>
                  <a:pt x="949308" y="0"/>
                  <a:pt x="949308" y="0"/>
                </a:cubicBezTo>
                <a:cubicBezTo>
                  <a:pt x="933814" y="5165"/>
                  <a:pt x="923518" y="6740"/>
                  <a:pt x="911208" y="19050"/>
                </a:cubicBezTo>
                <a:cubicBezTo>
                  <a:pt x="905812" y="24446"/>
                  <a:pt x="904858" y="33867"/>
                  <a:pt x="898508" y="38100"/>
                </a:cubicBezTo>
                <a:cubicBezTo>
                  <a:pt x="891246" y="42941"/>
                  <a:pt x="881575" y="42333"/>
                  <a:pt x="873108" y="44450"/>
                </a:cubicBezTo>
                <a:cubicBezTo>
                  <a:pt x="864641" y="42333"/>
                  <a:pt x="856435" y="38100"/>
                  <a:pt x="847708" y="38100"/>
                </a:cubicBezTo>
                <a:cubicBezTo>
                  <a:pt x="834833" y="38100"/>
                  <a:pt x="822233" y="41925"/>
                  <a:pt x="809608" y="44450"/>
                </a:cubicBezTo>
                <a:cubicBezTo>
                  <a:pt x="789674" y="48437"/>
                  <a:pt x="783314" y="51098"/>
                  <a:pt x="765158" y="57150"/>
                </a:cubicBezTo>
                <a:cubicBezTo>
                  <a:pt x="758808" y="61383"/>
                  <a:pt x="750876" y="63891"/>
                  <a:pt x="746108" y="69850"/>
                </a:cubicBezTo>
                <a:cubicBezTo>
                  <a:pt x="739526" y="78077"/>
                  <a:pt x="733473" y="126610"/>
                  <a:pt x="733408" y="127000"/>
                </a:cubicBezTo>
                <a:cubicBezTo>
                  <a:pt x="727058" y="124883"/>
                  <a:pt x="720345" y="123643"/>
                  <a:pt x="714358" y="120650"/>
                </a:cubicBezTo>
                <a:cubicBezTo>
                  <a:pt x="707532" y="117237"/>
                  <a:pt x="702836" y="109205"/>
                  <a:pt x="695308" y="107950"/>
                </a:cubicBezTo>
                <a:cubicBezTo>
                  <a:pt x="688706" y="106850"/>
                  <a:pt x="682608" y="112183"/>
                  <a:pt x="676258" y="114300"/>
                </a:cubicBezTo>
                <a:cubicBezTo>
                  <a:pt x="663558" y="122767"/>
                  <a:pt x="646625" y="127000"/>
                  <a:pt x="638158" y="139700"/>
                </a:cubicBezTo>
                <a:cubicBezTo>
                  <a:pt x="621225" y="165100"/>
                  <a:pt x="631808" y="154517"/>
                  <a:pt x="606408" y="171450"/>
                </a:cubicBezTo>
                <a:cubicBezTo>
                  <a:pt x="602175" y="177800"/>
                  <a:pt x="600895" y="187933"/>
                  <a:pt x="593708" y="190500"/>
                </a:cubicBezTo>
                <a:cubicBezTo>
                  <a:pt x="562865" y="201515"/>
                  <a:pt x="473389" y="206877"/>
                  <a:pt x="441308" y="209550"/>
                </a:cubicBezTo>
                <a:cubicBezTo>
                  <a:pt x="441088" y="209605"/>
                  <a:pt x="399895" y="219213"/>
                  <a:pt x="396858" y="222250"/>
                </a:cubicBezTo>
                <a:cubicBezTo>
                  <a:pt x="392125" y="226983"/>
                  <a:pt x="392625" y="234950"/>
                  <a:pt x="390508" y="241300"/>
                </a:cubicBezTo>
                <a:cubicBezTo>
                  <a:pt x="394741" y="247650"/>
                  <a:pt x="401953" y="252822"/>
                  <a:pt x="403208" y="260350"/>
                </a:cubicBezTo>
                <a:cubicBezTo>
                  <a:pt x="406513" y="280182"/>
                  <a:pt x="388667" y="283051"/>
                  <a:pt x="377808" y="292100"/>
                </a:cubicBezTo>
                <a:cubicBezTo>
                  <a:pt x="359473" y="307379"/>
                  <a:pt x="358545" y="311469"/>
                  <a:pt x="346058" y="330200"/>
                </a:cubicBezTo>
                <a:cubicBezTo>
                  <a:pt x="341943" y="346660"/>
                  <a:pt x="343396" y="365052"/>
                  <a:pt x="320658" y="368300"/>
                </a:cubicBezTo>
                <a:cubicBezTo>
                  <a:pt x="312018" y="369534"/>
                  <a:pt x="303725" y="364067"/>
                  <a:pt x="295258" y="361950"/>
                </a:cubicBezTo>
                <a:cubicBezTo>
                  <a:pt x="288908" y="357717"/>
                  <a:pt x="283034" y="352663"/>
                  <a:pt x="276208" y="349250"/>
                </a:cubicBezTo>
                <a:cubicBezTo>
                  <a:pt x="223628" y="322960"/>
                  <a:pt x="292703" y="366596"/>
                  <a:pt x="238108" y="330200"/>
                </a:cubicBezTo>
                <a:cubicBezTo>
                  <a:pt x="235991" y="323850"/>
                  <a:pt x="237205" y="315041"/>
                  <a:pt x="231758" y="311150"/>
                </a:cubicBezTo>
                <a:cubicBezTo>
                  <a:pt x="220865" y="303369"/>
                  <a:pt x="193658" y="298450"/>
                  <a:pt x="193658" y="298450"/>
                </a:cubicBezTo>
                <a:cubicBezTo>
                  <a:pt x="185191" y="300567"/>
                  <a:pt x="176617" y="302292"/>
                  <a:pt x="168258" y="304800"/>
                </a:cubicBezTo>
                <a:cubicBezTo>
                  <a:pt x="155436" y="308647"/>
                  <a:pt x="130158" y="317500"/>
                  <a:pt x="130158" y="317500"/>
                </a:cubicBezTo>
                <a:cubicBezTo>
                  <a:pt x="123808" y="321733"/>
                  <a:pt x="114894" y="323574"/>
                  <a:pt x="111108" y="330200"/>
                </a:cubicBezTo>
                <a:cubicBezTo>
                  <a:pt x="95890" y="356832"/>
                  <a:pt x="115957" y="361881"/>
                  <a:pt x="92058" y="381000"/>
                </a:cubicBezTo>
                <a:cubicBezTo>
                  <a:pt x="86831" y="385181"/>
                  <a:pt x="79358" y="385233"/>
                  <a:pt x="73008" y="387350"/>
                </a:cubicBezTo>
                <a:cubicBezTo>
                  <a:pt x="43092" y="432224"/>
                  <a:pt x="42884" y="413716"/>
                  <a:pt x="53958" y="463550"/>
                </a:cubicBezTo>
                <a:cubicBezTo>
                  <a:pt x="55410" y="470084"/>
                  <a:pt x="57315" y="476613"/>
                  <a:pt x="60308" y="482600"/>
                </a:cubicBezTo>
                <a:cubicBezTo>
                  <a:pt x="63721" y="489426"/>
                  <a:pt x="67265" y="496624"/>
                  <a:pt x="73008" y="501650"/>
                </a:cubicBezTo>
                <a:cubicBezTo>
                  <a:pt x="84495" y="511701"/>
                  <a:pt x="111108" y="527050"/>
                  <a:pt x="111108" y="527050"/>
                </a:cubicBezTo>
                <a:cubicBezTo>
                  <a:pt x="114199" y="531686"/>
                  <a:pt x="133079" y="556387"/>
                  <a:pt x="130158" y="565150"/>
                </a:cubicBezTo>
                <a:cubicBezTo>
                  <a:pt x="125331" y="579630"/>
                  <a:pt x="109585" y="588770"/>
                  <a:pt x="104758" y="603250"/>
                </a:cubicBezTo>
                <a:cubicBezTo>
                  <a:pt x="99593" y="618744"/>
                  <a:pt x="98018" y="629040"/>
                  <a:pt x="85708" y="641350"/>
                </a:cubicBezTo>
                <a:cubicBezTo>
                  <a:pt x="35758" y="691300"/>
                  <a:pt x="99622" y="610683"/>
                  <a:pt x="47608" y="673100"/>
                </a:cubicBezTo>
                <a:cubicBezTo>
                  <a:pt x="21150" y="704850"/>
                  <a:pt x="50783" y="681567"/>
                  <a:pt x="15858" y="704850"/>
                </a:cubicBezTo>
                <a:cubicBezTo>
                  <a:pt x="11625" y="711200"/>
                  <a:pt x="4237" y="716345"/>
                  <a:pt x="3158" y="723900"/>
                </a:cubicBezTo>
                <a:cubicBezTo>
                  <a:pt x="0" y="746009"/>
                  <a:pt x="12180" y="753811"/>
                  <a:pt x="28558" y="762000"/>
                </a:cubicBezTo>
                <a:cubicBezTo>
                  <a:pt x="34545" y="764993"/>
                  <a:pt x="41258" y="766233"/>
                  <a:pt x="47608" y="768350"/>
                </a:cubicBezTo>
                <a:cubicBezTo>
                  <a:pt x="54738" y="779045"/>
                  <a:pt x="63762" y="797872"/>
                  <a:pt x="79358" y="800100"/>
                </a:cubicBezTo>
                <a:cubicBezTo>
                  <a:pt x="84939" y="800897"/>
                  <a:pt x="116659" y="789783"/>
                  <a:pt x="123808" y="787400"/>
                </a:cubicBezTo>
                <a:cubicBezTo>
                  <a:pt x="132275" y="789517"/>
                  <a:pt x="141946" y="788909"/>
                  <a:pt x="149208" y="793750"/>
                </a:cubicBezTo>
                <a:cubicBezTo>
                  <a:pt x="155558" y="797983"/>
                  <a:pt x="158808" y="805826"/>
                  <a:pt x="161908" y="812800"/>
                </a:cubicBezTo>
                <a:cubicBezTo>
                  <a:pt x="167345" y="825033"/>
                  <a:pt x="163469" y="843474"/>
                  <a:pt x="174608" y="850900"/>
                </a:cubicBezTo>
                <a:cubicBezTo>
                  <a:pt x="242681" y="896282"/>
                  <a:pt x="139369" y="825608"/>
                  <a:pt x="212708" y="882650"/>
                </a:cubicBezTo>
                <a:cubicBezTo>
                  <a:pt x="224756" y="892021"/>
                  <a:pt x="238108" y="899583"/>
                  <a:pt x="250808" y="908050"/>
                </a:cubicBezTo>
                <a:lnTo>
                  <a:pt x="269858" y="920750"/>
                </a:lnTo>
                <a:cubicBezTo>
                  <a:pt x="278838" y="926737"/>
                  <a:pt x="291369" y="923687"/>
                  <a:pt x="301608" y="927100"/>
                </a:cubicBezTo>
                <a:cubicBezTo>
                  <a:pt x="304448" y="928047"/>
                  <a:pt x="268800" y="922867"/>
                  <a:pt x="269858" y="920750"/>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30" name="Freeform 29"/>
          <p:cNvSpPr/>
          <p:nvPr>
            <p:custDataLst>
              <p:tags r:id="rId19"/>
            </p:custDataLst>
          </p:nvPr>
        </p:nvSpPr>
        <p:spPr bwMode="auto">
          <a:xfrm>
            <a:off x="2749688" y="1624148"/>
            <a:ext cx="479585" cy="276397"/>
          </a:xfrm>
          <a:custGeom>
            <a:avLst/>
            <a:gdLst>
              <a:gd name="connsiteX0" fmla="*/ 387350 w 571500"/>
              <a:gd name="connsiteY0" fmla="*/ 317500 h 329370"/>
              <a:gd name="connsiteX1" fmla="*/ 438150 w 571500"/>
              <a:gd name="connsiteY1" fmla="*/ 311150 h 329370"/>
              <a:gd name="connsiteX2" fmla="*/ 444500 w 571500"/>
              <a:gd name="connsiteY2" fmla="*/ 292100 h 329370"/>
              <a:gd name="connsiteX3" fmla="*/ 457200 w 571500"/>
              <a:gd name="connsiteY3" fmla="*/ 273050 h 329370"/>
              <a:gd name="connsiteX4" fmla="*/ 463550 w 571500"/>
              <a:gd name="connsiteY4" fmla="*/ 247650 h 329370"/>
              <a:gd name="connsiteX5" fmla="*/ 482600 w 571500"/>
              <a:gd name="connsiteY5" fmla="*/ 241300 h 329370"/>
              <a:gd name="connsiteX6" fmla="*/ 508000 w 571500"/>
              <a:gd name="connsiteY6" fmla="*/ 234950 h 329370"/>
              <a:gd name="connsiteX7" fmla="*/ 539750 w 571500"/>
              <a:gd name="connsiteY7" fmla="*/ 241300 h 329370"/>
              <a:gd name="connsiteX8" fmla="*/ 552450 w 571500"/>
              <a:gd name="connsiteY8" fmla="*/ 260350 h 329370"/>
              <a:gd name="connsiteX9" fmla="*/ 571500 w 571500"/>
              <a:gd name="connsiteY9" fmla="*/ 266700 h 329370"/>
              <a:gd name="connsiteX10" fmla="*/ 546100 w 571500"/>
              <a:gd name="connsiteY10" fmla="*/ 209550 h 329370"/>
              <a:gd name="connsiteX11" fmla="*/ 527050 w 571500"/>
              <a:gd name="connsiteY11" fmla="*/ 203200 h 329370"/>
              <a:gd name="connsiteX12" fmla="*/ 508000 w 571500"/>
              <a:gd name="connsiteY12" fmla="*/ 184150 h 329370"/>
              <a:gd name="connsiteX13" fmla="*/ 508000 w 571500"/>
              <a:gd name="connsiteY13" fmla="*/ 139700 h 329370"/>
              <a:gd name="connsiteX14" fmla="*/ 527050 w 571500"/>
              <a:gd name="connsiteY14" fmla="*/ 127000 h 329370"/>
              <a:gd name="connsiteX15" fmla="*/ 546100 w 571500"/>
              <a:gd name="connsiteY15" fmla="*/ 88900 h 329370"/>
              <a:gd name="connsiteX16" fmla="*/ 533400 w 571500"/>
              <a:gd name="connsiteY16" fmla="*/ 69850 h 329370"/>
              <a:gd name="connsiteX17" fmla="*/ 514350 w 571500"/>
              <a:gd name="connsiteY17" fmla="*/ 63500 h 329370"/>
              <a:gd name="connsiteX18" fmla="*/ 488950 w 571500"/>
              <a:gd name="connsiteY18" fmla="*/ 69850 h 329370"/>
              <a:gd name="connsiteX19" fmla="*/ 469900 w 571500"/>
              <a:gd name="connsiteY19" fmla="*/ 76200 h 329370"/>
              <a:gd name="connsiteX20" fmla="*/ 438150 w 571500"/>
              <a:gd name="connsiteY20" fmla="*/ 69850 h 329370"/>
              <a:gd name="connsiteX21" fmla="*/ 438150 w 571500"/>
              <a:gd name="connsiteY21" fmla="*/ 6350 h 329370"/>
              <a:gd name="connsiteX22" fmla="*/ 419100 w 571500"/>
              <a:gd name="connsiteY22" fmla="*/ 0 h 329370"/>
              <a:gd name="connsiteX23" fmla="*/ 374650 w 571500"/>
              <a:gd name="connsiteY23" fmla="*/ 6350 h 329370"/>
              <a:gd name="connsiteX24" fmla="*/ 349250 w 571500"/>
              <a:gd name="connsiteY24" fmla="*/ 44450 h 329370"/>
              <a:gd name="connsiteX25" fmla="*/ 342900 w 571500"/>
              <a:gd name="connsiteY25" fmla="*/ 95250 h 329370"/>
              <a:gd name="connsiteX26" fmla="*/ 323850 w 571500"/>
              <a:gd name="connsiteY26" fmla="*/ 76200 h 329370"/>
              <a:gd name="connsiteX27" fmla="*/ 292100 w 571500"/>
              <a:gd name="connsiteY27" fmla="*/ 101600 h 329370"/>
              <a:gd name="connsiteX28" fmla="*/ 298450 w 571500"/>
              <a:gd name="connsiteY28" fmla="*/ 127000 h 329370"/>
              <a:gd name="connsiteX29" fmla="*/ 273050 w 571500"/>
              <a:gd name="connsiteY29" fmla="*/ 171450 h 329370"/>
              <a:gd name="connsiteX30" fmla="*/ 254000 w 571500"/>
              <a:gd name="connsiteY30" fmla="*/ 184150 h 329370"/>
              <a:gd name="connsiteX31" fmla="*/ 228600 w 571500"/>
              <a:gd name="connsiteY31" fmla="*/ 190500 h 329370"/>
              <a:gd name="connsiteX32" fmla="*/ 152400 w 571500"/>
              <a:gd name="connsiteY32" fmla="*/ 184150 h 329370"/>
              <a:gd name="connsiteX33" fmla="*/ 114300 w 571500"/>
              <a:gd name="connsiteY33" fmla="*/ 171450 h 329370"/>
              <a:gd name="connsiteX34" fmla="*/ 44450 w 571500"/>
              <a:gd name="connsiteY34" fmla="*/ 190500 h 329370"/>
              <a:gd name="connsiteX35" fmla="*/ 25400 w 571500"/>
              <a:gd name="connsiteY35" fmla="*/ 215900 h 329370"/>
              <a:gd name="connsiteX36" fmla="*/ 0 w 571500"/>
              <a:gd name="connsiteY36" fmla="*/ 279400 h 329370"/>
              <a:gd name="connsiteX37" fmla="*/ 25400 w 571500"/>
              <a:gd name="connsiteY37" fmla="*/ 292100 h 329370"/>
              <a:gd name="connsiteX38" fmla="*/ 50800 w 571500"/>
              <a:gd name="connsiteY38" fmla="*/ 234950 h 329370"/>
              <a:gd name="connsiteX39" fmla="*/ 69850 w 571500"/>
              <a:gd name="connsiteY39" fmla="*/ 228600 h 329370"/>
              <a:gd name="connsiteX40" fmla="*/ 88900 w 571500"/>
              <a:gd name="connsiteY40" fmla="*/ 215900 h 329370"/>
              <a:gd name="connsiteX41" fmla="*/ 228600 w 571500"/>
              <a:gd name="connsiteY41" fmla="*/ 215900 h 329370"/>
              <a:gd name="connsiteX42" fmla="*/ 266700 w 571500"/>
              <a:gd name="connsiteY42" fmla="*/ 209550 h 329370"/>
              <a:gd name="connsiteX43" fmla="*/ 279400 w 571500"/>
              <a:gd name="connsiteY43" fmla="*/ 190500 h 329370"/>
              <a:gd name="connsiteX44" fmla="*/ 298450 w 571500"/>
              <a:gd name="connsiteY44" fmla="*/ 171450 h 329370"/>
              <a:gd name="connsiteX45" fmla="*/ 311150 w 571500"/>
              <a:gd name="connsiteY45" fmla="*/ 127000 h 329370"/>
              <a:gd name="connsiteX46" fmla="*/ 330200 w 571500"/>
              <a:gd name="connsiteY46" fmla="*/ 120650 h 329370"/>
              <a:gd name="connsiteX47" fmla="*/ 336550 w 571500"/>
              <a:gd name="connsiteY47" fmla="*/ 139700 h 329370"/>
              <a:gd name="connsiteX48" fmla="*/ 342900 w 571500"/>
              <a:gd name="connsiteY48" fmla="*/ 184150 h 329370"/>
              <a:gd name="connsiteX49" fmla="*/ 361950 w 571500"/>
              <a:gd name="connsiteY49" fmla="*/ 196850 h 329370"/>
              <a:gd name="connsiteX50" fmla="*/ 355600 w 571500"/>
              <a:gd name="connsiteY50" fmla="*/ 222250 h 329370"/>
              <a:gd name="connsiteX51" fmla="*/ 336550 w 571500"/>
              <a:gd name="connsiteY51" fmla="*/ 234950 h 329370"/>
              <a:gd name="connsiteX52" fmla="*/ 323850 w 571500"/>
              <a:gd name="connsiteY52" fmla="*/ 254000 h 329370"/>
              <a:gd name="connsiteX53" fmla="*/ 330200 w 571500"/>
              <a:gd name="connsiteY53" fmla="*/ 298450 h 329370"/>
              <a:gd name="connsiteX54" fmla="*/ 349250 w 571500"/>
              <a:gd name="connsiteY54" fmla="*/ 304800 h 329370"/>
              <a:gd name="connsiteX55" fmla="*/ 374650 w 571500"/>
              <a:gd name="connsiteY55" fmla="*/ 311150 h 329370"/>
              <a:gd name="connsiteX56" fmla="*/ 419100 w 571500"/>
              <a:gd name="connsiteY56" fmla="*/ 323850 h 329370"/>
              <a:gd name="connsiteX57" fmla="*/ 444500 w 571500"/>
              <a:gd name="connsiteY57" fmla="*/ 311150 h 329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71500" h="329370">
                <a:moveTo>
                  <a:pt x="387350" y="317500"/>
                </a:moveTo>
                <a:cubicBezTo>
                  <a:pt x="404283" y="315383"/>
                  <a:pt x="422556" y="318081"/>
                  <a:pt x="438150" y="311150"/>
                </a:cubicBezTo>
                <a:cubicBezTo>
                  <a:pt x="444267" y="308432"/>
                  <a:pt x="441507" y="298087"/>
                  <a:pt x="444500" y="292100"/>
                </a:cubicBezTo>
                <a:cubicBezTo>
                  <a:pt x="447913" y="285274"/>
                  <a:pt x="452967" y="279400"/>
                  <a:pt x="457200" y="273050"/>
                </a:cubicBezTo>
                <a:cubicBezTo>
                  <a:pt x="459317" y="264583"/>
                  <a:pt x="458098" y="254465"/>
                  <a:pt x="463550" y="247650"/>
                </a:cubicBezTo>
                <a:cubicBezTo>
                  <a:pt x="467731" y="242423"/>
                  <a:pt x="476164" y="243139"/>
                  <a:pt x="482600" y="241300"/>
                </a:cubicBezTo>
                <a:cubicBezTo>
                  <a:pt x="490991" y="238902"/>
                  <a:pt x="499533" y="237067"/>
                  <a:pt x="508000" y="234950"/>
                </a:cubicBezTo>
                <a:cubicBezTo>
                  <a:pt x="518583" y="237067"/>
                  <a:pt x="530379" y="235945"/>
                  <a:pt x="539750" y="241300"/>
                </a:cubicBezTo>
                <a:cubicBezTo>
                  <a:pt x="546376" y="245086"/>
                  <a:pt x="546491" y="255582"/>
                  <a:pt x="552450" y="260350"/>
                </a:cubicBezTo>
                <a:cubicBezTo>
                  <a:pt x="557677" y="264531"/>
                  <a:pt x="565150" y="264583"/>
                  <a:pt x="571500" y="266700"/>
                </a:cubicBezTo>
                <a:cubicBezTo>
                  <a:pt x="551374" y="236511"/>
                  <a:pt x="561213" y="254890"/>
                  <a:pt x="546100" y="209550"/>
                </a:cubicBezTo>
                <a:cubicBezTo>
                  <a:pt x="543983" y="203200"/>
                  <a:pt x="533400" y="205317"/>
                  <a:pt x="527050" y="203200"/>
                </a:cubicBezTo>
                <a:cubicBezTo>
                  <a:pt x="520700" y="196850"/>
                  <a:pt x="512981" y="191622"/>
                  <a:pt x="508000" y="184150"/>
                </a:cubicBezTo>
                <a:cubicBezTo>
                  <a:pt x="499431" y="171297"/>
                  <a:pt x="499321" y="152719"/>
                  <a:pt x="508000" y="139700"/>
                </a:cubicBezTo>
                <a:cubicBezTo>
                  <a:pt x="512233" y="133350"/>
                  <a:pt x="520700" y="131233"/>
                  <a:pt x="527050" y="127000"/>
                </a:cubicBezTo>
                <a:cubicBezTo>
                  <a:pt x="531473" y="120366"/>
                  <a:pt x="547853" y="99416"/>
                  <a:pt x="546100" y="88900"/>
                </a:cubicBezTo>
                <a:cubicBezTo>
                  <a:pt x="544845" y="81372"/>
                  <a:pt x="539359" y="74618"/>
                  <a:pt x="533400" y="69850"/>
                </a:cubicBezTo>
                <a:cubicBezTo>
                  <a:pt x="528173" y="65669"/>
                  <a:pt x="520700" y="65617"/>
                  <a:pt x="514350" y="63500"/>
                </a:cubicBezTo>
                <a:cubicBezTo>
                  <a:pt x="505883" y="65617"/>
                  <a:pt x="497341" y="67452"/>
                  <a:pt x="488950" y="69850"/>
                </a:cubicBezTo>
                <a:cubicBezTo>
                  <a:pt x="482514" y="71689"/>
                  <a:pt x="476593" y="76200"/>
                  <a:pt x="469900" y="76200"/>
                </a:cubicBezTo>
                <a:cubicBezTo>
                  <a:pt x="459107" y="76200"/>
                  <a:pt x="448733" y="71967"/>
                  <a:pt x="438150" y="69850"/>
                </a:cubicBezTo>
                <a:cubicBezTo>
                  <a:pt x="439251" y="62143"/>
                  <a:pt x="452004" y="20204"/>
                  <a:pt x="438150" y="6350"/>
                </a:cubicBezTo>
                <a:cubicBezTo>
                  <a:pt x="433417" y="1617"/>
                  <a:pt x="425450" y="2117"/>
                  <a:pt x="419100" y="0"/>
                </a:cubicBezTo>
                <a:cubicBezTo>
                  <a:pt x="404283" y="2117"/>
                  <a:pt x="388986" y="2049"/>
                  <a:pt x="374650" y="6350"/>
                </a:cubicBezTo>
                <a:cubicBezTo>
                  <a:pt x="352547" y="12981"/>
                  <a:pt x="352638" y="24122"/>
                  <a:pt x="349250" y="44450"/>
                </a:cubicBezTo>
                <a:cubicBezTo>
                  <a:pt x="346445" y="61283"/>
                  <a:pt x="345017" y="78317"/>
                  <a:pt x="342900" y="95250"/>
                </a:cubicBezTo>
                <a:cubicBezTo>
                  <a:pt x="336550" y="88900"/>
                  <a:pt x="332369" y="79040"/>
                  <a:pt x="323850" y="76200"/>
                </a:cubicBezTo>
                <a:cubicBezTo>
                  <a:pt x="307120" y="70623"/>
                  <a:pt x="297613" y="93331"/>
                  <a:pt x="292100" y="101600"/>
                </a:cubicBezTo>
                <a:cubicBezTo>
                  <a:pt x="294217" y="110067"/>
                  <a:pt x="298450" y="118273"/>
                  <a:pt x="298450" y="127000"/>
                </a:cubicBezTo>
                <a:cubicBezTo>
                  <a:pt x="298450" y="149920"/>
                  <a:pt x="289496" y="157745"/>
                  <a:pt x="273050" y="171450"/>
                </a:cubicBezTo>
                <a:cubicBezTo>
                  <a:pt x="267187" y="176336"/>
                  <a:pt x="261015" y="181144"/>
                  <a:pt x="254000" y="184150"/>
                </a:cubicBezTo>
                <a:cubicBezTo>
                  <a:pt x="245978" y="187588"/>
                  <a:pt x="237067" y="188383"/>
                  <a:pt x="228600" y="190500"/>
                </a:cubicBezTo>
                <a:cubicBezTo>
                  <a:pt x="203200" y="188383"/>
                  <a:pt x="177541" y="188340"/>
                  <a:pt x="152400" y="184150"/>
                </a:cubicBezTo>
                <a:cubicBezTo>
                  <a:pt x="139195" y="181949"/>
                  <a:pt x="114300" y="171450"/>
                  <a:pt x="114300" y="171450"/>
                </a:cubicBezTo>
                <a:cubicBezTo>
                  <a:pt x="84250" y="175206"/>
                  <a:pt x="65033" y="169917"/>
                  <a:pt x="44450" y="190500"/>
                </a:cubicBezTo>
                <a:cubicBezTo>
                  <a:pt x="36966" y="197984"/>
                  <a:pt x="31750" y="207433"/>
                  <a:pt x="25400" y="215900"/>
                </a:cubicBezTo>
                <a:cubicBezTo>
                  <a:pt x="9707" y="262980"/>
                  <a:pt x="18687" y="242026"/>
                  <a:pt x="0" y="279400"/>
                </a:cubicBezTo>
                <a:cubicBezTo>
                  <a:pt x="2309" y="286327"/>
                  <a:pt x="6158" y="319039"/>
                  <a:pt x="25400" y="292100"/>
                </a:cubicBezTo>
                <a:cubicBezTo>
                  <a:pt x="39629" y="272179"/>
                  <a:pt x="31178" y="250647"/>
                  <a:pt x="50800" y="234950"/>
                </a:cubicBezTo>
                <a:cubicBezTo>
                  <a:pt x="56027" y="230769"/>
                  <a:pt x="63500" y="230717"/>
                  <a:pt x="69850" y="228600"/>
                </a:cubicBezTo>
                <a:cubicBezTo>
                  <a:pt x="76200" y="224367"/>
                  <a:pt x="81885" y="218906"/>
                  <a:pt x="88900" y="215900"/>
                </a:cubicBezTo>
                <a:cubicBezTo>
                  <a:pt x="128296" y="199016"/>
                  <a:pt x="206254" y="214659"/>
                  <a:pt x="228600" y="215900"/>
                </a:cubicBezTo>
                <a:cubicBezTo>
                  <a:pt x="241300" y="213783"/>
                  <a:pt x="255184" y="215308"/>
                  <a:pt x="266700" y="209550"/>
                </a:cubicBezTo>
                <a:cubicBezTo>
                  <a:pt x="273526" y="206137"/>
                  <a:pt x="274514" y="196363"/>
                  <a:pt x="279400" y="190500"/>
                </a:cubicBezTo>
                <a:cubicBezTo>
                  <a:pt x="285149" y="183601"/>
                  <a:pt x="292100" y="177800"/>
                  <a:pt x="298450" y="171450"/>
                </a:cubicBezTo>
                <a:cubicBezTo>
                  <a:pt x="298505" y="171230"/>
                  <a:pt x="308113" y="130037"/>
                  <a:pt x="311150" y="127000"/>
                </a:cubicBezTo>
                <a:cubicBezTo>
                  <a:pt x="315883" y="122267"/>
                  <a:pt x="323850" y="122767"/>
                  <a:pt x="330200" y="120650"/>
                </a:cubicBezTo>
                <a:cubicBezTo>
                  <a:pt x="332317" y="127000"/>
                  <a:pt x="335237" y="133136"/>
                  <a:pt x="336550" y="139700"/>
                </a:cubicBezTo>
                <a:cubicBezTo>
                  <a:pt x="339485" y="154376"/>
                  <a:pt x="336821" y="170473"/>
                  <a:pt x="342900" y="184150"/>
                </a:cubicBezTo>
                <a:cubicBezTo>
                  <a:pt x="346000" y="191124"/>
                  <a:pt x="355600" y="192617"/>
                  <a:pt x="361950" y="196850"/>
                </a:cubicBezTo>
                <a:cubicBezTo>
                  <a:pt x="359833" y="205317"/>
                  <a:pt x="360441" y="214988"/>
                  <a:pt x="355600" y="222250"/>
                </a:cubicBezTo>
                <a:cubicBezTo>
                  <a:pt x="351367" y="228600"/>
                  <a:pt x="341946" y="229554"/>
                  <a:pt x="336550" y="234950"/>
                </a:cubicBezTo>
                <a:cubicBezTo>
                  <a:pt x="331154" y="240346"/>
                  <a:pt x="328083" y="247650"/>
                  <a:pt x="323850" y="254000"/>
                </a:cubicBezTo>
                <a:cubicBezTo>
                  <a:pt x="325967" y="268817"/>
                  <a:pt x="323507" y="285063"/>
                  <a:pt x="330200" y="298450"/>
                </a:cubicBezTo>
                <a:cubicBezTo>
                  <a:pt x="333193" y="304437"/>
                  <a:pt x="342814" y="302961"/>
                  <a:pt x="349250" y="304800"/>
                </a:cubicBezTo>
                <a:cubicBezTo>
                  <a:pt x="357641" y="307198"/>
                  <a:pt x="366259" y="308752"/>
                  <a:pt x="374650" y="311150"/>
                </a:cubicBezTo>
                <a:cubicBezTo>
                  <a:pt x="438419" y="329370"/>
                  <a:pt x="339695" y="303999"/>
                  <a:pt x="419100" y="323850"/>
                </a:cubicBezTo>
                <a:cubicBezTo>
                  <a:pt x="439911" y="309976"/>
                  <a:pt x="430518" y="311150"/>
                  <a:pt x="444500" y="311150"/>
                </a:cubicBezTo>
              </a:path>
            </a:pathLst>
          </a:custGeom>
          <a:solidFill>
            <a:schemeClr val="accent3"/>
          </a:solidFill>
          <a:ln w="12700" cap="flat" cmpd="sng" algn="ctr">
            <a:solidFill>
              <a:schemeClr val="bg1"/>
            </a:solidFill>
            <a:prstDash val="solid"/>
            <a:round/>
            <a:headEnd type="none" w="med" len="med"/>
            <a:tailEnd type="none" w="med" len="med"/>
          </a:ln>
          <a:effectLst/>
        </p:spPr>
        <p:txBody>
          <a:bodyPr rtlCol="0" anchor="ct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31" name="Freeform 30"/>
          <p:cNvSpPr/>
          <p:nvPr>
            <p:custDataLst>
              <p:tags r:id="rId20"/>
            </p:custDataLst>
          </p:nvPr>
        </p:nvSpPr>
        <p:spPr bwMode="auto">
          <a:xfrm>
            <a:off x="2283814" y="1701392"/>
            <a:ext cx="117910" cy="79931"/>
          </a:xfrm>
          <a:custGeom>
            <a:avLst/>
            <a:gdLst>
              <a:gd name="connsiteX0" fmla="*/ 15412 w 140508"/>
              <a:gd name="connsiteY0" fmla="*/ 57150 h 95250"/>
              <a:gd name="connsiteX1" fmla="*/ 47162 w 140508"/>
              <a:gd name="connsiteY1" fmla="*/ 25400 h 95250"/>
              <a:gd name="connsiteX2" fmla="*/ 53512 w 140508"/>
              <a:gd name="connsiteY2" fmla="*/ 6350 h 95250"/>
              <a:gd name="connsiteX3" fmla="*/ 72562 w 140508"/>
              <a:gd name="connsiteY3" fmla="*/ 0 h 95250"/>
              <a:gd name="connsiteX4" fmla="*/ 117012 w 140508"/>
              <a:gd name="connsiteY4" fmla="*/ 50800 h 95250"/>
              <a:gd name="connsiteX5" fmla="*/ 123362 w 140508"/>
              <a:gd name="connsiteY5" fmla="*/ 88900 h 95250"/>
              <a:gd name="connsiteX6" fmla="*/ 97962 w 140508"/>
              <a:gd name="connsiteY6" fmla="*/ 95250 h 95250"/>
              <a:gd name="connsiteX7" fmla="*/ 66212 w 140508"/>
              <a:gd name="connsiteY7" fmla="*/ 88900 h 95250"/>
              <a:gd name="connsiteX8" fmla="*/ 15412 w 140508"/>
              <a:gd name="connsiteY8" fmla="*/ 571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508" h="95250">
                <a:moveTo>
                  <a:pt x="15412" y="57150"/>
                </a:moveTo>
                <a:cubicBezTo>
                  <a:pt x="12237" y="46567"/>
                  <a:pt x="36579" y="46567"/>
                  <a:pt x="47162" y="25400"/>
                </a:cubicBezTo>
                <a:cubicBezTo>
                  <a:pt x="50155" y="19413"/>
                  <a:pt x="48779" y="11083"/>
                  <a:pt x="53512" y="6350"/>
                </a:cubicBezTo>
                <a:cubicBezTo>
                  <a:pt x="58245" y="1617"/>
                  <a:pt x="66212" y="2117"/>
                  <a:pt x="72562" y="0"/>
                </a:cubicBezTo>
                <a:cubicBezTo>
                  <a:pt x="102195" y="44450"/>
                  <a:pt x="85262" y="29633"/>
                  <a:pt x="117012" y="50800"/>
                </a:cubicBezTo>
                <a:cubicBezTo>
                  <a:pt x="123868" y="61083"/>
                  <a:pt x="140508" y="75183"/>
                  <a:pt x="123362" y="88900"/>
                </a:cubicBezTo>
                <a:cubicBezTo>
                  <a:pt x="116547" y="94352"/>
                  <a:pt x="106429" y="93133"/>
                  <a:pt x="97962" y="95250"/>
                </a:cubicBezTo>
                <a:cubicBezTo>
                  <a:pt x="87379" y="93133"/>
                  <a:pt x="76038" y="93366"/>
                  <a:pt x="66212" y="88900"/>
                </a:cubicBezTo>
                <a:cubicBezTo>
                  <a:pt x="0" y="58804"/>
                  <a:pt x="18587" y="67733"/>
                  <a:pt x="15412" y="57150"/>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32" name="Freeform 31"/>
          <p:cNvSpPr/>
          <p:nvPr>
            <p:custDataLst>
              <p:tags r:id="rId21"/>
            </p:custDataLst>
          </p:nvPr>
        </p:nvSpPr>
        <p:spPr bwMode="auto">
          <a:xfrm>
            <a:off x="1366935" y="1376363"/>
            <a:ext cx="66559" cy="199827"/>
          </a:xfrm>
          <a:custGeom>
            <a:avLst/>
            <a:gdLst>
              <a:gd name="connsiteX0" fmla="*/ 60266 w 79316"/>
              <a:gd name="connsiteY0" fmla="*/ 3175 h 238125"/>
              <a:gd name="connsiteX1" fmla="*/ 22166 w 79316"/>
              <a:gd name="connsiteY1" fmla="*/ 34925 h 238125"/>
              <a:gd name="connsiteX2" fmla="*/ 9466 w 79316"/>
              <a:gd name="connsiteY2" fmla="*/ 53975 h 238125"/>
              <a:gd name="connsiteX3" fmla="*/ 3116 w 79316"/>
              <a:gd name="connsiteY3" fmla="*/ 79375 h 238125"/>
              <a:gd name="connsiteX4" fmla="*/ 15816 w 79316"/>
              <a:gd name="connsiteY4" fmla="*/ 238125 h 238125"/>
              <a:gd name="connsiteX5" fmla="*/ 34866 w 79316"/>
              <a:gd name="connsiteY5" fmla="*/ 193675 h 238125"/>
              <a:gd name="connsiteX6" fmla="*/ 41216 w 79316"/>
              <a:gd name="connsiteY6" fmla="*/ 161925 h 238125"/>
              <a:gd name="connsiteX7" fmla="*/ 79316 w 79316"/>
              <a:gd name="connsiteY7" fmla="*/ 142875 h 238125"/>
              <a:gd name="connsiteX8" fmla="*/ 72966 w 79316"/>
              <a:gd name="connsiteY8" fmla="*/ 123825 h 238125"/>
              <a:gd name="connsiteX9" fmla="*/ 34866 w 79316"/>
              <a:gd name="connsiteY9" fmla="*/ 92075 h 238125"/>
              <a:gd name="connsiteX10" fmla="*/ 41216 w 79316"/>
              <a:gd name="connsiteY10" fmla="*/ 53975 h 238125"/>
              <a:gd name="connsiteX11" fmla="*/ 60266 w 79316"/>
              <a:gd name="connsiteY11" fmla="*/ 15875 h 238125"/>
              <a:gd name="connsiteX12" fmla="*/ 60266 w 79316"/>
              <a:gd name="connsiteY12" fmla="*/ 317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316" h="238125">
                <a:moveTo>
                  <a:pt x="60266" y="3175"/>
                </a:moveTo>
                <a:cubicBezTo>
                  <a:pt x="53916" y="6350"/>
                  <a:pt x="37445" y="16590"/>
                  <a:pt x="22166" y="34925"/>
                </a:cubicBezTo>
                <a:cubicBezTo>
                  <a:pt x="17280" y="40788"/>
                  <a:pt x="13699" y="47625"/>
                  <a:pt x="9466" y="53975"/>
                </a:cubicBezTo>
                <a:cubicBezTo>
                  <a:pt x="7349" y="62442"/>
                  <a:pt x="3116" y="70648"/>
                  <a:pt x="3116" y="79375"/>
                </a:cubicBezTo>
                <a:cubicBezTo>
                  <a:pt x="3116" y="194382"/>
                  <a:pt x="0" y="174860"/>
                  <a:pt x="15816" y="238125"/>
                </a:cubicBezTo>
                <a:cubicBezTo>
                  <a:pt x="32162" y="213606"/>
                  <a:pt x="28032" y="224429"/>
                  <a:pt x="34866" y="193675"/>
                </a:cubicBezTo>
                <a:cubicBezTo>
                  <a:pt x="37207" y="183139"/>
                  <a:pt x="35861" y="171296"/>
                  <a:pt x="41216" y="161925"/>
                </a:cubicBezTo>
                <a:cubicBezTo>
                  <a:pt x="47009" y="151788"/>
                  <a:pt x="69538" y="146134"/>
                  <a:pt x="79316" y="142875"/>
                </a:cubicBezTo>
                <a:cubicBezTo>
                  <a:pt x="77199" y="136525"/>
                  <a:pt x="76679" y="129394"/>
                  <a:pt x="72966" y="123825"/>
                </a:cubicBezTo>
                <a:cubicBezTo>
                  <a:pt x="63187" y="109157"/>
                  <a:pt x="48923" y="101446"/>
                  <a:pt x="34866" y="92075"/>
                </a:cubicBezTo>
                <a:cubicBezTo>
                  <a:pt x="36983" y="79375"/>
                  <a:pt x="37145" y="66189"/>
                  <a:pt x="41216" y="53975"/>
                </a:cubicBezTo>
                <a:cubicBezTo>
                  <a:pt x="44560" y="43944"/>
                  <a:pt x="62965" y="29370"/>
                  <a:pt x="60266" y="15875"/>
                </a:cubicBezTo>
                <a:cubicBezTo>
                  <a:pt x="59092" y="10004"/>
                  <a:pt x="66616" y="0"/>
                  <a:pt x="60266" y="3175"/>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33" name="Freeform 32"/>
          <p:cNvSpPr/>
          <p:nvPr>
            <p:custDataLst>
              <p:tags r:id="rId22"/>
            </p:custDataLst>
          </p:nvPr>
        </p:nvSpPr>
        <p:spPr bwMode="auto">
          <a:xfrm>
            <a:off x="1404236" y="1554159"/>
            <a:ext cx="83767" cy="43346"/>
          </a:xfrm>
          <a:custGeom>
            <a:avLst/>
            <a:gdLst>
              <a:gd name="connsiteX0" fmla="*/ 66616 w 99822"/>
              <a:gd name="connsiteY0" fmla="*/ 7203 h 51653"/>
              <a:gd name="connsiteX1" fmla="*/ 9466 w 99822"/>
              <a:gd name="connsiteY1" fmla="*/ 13553 h 51653"/>
              <a:gd name="connsiteX2" fmla="*/ 22166 w 99822"/>
              <a:gd name="connsiteY2" fmla="*/ 51653 h 51653"/>
              <a:gd name="connsiteX3" fmla="*/ 92016 w 99822"/>
              <a:gd name="connsiteY3" fmla="*/ 45303 h 51653"/>
              <a:gd name="connsiteX4" fmla="*/ 85666 w 99822"/>
              <a:gd name="connsiteY4" fmla="*/ 19903 h 51653"/>
              <a:gd name="connsiteX5" fmla="*/ 66616 w 99822"/>
              <a:gd name="connsiteY5" fmla="*/ 7203 h 5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822" h="51653">
                <a:moveTo>
                  <a:pt x="66616" y="7203"/>
                </a:moveTo>
                <a:cubicBezTo>
                  <a:pt x="53916" y="6145"/>
                  <a:pt x="23019" y="0"/>
                  <a:pt x="9466" y="13553"/>
                </a:cubicBezTo>
                <a:cubicBezTo>
                  <a:pt x="0" y="23019"/>
                  <a:pt x="22166" y="51653"/>
                  <a:pt x="22166" y="51653"/>
                </a:cubicBezTo>
                <a:lnTo>
                  <a:pt x="92016" y="45303"/>
                </a:lnTo>
                <a:cubicBezTo>
                  <a:pt x="99822" y="41400"/>
                  <a:pt x="90507" y="27165"/>
                  <a:pt x="85666" y="19903"/>
                </a:cubicBezTo>
                <a:cubicBezTo>
                  <a:pt x="76417" y="6029"/>
                  <a:pt x="79316" y="8261"/>
                  <a:pt x="66616" y="7203"/>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34" name="Freeform 33"/>
          <p:cNvSpPr/>
          <p:nvPr>
            <p:custDataLst>
              <p:tags r:id="rId23"/>
            </p:custDataLst>
          </p:nvPr>
        </p:nvSpPr>
        <p:spPr bwMode="auto">
          <a:xfrm>
            <a:off x="1465467" y="1670330"/>
            <a:ext cx="56455" cy="33749"/>
          </a:xfrm>
          <a:custGeom>
            <a:avLst/>
            <a:gdLst>
              <a:gd name="connsiteX0" fmla="*/ 38100 w 67275"/>
              <a:gd name="connsiteY0" fmla="*/ 2117 h 40217"/>
              <a:gd name="connsiteX1" fmla="*/ 0 w 67275"/>
              <a:gd name="connsiteY1" fmla="*/ 27517 h 40217"/>
              <a:gd name="connsiteX2" fmla="*/ 19050 w 67275"/>
              <a:gd name="connsiteY2" fmla="*/ 40217 h 40217"/>
              <a:gd name="connsiteX3" fmla="*/ 57150 w 67275"/>
              <a:gd name="connsiteY3" fmla="*/ 14817 h 40217"/>
              <a:gd name="connsiteX4" fmla="*/ 38100 w 67275"/>
              <a:gd name="connsiteY4" fmla="*/ 2117 h 40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75" h="40217">
                <a:moveTo>
                  <a:pt x="38100" y="2117"/>
                </a:moveTo>
                <a:cubicBezTo>
                  <a:pt x="28575" y="4234"/>
                  <a:pt x="0" y="11662"/>
                  <a:pt x="0" y="27517"/>
                </a:cubicBezTo>
                <a:cubicBezTo>
                  <a:pt x="0" y="35149"/>
                  <a:pt x="12700" y="35984"/>
                  <a:pt x="19050" y="40217"/>
                </a:cubicBezTo>
                <a:cubicBezTo>
                  <a:pt x="25296" y="38968"/>
                  <a:pt x="67275" y="40129"/>
                  <a:pt x="57150" y="14817"/>
                </a:cubicBezTo>
                <a:cubicBezTo>
                  <a:pt x="54316" y="7731"/>
                  <a:pt x="47625" y="0"/>
                  <a:pt x="38100" y="2117"/>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35" name="Freeform 34"/>
          <p:cNvSpPr/>
          <p:nvPr>
            <p:custDataLst>
              <p:tags r:id="rId24"/>
            </p:custDataLst>
          </p:nvPr>
        </p:nvSpPr>
        <p:spPr bwMode="auto">
          <a:xfrm>
            <a:off x="1380207" y="1580744"/>
            <a:ext cx="34710" cy="64719"/>
          </a:xfrm>
          <a:custGeom>
            <a:avLst/>
            <a:gdLst>
              <a:gd name="connsiteX0" fmla="*/ 6350 w 41362"/>
              <a:gd name="connsiteY0" fmla="*/ 7273 h 77123"/>
              <a:gd name="connsiteX1" fmla="*/ 0 w 41362"/>
              <a:gd name="connsiteY1" fmla="*/ 32673 h 77123"/>
              <a:gd name="connsiteX2" fmla="*/ 19050 w 41362"/>
              <a:gd name="connsiteY2" fmla="*/ 77123 h 77123"/>
              <a:gd name="connsiteX3" fmla="*/ 25400 w 41362"/>
              <a:gd name="connsiteY3" fmla="*/ 26323 h 77123"/>
              <a:gd name="connsiteX4" fmla="*/ 6350 w 41362"/>
              <a:gd name="connsiteY4" fmla="*/ 7273 h 77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62" h="77123">
                <a:moveTo>
                  <a:pt x="6350" y="7273"/>
                </a:moveTo>
                <a:cubicBezTo>
                  <a:pt x="2117" y="8331"/>
                  <a:pt x="0" y="23946"/>
                  <a:pt x="0" y="32673"/>
                </a:cubicBezTo>
                <a:cubicBezTo>
                  <a:pt x="0" y="53175"/>
                  <a:pt x="8681" y="61569"/>
                  <a:pt x="19050" y="77123"/>
                </a:cubicBezTo>
                <a:cubicBezTo>
                  <a:pt x="27718" y="59787"/>
                  <a:pt x="41362" y="46275"/>
                  <a:pt x="25400" y="26323"/>
                </a:cubicBezTo>
                <a:cubicBezTo>
                  <a:pt x="4342" y="0"/>
                  <a:pt x="10583" y="6215"/>
                  <a:pt x="6350" y="7273"/>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36" name="Freeform 35"/>
          <p:cNvSpPr/>
          <p:nvPr>
            <p:custDataLst>
              <p:tags r:id="rId25"/>
            </p:custDataLst>
          </p:nvPr>
        </p:nvSpPr>
        <p:spPr bwMode="auto">
          <a:xfrm>
            <a:off x="1545398" y="1685429"/>
            <a:ext cx="49330" cy="39965"/>
          </a:xfrm>
          <a:custGeom>
            <a:avLst/>
            <a:gdLst>
              <a:gd name="connsiteX0" fmla="*/ 12700 w 58784"/>
              <a:gd name="connsiteY0" fmla="*/ 3175 h 47625"/>
              <a:gd name="connsiteX1" fmla="*/ 0 w 58784"/>
              <a:gd name="connsiteY1" fmla="*/ 22225 h 47625"/>
              <a:gd name="connsiteX2" fmla="*/ 31750 w 58784"/>
              <a:gd name="connsiteY2" fmla="*/ 47625 h 47625"/>
              <a:gd name="connsiteX3" fmla="*/ 50800 w 58784"/>
              <a:gd name="connsiteY3" fmla="*/ 34925 h 47625"/>
              <a:gd name="connsiteX4" fmla="*/ 25400 w 58784"/>
              <a:gd name="connsiteY4" fmla="*/ 3175 h 47625"/>
              <a:gd name="connsiteX5" fmla="*/ 12700 w 58784"/>
              <a:gd name="connsiteY5" fmla="*/ 317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784" h="47625">
                <a:moveTo>
                  <a:pt x="12700" y="3175"/>
                </a:moveTo>
                <a:cubicBezTo>
                  <a:pt x="8467" y="6350"/>
                  <a:pt x="0" y="14593"/>
                  <a:pt x="0" y="22225"/>
                </a:cubicBezTo>
                <a:cubicBezTo>
                  <a:pt x="0" y="41373"/>
                  <a:pt x="19855" y="43660"/>
                  <a:pt x="31750" y="47625"/>
                </a:cubicBezTo>
                <a:cubicBezTo>
                  <a:pt x="38100" y="43392"/>
                  <a:pt x="48387" y="42165"/>
                  <a:pt x="50800" y="34925"/>
                </a:cubicBezTo>
                <a:cubicBezTo>
                  <a:pt x="58784" y="10974"/>
                  <a:pt x="40491" y="6193"/>
                  <a:pt x="25400" y="3175"/>
                </a:cubicBezTo>
                <a:cubicBezTo>
                  <a:pt x="21249" y="2345"/>
                  <a:pt x="16933" y="0"/>
                  <a:pt x="12700" y="3175"/>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37" name="Freeform 36"/>
          <p:cNvSpPr/>
          <p:nvPr>
            <p:custDataLst>
              <p:tags r:id="rId26"/>
            </p:custDataLst>
          </p:nvPr>
        </p:nvSpPr>
        <p:spPr bwMode="auto">
          <a:xfrm>
            <a:off x="1452785" y="1610827"/>
            <a:ext cx="51461" cy="23979"/>
          </a:xfrm>
          <a:custGeom>
            <a:avLst/>
            <a:gdLst>
              <a:gd name="connsiteX0" fmla="*/ 46863 w 61324"/>
              <a:gd name="connsiteY0" fmla="*/ 3175 h 28575"/>
              <a:gd name="connsiteX1" fmla="*/ 27813 w 61324"/>
              <a:gd name="connsiteY1" fmla="*/ 9525 h 28575"/>
              <a:gd name="connsiteX2" fmla="*/ 2413 w 61324"/>
              <a:gd name="connsiteY2" fmla="*/ 15875 h 28575"/>
              <a:gd name="connsiteX3" fmla="*/ 21463 w 61324"/>
              <a:gd name="connsiteY3" fmla="*/ 28575 h 28575"/>
              <a:gd name="connsiteX4" fmla="*/ 46863 w 61324"/>
              <a:gd name="connsiteY4" fmla="*/ 3175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24" h="28575">
                <a:moveTo>
                  <a:pt x="46863" y="3175"/>
                </a:moveTo>
                <a:cubicBezTo>
                  <a:pt x="47921" y="0"/>
                  <a:pt x="34249" y="7686"/>
                  <a:pt x="27813" y="9525"/>
                </a:cubicBezTo>
                <a:cubicBezTo>
                  <a:pt x="19422" y="11923"/>
                  <a:pt x="5173" y="7596"/>
                  <a:pt x="2413" y="15875"/>
                </a:cubicBezTo>
                <a:cubicBezTo>
                  <a:pt x="0" y="23115"/>
                  <a:pt x="15113" y="24342"/>
                  <a:pt x="21463" y="28575"/>
                </a:cubicBezTo>
                <a:cubicBezTo>
                  <a:pt x="61324" y="2001"/>
                  <a:pt x="45805" y="6350"/>
                  <a:pt x="46863" y="3175"/>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38" name="Freeform 37"/>
          <p:cNvSpPr/>
          <p:nvPr>
            <p:custDataLst>
              <p:tags r:id="rId27"/>
            </p:custDataLst>
          </p:nvPr>
        </p:nvSpPr>
        <p:spPr bwMode="auto">
          <a:xfrm>
            <a:off x="2373308" y="2252937"/>
            <a:ext cx="1308906" cy="1268235"/>
          </a:xfrm>
          <a:custGeom>
            <a:avLst/>
            <a:gdLst>
              <a:gd name="connsiteX0" fmla="*/ 816816 w 1559766"/>
              <a:gd name="connsiteY0" fmla="*/ 1339850 h 1511300"/>
              <a:gd name="connsiteX1" fmla="*/ 848566 w 1559766"/>
              <a:gd name="connsiteY1" fmla="*/ 1365250 h 1511300"/>
              <a:gd name="connsiteX2" fmla="*/ 886666 w 1559766"/>
              <a:gd name="connsiteY2" fmla="*/ 1403350 h 1511300"/>
              <a:gd name="connsiteX3" fmla="*/ 899366 w 1559766"/>
              <a:gd name="connsiteY3" fmla="*/ 1511300 h 1511300"/>
              <a:gd name="connsiteX4" fmla="*/ 918416 w 1559766"/>
              <a:gd name="connsiteY4" fmla="*/ 1504950 h 1511300"/>
              <a:gd name="connsiteX5" fmla="*/ 937466 w 1559766"/>
              <a:gd name="connsiteY5" fmla="*/ 1492250 h 1511300"/>
              <a:gd name="connsiteX6" fmla="*/ 943816 w 1559766"/>
              <a:gd name="connsiteY6" fmla="*/ 1473200 h 1511300"/>
              <a:gd name="connsiteX7" fmla="*/ 969216 w 1559766"/>
              <a:gd name="connsiteY7" fmla="*/ 1466850 h 1511300"/>
              <a:gd name="connsiteX8" fmla="*/ 994616 w 1559766"/>
              <a:gd name="connsiteY8" fmla="*/ 1473200 h 1511300"/>
              <a:gd name="connsiteX9" fmla="*/ 1007316 w 1559766"/>
              <a:gd name="connsiteY9" fmla="*/ 1492250 h 1511300"/>
              <a:gd name="connsiteX10" fmla="*/ 1045416 w 1559766"/>
              <a:gd name="connsiteY10" fmla="*/ 1504950 h 1511300"/>
              <a:gd name="connsiteX11" fmla="*/ 1102566 w 1559766"/>
              <a:gd name="connsiteY11" fmla="*/ 1498600 h 1511300"/>
              <a:gd name="connsiteX12" fmla="*/ 1147016 w 1559766"/>
              <a:gd name="connsiteY12" fmla="*/ 1492250 h 1511300"/>
              <a:gd name="connsiteX13" fmla="*/ 1229566 w 1559766"/>
              <a:gd name="connsiteY13" fmla="*/ 1485900 h 1511300"/>
              <a:gd name="connsiteX14" fmla="*/ 1248616 w 1559766"/>
              <a:gd name="connsiteY14" fmla="*/ 1447800 h 1511300"/>
              <a:gd name="connsiteX15" fmla="*/ 1261316 w 1559766"/>
              <a:gd name="connsiteY15" fmla="*/ 1384300 h 1511300"/>
              <a:gd name="connsiteX16" fmla="*/ 1305766 w 1559766"/>
              <a:gd name="connsiteY16" fmla="*/ 1365250 h 1511300"/>
              <a:gd name="connsiteX17" fmla="*/ 1343866 w 1559766"/>
              <a:gd name="connsiteY17" fmla="*/ 1371600 h 1511300"/>
              <a:gd name="connsiteX18" fmla="*/ 1356566 w 1559766"/>
              <a:gd name="connsiteY18" fmla="*/ 1390650 h 1511300"/>
              <a:gd name="connsiteX19" fmla="*/ 1394666 w 1559766"/>
              <a:gd name="connsiteY19" fmla="*/ 1377950 h 1511300"/>
              <a:gd name="connsiteX20" fmla="*/ 1432766 w 1559766"/>
              <a:gd name="connsiteY20" fmla="*/ 1365250 h 1511300"/>
              <a:gd name="connsiteX21" fmla="*/ 1470866 w 1559766"/>
              <a:gd name="connsiteY21" fmla="*/ 1352550 h 1511300"/>
              <a:gd name="connsiteX22" fmla="*/ 1496266 w 1559766"/>
              <a:gd name="connsiteY22" fmla="*/ 1358900 h 1511300"/>
              <a:gd name="connsiteX23" fmla="*/ 1515316 w 1559766"/>
              <a:gd name="connsiteY23" fmla="*/ 1365250 h 1511300"/>
              <a:gd name="connsiteX24" fmla="*/ 1547066 w 1559766"/>
              <a:gd name="connsiteY24" fmla="*/ 1358900 h 1511300"/>
              <a:gd name="connsiteX25" fmla="*/ 1559766 w 1559766"/>
              <a:gd name="connsiteY25" fmla="*/ 1339850 h 1511300"/>
              <a:gd name="connsiteX26" fmla="*/ 1547066 w 1559766"/>
              <a:gd name="connsiteY26" fmla="*/ 1276350 h 1511300"/>
              <a:gd name="connsiteX27" fmla="*/ 1540716 w 1559766"/>
              <a:gd name="connsiteY27" fmla="*/ 1257300 h 1511300"/>
              <a:gd name="connsiteX28" fmla="*/ 1489916 w 1559766"/>
              <a:gd name="connsiteY28" fmla="*/ 1200150 h 1511300"/>
              <a:gd name="connsiteX29" fmla="*/ 1483566 w 1559766"/>
              <a:gd name="connsiteY29" fmla="*/ 1181100 h 1511300"/>
              <a:gd name="connsiteX30" fmla="*/ 1496266 w 1559766"/>
              <a:gd name="connsiteY30" fmla="*/ 1111250 h 1511300"/>
              <a:gd name="connsiteX31" fmla="*/ 1521666 w 1559766"/>
              <a:gd name="connsiteY31" fmla="*/ 1073150 h 1511300"/>
              <a:gd name="connsiteX32" fmla="*/ 1528016 w 1559766"/>
              <a:gd name="connsiteY32" fmla="*/ 1035050 h 1511300"/>
              <a:gd name="connsiteX33" fmla="*/ 1528016 w 1559766"/>
              <a:gd name="connsiteY33" fmla="*/ 990600 h 1511300"/>
              <a:gd name="connsiteX34" fmla="*/ 1508966 w 1559766"/>
              <a:gd name="connsiteY34" fmla="*/ 977900 h 1511300"/>
              <a:gd name="connsiteX35" fmla="*/ 1502616 w 1559766"/>
              <a:gd name="connsiteY35" fmla="*/ 939800 h 1511300"/>
              <a:gd name="connsiteX36" fmla="*/ 1496266 w 1559766"/>
              <a:gd name="connsiteY36" fmla="*/ 869950 h 1511300"/>
              <a:gd name="connsiteX37" fmla="*/ 1458166 w 1559766"/>
              <a:gd name="connsiteY37" fmla="*/ 857250 h 1511300"/>
              <a:gd name="connsiteX38" fmla="*/ 1439116 w 1559766"/>
              <a:gd name="connsiteY38" fmla="*/ 838200 h 1511300"/>
              <a:gd name="connsiteX39" fmla="*/ 1426416 w 1559766"/>
              <a:gd name="connsiteY39" fmla="*/ 800100 h 1511300"/>
              <a:gd name="connsiteX40" fmla="*/ 1432766 w 1559766"/>
              <a:gd name="connsiteY40" fmla="*/ 755650 h 1511300"/>
              <a:gd name="connsiteX41" fmla="*/ 1445466 w 1559766"/>
              <a:gd name="connsiteY41" fmla="*/ 730250 h 1511300"/>
              <a:gd name="connsiteX42" fmla="*/ 1464516 w 1559766"/>
              <a:gd name="connsiteY42" fmla="*/ 692150 h 1511300"/>
              <a:gd name="connsiteX43" fmla="*/ 1426416 w 1559766"/>
              <a:gd name="connsiteY43" fmla="*/ 615950 h 1511300"/>
              <a:gd name="connsiteX44" fmla="*/ 1407366 w 1559766"/>
              <a:gd name="connsiteY44" fmla="*/ 596900 h 1511300"/>
              <a:gd name="connsiteX45" fmla="*/ 1369266 w 1559766"/>
              <a:gd name="connsiteY45" fmla="*/ 584200 h 1511300"/>
              <a:gd name="connsiteX46" fmla="*/ 1337516 w 1559766"/>
              <a:gd name="connsiteY46" fmla="*/ 546100 h 1511300"/>
              <a:gd name="connsiteX47" fmla="*/ 1318466 w 1559766"/>
              <a:gd name="connsiteY47" fmla="*/ 508000 h 1511300"/>
              <a:gd name="connsiteX48" fmla="*/ 1280366 w 1559766"/>
              <a:gd name="connsiteY48" fmla="*/ 495300 h 1511300"/>
              <a:gd name="connsiteX49" fmla="*/ 1261316 w 1559766"/>
              <a:gd name="connsiteY49" fmla="*/ 488950 h 1511300"/>
              <a:gd name="connsiteX50" fmla="*/ 1242266 w 1559766"/>
              <a:gd name="connsiteY50" fmla="*/ 476250 h 1511300"/>
              <a:gd name="connsiteX51" fmla="*/ 1242266 w 1559766"/>
              <a:gd name="connsiteY51" fmla="*/ 431800 h 1511300"/>
              <a:gd name="connsiteX52" fmla="*/ 1235916 w 1559766"/>
              <a:gd name="connsiteY52" fmla="*/ 368300 h 1511300"/>
              <a:gd name="connsiteX53" fmla="*/ 1254966 w 1559766"/>
              <a:gd name="connsiteY53" fmla="*/ 361950 h 1511300"/>
              <a:gd name="connsiteX54" fmla="*/ 1280366 w 1559766"/>
              <a:gd name="connsiteY54" fmla="*/ 349250 h 1511300"/>
              <a:gd name="connsiteX55" fmla="*/ 1318466 w 1559766"/>
              <a:gd name="connsiteY55" fmla="*/ 323850 h 1511300"/>
              <a:gd name="connsiteX56" fmla="*/ 1318466 w 1559766"/>
              <a:gd name="connsiteY56" fmla="*/ 209550 h 1511300"/>
              <a:gd name="connsiteX57" fmla="*/ 1343866 w 1559766"/>
              <a:gd name="connsiteY57" fmla="*/ 171450 h 1511300"/>
              <a:gd name="connsiteX58" fmla="*/ 1337516 w 1559766"/>
              <a:gd name="connsiteY58" fmla="*/ 133350 h 1511300"/>
              <a:gd name="connsiteX59" fmla="*/ 1305766 w 1559766"/>
              <a:gd name="connsiteY59" fmla="*/ 139700 h 1511300"/>
              <a:gd name="connsiteX60" fmla="*/ 1280366 w 1559766"/>
              <a:gd name="connsiteY60" fmla="*/ 177800 h 1511300"/>
              <a:gd name="connsiteX61" fmla="*/ 1235916 w 1559766"/>
              <a:gd name="connsiteY61" fmla="*/ 165100 h 1511300"/>
              <a:gd name="connsiteX62" fmla="*/ 1229566 w 1559766"/>
              <a:gd name="connsiteY62" fmla="*/ 146050 h 1511300"/>
              <a:gd name="connsiteX63" fmla="*/ 1235916 w 1559766"/>
              <a:gd name="connsiteY63" fmla="*/ 127000 h 1511300"/>
              <a:gd name="connsiteX64" fmla="*/ 1229566 w 1559766"/>
              <a:gd name="connsiteY64" fmla="*/ 69850 h 1511300"/>
              <a:gd name="connsiteX65" fmla="*/ 1204166 w 1559766"/>
              <a:gd name="connsiteY65" fmla="*/ 57150 h 1511300"/>
              <a:gd name="connsiteX66" fmla="*/ 1134316 w 1559766"/>
              <a:gd name="connsiteY66" fmla="*/ 50800 h 1511300"/>
              <a:gd name="connsiteX67" fmla="*/ 1115266 w 1559766"/>
              <a:gd name="connsiteY67" fmla="*/ 44450 h 1511300"/>
              <a:gd name="connsiteX68" fmla="*/ 1102566 w 1559766"/>
              <a:gd name="connsiteY68" fmla="*/ 25400 h 1511300"/>
              <a:gd name="connsiteX69" fmla="*/ 1064466 w 1559766"/>
              <a:gd name="connsiteY69" fmla="*/ 0 h 1511300"/>
              <a:gd name="connsiteX70" fmla="*/ 1045416 w 1559766"/>
              <a:gd name="connsiteY70" fmla="*/ 6350 h 1511300"/>
              <a:gd name="connsiteX71" fmla="*/ 1026366 w 1559766"/>
              <a:gd name="connsiteY71" fmla="*/ 25400 h 1511300"/>
              <a:gd name="connsiteX72" fmla="*/ 1007316 w 1559766"/>
              <a:gd name="connsiteY72" fmla="*/ 38100 h 1511300"/>
              <a:gd name="connsiteX73" fmla="*/ 981916 w 1559766"/>
              <a:gd name="connsiteY73" fmla="*/ 76200 h 1511300"/>
              <a:gd name="connsiteX74" fmla="*/ 969216 w 1559766"/>
              <a:gd name="connsiteY74" fmla="*/ 114300 h 1511300"/>
              <a:gd name="connsiteX75" fmla="*/ 950166 w 1559766"/>
              <a:gd name="connsiteY75" fmla="*/ 171450 h 1511300"/>
              <a:gd name="connsiteX76" fmla="*/ 931116 w 1559766"/>
              <a:gd name="connsiteY76" fmla="*/ 184150 h 1511300"/>
              <a:gd name="connsiteX77" fmla="*/ 918416 w 1559766"/>
              <a:gd name="connsiteY77" fmla="*/ 203200 h 1511300"/>
              <a:gd name="connsiteX78" fmla="*/ 873966 w 1559766"/>
              <a:gd name="connsiteY78" fmla="*/ 203200 h 1511300"/>
              <a:gd name="connsiteX79" fmla="*/ 854916 w 1559766"/>
              <a:gd name="connsiteY79" fmla="*/ 196850 h 1511300"/>
              <a:gd name="connsiteX80" fmla="*/ 835866 w 1559766"/>
              <a:gd name="connsiteY80" fmla="*/ 209550 h 1511300"/>
              <a:gd name="connsiteX81" fmla="*/ 823166 w 1559766"/>
              <a:gd name="connsiteY81" fmla="*/ 228600 h 1511300"/>
              <a:gd name="connsiteX82" fmla="*/ 804116 w 1559766"/>
              <a:gd name="connsiteY82" fmla="*/ 222250 h 1511300"/>
              <a:gd name="connsiteX83" fmla="*/ 746966 w 1559766"/>
              <a:gd name="connsiteY83" fmla="*/ 234950 h 1511300"/>
              <a:gd name="connsiteX84" fmla="*/ 727916 w 1559766"/>
              <a:gd name="connsiteY84" fmla="*/ 247650 h 1511300"/>
              <a:gd name="connsiteX85" fmla="*/ 708866 w 1559766"/>
              <a:gd name="connsiteY85" fmla="*/ 260350 h 1511300"/>
              <a:gd name="connsiteX86" fmla="*/ 645366 w 1559766"/>
              <a:gd name="connsiteY86" fmla="*/ 247650 h 1511300"/>
              <a:gd name="connsiteX87" fmla="*/ 626316 w 1559766"/>
              <a:gd name="connsiteY87" fmla="*/ 241300 h 1511300"/>
              <a:gd name="connsiteX88" fmla="*/ 588216 w 1559766"/>
              <a:gd name="connsiteY88" fmla="*/ 209550 h 1511300"/>
              <a:gd name="connsiteX89" fmla="*/ 543766 w 1559766"/>
              <a:gd name="connsiteY89" fmla="*/ 215900 h 1511300"/>
              <a:gd name="connsiteX90" fmla="*/ 454866 w 1559766"/>
              <a:gd name="connsiteY90" fmla="*/ 184150 h 1511300"/>
              <a:gd name="connsiteX91" fmla="*/ 454866 w 1559766"/>
              <a:gd name="connsiteY91" fmla="*/ 184150 h 1511300"/>
              <a:gd name="connsiteX92" fmla="*/ 416766 w 1559766"/>
              <a:gd name="connsiteY92" fmla="*/ 171450 h 1511300"/>
              <a:gd name="connsiteX93" fmla="*/ 327866 w 1559766"/>
              <a:gd name="connsiteY93" fmla="*/ 177800 h 1511300"/>
              <a:gd name="connsiteX94" fmla="*/ 302466 w 1559766"/>
              <a:gd name="connsiteY94" fmla="*/ 209550 h 1511300"/>
              <a:gd name="connsiteX95" fmla="*/ 238966 w 1559766"/>
              <a:gd name="connsiteY95" fmla="*/ 228600 h 1511300"/>
              <a:gd name="connsiteX96" fmla="*/ 226266 w 1559766"/>
              <a:gd name="connsiteY96" fmla="*/ 247650 h 1511300"/>
              <a:gd name="connsiteX97" fmla="*/ 175466 w 1559766"/>
              <a:gd name="connsiteY97" fmla="*/ 234950 h 1511300"/>
              <a:gd name="connsiteX98" fmla="*/ 156416 w 1559766"/>
              <a:gd name="connsiteY98" fmla="*/ 241300 h 1511300"/>
              <a:gd name="connsiteX99" fmla="*/ 143716 w 1559766"/>
              <a:gd name="connsiteY99" fmla="*/ 260350 h 1511300"/>
              <a:gd name="connsiteX100" fmla="*/ 124666 w 1559766"/>
              <a:gd name="connsiteY100" fmla="*/ 279400 h 1511300"/>
              <a:gd name="connsiteX101" fmla="*/ 105616 w 1559766"/>
              <a:gd name="connsiteY101" fmla="*/ 292100 h 1511300"/>
              <a:gd name="connsiteX102" fmla="*/ 48466 w 1559766"/>
              <a:gd name="connsiteY102" fmla="*/ 304800 h 1511300"/>
              <a:gd name="connsiteX103" fmla="*/ 29416 w 1559766"/>
              <a:gd name="connsiteY103" fmla="*/ 311150 h 1511300"/>
              <a:gd name="connsiteX104" fmla="*/ 4016 w 1559766"/>
              <a:gd name="connsiteY104" fmla="*/ 317500 h 1511300"/>
              <a:gd name="connsiteX105" fmla="*/ 10366 w 1559766"/>
              <a:gd name="connsiteY105" fmla="*/ 336550 h 1511300"/>
              <a:gd name="connsiteX106" fmla="*/ 35766 w 1559766"/>
              <a:gd name="connsiteY106" fmla="*/ 349250 h 1511300"/>
              <a:gd name="connsiteX107" fmla="*/ 73866 w 1559766"/>
              <a:gd name="connsiteY107" fmla="*/ 368300 h 1511300"/>
              <a:gd name="connsiteX108" fmla="*/ 162766 w 1559766"/>
              <a:gd name="connsiteY108" fmla="*/ 368300 h 1511300"/>
              <a:gd name="connsiteX109" fmla="*/ 169116 w 1559766"/>
              <a:gd name="connsiteY109" fmla="*/ 387350 h 1511300"/>
              <a:gd name="connsiteX110" fmla="*/ 175466 w 1559766"/>
              <a:gd name="connsiteY110" fmla="*/ 412750 h 1511300"/>
              <a:gd name="connsiteX111" fmla="*/ 194516 w 1559766"/>
              <a:gd name="connsiteY111" fmla="*/ 419100 h 1511300"/>
              <a:gd name="connsiteX112" fmla="*/ 219916 w 1559766"/>
              <a:gd name="connsiteY112" fmla="*/ 425450 h 1511300"/>
              <a:gd name="connsiteX113" fmla="*/ 264366 w 1559766"/>
              <a:gd name="connsiteY113" fmla="*/ 482600 h 1511300"/>
              <a:gd name="connsiteX114" fmla="*/ 283416 w 1559766"/>
              <a:gd name="connsiteY114" fmla="*/ 488950 h 1511300"/>
              <a:gd name="connsiteX115" fmla="*/ 346916 w 1559766"/>
              <a:gd name="connsiteY115" fmla="*/ 482600 h 1511300"/>
              <a:gd name="connsiteX116" fmla="*/ 365966 w 1559766"/>
              <a:gd name="connsiteY116" fmla="*/ 476250 h 1511300"/>
              <a:gd name="connsiteX117" fmla="*/ 385016 w 1559766"/>
              <a:gd name="connsiteY117" fmla="*/ 482600 h 1511300"/>
              <a:gd name="connsiteX118" fmla="*/ 391366 w 1559766"/>
              <a:gd name="connsiteY118" fmla="*/ 508000 h 1511300"/>
              <a:gd name="connsiteX119" fmla="*/ 410416 w 1559766"/>
              <a:gd name="connsiteY119" fmla="*/ 495300 h 1511300"/>
              <a:gd name="connsiteX120" fmla="*/ 429466 w 1559766"/>
              <a:gd name="connsiteY120" fmla="*/ 488950 h 1511300"/>
              <a:gd name="connsiteX121" fmla="*/ 435816 w 1559766"/>
              <a:gd name="connsiteY121" fmla="*/ 508000 h 1511300"/>
              <a:gd name="connsiteX122" fmla="*/ 429466 w 1559766"/>
              <a:gd name="connsiteY122" fmla="*/ 546100 h 1511300"/>
              <a:gd name="connsiteX123" fmla="*/ 416766 w 1559766"/>
              <a:gd name="connsiteY123" fmla="*/ 596900 h 1511300"/>
              <a:gd name="connsiteX124" fmla="*/ 423116 w 1559766"/>
              <a:gd name="connsiteY124" fmla="*/ 615950 h 1511300"/>
              <a:gd name="connsiteX125" fmla="*/ 442166 w 1559766"/>
              <a:gd name="connsiteY125" fmla="*/ 628650 h 1511300"/>
              <a:gd name="connsiteX126" fmla="*/ 423116 w 1559766"/>
              <a:gd name="connsiteY126" fmla="*/ 666750 h 1511300"/>
              <a:gd name="connsiteX127" fmla="*/ 410416 w 1559766"/>
              <a:gd name="connsiteY127" fmla="*/ 704850 h 1511300"/>
              <a:gd name="connsiteX128" fmla="*/ 404066 w 1559766"/>
              <a:gd name="connsiteY128" fmla="*/ 723900 h 1511300"/>
              <a:gd name="connsiteX129" fmla="*/ 410416 w 1559766"/>
              <a:gd name="connsiteY129" fmla="*/ 749300 h 1511300"/>
              <a:gd name="connsiteX130" fmla="*/ 448516 w 1559766"/>
              <a:gd name="connsiteY130" fmla="*/ 755650 h 1511300"/>
              <a:gd name="connsiteX131" fmla="*/ 467566 w 1559766"/>
              <a:gd name="connsiteY131" fmla="*/ 768350 h 1511300"/>
              <a:gd name="connsiteX132" fmla="*/ 467566 w 1559766"/>
              <a:gd name="connsiteY132" fmla="*/ 819150 h 1511300"/>
              <a:gd name="connsiteX133" fmla="*/ 454866 w 1559766"/>
              <a:gd name="connsiteY133" fmla="*/ 857250 h 1511300"/>
              <a:gd name="connsiteX134" fmla="*/ 448516 w 1559766"/>
              <a:gd name="connsiteY134" fmla="*/ 958850 h 1511300"/>
              <a:gd name="connsiteX135" fmla="*/ 467566 w 1559766"/>
              <a:gd name="connsiteY135" fmla="*/ 1028700 h 1511300"/>
              <a:gd name="connsiteX136" fmla="*/ 480266 w 1559766"/>
              <a:gd name="connsiteY136" fmla="*/ 1047750 h 1511300"/>
              <a:gd name="connsiteX137" fmla="*/ 505666 w 1559766"/>
              <a:gd name="connsiteY137" fmla="*/ 1092200 h 1511300"/>
              <a:gd name="connsiteX138" fmla="*/ 524716 w 1559766"/>
              <a:gd name="connsiteY138" fmla="*/ 1098550 h 1511300"/>
              <a:gd name="connsiteX139" fmla="*/ 588216 w 1559766"/>
              <a:gd name="connsiteY139" fmla="*/ 1111250 h 1511300"/>
              <a:gd name="connsiteX140" fmla="*/ 607266 w 1559766"/>
              <a:gd name="connsiteY140" fmla="*/ 1117600 h 1511300"/>
              <a:gd name="connsiteX141" fmla="*/ 632666 w 1559766"/>
              <a:gd name="connsiteY141" fmla="*/ 1092200 h 1511300"/>
              <a:gd name="connsiteX142" fmla="*/ 651716 w 1559766"/>
              <a:gd name="connsiteY142" fmla="*/ 1085850 h 1511300"/>
              <a:gd name="connsiteX143" fmla="*/ 670766 w 1559766"/>
              <a:gd name="connsiteY143" fmla="*/ 1098550 h 1511300"/>
              <a:gd name="connsiteX144" fmla="*/ 689816 w 1559766"/>
              <a:gd name="connsiteY144" fmla="*/ 1136650 h 1511300"/>
              <a:gd name="connsiteX145" fmla="*/ 708866 w 1559766"/>
              <a:gd name="connsiteY145" fmla="*/ 1149350 h 1511300"/>
              <a:gd name="connsiteX146" fmla="*/ 791416 w 1559766"/>
              <a:gd name="connsiteY146" fmla="*/ 1162050 h 1511300"/>
              <a:gd name="connsiteX147" fmla="*/ 804116 w 1559766"/>
              <a:gd name="connsiteY147" fmla="*/ 1181100 h 1511300"/>
              <a:gd name="connsiteX148" fmla="*/ 823166 w 1559766"/>
              <a:gd name="connsiteY148" fmla="*/ 1193800 h 1511300"/>
              <a:gd name="connsiteX149" fmla="*/ 842216 w 1559766"/>
              <a:gd name="connsiteY149" fmla="*/ 1212850 h 1511300"/>
              <a:gd name="connsiteX150" fmla="*/ 848566 w 1559766"/>
              <a:gd name="connsiteY150" fmla="*/ 1263650 h 1511300"/>
              <a:gd name="connsiteX151" fmla="*/ 854916 w 1559766"/>
              <a:gd name="connsiteY151" fmla="*/ 1282700 h 1511300"/>
              <a:gd name="connsiteX152" fmla="*/ 829516 w 1559766"/>
              <a:gd name="connsiteY152" fmla="*/ 1320800 h 1511300"/>
              <a:gd name="connsiteX153" fmla="*/ 816816 w 1559766"/>
              <a:gd name="connsiteY153" fmla="*/ 133985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559766" h="1511300">
                <a:moveTo>
                  <a:pt x="816816" y="1339850"/>
                </a:moveTo>
                <a:cubicBezTo>
                  <a:pt x="819991" y="1347258"/>
                  <a:pt x="824379" y="1338039"/>
                  <a:pt x="848566" y="1365250"/>
                </a:cubicBezTo>
                <a:cubicBezTo>
                  <a:pt x="860498" y="1378674"/>
                  <a:pt x="886666" y="1403350"/>
                  <a:pt x="886666" y="1403350"/>
                </a:cubicBezTo>
                <a:cubicBezTo>
                  <a:pt x="885840" y="1414916"/>
                  <a:pt x="857446" y="1497327"/>
                  <a:pt x="899366" y="1511300"/>
                </a:cubicBezTo>
                <a:lnTo>
                  <a:pt x="918416" y="1504950"/>
                </a:lnTo>
                <a:cubicBezTo>
                  <a:pt x="924766" y="1500717"/>
                  <a:pt x="932698" y="1498209"/>
                  <a:pt x="937466" y="1492250"/>
                </a:cubicBezTo>
                <a:cubicBezTo>
                  <a:pt x="941647" y="1487023"/>
                  <a:pt x="938589" y="1477381"/>
                  <a:pt x="943816" y="1473200"/>
                </a:cubicBezTo>
                <a:cubicBezTo>
                  <a:pt x="950631" y="1467748"/>
                  <a:pt x="960749" y="1468967"/>
                  <a:pt x="969216" y="1466850"/>
                </a:cubicBezTo>
                <a:cubicBezTo>
                  <a:pt x="977683" y="1468967"/>
                  <a:pt x="987354" y="1468359"/>
                  <a:pt x="994616" y="1473200"/>
                </a:cubicBezTo>
                <a:cubicBezTo>
                  <a:pt x="1000966" y="1477433"/>
                  <a:pt x="1000844" y="1488205"/>
                  <a:pt x="1007316" y="1492250"/>
                </a:cubicBezTo>
                <a:cubicBezTo>
                  <a:pt x="1018668" y="1499345"/>
                  <a:pt x="1045416" y="1504950"/>
                  <a:pt x="1045416" y="1504950"/>
                </a:cubicBezTo>
                <a:lnTo>
                  <a:pt x="1102566" y="1498600"/>
                </a:lnTo>
                <a:cubicBezTo>
                  <a:pt x="1117418" y="1496744"/>
                  <a:pt x="1132123" y="1493739"/>
                  <a:pt x="1147016" y="1492250"/>
                </a:cubicBezTo>
                <a:cubicBezTo>
                  <a:pt x="1174477" y="1489504"/>
                  <a:pt x="1202049" y="1488017"/>
                  <a:pt x="1229566" y="1485900"/>
                </a:cubicBezTo>
                <a:cubicBezTo>
                  <a:pt x="1241277" y="1468334"/>
                  <a:pt x="1243977" y="1467904"/>
                  <a:pt x="1248616" y="1447800"/>
                </a:cubicBezTo>
                <a:cubicBezTo>
                  <a:pt x="1253470" y="1426767"/>
                  <a:pt x="1242009" y="1393953"/>
                  <a:pt x="1261316" y="1384300"/>
                </a:cubicBezTo>
                <a:cubicBezTo>
                  <a:pt x="1292703" y="1368607"/>
                  <a:pt x="1277736" y="1374593"/>
                  <a:pt x="1305766" y="1365250"/>
                </a:cubicBezTo>
                <a:cubicBezTo>
                  <a:pt x="1318466" y="1367367"/>
                  <a:pt x="1332350" y="1365842"/>
                  <a:pt x="1343866" y="1371600"/>
                </a:cubicBezTo>
                <a:cubicBezTo>
                  <a:pt x="1350692" y="1375013"/>
                  <a:pt x="1348993" y="1389703"/>
                  <a:pt x="1356566" y="1390650"/>
                </a:cubicBezTo>
                <a:cubicBezTo>
                  <a:pt x="1369850" y="1392310"/>
                  <a:pt x="1394666" y="1377950"/>
                  <a:pt x="1394666" y="1377950"/>
                </a:cubicBezTo>
                <a:cubicBezTo>
                  <a:pt x="1436943" y="1335673"/>
                  <a:pt x="1391412" y="1369845"/>
                  <a:pt x="1432766" y="1365250"/>
                </a:cubicBezTo>
                <a:cubicBezTo>
                  <a:pt x="1446071" y="1363772"/>
                  <a:pt x="1470866" y="1352550"/>
                  <a:pt x="1470866" y="1352550"/>
                </a:cubicBezTo>
                <a:cubicBezTo>
                  <a:pt x="1479333" y="1354667"/>
                  <a:pt x="1487875" y="1356502"/>
                  <a:pt x="1496266" y="1358900"/>
                </a:cubicBezTo>
                <a:cubicBezTo>
                  <a:pt x="1502702" y="1360739"/>
                  <a:pt x="1508623" y="1365250"/>
                  <a:pt x="1515316" y="1365250"/>
                </a:cubicBezTo>
                <a:cubicBezTo>
                  <a:pt x="1526109" y="1365250"/>
                  <a:pt x="1536483" y="1361017"/>
                  <a:pt x="1547066" y="1358900"/>
                </a:cubicBezTo>
                <a:cubicBezTo>
                  <a:pt x="1551299" y="1352550"/>
                  <a:pt x="1559766" y="1347482"/>
                  <a:pt x="1559766" y="1339850"/>
                </a:cubicBezTo>
                <a:cubicBezTo>
                  <a:pt x="1559766" y="1318264"/>
                  <a:pt x="1553892" y="1296828"/>
                  <a:pt x="1547066" y="1276350"/>
                </a:cubicBezTo>
                <a:cubicBezTo>
                  <a:pt x="1544949" y="1270000"/>
                  <a:pt x="1544825" y="1262584"/>
                  <a:pt x="1540716" y="1257300"/>
                </a:cubicBezTo>
                <a:cubicBezTo>
                  <a:pt x="1517155" y="1227007"/>
                  <a:pt x="1504108" y="1228534"/>
                  <a:pt x="1489916" y="1200150"/>
                </a:cubicBezTo>
                <a:cubicBezTo>
                  <a:pt x="1486923" y="1194163"/>
                  <a:pt x="1485683" y="1187450"/>
                  <a:pt x="1483566" y="1181100"/>
                </a:cubicBezTo>
                <a:cubicBezTo>
                  <a:pt x="1484950" y="1170029"/>
                  <a:pt x="1486793" y="1128301"/>
                  <a:pt x="1496266" y="1111250"/>
                </a:cubicBezTo>
                <a:cubicBezTo>
                  <a:pt x="1503679" y="1097907"/>
                  <a:pt x="1521666" y="1073150"/>
                  <a:pt x="1521666" y="1073150"/>
                </a:cubicBezTo>
                <a:cubicBezTo>
                  <a:pt x="1523783" y="1060450"/>
                  <a:pt x="1525491" y="1047675"/>
                  <a:pt x="1528016" y="1035050"/>
                </a:cubicBezTo>
                <a:cubicBezTo>
                  <a:pt x="1531388" y="1018190"/>
                  <a:pt x="1540655" y="1006399"/>
                  <a:pt x="1528016" y="990600"/>
                </a:cubicBezTo>
                <a:cubicBezTo>
                  <a:pt x="1523248" y="984641"/>
                  <a:pt x="1515316" y="982133"/>
                  <a:pt x="1508966" y="977900"/>
                </a:cubicBezTo>
                <a:cubicBezTo>
                  <a:pt x="1506849" y="965200"/>
                  <a:pt x="1504120" y="952587"/>
                  <a:pt x="1502616" y="939800"/>
                </a:cubicBezTo>
                <a:cubicBezTo>
                  <a:pt x="1499884" y="916581"/>
                  <a:pt x="1507350" y="890535"/>
                  <a:pt x="1496266" y="869950"/>
                </a:cubicBezTo>
                <a:cubicBezTo>
                  <a:pt x="1489919" y="858163"/>
                  <a:pt x="1458166" y="857250"/>
                  <a:pt x="1458166" y="857250"/>
                </a:cubicBezTo>
                <a:cubicBezTo>
                  <a:pt x="1451816" y="850900"/>
                  <a:pt x="1443477" y="846050"/>
                  <a:pt x="1439116" y="838200"/>
                </a:cubicBezTo>
                <a:cubicBezTo>
                  <a:pt x="1432615" y="826498"/>
                  <a:pt x="1426416" y="800100"/>
                  <a:pt x="1426416" y="800100"/>
                </a:cubicBezTo>
                <a:cubicBezTo>
                  <a:pt x="1428533" y="785283"/>
                  <a:pt x="1428828" y="770090"/>
                  <a:pt x="1432766" y="755650"/>
                </a:cubicBezTo>
                <a:cubicBezTo>
                  <a:pt x="1435257" y="746518"/>
                  <a:pt x="1441737" y="738951"/>
                  <a:pt x="1445466" y="730250"/>
                </a:cubicBezTo>
                <a:cubicBezTo>
                  <a:pt x="1461240" y="693444"/>
                  <a:pt x="1440110" y="728759"/>
                  <a:pt x="1464516" y="692150"/>
                </a:cubicBezTo>
                <a:cubicBezTo>
                  <a:pt x="1454187" y="661162"/>
                  <a:pt x="1451035" y="640569"/>
                  <a:pt x="1426416" y="615950"/>
                </a:cubicBezTo>
                <a:cubicBezTo>
                  <a:pt x="1420066" y="609600"/>
                  <a:pt x="1415216" y="601261"/>
                  <a:pt x="1407366" y="596900"/>
                </a:cubicBezTo>
                <a:cubicBezTo>
                  <a:pt x="1395664" y="590399"/>
                  <a:pt x="1369266" y="584200"/>
                  <a:pt x="1369266" y="584200"/>
                </a:cubicBezTo>
                <a:cubicBezTo>
                  <a:pt x="1355222" y="570156"/>
                  <a:pt x="1346357" y="563781"/>
                  <a:pt x="1337516" y="546100"/>
                </a:cubicBezTo>
                <a:cubicBezTo>
                  <a:pt x="1331540" y="534148"/>
                  <a:pt x="1331701" y="516272"/>
                  <a:pt x="1318466" y="508000"/>
                </a:cubicBezTo>
                <a:cubicBezTo>
                  <a:pt x="1307114" y="500905"/>
                  <a:pt x="1293066" y="499533"/>
                  <a:pt x="1280366" y="495300"/>
                </a:cubicBezTo>
                <a:lnTo>
                  <a:pt x="1261316" y="488950"/>
                </a:lnTo>
                <a:cubicBezTo>
                  <a:pt x="1254966" y="484717"/>
                  <a:pt x="1247034" y="482209"/>
                  <a:pt x="1242266" y="476250"/>
                </a:cubicBezTo>
                <a:cubicBezTo>
                  <a:pt x="1230120" y="461067"/>
                  <a:pt x="1238252" y="447857"/>
                  <a:pt x="1242266" y="431800"/>
                </a:cubicBezTo>
                <a:cubicBezTo>
                  <a:pt x="1236331" y="413996"/>
                  <a:pt x="1220109" y="388058"/>
                  <a:pt x="1235916" y="368300"/>
                </a:cubicBezTo>
                <a:cubicBezTo>
                  <a:pt x="1240097" y="363073"/>
                  <a:pt x="1248814" y="364587"/>
                  <a:pt x="1254966" y="361950"/>
                </a:cubicBezTo>
                <a:cubicBezTo>
                  <a:pt x="1263667" y="358221"/>
                  <a:pt x="1272249" y="354120"/>
                  <a:pt x="1280366" y="349250"/>
                </a:cubicBezTo>
                <a:cubicBezTo>
                  <a:pt x="1293454" y="341397"/>
                  <a:pt x="1318466" y="323850"/>
                  <a:pt x="1318466" y="323850"/>
                </a:cubicBezTo>
                <a:cubicBezTo>
                  <a:pt x="1312414" y="281488"/>
                  <a:pt x="1305130" y="254891"/>
                  <a:pt x="1318466" y="209550"/>
                </a:cubicBezTo>
                <a:cubicBezTo>
                  <a:pt x="1322773" y="194907"/>
                  <a:pt x="1343866" y="171450"/>
                  <a:pt x="1343866" y="171450"/>
                </a:cubicBezTo>
                <a:cubicBezTo>
                  <a:pt x="1341749" y="158750"/>
                  <a:pt x="1347407" y="141592"/>
                  <a:pt x="1337516" y="133350"/>
                </a:cubicBezTo>
                <a:cubicBezTo>
                  <a:pt x="1329225" y="126441"/>
                  <a:pt x="1314285" y="133074"/>
                  <a:pt x="1305766" y="139700"/>
                </a:cubicBezTo>
                <a:cubicBezTo>
                  <a:pt x="1293718" y="149071"/>
                  <a:pt x="1280366" y="177800"/>
                  <a:pt x="1280366" y="177800"/>
                </a:cubicBezTo>
                <a:cubicBezTo>
                  <a:pt x="1280146" y="177745"/>
                  <a:pt x="1238953" y="168137"/>
                  <a:pt x="1235916" y="165100"/>
                </a:cubicBezTo>
                <a:cubicBezTo>
                  <a:pt x="1231183" y="160367"/>
                  <a:pt x="1231683" y="152400"/>
                  <a:pt x="1229566" y="146050"/>
                </a:cubicBezTo>
                <a:cubicBezTo>
                  <a:pt x="1231683" y="139700"/>
                  <a:pt x="1235916" y="133693"/>
                  <a:pt x="1235916" y="127000"/>
                </a:cubicBezTo>
                <a:cubicBezTo>
                  <a:pt x="1235916" y="107833"/>
                  <a:pt x="1237497" y="87299"/>
                  <a:pt x="1229566" y="69850"/>
                </a:cubicBezTo>
                <a:cubicBezTo>
                  <a:pt x="1225649" y="61232"/>
                  <a:pt x="1213448" y="59006"/>
                  <a:pt x="1204166" y="57150"/>
                </a:cubicBezTo>
                <a:cubicBezTo>
                  <a:pt x="1181241" y="52565"/>
                  <a:pt x="1157599" y="52917"/>
                  <a:pt x="1134316" y="50800"/>
                </a:cubicBezTo>
                <a:cubicBezTo>
                  <a:pt x="1127966" y="48683"/>
                  <a:pt x="1120493" y="48631"/>
                  <a:pt x="1115266" y="44450"/>
                </a:cubicBezTo>
                <a:cubicBezTo>
                  <a:pt x="1109307" y="39682"/>
                  <a:pt x="1107452" y="31263"/>
                  <a:pt x="1102566" y="25400"/>
                </a:cubicBezTo>
                <a:cubicBezTo>
                  <a:pt x="1084271" y="3446"/>
                  <a:pt x="1087945" y="7826"/>
                  <a:pt x="1064466" y="0"/>
                </a:cubicBezTo>
                <a:cubicBezTo>
                  <a:pt x="1058116" y="2117"/>
                  <a:pt x="1050985" y="2637"/>
                  <a:pt x="1045416" y="6350"/>
                </a:cubicBezTo>
                <a:cubicBezTo>
                  <a:pt x="1037944" y="11331"/>
                  <a:pt x="1033265" y="19651"/>
                  <a:pt x="1026366" y="25400"/>
                </a:cubicBezTo>
                <a:cubicBezTo>
                  <a:pt x="1020503" y="30286"/>
                  <a:pt x="1013666" y="33867"/>
                  <a:pt x="1007316" y="38100"/>
                </a:cubicBezTo>
                <a:lnTo>
                  <a:pt x="981916" y="76200"/>
                </a:lnTo>
                <a:cubicBezTo>
                  <a:pt x="974490" y="87339"/>
                  <a:pt x="973449" y="101600"/>
                  <a:pt x="969216" y="114300"/>
                </a:cubicBezTo>
                <a:lnTo>
                  <a:pt x="950166" y="171450"/>
                </a:lnTo>
                <a:cubicBezTo>
                  <a:pt x="947753" y="178690"/>
                  <a:pt x="937466" y="179917"/>
                  <a:pt x="931116" y="184150"/>
                </a:cubicBezTo>
                <a:cubicBezTo>
                  <a:pt x="926883" y="190500"/>
                  <a:pt x="924375" y="198432"/>
                  <a:pt x="918416" y="203200"/>
                </a:cubicBezTo>
                <a:cubicBezTo>
                  <a:pt x="903638" y="215022"/>
                  <a:pt x="889494" y="207637"/>
                  <a:pt x="873966" y="203200"/>
                </a:cubicBezTo>
                <a:cubicBezTo>
                  <a:pt x="867530" y="201361"/>
                  <a:pt x="861266" y="198967"/>
                  <a:pt x="854916" y="196850"/>
                </a:cubicBezTo>
                <a:cubicBezTo>
                  <a:pt x="848566" y="201083"/>
                  <a:pt x="841262" y="204154"/>
                  <a:pt x="835866" y="209550"/>
                </a:cubicBezTo>
                <a:cubicBezTo>
                  <a:pt x="830470" y="214946"/>
                  <a:pt x="830252" y="225766"/>
                  <a:pt x="823166" y="228600"/>
                </a:cubicBezTo>
                <a:cubicBezTo>
                  <a:pt x="816951" y="231086"/>
                  <a:pt x="810466" y="224367"/>
                  <a:pt x="804116" y="222250"/>
                </a:cubicBezTo>
                <a:cubicBezTo>
                  <a:pt x="772366" y="201083"/>
                  <a:pt x="791416" y="205317"/>
                  <a:pt x="746966" y="234950"/>
                </a:cubicBezTo>
                <a:lnTo>
                  <a:pt x="727916" y="247650"/>
                </a:lnTo>
                <a:lnTo>
                  <a:pt x="708866" y="260350"/>
                </a:lnTo>
                <a:cubicBezTo>
                  <a:pt x="665828" y="246004"/>
                  <a:pt x="718332" y="262243"/>
                  <a:pt x="645366" y="247650"/>
                </a:cubicBezTo>
                <a:cubicBezTo>
                  <a:pt x="638802" y="246337"/>
                  <a:pt x="632666" y="243417"/>
                  <a:pt x="626316" y="241300"/>
                </a:cubicBezTo>
                <a:cubicBezTo>
                  <a:pt x="621519" y="236503"/>
                  <a:pt x="598039" y="210532"/>
                  <a:pt x="588216" y="209550"/>
                </a:cubicBezTo>
                <a:cubicBezTo>
                  <a:pt x="573323" y="208061"/>
                  <a:pt x="558583" y="213783"/>
                  <a:pt x="543766" y="215900"/>
                </a:cubicBezTo>
                <a:cubicBezTo>
                  <a:pt x="477820" y="207657"/>
                  <a:pt x="507165" y="219016"/>
                  <a:pt x="454866" y="184150"/>
                </a:cubicBezTo>
                <a:lnTo>
                  <a:pt x="454866" y="184150"/>
                </a:lnTo>
                <a:lnTo>
                  <a:pt x="416766" y="171450"/>
                </a:lnTo>
                <a:cubicBezTo>
                  <a:pt x="387133" y="173567"/>
                  <a:pt x="357123" y="172637"/>
                  <a:pt x="327866" y="177800"/>
                </a:cubicBezTo>
                <a:cubicBezTo>
                  <a:pt x="298200" y="183035"/>
                  <a:pt x="315655" y="193063"/>
                  <a:pt x="302466" y="209550"/>
                </a:cubicBezTo>
                <a:cubicBezTo>
                  <a:pt x="287561" y="228181"/>
                  <a:pt x="258419" y="225821"/>
                  <a:pt x="238966" y="228600"/>
                </a:cubicBezTo>
                <a:cubicBezTo>
                  <a:pt x="234733" y="234950"/>
                  <a:pt x="233860" y="246891"/>
                  <a:pt x="226266" y="247650"/>
                </a:cubicBezTo>
                <a:cubicBezTo>
                  <a:pt x="208898" y="249387"/>
                  <a:pt x="175466" y="234950"/>
                  <a:pt x="175466" y="234950"/>
                </a:cubicBezTo>
                <a:cubicBezTo>
                  <a:pt x="169116" y="237067"/>
                  <a:pt x="161643" y="237119"/>
                  <a:pt x="156416" y="241300"/>
                </a:cubicBezTo>
                <a:cubicBezTo>
                  <a:pt x="150457" y="246068"/>
                  <a:pt x="148602" y="254487"/>
                  <a:pt x="143716" y="260350"/>
                </a:cubicBezTo>
                <a:cubicBezTo>
                  <a:pt x="137967" y="267249"/>
                  <a:pt x="131565" y="273651"/>
                  <a:pt x="124666" y="279400"/>
                </a:cubicBezTo>
                <a:cubicBezTo>
                  <a:pt x="118803" y="284286"/>
                  <a:pt x="112442" y="288687"/>
                  <a:pt x="105616" y="292100"/>
                </a:cubicBezTo>
                <a:cubicBezTo>
                  <a:pt x="89984" y="299916"/>
                  <a:pt x="63099" y="302361"/>
                  <a:pt x="48466" y="304800"/>
                </a:cubicBezTo>
                <a:cubicBezTo>
                  <a:pt x="42116" y="306917"/>
                  <a:pt x="35852" y="309311"/>
                  <a:pt x="29416" y="311150"/>
                </a:cubicBezTo>
                <a:cubicBezTo>
                  <a:pt x="21025" y="313548"/>
                  <a:pt x="9252" y="310518"/>
                  <a:pt x="4016" y="317500"/>
                </a:cubicBezTo>
                <a:cubicBezTo>
                  <a:pt x="0" y="322855"/>
                  <a:pt x="5633" y="331817"/>
                  <a:pt x="10366" y="336550"/>
                </a:cubicBezTo>
                <a:cubicBezTo>
                  <a:pt x="17059" y="343243"/>
                  <a:pt x="27547" y="344554"/>
                  <a:pt x="35766" y="349250"/>
                </a:cubicBezTo>
                <a:cubicBezTo>
                  <a:pt x="70233" y="368945"/>
                  <a:pt x="38939" y="356658"/>
                  <a:pt x="73866" y="368300"/>
                </a:cubicBezTo>
                <a:cubicBezTo>
                  <a:pt x="100207" y="364537"/>
                  <a:pt x="136425" y="355130"/>
                  <a:pt x="162766" y="368300"/>
                </a:cubicBezTo>
                <a:cubicBezTo>
                  <a:pt x="168753" y="371293"/>
                  <a:pt x="167277" y="380914"/>
                  <a:pt x="169116" y="387350"/>
                </a:cubicBezTo>
                <a:cubicBezTo>
                  <a:pt x="171514" y="395741"/>
                  <a:pt x="170014" y="405935"/>
                  <a:pt x="175466" y="412750"/>
                </a:cubicBezTo>
                <a:cubicBezTo>
                  <a:pt x="179647" y="417977"/>
                  <a:pt x="188080" y="417261"/>
                  <a:pt x="194516" y="419100"/>
                </a:cubicBezTo>
                <a:cubicBezTo>
                  <a:pt x="202907" y="421498"/>
                  <a:pt x="211449" y="423333"/>
                  <a:pt x="219916" y="425450"/>
                </a:cubicBezTo>
                <a:cubicBezTo>
                  <a:pt x="249759" y="455293"/>
                  <a:pt x="233985" y="437028"/>
                  <a:pt x="264366" y="482600"/>
                </a:cubicBezTo>
                <a:cubicBezTo>
                  <a:pt x="268079" y="488169"/>
                  <a:pt x="277066" y="486833"/>
                  <a:pt x="283416" y="488950"/>
                </a:cubicBezTo>
                <a:cubicBezTo>
                  <a:pt x="304583" y="486833"/>
                  <a:pt x="325891" y="485835"/>
                  <a:pt x="346916" y="482600"/>
                </a:cubicBezTo>
                <a:cubicBezTo>
                  <a:pt x="353532" y="481582"/>
                  <a:pt x="359273" y="476250"/>
                  <a:pt x="365966" y="476250"/>
                </a:cubicBezTo>
                <a:cubicBezTo>
                  <a:pt x="372659" y="476250"/>
                  <a:pt x="378666" y="480483"/>
                  <a:pt x="385016" y="482600"/>
                </a:cubicBezTo>
                <a:cubicBezTo>
                  <a:pt x="387133" y="491067"/>
                  <a:pt x="383560" y="504097"/>
                  <a:pt x="391366" y="508000"/>
                </a:cubicBezTo>
                <a:cubicBezTo>
                  <a:pt x="398192" y="511413"/>
                  <a:pt x="403590" y="498713"/>
                  <a:pt x="410416" y="495300"/>
                </a:cubicBezTo>
                <a:cubicBezTo>
                  <a:pt x="416403" y="492307"/>
                  <a:pt x="423116" y="491067"/>
                  <a:pt x="429466" y="488950"/>
                </a:cubicBezTo>
                <a:cubicBezTo>
                  <a:pt x="431583" y="495300"/>
                  <a:pt x="435816" y="501307"/>
                  <a:pt x="435816" y="508000"/>
                </a:cubicBezTo>
                <a:cubicBezTo>
                  <a:pt x="435816" y="520875"/>
                  <a:pt x="431769" y="533432"/>
                  <a:pt x="429466" y="546100"/>
                </a:cubicBezTo>
                <a:cubicBezTo>
                  <a:pt x="423336" y="579816"/>
                  <a:pt x="425579" y="570462"/>
                  <a:pt x="416766" y="596900"/>
                </a:cubicBezTo>
                <a:cubicBezTo>
                  <a:pt x="418883" y="603250"/>
                  <a:pt x="418935" y="610723"/>
                  <a:pt x="423116" y="615950"/>
                </a:cubicBezTo>
                <a:cubicBezTo>
                  <a:pt x="427884" y="621909"/>
                  <a:pt x="439332" y="621564"/>
                  <a:pt x="442166" y="628650"/>
                </a:cubicBezTo>
                <a:cubicBezTo>
                  <a:pt x="445823" y="637791"/>
                  <a:pt x="425368" y="661683"/>
                  <a:pt x="423116" y="666750"/>
                </a:cubicBezTo>
                <a:cubicBezTo>
                  <a:pt x="417679" y="678983"/>
                  <a:pt x="414649" y="692150"/>
                  <a:pt x="410416" y="704850"/>
                </a:cubicBezTo>
                <a:lnTo>
                  <a:pt x="404066" y="723900"/>
                </a:lnTo>
                <a:cubicBezTo>
                  <a:pt x="406183" y="732367"/>
                  <a:pt x="403314" y="744227"/>
                  <a:pt x="410416" y="749300"/>
                </a:cubicBezTo>
                <a:cubicBezTo>
                  <a:pt x="420893" y="756784"/>
                  <a:pt x="436302" y="751579"/>
                  <a:pt x="448516" y="755650"/>
                </a:cubicBezTo>
                <a:cubicBezTo>
                  <a:pt x="455756" y="758063"/>
                  <a:pt x="461216" y="764117"/>
                  <a:pt x="467566" y="768350"/>
                </a:cubicBezTo>
                <a:cubicBezTo>
                  <a:pt x="476379" y="794788"/>
                  <a:pt x="476761" y="785434"/>
                  <a:pt x="467566" y="819150"/>
                </a:cubicBezTo>
                <a:cubicBezTo>
                  <a:pt x="464044" y="832065"/>
                  <a:pt x="454866" y="857250"/>
                  <a:pt x="454866" y="857250"/>
                </a:cubicBezTo>
                <a:cubicBezTo>
                  <a:pt x="452749" y="891117"/>
                  <a:pt x="448516" y="924917"/>
                  <a:pt x="448516" y="958850"/>
                </a:cubicBezTo>
                <a:cubicBezTo>
                  <a:pt x="448516" y="976801"/>
                  <a:pt x="462586" y="1013759"/>
                  <a:pt x="467566" y="1028700"/>
                </a:cubicBezTo>
                <a:cubicBezTo>
                  <a:pt x="469979" y="1035940"/>
                  <a:pt x="476853" y="1040924"/>
                  <a:pt x="480266" y="1047750"/>
                </a:cubicBezTo>
                <a:cubicBezTo>
                  <a:pt x="492022" y="1071262"/>
                  <a:pt x="479344" y="1070265"/>
                  <a:pt x="505666" y="1092200"/>
                </a:cubicBezTo>
                <a:cubicBezTo>
                  <a:pt x="510808" y="1096485"/>
                  <a:pt x="518280" y="1096711"/>
                  <a:pt x="524716" y="1098550"/>
                </a:cubicBezTo>
                <a:cubicBezTo>
                  <a:pt x="551240" y="1106128"/>
                  <a:pt x="558277" y="1106260"/>
                  <a:pt x="588216" y="1111250"/>
                </a:cubicBezTo>
                <a:cubicBezTo>
                  <a:pt x="594566" y="1113367"/>
                  <a:pt x="600573" y="1117600"/>
                  <a:pt x="607266" y="1117600"/>
                </a:cubicBezTo>
                <a:cubicBezTo>
                  <a:pt x="641133" y="1117600"/>
                  <a:pt x="615733" y="1109133"/>
                  <a:pt x="632666" y="1092200"/>
                </a:cubicBezTo>
                <a:cubicBezTo>
                  <a:pt x="637399" y="1087467"/>
                  <a:pt x="645366" y="1087967"/>
                  <a:pt x="651716" y="1085850"/>
                </a:cubicBezTo>
                <a:cubicBezTo>
                  <a:pt x="658066" y="1090083"/>
                  <a:pt x="665998" y="1092591"/>
                  <a:pt x="670766" y="1098550"/>
                </a:cubicBezTo>
                <a:cubicBezTo>
                  <a:pt x="712083" y="1150196"/>
                  <a:pt x="636286" y="1083120"/>
                  <a:pt x="689816" y="1136650"/>
                </a:cubicBezTo>
                <a:cubicBezTo>
                  <a:pt x="695212" y="1142046"/>
                  <a:pt x="702040" y="1145937"/>
                  <a:pt x="708866" y="1149350"/>
                </a:cubicBezTo>
                <a:cubicBezTo>
                  <a:pt x="731751" y="1160792"/>
                  <a:pt x="773204" y="1160229"/>
                  <a:pt x="791416" y="1162050"/>
                </a:cubicBezTo>
                <a:cubicBezTo>
                  <a:pt x="795649" y="1168400"/>
                  <a:pt x="798720" y="1175704"/>
                  <a:pt x="804116" y="1181100"/>
                </a:cubicBezTo>
                <a:cubicBezTo>
                  <a:pt x="809512" y="1186496"/>
                  <a:pt x="817303" y="1188914"/>
                  <a:pt x="823166" y="1193800"/>
                </a:cubicBezTo>
                <a:cubicBezTo>
                  <a:pt x="830065" y="1199549"/>
                  <a:pt x="835866" y="1206500"/>
                  <a:pt x="842216" y="1212850"/>
                </a:cubicBezTo>
                <a:cubicBezTo>
                  <a:pt x="844333" y="1229783"/>
                  <a:pt x="845513" y="1246860"/>
                  <a:pt x="848566" y="1263650"/>
                </a:cubicBezTo>
                <a:cubicBezTo>
                  <a:pt x="849763" y="1270236"/>
                  <a:pt x="854916" y="1276007"/>
                  <a:pt x="854916" y="1282700"/>
                </a:cubicBezTo>
                <a:cubicBezTo>
                  <a:pt x="854916" y="1346516"/>
                  <a:pt x="848656" y="1276140"/>
                  <a:pt x="829516" y="1320800"/>
                </a:cubicBezTo>
                <a:cubicBezTo>
                  <a:pt x="825347" y="1330528"/>
                  <a:pt x="813641" y="1332442"/>
                  <a:pt x="816816" y="1339850"/>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39" name="Freeform 38"/>
          <p:cNvSpPr/>
          <p:nvPr>
            <p:custDataLst>
              <p:tags r:id="rId28"/>
            </p:custDataLst>
          </p:nvPr>
        </p:nvSpPr>
        <p:spPr bwMode="auto">
          <a:xfrm>
            <a:off x="3058754" y="2747948"/>
            <a:ext cx="239792" cy="187066"/>
          </a:xfrm>
          <a:custGeom>
            <a:avLst/>
            <a:gdLst>
              <a:gd name="connsiteX0" fmla="*/ 57150 w 285750"/>
              <a:gd name="connsiteY0" fmla="*/ 26068 h 222918"/>
              <a:gd name="connsiteX1" fmla="*/ 44450 w 285750"/>
              <a:gd name="connsiteY1" fmla="*/ 45118 h 222918"/>
              <a:gd name="connsiteX2" fmla="*/ 25400 w 285750"/>
              <a:gd name="connsiteY2" fmla="*/ 57818 h 222918"/>
              <a:gd name="connsiteX3" fmla="*/ 19050 w 285750"/>
              <a:gd name="connsiteY3" fmla="*/ 76868 h 222918"/>
              <a:gd name="connsiteX4" fmla="*/ 12700 w 285750"/>
              <a:gd name="connsiteY4" fmla="*/ 146718 h 222918"/>
              <a:gd name="connsiteX5" fmla="*/ 0 w 285750"/>
              <a:gd name="connsiteY5" fmla="*/ 184818 h 222918"/>
              <a:gd name="connsiteX6" fmla="*/ 25400 w 285750"/>
              <a:gd name="connsiteY6" fmla="*/ 210218 h 222918"/>
              <a:gd name="connsiteX7" fmla="*/ 44450 w 285750"/>
              <a:gd name="connsiteY7" fmla="*/ 197518 h 222918"/>
              <a:gd name="connsiteX8" fmla="*/ 82550 w 285750"/>
              <a:gd name="connsiteY8" fmla="*/ 184818 h 222918"/>
              <a:gd name="connsiteX9" fmla="*/ 101600 w 285750"/>
              <a:gd name="connsiteY9" fmla="*/ 203868 h 222918"/>
              <a:gd name="connsiteX10" fmla="*/ 139700 w 285750"/>
              <a:gd name="connsiteY10" fmla="*/ 216568 h 222918"/>
              <a:gd name="connsiteX11" fmla="*/ 190500 w 285750"/>
              <a:gd name="connsiteY11" fmla="*/ 210218 h 222918"/>
              <a:gd name="connsiteX12" fmla="*/ 228600 w 285750"/>
              <a:gd name="connsiteY12" fmla="*/ 222918 h 222918"/>
              <a:gd name="connsiteX13" fmla="*/ 266700 w 285750"/>
              <a:gd name="connsiteY13" fmla="*/ 216568 h 222918"/>
              <a:gd name="connsiteX14" fmla="*/ 285750 w 285750"/>
              <a:gd name="connsiteY14" fmla="*/ 178468 h 222918"/>
              <a:gd name="connsiteX15" fmla="*/ 247650 w 285750"/>
              <a:gd name="connsiteY15" fmla="*/ 140368 h 222918"/>
              <a:gd name="connsiteX16" fmla="*/ 228600 w 285750"/>
              <a:gd name="connsiteY16" fmla="*/ 121318 h 222918"/>
              <a:gd name="connsiteX17" fmla="*/ 209550 w 285750"/>
              <a:gd name="connsiteY17" fmla="*/ 83218 h 222918"/>
              <a:gd name="connsiteX18" fmla="*/ 190500 w 285750"/>
              <a:gd name="connsiteY18" fmla="*/ 45118 h 222918"/>
              <a:gd name="connsiteX19" fmla="*/ 171450 w 285750"/>
              <a:gd name="connsiteY19" fmla="*/ 38768 h 222918"/>
              <a:gd name="connsiteX20" fmla="*/ 165100 w 285750"/>
              <a:gd name="connsiteY20" fmla="*/ 13368 h 222918"/>
              <a:gd name="connsiteX21" fmla="*/ 127000 w 285750"/>
              <a:gd name="connsiteY21" fmla="*/ 13368 h 222918"/>
              <a:gd name="connsiteX22" fmla="*/ 95250 w 285750"/>
              <a:gd name="connsiteY22" fmla="*/ 45118 h 222918"/>
              <a:gd name="connsiteX23" fmla="*/ 69850 w 285750"/>
              <a:gd name="connsiteY23" fmla="*/ 38768 h 222918"/>
              <a:gd name="connsiteX24" fmla="*/ 57150 w 285750"/>
              <a:gd name="connsiteY24" fmla="*/ 26068 h 222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5750" h="222918">
                <a:moveTo>
                  <a:pt x="57150" y="26068"/>
                </a:moveTo>
                <a:cubicBezTo>
                  <a:pt x="52917" y="27126"/>
                  <a:pt x="49846" y="39722"/>
                  <a:pt x="44450" y="45118"/>
                </a:cubicBezTo>
                <a:cubicBezTo>
                  <a:pt x="39054" y="50514"/>
                  <a:pt x="30168" y="51859"/>
                  <a:pt x="25400" y="57818"/>
                </a:cubicBezTo>
                <a:cubicBezTo>
                  <a:pt x="21219" y="63045"/>
                  <a:pt x="21167" y="70518"/>
                  <a:pt x="19050" y="76868"/>
                </a:cubicBezTo>
                <a:cubicBezTo>
                  <a:pt x="16933" y="100151"/>
                  <a:pt x="16763" y="123694"/>
                  <a:pt x="12700" y="146718"/>
                </a:cubicBezTo>
                <a:cubicBezTo>
                  <a:pt x="10374" y="159901"/>
                  <a:pt x="0" y="184818"/>
                  <a:pt x="0" y="184818"/>
                </a:cubicBezTo>
                <a:cubicBezTo>
                  <a:pt x="4456" y="198186"/>
                  <a:pt x="4011" y="213783"/>
                  <a:pt x="25400" y="210218"/>
                </a:cubicBezTo>
                <a:cubicBezTo>
                  <a:pt x="32928" y="208963"/>
                  <a:pt x="37476" y="200618"/>
                  <a:pt x="44450" y="197518"/>
                </a:cubicBezTo>
                <a:cubicBezTo>
                  <a:pt x="56683" y="192081"/>
                  <a:pt x="82550" y="184818"/>
                  <a:pt x="82550" y="184818"/>
                </a:cubicBezTo>
                <a:cubicBezTo>
                  <a:pt x="88900" y="191168"/>
                  <a:pt x="93750" y="199507"/>
                  <a:pt x="101600" y="203868"/>
                </a:cubicBezTo>
                <a:cubicBezTo>
                  <a:pt x="113302" y="210369"/>
                  <a:pt x="139700" y="216568"/>
                  <a:pt x="139700" y="216568"/>
                </a:cubicBezTo>
                <a:cubicBezTo>
                  <a:pt x="165582" y="199313"/>
                  <a:pt x="154304" y="200346"/>
                  <a:pt x="190500" y="210218"/>
                </a:cubicBezTo>
                <a:cubicBezTo>
                  <a:pt x="203415" y="213740"/>
                  <a:pt x="228600" y="222918"/>
                  <a:pt x="228600" y="222918"/>
                </a:cubicBezTo>
                <a:cubicBezTo>
                  <a:pt x="241300" y="220801"/>
                  <a:pt x="255184" y="222326"/>
                  <a:pt x="266700" y="216568"/>
                </a:cubicBezTo>
                <a:cubicBezTo>
                  <a:pt x="276548" y="211644"/>
                  <a:pt x="282745" y="187484"/>
                  <a:pt x="285750" y="178468"/>
                </a:cubicBezTo>
                <a:lnTo>
                  <a:pt x="247650" y="140368"/>
                </a:lnTo>
                <a:lnTo>
                  <a:pt x="228600" y="121318"/>
                </a:lnTo>
                <a:cubicBezTo>
                  <a:pt x="212639" y="73435"/>
                  <a:pt x="234169" y="132457"/>
                  <a:pt x="209550" y="83218"/>
                </a:cubicBezTo>
                <a:cubicBezTo>
                  <a:pt x="201881" y="67880"/>
                  <a:pt x="205665" y="57250"/>
                  <a:pt x="190500" y="45118"/>
                </a:cubicBezTo>
                <a:cubicBezTo>
                  <a:pt x="185273" y="40937"/>
                  <a:pt x="177800" y="40885"/>
                  <a:pt x="171450" y="38768"/>
                </a:cubicBezTo>
                <a:cubicBezTo>
                  <a:pt x="169333" y="30301"/>
                  <a:pt x="170552" y="20183"/>
                  <a:pt x="165100" y="13368"/>
                </a:cubicBezTo>
                <a:cubicBezTo>
                  <a:pt x="154405" y="0"/>
                  <a:pt x="137695" y="9803"/>
                  <a:pt x="127000" y="13368"/>
                </a:cubicBezTo>
                <a:cubicBezTo>
                  <a:pt x="119870" y="24063"/>
                  <a:pt x="110846" y="42890"/>
                  <a:pt x="95250" y="45118"/>
                </a:cubicBezTo>
                <a:cubicBezTo>
                  <a:pt x="86610" y="46352"/>
                  <a:pt x="78317" y="40885"/>
                  <a:pt x="69850" y="38768"/>
                </a:cubicBezTo>
                <a:cubicBezTo>
                  <a:pt x="55976" y="17957"/>
                  <a:pt x="61383" y="25010"/>
                  <a:pt x="57150" y="26068"/>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40" name="Freeform 39"/>
          <p:cNvSpPr/>
          <p:nvPr/>
        </p:nvSpPr>
        <p:spPr bwMode="auto">
          <a:xfrm>
            <a:off x="2643114" y="3355982"/>
            <a:ext cx="1156332" cy="868581"/>
          </a:xfrm>
          <a:custGeom>
            <a:avLst/>
            <a:gdLst>
              <a:gd name="connsiteX0" fmla="*/ 63500 w 1377950"/>
              <a:gd name="connsiteY0" fmla="*/ 914400 h 1035050"/>
              <a:gd name="connsiteX1" fmla="*/ 114300 w 1377950"/>
              <a:gd name="connsiteY1" fmla="*/ 939800 h 1035050"/>
              <a:gd name="connsiteX2" fmla="*/ 133350 w 1377950"/>
              <a:gd name="connsiteY2" fmla="*/ 933450 h 1035050"/>
              <a:gd name="connsiteX3" fmla="*/ 171450 w 1377950"/>
              <a:gd name="connsiteY3" fmla="*/ 958850 h 1035050"/>
              <a:gd name="connsiteX4" fmla="*/ 177800 w 1377950"/>
              <a:gd name="connsiteY4" fmla="*/ 990600 h 1035050"/>
              <a:gd name="connsiteX5" fmla="*/ 190500 w 1377950"/>
              <a:gd name="connsiteY5" fmla="*/ 1035050 h 1035050"/>
              <a:gd name="connsiteX6" fmla="*/ 209550 w 1377950"/>
              <a:gd name="connsiteY6" fmla="*/ 1028700 h 1035050"/>
              <a:gd name="connsiteX7" fmla="*/ 228600 w 1377950"/>
              <a:gd name="connsiteY7" fmla="*/ 990600 h 1035050"/>
              <a:gd name="connsiteX8" fmla="*/ 222250 w 1377950"/>
              <a:gd name="connsiteY8" fmla="*/ 965200 h 1035050"/>
              <a:gd name="connsiteX9" fmla="*/ 254000 w 1377950"/>
              <a:gd name="connsiteY9" fmla="*/ 895350 h 1035050"/>
              <a:gd name="connsiteX10" fmla="*/ 273050 w 1377950"/>
              <a:gd name="connsiteY10" fmla="*/ 889000 h 1035050"/>
              <a:gd name="connsiteX11" fmla="*/ 292100 w 1377950"/>
              <a:gd name="connsiteY11" fmla="*/ 876300 h 1035050"/>
              <a:gd name="connsiteX12" fmla="*/ 336550 w 1377950"/>
              <a:gd name="connsiteY12" fmla="*/ 863600 h 1035050"/>
              <a:gd name="connsiteX13" fmla="*/ 374650 w 1377950"/>
              <a:gd name="connsiteY13" fmla="*/ 850900 h 1035050"/>
              <a:gd name="connsiteX14" fmla="*/ 412750 w 1377950"/>
              <a:gd name="connsiteY14" fmla="*/ 825500 h 1035050"/>
              <a:gd name="connsiteX15" fmla="*/ 431800 w 1377950"/>
              <a:gd name="connsiteY15" fmla="*/ 831850 h 1035050"/>
              <a:gd name="connsiteX16" fmla="*/ 469900 w 1377950"/>
              <a:gd name="connsiteY16" fmla="*/ 863600 h 1035050"/>
              <a:gd name="connsiteX17" fmla="*/ 495300 w 1377950"/>
              <a:gd name="connsiteY17" fmla="*/ 844550 h 1035050"/>
              <a:gd name="connsiteX18" fmla="*/ 514350 w 1377950"/>
              <a:gd name="connsiteY18" fmla="*/ 831850 h 1035050"/>
              <a:gd name="connsiteX19" fmla="*/ 520700 w 1377950"/>
              <a:gd name="connsiteY19" fmla="*/ 812800 h 1035050"/>
              <a:gd name="connsiteX20" fmla="*/ 584200 w 1377950"/>
              <a:gd name="connsiteY20" fmla="*/ 787400 h 1035050"/>
              <a:gd name="connsiteX21" fmla="*/ 603250 w 1377950"/>
              <a:gd name="connsiteY21" fmla="*/ 749300 h 1035050"/>
              <a:gd name="connsiteX22" fmla="*/ 622300 w 1377950"/>
              <a:gd name="connsiteY22" fmla="*/ 730250 h 1035050"/>
              <a:gd name="connsiteX23" fmla="*/ 647700 w 1377950"/>
              <a:gd name="connsiteY23" fmla="*/ 692150 h 1035050"/>
              <a:gd name="connsiteX24" fmla="*/ 679450 w 1377950"/>
              <a:gd name="connsiteY24" fmla="*/ 698500 h 1035050"/>
              <a:gd name="connsiteX25" fmla="*/ 698500 w 1377950"/>
              <a:gd name="connsiteY25" fmla="*/ 704850 h 1035050"/>
              <a:gd name="connsiteX26" fmla="*/ 717550 w 1377950"/>
              <a:gd name="connsiteY26" fmla="*/ 692150 h 1035050"/>
              <a:gd name="connsiteX27" fmla="*/ 742950 w 1377950"/>
              <a:gd name="connsiteY27" fmla="*/ 654050 h 1035050"/>
              <a:gd name="connsiteX28" fmla="*/ 749300 w 1377950"/>
              <a:gd name="connsiteY28" fmla="*/ 635000 h 1035050"/>
              <a:gd name="connsiteX29" fmla="*/ 787400 w 1377950"/>
              <a:gd name="connsiteY29" fmla="*/ 615950 h 1035050"/>
              <a:gd name="connsiteX30" fmla="*/ 869950 w 1377950"/>
              <a:gd name="connsiteY30" fmla="*/ 615950 h 1035050"/>
              <a:gd name="connsiteX31" fmla="*/ 889000 w 1377950"/>
              <a:gd name="connsiteY31" fmla="*/ 603250 h 1035050"/>
              <a:gd name="connsiteX32" fmla="*/ 895350 w 1377950"/>
              <a:gd name="connsiteY32" fmla="*/ 571500 h 1035050"/>
              <a:gd name="connsiteX33" fmla="*/ 920750 w 1377950"/>
              <a:gd name="connsiteY33" fmla="*/ 565150 h 1035050"/>
              <a:gd name="connsiteX34" fmla="*/ 965200 w 1377950"/>
              <a:gd name="connsiteY34" fmla="*/ 546100 h 1035050"/>
              <a:gd name="connsiteX35" fmla="*/ 1028700 w 1377950"/>
              <a:gd name="connsiteY35" fmla="*/ 533400 h 1035050"/>
              <a:gd name="connsiteX36" fmla="*/ 1066800 w 1377950"/>
              <a:gd name="connsiteY36" fmla="*/ 520700 h 1035050"/>
              <a:gd name="connsiteX37" fmla="*/ 1085850 w 1377950"/>
              <a:gd name="connsiteY37" fmla="*/ 508000 h 1035050"/>
              <a:gd name="connsiteX38" fmla="*/ 1092200 w 1377950"/>
              <a:gd name="connsiteY38" fmla="*/ 469900 h 1035050"/>
              <a:gd name="connsiteX39" fmla="*/ 1073150 w 1377950"/>
              <a:gd name="connsiteY39" fmla="*/ 457200 h 1035050"/>
              <a:gd name="connsiteX40" fmla="*/ 1054100 w 1377950"/>
              <a:gd name="connsiteY40" fmla="*/ 438150 h 1035050"/>
              <a:gd name="connsiteX41" fmla="*/ 1047750 w 1377950"/>
              <a:gd name="connsiteY41" fmla="*/ 381000 h 1035050"/>
              <a:gd name="connsiteX42" fmla="*/ 1085850 w 1377950"/>
              <a:gd name="connsiteY42" fmla="*/ 387350 h 1035050"/>
              <a:gd name="connsiteX43" fmla="*/ 1104900 w 1377950"/>
              <a:gd name="connsiteY43" fmla="*/ 406400 h 1035050"/>
              <a:gd name="connsiteX44" fmla="*/ 1123950 w 1377950"/>
              <a:gd name="connsiteY44" fmla="*/ 412750 h 1035050"/>
              <a:gd name="connsiteX45" fmla="*/ 1174750 w 1377950"/>
              <a:gd name="connsiteY45" fmla="*/ 406400 h 1035050"/>
              <a:gd name="connsiteX46" fmla="*/ 1187450 w 1377950"/>
              <a:gd name="connsiteY46" fmla="*/ 444500 h 1035050"/>
              <a:gd name="connsiteX47" fmla="*/ 1193800 w 1377950"/>
              <a:gd name="connsiteY47" fmla="*/ 463550 h 1035050"/>
              <a:gd name="connsiteX48" fmla="*/ 1200150 w 1377950"/>
              <a:gd name="connsiteY48" fmla="*/ 488950 h 1035050"/>
              <a:gd name="connsiteX49" fmla="*/ 1257300 w 1377950"/>
              <a:gd name="connsiteY49" fmla="*/ 533400 h 1035050"/>
              <a:gd name="connsiteX50" fmla="*/ 1289050 w 1377950"/>
              <a:gd name="connsiteY50" fmla="*/ 527050 h 1035050"/>
              <a:gd name="connsiteX51" fmla="*/ 1308100 w 1377950"/>
              <a:gd name="connsiteY51" fmla="*/ 520700 h 1035050"/>
              <a:gd name="connsiteX52" fmla="*/ 1314450 w 1377950"/>
              <a:gd name="connsiteY52" fmla="*/ 501650 h 1035050"/>
              <a:gd name="connsiteX53" fmla="*/ 1320800 w 1377950"/>
              <a:gd name="connsiteY53" fmla="*/ 419100 h 1035050"/>
              <a:gd name="connsiteX54" fmla="*/ 1333500 w 1377950"/>
              <a:gd name="connsiteY54" fmla="*/ 381000 h 1035050"/>
              <a:gd name="connsiteX55" fmla="*/ 1352550 w 1377950"/>
              <a:gd name="connsiteY55" fmla="*/ 342900 h 1035050"/>
              <a:gd name="connsiteX56" fmla="*/ 1365250 w 1377950"/>
              <a:gd name="connsiteY56" fmla="*/ 266700 h 1035050"/>
              <a:gd name="connsiteX57" fmla="*/ 1377950 w 1377950"/>
              <a:gd name="connsiteY57" fmla="*/ 222250 h 1035050"/>
              <a:gd name="connsiteX58" fmla="*/ 1358900 w 1377950"/>
              <a:gd name="connsiteY58" fmla="*/ 171450 h 1035050"/>
              <a:gd name="connsiteX59" fmla="*/ 1339850 w 1377950"/>
              <a:gd name="connsiteY59" fmla="*/ 158750 h 1035050"/>
              <a:gd name="connsiteX60" fmla="*/ 1327150 w 1377950"/>
              <a:gd name="connsiteY60" fmla="*/ 101600 h 1035050"/>
              <a:gd name="connsiteX61" fmla="*/ 1320800 w 1377950"/>
              <a:gd name="connsiteY61" fmla="*/ 82550 h 1035050"/>
              <a:gd name="connsiteX62" fmla="*/ 1282700 w 1377950"/>
              <a:gd name="connsiteY62" fmla="*/ 69850 h 1035050"/>
              <a:gd name="connsiteX63" fmla="*/ 1263650 w 1377950"/>
              <a:gd name="connsiteY63" fmla="*/ 63500 h 1035050"/>
              <a:gd name="connsiteX64" fmla="*/ 1244600 w 1377950"/>
              <a:gd name="connsiteY64" fmla="*/ 57150 h 1035050"/>
              <a:gd name="connsiteX65" fmla="*/ 1225550 w 1377950"/>
              <a:gd name="connsiteY65" fmla="*/ 44450 h 1035050"/>
              <a:gd name="connsiteX66" fmla="*/ 1206500 w 1377950"/>
              <a:gd name="connsiteY66" fmla="*/ 25400 h 1035050"/>
              <a:gd name="connsiteX67" fmla="*/ 1123950 w 1377950"/>
              <a:gd name="connsiteY67" fmla="*/ 19050 h 1035050"/>
              <a:gd name="connsiteX68" fmla="*/ 1085850 w 1377950"/>
              <a:gd name="connsiteY68" fmla="*/ 25400 h 1035050"/>
              <a:gd name="connsiteX69" fmla="*/ 1066800 w 1377950"/>
              <a:gd name="connsiteY69" fmla="*/ 44450 h 1035050"/>
              <a:gd name="connsiteX70" fmla="*/ 1047750 w 1377950"/>
              <a:gd name="connsiteY70" fmla="*/ 50800 h 1035050"/>
              <a:gd name="connsiteX71" fmla="*/ 1009650 w 1377950"/>
              <a:gd name="connsiteY71" fmla="*/ 44450 h 1035050"/>
              <a:gd name="connsiteX72" fmla="*/ 990600 w 1377950"/>
              <a:gd name="connsiteY72" fmla="*/ 31750 h 1035050"/>
              <a:gd name="connsiteX73" fmla="*/ 958850 w 1377950"/>
              <a:gd name="connsiteY73" fmla="*/ 38100 h 1035050"/>
              <a:gd name="connsiteX74" fmla="*/ 939800 w 1377950"/>
              <a:gd name="connsiteY74" fmla="*/ 50800 h 1035050"/>
              <a:gd name="connsiteX75" fmla="*/ 933450 w 1377950"/>
              <a:gd name="connsiteY75" fmla="*/ 69850 h 1035050"/>
              <a:gd name="connsiteX76" fmla="*/ 914400 w 1377950"/>
              <a:gd name="connsiteY76" fmla="*/ 107950 h 1035050"/>
              <a:gd name="connsiteX77" fmla="*/ 889000 w 1377950"/>
              <a:gd name="connsiteY77" fmla="*/ 146050 h 1035050"/>
              <a:gd name="connsiteX78" fmla="*/ 774700 w 1377950"/>
              <a:gd name="connsiteY78" fmla="*/ 152400 h 1035050"/>
              <a:gd name="connsiteX79" fmla="*/ 685800 w 1377950"/>
              <a:gd name="connsiteY79" fmla="*/ 158750 h 1035050"/>
              <a:gd name="connsiteX80" fmla="*/ 654050 w 1377950"/>
              <a:gd name="connsiteY80" fmla="*/ 133350 h 1035050"/>
              <a:gd name="connsiteX81" fmla="*/ 615950 w 1377950"/>
              <a:gd name="connsiteY81" fmla="*/ 146050 h 1035050"/>
              <a:gd name="connsiteX82" fmla="*/ 571500 w 1377950"/>
              <a:gd name="connsiteY82" fmla="*/ 165100 h 1035050"/>
              <a:gd name="connsiteX83" fmla="*/ 552450 w 1377950"/>
              <a:gd name="connsiteY83" fmla="*/ 152400 h 1035050"/>
              <a:gd name="connsiteX84" fmla="*/ 552450 w 1377950"/>
              <a:gd name="connsiteY84" fmla="*/ 95250 h 1035050"/>
              <a:gd name="connsiteX85" fmla="*/ 546100 w 1377950"/>
              <a:gd name="connsiteY85" fmla="*/ 50800 h 1035050"/>
              <a:gd name="connsiteX86" fmla="*/ 533400 w 1377950"/>
              <a:gd name="connsiteY86" fmla="*/ 31750 h 1035050"/>
              <a:gd name="connsiteX87" fmla="*/ 495300 w 1377950"/>
              <a:gd name="connsiteY87" fmla="*/ 19050 h 1035050"/>
              <a:gd name="connsiteX88" fmla="*/ 476250 w 1377950"/>
              <a:gd name="connsiteY88" fmla="*/ 6350 h 1035050"/>
              <a:gd name="connsiteX89" fmla="*/ 457200 w 1377950"/>
              <a:gd name="connsiteY89" fmla="*/ 12700 h 1035050"/>
              <a:gd name="connsiteX90" fmla="*/ 393700 w 1377950"/>
              <a:gd name="connsiteY90" fmla="*/ 19050 h 1035050"/>
              <a:gd name="connsiteX91" fmla="*/ 355600 w 1377950"/>
              <a:gd name="connsiteY91" fmla="*/ 6350 h 1035050"/>
              <a:gd name="connsiteX92" fmla="*/ 336550 w 1377950"/>
              <a:gd name="connsiteY92" fmla="*/ 0 h 1035050"/>
              <a:gd name="connsiteX93" fmla="*/ 298450 w 1377950"/>
              <a:gd name="connsiteY93" fmla="*/ 12700 h 1035050"/>
              <a:gd name="connsiteX94" fmla="*/ 285750 w 1377950"/>
              <a:gd name="connsiteY94" fmla="*/ 31750 h 1035050"/>
              <a:gd name="connsiteX95" fmla="*/ 215900 w 1377950"/>
              <a:gd name="connsiteY95" fmla="*/ 50800 h 1035050"/>
              <a:gd name="connsiteX96" fmla="*/ 196850 w 1377950"/>
              <a:gd name="connsiteY96" fmla="*/ 57150 h 1035050"/>
              <a:gd name="connsiteX97" fmla="*/ 146050 w 1377950"/>
              <a:gd name="connsiteY97" fmla="*/ 69850 h 1035050"/>
              <a:gd name="connsiteX98" fmla="*/ 101600 w 1377950"/>
              <a:gd name="connsiteY98" fmla="*/ 114300 h 1035050"/>
              <a:gd name="connsiteX99" fmla="*/ 101600 w 1377950"/>
              <a:gd name="connsiteY99" fmla="*/ 241300 h 1035050"/>
              <a:gd name="connsiteX100" fmla="*/ 114300 w 1377950"/>
              <a:gd name="connsiteY100" fmla="*/ 279400 h 1035050"/>
              <a:gd name="connsiteX101" fmla="*/ 127000 w 1377950"/>
              <a:gd name="connsiteY101" fmla="*/ 330200 h 1035050"/>
              <a:gd name="connsiteX102" fmla="*/ 133350 w 1377950"/>
              <a:gd name="connsiteY102" fmla="*/ 387350 h 1035050"/>
              <a:gd name="connsiteX103" fmla="*/ 152400 w 1377950"/>
              <a:gd name="connsiteY103" fmla="*/ 400050 h 1035050"/>
              <a:gd name="connsiteX104" fmla="*/ 234950 w 1377950"/>
              <a:gd name="connsiteY104" fmla="*/ 412750 h 1035050"/>
              <a:gd name="connsiteX105" fmla="*/ 273050 w 1377950"/>
              <a:gd name="connsiteY105" fmla="*/ 431800 h 1035050"/>
              <a:gd name="connsiteX106" fmla="*/ 285750 w 1377950"/>
              <a:gd name="connsiteY106" fmla="*/ 450850 h 1035050"/>
              <a:gd name="connsiteX107" fmla="*/ 292100 w 1377950"/>
              <a:gd name="connsiteY107" fmla="*/ 469900 h 1035050"/>
              <a:gd name="connsiteX108" fmla="*/ 311150 w 1377950"/>
              <a:gd name="connsiteY108" fmla="*/ 476250 h 1035050"/>
              <a:gd name="connsiteX109" fmla="*/ 323850 w 1377950"/>
              <a:gd name="connsiteY109" fmla="*/ 514350 h 1035050"/>
              <a:gd name="connsiteX110" fmla="*/ 304800 w 1377950"/>
              <a:gd name="connsiteY110" fmla="*/ 527050 h 1035050"/>
              <a:gd name="connsiteX111" fmla="*/ 266700 w 1377950"/>
              <a:gd name="connsiteY111" fmla="*/ 539750 h 1035050"/>
              <a:gd name="connsiteX112" fmla="*/ 247650 w 1377950"/>
              <a:gd name="connsiteY112" fmla="*/ 552450 h 1035050"/>
              <a:gd name="connsiteX113" fmla="*/ 241300 w 1377950"/>
              <a:gd name="connsiteY113" fmla="*/ 571500 h 1035050"/>
              <a:gd name="connsiteX114" fmla="*/ 165100 w 1377950"/>
              <a:gd name="connsiteY114" fmla="*/ 590550 h 1035050"/>
              <a:gd name="connsiteX115" fmla="*/ 146050 w 1377950"/>
              <a:gd name="connsiteY115" fmla="*/ 609600 h 1035050"/>
              <a:gd name="connsiteX116" fmla="*/ 158750 w 1377950"/>
              <a:gd name="connsiteY116" fmla="*/ 679450 h 1035050"/>
              <a:gd name="connsiteX117" fmla="*/ 171450 w 1377950"/>
              <a:gd name="connsiteY117" fmla="*/ 698500 h 1035050"/>
              <a:gd name="connsiteX118" fmla="*/ 165100 w 1377950"/>
              <a:gd name="connsiteY118" fmla="*/ 723900 h 1035050"/>
              <a:gd name="connsiteX119" fmla="*/ 127000 w 1377950"/>
              <a:gd name="connsiteY119" fmla="*/ 742950 h 1035050"/>
              <a:gd name="connsiteX120" fmla="*/ 95250 w 1377950"/>
              <a:gd name="connsiteY120" fmla="*/ 774700 h 1035050"/>
              <a:gd name="connsiteX121" fmla="*/ 63500 w 1377950"/>
              <a:gd name="connsiteY121" fmla="*/ 768350 h 1035050"/>
              <a:gd name="connsiteX122" fmla="*/ 19050 w 1377950"/>
              <a:gd name="connsiteY122" fmla="*/ 736600 h 1035050"/>
              <a:gd name="connsiteX123" fmla="*/ 6350 w 1377950"/>
              <a:gd name="connsiteY123" fmla="*/ 774700 h 1035050"/>
              <a:gd name="connsiteX124" fmla="*/ 0 w 1377950"/>
              <a:gd name="connsiteY124" fmla="*/ 793750 h 1035050"/>
              <a:gd name="connsiteX125" fmla="*/ 19050 w 1377950"/>
              <a:gd name="connsiteY125" fmla="*/ 806450 h 1035050"/>
              <a:gd name="connsiteX126" fmla="*/ 38100 w 1377950"/>
              <a:gd name="connsiteY126" fmla="*/ 844550 h 1035050"/>
              <a:gd name="connsiteX127" fmla="*/ 38100 w 1377950"/>
              <a:gd name="connsiteY127" fmla="*/ 914400 h 1035050"/>
              <a:gd name="connsiteX128" fmla="*/ 57150 w 1377950"/>
              <a:gd name="connsiteY128" fmla="*/ 927100 h 1035050"/>
              <a:gd name="connsiteX129" fmla="*/ 114300 w 1377950"/>
              <a:gd name="connsiteY129" fmla="*/ 939800 h 10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377950" h="1035050">
                <a:moveTo>
                  <a:pt x="63500" y="914400"/>
                </a:moveTo>
                <a:cubicBezTo>
                  <a:pt x="81464" y="927873"/>
                  <a:pt x="90522" y="939800"/>
                  <a:pt x="114300" y="939800"/>
                </a:cubicBezTo>
                <a:cubicBezTo>
                  <a:pt x="120993" y="939800"/>
                  <a:pt x="127000" y="935567"/>
                  <a:pt x="133350" y="933450"/>
                </a:cubicBezTo>
                <a:cubicBezTo>
                  <a:pt x="150283" y="939094"/>
                  <a:pt x="161937" y="939824"/>
                  <a:pt x="171450" y="958850"/>
                </a:cubicBezTo>
                <a:cubicBezTo>
                  <a:pt x="176277" y="968503"/>
                  <a:pt x="175459" y="980064"/>
                  <a:pt x="177800" y="990600"/>
                </a:cubicBezTo>
                <a:cubicBezTo>
                  <a:pt x="183116" y="1014520"/>
                  <a:pt x="183429" y="1013836"/>
                  <a:pt x="190500" y="1035050"/>
                </a:cubicBezTo>
                <a:cubicBezTo>
                  <a:pt x="196850" y="1032933"/>
                  <a:pt x="204323" y="1032881"/>
                  <a:pt x="209550" y="1028700"/>
                </a:cubicBezTo>
                <a:cubicBezTo>
                  <a:pt x="220741" y="1019748"/>
                  <a:pt x="224417" y="1003149"/>
                  <a:pt x="228600" y="990600"/>
                </a:cubicBezTo>
                <a:cubicBezTo>
                  <a:pt x="226483" y="982133"/>
                  <a:pt x="222250" y="973927"/>
                  <a:pt x="222250" y="965200"/>
                </a:cubicBezTo>
                <a:cubicBezTo>
                  <a:pt x="222250" y="947490"/>
                  <a:pt x="235827" y="901408"/>
                  <a:pt x="254000" y="895350"/>
                </a:cubicBezTo>
                <a:lnTo>
                  <a:pt x="273050" y="889000"/>
                </a:lnTo>
                <a:cubicBezTo>
                  <a:pt x="279400" y="884767"/>
                  <a:pt x="285274" y="879713"/>
                  <a:pt x="292100" y="876300"/>
                </a:cubicBezTo>
                <a:cubicBezTo>
                  <a:pt x="302770" y="870965"/>
                  <a:pt x="326377" y="866652"/>
                  <a:pt x="336550" y="863600"/>
                </a:cubicBezTo>
                <a:cubicBezTo>
                  <a:pt x="349372" y="859753"/>
                  <a:pt x="374650" y="850900"/>
                  <a:pt x="374650" y="850900"/>
                </a:cubicBezTo>
                <a:cubicBezTo>
                  <a:pt x="386104" y="839446"/>
                  <a:pt x="394370" y="825500"/>
                  <a:pt x="412750" y="825500"/>
                </a:cubicBezTo>
                <a:cubicBezTo>
                  <a:pt x="419443" y="825500"/>
                  <a:pt x="425450" y="829733"/>
                  <a:pt x="431800" y="831850"/>
                </a:cubicBezTo>
                <a:cubicBezTo>
                  <a:pt x="434141" y="834191"/>
                  <a:pt x="462164" y="864705"/>
                  <a:pt x="469900" y="863600"/>
                </a:cubicBezTo>
                <a:cubicBezTo>
                  <a:pt x="480377" y="862103"/>
                  <a:pt x="486688" y="850701"/>
                  <a:pt x="495300" y="844550"/>
                </a:cubicBezTo>
                <a:cubicBezTo>
                  <a:pt x="501510" y="840114"/>
                  <a:pt x="508000" y="836083"/>
                  <a:pt x="514350" y="831850"/>
                </a:cubicBezTo>
                <a:cubicBezTo>
                  <a:pt x="516467" y="825500"/>
                  <a:pt x="517707" y="818787"/>
                  <a:pt x="520700" y="812800"/>
                </a:cubicBezTo>
                <a:cubicBezTo>
                  <a:pt x="536955" y="780290"/>
                  <a:pt x="539044" y="793044"/>
                  <a:pt x="584200" y="787400"/>
                </a:cubicBezTo>
                <a:cubicBezTo>
                  <a:pt x="590564" y="768307"/>
                  <a:pt x="589573" y="765713"/>
                  <a:pt x="603250" y="749300"/>
                </a:cubicBezTo>
                <a:cubicBezTo>
                  <a:pt x="608999" y="742401"/>
                  <a:pt x="616787" y="737339"/>
                  <a:pt x="622300" y="730250"/>
                </a:cubicBezTo>
                <a:cubicBezTo>
                  <a:pt x="631671" y="718202"/>
                  <a:pt x="647700" y="692150"/>
                  <a:pt x="647700" y="692150"/>
                </a:cubicBezTo>
                <a:cubicBezTo>
                  <a:pt x="658283" y="694267"/>
                  <a:pt x="668979" y="695882"/>
                  <a:pt x="679450" y="698500"/>
                </a:cubicBezTo>
                <a:cubicBezTo>
                  <a:pt x="685944" y="700123"/>
                  <a:pt x="691898" y="705950"/>
                  <a:pt x="698500" y="704850"/>
                </a:cubicBezTo>
                <a:cubicBezTo>
                  <a:pt x="706028" y="703595"/>
                  <a:pt x="711200" y="696383"/>
                  <a:pt x="717550" y="692150"/>
                </a:cubicBezTo>
                <a:lnTo>
                  <a:pt x="742950" y="654050"/>
                </a:lnTo>
                <a:cubicBezTo>
                  <a:pt x="746663" y="648481"/>
                  <a:pt x="745119" y="640227"/>
                  <a:pt x="749300" y="635000"/>
                </a:cubicBezTo>
                <a:cubicBezTo>
                  <a:pt x="758252" y="623809"/>
                  <a:pt x="774851" y="620133"/>
                  <a:pt x="787400" y="615950"/>
                </a:cubicBezTo>
                <a:cubicBezTo>
                  <a:pt x="823727" y="623215"/>
                  <a:pt x="827662" y="627483"/>
                  <a:pt x="869950" y="615950"/>
                </a:cubicBezTo>
                <a:cubicBezTo>
                  <a:pt x="877313" y="613942"/>
                  <a:pt x="882650" y="607483"/>
                  <a:pt x="889000" y="603250"/>
                </a:cubicBezTo>
                <a:cubicBezTo>
                  <a:pt x="891117" y="592667"/>
                  <a:pt x="888441" y="579791"/>
                  <a:pt x="895350" y="571500"/>
                </a:cubicBezTo>
                <a:cubicBezTo>
                  <a:pt x="900937" y="564796"/>
                  <a:pt x="912578" y="568214"/>
                  <a:pt x="920750" y="565150"/>
                </a:cubicBezTo>
                <a:cubicBezTo>
                  <a:pt x="951150" y="553750"/>
                  <a:pt x="937868" y="552407"/>
                  <a:pt x="965200" y="546100"/>
                </a:cubicBezTo>
                <a:cubicBezTo>
                  <a:pt x="986233" y="541246"/>
                  <a:pt x="1008222" y="540226"/>
                  <a:pt x="1028700" y="533400"/>
                </a:cubicBezTo>
                <a:lnTo>
                  <a:pt x="1066800" y="520700"/>
                </a:lnTo>
                <a:cubicBezTo>
                  <a:pt x="1073150" y="516467"/>
                  <a:pt x="1080454" y="513396"/>
                  <a:pt x="1085850" y="508000"/>
                </a:cubicBezTo>
                <a:cubicBezTo>
                  <a:pt x="1098139" y="495711"/>
                  <a:pt x="1104580" y="485376"/>
                  <a:pt x="1092200" y="469900"/>
                </a:cubicBezTo>
                <a:cubicBezTo>
                  <a:pt x="1087432" y="463941"/>
                  <a:pt x="1079013" y="462086"/>
                  <a:pt x="1073150" y="457200"/>
                </a:cubicBezTo>
                <a:cubicBezTo>
                  <a:pt x="1066251" y="451451"/>
                  <a:pt x="1060450" y="444500"/>
                  <a:pt x="1054100" y="438150"/>
                </a:cubicBezTo>
                <a:cubicBezTo>
                  <a:pt x="1039283" y="393700"/>
                  <a:pt x="1037167" y="412750"/>
                  <a:pt x="1047750" y="381000"/>
                </a:cubicBezTo>
                <a:cubicBezTo>
                  <a:pt x="1060450" y="383117"/>
                  <a:pt x="1074085" y="382121"/>
                  <a:pt x="1085850" y="387350"/>
                </a:cubicBezTo>
                <a:cubicBezTo>
                  <a:pt x="1094056" y="390997"/>
                  <a:pt x="1097428" y="401419"/>
                  <a:pt x="1104900" y="406400"/>
                </a:cubicBezTo>
                <a:cubicBezTo>
                  <a:pt x="1110469" y="410113"/>
                  <a:pt x="1117600" y="410633"/>
                  <a:pt x="1123950" y="412750"/>
                </a:cubicBezTo>
                <a:cubicBezTo>
                  <a:pt x="1136525" y="406463"/>
                  <a:pt x="1159187" y="388244"/>
                  <a:pt x="1174750" y="406400"/>
                </a:cubicBezTo>
                <a:cubicBezTo>
                  <a:pt x="1183462" y="416564"/>
                  <a:pt x="1183217" y="431800"/>
                  <a:pt x="1187450" y="444500"/>
                </a:cubicBezTo>
                <a:cubicBezTo>
                  <a:pt x="1189567" y="450850"/>
                  <a:pt x="1192177" y="457056"/>
                  <a:pt x="1193800" y="463550"/>
                </a:cubicBezTo>
                <a:cubicBezTo>
                  <a:pt x="1195917" y="472017"/>
                  <a:pt x="1195145" y="481800"/>
                  <a:pt x="1200150" y="488950"/>
                </a:cubicBezTo>
                <a:cubicBezTo>
                  <a:pt x="1226222" y="526196"/>
                  <a:pt x="1227458" y="523453"/>
                  <a:pt x="1257300" y="533400"/>
                </a:cubicBezTo>
                <a:cubicBezTo>
                  <a:pt x="1267883" y="531283"/>
                  <a:pt x="1278579" y="529668"/>
                  <a:pt x="1289050" y="527050"/>
                </a:cubicBezTo>
                <a:cubicBezTo>
                  <a:pt x="1295544" y="525427"/>
                  <a:pt x="1303367" y="525433"/>
                  <a:pt x="1308100" y="520700"/>
                </a:cubicBezTo>
                <a:cubicBezTo>
                  <a:pt x="1312833" y="515967"/>
                  <a:pt x="1312333" y="508000"/>
                  <a:pt x="1314450" y="501650"/>
                </a:cubicBezTo>
                <a:cubicBezTo>
                  <a:pt x="1316567" y="474133"/>
                  <a:pt x="1316496" y="446360"/>
                  <a:pt x="1320800" y="419100"/>
                </a:cubicBezTo>
                <a:cubicBezTo>
                  <a:pt x="1322888" y="405877"/>
                  <a:pt x="1329267" y="393700"/>
                  <a:pt x="1333500" y="381000"/>
                </a:cubicBezTo>
                <a:cubicBezTo>
                  <a:pt x="1342263" y="354710"/>
                  <a:pt x="1336137" y="367519"/>
                  <a:pt x="1352550" y="342900"/>
                </a:cubicBezTo>
                <a:cubicBezTo>
                  <a:pt x="1366840" y="285740"/>
                  <a:pt x="1350385" y="355890"/>
                  <a:pt x="1365250" y="266700"/>
                </a:cubicBezTo>
                <a:cubicBezTo>
                  <a:pt x="1367908" y="250753"/>
                  <a:pt x="1372917" y="237349"/>
                  <a:pt x="1377950" y="222250"/>
                </a:cubicBezTo>
                <a:cubicBezTo>
                  <a:pt x="1373407" y="199533"/>
                  <a:pt x="1375251" y="187801"/>
                  <a:pt x="1358900" y="171450"/>
                </a:cubicBezTo>
                <a:cubicBezTo>
                  <a:pt x="1353504" y="166054"/>
                  <a:pt x="1346200" y="162983"/>
                  <a:pt x="1339850" y="158750"/>
                </a:cubicBezTo>
                <a:cubicBezTo>
                  <a:pt x="1325555" y="115866"/>
                  <a:pt x="1342051" y="168654"/>
                  <a:pt x="1327150" y="101600"/>
                </a:cubicBezTo>
                <a:cubicBezTo>
                  <a:pt x="1325698" y="95066"/>
                  <a:pt x="1326247" y="86441"/>
                  <a:pt x="1320800" y="82550"/>
                </a:cubicBezTo>
                <a:cubicBezTo>
                  <a:pt x="1309907" y="74769"/>
                  <a:pt x="1295400" y="74083"/>
                  <a:pt x="1282700" y="69850"/>
                </a:cubicBezTo>
                <a:lnTo>
                  <a:pt x="1263650" y="63500"/>
                </a:lnTo>
                <a:lnTo>
                  <a:pt x="1244600" y="57150"/>
                </a:lnTo>
                <a:cubicBezTo>
                  <a:pt x="1238250" y="52917"/>
                  <a:pt x="1231413" y="49336"/>
                  <a:pt x="1225550" y="44450"/>
                </a:cubicBezTo>
                <a:cubicBezTo>
                  <a:pt x="1218651" y="38701"/>
                  <a:pt x="1215212" y="27578"/>
                  <a:pt x="1206500" y="25400"/>
                </a:cubicBezTo>
                <a:cubicBezTo>
                  <a:pt x="1179726" y="18707"/>
                  <a:pt x="1151467" y="21167"/>
                  <a:pt x="1123950" y="19050"/>
                </a:cubicBezTo>
                <a:cubicBezTo>
                  <a:pt x="1111250" y="21167"/>
                  <a:pt x="1097615" y="20171"/>
                  <a:pt x="1085850" y="25400"/>
                </a:cubicBezTo>
                <a:cubicBezTo>
                  <a:pt x="1077644" y="29047"/>
                  <a:pt x="1074272" y="39469"/>
                  <a:pt x="1066800" y="44450"/>
                </a:cubicBezTo>
                <a:cubicBezTo>
                  <a:pt x="1061231" y="48163"/>
                  <a:pt x="1054100" y="48683"/>
                  <a:pt x="1047750" y="50800"/>
                </a:cubicBezTo>
                <a:cubicBezTo>
                  <a:pt x="1035050" y="48683"/>
                  <a:pt x="1021864" y="48521"/>
                  <a:pt x="1009650" y="44450"/>
                </a:cubicBezTo>
                <a:cubicBezTo>
                  <a:pt x="1002410" y="42037"/>
                  <a:pt x="998173" y="32697"/>
                  <a:pt x="990600" y="31750"/>
                </a:cubicBezTo>
                <a:cubicBezTo>
                  <a:pt x="979890" y="30411"/>
                  <a:pt x="969433" y="35983"/>
                  <a:pt x="958850" y="38100"/>
                </a:cubicBezTo>
                <a:cubicBezTo>
                  <a:pt x="952500" y="42333"/>
                  <a:pt x="944568" y="44841"/>
                  <a:pt x="939800" y="50800"/>
                </a:cubicBezTo>
                <a:cubicBezTo>
                  <a:pt x="935619" y="56027"/>
                  <a:pt x="936443" y="63863"/>
                  <a:pt x="933450" y="69850"/>
                </a:cubicBezTo>
                <a:cubicBezTo>
                  <a:pt x="917930" y="100890"/>
                  <a:pt x="922380" y="76028"/>
                  <a:pt x="914400" y="107950"/>
                </a:cubicBezTo>
                <a:cubicBezTo>
                  <a:pt x="907655" y="134932"/>
                  <a:pt x="917720" y="143315"/>
                  <a:pt x="889000" y="146050"/>
                </a:cubicBezTo>
                <a:cubicBezTo>
                  <a:pt x="851013" y="149668"/>
                  <a:pt x="812800" y="150283"/>
                  <a:pt x="774700" y="152400"/>
                </a:cubicBezTo>
                <a:cubicBezTo>
                  <a:pt x="711409" y="168223"/>
                  <a:pt x="741117" y="167969"/>
                  <a:pt x="685800" y="158750"/>
                </a:cubicBezTo>
                <a:cubicBezTo>
                  <a:pt x="677656" y="146534"/>
                  <a:pt x="673088" y="131235"/>
                  <a:pt x="654050" y="133350"/>
                </a:cubicBezTo>
                <a:cubicBezTo>
                  <a:pt x="640745" y="134828"/>
                  <a:pt x="615950" y="146050"/>
                  <a:pt x="615950" y="146050"/>
                </a:cubicBezTo>
                <a:cubicBezTo>
                  <a:pt x="603560" y="154310"/>
                  <a:pt x="588384" y="167512"/>
                  <a:pt x="571500" y="165100"/>
                </a:cubicBezTo>
                <a:cubicBezTo>
                  <a:pt x="563945" y="164021"/>
                  <a:pt x="558800" y="156633"/>
                  <a:pt x="552450" y="152400"/>
                </a:cubicBezTo>
                <a:cubicBezTo>
                  <a:pt x="538155" y="109516"/>
                  <a:pt x="552450" y="162304"/>
                  <a:pt x="552450" y="95250"/>
                </a:cubicBezTo>
                <a:cubicBezTo>
                  <a:pt x="552450" y="80283"/>
                  <a:pt x="550401" y="65136"/>
                  <a:pt x="546100" y="50800"/>
                </a:cubicBezTo>
                <a:cubicBezTo>
                  <a:pt x="543907" y="43490"/>
                  <a:pt x="539872" y="35795"/>
                  <a:pt x="533400" y="31750"/>
                </a:cubicBezTo>
                <a:cubicBezTo>
                  <a:pt x="522048" y="24655"/>
                  <a:pt x="495300" y="19050"/>
                  <a:pt x="495300" y="19050"/>
                </a:cubicBezTo>
                <a:cubicBezTo>
                  <a:pt x="488950" y="14817"/>
                  <a:pt x="483778" y="7605"/>
                  <a:pt x="476250" y="6350"/>
                </a:cubicBezTo>
                <a:cubicBezTo>
                  <a:pt x="469648" y="5250"/>
                  <a:pt x="463816" y="11682"/>
                  <a:pt x="457200" y="12700"/>
                </a:cubicBezTo>
                <a:cubicBezTo>
                  <a:pt x="436175" y="15935"/>
                  <a:pt x="414867" y="16933"/>
                  <a:pt x="393700" y="19050"/>
                </a:cubicBezTo>
                <a:lnTo>
                  <a:pt x="355600" y="6350"/>
                </a:lnTo>
                <a:lnTo>
                  <a:pt x="336550" y="0"/>
                </a:lnTo>
                <a:cubicBezTo>
                  <a:pt x="323850" y="4233"/>
                  <a:pt x="305876" y="1561"/>
                  <a:pt x="298450" y="12700"/>
                </a:cubicBezTo>
                <a:cubicBezTo>
                  <a:pt x="294217" y="19050"/>
                  <a:pt x="292222" y="27705"/>
                  <a:pt x="285750" y="31750"/>
                </a:cubicBezTo>
                <a:cubicBezTo>
                  <a:pt x="267586" y="43102"/>
                  <a:pt x="236449" y="45663"/>
                  <a:pt x="215900" y="50800"/>
                </a:cubicBezTo>
                <a:cubicBezTo>
                  <a:pt x="209406" y="52423"/>
                  <a:pt x="203308" y="55389"/>
                  <a:pt x="196850" y="57150"/>
                </a:cubicBezTo>
                <a:cubicBezTo>
                  <a:pt x="180011" y="61743"/>
                  <a:pt x="146050" y="69850"/>
                  <a:pt x="146050" y="69850"/>
                </a:cubicBezTo>
                <a:cubicBezTo>
                  <a:pt x="102381" y="98963"/>
                  <a:pt x="112777" y="80770"/>
                  <a:pt x="101600" y="114300"/>
                </a:cubicBezTo>
                <a:cubicBezTo>
                  <a:pt x="95079" y="172993"/>
                  <a:pt x="90575" y="178823"/>
                  <a:pt x="101600" y="241300"/>
                </a:cubicBezTo>
                <a:cubicBezTo>
                  <a:pt x="103926" y="254483"/>
                  <a:pt x="111053" y="266413"/>
                  <a:pt x="114300" y="279400"/>
                </a:cubicBezTo>
                <a:lnTo>
                  <a:pt x="127000" y="330200"/>
                </a:lnTo>
                <a:cubicBezTo>
                  <a:pt x="129117" y="349250"/>
                  <a:pt x="126800" y="369337"/>
                  <a:pt x="133350" y="387350"/>
                </a:cubicBezTo>
                <a:cubicBezTo>
                  <a:pt x="135958" y="394522"/>
                  <a:pt x="145574" y="396637"/>
                  <a:pt x="152400" y="400050"/>
                </a:cubicBezTo>
                <a:cubicBezTo>
                  <a:pt x="175285" y="411492"/>
                  <a:pt x="216738" y="410929"/>
                  <a:pt x="234950" y="412750"/>
                </a:cubicBezTo>
                <a:cubicBezTo>
                  <a:pt x="250444" y="417915"/>
                  <a:pt x="260740" y="419490"/>
                  <a:pt x="273050" y="431800"/>
                </a:cubicBezTo>
                <a:cubicBezTo>
                  <a:pt x="278446" y="437196"/>
                  <a:pt x="282337" y="444024"/>
                  <a:pt x="285750" y="450850"/>
                </a:cubicBezTo>
                <a:cubicBezTo>
                  <a:pt x="288743" y="456837"/>
                  <a:pt x="287367" y="465167"/>
                  <a:pt x="292100" y="469900"/>
                </a:cubicBezTo>
                <a:cubicBezTo>
                  <a:pt x="296833" y="474633"/>
                  <a:pt x="304800" y="474133"/>
                  <a:pt x="311150" y="476250"/>
                </a:cubicBezTo>
                <a:cubicBezTo>
                  <a:pt x="325343" y="490443"/>
                  <a:pt x="340187" y="493928"/>
                  <a:pt x="323850" y="514350"/>
                </a:cubicBezTo>
                <a:cubicBezTo>
                  <a:pt x="319082" y="520309"/>
                  <a:pt x="311774" y="523950"/>
                  <a:pt x="304800" y="527050"/>
                </a:cubicBezTo>
                <a:cubicBezTo>
                  <a:pt x="292567" y="532487"/>
                  <a:pt x="266700" y="539750"/>
                  <a:pt x="266700" y="539750"/>
                </a:cubicBezTo>
                <a:cubicBezTo>
                  <a:pt x="260350" y="543983"/>
                  <a:pt x="252418" y="546491"/>
                  <a:pt x="247650" y="552450"/>
                </a:cubicBezTo>
                <a:cubicBezTo>
                  <a:pt x="243469" y="557677"/>
                  <a:pt x="246747" y="567609"/>
                  <a:pt x="241300" y="571500"/>
                </a:cubicBezTo>
                <a:cubicBezTo>
                  <a:pt x="225987" y="582438"/>
                  <a:pt x="182742" y="587610"/>
                  <a:pt x="165100" y="590550"/>
                </a:cubicBezTo>
                <a:cubicBezTo>
                  <a:pt x="158750" y="596900"/>
                  <a:pt x="147656" y="600765"/>
                  <a:pt x="146050" y="609600"/>
                </a:cubicBezTo>
                <a:cubicBezTo>
                  <a:pt x="144299" y="619231"/>
                  <a:pt x="150507" y="662963"/>
                  <a:pt x="158750" y="679450"/>
                </a:cubicBezTo>
                <a:cubicBezTo>
                  <a:pt x="162163" y="686276"/>
                  <a:pt x="167217" y="692150"/>
                  <a:pt x="171450" y="698500"/>
                </a:cubicBezTo>
                <a:cubicBezTo>
                  <a:pt x="169333" y="706967"/>
                  <a:pt x="169941" y="716638"/>
                  <a:pt x="165100" y="723900"/>
                </a:cubicBezTo>
                <a:cubicBezTo>
                  <a:pt x="158066" y="734451"/>
                  <a:pt x="137867" y="739328"/>
                  <a:pt x="127000" y="742950"/>
                </a:cubicBezTo>
                <a:cubicBezTo>
                  <a:pt x="120073" y="753341"/>
                  <a:pt x="110644" y="772776"/>
                  <a:pt x="95250" y="774700"/>
                </a:cubicBezTo>
                <a:cubicBezTo>
                  <a:pt x="84540" y="776039"/>
                  <a:pt x="74083" y="770467"/>
                  <a:pt x="63500" y="768350"/>
                </a:cubicBezTo>
                <a:cubicBezTo>
                  <a:pt x="59958" y="764808"/>
                  <a:pt x="29080" y="729914"/>
                  <a:pt x="19050" y="736600"/>
                </a:cubicBezTo>
                <a:cubicBezTo>
                  <a:pt x="7911" y="744026"/>
                  <a:pt x="10583" y="762000"/>
                  <a:pt x="6350" y="774700"/>
                </a:cubicBezTo>
                <a:lnTo>
                  <a:pt x="0" y="793750"/>
                </a:lnTo>
                <a:cubicBezTo>
                  <a:pt x="6350" y="797983"/>
                  <a:pt x="13654" y="801054"/>
                  <a:pt x="19050" y="806450"/>
                </a:cubicBezTo>
                <a:cubicBezTo>
                  <a:pt x="31360" y="818760"/>
                  <a:pt x="32935" y="829056"/>
                  <a:pt x="38100" y="844550"/>
                </a:cubicBezTo>
                <a:cubicBezTo>
                  <a:pt x="31481" y="871026"/>
                  <a:pt x="24752" y="884366"/>
                  <a:pt x="38100" y="914400"/>
                </a:cubicBezTo>
                <a:cubicBezTo>
                  <a:pt x="41200" y="921374"/>
                  <a:pt x="50176" y="924000"/>
                  <a:pt x="57150" y="927100"/>
                </a:cubicBezTo>
                <a:cubicBezTo>
                  <a:pt x="90243" y="941808"/>
                  <a:pt x="87096" y="939800"/>
                  <a:pt x="114300" y="939800"/>
                </a:cubicBezTo>
              </a:path>
            </a:pathLst>
          </a:custGeom>
          <a:solidFill>
            <a:schemeClr val="accent3"/>
          </a:solidFill>
          <a:ln w="12700" cap="flat" cmpd="sng" algn="ctr">
            <a:solidFill>
              <a:schemeClr val="bg1"/>
            </a:solidFill>
            <a:prstDash val="solid"/>
            <a:round/>
            <a:headEnd type="none" w="med" len="med"/>
            <a:tailEnd type="none" w="med" len="med"/>
          </a:ln>
          <a:effectLst/>
        </p:spPr>
        <p:txBody>
          <a:bodyPr rtlCol="0" anchor="ct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41" name="Freeform 40"/>
          <p:cNvSpPr/>
          <p:nvPr/>
        </p:nvSpPr>
        <p:spPr bwMode="auto">
          <a:xfrm>
            <a:off x="1344044" y="2432337"/>
            <a:ext cx="230657" cy="140323"/>
          </a:xfrm>
          <a:custGeom>
            <a:avLst/>
            <a:gdLst>
              <a:gd name="connsiteX0" fmla="*/ 2117 w 274864"/>
              <a:gd name="connsiteY0" fmla="*/ 2117 h 167217"/>
              <a:gd name="connsiteX1" fmla="*/ 78317 w 274864"/>
              <a:gd name="connsiteY1" fmla="*/ 40217 h 167217"/>
              <a:gd name="connsiteX2" fmla="*/ 103717 w 274864"/>
              <a:gd name="connsiteY2" fmla="*/ 116417 h 167217"/>
              <a:gd name="connsiteX3" fmla="*/ 141817 w 274864"/>
              <a:gd name="connsiteY3" fmla="*/ 141817 h 167217"/>
              <a:gd name="connsiteX4" fmla="*/ 230717 w 274864"/>
              <a:gd name="connsiteY4" fmla="*/ 167217 h 167217"/>
              <a:gd name="connsiteX5" fmla="*/ 268817 w 274864"/>
              <a:gd name="connsiteY5" fmla="*/ 129117 h 167217"/>
              <a:gd name="connsiteX6" fmla="*/ 205317 w 274864"/>
              <a:gd name="connsiteY6" fmla="*/ 78317 h 167217"/>
              <a:gd name="connsiteX7" fmla="*/ 91017 w 274864"/>
              <a:gd name="connsiteY7" fmla="*/ 27517 h 167217"/>
              <a:gd name="connsiteX8" fmla="*/ 2117 w 274864"/>
              <a:gd name="connsiteY8" fmla="*/ 2117 h 16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864" h="167217">
                <a:moveTo>
                  <a:pt x="2117" y="2117"/>
                </a:moveTo>
                <a:cubicBezTo>
                  <a:pt x="0" y="4234"/>
                  <a:pt x="65359" y="19485"/>
                  <a:pt x="78317" y="40217"/>
                </a:cubicBezTo>
                <a:cubicBezTo>
                  <a:pt x="92507" y="62921"/>
                  <a:pt x="81440" y="101565"/>
                  <a:pt x="103717" y="116417"/>
                </a:cubicBezTo>
                <a:cubicBezTo>
                  <a:pt x="116417" y="124884"/>
                  <a:pt x="128165" y="134991"/>
                  <a:pt x="141817" y="141817"/>
                </a:cubicBezTo>
                <a:cubicBezTo>
                  <a:pt x="160037" y="150927"/>
                  <a:pt x="214441" y="163148"/>
                  <a:pt x="230717" y="167217"/>
                </a:cubicBezTo>
                <a:cubicBezTo>
                  <a:pt x="243417" y="154517"/>
                  <a:pt x="265864" y="146833"/>
                  <a:pt x="268817" y="129117"/>
                </a:cubicBezTo>
                <a:cubicBezTo>
                  <a:pt x="274864" y="92836"/>
                  <a:pt x="223804" y="84479"/>
                  <a:pt x="205317" y="78317"/>
                </a:cubicBezTo>
                <a:cubicBezTo>
                  <a:pt x="159639" y="9800"/>
                  <a:pt x="202231" y="53182"/>
                  <a:pt x="91017" y="27517"/>
                </a:cubicBezTo>
                <a:cubicBezTo>
                  <a:pt x="64929" y="21497"/>
                  <a:pt x="4234" y="0"/>
                  <a:pt x="2117" y="2117"/>
                </a:cubicBezTo>
                <a:close/>
              </a:path>
            </a:pathLst>
          </a:custGeom>
          <a:solidFill>
            <a:schemeClr val="accent3"/>
          </a:solid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nl-NL" sz="1200" kern="1200">
              <a:solidFill>
                <a:srgbClr val="000000"/>
              </a:solidFill>
              <a:latin typeface="Arial" charset="0"/>
              <a:ea typeface="+mn-ea"/>
              <a:cs typeface="+mn-cs"/>
            </a:endParaRPr>
          </a:p>
        </p:txBody>
      </p:sp>
      <p:sp>
        <p:nvSpPr>
          <p:cNvPr id="4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4753" name="Title 1"/>
          <p:cNvSpPr>
            <a:spLocks noGrp="1"/>
          </p:cNvSpPr>
          <p:nvPr>
            <p:ph type="title"/>
          </p:nvPr>
        </p:nvSpPr>
        <p:spPr>
          <a:xfrm>
            <a:off x="414338" y="437329"/>
            <a:ext cx="8330184" cy="333425"/>
          </a:xfrm>
        </p:spPr>
        <p:txBody>
          <a:bodyPr/>
          <a:lstStyle/>
          <a:p>
            <a:r>
              <a:rPr lang="nl-NL"/>
              <a:t>Maps </a:t>
            </a:r>
            <a:r>
              <a:rPr lang="en-US"/>
              <a:t>—</a:t>
            </a:r>
            <a:r>
              <a:rPr lang="nl-NL" smtClean="0"/>
              <a:t> </a:t>
            </a:r>
            <a:r>
              <a:rPr lang="nl-NL"/>
              <a:t>Switzerland and Austria</a:t>
            </a:r>
          </a:p>
        </p:txBody>
      </p:sp>
      <p:sp>
        <p:nvSpPr>
          <p:cNvPr id="6" name="Freeform 10"/>
          <p:cNvSpPr>
            <a:spLocks noChangeAspect="1"/>
          </p:cNvSpPr>
          <p:nvPr/>
        </p:nvSpPr>
        <p:spPr bwMode="auto">
          <a:xfrm>
            <a:off x="382588" y="2065338"/>
            <a:ext cx="3956050" cy="2727325"/>
          </a:xfrm>
          <a:custGeom>
            <a:avLst/>
            <a:gdLst>
              <a:gd name="T0" fmla="*/ 2167 w 2167"/>
              <a:gd name="T1" fmla="*/ 822 h 1380"/>
              <a:gd name="T2" fmla="*/ 2096 w 2167"/>
              <a:gd name="T3" fmla="*/ 878 h 1380"/>
              <a:gd name="T4" fmla="*/ 2018 w 2167"/>
              <a:gd name="T5" fmla="*/ 829 h 1380"/>
              <a:gd name="T6" fmla="*/ 2001 w 2167"/>
              <a:gd name="T7" fmla="*/ 943 h 1380"/>
              <a:gd name="T8" fmla="*/ 1991 w 2167"/>
              <a:gd name="T9" fmla="*/ 1096 h 1380"/>
              <a:gd name="T10" fmla="*/ 1917 w 2167"/>
              <a:gd name="T11" fmla="*/ 1034 h 1380"/>
              <a:gd name="T12" fmla="*/ 1846 w 2167"/>
              <a:gd name="T13" fmla="*/ 1012 h 1380"/>
              <a:gd name="T14" fmla="*/ 1759 w 2167"/>
              <a:gd name="T15" fmla="*/ 1056 h 1380"/>
              <a:gd name="T16" fmla="*/ 1655 w 2167"/>
              <a:gd name="T17" fmla="*/ 970 h 1380"/>
              <a:gd name="T18" fmla="*/ 1592 w 2167"/>
              <a:gd name="T19" fmla="*/ 959 h 1380"/>
              <a:gd name="T20" fmla="*/ 1561 w 2167"/>
              <a:gd name="T21" fmla="*/ 1121 h 1380"/>
              <a:gd name="T22" fmla="*/ 1479 w 2167"/>
              <a:gd name="T23" fmla="*/ 1245 h 1380"/>
              <a:gd name="T24" fmla="*/ 1481 w 2167"/>
              <a:gd name="T25" fmla="*/ 1362 h 1380"/>
              <a:gd name="T26" fmla="*/ 1409 w 2167"/>
              <a:gd name="T27" fmla="*/ 1352 h 1380"/>
              <a:gd name="T28" fmla="*/ 1350 w 2167"/>
              <a:gd name="T29" fmla="*/ 1243 h 1380"/>
              <a:gd name="T30" fmla="*/ 1304 w 2167"/>
              <a:gd name="T31" fmla="*/ 1187 h 1380"/>
              <a:gd name="T32" fmla="*/ 1205 w 2167"/>
              <a:gd name="T33" fmla="*/ 1103 h 1380"/>
              <a:gd name="T34" fmla="*/ 1178 w 2167"/>
              <a:gd name="T35" fmla="*/ 951 h 1380"/>
              <a:gd name="T36" fmla="*/ 1093 w 2167"/>
              <a:gd name="T37" fmla="*/ 1037 h 1380"/>
              <a:gd name="T38" fmla="*/ 1075 w 2167"/>
              <a:gd name="T39" fmla="*/ 1129 h 1380"/>
              <a:gd name="T40" fmla="*/ 991 w 2167"/>
              <a:gd name="T41" fmla="*/ 1240 h 1380"/>
              <a:gd name="T42" fmla="*/ 882 w 2167"/>
              <a:gd name="T43" fmla="*/ 1314 h 1380"/>
              <a:gd name="T44" fmla="*/ 792 w 2167"/>
              <a:gd name="T45" fmla="*/ 1282 h 1380"/>
              <a:gd name="T46" fmla="*/ 703 w 2167"/>
              <a:gd name="T47" fmla="*/ 1321 h 1380"/>
              <a:gd name="T48" fmla="*/ 609 w 2167"/>
              <a:gd name="T49" fmla="*/ 1349 h 1380"/>
              <a:gd name="T50" fmla="*/ 530 w 2167"/>
              <a:gd name="T51" fmla="*/ 1330 h 1380"/>
              <a:gd name="T52" fmla="*/ 444 w 2167"/>
              <a:gd name="T53" fmla="*/ 1215 h 1380"/>
              <a:gd name="T54" fmla="*/ 388 w 2167"/>
              <a:gd name="T55" fmla="*/ 1133 h 1380"/>
              <a:gd name="T56" fmla="*/ 396 w 2167"/>
              <a:gd name="T57" fmla="*/ 1002 h 1380"/>
              <a:gd name="T58" fmla="*/ 292 w 2167"/>
              <a:gd name="T59" fmla="*/ 943 h 1380"/>
              <a:gd name="T60" fmla="*/ 183 w 2167"/>
              <a:gd name="T61" fmla="*/ 984 h 1380"/>
              <a:gd name="T62" fmla="*/ 182 w 2167"/>
              <a:gd name="T63" fmla="*/ 1055 h 1380"/>
              <a:gd name="T64" fmla="*/ 92 w 2167"/>
              <a:gd name="T65" fmla="*/ 1152 h 1380"/>
              <a:gd name="T66" fmla="*/ 5 w 2167"/>
              <a:gd name="T67" fmla="*/ 1141 h 1380"/>
              <a:gd name="T68" fmla="*/ 65 w 2167"/>
              <a:gd name="T69" fmla="*/ 1062 h 1380"/>
              <a:gd name="T70" fmla="*/ 75 w 2167"/>
              <a:gd name="T71" fmla="*/ 891 h 1380"/>
              <a:gd name="T72" fmla="*/ 192 w 2167"/>
              <a:gd name="T73" fmla="*/ 743 h 1380"/>
              <a:gd name="T74" fmla="*/ 247 w 2167"/>
              <a:gd name="T75" fmla="*/ 638 h 1380"/>
              <a:gd name="T76" fmla="*/ 310 w 2167"/>
              <a:gd name="T77" fmla="*/ 564 h 1380"/>
              <a:gd name="T78" fmla="*/ 406 w 2167"/>
              <a:gd name="T79" fmla="*/ 471 h 1380"/>
              <a:gd name="T80" fmla="*/ 485 w 2167"/>
              <a:gd name="T81" fmla="*/ 359 h 1380"/>
              <a:gd name="T82" fmla="*/ 486 w 2167"/>
              <a:gd name="T83" fmla="*/ 321 h 1380"/>
              <a:gd name="T84" fmla="*/ 494 w 2167"/>
              <a:gd name="T85" fmla="*/ 243 h 1380"/>
              <a:gd name="T86" fmla="*/ 595 w 2167"/>
              <a:gd name="T87" fmla="*/ 214 h 1380"/>
              <a:gd name="T88" fmla="*/ 684 w 2167"/>
              <a:gd name="T89" fmla="*/ 256 h 1380"/>
              <a:gd name="T90" fmla="*/ 772 w 2167"/>
              <a:gd name="T91" fmla="*/ 161 h 1380"/>
              <a:gd name="T92" fmla="*/ 845 w 2167"/>
              <a:gd name="T93" fmla="*/ 188 h 1380"/>
              <a:gd name="T94" fmla="*/ 946 w 2167"/>
              <a:gd name="T95" fmla="*/ 161 h 1380"/>
              <a:gd name="T96" fmla="*/ 1047 w 2167"/>
              <a:gd name="T97" fmla="*/ 149 h 1380"/>
              <a:gd name="T98" fmla="*/ 1161 w 2167"/>
              <a:gd name="T99" fmla="*/ 165 h 1380"/>
              <a:gd name="T100" fmla="*/ 1198 w 2167"/>
              <a:gd name="T101" fmla="*/ 43 h 1380"/>
              <a:gd name="T102" fmla="*/ 1258 w 2167"/>
              <a:gd name="T103" fmla="*/ 1 h 1380"/>
              <a:gd name="T104" fmla="*/ 1334 w 2167"/>
              <a:gd name="T105" fmla="*/ 78 h 1380"/>
              <a:gd name="T106" fmla="*/ 1431 w 2167"/>
              <a:gd name="T107" fmla="*/ 94 h 1380"/>
              <a:gd name="T108" fmla="*/ 1551 w 2167"/>
              <a:gd name="T109" fmla="*/ 100 h 1380"/>
              <a:gd name="T110" fmla="*/ 1706 w 2167"/>
              <a:gd name="T111" fmla="*/ 188 h 1380"/>
              <a:gd name="T112" fmla="*/ 1763 w 2167"/>
              <a:gd name="T113" fmla="*/ 278 h 1380"/>
              <a:gd name="T114" fmla="*/ 1692 w 2167"/>
              <a:gd name="T115" fmla="*/ 450 h 1380"/>
              <a:gd name="T116" fmla="*/ 1780 w 2167"/>
              <a:gd name="T117" fmla="*/ 519 h 1380"/>
              <a:gd name="T118" fmla="*/ 1875 w 2167"/>
              <a:gd name="T119" fmla="*/ 594 h 1380"/>
              <a:gd name="T120" fmla="*/ 1993 w 2167"/>
              <a:gd name="T121" fmla="*/ 640 h 1380"/>
              <a:gd name="T122" fmla="*/ 2111 w 2167"/>
              <a:gd name="T123" fmla="*/ 546 h 1380"/>
              <a:gd name="T124" fmla="*/ 2145 w 2167"/>
              <a:gd name="T125" fmla="*/ 662 h 13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167"/>
              <a:gd name="T190" fmla="*/ 0 h 1380"/>
              <a:gd name="T191" fmla="*/ 2167 w 2167"/>
              <a:gd name="T192" fmla="*/ 1380 h 13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167" h="1380">
                <a:moveTo>
                  <a:pt x="2126" y="760"/>
                </a:moveTo>
                <a:lnTo>
                  <a:pt x="2123" y="762"/>
                </a:lnTo>
                <a:lnTo>
                  <a:pt x="2119" y="769"/>
                </a:lnTo>
                <a:lnTo>
                  <a:pt x="2120" y="779"/>
                </a:lnTo>
                <a:lnTo>
                  <a:pt x="2129" y="789"/>
                </a:lnTo>
                <a:lnTo>
                  <a:pt x="2136" y="792"/>
                </a:lnTo>
                <a:lnTo>
                  <a:pt x="2143" y="796"/>
                </a:lnTo>
                <a:lnTo>
                  <a:pt x="2149" y="798"/>
                </a:lnTo>
                <a:lnTo>
                  <a:pt x="2154" y="800"/>
                </a:lnTo>
                <a:lnTo>
                  <a:pt x="2159" y="804"/>
                </a:lnTo>
                <a:lnTo>
                  <a:pt x="2164" y="807"/>
                </a:lnTo>
                <a:lnTo>
                  <a:pt x="2166" y="813"/>
                </a:lnTo>
                <a:lnTo>
                  <a:pt x="2167" y="819"/>
                </a:lnTo>
                <a:lnTo>
                  <a:pt x="2167" y="820"/>
                </a:lnTo>
                <a:lnTo>
                  <a:pt x="2167" y="821"/>
                </a:lnTo>
                <a:lnTo>
                  <a:pt x="2167" y="822"/>
                </a:lnTo>
                <a:lnTo>
                  <a:pt x="2166" y="823"/>
                </a:lnTo>
                <a:lnTo>
                  <a:pt x="2166" y="825"/>
                </a:lnTo>
                <a:lnTo>
                  <a:pt x="2166" y="826"/>
                </a:lnTo>
                <a:lnTo>
                  <a:pt x="2166" y="827"/>
                </a:lnTo>
                <a:lnTo>
                  <a:pt x="2166" y="828"/>
                </a:lnTo>
                <a:lnTo>
                  <a:pt x="2161" y="849"/>
                </a:lnTo>
                <a:lnTo>
                  <a:pt x="2155" y="867"/>
                </a:lnTo>
                <a:lnTo>
                  <a:pt x="2147" y="880"/>
                </a:lnTo>
                <a:lnTo>
                  <a:pt x="2138" y="885"/>
                </a:lnTo>
                <a:lnTo>
                  <a:pt x="2132" y="885"/>
                </a:lnTo>
                <a:lnTo>
                  <a:pt x="2127" y="883"/>
                </a:lnTo>
                <a:lnTo>
                  <a:pt x="2121" y="882"/>
                </a:lnTo>
                <a:lnTo>
                  <a:pt x="2115" y="880"/>
                </a:lnTo>
                <a:lnTo>
                  <a:pt x="2109" y="879"/>
                </a:lnTo>
                <a:lnTo>
                  <a:pt x="2102" y="878"/>
                </a:lnTo>
                <a:lnTo>
                  <a:pt x="2096" y="878"/>
                </a:lnTo>
                <a:lnTo>
                  <a:pt x="2089" y="878"/>
                </a:lnTo>
                <a:lnTo>
                  <a:pt x="2082" y="879"/>
                </a:lnTo>
                <a:lnTo>
                  <a:pt x="2075" y="878"/>
                </a:lnTo>
                <a:lnTo>
                  <a:pt x="2070" y="876"/>
                </a:lnTo>
                <a:lnTo>
                  <a:pt x="2067" y="875"/>
                </a:lnTo>
                <a:lnTo>
                  <a:pt x="2063" y="873"/>
                </a:lnTo>
                <a:lnTo>
                  <a:pt x="2060" y="871"/>
                </a:lnTo>
                <a:lnTo>
                  <a:pt x="2058" y="868"/>
                </a:lnTo>
                <a:lnTo>
                  <a:pt x="2054" y="866"/>
                </a:lnTo>
                <a:lnTo>
                  <a:pt x="2046" y="861"/>
                </a:lnTo>
                <a:lnTo>
                  <a:pt x="2037" y="856"/>
                </a:lnTo>
                <a:lnTo>
                  <a:pt x="2030" y="850"/>
                </a:lnTo>
                <a:lnTo>
                  <a:pt x="2026" y="844"/>
                </a:lnTo>
                <a:lnTo>
                  <a:pt x="2026" y="837"/>
                </a:lnTo>
                <a:lnTo>
                  <a:pt x="2024" y="833"/>
                </a:lnTo>
                <a:lnTo>
                  <a:pt x="2018" y="829"/>
                </a:lnTo>
                <a:lnTo>
                  <a:pt x="2008" y="832"/>
                </a:lnTo>
                <a:lnTo>
                  <a:pt x="2001" y="835"/>
                </a:lnTo>
                <a:lnTo>
                  <a:pt x="1993" y="840"/>
                </a:lnTo>
                <a:lnTo>
                  <a:pt x="1986" y="845"/>
                </a:lnTo>
                <a:lnTo>
                  <a:pt x="1979" y="852"/>
                </a:lnTo>
                <a:lnTo>
                  <a:pt x="1972" y="861"/>
                </a:lnTo>
                <a:lnTo>
                  <a:pt x="1968" y="871"/>
                </a:lnTo>
                <a:lnTo>
                  <a:pt x="1964" y="880"/>
                </a:lnTo>
                <a:lnTo>
                  <a:pt x="1962" y="890"/>
                </a:lnTo>
                <a:lnTo>
                  <a:pt x="1960" y="910"/>
                </a:lnTo>
                <a:lnTo>
                  <a:pt x="1960" y="925"/>
                </a:lnTo>
                <a:lnTo>
                  <a:pt x="1965" y="936"/>
                </a:lnTo>
                <a:lnTo>
                  <a:pt x="1977" y="940"/>
                </a:lnTo>
                <a:lnTo>
                  <a:pt x="1990" y="939"/>
                </a:lnTo>
                <a:lnTo>
                  <a:pt x="1996" y="940"/>
                </a:lnTo>
                <a:lnTo>
                  <a:pt x="2001" y="943"/>
                </a:lnTo>
                <a:lnTo>
                  <a:pt x="2008" y="955"/>
                </a:lnTo>
                <a:lnTo>
                  <a:pt x="2014" y="970"/>
                </a:lnTo>
                <a:lnTo>
                  <a:pt x="2011" y="980"/>
                </a:lnTo>
                <a:lnTo>
                  <a:pt x="2006" y="988"/>
                </a:lnTo>
                <a:lnTo>
                  <a:pt x="1999" y="992"/>
                </a:lnTo>
                <a:lnTo>
                  <a:pt x="1993" y="997"/>
                </a:lnTo>
                <a:lnTo>
                  <a:pt x="1991" y="1009"/>
                </a:lnTo>
                <a:lnTo>
                  <a:pt x="1994" y="1022"/>
                </a:lnTo>
                <a:lnTo>
                  <a:pt x="2002" y="1032"/>
                </a:lnTo>
                <a:lnTo>
                  <a:pt x="2013" y="1045"/>
                </a:lnTo>
                <a:lnTo>
                  <a:pt x="2020" y="1060"/>
                </a:lnTo>
                <a:lnTo>
                  <a:pt x="2020" y="1076"/>
                </a:lnTo>
                <a:lnTo>
                  <a:pt x="2011" y="1088"/>
                </a:lnTo>
                <a:lnTo>
                  <a:pt x="2005" y="1092"/>
                </a:lnTo>
                <a:lnTo>
                  <a:pt x="1998" y="1094"/>
                </a:lnTo>
                <a:lnTo>
                  <a:pt x="1991" y="1096"/>
                </a:lnTo>
                <a:lnTo>
                  <a:pt x="1985" y="1098"/>
                </a:lnTo>
                <a:lnTo>
                  <a:pt x="1979" y="1098"/>
                </a:lnTo>
                <a:lnTo>
                  <a:pt x="1975" y="1098"/>
                </a:lnTo>
                <a:lnTo>
                  <a:pt x="1972" y="1098"/>
                </a:lnTo>
                <a:lnTo>
                  <a:pt x="1971" y="1098"/>
                </a:lnTo>
                <a:lnTo>
                  <a:pt x="1967" y="1098"/>
                </a:lnTo>
                <a:lnTo>
                  <a:pt x="1956" y="1098"/>
                </a:lnTo>
                <a:lnTo>
                  <a:pt x="1945" y="1094"/>
                </a:lnTo>
                <a:lnTo>
                  <a:pt x="1940" y="1088"/>
                </a:lnTo>
                <a:lnTo>
                  <a:pt x="1941" y="1080"/>
                </a:lnTo>
                <a:lnTo>
                  <a:pt x="1942" y="1073"/>
                </a:lnTo>
                <a:lnTo>
                  <a:pt x="1941" y="1066"/>
                </a:lnTo>
                <a:lnTo>
                  <a:pt x="1934" y="1060"/>
                </a:lnTo>
                <a:lnTo>
                  <a:pt x="1925" y="1052"/>
                </a:lnTo>
                <a:lnTo>
                  <a:pt x="1919" y="1042"/>
                </a:lnTo>
                <a:lnTo>
                  <a:pt x="1917" y="1034"/>
                </a:lnTo>
                <a:lnTo>
                  <a:pt x="1916" y="1026"/>
                </a:lnTo>
                <a:lnTo>
                  <a:pt x="1916" y="1019"/>
                </a:lnTo>
                <a:lnTo>
                  <a:pt x="1915" y="1013"/>
                </a:lnTo>
                <a:lnTo>
                  <a:pt x="1911" y="1008"/>
                </a:lnTo>
                <a:lnTo>
                  <a:pt x="1903" y="1004"/>
                </a:lnTo>
                <a:lnTo>
                  <a:pt x="1897" y="1004"/>
                </a:lnTo>
                <a:lnTo>
                  <a:pt x="1892" y="1004"/>
                </a:lnTo>
                <a:lnTo>
                  <a:pt x="1886" y="1005"/>
                </a:lnTo>
                <a:lnTo>
                  <a:pt x="1880" y="1007"/>
                </a:lnTo>
                <a:lnTo>
                  <a:pt x="1874" y="1008"/>
                </a:lnTo>
                <a:lnTo>
                  <a:pt x="1870" y="1009"/>
                </a:lnTo>
                <a:lnTo>
                  <a:pt x="1864" y="1009"/>
                </a:lnTo>
                <a:lnTo>
                  <a:pt x="1859" y="1008"/>
                </a:lnTo>
                <a:lnTo>
                  <a:pt x="1855" y="1008"/>
                </a:lnTo>
                <a:lnTo>
                  <a:pt x="1850" y="1009"/>
                </a:lnTo>
                <a:lnTo>
                  <a:pt x="1846" y="1012"/>
                </a:lnTo>
                <a:lnTo>
                  <a:pt x="1841" y="1015"/>
                </a:lnTo>
                <a:lnTo>
                  <a:pt x="1836" y="1018"/>
                </a:lnTo>
                <a:lnTo>
                  <a:pt x="1831" y="1022"/>
                </a:lnTo>
                <a:lnTo>
                  <a:pt x="1825" y="1023"/>
                </a:lnTo>
                <a:lnTo>
                  <a:pt x="1819" y="1023"/>
                </a:lnTo>
                <a:lnTo>
                  <a:pt x="1810" y="1023"/>
                </a:lnTo>
                <a:lnTo>
                  <a:pt x="1806" y="1025"/>
                </a:lnTo>
                <a:lnTo>
                  <a:pt x="1804" y="1031"/>
                </a:lnTo>
                <a:lnTo>
                  <a:pt x="1804" y="1039"/>
                </a:lnTo>
                <a:lnTo>
                  <a:pt x="1803" y="1047"/>
                </a:lnTo>
                <a:lnTo>
                  <a:pt x="1799" y="1053"/>
                </a:lnTo>
                <a:lnTo>
                  <a:pt x="1793" y="1056"/>
                </a:lnTo>
                <a:lnTo>
                  <a:pt x="1782" y="1057"/>
                </a:lnTo>
                <a:lnTo>
                  <a:pt x="1775" y="1057"/>
                </a:lnTo>
                <a:lnTo>
                  <a:pt x="1768" y="1056"/>
                </a:lnTo>
                <a:lnTo>
                  <a:pt x="1759" y="1056"/>
                </a:lnTo>
                <a:lnTo>
                  <a:pt x="1750" y="1055"/>
                </a:lnTo>
                <a:lnTo>
                  <a:pt x="1741" y="1054"/>
                </a:lnTo>
                <a:lnTo>
                  <a:pt x="1731" y="1053"/>
                </a:lnTo>
                <a:lnTo>
                  <a:pt x="1725" y="1052"/>
                </a:lnTo>
                <a:lnTo>
                  <a:pt x="1718" y="1050"/>
                </a:lnTo>
                <a:lnTo>
                  <a:pt x="1712" y="1048"/>
                </a:lnTo>
                <a:lnTo>
                  <a:pt x="1706" y="1045"/>
                </a:lnTo>
                <a:lnTo>
                  <a:pt x="1700" y="1040"/>
                </a:lnTo>
                <a:lnTo>
                  <a:pt x="1696" y="1034"/>
                </a:lnTo>
                <a:lnTo>
                  <a:pt x="1690" y="1028"/>
                </a:lnTo>
                <a:lnTo>
                  <a:pt x="1685" y="1022"/>
                </a:lnTo>
                <a:lnTo>
                  <a:pt x="1681" y="1016"/>
                </a:lnTo>
                <a:lnTo>
                  <a:pt x="1677" y="1011"/>
                </a:lnTo>
                <a:lnTo>
                  <a:pt x="1669" y="1000"/>
                </a:lnTo>
                <a:lnTo>
                  <a:pt x="1661" y="985"/>
                </a:lnTo>
                <a:lnTo>
                  <a:pt x="1655" y="970"/>
                </a:lnTo>
                <a:lnTo>
                  <a:pt x="1655" y="955"/>
                </a:lnTo>
                <a:lnTo>
                  <a:pt x="1658" y="942"/>
                </a:lnTo>
                <a:lnTo>
                  <a:pt x="1657" y="933"/>
                </a:lnTo>
                <a:lnTo>
                  <a:pt x="1653" y="929"/>
                </a:lnTo>
                <a:lnTo>
                  <a:pt x="1650" y="934"/>
                </a:lnTo>
                <a:lnTo>
                  <a:pt x="1644" y="939"/>
                </a:lnTo>
                <a:lnTo>
                  <a:pt x="1636" y="939"/>
                </a:lnTo>
                <a:lnTo>
                  <a:pt x="1625" y="934"/>
                </a:lnTo>
                <a:lnTo>
                  <a:pt x="1619" y="927"/>
                </a:lnTo>
                <a:lnTo>
                  <a:pt x="1613" y="923"/>
                </a:lnTo>
                <a:lnTo>
                  <a:pt x="1605" y="920"/>
                </a:lnTo>
                <a:lnTo>
                  <a:pt x="1598" y="924"/>
                </a:lnTo>
                <a:lnTo>
                  <a:pt x="1594" y="931"/>
                </a:lnTo>
                <a:lnTo>
                  <a:pt x="1592" y="940"/>
                </a:lnTo>
                <a:lnTo>
                  <a:pt x="1591" y="949"/>
                </a:lnTo>
                <a:lnTo>
                  <a:pt x="1592" y="959"/>
                </a:lnTo>
                <a:lnTo>
                  <a:pt x="1597" y="971"/>
                </a:lnTo>
                <a:lnTo>
                  <a:pt x="1602" y="986"/>
                </a:lnTo>
                <a:lnTo>
                  <a:pt x="1607" y="1004"/>
                </a:lnTo>
                <a:lnTo>
                  <a:pt x="1608" y="1022"/>
                </a:lnTo>
                <a:lnTo>
                  <a:pt x="1607" y="1035"/>
                </a:lnTo>
                <a:lnTo>
                  <a:pt x="1605" y="1041"/>
                </a:lnTo>
                <a:lnTo>
                  <a:pt x="1601" y="1049"/>
                </a:lnTo>
                <a:lnTo>
                  <a:pt x="1597" y="1058"/>
                </a:lnTo>
                <a:lnTo>
                  <a:pt x="1592" y="1069"/>
                </a:lnTo>
                <a:lnTo>
                  <a:pt x="1586" y="1079"/>
                </a:lnTo>
                <a:lnTo>
                  <a:pt x="1582" y="1088"/>
                </a:lnTo>
                <a:lnTo>
                  <a:pt x="1576" y="1096"/>
                </a:lnTo>
                <a:lnTo>
                  <a:pt x="1572" y="1103"/>
                </a:lnTo>
                <a:lnTo>
                  <a:pt x="1569" y="1109"/>
                </a:lnTo>
                <a:lnTo>
                  <a:pt x="1564" y="1115"/>
                </a:lnTo>
                <a:lnTo>
                  <a:pt x="1561" y="1121"/>
                </a:lnTo>
                <a:lnTo>
                  <a:pt x="1556" y="1126"/>
                </a:lnTo>
                <a:lnTo>
                  <a:pt x="1552" y="1132"/>
                </a:lnTo>
                <a:lnTo>
                  <a:pt x="1546" y="1138"/>
                </a:lnTo>
                <a:lnTo>
                  <a:pt x="1541" y="1142"/>
                </a:lnTo>
                <a:lnTo>
                  <a:pt x="1536" y="1147"/>
                </a:lnTo>
                <a:lnTo>
                  <a:pt x="1524" y="1154"/>
                </a:lnTo>
                <a:lnTo>
                  <a:pt x="1516" y="1160"/>
                </a:lnTo>
                <a:lnTo>
                  <a:pt x="1510" y="1168"/>
                </a:lnTo>
                <a:lnTo>
                  <a:pt x="1508" y="1177"/>
                </a:lnTo>
                <a:lnTo>
                  <a:pt x="1507" y="1191"/>
                </a:lnTo>
                <a:lnTo>
                  <a:pt x="1502" y="1207"/>
                </a:lnTo>
                <a:lnTo>
                  <a:pt x="1495" y="1220"/>
                </a:lnTo>
                <a:lnTo>
                  <a:pt x="1486" y="1227"/>
                </a:lnTo>
                <a:lnTo>
                  <a:pt x="1479" y="1231"/>
                </a:lnTo>
                <a:lnTo>
                  <a:pt x="1478" y="1239"/>
                </a:lnTo>
                <a:lnTo>
                  <a:pt x="1479" y="1245"/>
                </a:lnTo>
                <a:lnTo>
                  <a:pt x="1480" y="1248"/>
                </a:lnTo>
                <a:lnTo>
                  <a:pt x="1478" y="1252"/>
                </a:lnTo>
                <a:lnTo>
                  <a:pt x="1473" y="1260"/>
                </a:lnTo>
                <a:lnTo>
                  <a:pt x="1472" y="1271"/>
                </a:lnTo>
                <a:lnTo>
                  <a:pt x="1477" y="1285"/>
                </a:lnTo>
                <a:lnTo>
                  <a:pt x="1484" y="1296"/>
                </a:lnTo>
                <a:lnTo>
                  <a:pt x="1488" y="1303"/>
                </a:lnTo>
                <a:lnTo>
                  <a:pt x="1492" y="1306"/>
                </a:lnTo>
                <a:lnTo>
                  <a:pt x="1499" y="1311"/>
                </a:lnTo>
                <a:lnTo>
                  <a:pt x="1504" y="1315"/>
                </a:lnTo>
                <a:lnTo>
                  <a:pt x="1506" y="1320"/>
                </a:lnTo>
                <a:lnTo>
                  <a:pt x="1503" y="1326"/>
                </a:lnTo>
                <a:lnTo>
                  <a:pt x="1499" y="1331"/>
                </a:lnTo>
                <a:lnTo>
                  <a:pt x="1493" y="1341"/>
                </a:lnTo>
                <a:lnTo>
                  <a:pt x="1487" y="1351"/>
                </a:lnTo>
                <a:lnTo>
                  <a:pt x="1481" y="1362"/>
                </a:lnTo>
                <a:lnTo>
                  <a:pt x="1477" y="1372"/>
                </a:lnTo>
                <a:lnTo>
                  <a:pt x="1472" y="1377"/>
                </a:lnTo>
                <a:lnTo>
                  <a:pt x="1468" y="1380"/>
                </a:lnTo>
                <a:lnTo>
                  <a:pt x="1462" y="1380"/>
                </a:lnTo>
                <a:lnTo>
                  <a:pt x="1451" y="1379"/>
                </a:lnTo>
                <a:lnTo>
                  <a:pt x="1446" y="1377"/>
                </a:lnTo>
                <a:lnTo>
                  <a:pt x="1439" y="1375"/>
                </a:lnTo>
                <a:lnTo>
                  <a:pt x="1432" y="1374"/>
                </a:lnTo>
                <a:lnTo>
                  <a:pt x="1425" y="1373"/>
                </a:lnTo>
                <a:lnTo>
                  <a:pt x="1418" y="1372"/>
                </a:lnTo>
                <a:lnTo>
                  <a:pt x="1413" y="1371"/>
                </a:lnTo>
                <a:lnTo>
                  <a:pt x="1410" y="1369"/>
                </a:lnTo>
                <a:lnTo>
                  <a:pt x="1409" y="1369"/>
                </a:lnTo>
                <a:lnTo>
                  <a:pt x="1409" y="1367"/>
                </a:lnTo>
                <a:lnTo>
                  <a:pt x="1409" y="1361"/>
                </a:lnTo>
                <a:lnTo>
                  <a:pt x="1409" y="1352"/>
                </a:lnTo>
                <a:lnTo>
                  <a:pt x="1409" y="1341"/>
                </a:lnTo>
                <a:lnTo>
                  <a:pt x="1408" y="1328"/>
                </a:lnTo>
                <a:lnTo>
                  <a:pt x="1403" y="1314"/>
                </a:lnTo>
                <a:lnTo>
                  <a:pt x="1397" y="1301"/>
                </a:lnTo>
                <a:lnTo>
                  <a:pt x="1390" y="1292"/>
                </a:lnTo>
                <a:lnTo>
                  <a:pt x="1386" y="1288"/>
                </a:lnTo>
                <a:lnTo>
                  <a:pt x="1380" y="1283"/>
                </a:lnTo>
                <a:lnTo>
                  <a:pt x="1373" y="1278"/>
                </a:lnTo>
                <a:lnTo>
                  <a:pt x="1367" y="1273"/>
                </a:lnTo>
                <a:lnTo>
                  <a:pt x="1360" y="1268"/>
                </a:lnTo>
                <a:lnTo>
                  <a:pt x="1355" y="1265"/>
                </a:lnTo>
                <a:lnTo>
                  <a:pt x="1351" y="1262"/>
                </a:lnTo>
                <a:lnTo>
                  <a:pt x="1350" y="1261"/>
                </a:lnTo>
                <a:lnTo>
                  <a:pt x="1349" y="1259"/>
                </a:lnTo>
                <a:lnTo>
                  <a:pt x="1349" y="1252"/>
                </a:lnTo>
                <a:lnTo>
                  <a:pt x="1350" y="1243"/>
                </a:lnTo>
                <a:lnTo>
                  <a:pt x="1356" y="1233"/>
                </a:lnTo>
                <a:lnTo>
                  <a:pt x="1365" y="1223"/>
                </a:lnTo>
                <a:lnTo>
                  <a:pt x="1371" y="1213"/>
                </a:lnTo>
                <a:lnTo>
                  <a:pt x="1372" y="1206"/>
                </a:lnTo>
                <a:lnTo>
                  <a:pt x="1365" y="1202"/>
                </a:lnTo>
                <a:lnTo>
                  <a:pt x="1359" y="1202"/>
                </a:lnTo>
                <a:lnTo>
                  <a:pt x="1354" y="1201"/>
                </a:lnTo>
                <a:lnTo>
                  <a:pt x="1348" y="1199"/>
                </a:lnTo>
                <a:lnTo>
                  <a:pt x="1343" y="1198"/>
                </a:lnTo>
                <a:lnTo>
                  <a:pt x="1337" y="1197"/>
                </a:lnTo>
                <a:lnTo>
                  <a:pt x="1333" y="1194"/>
                </a:lnTo>
                <a:lnTo>
                  <a:pt x="1327" y="1193"/>
                </a:lnTo>
                <a:lnTo>
                  <a:pt x="1322" y="1193"/>
                </a:lnTo>
                <a:lnTo>
                  <a:pt x="1317" y="1192"/>
                </a:lnTo>
                <a:lnTo>
                  <a:pt x="1311" y="1191"/>
                </a:lnTo>
                <a:lnTo>
                  <a:pt x="1304" y="1187"/>
                </a:lnTo>
                <a:lnTo>
                  <a:pt x="1296" y="1184"/>
                </a:lnTo>
                <a:lnTo>
                  <a:pt x="1288" y="1180"/>
                </a:lnTo>
                <a:lnTo>
                  <a:pt x="1281" y="1177"/>
                </a:lnTo>
                <a:lnTo>
                  <a:pt x="1275" y="1174"/>
                </a:lnTo>
                <a:lnTo>
                  <a:pt x="1269" y="1171"/>
                </a:lnTo>
                <a:lnTo>
                  <a:pt x="1265" y="1168"/>
                </a:lnTo>
                <a:lnTo>
                  <a:pt x="1259" y="1161"/>
                </a:lnTo>
                <a:lnTo>
                  <a:pt x="1253" y="1153"/>
                </a:lnTo>
                <a:lnTo>
                  <a:pt x="1248" y="1144"/>
                </a:lnTo>
                <a:lnTo>
                  <a:pt x="1242" y="1133"/>
                </a:lnTo>
                <a:lnTo>
                  <a:pt x="1235" y="1125"/>
                </a:lnTo>
                <a:lnTo>
                  <a:pt x="1229" y="1117"/>
                </a:lnTo>
                <a:lnTo>
                  <a:pt x="1223" y="1113"/>
                </a:lnTo>
                <a:lnTo>
                  <a:pt x="1218" y="1109"/>
                </a:lnTo>
                <a:lnTo>
                  <a:pt x="1211" y="1107"/>
                </a:lnTo>
                <a:lnTo>
                  <a:pt x="1205" y="1103"/>
                </a:lnTo>
                <a:lnTo>
                  <a:pt x="1199" y="1100"/>
                </a:lnTo>
                <a:lnTo>
                  <a:pt x="1193" y="1096"/>
                </a:lnTo>
                <a:lnTo>
                  <a:pt x="1189" y="1093"/>
                </a:lnTo>
                <a:lnTo>
                  <a:pt x="1185" y="1087"/>
                </a:lnTo>
                <a:lnTo>
                  <a:pt x="1183" y="1081"/>
                </a:lnTo>
                <a:lnTo>
                  <a:pt x="1181" y="1068"/>
                </a:lnTo>
                <a:lnTo>
                  <a:pt x="1178" y="1054"/>
                </a:lnTo>
                <a:lnTo>
                  <a:pt x="1178" y="1040"/>
                </a:lnTo>
                <a:lnTo>
                  <a:pt x="1181" y="1026"/>
                </a:lnTo>
                <a:lnTo>
                  <a:pt x="1185" y="1012"/>
                </a:lnTo>
                <a:lnTo>
                  <a:pt x="1189" y="1000"/>
                </a:lnTo>
                <a:lnTo>
                  <a:pt x="1191" y="987"/>
                </a:lnTo>
                <a:lnTo>
                  <a:pt x="1192" y="973"/>
                </a:lnTo>
                <a:lnTo>
                  <a:pt x="1190" y="962"/>
                </a:lnTo>
                <a:lnTo>
                  <a:pt x="1185" y="955"/>
                </a:lnTo>
                <a:lnTo>
                  <a:pt x="1178" y="951"/>
                </a:lnTo>
                <a:lnTo>
                  <a:pt x="1171" y="952"/>
                </a:lnTo>
                <a:lnTo>
                  <a:pt x="1162" y="956"/>
                </a:lnTo>
                <a:lnTo>
                  <a:pt x="1152" y="961"/>
                </a:lnTo>
                <a:lnTo>
                  <a:pt x="1145" y="967"/>
                </a:lnTo>
                <a:lnTo>
                  <a:pt x="1143" y="977"/>
                </a:lnTo>
                <a:lnTo>
                  <a:pt x="1144" y="986"/>
                </a:lnTo>
                <a:lnTo>
                  <a:pt x="1143" y="995"/>
                </a:lnTo>
                <a:lnTo>
                  <a:pt x="1137" y="1002"/>
                </a:lnTo>
                <a:lnTo>
                  <a:pt x="1128" y="1008"/>
                </a:lnTo>
                <a:lnTo>
                  <a:pt x="1122" y="1010"/>
                </a:lnTo>
                <a:lnTo>
                  <a:pt x="1116" y="1013"/>
                </a:lnTo>
                <a:lnTo>
                  <a:pt x="1110" y="1018"/>
                </a:lnTo>
                <a:lnTo>
                  <a:pt x="1105" y="1023"/>
                </a:lnTo>
                <a:lnTo>
                  <a:pt x="1100" y="1027"/>
                </a:lnTo>
                <a:lnTo>
                  <a:pt x="1095" y="1032"/>
                </a:lnTo>
                <a:lnTo>
                  <a:pt x="1093" y="1037"/>
                </a:lnTo>
                <a:lnTo>
                  <a:pt x="1091" y="1041"/>
                </a:lnTo>
                <a:lnTo>
                  <a:pt x="1086" y="1049"/>
                </a:lnTo>
                <a:lnTo>
                  <a:pt x="1079" y="1055"/>
                </a:lnTo>
                <a:lnTo>
                  <a:pt x="1069" y="1058"/>
                </a:lnTo>
                <a:lnTo>
                  <a:pt x="1060" y="1060"/>
                </a:lnTo>
                <a:lnTo>
                  <a:pt x="1052" y="1061"/>
                </a:lnTo>
                <a:lnTo>
                  <a:pt x="1045" y="1065"/>
                </a:lnTo>
                <a:lnTo>
                  <a:pt x="1044" y="1072"/>
                </a:lnTo>
                <a:lnTo>
                  <a:pt x="1047" y="1081"/>
                </a:lnTo>
                <a:lnTo>
                  <a:pt x="1052" y="1088"/>
                </a:lnTo>
                <a:lnTo>
                  <a:pt x="1056" y="1095"/>
                </a:lnTo>
                <a:lnTo>
                  <a:pt x="1062" y="1102"/>
                </a:lnTo>
                <a:lnTo>
                  <a:pt x="1067" y="1109"/>
                </a:lnTo>
                <a:lnTo>
                  <a:pt x="1071" y="1116"/>
                </a:lnTo>
                <a:lnTo>
                  <a:pt x="1074" y="1123"/>
                </a:lnTo>
                <a:lnTo>
                  <a:pt x="1075" y="1129"/>
                </a:lnTo>
                <a:lnTo>
                  <a:pt x="1072" y="1134"/>
                </a:lnTo>
                <a:lnTo>
                  <a:pt x="1065" y="1144"/>
                </a:lnTo>
                <a:lnTo>
                  <a:pt x="1057" y="1153"/>
                </a:lnTo>
                <a:lnTo>
                  <a:pt x="1052" y="1162"/>
                </a:lnTo>
                <a:lnTo>
                  <a:pt x="1047" y="1171"/>
                </a:lnTo>
                <a:lnTo>
                  <a:pt x="1045" y="1180"/>
                </a:lnTo>
                <a:lnTo>
                  <a:pt x="1040" y="1186"/>
                </a:lnTo>
                <a:lnTo>
                  <a:pt x="1034" y="1190"/>
                </a:lnTo>
                <a:lnTo>
                  <a:pt x="1026" y="1190"/>
                </a:lnTo>
                <a:lnTo>
                  <a:pt x="1016" y="1190"/>
                </a:lnTo>
                <a:lnTo>
                  <a:pt x="1008" y="1193"/>
                </a:lnTo>
                <a:lnTo>
                  <a:pt x="1003" y="1202"/>
                </a:lnTo>
                <a:lnTo>
                  <a:pt x="1007" y="1215"/>
                </a:lnTo>
                <a:lnTo>
                  <a:pt x="1003" y="1218"/>
                </a:lnTo>
                <a:lnTo>
                  <a:pt x="997" y="1229"/>
                </a:lnTo>
                <a:lnTo>
                  <a:pt x="991" y="1240"/>
                </a:lnTo>
                <a:lnTo>
                  <a:pt x="986" y="1252"/>
                </a:lnTo>
                <a:lnTo>
                  <a:pt x="981" y="1260"/>
                </a:lnTo>
                <a:lnTo>
                  <a:pt x="976" y="1265"/>
                </a:lnTo>
                <a:lnTo>
                  <a:pt x="968" y="1268"/>
                </a:lnTo>
                <a:lnTo>
                  <a:pt x="958" y="1267"/>
                </a:lnTo>
                <a:lnTo>
                  <a:pt x="949" y="1265"/>
                </a:lnTo>
                <a:lnTo>
                  <a:pt x="941" y="1265"/>
                </a:lnTo>
                <a:lnTo>
                  <a:pt x="936" y="1269"/>
                </a:lnTo>
                <a:lnTo>
                  <a:pt x="934" y="1280"/>
                </a:lnTo>
                <a:lnTo>
                  <a:pt x="932" y="1292"/>
                </a:lnTo>
                <a:lnTo>
                  <a:pt x="925" y="1303"/>
                </a:lnTo>
                <a:lnTo>
                  <a:pt x="915" y="1309"/>
                </a:lnTo>
                <a:lnTo>
                  <a:pt x="901" y="1313"/>
                </a:lnTo>
                <a:lnTo>
                  <a:pt x="894" y="1314"/>
                </a:lnTo>
                <a:lnTo>
                  <a:pt x="887" y="1314"/>
                </a:lnTo>
                <a:lnTo>
                  <a:pt x="882" y="1314"/>
                </a:lnTo>
                <a:lnTo>
                  <a:pt x="878" y="1313"/>
                </a:lnTo>
                <a:lnTo>
                  <a:pt x="874" y="1312"/>
                </a:lnTo>
                <a:lnTo>
                  <a:pt x="870" y="1312"/>
                </a:lnTo>
                <a:lnTo>
                  <a:pt x="865" y="1311"/>
                </a:lnTo>
                <a:lnTo>
                  <a:pt x="860" y="1311"/>
                </a:lnTo>
                <a:lnTo>
                  <a:pt x="850" y="1309"/>
                </a:lnTo>
                <a:lnTo>
                  <a:pt x="841" y="1307"/>
                </a:lnTo>
                <a:lnTo>
                  <a:pt x="834" y="1304"/>
                </a:lnTo>
                <a:lnTo>
                  <a:pt x="829" y="1298"/>
                </a:lnTo>
                <a:lnTo>
                  <a:pt x="825" y="1292"/>
                </a:lnTo>
                <a:lnTo>
                  <a:pt x="819" y="1288"/>
                </a:lnTo>
                <a:lnTo>
                  <a:pt x="812" y="1286"/>
                </a:lnTo>
                <a:lnTo>
                  <a:pt x="805" y="1285"/>
                </a:lnTo>
                <a:lnTo>
                  <a:pt x="800" y="1285"/>
                </a:lnTo>
                <a:lnTo>
                  <a:pt x="797" y="1283"/>
                </a:lnTo>
                <a:lnTo>
                  <a:pt x="792" y="1282"/>
                </a:lnTo>
                <a:lnTo>
                  <a:pt x="788" y="1280"/>
                </a:lnTo>
                <a:lnTo>
                  <a:pt x="783" y="1277"/>
                </a:lnTo>
                <a:lnTo>
                  <a:pt x="779" y="1276"/>
                </a:lnTo>
                <a:lnTo>
                  <a:pt x="774" y="1275"/>
                </a:lnTo>
                <a:lnTo>
                  <a:pt x="771" y="1276"/>
                </a:lnTo>
                <a:lnTo>
                  <a:pt x="761" y="1280"/>
                </a:lnTo>
                <a:lnTo>
                  <a:pt x="752" y="1284"/>
                </a:lnTo>
                <a:lnTo>
                  <a:pt x="743" y="1288"/>
                </a:lnTo>
                <a:lnTo>
                  <a:pt x="739" y="1289"/>
                </a:lnTo>
                <a:lnTo>
                  <a:pt x="738" y="1292"/>
                </a:lnTo>
                <a:lnTo>
                  <a:pt x="734" y="1299"/>
                </a:lnTo>
                <a:lnTo>
                  <a:pt x="727" y="1307"/>
                </a:lnTo>
                <a:lnTo>
                  <a:pt x="718" y="1313"/>
                </a:lnTo>
                <a:lnTo>
                  <a:pt x="713" y="1315"/>
                </a:lnTo>
                <a:lnTo>
                  <a:pt x="708" y="1319"/>
                </a:lnTo>
                <a:lnTo>
                  <a:pt x="703" y="1321"/>
                </a:lnTo>
                <a:lnTo>
                  <a:pt x="697" y="1324"/>
                </a:lnTo>
                <a:lnTo>
                  <a:pt x="691" y="1326"/>
                </a:lnTo>
                <a:lnTo>
                  <a:pt x="685" y="1327"/>
                </a:lnTo>
                <a:lnTo>
                  <a:pt x="678" y="1327"/>
                </a:lnTo>
                <a:lnTo>
                  <a:pt x="671" y="1326"/>
                </a:lnTo>
                <a:lnTo>
                  <a:pt x="665" y="1324"/>
                </a:lnTo>
                <a:lnTo>
                  <a:pt x="659" y="1323"/>
                </a:lnTo>
                <a:lnTo>
                  <a:pt x="652" y="1324"/>
                </a:lnTo>
                <a:lnTo>
                  <a:pt x="647" y="1326"/>
                </a:lnTo>
                <a:lnTo>
                  <a:pt x="641" y="1328"/>
                </a:lnTo>
                <a:lnTo>
                  <a:pt x="637" y="1330"/>
                </a:lnTo>
                <a:lnTo>
                  <a:pt x="632" y="1333"/>
                </a:lnTo>
                <a:lnTo>
                  <a:pt x="629" y="1335"/>
                </a:lnTo>
                <a:lnTo>
                  <a:pt x="622" y="1339"/>
                </a:lnTo>
                <a:lnTo>
                  <a:pt x="616" y="1344"/>
                </a:lnTo>
                <a:lnTo>
                  <a:pt x="609" y="1349"/>
                </a:lnTo>
                <a:lnTo>
                  <a:pt x="601" y="1353"/>
                </a:lnTo>
                <a:lnTo>
                  <a:pt x="597" y="1356"/>
                </a:lnTo>
                <a:lnTo>
                  <a:pt x="593" y="1356"/>
                </a:lnTo>
                <a:lnTo>
                  <a:pt x="590" y="1356"/>
                </a:lnTo>
                <a:lnTo>
                  <a:pt x="586" y="1354"/>
                </a:lnTo>
                <a:lnTo>
                  <a:pt x="583" y="1353"/>
                </a:lnTo>
                <a:lnTo>
                  <a:pt x="578" y="1353"/>
                </a:lnTo>
                <a:lnTo>
                  <a:pt x="572" y="1352"/>
                </a:lnTo>
                <a:lnTo>
                  <a:pt x="567" y="1353"/>
                </a:lnTo>
                <a:lnTo>
                  <a:pt x="560" y="1353"/>
                </a:lnTo>
                <a:lnTo>
                  <a:pt x="554" y="1352"/>
                </a:lnTo>
                <a:lnTo>
                  <a:pt x="547" y="1350"/>
                </a:lnTo>
                <a:lnTo>
                  <a:pt x="542" y="1345"/>
                </a:lnTo>
                <a:lnTo>
                  <a:pt x="537" y="1341"/>
                </a:lnTo>
                <a:lnTo>
                  <a:pt x="533" y="1336"/>
                </a:lnTo>
                <a:lnTo>
                  <a:pt x="530" y="1330"/>
                </a:lnTo>
                <a:lnTo>
                  <a:pt x="526" y="1326"/>
                </a:lnTo>
                <a:lnTo>
                  <a:pt x="522" y="1316"/>
                </a:lnTo>
                <a:lnTo>
                  <a:pt x="517" y="1308"/>
                </a:lnTo>
                <a:lnTo>
                  <a:pt x="512" y="1300"/>
                </a:lnTo>
                <a:lnTo>
                  <a:pt x="508" y="1292"/>
                </a:lnTo>
                <a:lnTo>
                  <a:pt x="506" y="1285"/>
                </a:lnTo>
                <a:lnTo>
                  <a:pt x="504" y="1281"/>
                </a:lnTo>
                <a:lnTo>
                  <a:pt x="502" y="1275"/>
                </a:lnTo>
                <a:lnTo>
                  <a:pt x="495" y="1263"/>
                </a:lnTo>
                <a:lnTo>
                  <a:pt x="488" y="1248"/>
                </a:lnTo>
                <a:lnTo>
                  <a:pt x="481" y="1235"/>
                </a:lnTo>
                <a:lnTo>
                  <a:pt x="474" y="1224"/>
                </a:lnTo>
                <a:lnTo>
                  <a:pt x="465" y="1221"/>
                </a:lnTo>
                <a:lnTo>
                  <a:pt x="458" y="1220"/>
                </a:lnTo>
                <a:lnTo>
                  <a:pt x="451" y="1218"/>
                </a:lnTo>
                <a:lnTo>
                  <a:pt x="444" y="1215"/>
                </a:lnTo>
                <a:lnTo>
                  <a:pt x="439" y="1210"/>
                </a:lnTo>
                <a:lnTo>
                  <a:pt x="433" y="1206"/>
                </a:lnTo>
                <a:lnTo>
                  <a:pt x="429" y="1201"/>
                </a:lnTo>
                <a:lnTo>
                  <a:pt x="428" y="1195"/>
                </a:lnTo>
                <a:lnTo>
                  <a:pt x="431" y="1190"/>
                </a:lnTo>
                <a:lnTo>
                  <a:pt x="436" y="1180"/>
                </a:lnTo>
                <a:lnTo>
                  <a:pt x="440" y="1174"/>
                </a:lnTo>
                <a:lnTo>
                  <a:pt x="438" y="1169"/>
                </a:lnTo>
                <a:lnTo>
                  <a:pt x="427" y="1168"/>
                </a:lnTo>
                <a:lnTo>
                  <a:pt x="420" y="1167"/>
                </a:lnTo>
                <a:lnTo>
                  <a:pt x="412" y="1163"/>
                </a:lnTo>
                <a:lnTo>
                  <a:pt x="405" y="1159"/>
                </a:lnTo>
                <a:lnTo>
                  <a:pt x="398" y="1153"/>
                </a:lnTo>
                <a:lnTo>
                  <a:pt x="393" y="1146"/>
                </a:lnTo>
                <a:lnTo>
                  <a:pt x="389" y="1139"/>
                </a:lnTo>
                <a:lnTo>
                  <a:pt x="388" y="1133"/>
                </a:lnTo>
                <a:lnTo>
                  <a:pt x="390" y="1128"/>
                </a:lnTo>
                <a:lnTo>
                  <a:pt x="396" y="1121"/>
                </a:lnTo>
                <a:lnTo>
                  <a:pt x="401" y="1116"/>
                </a:lnTo>
                <a:lnTo>
                  <a:pt x="402" y="1110"/>
                </a:lnTo>
                <a:lnTo>
                  <a:pt x="403" y="1100"/>
                </a:lnTo>
                <a:lnTo>
                  <a:pt x="403" y="1090"/>
                </a:lnTo>
                <a:lnTo>
                  <a:pt x="404" y="1083"/>
                </a:lnTo>
                <a:lnTo>
                  <a:pt x="405" y="1078"/>
                </a:lnTo>
                <a:lnTo>
                  <a:pt x="409" y="1072"/>
                </a:lnTo>
                <a:lnTo>
                  <a:pt x="413" y="1064"/>
                </a:lnTo>
                <a:lnTo>
                  <a:pt x="416" y="1056"/>
                </a:lnTo>
                <a:lnTo>
                  <a:pt x="414" y="1048"/>
                </a:lnTo>
                <a:lnTo>
                  <a:pt x="409" y="1039"/>
                </a:lnTo>
                <a:lnTo>
                  <a:pt x="402" y="1027"/>
                </a:lnTo>
                <a:lnTo>
                  <a:pt x="397" y="1015"/>
                </a:lnTo>
                <a:lnTo>
                  <a:pt x="396" y="1002"/>
                </a:lnTo>
                <a:lnTo>
                  <a:pt x="397" y="992"/>
                </a:lnTo>
                <a:lnTo>
                  <a:pt x="401" y="984"/>
                </a:lnTo>
                <a:lnTo>
                  <a:pt x="403" y="977"/>
                </a:lnTo>
                <a:lnTo>
                  <a:pt x="403" y="971"/>
                </a:lnTo>
                <a:lnTo>
                  <a:pt x="394" y="964"/>
                </a:lnTo>
                <a:lnTo>
                  <a:pt x="386" y="961"/>
                </a:lnTo>
                <a:lnTo>
                  <a:pt x="374" y="957"/>
                </a:lnTo>
                <a:lnTo>
                  <a:pt x="361" y="954"/>
                </a:lnTo>
                <a:lnTo>
                  <a:pt x="349" y="950"/>
                </a:lnTo>
                <a:lnTo>
                  <a:pt x="335" y="948"/>
                </a:lnTo>
                <a:lnTo>
                  <a:pt x="323" y="946"/>
                </a:lnTo>
                <a:lnTo>
                  <a:pt x="314" y="943"/>
                </a:lnTo>
                <a:lnTo>
                  <a:pt x="307" y="943"/>
                </a:lnTo>
                <a:lnTo>
                  <a:pt x="303" y="943"/>
                </a:lnTo>
                <a:lnTo>
                  <a:pt x="297" y="943"/>
                </a:lnTo>
                <a:lnTo>
                  <a:pt x="292" y="943"/>
                </a:lnTo>
                <a:lnTo>
                  <a:pt x="287" y="943"/>
                </a:lnTo>
                <a:lnTo>
                  <a:pt x="281" y="944"/>
                </a:lnTo>
                <a:lnTo>
                  <a:pt x="275" y="946"/>
                </a:lnTo>
                <a:lnTo>
                  <a:pt x="269" y="948"/>
                </a:lnTo>
                <a:lnTo>
                  <a:pt x="264" y="952"/>
                </a:lnTo>
                <a:lnTo>
                  <a:pt x="258" y="957"/>
                </a:lnTo>
                <a:lnTo>
                  <a:pt x="250" y="961"/>
                </a:lnTo>
                <a:lnTo>
                  <a:pt x="243" y="964"/>
                </a:lnTo>
                <a:lnTo>
                  <a:pt x="235" y="966"/>
                </a:lnTo>
                <a:lnTo>
                  <a:pt x="226" y="969"/>
                </a:lnTo>
                <a:lnTo>
                  <a:pt x="217" y="971"/>
                </a:lnTo>
                <a:lnTo>
                  <a:pt x="209" y="972"/>
                </a:lnTo>
                <a:lnTo>
                  <a:pt x="202" y="973"/>
                </a:lnTo>
                <a:lnTo>
                  <a:pt x="196" y="975"/>
                </a:lnTo>
                <a:lnTo>
                  <a:pt x="189" y="979"/>
                </a:lnTo>
                <a:lnTo>
                  <a:pt x="183" y="984"/>
                </a:lnTo>
                <a:lnTo>
                  <a:pt x="177" y="988"/>
                </a:lnTo>
                <a:lnTo>
                  <a:pt x="171" y="993"/>
                </a:lnTo>
                <a:lnTo>
                  <a:pt x="167" y="997"/>
                </a:lnTo>
                <a:lnTo>
                  <a:pt x="162" y="1002"/>
                </a:lnTo>
                <a:lnTo>
                  <a:pt x="159" y="1004"/>
                </a:lnTo>
                <a:lnTo>
                  <a:pt x="152" y="1011"/>
                </a:lnTo>
                <a:lnTo>
                  <a:pt x="146" y="1023"/>
                </a:lnTo>
                <a:lnTo>
                  <a:pt x="144" y="1034"/>
                </a:lnTo>
                <a:lnTo>
                  <a:pt x="149" y="1045"/>
                </a:lnTo>
                <a:lnTo>
                  <a:pt x="154" y="1048"/>
                </a:lnTo>
                <a:lnTo>
                  <a:pt x="160" y="1050"/>
                </a:lnTo>
                <a:lnTo>
                  <a:pt x="166" y="1052"/>
                </a:lnTo>
                <a:lnTo>
                  <a:pt x="170" y="1053"/>
                </a:lnTo>
                <a:lnTo>
                  <a:pt x="175" y="1053"/>
                </a:lnTo>
                <a:lnTo>
                  <a:pt x="179" y="1053"/>
                </a:lnTo>
                <a:lnTo>
                  <a:pt x="182" y="1055"/>
                </a:lnTo>
                <a:lnTo>
                  <a:pt x="184" y="1057"/>
                </a:lnTo>
                <a:lnTo>
                  <a:pt x="185" y="1066"/>
                </a:lnTo>
                <a:lnTo>
                  <a:pt x="182" y="1078"/>
                </a:lnTo>
                <a:lnTo>
                  <a:pt x="175" y="1090"/>
                </a:lnTo>
                <a:lnTo>
                  <a:pt x="162" y="1100"/>
                </a:lnTo>
                <a:lnTo>
                  <a:pt x="154" y="1104"/>
                </a:lnTo>
                <a:lnTo>
                  <a:pt x="147" y="1108"/>
                </a:lnTo>
                <a:lnTo>
                  <a:pt x="140" y="1110"/>
                </a:lnTo>
                <a:lnTo>
                  <a:pt x="134" y="1113"/>
                </a:lnTo>
                <a:lnTo>
                  <a:pt x="130" y="1116"/>
                </a:lnTo>
                <a:lnTo>
                  <a:pt x="125" y="1118"/>
                </a:lnTo>
                <a:lnTo>
                  <a:pt x="122" y="1123"/>
                </a:lnTo>
                <a:lnTo>
                  <a:pt x="118" y="1128"/>
                </a:lnTo>
                <a:lnTo>
                  <a:pt x="111" y="1138"/>
                </a:lnTo>
                <a:lnTo>
                  <a:pt x="101" y="1146"/>
                </a:lnTo>
                <a:lnTo>
                  <a:pt x="92" y="1152"/>
                </a:lnTo>
                <a:lnTo>
                  <a:pt x="88" y="1153"/>
                </a:lnTo>
                <a:lnTo>
                  <a:pt x="87" y="1153"/>
                </a:lnTo>
                <a:lnTo>
                  <a:pt x="85" y="1151"/>
                </a:lnTo>
                <a:lnTo>
                  <a:pt x="80" y="1149"/>
                </a:lnTo>
                <a:lnTo>
                  <a:pt x="76" y="1147"/>
                </a:lnTo>
                <a:lnTo>
                  <a:pt x="70" y="1146"/>
                </a:lnTo>
                <a:lnTo>
                  <a:pt x="63" y="1145"/>
                </a:lnTo>
                <a:lnTo>
                  <a:pt x="56" y="1145"/>
                </a:lnTo>
                <a:lnTo>
                  <a:pt x="50" y="1147"/>
                </a:lnTo>
                <a:lnTo>
                  <a:pt x="45" y="1148"/>
                </a:lnTo>
                <a:lnTo>
                  <a:pt x="38" y="1149"/>
                </a:lnTo>
                <a:lnTo>
                  <a:pt x="30" y="1149"/>
                </a:lnTo>
                <a:lnTo>
                  <a:pt x="23" y="1148"/>
                </a:lnTo>
                <a:lnTo>
                  <a:pt x="16" y="1147"/>
                </a:lnTo>
                <a:lnTo>
                  <a:pt x="10" y="1145"/>
                </a:lnTo>
                <a:lnTo>
                  <a:pt x="5" y="1141"/>
                </a:lnTo>
                <a:lnTo>
                  <a:pt x="2" y="1137"/>
                </a:lnTo>
                <a:lnTo>
                  <a:pt x="0" y="1129"/>
                </a:lnTo>
                <a:lnTo>
                  <a:pt x="1" y="1121"/>
                </a:lnTo>
                <a:lnTo>
                  <a:pt x="2" y="1113"/>
                </a:lnTo>
                <a:lnTo>
                  <a:pt x="2" y="1103"/>
                </a:lnTo>
                <a:lnTo>
                  <a:pt x="3" y="1092"/>
                </a:lnTo>
                <a:lnTo>
                  <a:pt x="10" y="1080"/>
                </a:lnTo>
                <a:lnTo>
                  <a:pt x="20" y="1070"/>
                </a:lnTo>
                <a:lnTo>
                  <a:pt x="32" y="1066"/>
                </a:lnTo>
                <a:lnTo>
                  <a:pt x="38" y="1066"/>
                </a:lnTo>
                <a:lnTo>
                  <a:pt x="45" y="1066"/>
                </a:lnTo>
                <a:lnTo>
                  <a:pt x="50" y="1066"/>
                </a:lnTo>
                <a:lnTo>
                  <a:pt x="55" y="1066"/>
                </a:lnTo>
                <a:lnTo>
                  <a:pt x="60" y="1065"/>
                </a:lnTo>
                <a:lnTo>
                  <a:pt x="63" y="1064"/>
                </a:lnTo>
                <a:lnTo>
                  <a:pt x="65" y="1062"/>
                </a:lnTo>
                <a:lnTo>
                  <a:pt x="67" y="1057"/>
                </a:lnTo>
                <a:lnTo>
                  <a:pt x="67" y="1049"/>
                </a:lnTo>
                <a:lnTo>
                  <a:pt x="68" y="1042"/>
                </a:lnTo>
                <a:lnTo>
                  <a:pt x="70" y="1037"/>
                </a:lnTo>
                <a:lnTo>
                  <a:pt x="72" y="1030"/>
                </a:lnTo>
                <a:lnTo>
                  <a:pt x="77" y="1019"/>
                </a:lnTo>
                <a:lnTo>
                  <a:pt x="84" y="1005"/>
                </a:lnTo>
                <a:lnTo>
                  <a:pt x="86" y="993"/>
                </a:lnTo>
                <a:lnTo>
                  <a:pt x="79" y="982"/>
                </a:lnTo>
                <a:lnTo>
                  <a:pt x="69" y="972"/>
                </a:lnTo>
                <a:lnTo>
                  <a:pt x="64" y="958"/>
                </a:lnTo>
                <a:lnTo>
                  <a:pt x="63" y="941"/>
                </a:lnTo>
                <a:lnTo>
                  <a:pt x="63" y="925"/>
                </a:lnTo>
                <a:lnTo>
                  <a:pt x="64" y="911"/>
                </a:lnTo>
                <a:lnTo>
                  <a:pt x="69" y="899"/>
                </a:lnTo>
                <a:lnTo>
                  <a:pt x="75" y="891"/>
                </a:lnTo>
                <a:lnTo>
                  <a:pt x="81" y="885"/>
                </a:lnTo>
                <a:lnTo>
                  <a:pt x="87" y="879"/>
                </a:lnTo>
                <a:lnTo>
                  <a:pt x="91" y="873"/>
                </a:lnTo>
                <a:lnTo>
                  <a:pt x="90" y="868"/>
                </a:lnTo>
                <a:lnTo>
                  <a:pt x="85" y="863"/>
                </a:lnTo>
                <a:lnTo>
                  <a:pt x="80" y="855"/>
                </a:lnTo>
                <a:lnTo>
                  <a:pt x="79" y="844"/>
                </a:lnTo>
                <a:lnTo>
                  <a:pt x="83" y="834"/>
                </a:lnTo>
                <a:lnTo>
                  <a:pt x="91" y="826"/>
                </a:lnTo>
                <a:lnTo>
                  <a:pt x="99" y="820"/>
                </a:lnTo>
                <a:lnTo>
                  <a:pt x="111" y="810"/>
                </a:lnTo>
                <a:lnTo>
                  <a:pt x="128" y="797"/>
                </a:lnTo>
                <a:lnTo>
                  <a:pt x="145" y="782"/>
                </a:lnTo>
                <a:lnTo>
                  <a:pt x="162" y="767"/>
                </a:lnTo>
                <a:lnTo>
                  <a:pt x="178" y="754"/>
                </a:lnTo>
                <a:lnTo>
                  <a:pt x="192" y="743"/>
                </a:lnTo>
                <a:lnTo>
                  <a:pt x="202" y="736"/>
                </a:lnTo>
                <a:lnTo>
                  <a:pt x="211" y="731"/>
                </a:lnTo>
                <a:lnTo>
                  <a:pt x="217" y="728"/>
                </a:lnTo>
                <a:lnTo>
                  <a:pt x="223" y="724"/>
                </a:lnTo>
                <a:lnTo>
                  <a:pt x="229" y="722"/>
                </a:lnTo>
                <a:lnTo>
                  <a:pt x="232" y="720"/>
                </a:lnTo>
                <a:lnTo>
                  <a:pt x="235" y="716"/>
                </a:lnTo>
                <a:lnTo>
                  <a:pt x="236" y="713"/>
                </a:lnTo>
                <a:lnTo>
                  <a:pt x="236" y="708"/>
                </a:lnTo>
                <a:lnTo>
                  <a:pt x="235" y="699"/>
                </a:lnTo>
                <a:lnTo>
                  <a:pt x="236" y="690"/>
                </a:lnTo>
                <a:lnTo>
                  <a:pt x="238" y="681"/>
                </a:lnTo>
                <a:lnTo>
                  <a:pt x="243" y="669"/>
                </a:lnTo>
                <a:lnTo>
                  <a:pt x="246" y="656"/>
                </a:lnTo>
                <a:lnTo>
                  <a:pt x="249" y="646"/>
                </a:lnTo>
                <a:lnTo>
                  <a:pt x="247" y="638"/>
                </a:lnTo>
                <a:lnTo>
                  <a:pt x="243" y="632"/>
                </a:lnTo>
                <a:lnTo>
                  <a:pt x="238" y="623"/>
                </a:lnTo>
                <a:lnTo>
                  <a:pt x="239" y="610"/>
                </a:lnTo>
                <a:lnTo>
                  <a:pt x="243" y="597"/>
                </a:lnTo>
                <a:lnTo>
                  <a:pt x="249" y="586"/>
                </a:lnTo>
                <a:lnTo>
                  <a:pt x="252" y="583"/>
                </a:lnTo>
                <a:lnTo>
                  <a:pt x="257" y="579"/>
                </a:lnTo>
                <a:lnTo>
                  <a:pt x="261" y="576"/>
                </a:lnTo>
                <a:lnTo>
                  <a:pt x="266" y="574"/>
                </a:lnTo>
                <a:lnTo>
                  <a:pt x="272" y="571"/>
                </a:lnTo>
                <a:lnTo>
                  <a:pt x="277" y="569"/>
                </a:lnTo>
                <a:lnTo>
                  <a:pt x="283" y="568"/>
                </a:lnTo>
                <a:lnTo>
                  <a:pt x="289" y="568"/>
                </a:lnTo>
                <a:lnTo>
                  <a:pt x="295" y="568"/>
                </a:lnTo>
                <a:lnTo>
                  <a:pt x="302" y="565"/>
                </a:lnTo>
                <a:lnTo>
                  <a:pt x="310" y="564"/>
                </a:lnTo>
                <a:lnTo>
                  <a:pt x="317" y="561"/>
                </a:lnTo>
                <a:lnTo>
                  <a:pt x="325" y="556"/>
                </a:lnTo>
                <a:lnTo>
                  <a:pt x="330" y="552"/>
                </a:lnTo>
                <a:lnTo>
                  <a:pt x="336" y="546"/>
                </a:lnTo>
                <a:lnTo>
                  <a:pt x="341" y="539"/>
                </a:lnTo>
                <a:lnTo>
                  <a:pt x="345" y="532"/>
                </a:lnTo>
                <a:lnTo>
                  <a:pt x="351" y="524"/>
                </a:lnTo>
                <a:lnTo>
                  <a:pt x="358" y="515"/>
                </a:lnTo>
                <a:lnTo>
                  <a:pt x="366" y="507"/>
                </a:lnTo>
                <a:lnTo>
                  <a:pt x="373" y="499"/>
                </a:lnTo>
                <a:lnTo>
                  <a:pt x="380" y="492"/>
                </a:lnTo>
                <a:lnTo>
                  <a:pt x="386" y="485"/>
                </a:lnTo>
                <a:lnTo>
                  <a:pt x="390" y="480"/>
                </a:lnTo>
                <a:lnTo>
                  <a:pt x="395" y="477"/>
                </a:lnTo>
                <a:lnTo>
                  <a:pt x="399" y="473"/>
                </a:lnTo>
                <a:lnTo>
                  <a:pt x="406" y="471"/>
                </a:lnTo>
                <a:lnTo>
                  <a:pt x="413" y="468"/>
                </a:lnTo>
                <a:lnTo>
                  <a:pt x="419" y="464"/>
                </a:lnTo>
                <a:lnTo>
                  <a:pt x="426" y="461"/>
                </a:lnTo>
                <a:lnTo>
                  <a:pt x="431" y="457"/>
                </a:lnTo>
                <a:lnTo>
                  <a:pt x="434" y="453"/>
                </a:lnTo>
                <a:lnTo>
                  <a:pt x="438" y="447"/>
                </a:lnTo>
                <a:lnTo>
                  <a:pt x="442" y="440"/>
                </a:lnTo>
                <a:lnTo>
                  <a:pt x="448" y="432"/>
                </a:lnTo>
                <a:lnTo>
                  <a:pt x="454" y="424"/>
                </a:lnTo>
                <a:lnTo>
                  <a:pt x="461" y="415"/>
                </a:lnTo>
                <a:lnTo>
                  <a:pt x="467" y="407"/>
                </a:lnTo>
                <a:lnTo>
                  <a:pt x="472" y="400"/>
                </a:lnTo>
                <a:lnTo>
                  <a:pt x="477" y="394"/>
                </a:lnTo>
                <a:lnTo>
                  <a:pt x="481" y="382"/>
                </a:lnTo>
                <a:lnTo>
                  <a:pt x="482" y="370"/>
                </a:lnTo>
                <a:lnTo>
                  <a:pt x="485" y="359"/>
                </a:lnTo>
                <a:lnTo>
                  <a:pt x="493" y="355"/>
                </a:lnTo>
                <a:lnTo>
                  <a:pt x="499" y="354"/>
                </a:lnTo>
                <a:lnTo>
                  <a:pt x="506" y="352"/>
                </a:lnTo>
                <a:lnTo>
                  <a:pt x="512" y="349"/>
                </a:lnTo>
                <a:lnTo>
                  <a:pt x="518" y="346"/>
                </a:lnTo>
                <a:lnTo>
                  <a:pt x="524" y="341"/>
                </a:lnTo>
                <a:lnTo>
                  <a:pt x="529" y="337"/>
                </a:lnTo>
                <a:lnTo>
                  <a:pt x="532" y="333"/>
                </a:lnTo>
                <a:lnTo>
                  <a:pt x="533" y="329"/>
                </a:lnTo>
                <a:lnTo>
                  <a:pt x="530" y="324"/>
                </a:lnTo>
                <a:lnTo>
                  <a:pt x="522" y="320"/>
                </a:lnTo>
                <a:lnTo>
                  <a:pt x="511" y="320"/>
                </a:lnTo>
                <a:lnTo>
                  <a:pt x="502" y="324"/>
                </a:lnTo>
                <a:lnTo>
                  <a:pt x="496" y="325"/>
                </a:lnTo>
                <a:lnTo>
                  <a:pt x="492" y="324"/>
                </a:lnTo>
                <a:lnTo>
                  <a:pt x="486" y="321"/>
                </a:lnTo>
                <a:lnTo>
                  <a:pt x="477" y="324"/>
                </a:lnTo>
                <a:lnTo>
                  <a:pt x="471" y="325"/>
                </a:lnTo>
                <a:lnTo>
                  <a:pt x="464" y="326"/>
                </a:lnTo>
                <a:lnTo>
                  <a:pt x="458" y="326"/>
                </a:lnTo>
                <a:lnTo>
                  <a:pt x="453" y="325"/>
                </a:lnTo>
                <a:lnTo>
                  <a:pt x="448" y="321"/>
                </a:lnTo>
                <a:lnTo>
                  <a:pt x="446" y="318"/>
                </a:lnTo>
                <a:lnTo>
                  <a:pt x="446" y="312"/>
                </a:lnTo>
                <a:lnTo>
                  <a:pt x="449" y="305"/>
                </a:lnTo>
                <a:lnTo>
                  <a:pt x="453" y="297"/>
                </a:lnTo>
                <a:lnTo>
                  <a:pt x="457" y="287"/>
                </a:lnTo>
                <a:lnTo>
                  <a:pt x="464" y="276"/>
                </a:lnTo>
                <a:lnTo>
                  <a:pt x="474" y="265"/>
                </a:lnTo>
                <a:lnTo>
                  <a:pt x="484" y="255"/>
                </a:lnTo>
                <a:lnTo>
                  <a:pt x="491" y="249"/>
                </a:lnTo>
                <a:lnTo>
                  <a:pt x="494" y="243"/>
                </a:lnTo>
                <a:lnTo>
                  <a:pt x="495" y="237"/>
                </a:lnTo>
                <a:lnTo>
                  <a:pt x="496" y="234"/>
                </a:lnTo>
                <a:lnTo>
                  <a:pt x="499" y="229"/>
                </a:lnTo>
                <a:lnTo>
                  <a:pt x="502" y="223"/>
                </a:lnTo>
                <a:lnTo>
                  <a:pt x="508" y="219"/>
                </a:lnTo>
                <a:lnTo>
                  <a:pt x="515" y="215"/>
                </a:lnTo>
                <a:lnTo>
                  <a:pt x="522" y="213"/>
                </a:lnTo>
                <a:lnTo>
                  <a:pt x="530" y="213"/>
                </a:lnTo>
                <a:lnTo>
                  <a:pt x="539" y="215"/>
                </a:lnTo>
                <a:lnTo>
                  <a:pt x="548" y="218"/>
                </a:lnTo>
                <a:lnTo>
                  <a:pt x="556" y="218"/>
                </a:lnTo>
                <a:lnTo>
                  <a:pt x="565" y="217"/>
                </a:lnTo>
                <a:lnTo>
                  <a:pt x="573" y="214"/>
                </a:lnTo>
                <a:lnTo>
                  <a:pt x="580" y="213"/>
                </a:lnTo>
                <a:lnTo>
                  <a:pt x="588" y="213"/>
                </a:lnTo>
                <a:lnTo>
                  <a:pt x="595" y="214"/>
                </a:lnTo>
                <a:lnTo>
                  <a:pt x="601" y="219"/>
                </a:lnTo>
                <a:lnTo>
                  <a:pt x="606" y="225"/>
                </a:lnTo>
                <a:lnTo>
                  <a:pt x="609" y="230"/>
                </a:lnTo>
                <a:lnTo>
                  <a:pt x="613" y="236"/>
                </a:lnTo>
                <a:lnTo>
                  <a:pt x="615" y="242"/>
                </a:lnTo>
                <a:lnTo>
                  <a:pt x="618" y="246"/>
                </a:lnTo>
                <a:lnTo>
                  <a:pt x="623" y="251"/>
                </a:lnTo>
                <a:lnTo>
                  <a:pt x="629" y="253"/>
                </a:lnTo>
                <a:lnTo>
                  <a:pt x="638" y="256"/>
                </a:lnTo>
                <a:lnTo>
                  <a:pt x="647" y="257"/>
                </a:lnTo>
                <a:lnTo>
                  <a:pt x="655" y="257"/>
                </a:lnTo>
                <a:lnTo>
                  <a:pt x="662" y="257"/>
                </a:lnTo>
                <a:lnTo>
                  <a:pt x="669" y="257"/>
                </a:lnTo>
                <a:lnTo>
                  <a:pt x="674" y="257"/>
                </a:lnTo>
                <a:lnTo>
                  <a:pt x="679" y="256"/>
                </a:lnTo>
                <a:lnTo>
                  <a:pt x="684" y="256"/>
                </a:lnTo>
                <a:lnTo>
                  <a:pt x="690" y="256"/>
                </a:lnTo>
                <a:lnTo>
                  <a:pt x="700" y="255"/>
                </a:lnTo>
                <a:lnTo>
                  <a:pt x="706" y="252"/>
                </a:lnTo>
                <a:lnTo>
                  <a:pt x="708" y="246"/>
                </a:lnTo>
                <a:lnTo>
                  <a:pt x="706" y="237"/>
                </a:lnTo>
                <a:lnTo>
                  <a:pt x="705" y="226"/>
                </a:lnTo>
                <a:lnTo>
                  <a:pt x="709" y="218"/>
                </a:lnTo>
                <a:lnTo>
                  <a:pt x="719" y="214"/>
                </a:lnTo>
                <a:lnTo>
                  <a:pt x="730" y="215"/>
                </a:lnTo>
                <a:lnTo>
                  <a:pt x="742" y="213"/>
                </a:lnTo>
                <a:lnTo>
                  <a:pt x="751" y="200"/>
                </a:lnTo>
                <a:lnTo>
                  <a:pt x="757" y="184"/>
                </a:lnTo>
                <a:lnTo>
                  <a:pt x="761" y="172"/>
                </a:lnTo>
                <a:lnTo>
                  <a:pt x="764" y="168"/>
                </a:lnTo>
                <a:lnTo>
                  <a:pt x="767" y="165"/>
                </a:lnTo>
                <a:lnTo>
                  <a:pt x="772" y="161"/>
                </a:lnTo>
                <a:lnTo>
                  <a:pt x="776" y="159"/>
                </a:lnTo>
                <a:lnTo>
                  <a:pt x="782" y="158"/>
                </a:lnTo>
                <a:lnTo>
                  <a:pt x="788" y="155"/>
                </a:lnTo>
                <a:lnTo>
                  <a:pt x="794" y="154"/>
                </a:lnTo>
                <a:lnTo>
                  <a:pt x="798" y="153"/>
                </a:lnTo>
                <a:lnTo>
                  <a:pt x="804" y="152"/>
                </a:lnTo>
                <a:lnTo>
                  <a:pt x="811" y="150"/>
                </a:lnTo>
                <a:lnTo>
                  <a:pt x="819" y="149"/>
                </a:lnTo>
                <a:lnTo>
                  <a:pt x="827" y="147"/>
                </a:lnTo>
                <a:lnTo>
                  <a:pt x="833" y="149"/>
                </a:lnTo>
                <a:lnTo>
                  <a:pt x="837" y="151"/>
                </a:lnTo>
                <a:lnTo>
                  <a:pt x="840" y="155"/>
                </a:lnTo>
                <a:lnTo>
                  <a:pt x="838" y="162"/>
                </a:lnTo>
                <a:lnTo>
                  <a:pt x="835" y="177"/>
                </a:lnTo>
                <a:lnTo>
                  <a:pt x="838" y="185"/>
                </a:lnTo>
                <a:lnTo>
                  <a:pt x="845" y="188"/>
                </a:lnTo>
                <a:lnTo>
                  <a:pt x="853" y="184"/>
                </a:lnTo>
                <a:lnTo>
                  <a:pt x="858" y="182"/>
                </a:lnTo>
                <a:lnTo>
                  <a:pt x="863" y="180"/>
                </a:lnTo>
                <a:lnTo>
                  <a:pt x="867" y="176"/>
                </a:lnTo>
                <a:lnTo>
                  <a:pt x="871" y="174"/>
                </a:lnTo>
                <a:lnTo>
                  <a:pt x="875" y="170"/>
                </a:lnTo>
                <a:lnTo>
                  <a:pt x="880" y="168"/>
                </a:lnTo>
                <a:lnTo>
                  <a:pt x="886" y="165"/>
                </a:lnTo>
                <a:lnTo>
                  <a:pt x="891" y="162"/>
                </a:lnTo>
                <a:lnTo>
                  <a:pt x="898" y="160"/>
                </a:lnTo>
                <a:lnTo>
                  <a:pt x="906" y="159"/>
                </a:lnTo>
                <a:lnTo>
                  <a:pt x="916" y="157"/>
                </a:lnTo>
                <a:lnTo>
                  <a:pt x="925" y="157"/>
                </a:lnTo>
                <a:lnTo>
                  <a:pt x="934" y="157"/>
                </a:lnTo>
                <a:lnTo>
                  <a:pt x="941" y="158"/>
                </a:lnTo>
                <a:lnTo>
                  <a:pt x="946" y="161"/>
                </a:lnTo>
                <a:lnTo>
                  <a:pt x="948" y="166"/>
                </a:lnTo>
                <a:lnTo>
                  <a:pt x="949" y="170"/>
                </a:lnTo>
                <a:lnTo>
                  <a:pt x="953" y="173"/>
                </a:lnTo>
                <a:lnTo>
                  <a:pt x="958" y="174"/>
                </a:lnTo>
                <a:lnTo>
                  <a:pt x="965" y="173"/>
                </a:lnTo>
                <a:lnTo>
                  <a:pt x="972" y="172"/>
                </a:lnTo>
                <a:lnTo>
                  <a:pt x="981" y="170"/>
                </a:lnTo>
                <a:lnTo>
                  <a:pt x="989" y="169"/>
                </a:lnTo>
                <a:lnTo>
                  <a:pt x="997" y="169"/>
                </a:lnTo>
                <a:lnTo>
                  <a:pt x="1006" y="168"/>
                </a:lnTo>
                <a:lnTo>
                  <a:pt x="1014" y="166"/>
                </a:lnTo>
                <a:lnTo>
                  <a:pt x="1022" y="162"/>
                </a:lnTo>
                <a:lnTo>
                  <a:pt x="1029" y="158"/>
                </a:lnTo>
                <a:lnTo>
                  <a:pt x="1036" y="154"/>
                </a:lnTo>
                <a:lnTo>
                  <a:pt x="1041" y="151"/>
                </a:lnTo>
                <a:lnTo>
                  <a:pt x="1047" y="149"/>
                </a:lnTo>
                <a:lnTo>
                  <a:pt x="1051" y="147"/>
                </a:lnTo>
                <a:lnTo>
                  <a:pt x="1054" y="146"/>
                </a:lnTo>
                <a:lnTo>
                  <a:pt x="1059" y="145"/>
                </a:lnTo>
                <a:lnTo>
                  <a:pt x="1064" y="142"/>
                </a:lnTo>
                <a:lnTo>
                  <a:pt x="1071" y="139"/>
                </a:lnTo>
                <a:lnTo>
                  <a:pt x="1078" y="137"/>
                </a:lnTo>
                <a:lnTo>
                  <a:pt x="1086" y="136"/>
                </a:lnTo>
                <a:lnTo>
                  <a:pt x="1094" y="136"/>
                </a:lnTo>
                <a:lnTo>
                  <a:pt x="1104" y="138"/>
                </a:lnTo>
                <a:lnTo>
                  <a:pt x="1113" y="142"/>
                </a:lnTo>
                <a:lnTo>
                  <a:pt x="1122" y="146"/>
                </a:lnTo>
                <a:lnTo>
                  <a:pt x="1130" y="151"/>
                </a:lnTo>
                <a:lnTo>
                  <a:pt x="1139" y="155"/>
                </a:lnTo>
                <a:lnTo>
                  <a:pt x="1147" y="160"/>
                </a:lnTo>
                <a:lnTo>
                  <a:pt x="1154" y="162"/>
                </a:lnTo>
                <a:lnTo>
                  <a:pt x="1161" y="165"/>
                </a:lnTo>
                <a:lnTo>
                  <a:pt x="1168" y="166"/>
                </a:lnTo>
                <a:lnTo>
                  <a:pt x="1180" y="165"/>
                </a:lnTo>
                <a:lnTo>
                  <a:pt x="1188" y="161"/>
                </a:lnTo>
                <a:lnTo>
                  <a:pt x="1192" y="154"/>
                </a:lnTo>
                <a:lnTo>
                  <a:pt x="1190" y="144"/>
                </a:lnTo>
                <a:lnTo>
                  <a:pt x="1183" y="135"/>
                </a:lnTo>
                <a:lnTo>
                  <a:pt x="1178" y="129"/>
                </a:lnTo>
                <a:lnTo>
                  <a:pt x="1174" y="124"/>
                </a:lnTo>
                <a:lnTo>
                  <a:pt x="1171" y="116"/>
                </a:lnTo>
                <a:lnTo>
                  <a:pt x="1168" y="106"/>
                </a:lnTo>
                <a:lnTo>
                  <a:pt x="1166" y="93"/>
                </a:lnTo>
                <a:lnTo>
                  <a:pt x="1168" y="79"/>
                </a:lnTo>
                <a:lnTo>
                  <a:pt x="1177" y="64"/>
                </a:lnTo>
                <a:lnTo>
                  <a:pt x="1184" y="56"/>
                </a:lnTo>
                <a:lnTo>
                  <a:pt x="1191" y="50"/>
                </a:lnTo>
                <a:lnTo>
                  <a:pt x="1198" y="43"/>
                </a:lnTo>
                <a:lnTo>
                  <a:pt x="1204" y="37"/>
                </a:lnTo>
                <a:lnTo>
                  <a:pt x="1211" y="32"/>
                </a:lnTo>
                <a:lnTo>
                  <a:pt x="1216" y="29"/>
                </a:lnTo>
                <a:lnTo>
                  <a:pt x="1222" y="25"/>
                </a:lnTo>
                <a:lnTo>
                  <a:pt x="1227" y="24"/>
                </a:lnTo>
                <a:lnTo>
                  <a:pt x="1233" y="21"/>
                </a:lnTo>
                <a:lnTo>
                  <a:pt x="1236" y="14"/>
                </a:lnTo>
                <a:lnTo>
                  <a:pt x="1241" y="7"/>
                </a:lnTo>
                <a:lnTo>
                  <a:pt x="1246" y="1"/>
                </a:lnTo>
                <a:lnTo>
                  <a:pt x="1248" y="1"/>
                </a:lnTo>
                <a:lnTo>
                  <a:pt x="1249" y="0"/>
                </a:lnTo>
                <a:lnTo>
                  <a:pt x="1251" y="0"/>
                </a:lnTo>
                <a:lnTo>
                  <a:pt x="1252" y="0"/>
                </a:lnTo>
                <a:lnTo>
                  <a:pt x="1254" y="0"/>
                </a:lnTo>
                <a:lnTo>
                  <a:pt x="1256" y="1"/>
                </a:lnTo>
                <a:lnTo>
                  <a:pt x="1258" y="1"/>
                </a:lnTo>
                <a:lnTo>
                  <a:pt x="1260" y="2"/>
                </a:lnTo>
                <a:lnTo>
                  <a:pt x="1269" y="6"/>
                </a:lnTo>
                <a:lnTo>
                  <a:pt x="1277" y="8"/>
                </a:lnTo>
                <a:lnTo>
                  <a:pt x="1284" y="12"/>
                </a:lnTo>
                <a:lnTo>
                  <a:pt x="1290" y="14"/>
                </a:lnTo>
                <a:lnTo>
                  <a:pt x="1297" y="18"/>
                </a:lnTo>
                <a:lnTo>
                  <a:pt x="1303" y="22"/>
                </a:lnTo>
                <a:lnTo>
                  <a:pt x="1310" y="28"/>
                </a:lnTo>
                <a:lnTo>
                  <a:pt x="1317" y="33"/>
                </a:lnTo>
                <a:lnTo>
                  <a:pt x="1327" y="45"/>
                </a:lnTo>
                <a:lnTo>
                  <a:pt x="1330" y="53"/>
                </a:lnTo>
                <a:lnTo>
                  <a:pt x="1330" y="60"/>
                </a:lnTo>
                <a:lnTo>
                  <a:pt x="1328" y="67"/>
                </a:lnTo>
                <a:lnTo>
                  <a:pt x="1328" y="73"/>
                </a:lnTo>
                <a:lnTo>
                  <a:pt x="1330" y="76"/>
                </a:lnTo>
                <a:lnTo>
                  <a:pt x="1334" y="78"/>
                </a:lnTo>
                <a:lnTo>
                  <a:pt x="1335" y="79"/>
                </a:lnTo>
                <a:lnTo>
                  <a:pt x="1337" y="75"/>
                </a:lnTo>
                <a:lnTo>
                  <a:pt x="1342" y="67"/>
                </a:lnTo>
                <a:lnTo>
                  <a:pt x="1351" y="60"/>
                </a:lnTo>
                <a:lnTo>
                  <a:pt x="1363" y="61"/>
                </a:lnTo>
                <a:lnTo>
                  <a:pt x="1375" y="68"/>
                </a:lnTo>
                <a:lnTo>
                  <a:pt x="1383" y="74"/>
                </a:lnTo>
                <a:lnTo>
                  <a:pt x="1389" y="82"/>
                </a:lnTo>
                <a:lnTo>
                  <a:pt x="1390" y="92"/>
                </a:lnTo>
                <a:lnTo>
                  <a:pt x="1393" y="100"/>
                </a:lnTo>
                <a:lnTo>
                  <a:pt x="1400" y="104"/>
                </a:lnTo>
                <a:lnTo>
                  <a:pt x="1407" y="103"/>
                </a:lnTo>
                <a:lnTo>
                  <a:pt x="1415" y="101"/>
                </a:lnTo>
                <a:lnTo>
                  <a:pt x="1419" y="100"/>
                </a:lnTo>
                <a:lnTo>
                  <a:pt x="1424" y="98"/>
                </a:lnTo>
                <a:lnTo>
                  <a:pt x="1431" y="94"/>
                </a:lnTo>
                <a:lnTo>
                  <a:pt x="1439" y="92"/>
                </a:lnTo>
                <a:lnTo>
                  <a:pt x="1447" y="90"/>
                </a:lnTo>
                <a:lnTo>
                  <a:pt x="1455" y="89"/>
                </a:lnTo>
                <a:lnTo>
                  <a:pt x="1464" y="88"/>
                </a:lnTo>
                <a:lnTo>
                  <a:pt x="1473" y="89"/>
                </a:lnTo>
                <a:lnTo>
                  <a:pt x="1483" y="90"/>
                </a:lnTo>
                <a:lnTo>
                  <a:pt x="1492" y="92"/>
                </a:lnTo>
                <a:lnTo>
                  <a:pt x="1501" y="94"/>
                </a:lnTo>
                <a:lnTo>
                  <a:pt x="1509" y="97"/>
                </a:lnTo>
                <a:lnTo>
                  <a:pt x="1517" y="98"/>
                </a:lnTo>
                <a:lnTo>
                  <a:pt x="1524" y="100"/>
                </a:lnTo>
                <a:lnTo>
                  <a:pt x="1530" y="101"/>
                </a:lnTo>
                <a:lnTo>
                  <a:pt x="1536" y="101"/>
                </a:lnTo>
                <a:lnTo>
                  <a:pt x="1540" y="101"/>
                </a:lnTo>
                <a:lnTo>
                  <a:pt x="1546" y="100"/>
                </a:lnTo>
                <a:lnTo>
                  <a:pt x="1551" y="100"/>
                </a:lnTo>
                <a:lnTo>
                  <a:pt x="1556" y="99"/>
                </a:lnTo>
                <a:lnTo>
                  <a:pt x="1562" y="100"/>
                </a:lnTo>
                <a:lnTo>
                  <a:pt x="1569" y="101"/>
                </a:lnTo>
                <a:lnTo>
                  <a:pt x="1575" y="104"/>
                </a:lnTo>
                <a:lnTo>
                  <a:pt x="1582" y="107"/>
                </a:lnTo>
                <a:lnTo>
                  <a:pt x="1590" y="112"/>
                </a:lnTo>
                <a:lnTo>
                  <a:pt x="1598" y="116"/>
                </a:lnTo>
                <a:lnTo>
                  <a:pt x="1608" y="121"/>
                </a:lnTo>
                <a:lnTo>
                  <a:pt x="1620" y="127"/>
                </a:lnTo>
                <a:lnTo>
                  <a:pt x="1632" y="132"/>
                </a:lnTo>
                <a:lnTo>
                  <a:pt x="1645" y="141"/>
                </a:lnTo>
                <a:lnTo>
                  <a:pt x="1659" y="150"/>
                </a:lnTo>
                <a:lnTo>
                  <a:pt x="1674" y="160"/>
                </a:lnTo>
                <a:lnTo>
                  <a:pt x="1688" y="170"/>
                </a:lnTo>
                <a:lnTo>
                  <a:pt x="1698" y="180"/>
                </a:lnTo>
                <a:lnTo>
                  <a:pt x="1706" y="188"/>
                </a:lnTo>
                <a:lnTo>
                  <a:pt x="1712" y="195"/>
                </a:lnTo>
                <a:lnTo>
                  <a:pt x="1716" y="200"/>
                </a:lnTo>
                <a:lnTo>
                  <a:pt x="1720" y="206"/>
                </a:lnTo>
                <a:lnTo>
                  <a:pt x="1723" y="211"/>
                </a:lnTo>
                <a:lnTo>
                  <a:pt x="1727" y="215"/>
                </a:lnTo>
                <a:lnTo>
                  <a:pt x="1731" y="220"/>
                </a:lnTo>
                <a:lnTo>
                  <a:pt x="1736" y="225"/>
                </a:lnTo>
                <a:lnTo>
                  <a:pt x="1742" y="229"/>
                </a:lnTo>
                <a:lnTo>
                  <a:pt x="1748" y="234"/>
                </a:lnTo>
                <a:lnTo>
                  <a:pt x="1753" y="238"/>
                </a:lnTo>
                <a:lnTo>
                  <a:pt x="1757" y="243"/>
                </a:lnTo>
                <a:lnTo>
                  <a:pt x="1760" y="248"/>
                </a:lnTo>
                <a:lnTo>
                  <a:pt x="1761" y="252"/>
                </a:lnTo>
                <a:lnTo>
                  <a:pt x="1761" y="261"/>
                </a:lnTo>
                <a:lnTo>
                  <a:pt x="1761" y="269"/>
                </a:lnTo>
                <a:lnTo>
                  <a:pt x="1763" y="278"/>
                </a:lnTo>
                <a:lnTo>
                  <a:pt x="1767" y="287"/>
                </a:lnTo>
                <a:lnTo>
                  <a:pt x="1772" y="296"/>
                </a:lnTo>
                <a:lnTo>
                  <a:pt x="1772" y="304"/>
                </a:lnTo>
                <a:lnTo>
                  <a:pt x="1766" y="311"/>
                </a:lnTo>
                <a:lnTo>
                  <a:pt x="1755" y="317"/>
                </a:lnTo>
                <a:lnTo>
                  <a:pt x="1744" y="326"/>
                </a:lnTo>
                <a:lnTo>
                  <a:pt x="1737" y="341"/>
                </a:lnTo>
                <a:lnTo>
                  <a:pt x="1733" y="356"/>
                </a:lnTo>
                <a:lnTo>
                  <a:pt x="1727" y="366"/>
                </a:lnTo>
                <a:lnTo>
                  <a:pt x="1719" y="371"/>
                </a:lnTo>
                <a:lnTo>
                  <a:pt x="1711" y="374"/>
                </a:lnTo>
                <a:lnTo>
                  <a:pt x="1703" y="382"/>
                </a:lnTo>
                <a:lnTo>
                  <a:pt x="1696" y="397"/>
                </a:lnTo>
                <a:lnTo>
                  <a:pt x="1692" y="417"/>
                </a:lnTo>
                <a:lnTo>
                  <a:pt x="1691" y="435"/>
                </a:lnTo>
                <a:lnTo>
                  <a:pt x="1692" y="450"/>
                </a:lnTo>
                <a:lnTo>
                  <a:pt x="1699" y="462"/>
                </a:lnTo>
                <a:lnTo>
                  <a:pt x="1705" y="472"/>
                </a:lnTo>
                <a:lnTo>
                  <a:pt x="1705" y="485"/>
                </a:lnTo>
                <a:lnTo>
                  <a:pt x="1705" y="496"/>
                </a:lnTo>
                <a:lnTo>
                  <a:pt x="1708" y="506"/>
                </a:lnTo>
                <a:lnTo>
                  <a:pt x="1713" y="508"/>
                </a:lnTo>
                <a:lnTo>
                  <a:pt x="1719" y="508"/>
                </a:lnTo>
                <a:lnTo>
                  <a:pt x="1726" y="507"/>
                </a:lnTo>
                <a:lnTo>
                  <a:pt x="1734" y="506"/>
                </a:lnTo>
                <a:lnTo>
                  <a:pt x="1742" y="504"/>
                </a:lnTo>
                <a:lnTo>
                  <a:pt x="1749" y="503"/>
                </a:lnTo>
                <a:lnTo>
                  <a:pt x="1756" y="503"/>
                </a:lnTo>
                <a:lnTo>
                  <a:pt x="1761" y="506"/>
                </a:lnTo>
                <a:lnTo>
                  <a:pt x="1767" y="511"/>
                </a:lnTo>
                <a:lnTo>
                  <a:pt x="1772" y="516"/>
                </a:lnTo>
                <a:lnTo>
                  <a:pt x="1780" y="519"/>
                </a:lnTo>
                <a:lnTo>
                  <a:pt x="1795" y="521"/>
                </a:lnTo>
                <a:lnTo>
                  <a:pt x="1804" y="522"/>
                </a:lnTo>
                <a:lnTo>
                  <a:pt x="1812" y="524"/>
                </a:lnTo>
                <a:lnTo>
                  <a:pt x="1818" y="529"/>
                </a:lnTo>
                <a:lnTo>
                  <a:pt x="1824" y="533"/>
                </a:lnTo>
                <a:lnTo>
                  <a:pt x="1827" y="537"/>
                </a:lnTo>
                <a:lnTo>
                  <a:pt x="1832" y="540"/>
                </a:lnTo>
                <a:lnTo>
                  <a:pt x="1835" y="542"/>
                </a:lnTo>
                <a:lnTo>
                  <a:pt x="1839" y="542"/>
                </a:lnTo>
                <a:lnTo>
                  <a:pt x="1847" y="539"/>
                </a:lnTo>
                <a:lnTo>
                  <a:pt x="1857" y="538"/>
                </a:lnTo>
                <a:lnTo>
                  <a:pt x="1865" y="540"/>
                </a:lnTo>
                <a:lnTo>
                  <a:pt x="1869" y="552"/>
                </a:lnTo>
                <a:lnTo>
                  <a:pt x="1869" y="568"/>
                </a:lnTo>
                <a:lnTo>
                  <a:pt x="1870" y="582"/>
                </a:lnTo>
                <a:lnTo>
                  <a:pt x="1875" y="594"/>
                </a:lnTo>
                <a:lnTo>
                  <a:pt x="1890" y="605"/>
                </a:lnTo>
                <a:lnTo>
                  <a:pt x="1900" y="608"/>
                </a:lnTo>
                <a:lnTo>
                  <a:pt x="1909" y="612"/>
                </a:lnTo>
                <a:lnTo>
                  <a:pt x="1916" y="615"/>
                </a:lnTo>
                <a:lnTo>
                  <a:pt x="1924" y="618"/>
                </a:lnTo>
                <a:lnTo>
                  <a:pt x="1930" y="622"/>
                </a:lnTo>
                <a:lnTo>
                  <a:pt x="1937" y="625"/>
                </a:lnTo>
                <a:lnTo>
                  <a:pt x="1942" y="630"/>
                </a:lnTo>
                <a:lnTo>
                  <a:pt x="1949" y="636"/>
                </a:lnTo>
                <a:lnTo>
                  <a:pt x="1956" y="640"/>
                </a:lnTo>
                <a:lnTo>
                  <a:pt x="1963" y="644"/>
                </a:lnTo>
                <a:lnTo>
                  <a:pt x="1969" y="645"/>
                </a:lnTo>
                <a:lnTo>
                  <a:pt x="1976" y="645"/>
                </a:lnTo>
                <a:lnTo>
                  <a:pt x="1981" y="644"/>
                </a:lnTo>
                <a:lnTo>
                  <a:pt x="1987" y="643"/>
                </a:lnTo>
                <a:lnTo>
                  <a:pt x="1993" y="640"/>
                </a:lnTo>
                <a:lnTo>
                  <a:pt x="1999" y="638"/>
                </a:lnTo>
                <a:lnTo>
                  <a:pt x="2009" y="629"/>
                </a:lnTo>
                <a:lnTo>
                  <a:pt x="2017" y="615"/>
                </a:lnTo>
                <a:lnTo>
                  <a:pt x="2024" y="601"/>
                </a:lnTo>
                <a:lnTo>
                  <a:pt x="2032" y="595"/>
                </a:lnTo>
                <a:lnTo>
                  <a:pt x="2040" y="594"/>
                </a:lnTo>
                <a:lnTo>
                  <a:pt x="2045" y="590"/>
                </a:lnTo>
                <a:lnTo>
                  <a:pt x="2049" y="582"/>
                </a:lnTo>
                <a:lnTo>
                  <a:pt x="2058" y="570"/>
                </a:lnTo>
                <a:lnTo>
                  <a:pt x="2063" y="563"/>
                </a:lnTo>
                <a:lnTo>
                  <a:pt x="2070" y="557"/>
                </a:lnTo>
                <a:lnTo>
                  <a:pt x="2078" y="553"/>
                </a:lnTo>
                <a:lnTo>
                  <a:pt x="2087" y="548"/>
                </a:lnTo>
                <a:lnTo>
                  <a:pt x="2096" y="546"/>
                </a:lnTo>
                <a:lnTo>
                  <a:pt x="2104" y="545"/>
                </a:lnTo>
                <a:lnTo>
                  <a:pt x="2111" y="546"/>
                </a:lnTo>
                <a:lnTo>
                  <a:pt x="2116" y="548"/>
                </a:lnTo>
                <a:lnTo>
                  <a:pt x="2124" y="559"/>
                </a:lnTo>
                <a:lnTo>
                  <a:pt x="2131" y="570"/>
                </a:lnTo>
                <a:lnTo>
                  <a:pt x="2138" y="580"/>
                </a:lnTo>
                <a:lnTo>
                  <a:pt x="2150" y="586"/>
                </a:lnTo>
                <a:lnTo>
                  <a:pt x="2153" y="586"/>
                </a:lnTo>
                <a:lnTo>
                  <a:pt x="2155" y="587"/>
                </a:lnTo>
                <a:lnTo>
                  <a:pt x="2157" y="590"/>
                </a:lnTo>
                <a:lnTo>
                  <a:pt x="2158" y="592"/>
                </a:lnTo>
                <a:lnTo>
                  <a:pt x="2157" y="600"/>
                </a:lnTo>
                <a:lnTo>
                  <a:pt x="2153" y="609"/>
                </a:lnTo>
                <a:lnTo>
                  <a:pt x="2150" y="620"/>
                </a:lnTo>
                <a:lnTo>
                  <a:pt x="2147" y="629"/>
                </a:lnTo>
                <a:lnTo>
                  <a:pt x="2147" y="640"/>
                </a:lnTo>
                <a:lnTo>
                  <a:pt x="2147" y="651"/>
                </a:lnTo>
                <a:lnTo>
                  <a:pt x="2145" y="662"/>
                </a:lnTo>
                <a:lnTo>
                  <a:pt x="2140" y="678"/>
                </a:lnTo>
                <a:lnTo>
                  <a:pt x="2137" y="691"/>
                </a:lnTo>
                <a:lnTo>
                  <a:pt x="2137" y="697"/>
                </a:lnTo>
                <a:lnTo>
                  <a:pt x="2138" y="704"/>
                </a:lnTo>
                <a:lnTo>
                  <a:pt x="2138" y="718"/>
                </a:lnTo>
                <a:lnTo>
                  <a:pt x="2135" y="736"/>
                </a:lnTo>
                <a:lnTo>
                  <a:pt x="2130" y="749"/>
                </a:lnTo>
                <a:lnTo>
                  <a:pt x="2127" y="758"/>
                </a:lnTo>
                <a:lnTo>
                  <a:pt x="2126" y="760"/>
                </a:lnTo>
                <a:close/>
              </a:path>
            </a:pathLst>
          </a:custGeom>
          <a:solidFill>
            <a:schemeClr val="accent3"/>
          </a:solidFill>
          <a:ln w="12700">
            <a:solidFill>
              <a:schemeClr val="bg1"/>
            </a:solidFill>
            <a:round/>
            <a:headEnd/>
            <a:tailEnd/>
          </a:ln>
        </p:spPr>
        <p:txBody>
          <a:bodyPr/>
          <a:lstStyle/>
          <a:p>
            <a:pPr>
              <a:defRPr/>
            </a:pPr>
            <a:endParaRPr lang="nl-NL"/>
          </a:p>
        </p:txBody>
      </p:sp>
      <p:sp>
        <p:nvSpPr>
          <p:cNvPr id="8" name="Freeform 9"/>
          <p:cNvSpPr>
            <a:spLocks noChangeAspect="1"/>
          </p:cNvSpPr>
          <p:nvPr/>
        </p:nvSpPr>
        <p:spPr bwMode="auto">
          <a:xfrm>
            <a:off x="4916367" y="3417954"/>
            <a:ext cx="360432" cy="605493"/>
          </a:xfrm>
          <a:custGeom>
            <a:avLst/>
            <a:gdLst>
              <a:gd name="T0" fmla="*/ 241 w 530"/>
              <a:gd name="T1" fmla="*/ 0 h 823"/>
              <a:gd name="T2" fmla="*/ 129 w 530"/>
              <a:gd name="T3" fmla="*/ 68 h 823"/>
              <a:gd name="T4" fmla="*/ 63 w 530"/>
              <a:gd name="T5" fmla="*/ 43 h 823"/>
              <a:gd name="T6" fmla="*/ 112 w 530"/>
              <a:gd name="T7" fmla="*/ 222 h 823"/>
              <a:gd name="T8" fmla="*/ 0 w 530"/>
              <a:gd name="T9" fmla="*/ 323 h 823"/>
              <a:gd name="T10" fmla="*/ 55 w 530"/>
              <a:gd name="T11" fmla="*/ 498 h 823"/>
              <a:gd name="T12" fmla="*/ 23 w 530"/>
              <a:gd name="T13" fmla="*/ 568 h 823"/>
              <a:gd name="T14" fmla="*/ 234 w 530"/>
              <a:gd name="T15" fmla="*/ 642 h 823"/>
              <a:gd name="T16" fmla="*/ 230 w 530"/>
              <a:gd name="T17" fmla="*/ 701 h 823"/>
              <a:gd name="T18" fmla="*/ 388 w 530"/>
              <a:gd name="T19" fmla="*/ 823 h 823"/>
              <a:gd name="T20" fmla="*/ 426 w 530"/>
              <a:gd name="T21" fmla="*/ 802 h 823"/>
              <a:gd name="T22" fmla="*/ 407 w 530"/>
              <a:gd name="T23" fmla="*/ 728 h 823"/>
              <a:gd name="T24" fmla="*/ 430 w 530"/>
              <a:gd name="T25" fmla="*/ 551 h 823"/>
              <a:gd name="T26" fmla="*/ 508 w 530"/>
              <a:gd name="T27" fmla="*/ 513 h 823"/>
              <a:gd name="T28" fmla="*/ 519 w 530"/>
              <a:gd name="T29" fmla="*/ 458 h 823"/>
              <a:gd name="T30" fmla="*/ 491 w 530"/>
              <a:gd name="T31" fmla="*/ 357 h 823"/>
              <a:gd name="T32" fmla="*/ 530 w 530"/>
              <a:gd name="T33" fmla="*/ 222 h 823"/>
              <a:gd name="T34" fmla="*/ 454 w 530"/>
              <a:gd name="T35" fmla="*/ 251 h 823"/>
              <a:gd name="T36" fmla="*/ 422 w 530"/>
              <a:gd name="T37" fmla="*/ 155 h 823"/>
              <a:gd name="T38" fmla="*/ 348 w 530"/>
              <a:gd name="T39" fmla="*/ 47 h 823"/>
              <a:gd name="T40" fmla="*/ 262 w 530"/>
              <a:gd name="T41" fmla="*/ 53 h 823"/>
              <a:gd name="T42" fmla="*/ 241 w 530"/>
              <a:gd name="T43" fmla="*/ 0 h 823"/>
              <a:gd name="T44" fmla="*/ 241 w 530"/>
              <a:gd name="T45" fmla="*/ 0 h 823"/>
              <a:gd name="T46" fmla="*/ 241 w 530"/>
              <a:gd name="T47" fmla="*/ 0 h 8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0"/>
              <a:gd name="T73" fmla="*/ 0 h 823"/>
              <a:gd name="T74" fmla="*/ 530 w 530"/>
              <a:gd name="T75" fmla="*/ 823 h 8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0" h="823">
                <a:moveTo>
                  <a:pt x="241" y="0"/>
                </a:moveTo>
                <a:lnTo>
                  <a:pt x="129" y="68"/>
                </a:lnTo>
                <a:lnTo>
                  <a:pt x="63" y="43"/>
                </a:lnTo>
                <a:lnTo>
                  <a:pt x="112" y="222"/>
                </a:lnTo>
                <a:lnTo>
                  <a:pt x="0" y="323"/>
                </a:lnTo>
                <a:lnTo>
                  <a:pt x="55" y="498"/>
                </a:lnTo>
                <a:lnTo>
                  <a:pt x="23" y="568"/>
                </a:lnTo>
                <a:lnTo>
                  <a:pt x="234" y="642"/>
                </a:lnTo>
                <a:lnTo>
                  <a:pt x="230" y="701"/>
                </a:lnTo>
                <a:lnTo>
                  <a:pt x="388" y="823"/>
                </a:lnTo>
                <a:lnTo>
                  <a:pt x="426" y="802"/>
                </a:lnTo>
                <a:lnTo>
                  <a:pt x="407" y="728"/>
                </a:lnTo>
                <a:lnTo>
                  <a:pt x="430" y="551"/>
                </a:lnTo>
                <a:lnTo>
                  <a:pt x="508" y="513"/>
                </a:lnTo>
                <a:lnTo>
                  <a:pt x="519" y="458"/>
                </a:lnTo>
                <a:lnTo>
                  <a:pt x="491" y="357"/>
                </a:lnTo>
                <a:lnTo>
                  <a:pt x="530" y="222"/>
                </a:lnTo>
                <a:lnTo>
                  <a:pt x="454" y="251"/>
                </a:lnTo>
                <a:lnTo>
                  <a:pt x="422" y="155"/>
                </a:lnTo>
                <a:lnTo>
                  <a:pt x="348" y="47"/>
                </a:lnTo>
                <a:lnTo>
                  <a:pt x="262" y="53"/>
                </a:lnTo>
                <a:lnTo>
                  <a:pt x="241" y="0"/>
                </a:lnTo>
                <a:close/>
              </a:path>
            </a:pathLst>
          </a:custGeom>
          <a:solidFill>
            <a:schemeClr val="accent3"/>
          </a:solidFill>
          <a:ln w="12700">
            <a:solidFill>
              <a:schemeClr val="bg1"/>
            </a:solidFill>
            <a:round/>
            <a:headEnd/>
            <a:tailEnd/>
          </a:ln>
        </p:spPr>
        <p:txBody>
          <a:bodyPr/>
          <a:lstStyle/>
          <a:p>
            <a:pPr>
              <a:defRPr/>
            </a:pPr>
            <a:endParaRPr lang="nl-NL"/>
          </a:p>
        </p:txBody>
      </p:sp>
      <p:sp>
        <p:nvSpPr>
          <p:cNvPr id="9" name="Freeform 10"/>
          <p:cNvSpPr>
            <a:spLocks noChangeAspect="1"/>
          </p:cNvSpPr>
          <p:nvPr/>
        </p:nvSpPr>
        <p:spPr bwMode="auto">
          <a:xfrm>
            <a:off x="5192472" y="3389963"/>
            <a:ext cx="1307077" cy="705671"/>
          </a:xfrm>
          <a:custGeom>
            <a:avLst/>
            <a:gdLst>
              <a:gd name="T0" fmla="*/ 300 w 1922"/>
              <a:gd name="T1" fmla="*/ 70 h 958"/>
              <a:gd name="T2" fmla="*/ 276 w 1922"/>
              <a:gd name="T3" fmla="*/ 106 h 958"/>
              <a:gd name="T4" fmla="*/ 295 w 1922"/>
              <a:gd name="T5" fmla="*/ 230 h 958"/>
              <a:gd name="T6" fmla="*/ 281 w 1922"/>
              <a:gd name="T7" fmla="*/ 273 h 958"/>
              <a:gd name="T8" fmla="*/ 217 w 1922"/>
              <a:gd name="T9" fmla="*/ 289 h 958"/>
              <a:gd name="T10" fmla="*/ 142 w 1922"/>
              <a:gd name="T11" fmla="*/ 403 h 958"/>
              <a:gd name="T12" fmla="*/ 87 w 1922"/>
              <a:gd name="T13" fmla="*/ 403 h 958"/>
              <a:gd name="T14" fmla="*/ 110 w 1922"/>
              <a:gd name="T15" fmla="*/ 501 h 958"/>
              <a:gd name="T16" fmla="*/ 101 w 1922"/>
              <a:gd name="T17" fmla="*/ 545 h 958"/>
              <a:gd name="T18" fmla="*/ 23 w 1922"/>
              <a:gd name="T19" fmla="*/ 589 h 958"/>
              <a:gd name="T20" fmla="*/ 0 w 1922"/>
              <a:gd name="T21" fmla="*/ 766 h 958"/>
              <a:gd name="T22" fmla="*/ 17 w 1922"/>
              <a:gd name="T23" fmla="*/ 836 h 958"/>
              <a:gd name="T24" fmla="*/ 205 w 1922"/>
              <a:gd name="T25" fmla="*/ 712 h 958"/>
              <a:gd name="T26" fmla="*/ 281 w 1922"/>
              <a:gd name="T27" fmla="*/ 773 h 958"/>
              <a:gd name="T28" fmla="*/ 253 w 1922"/>
              <a:gd name="T29" fmla="*/ 868 h 958"/>
              <a:gd name="T30" fmla="*/ 464 w 1922"/>
              <a:gd name="T31" fmla="*/ 887 h 958"/>
              <a:gd name="T32" fmla="*/ 460 w 1922"/>
              <a:gd name="T33" fmla="*/ 939 h 958"/>
              <a:gd name="T34" fmla="*/ 625 w 1922"/>
              <a:gd name="T35" fmla="*/ 958 h 958"/>
              <a:gd name="T36" fmla="*/ 789 w 1922"/>
              <a:gd name="T37" fmla="*/ 764 h 958"/>
              <a:gd name="T38" fmla="*/ 962 w 1922"/>
              <a:gd name="T39" fmla="*/ 764 h 958"/>
              <a:gd name="T40" fmla="*/ 996 w 1922"/>
              <a:gd name="T41" fmla="*/ 739 h 958"/>
              <a:gd name="T42" fmla="*/ 1241 w 1922"/>
              <a:gd name="T43" fmla="*/ 794 h 958"/>
              <a:gd name="T44" fmla="*/ 1441 w 1922"/>
              <a:gd name="T45" fmla="*/ 699 h 958"/>
              <a:gd name="T46" fmla="*/ 1494 w 1922"/>
              <a:gd name="T47" fmla="*/ 699 h 958"/>
              <a:gd name="T48" fmla="*/ 1449 w 1922"/>
              <a:gd name="T49" fmla="*/ 600 h 958"/>
              <a:gd name="T50" fmla="*/ 1471 w 1922"/>
              <a:gd name="T51" fmla="*/ 462 h 958"/>
              <a:gd name="T52" fmla="*/ 1741 w 1922"/>
              <a:gd name="T53" fmla="*/ 433 h 958"/>
              <a:gd name="T54" fmla="*/ 1772 w 1922"/>
              <a:gd name="T55" fmla="*/ 391 h 958"/>
              <a:gd name="T56" fmla="*/ 1922 w 1922"/>
              <a:gd name="T57" fmla="*/ 344 h 958"/>
              <a:gd name="T58" fmla="*/ 1895 w 1922"/>
              <a:gd name="T59" fmla="*/ 165 h 958"/>
              <a:gd name="T60" fmla="*/ 1852 w 1922"/>
              <a:gd name="T61" fmla="*/ 117 h 958"/>
              <a:gd name="T62" fmla="*/ 1802 w 1922"/>
              <a:gd name="T63" fmla="*/ 116 h 958"/>
              <a:gd name="T64" fmla="*/ 1732 w 1922"/>
              <a:gd name="T65" fmla="*/ 36 h 958"/>
              <a:gd name="T66" fmla="*/ 1622 w 1922"/>
              <a:gd name="T67" fmla="*/ 0 h 958"/>
              <a:gd name="T68" fmla="*/ 1546 w 1922"/>
              <a:gd name="T69" fmla="*/ 30 h 958"/>
              <a:gd name="T70" fmla="*/ 1589 w 1922"/>
              <a:gd name="T71" fmla="*/ 123 h 958"/>
              <a:gd name="T72" fmla="*/ 1397 w 1922"/>
              <a:gd name="T73" fmla="*/ 106 h 958"/>
              <a:gd name="T74" fmla="*/ 1144 w 1922"/>
              <a:gd name="T75" fmla="*/ 133 h 958"/>
              <a:gd name="T76" fmla="*/ 983 w 1922"/>
              <a:gd name="T77" fmla="*/ 213 h 958"/>
              <a:gd name="T78" fmla="*/ 988 w 1922"/>
              <a:gd name="T79" fmla="*/ 268 h 958"/>
              <a:gd name="T80" fmla="*/ 880 w 1922"/>
              <a:gd name="T81" fmla="*/ 319 h 958"/>
              <a:gd name="T82" fmla="*/ 874 w 1922"/>
              <a:gd name="T83" fmla="*/ 277 h 958"/>
              <a:gd name="T84" fmla="*/ 703 w 1922"/>
              <a:gd name="T85" fmla="*/ 313 h 958"/>
              <a:gd name="T86" fmla="*/ 620 w 1922"/>
              <a:gd name="T87" fmla="*/ 150 h 958"/>
              <a:gd name="T88" fmla="*/ 540 w 1922"/>
              <a:gd name="T89" fmla="*/ 159 h 958"/>
              <a:gd name="T90" fmla="*/ 439 w 1922"/>
              <a:gd name="T91" fmla="*/ 110 h 958"/>
              <a:gd name="T92" fmla="*/ 390 w 1922"/>
              <a:gd name="T93" fmla="*/ 123 h 958"/>
              <a:gd name="T94" fmla="*/ 325 w 1922"/>
              <a:gd name="T95" fmla="*/ 123 h 958"/>
              <a:gd name="T96" fmla="*/ 300 w 1922"/>
              <a:gd name="T97" fmla="*/ 70 h 958"/>
              <a:gd name="T98" fmla="*/ 300 w 1922"/>
              <a:gd name="T99" fmla="*/ 70 h 958"/>
              <a:gd name="T100" fmla="*/ 300 w 1922"/>
              <a:gd name="T101" fmla="*/ 70 h 9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922"/>
              <a:gd name="T154" fmla="*/ 0 h 958"/>
              <a:gd name="T155" fmla="*/ 1922 w 1922"/>
              <a:gd name="T156" fmla="*/ 958 h 9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922" h="958">
                <a:moveTo>
                  <a:pt x="300" y="70"/>
                </a:moveTo>
                <a:lnTo>
                  <a:pt x="276" y="106"/>
                </a:lnTo>
                <a:lnTo>
                  <a:pt x="295" y="230"/>
                </a:lnTo>
                <a:lnTo>
                  <a:pt x="281" y="273"/>
                </a:lnTo>
                <a:lnTo>
                  <a:pt x="217" y="289"/>
                </a:lnTo>
                <a:lnTo>
                  <a:pt x="142" y="403"/>
                </a:lnTo>
                <a:lnTo>
                  <a:pt x="87" y="403"/>
                </a:lnTo>
                <a:lnTo>
                  <a:pt x="110" y="501"/>
                </a:lnTo>
                <a:lnTo>
                  <a:pt x="101" y="545"/>
                </a:lnTo>
                <a:lnTo>
                  <a:pt x="23" y="589"/>
                </a:lnTo>
                <a:lnTo>
                  <a:pt x="0" y="766"/>
                </a:lnTo>
                <a:lnTo>
                  <a:pt x="17" y="836"/>
                </a:lnTo>
                <a:lnTo>
                  <a:pt x="205" y="712"/>
                </a:lnTo>
                <a:lnTo>
                  <a:pt x="281" y="773"/>
                </a:lnTo>
                <a:lnTo>
                  <a:pt x="253" y="868"/>
                </a:lnTo>
                <a:lnTo>
                  <a:pt x="464" y="887"/>
                </a:lnTo>
                <a:lnTo>
                  <a:pt x="460" y="939"/>
                </a:lnTo>
                <a:lnTo>
                  <a:pt x="625" y="958"/>
                </a:lnTo>
                <a:lnTo>
                  <a:pt x="789" y="764"/>
                </a:lnTo>
                <a:lnTo>
                  <a:pt x="962" y="764"/>
                </a:lnTo>
                <a:lnTo>
                  <a:pt x="996" y="739"/>
                </a:lnTo>
                <a:lnTo>
                  <a:pt x="1241" y="794"/>
                </a:lnTo>
                <a:lnTo>
                  <a:pt x="1441" y="699"/>
                </a:lnTo>
                <a:lnTo>
                  <a:pt x="1494" y="699"/>
                </a:lnTo>
                <a:lnTo>
                  <a:pt x="1449" y="600"/>
                </a:lnTo>
                <a:lnTo>
                  <a:pt x="1471" y="462"/>
                </a:lnTo>
                <a:lnTo>
                  <a:pt x="1741" y="433"/>
                </a:lnTo>
                <a:lnTo>
                  <a:pt x="1772" y="391"/>
                </a:lnTo>
                <a:lnTo>
                  <a:pt x="1922" y="344"/>
                </a:lnTo>
                <a:lnTo>
                  <a:pt x="1895" y="165"/>
                </a:lnTo>
                <a:lnTo>
                  <a:pt x="1852" y="117"/>
                </a:lnTo>
                <a:lnTo>
                  <a:pt x="1802" y="116"/>
                </a:lnTo>
                <a:lnTo>
                  <a:pt x="1732" y="36"/>
                </a:lnTo>
                <a:lnTo>
                  <a:pt x="1622" y="0"/>
                </a:lnTo>
                <a:lnTo>
                  <a:pt x="1546" y="30"/>
                </a:lnTo>
                <a:lnTo>
                  <a:pt x="1589" y="123"/>
                </a:lnTo>
                <a:lnTo>
                  <a:pt x="1397" y="106"/>
                </a:lnTo>
                <a:lnTo>
                  <a:pt x="1144" y="133"/>
                </a:lnTo>
                <a:lnTo>
                  <a:pt x="983" y="213"/>
                </a:lnTo>
                <a:lnTo>
                  <a:pt x="988" y="268"/>
                </a:lnTo>
                <a:lnTo>
                  <a:pt x="880" y="319"/>
                </a:lnTo>
                <a:lnTo>
                  <a:pt x="874" y="277"/>
                </a:lnTo>
                <a:lnTo>
                  <a:pt x="703" y="313"/>
                </a:lnTo>
                <a:lnTo>
                  <a:pt x="620" y="150"/>
                </a:lnTo>
                <a:lnTo>
                  <a:pt x="540" y="159"/>
                </a:lnTo>
                <a:lnTo>
                  <a:pt x="439" y="110"/>
                </a:lnTo>
                <a:lnTo>
                  <a:pt x="390" y="123"/>
                </a:lnTo>
                <a:lnTo>
                  <a:pt x="325" y="123"/>
                </a:lnTo>
                <a:lnTo>
                  <a:pt x="300" y="70"/>
                </a:lnTo>
                <a:close/>
              </a:path>
            </a:pathLst>
          </a:custGeom>
          <a:solidFill>
            <a:schemeClr val="accent3"/>
          </a:solidFill>
          <a:ln w="12700">
            <a:solidFill>
              <a:schemeClr val="bg1"/>
            </a:solidFill>
            <a:round/>
            <a:headEnd/>
            <a:tailEnd/>
          </a:ln>
        </p:spPr>
        <p:txBody>
          <a:bodyPr/>
          <a:lstStyle/>
          <a:p>
            <a:pPr>
              <a:defRPr/>
            </a:pPr>
            <a:endParaRPr lang="nl-NL"/>
          </a:p>
        </p:txBody>
      </p:sp>
      <p:sp>
        <p:nvSpPr>
          <p:cNvPr id="11" name="Freeform 11"/>
          <p:cNvSpPr>
            <a:spLocks noChangeAspect="1"/>
          </p:cNvSpPr>
          <p:nvPr/>
        </p:nvSpPr>
        <p:spPr bwMode="auto">
          <a:xfrm>
            <a:off x="6177200" y="3167507"/>
            <a:ext cx="965686" cy="878038"/>
          </a:xfrm>
          <a:custGeom>
            <a:avLst/>
            <a:gdLst>
              <a:gd name="T0" fmla="*/ 431 w 1420"/>
              <a:gd name="T1" fmla="*/ 365 h 1192"/>
              <a:gd name="T2" fmla="*/ 405 w 1420"/>
              <a:gd name="T3" fmla="*/ 422 h 1192"/>
              <a:gd name="T4" fmla="*/ 448 w 1420"/>
              <a:gd name="T5" fmla="*/ 468 h 1192"/>
              <a:gd name="T6" fmla="*/ 475 w 1420"/>
              <a:gd name="T7" fmla="*/ 645 h 1192"/>
              <a:gd name="T8" fmla="*/ 325 w 1420"/>
              <a:gd name="T9" fmla="*/ 692 h 1192"/>
              <a:gd name="T10" fmla="*/ 294 w 1420"/>
              <a:gd name="T11" fmla="*/ 734 h 1192"/>
              <a:gd name="T12" fmla="*/ 24 w 1420"/>
              <a:gd name="T13" fmla="*/ 766 h 1192"/>
              <a:gd name="T14" fmla="*/ 0 w 1420"/>
              <a:gd name="T15" fmla="*/ 905 h 1192"/>
              <a:gd name="T16" fmla="*/ 47 w 1420"/>
              <a:gd name="T17" fmla="*/ 1002 h 1192"/>
              <a:gd name="T18" fmla="*/ 138 w 1420"/>
              <a:gd name="T19" fmla="*/ 1000 h 1192"/>
              <a:gd name="T20" fmla="*/ 235 w 1420"/>
              <a:gd name="T21" fmla="*/ 930 h 1192"/>
              <a:gd name="T22" fmla="*/ 439 w 1420"/>
              <a:gd name="T23" fmla="*/ 970 h 1192"/>
              <a:gd name="T24" fmla="*/ 465 w 1420"/>
              <a:gd name="T25" fmla="*/ 936 h 1192"/>
              <a:gd name="T26" fmla="*/ 612 w 1420"/>
              <a:gd name="T27" fmla="*/ 989 h 1192"/>
              <a:gd name="T28" fmla="*/ 762 w 1420"/>
              <a:gd name="T29" fmla="*/ 1105 h 1192"/>
              <a:gd name="T30" fmla="*/ 823 w 1420"/>
              <a:gd name="T31" fmla="*/ 1107 h 1192"/>
              <a:gd name="T32" fmla="*/ 939 w 1420"/>
              <a:gd name="T33" fmla="*/ 1023 h 1192"/>
              <a:gd name="T34" fmla="*/ 1199 w 1420"/>
              <a:gd name="T35" fmla="*/ 1095 h 1192"/>
              <a:gd name="T36" fmla="*/ 1260 w 1420"/>
              <a:gd name="T37" fmla="*/ 1192 h 1192"/>
              <a:gd name="T38" fmla="*/ 1344 w 1420"/>
              <a:gd name="T39" fmla="*/ 1171 h 1192"/>
              <a:gd name="T40" fmla="*/ 1353 w 1420"/>
              <a:gd name="T41" fmla="*/ 1107 h 1192"/>
              <a:gd name="T42" fmla="*/ 1350 w 1420"/>
              <a:gd name="T43" fmla="*/ 1012 h 1192"/>
              <a:gd name="T44" fmla="*/ 1420 w 1420"/>
              <a:gd name="T45" fmla="*/ 987 h 1192"/>
              <a:gd name="T46" fmla="*/ 1344 w 1420"/>
              <a:gd name="T47" fmla="*/ 915 h 1192"/>
              <a:gd name="T48" fmla="*/ 1344 w 1420"/>
              <a:gd name="T49" fmla="*/ 860 h 1192"/>
              <a:gd name="T50" fmla="*/ 1287 w 1420"/>
              <a:gd name="T51" fmla="*/ 825 h 1192"/>
              <a:gd name="T52" fmla="*/ 1154 w 1420"/>
              <a:gd name="T53" fmla="*/ 842 h 1192"/>
              <a:gd name="T54" fmla="*/ 1154 w 1420"/>
              <a:gd name="T55" fmla="*/ 662 h 1192"/>
              <a:gd name="T56" fmla="*/ 1180 w 1420"/>
              <a:gd name="T57" fmla="*/ 618 h 1192"/>
              <a:gd name="T58" fmla="*/ 1080 w 1420"/>
              <a:gd name="T59" fmla="*/ 576 h 1192"/>
              <a:gd name="T60" fmla="*/ 1080 w 1420"/>
              <a:gd name="T61" fmla="*/ 455 h 1192"/>
              <a:gd name="T62" fmla="*/ 1106 w 1420"/>
              <a:gd name="T63" fmla="*/ 358 h 1192"/>
              <a:gd name="T64" fmla="*/ 1053 w 1420"/>
              <a:gd name="T65" fmla="*/ 318 h 1192"/>
              <a:gd name="T66" fmla="*/ 1057 w 1420"/>
              <a:gd name="T67" fmla="*/ 297 h 1192"/>
              <a:gd name="T68" fmla="*/ 1142 w 1420"/>
              <a:gd name="T69" fmla="*/ 297 h 1192"/>
              <a:gd name="T70" fmla="*/ 1142 w 1420"/>
              <a:gd name="T71" fmla="*/ 272 h 1192"/>
              <a:gd name="T72" fmla="*/ 1066 w 1420"/>
              <a:gd name="T73" fmla="*/ 247 h 1192"/>
              <a:gd name="T74" fmla="*/ 1032 w 1420"/>
              <a:gd name="T75" fmla="*/ 266 h 1192"/>
              <a:gd name="T76" fmla="*/ 956 w 1420"/>
              <a:gd name="T77" fmla="*/ 238 h 1192"/>
              <a:gd name="T78" fmla="*/ 950 w 1420"/>
              <a:gd name="T79" fmla="*/ 111 h 1192"/>
              <a:gd name="T80" fmla="*/ 952 w 1420"/>
              <a:gd name="T81" fmla="*/ 78 h 1192"/>
              <a:gd name="T82" fmla="*/ 1013 w 1420"/>
              <a:gd name="T83" fmla="*/ 95 h 1192"/>
              <a:gd name="T84" fmla="*/ 1030 w 1420"/>
              <a:gd name="T85" fmla="*/ 59 h 1192"/>
              <a:gd name="T86" fmla="*/ 950 w 1420"/>
              <a:gd name="T87" fmla="*/ 25 h 1192"/>
              <a:gd name="T88" fmla="*/ 891 w 1420"/>
              <a:gd name="T89" fmla="*/ 56 h 1192"/>
              <a:gd name="T90" fmla="*/ 718 w 1420"/>
              <a:gd name="T91" fmla="*/ 0 h 1192"/>
              <a:gd name="T92" fmla="*/ 633 w 1420"/>
              <a:gd name="T93" fmla="*/ 36 h 1192"/>
              <a:gd name="T94" fmla="*/ 635 w 1420"/>
              <a:gd name="T95" fmla="*/ 67 h 1192"/>
              <a:gd name="T96" fmla="*/ 753 w 1420"/>
              <a:gd name="T97" fmla="*/ 168 h 1192"/>
              <a:gd name="T98" fmla="*/ 652 w 1420"/>
              <a:gd name="T99" fmla="*/ 329 h 1192"/>
              <a:gd name="T100" fmla="*/ 772 w 1420"/>
              <a:gd name="T101" fmla="*/ 329 h 1192"/>
              <a:gd name="T102" fmla="*/ 753 w 1420"/>
              <a:gd name="T103" fmla="*/ 599 h 1192"/>
              <a:gd name="T104" fmla="*/ 635 w 1420"/>
              <a:gd name="T105" fmla="*/ 588 h 1192"/>
              <a:gd name="T106" fmla="*/ 572 w 1420"/>
              <a:gd name="T107" fmla="*/ 375 h 1192"/>
              <a:gd name="T108" fmla="*/ 431 w 1420"/>
              <a:gd name="T109" fmla="*/ 365 h 1192"/>
              <a:gd name="T110" fmla="*/ 431 w 1420"/>
              <a:gd name="T111" fmla="*/ 365 h 1192"/>
              <a:gd name="T112" fmla="*/ 431 w 1420"/>
              <a:gd name="T113" fmla="*/ 365 h 11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20"/>
              <a:gd name="T172" fmla="*/ 0 h 1192"/>
              <a:gd name="T173" fmla="*/ 1420 w 1420"/>
              <a:gd name="T174" fmla="*/ 1192 h 119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20" h="1192">
                <a:moveTo>
                  <a:pt x="431" y="365"/>
                </a:moveTo>
                <a:lnTo>
                  <a:pt x="405" y="422"/>
                </a:lnTo>
                <a:lnTo>
                  <a:pt x="448" y="468"/>
                </a:lnTo>
                <a:lnTo>
                  <a:pt x="475" y="645"/>
                </a:lnTo>
                <a:lnTo>
                  <a:pt x="325" y="692"/>
                </a:lnTo>
                <a:lnTo>
                  <a:pt x="294" y="734"/>
                </a:lnTo>
                <a:lnTo>
                  <a:pt x="24" y="766"/>
                </a:lnTo>
                <a:lnTo>
                  <a:pt x="0" y="905"/>
                </a:lnTo>
                <a:lnTo>
                  <a:pt x="47" y="1002"/>
                </a:lnTo>
                <a:lnTo>
                  <a:pt x="138" y="1000"/>
                </a:lnTo>
                <a:lnTo>
                  <a:pt x="235" y="930"/>
                </a:lnTo>
                <a:lnTo>
                  <a:pt x="439" y="970"/>
                </a:lnTo>
                <a:lnTo>
                  <a:pt x="465" y="936"/>
                </a:lnTo>
                <a:lnTo>
                  <a:pt x="612" y="989"/>
                </a:lnTo>
                <a:lnTo>
                  <a:pt x="762" y="1105"/>
                </a:lnTo>
                <a:lnTo>
                  <a:pt x="823" y="1107"/>
                </a:lnTo>
                <a:lnTo>
                  <a:pt x="939" y="1023"/>
                </a:lnTo>
                <a:lnTo>
                  <a:pt x="1199" y="1095"/>
                </a:lnTo>
                <a:lnTo>
                  <a:pt x="1260" y="1192"/>
                </a:lnTo>
                <a:lnTo>
                  <a:pt x="1344" y="1171"/>
                </a:lnTo>
                <a:lnTo>
                  <a:pt x="1353" y="1107"/>
                </a:lnTo>
                <a:lnTo>
                  <a:pt x="1350" y="1012"/>
                </a:lnTo>
                <a:lnTo>
                  <a:pt x="1420" y="987"/>
                </a:lnTo>
                <a:lnTo>
                  <a:pt x="1344" y="915"/>
                </a:lnTo>
                <a:lnTo>
                  <a:pt x="1344" y="860"/>
                </a:lnTo>
                <a:lnTo>
                  <a:pt x="1287" y="825"/>
                </a:lnTo>
                <a:lnTo>
                  <a:pt x="1154" y="842"/>
                </a:lnTo>
                <a:lnTo>
                  <a:pt x="1154" y="662"/>
                </a:lnTo>
                <a:lnTo>
                  <a:pt x="1180" y="618"/>
                </a:lnTo>
                <a:lnTo>
                  <a:pt x="1080" y="576"/>
                </a:lnTo>
                <a:lnTo>
                  <a:pt x="1080" y="455"/>
                </a:lnTo>
                <a:lnTo>
                  <a:pt x="1106" y="358"/>
                </a:lnTo>
                <a:lnTo>
                  <a:pt x="1053" y="318"/>
                </a:lnTo>
                <a:lnTo>
                  <a:pt x="1057" y="297"/>
                </a:lnTo>
                <a:lnTo>
                  <a:pt x="1142" y="297"/>
                </a:lnTo>
                <a:lnTo>
                  <a:pt x="1142" y="272"/>
                </a:lnTo>
                <a:lnTo>
                  <a:pt x="1066" y="247"/>
                </a:lnTo>
                <a:lnTo>
                  <a:pt x="1032" y="266"/>
                </a:lnTo>
                <a:lnTo>
                  <a:pt x="956" y="238"/>
                </a:lnTo>
                <a:lnTo>
                  <a:pt x="950" y="111"/>
                </a:lnTo>
                <a:lnTo>
                  <a:pt x="952" y="78"/>
                </a:lnTo>
                <a:lnTo>
                  <a:pt x="1013" y="95"/>
                </a:lnTo>
                <a:lnTo>
                  <a:pt x="1030" y="59"/>
                </a:lnTo>
                <a:lnTo>
                  <a:pt x="950" y="25"/>
                </a:lnTo>
                <a:lnTo>
                  <a:pt x="891" y="56"/>
                </a:lnTo>
                <a:lnTo>
                  <a:pt x="718" y="0"/>
                </a:lnTo>
                <a:lnTo>
                  <a:pt x="633" y="36"/>
                </a:lnTo>
                <a:lnTo>
                  <a:pt x="635" y="67"/>
                </a:lnTo>
                <a:lnTo>
                  <a:pt x="753" y="168"/>
                </a:lnTo>
                <a:lnTo>
                  <a:pt x="652" y="329"/>
                </a:lnTo>
                <a:lnTo>
                  <a:pt x="772" y="329"/>
                </a:lnTo>
                <a:lnTo>
                  <a:pt x="753" y="599"/>
                </a:lnTo>
                <a:lnTo>
                  <a:pt x="635" y="588"/>
                </a:lnTo>
                <a:lnTo>
                  <a:pt x="572" y="375"/>
                </a:lnTo>
                <a:lnTo>
                  <a:pt x="431" y="365"/>
                </a:lnTo>
                <a:close/>
              </a:path>
            </a:pathLst>
          </a:custGeom>
          <a:solidFill>
            <a:schemeClr val="accent3"/>
          </a:solidFill>
          <a:ln w="12700">
            <a:solidFill>
              <a:schemeClr val="bg1"/>
            </a:solidFill>
            <a:round/>
            <a:headEnd/>
            <a:tailEnd/>
          </a:ln>
        </p:spPr>
        <p:txBody>
          <a:bodyPr/>
          <a:lstStyle/>
          <a:p>
            <a:pPr>
              <a:defRPr/>
            </a:pPr>
            <a:endParaRPr lang="nl-NL"/>
          </a:p>
        </p:txBody>
      </p:sp>
      <p:sp>
        <p:nvSpPr>
          <p:cNvPr id="12" name="Freeform 12"/>
          <p:cNvSpPr>
            <a:spLocks noChangeAspect="1"/>
          </p:cNvSpPr>
          <p:nvPr/>
        </p:nvSpPr>
        <p:spPr bwMode="auto">
          <a:xfrm>
            <a:off x="6213923" y="3851080"/>
            <a:ext cx="406676" cy="427233"/>
          </a:xfrm>
          <a:custGeom>
            <a:avLst/>
            <a:gdLst>
              <a:gd name="T0" fmla="*/ 180 w 597"/>
              <a:gd name="T1" fmla="*/ 0 h 580"/>
              <a:gd name="T2" fmla="*/ 80 w 597"/>
              <a:gd name="T3" fmla="*/ 68 h 580"/>
              <a:gd name="T4" fmla="*/ 110 w 597"/>
              <a:gd name="T5" fmla="*/ 122 h 580"/>
              <a:gd name="T6" fmla="*/ 0 w 597"/>
              <a:gd name="T7" fmla="*/ 167 h 580"/>
              <a:gd name="T8" fmla="*/ 13 w 597"/>
              <a:gd name="T9" fmla="*/ 264 h 580"/>
              <a:gd name="T10" fmla="*/ 89 w 597"/>
              <a:gd name="T11" fmla="*/ 302 h 580"/>
              <a:gd name="T12" fmla="*/ 129 w 597"/>
              <a:gd name="T13" fmla="*/ 479 h 580"/>
              <a:gd name="T14" fmla="*/ 331 w 597"/>
              <a:gd name="T15" fmla="*/ 572 h 580"/>
              <a:gd name="T16" fmla="*/ 390 w 597"/>
              <a:gd name="T17" fmla="*/ 580 h 580"/>
              <a:gd name="T18" fmla="*/ 390 w 597"/>
              <a:gd name="T19" fmla="*/ 519 h 580"/>
              <a:gd name="T20" fmla="*/ 433 w 597"/>
              <a:gd name="T21" fmla="*/ 475 h 580"/>
              <a:gd name="T22" fmla="*/ 597 w 597"/>
              <a:gd name="T23" fmla="*/ 443 h 580"/>
              <a:gd name="T24" fmla="*/ 597 w 597"/>
              <a:gd name="T25" fmla="*/ 403 h 580"/>
              <a:gd name="T26" fmla="*/ 504 w 597"/>
              <a:gd name="T27" fmla="*/ 323 h 580"/>
              <a:gd name="T28" fmla="*/ 490 w 597"/>
              <a:gd name="T29" fmla="*/ 237 h 580"/>
              <a:gd name="T30" fmla="*/ 410 w 597"/>
              <a:gd name="T31" fmla="*/ 188 h 580"/>
              <a:gd name="T32" fmla="*/ 420 w 597"/>
              <a:gd name="T33" fmla="*/ 125 h 580"/>
              <a:gd name="T34" fmla="*/ 384 w 597"/>
              <a:gd name="T35" fmla="*/ 40 h 580"/>
              <a:gd name="T36" fmla="*/ 180 w 597"/>
              <a:gd name="T37" fmla="*/ 0 h 580"/>
              <a:gd name="T38" fmla="*/ 180 w 597"/>
              <a:gd name="T39" fmla="*/ 0 h 580"/>
              <a:gd name="T40" fmla="*/ 180 w 597"/>
              <a:gd name="T41" fmla="*/ 0 h 5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97"/>
              <a:gd name="T64" fmla="*/ 0 h 580"/>
              <a:gd name="T65" fmla="*/ 597 w 597"/>
              <a:gd name="T66" fmla="*/ 580 h 58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97" h="580">
                <a:moveTo>
                  <a:pt x="180" y="0"/>
                </a:moveTo>
                <a:lnTo>
                  <a:pt x="80" y="68"/>
                </a:lnTo>
                <a:lnTo>
                  <a:pt x="110" y="122"/>
                </a:lnTo>
                <a:lnTo>
                  <a:pt x="0" y="167"/>
                </a:lnTo>
                <a:lnTo>
                  <a:pt x="13" y="264"/>
                </a:lnTo>
                <a:lnTo>
                  <a:pt x="89" y="302"/>
                </a:lnTo>
                <a:lnTo>
                  <a:pt x="129" y="479"/>
                </a:lnTo>
                <a:lnTo>
                  <a:pt x="331" y="572"/>
                </a:lnTo>
                <a:lnTo>
                  <a:pt x="390" y="580"/>
                </a:lnTo>
                <a:lnTo>
                  <a:pt x="390" y="519"/>
                </a:lnTo>
                <a:lnTo>
                  <a:pt x="433" y="475"/>
                </a:lnTo>
                <a:lnTo>
                  <a:pt x="597" y="443"/>
                </a:lnTo>
                <a:lnTo>
                  <a:pt x="597" y="403"/>
                </a:lnTo>
                <a:lnTo>
                  <a:pt x="504" y="323"/>
                </a:lnTo>
                <a:lnTo>
                  <a:pt x="490" y="237"/>
                </a:lnTo>
                <a:lnTo>
                  <a:pt x="410" y="188"/>
                </a:lnTo>
                <a:lnTo>
                  <a:pt x="420" y="125"/>
                </a:lnTo>
                <a:lnTo>
                  <a:pt x="384" y="40"/>
                </a:lnTo>
                <a:lnTo>
                  <a:pt x="180" y="0"/>
                </a:lnTo>
                <a:close/>
              </a:path>
            </a:pathLst>
          </a:custGeom>
          <a:solidFill>
            <a:schemeClr val="accent3"/>
          </a:solidFill>
          <a:ln w="12700">
            <a:solidFill>
              <a:schemeClr val="bg1"/>
            </a:solidFill>
            <a:round/>
            <a:headEnd/>
            <a:tailEnd/>
          </a:ln>
        </p:spPr>
        <p:txBody>
          <a:bodyPr/>
          <a:lstStyle/>
          <a:p>
            <a:pPr>
              <a:defRPr/>
            </a:pPr>
            <a:endParaRPr lang="nl-NL"/>
          </a:p>
        </p:txBody>
      </p:sp>
      <p:sp>
        <p:nvSpPr>
          <p:cNvPr id="13" name="Freeform 13"/>
          <p:cNvSpPr>
            <a:spLocks noChangeAspect="1"/>
          </p:cNvSpPr>
          <p:nvPr/>
        </p:nvSpPr>
        <p:spPr bwMode="auto">
          <a:xfrm>
            <a:off x="6475066" y="3855500"/>
            <a:ext cx="1211868" cy="606966"/>
          </a:xfrm>
          <a:custGeom>
            <a:avLst/>
            <a:gdLst>
              <a:gd name="T0" fmla="*/ 26 w 1781"/>
              <a:gd name="T1" fmla="*/ 0 h 823"/>
              <a:gd name="T2" fmla="*/ 0 w 1781"/>
              <a:gd name="T3" fmla="*/ 34 h 823"/>
              <a:gd name="T4" fmla="*/ 36 w 1781"/>
              <a:gd name="T5" fmla="*/ 121 h 823"/>
              <a:gd name="T6" fmla="*/ 26 w 1781"/>
              <a:gd name="T7" fmla="*/ 180 h 823"/>
              <a:gd name="T8" fmla="*/ 110 w 1781"/>
              <a:gd name="T9" fmla="*/ 235 h 823"/>
              <a:gd name="T10" fmla="*/ 123 w 1781"/>
              <a:gd name="T11" fmla="*/ 321 h 823"/>
              <a:gd name="T12" fmla="*/ 213 w 1781"/>
              <a:gd name="T13" fmla="*/ 397 h 823"/>
              <a:gd name="T14" fmla="*/ 213 w 1781"/>
              <a:gd name="T15" fmla="*/ 437 h 823"/>
              <a:gd name="T16" fmla="*/ 45 w 1781"/>
              <a:gd name="T17" fmla="*/ 467 h 823"/>
              <a:gd name="T18" fmla="*/ 6 w 1781"/>
              <a:gd name="T19" fmla="*/ 513 h 823"/>
              <a:gd name="T20" fmla="*/ 6 w 1781"/>
              <a:gd name="T21" fmla="*/ 574 h 823"/>
              <a:gd name="T22" fmla="*/ 734 w 1781"/>
              <a:gd name="T23" fmla="*/ 731 h 823"/>
              <a:gd name="T24" fmla="*/ 1321 w 1781"/>
              <a:gd name="T25" fmla="*/ 823 h 823"/>
              <a:gd name="T26" fmla="*/ 1625 w 1781"/>
              <a:gd name="T27" fmla="*/ 672 h 823"/>
              <a:gd name="T28" fmla="*/ 1781 w 1781"/>
              <a:gd name="T29" fmla="*/ 659 h 823"/>
              <a:gd name="T30" fmla="*/ 1770 w 1781"/>
              <a:gd name="T31" fmla="*/ 486 h 823"/>
              <a:gd name="T32" fmla="*/ 1734 w 1781"/>
              <a:gd name="T33" fmla="*/ 467 h 823"/>
              <a:gd name="T34" fmla="*/ 1741 w 1781"/>
              <a:gd name="T35" fmla="*/ 281 h 823"/>
              <a:gd name="T36" fmla="*/ 1599 w 1781"/>
              <a:gd name="T37" fmla="*/ 165 h 823"/>
              <a:gd name="T38" fmla="*/ 1357 w 1781"/>
              <a:gd name="T39" fmla="*/ 209 h 823"/>
              <a:gd name="T40" fmla="*/ 1317 w 1781"/>
              <a:gd name="T41" fmla="*/ 252 h 823"/>
              <a:gd name="T42" fmla="*/ 1171 w 1781"/>
              <a:gd name="T43" fmla="*/ 146 h 823"/>
              <a:gd name="T44" fmla="*/ 950 w 1781"/>
              <a:gd name="T45" fmla="*/ 287 h 823"/>
              <a:gd name="T46" fmla="*/ 857 w 1781"/>
              <a:gd name="T47" fmla="*/ 311 h 823"/>
              <a:gd name="T48" fmla="*/ 827 w 1781"/>
              <a:gd name="T49" fmla="*/ 256 h 823"/>
              <a:gd name="T50" fmla="*/ 764 w 1781"/>
              <a:gd name="T51" fmla="*/ 161 h 823"/>
              <a:gd name="T52" fmla="*/ 500 w 1781"/>
              <a:gd name="T53" fmla="*/ 87 h 823"/>
              <a:gd name="T54" fmla="*/ 390 w 1781"/>
              <a:gd name="T55" fmla="*/ 165 h 823"/>
              <a:gd name="T56" fmla="*/ 323 w 1781"/>
              <a:gd name="T57" fmla="*/ 165 h 823"/>
              <a:gd name="T58" fmla="*/ 169 w 1781"/>
              <a:gd name="T59" fmla="*/ 49 h 823"/>
              <a:gd name="T60" fmla="*/ 26 w 1781"/>
              <a:gd name="T61" fmla="*/ 0 h 823"/>
              <a:gd name="T62" fmla="*/ 26 w 1781"/>
              <a:gd name="T63" fmla="*/ 0 h 823"/>
              <a:gd name="T64" fmla="*/ 26 w 1781"/>
              <a:gd name="T65" fmla="*/ 0 h 82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81"/>
              <a:gd name="T100" fmla="*/ 0 h 823"/>
              <a:gd name="T101" fmla="*/ 1781 w 1781"/>
              <a:gd name="T102" fmla="*/ 823 h 82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81" h="823">
                <a:moveTo>
                  <a:pt x="26" y="0"/>
                </a:moveTo>
                <a:lnTo>
                  <a:pt x="0" y="34"/>
                </a:lnTo>
                <a:lnTo>
                  <a:pt x="36" y="121"/>
                </a:lnTo>
                <a:lnTo>
                  <a:pt x="26" y="180"/>
                </a:lnTo>
                <a:lnTo>
                  <a:pt x="110" y="235"/>
                </a:lnTo>
                <a:lnTo>
                  <a:pt x="123" y="321"/>
                </a:lnTo>
                <a:lnTo>
                  <a:pt x="213" y="397"/>
                </a:lnTo>
                <a:lnTo>
                  <a:pt x="213" y="437"/>
                </a:lnTo>
                <a:lnTo>
                  <a:pt x="45" y="467"/>
                </a:lnTo>
                <a:lnTo>
                  <a:pt x="6" y="513"/>
                </a:lnTo>
                <a:lnTo>
                  <a:pt x="6" y="574"/>
                </a:lnTo>
                <a:lnTo>
                  <a:pt x="734" y="731"/>
                </a:lnTo>
                <a:lnTo>
                  <a:pt x="1321" y="823"/>
                </a:lnTo>
                <a:lnTo>
                  <a:pt x="1625" y="672"/>
                </a:lnTo>
                <a:lnTo>
                  <a:pt x="1781" y="659"/>
                </a:lnTo>
                <a:lnTo>
                  <a:pt x="1770" y="486"/>
                </a:lnTo>
                <a:lnTo>
                  <a:pt x="1734" y="467"/>
                </a:lnTo>
                <a:lnTo>
                  <a:pt x="1741" y="281"/>
                </a:lnTo>
                <a:lnTo>
                  <a:pt x="1599" y="165"/>
                </a:lnTo>
                <a:lnTo>
                  <a:pt x="1357" y="209"/>
                </a:lnTo>
                <a:lnTo>
                  <a:pt x="1317" y="252"/>
                </a:lnTo>
                <a:lnTo>
                  <a:pt x="1171" y="146"/>
                </a:lnTo>
                <a:lnTo>
                  <a:pt x="950" y="287"/>
                </a:lnTo>
                <a:lnTo>
                  <a:pt x="857" y="311"/>
                </a:lnTo>
                <a:lnTo>
                  <a:pt x="827" y="256"/>
                </a:lnTo>
                <a:lnTo>
                  <a:pt x="764" y="161"/>
                </a:lnTo>
                <a:lnTo>
                  <a:pt x="500" y="87"/>
                </a:lnTo>
                <a:lnTo>
                  <a:pt x="390" y="165"/>
                </a:lnTo>
                <a:lnTo>
                  <a:pt x="323" y="165"/>
                </a:lnTo>
                <a:lnTo>
                  <a:pt x="169" y="49"/>
                </a:lnTo>
                <a:lnTo>
                  <a:pt x="26" y="0"/>
                </a:lnTo>
                <a:close/>
              </a:path>
            </a:pathLst>
          </a:custGeom>
          <a:solidFill>
            <a:schemeClr val="accent3"/>
          </a:solidFill>
          <a:ln w="12700">
            <a:solidFill>
              <a:schemeClr val="bg1"/>
            </a:solidFill>
            <a:round/>
            <a:headEnd/>
            <a:tailEnd/>
          </a:ln>
        </p:spPr>
        <p:txBody>
          <a:bodyPr/>
          <a:lstStyle/>
          <a:p>
            <a:pPr>
              <a:defRPr/>
            </a:pPr>
            <a:endParaRPr lang="nl-NL"/>
          </a:p>
        </p:txBody>
      </p:sp>
      <p:sp>
        <p:nvSpPr>
          <p:cNvPr id="14" name="Freeform 14"/>
          <p:cNvSpPr>
            <a:spLocks noChangeAspect="1"/>
          </p:cNvSpPr>
          <p:nvPr/>
        </p:nvSpPr>
        <p:spPr bwMode="auto">
          <a:xfrm>
            <a:off x="6578435" y="2600318"/>
            <a:ext cx="1090817" cy="1023887"/>
          </a:xfrm>
          <a:custGeom>
            <a:avLst/>
            <a:gdLst>
              <a:gd name="T0" fmla="*/ 800 w 1605"/>
              <a:gd name="T1" fmla="*/ 0 h 1391"/>
              <a:gd name="T2" fmla="*/ 707 w 1605"/>
              <a:gd name="T3" fmla="*/ 283 h 1391"/>
              <a:gd name="T4" fmla="*/ 574 w 1605"/>
              <a:gd name="T5" fmla="*/ 190 h 1391"/>
              <a:gd name="T6" fmla="*/ 504 w 1605"/>
              <a:gd name="T7" fmla="*/ 222 h 1391"/>
              <a:gd name="T8" fmla="*/ 487 w 1605"/>
              <a:gd name="T9" fmla="*/ 416 h 1391"/>
              <a:gd name="T10" fmla="*/ 167 w 1605"/>
              <a:gd name="T11" fmla="*/ 574 h 1391"/>
              <a:gd name="T12" fmla="*/ 89 w 1605"/>
              <a:gd name="T13" fmla="*/ 556 h 1391"/>
              <a:gd name="T14" fmla="*/ 0 w 1605"/>
              <a:gd name="T15" fmla="*/ 663 h 1391"/>
              <a:gd name="T16" fmla="*/ 44 w 1605"/>
              <a:gd name="T17" fmla="*/ 805 h 1391"/>
              <a:gd name="T18" fmla="*/ 129 w 1605"/>
              <a:gd name="T19" fmla="*/ 769 h 1391"/>
              <a:gd name="T20" fmla="*/ 302 w 1605"/>
              <a:gd name="T21" fmla="*/ 826 h 1391"/>
              <a:gd name="T22" fmla="*/ 363 w 1605"/>
              <a:gd name="T23" fmla="*/ 798 h 1391"/>
              <a:gd name="T24" fmla="*/ 437 w 1605"/>
              <a:gd name="T25" fmla="*/ 830 h 1391"/>
              <a:gd name="T26" fmla="*/ 424 w 1605"/>
              <a:gd name="T27" fmla="*/ 863 h 1391"/>
              <a:gd name="T28" fmla="*/ 363 w 1605"/>
              <a:gd name="T29" fmla="*/ 842 h 1391"/>
              <a:gd name="T30" fmla="*/ 357 w 1605"/>
              <a:gd name="T31" fmla="*/ 887 h 1391"/>
              <a:gd name="T32" fmla="*/ 367 w 1605"/>
              <a:gd name="T33" fmla="*/ 1011 h 1391"/>
              <a:gd name="T34" fmla="*/ 443 w 1605"/>
              <a:gd name="T35" fmla="*/ 1035 h 1391"/>
              <a:gd name="T36" fmla="*/ 481 w 1605"/>
              <a:gd name="T37" fmla="*/ 1020 h 1391"/>
              <a:gd name="T38" fmla="*/ 553 w 1605"/>
              <a:gd name="T39" fmla="*/ 1041 h 1391"/>
              <a:gd name="T40" fmla="*/ 553 w 1605"/>
              <a:gd name="T41" fmla="*/ 1066 h 1391"/>
              <a:gd name="T42" fmla="*/ 470 w 1605"/>
              <a:gd name="T43" fmla="*/ 1066 h 1391"/>
              <a:gd name="T44" fmla="*/ 464 w 1605"/>
              <a:gd name="T45" fmla="*/ 1085 h 1391"/>
              <a:gd name="T46" fmla="*/ 517 w 1605"/>
              <a:gd name="T47" fmla="*/ 1127 h 1391"/>
              <a:gd name="T48" fmla="*/ 491 w 1605"/>
              <a:gd name="T49" fmla="*/ 1224 h 1391"/>
              <a:gd name="T50" fmla="*/ 487 w 1605"/>
              <a:gd name="T51" fmla="*/ 1345 h 1391"/>
              <a:gd name="T52" fmla="*/ 588 w 1605"/>
              <a:gd name="T53" fmla="*/ 1387 h 1391"/>
              <a:gd name="T54" fmla="*/ 698 w 1605"/>
              <a:gd name="T55" fmla="*/ 1391 h 1391"/>
              <a:gd name="T56" fmla="*/ 698 w 1605"/>
              <a:gd name="T57" fmla="*/ 1252 h 1391"/>
              <a:gd name="T58" fmla="*/ 641 w 1605"/>
              <a:gd name="T59" fmla="*/ 1229 h 1391"/>
              <a:gd name="T60" fmla="*/ 681 w 1605"/>
              <a:gd name="T61" fmla="*/ 1127 h 1391"/>
              <a:gd name="T62" fmla="*/ 839 w 1605"/>
              <a:gd name="T63" fmla="*/ 1127 h 1391"/>
              <a:gd name="T64" fmla="*/ 915 w 1605"/>
              <a:gd name="T65" fmla="*/ 1235 h 1391"/>
              <a:gd name="T66" fmla="*/ 1044 w 1605"/>
              <a:gd name="T67" fmla="*/ 1210 h 1391"/>
              <a:gd name="T68" fmla="*/ 1082 w 1605"/>
              <a:gd name="T69" fmla="*/ 1258 h 1391"/>
              <a:gd name="T70" fmla="*/ 1264 w 1605"/>
              <a:gd name="T71" fmla="*/ 1182 h 1391"/>
              <a:gd name="T72" fmla="*/ 1268 w 1605"/>
              <a:gd name="T73" fmla="*/ 1136 h 1391"/>
              <a:gd name="T74" fmla="*/ 1409 w 1605"/>
              <a:gd name="T75" fmla="*/ 1100 h 1391"/>
              <a:gd name="T76" fmla="*/ 1409 w 1605"/>
              <a:gd name="T77" fmla="*/ 1015 h 1391"/>
              <a:gd name="T78" fmla="*/ 1445 w 1605"/>
              <a:gd name="T79" fmla="*/ 988 h 1391"/>
              <a:gd name="T80" fmla="*/ 1445 w 1605"/>
              <a:gd name="T81" fmla="*/ 918 h 1391"/>
              <a:gd name="T82" fmla="*/ 1325 w 1605"/>
              <a:gd name="T83" fmla="*/ 899 h 1391"/>
              <a:gd name="T84" fmla="*/ 1215 w 1605"/>
              <a:gd name="T85" fmla="*/ 785 h 1391"/>
              <a:gd name="T86" fmla="*/ 1251 w 1605"/>
              <a:gd name="T87" fmla="*/ 722 h 1391"/>
              <a:gd name="T88" fmla="*/ 1251 w 1605"/>
              <a:gd name="T89" fmla="*/ 583 h 1391"/>
              <a:gd name="T90" fmla="*/ 1352 w 1605"/>
              <a:gd name="T91" fmla="*/ 638 h 1391"/>
              <a:gd name="T92" fmla="*/ 1502 w 1605"/>
              <a:gd name="T93" fmla="*/ 638 h 1391"/>
              <a:gd name="T94" fmla="*/ 1578 w 1605"/>
              <a:gd name="T95" fmla="*/ 596 h 1391"/>
              <a:gd name="T96" fmla="*/ 1605 w 1605"/>
              <a:gd name="T97" fmla="*/ 503 h 1391"/>
              <a:gd name="T98" fmla="*/ 1565 w 1605"/>
              <a:gd name="T99" fmla="*/ 399 h 1391"/>
              <a:gd name="T100" fmla="*/ 1565 w 1605"/>
              <a:gd name="T101" fmla="*/ 332 h 1391"/>
              <a:gd name="T102" fmla="*/ 1508 w 1605"/>
              <a:gd name="T103" fmla="*/ 302 h 1391"/>
              <a:gd name="T104" fmla="*/ 1494 w 1605"/>
              <a:gd name="T105" fmla="*/ 230 h 1391"/>
              <a:gd name="T106" fmla="*/ 1399 w 1605"/>
              <a:gd name="T107" fmla="*/ 203 h 1391"/>
              <a:gd name="T108" fmla="*/ 1230 w 1605"/>
              <a:gd name="T109" fmla="*/ 142 h 1391"/>
              <a:gd name="T110" fmla="*/ 1137 w 1605"/>
              <a:gd name="T111" fmla="*/ 228 h 1391"/>
              <a:gd name="T112" fmla="*/ 1065 w 1605"/>
              <a:gd name="T113" fmla="*/ 184 h 1391"/>
              <a:gd name="T114" fmla="*/ 941 w 1605"/>
              <a:gd name="T115" fmla="*/ 171 h 1391"/>
              <a:gd name="T116" fmla="*/ 941 w 1605"/>
              <a:gd name="T117" fmla="*/ 102 h 1391"/>
              <a:gd name="T118" fmla="*/ 800 w 1605"/>
              <a:gd name="T119" fmla="*/ 0 h 1391"/>
              <a:gd name="T120" fmla="*/ 800 w 1605"/>
              <a:gd name="T121" fmla="*/ 0 h 1391"/>
              <a:gd name="T122" fmla="*/ 800 w 1605"/>
              <a:gd name="T123" fmla="*/ 0 h 13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05"/>
              <a:gd name="T187" fmla="*/ 0 h 1391"/>
              <a:gd name="T188" fmla="*/ 1605 w 1605"/>
              <a:gd name="T189" fmla="*/ 1391 h 13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05" h="1391">
                <a:moveTo>
                  <a:pt x="800" y="0"/>
                </a:moveTo>
                <a:lnTo>
                  <a:pt x="707" y="283"/>
                </a:lnTo>
                <a:lnTo>
                  <a:pt x="574" y="190"/>
                </a:lnTo>
                <a:lnTo>
                  <a:pt x="504" y="222"/>
                </a:lnTo>
                <a:lnTo>
                  <a:pt x="487" y="416"/>
                </a:lnTo>
                <a:lnTo>
                  <a:pt x="167" y="574"/>
                </a:lnTo>
                <a:lnTo>
                  <a:pt x="89" y="556"/>
                </a:lnTo>
                <a:lnTo>
                  <a:pt x="0" y="663"/>
                </a:lnTo>
                <a:lnTo>
                  <a:pt x="44" y="805"/>
                </a:lnTo>
                <a:lnTo>
                  <a:pt x="129" y="769"/>
                </a:lnTo>
                <a:lnTo>
                  <a:pt x="302" y="826"/>
                </a:lnTo>
                <a:lnTo>
                  <a:pt x="363" y="798"/>
                </a:lnTo>
                <a:lnTo>
                  <a:pt x="437" y="830"/>
                </a:lnTo>
                <a:lnTo>
                  <a:pt x="424" y="863"/>
                </a:lnTo>
                <a:lnTo>
                  <a:pt x="363" y="842"/>
                </a:lnTo>
                <a:lnTo>
                  <a:pt x="357" y="887"/>
                </a:lnTo>
                <a:lnTo>
                  <a:pt x="367" y="1011"/>
                </a:lnTo>
                <a:lnTo>
                  <a:pt x="443" y="1035"/>
                </a:lnTo>
                <a:lnTo>
                  <a:pt x="481" y="1020"/>
                </a:lnTo>
                <a:lnTo>
                  <a:pt x="553" y="1041"/>
                </a:lnTo>
                <a:lnTo>
                  <a:pt x="553" y="1066"/>
                </a:lnTo>
                <a:lnTo>
                  <a:pt x="470" y="1066"/>
                </a:lnTo>
                <a:lnTo>
                  <a:pt x="464" y="1085"/>
                </a:lnTo>
                <a:lnTo>
                  <a:pt x="517" y="1127"/>
                </a:lnTo>
                <a:lnTo>
                  <a:pt x="491" y="1224"/>
                </a:lnTo>
                <a:lnTo>
                  <a:pt x="487" y="1345"/>
                </a:lnTo>
                <a:lnTo>
                  <a:pt x="588" y="1387"/>
                </a:lnTo>
                <a:lnTo>
                  <a:pt x="698" y="1391"/>
                </a:lnTo>
                <a:lnTo>
                  <a:pt x="698" y="1252"/>
                </a:lnTo>
                <a:lnTo>
                  <a:pt x="641" y="1229"/>
                </a:lnTo>
                <a:lnTo>
                  <a:pt x="681" y="1127"/>
                </a:lnTo>
                <a:lnTo>
                  <a:pt x="839" y="1127"/>
                </a:lnTo>
                <a:lnTo>
                  <a:pt x="915" y="1235"/>
                </a:lnTo>
                <a:lnTo>
                  <a:pt x="1044" y="1210"/>
                </a:lnTo>
                <a:lnTo>
                  <a:pt x="1082" y="1258"/>
                </a:lnTo>
                <a:lnTo>
                  <a:pt x="1264" y="1182"/>
                </a:lnTo>
                <a:lnTo>
                  <a:pt x="1268" y="1136"/>
                </a:lnTo>
                <a:lnTo>
                  <a:pt x="1409" y="1100"/>
                </a:lnTo>
                <a:lnTo>
                  <a:pt x="1409" y="1015"/>
                </a:lnTo>
                <a:lnTo>
                  <a:pt x="1445" y="988"/>
                </a:lnTo>
                <a:lnTo>
                  <a:pt x="1445" y="918"/>
                </a:lnTo>
                <a:lnTo>
                  <a:pt x="1325" y="899"/>
                </a:lnTo>
                <a:lnTo>
                  <a:pt x="1215" y="785"/>
                </a:lnTo>
                <a:lnTo>
                  <a:pt x="1251" y="722"/>
                </a:lnTo>
                <a:lnTo>
                  <a:pt x="1251" y="583"/>
                </a:lnTo>
                <a:lnTo>
                  <a:pt x="1352" y="638"/>
                </a:lnTo>
                <a:lnTo>
                  <a:pt x="1502" y="638"/>
                </a:lnTo>
                <a:lnTo>
                  <a:pt x="1578" y="596"/>
                </a:lnTo>
                <a:lnTo>
                  <a:pt x="1605" y="503"/>
                </a:lnTo>
                <a:lnTo>
                  <a:pt x="1565" y="399"/>
                </a:lnTo>
                <a:lnTo>
                  <a:pt x="1565" y="332"/>
                </a:lnTo>
                <a:lnTo>
                  <a:pt x="1508" y="302"/>
                </a:lnTo>
                <a:lnTo>
                  <a:pt x="1494" y="230"/>
                </a:lnTo>
                <a:lnTo>
                  <a:pt x="1399" y="203"/>
                </a:lnTo>
                <a:lnTo>
                  <a:pt x="1230" y="142"/>
                </a:lnTo>
                <a:lnTo>
                  <a:pt x="1137" y="228"/>
                </a:lnTo>
                <a:lnTo>
                  <a:pt x="1065" y="184"/>
                </a:lnTo>
                <a:lnTo>
                  <a:pt x="941" y="171"/>
                </a:lnTo>
                <a:lnTo>
                  <a:pt x="941" y="102"/>
                </a:lnTo>
                <a:lnTo>
                  <a:pt x="800" y="0"/>
                </a:lnTo>
                <a:close/>
              </a:path>
            </a:pathLst>
          </a:custGeom>
          <a:solidFill>
            <a:schemeClr val="accent3"/>
          </a:solidFill>
          <a:ln w="12700">
            <a:solidFill>
              <a:schemeClr val="bg1"/>
            </a:solidFill>
            <a:round/>
            <a:headEnd/>
            <a:tailEnd/>
          </a:ln>
        </p:spPr>
        <p:txBody>
          <a:bodyPr/>
          <a:lstStyle/>
          <a:p>
            <a:pPr>
              <a:defRPr/>
            </a:pPr>
            <a:endParaRPr lang="nl-NL"/>
          </a:p>
        </p:txBody>
      </p:sp>
      <p:sp>
        <p:nvSpPr>
          <p:cNvPr id="15" name="Freeform 15"/>
          <p:cNvSpPr>
            <a:spLocks noChangeAspect="1"/>
          </p:cNvSpPr>
          <p:nvPr/>
        </p:nvSpPr>
        <p:spPr bwMode="auto">
          <a:xfrm>
            <a:off x="6961990" y="3370811"/>
            <a:ext cx="1277154" cy="970851"/>
          </a:xfrm>
          <a:custGeom>
            <a:avLst/>
            <a:gdLst>
              <a:gd name="T0" fmla="*/ 199 w 1878"/>
              <a:gd name="T1" fmla="*/ 774 h 1317"/>
              <a:gd name="T2" fmla="*/ 199 w 1878"/>
              <a:gd name="T3" fmla="*/ 836 h 1317"/>
              <a:gd name="T4" fmla="*/ 188 w 1878"/>
              <a:gd name="T5" fmla="*/ 893 h 1317"/>
              <a:gd name="T6" fmla="*/ 108 w 1878"/>
              <a:gd name="T7" fmla="*/ 912 h 1317"/>
              <a:gd name="T8" fmla="*/ 137 w 1878"/>
              <a:gd name="T9" fmla="*/ 971 h 1317"/>
              <a:gd name="T10" fmla="*/ 239 w 1878"/>
              <a:gd name="T11" fmla="*/ 945 h 1317"/>
              <a:gd name="T12" fmla="*/ 456 w 1878"/>
              <a:gd name="T13" fmla="*/ 802 h 1317"/>
              <a:gd name="T14" fmla="*/ 602 w 1878"/>
              <a:gd name="T15" fmla="*/ 912 h 1317"/>
              <a:gd name="T16" fmla="*/ 640 w 1878"/>
              <a:gd name="T17" fmla="*/ 870 h 1317"/>
              <a:gd name="T18" fmla="*/ 886 w 1878"/>
              <a:gd name="T19" fmla="*/ 825 h 1317"/>
              <a:gd name="T20" fmla="*/ 1026 w 1878"/>
              <a:gd name="T21" fmla="*/ 937 h 1317"/>
              <a:gd name="T22" fmla="*/ 1017 w 1878"/>
              <a:gd name="T23" fmla="*/ 1125 h 1317"/>
              <a:gd name="T24" fmla="*/ 1055 w 1878"/>
              <a:gd name="T25" fmla="*/ 1144 h 1317"/>
              <a:gd name="T26" fmla="*/ 1064 w 1878"/>
              <a:gd name="T27" fmla="*/ 1317 h 1317"/>
              <a:gd name="T28" fmla="*/ 1439 w 1878"/>
              <a:gd name="T29" fmla="*/ 1300 h 1317"/>
              <a:gd name="T30" fmla="*/ 1504 w 1878"/>
              <a:gd name="T31" fmla="*/ 1192 h 1317"/>
              <a:gd name="T32" fmla="*/ 1796 w 1878"/>
              <a:gd name="T33" fmla="*/ 1281 h 1317"/>
              <a:gd name="T34" fmla="*/ 1770 w 1878"/>
              <a:gd name="T35" fmla="*/ 1095 h 1317"/>
              <a:gd name="T36" fmla="*/ 1869 w 1878"/>
              <a:gd name="T37" fmla="*/ 899 h 1317"/>
              <a:gd name="T38" fmla="*/ 1829 w 1878"/>
              <a:gd name="T39" fmla="*/ 794 h 1317"/>
              <a:gd name="T40" fmla="*/ 1867 w 1878"/>
              <a:gd name="T41" fmla="*/ 734 h 1317"/>
              <a:gd name="T42" fmla="*/ 1775 w 1878"/>
              <a:gd name="T43" fmla="*/ 498 h 1317"/>
              <a:gd name="T44" fmla="*/ 1878 w 1878"/>
              <a:gd name="T45" fmla="*/ 441 h 1317"/>
              <a:gd name="T46" fmla="*/ 1846 w 1878"/>
              <a:gd name="T47" fmla="*/ 334 h 1317"/>
              <a:gd name="T48" fmla="*/ 1656 w 1878"/>
              <a:gd name="T49" fmla="*/ 207 h 1317"/>
              <a:gd name="T50" fmla="*/ 1589 w 1878"/>
              <a:gd name="T51" fmla="*/ 207 h 1317"/>
              <a:gd name="T52" fmla="*/ 1568 w 1878"/>
              <a:gd name="T53" fmla="*/ 101 h 1317"/>
              <a:gd name="T54" fmla="*/ 1329 w 1878"/>
              <a:gd name="T55" fmla="*/ 0 h 1317"/>
              <a:gd name="T56" fmla="*/ 986 w 1878"/>
              <a:gd name="T57" fmla="*/ 112 h 1317"/>
              <a:gd name="T58" fmla="*/ 850 w 1878"/>
              <a:gd name="T59" fmla="*/ 51 h 1317"/>
              <a:gd name="T60" fmla="*/ 703 w 1878"/>
              <a:gd name="T61" fmla="*/ 89 h 1317"/>
              <a:gd name="T62" fmla="*/ 699 w 1878"/>
              <a:gd name="T63" fmla="*/ 135 h 1317"/>
              <a:gd name="T64" fmla="*/ 519 w 1878"/>
              <a:gd name="T65" fmla="*/ 205 h 1317"/>
              <a:gd name="T66" fmla="*/ 483 w 1878"/>
              <a:gd name="T67" fmla="*/ 163 h 1317"/>
              <a:gd name="T68" fmla="*/ 350 w 1878"/>
              <a:gd name="T69" fmla="*/ 186 h 1317"/>
              <a:gd name="T70" fmla="*/ 275 w 1878"/>
              <a:gd name="T71" fmla="*/ 80 h 1317"/>
              <a:gd name="T72" fmla="*/ 116 w 1878"/>
              <a:gd name="T73" fmla="*/ 80 h 1317"/>
              <a:gd name="T74" fmla="*/ 76 w 1878"/>
              <a:gd name="T75" fmla="*/ 182 h 1317"/>
              <a:gd name="T76" fmla="*/ 133 w 1878"/>
              <a:gd name="T77" fmla="*/ 207 h 1317"/>
              <a:gd name="T78" fmla="*/ 133 w 1878"/>
              <a:gd name="T79" fmla="*/ 346 h 1317"/>
              <a:gd name="T80" fmla="*/ 26 w 1878"/>
              <a:gd name="T81" fmla="*/ 340 h 1317"/>
              <a:gd name="T82" fmla="*/ 0 w 1878"/>
              <a:gd name="T83" fmla="*/ 386 h 1317"/>
              <a:gd name="T84" fmla="*/ 0 w 1878"/>
              <a:gd name="T85" fmla="*/ 564 h 1317"/>
              <a:gd name="T86" fmla="*/ 133 w 1878"/>
              <a:gd name="T87" fmla="*/ 547 h 1317"/>
              <a:gd name="T88" fmla="*/ 190 w 1878"/>
              <a:gd name="T89" fmla="*/ 582 h 1317"/>
              <a:gd name="T90" fmla="*/ 190 w 1878"/>
              <a:gd name="T91" fmla="*/ 637 h 1317"/>
              <a:gd name="T92" fmla="*/ 266 w 1878"/>
              <a:gd name="T93" fmla="*/ 707 h 1317"/>
              <a:gd name="T94" fmla="*/ 196 w 1878"/>
              <a:gd name="T95" fmla="*/ 736 h 1317"/>
              <a:gd name="T96" fmla="*/ 199 w 1878"/>
              <a:gd name="T97" fmla="*/ 774 h 1317"/>
              <a:gd name="T98" fmla="*/ 199 w 1878"/>
              <a:gd name="T99" fmla="*/ 774 h 1317"/>
              <a:gd name="T100" fmla="*/ 199 w 1878"/>
              <a:gd name="T101" fmla="*/ 774 h 131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878"/>
              <a:gd name="T154" fmla="*/ 0 h 1317"/>
              <a:gd name="T155" fmla="*/ 1878 w 1878"/>
              <a:gd name="T156" fmla="*/ 1317 h 131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878" h="1317">
                <a:moveTo>
                  <a:pt x="199" y="774"/>
                </a:moveTo>
                <a:lnTo>
                  <a:pt x="199" y="836"/>
                </a:lnTo>
                <a:lnTo>
                  <a:pt x="188" y="893"/>
                </a:lnTo>
                <a:lnTo>
                  <a:pt x="108" y="912"/>
                </a:lnTo>
                <a:lnTo>
                  <a:pt x="137" y="971"/>
                </a:lnTo>
                <a:lnTo>
                  <a:pt x="239" y="945"/>
                </a:lnTo>
                <a:lnTo>
                  <a:pt x="456" y="802"/>
                </a:lnTo>
                <a:lnTo>
                  <a:pt x="602" y="912"/>
                </a:lnTo>
                <a:lnTo>
                  <a:pt x="640" y="870"/>
                </a:lnTo>
                <a:lnTo>
                  <a:pt x="886" y="825"/>
                </a:lnTo>
                <a:lnTo>
                  <a:pt x="1026" y="937"/>
                </a:lnTo>
                <a:lnTo>
                  <a:pt x="1017" y="1125"/>
                </a:lnTo>
                <a:lnTo>
                  <a:pt x="1055" y="1144"/>
                </a:lnTo>
                <a:lnTo>
                  <a:pt x="1064" y="1317"/>
                </a:lnTo>
                <a:lnTo>
                  <a:pt x="1439" y="1300"/>
                </a:lnTo>
                <a:lnTo>
                  <a:pt x="1504" y="1192"/>
                </a:lnTo>
                <a:lnTo>
                  <a:pt x="1796" y="1281"/>
                </a:lnTo>
                <a:lnTo>
                  <a:pt x="1770" y="1095"/>
                </a:lnTo>
                <a:lnTo>
                  <a:pt x="1869" y="899"/>
                </a:lnTo>
                <a:lnTo>
                  <a:pt x="1829" y="794"/>
                </a:lnTo>
                <a:lnTo>
                  <a:pt x="1867" y="734"/>
                </a:lnTo>
                <a:lnTo>
                  <a:pt x="1775" y="498"/>
                </a:lnTo>
                <a:lnTo>
                  <a:pt x="1878" y="441"/>
                </a:lnTo>
                <a:lnTo>
                  <a:pt x="1846" y="334"/>
                </a:lnTo>
                <a:lnTo>
                  <a:pt x="1656" y="207"/>
                </a:lnTo>
                <a:lnTo>
                  <a:pt x="1589" y="207"/>
                </a:lnTo>
                <a:lnTo>
                  <a:pt x="1568" y="101"/>
                </a:lnTo>
                <a:lnTo>
                  <a:pt x="1329" y="0"/>
                </a:lnTo>
                <a:lnTo>
                  <a:pt x="986" y="112"/>
                </a:lnTo>
                <a:lnTo>
                  <a:pt x="850" y="51"/>
                </a:lnTo>
                <a:lnTo>
                  <a:pt x="703" y="89"/>
                </a:lnTo>
                <a:lnTo>
                  <a:pt x="699" y="135"/>
                </a:lnTo>
                <a:lnTo>
                  <a:pt x="519" y="205"/>
                </a:lnTo>
                <a:lnTo>
                  <a:pt x="483" y="163"/>
                </a:lnTo>
                <a:lnTo>
                  <a:pt x="350" y="186"/>
                </a:lnTo>
                <a:lnTo>
                  <a:pt x="275" y="80"/>
                </a:lnTo>
                <a:lnTo>
                  <a:pt x="116" y="80"/>
                </a:lnTo>
                <a:lnTo>
                  <a:pt x="76" y="182"/>
                </a:lnTo>
                <a:lnTo>
                  <a:pt x="133" y="207"/>
                </a:lnTo>
                <a:lnTo>
                  <a:pt x="133" y="346"/>
                </a:lnTo>
                <a:lnTo>
                  <a:pt x="26" y="340"/>
                </a:lnTo>
                <a:lnTo>
                  <a:pt x="0" y="386"/>
                </a:lnTo>
                <a:lnTo>
                  <a:pt x="0" y="564"/>
                </a:lnTo>
                <a:lnTo>
                  <a:pt x="133" y="547"/>
                </a:lnTo>
                <a:lnTo>
                  <a:pt x="190" y="582"/>
                </a:lnTo>
                <a:lnTo>
                  <a:pt x="190" y="637"/>
                </a:lnTo>
                <a:lnTo>
                  <a:pt x="266" y="707"/>
                </a:lnTo>
                <a:lnTo>
                  <a:pt x="196" y="736"/>
                </a:lnTo>
                <a:lnTo>
                  <a:pt x="199" y="774"/>
                </a:lnTo>
                <a:close/>
              </a:path>
            </a:pathLst>
          </a:custGeom>
          <a:solidFill>
            <a:schemeClr val="accent3"/>
          </a:solidFill>
          <a:ln w="12700">
            <a:solidFill>
              <a:schemeClr val="bg1"/>
            </a:solidFill>
            <a:round/>
            <a:headEnd/>
            <a:tailEnd/>
          </a:ln>
        </p:spPr>
        <p:txBody>
          <a:bodyPr/>
          <a:lstStyle/>
          <a:p>
            <a:pPr>
              <a:defRPr/>
            </a:pPr>
            <a:endParaRPr lang="nl-NL"/>
          </a:p>
        </p:txBody>
      </p:sp>
      <p:sp>
        <p:nvSpPr>
          <p:cNvPr id="16" name="Freeform 16"/>
          <p:cNvSpPr>
            <a:spLocks noChangeAspect="1"/>
          </p:cNvSpPr>
          <p:nvPr/>
        </p:nvSpPr>
        <p:spPr bwMode="auto">
          <a:xfrm>
            <a:off x="7401309" y="2395541"/>
            <a:ext cx="1324758" cy="1297905"/>
          </a:xfrm>
          <a:custGeom>
            <a:avLst/>
            <a:gdLst>
              <a:gd name="T0" fmla="*/ 1802 w 1949"/>
              <a:gd name="T1" fmla="*/ 789 h 1762"/>
              <a:gd name="T2" fmla="*/ 1854 w 1949"/>
              <a:gd name="T3" fmla="*/ 378 h 1762"/>
              <a:gd name="T4" fmla="*/ 1550 w 1949"/>
              <a:gd name="T5" fmla="*/ 264 h 1762"/>
              <a:gd name="T6" fmla="*/ 1398 w 1949"/>
              <a:gd name="T7" fmla="*/ 355 h 1762"/>
              <a:gd name="T8" fmla="*/ 960 w 1949"/>
              <a:gd name="T9" fmla="*/ 188 h 1762"/>
              <a:gd name="T10" fmla="*/ 785 w 1949"/>
              <a:gd name="T11" fmla="*/ 203 h 1762"/>
              <a:gd name="T12" fmla="*/ 453 w 1949"/>
              <a:gd name="T13" fmla="*/ 0 h 1762"/>
              <a:gd name="T14" fmla="*/ 409 w 1949"/>
              <a:gd name="T15" fmla="*/ 135 h 1762"/>
              <a:gd name="T16" fmla="*/ 399 w 1949"/>
              <a:gd name="T17" fmla="*/ 295 h 1762"/>
              <a:gd name="T18" fmla="*/ 291 w 1949"/>
              <a:gd name="T19" fmla="*/ 268 h 1762"/>
              <a:gd name="T20" fmla="*/ 190 w 1949"/>
              <a:gd name="T21" fmla="*/ 479 h 1762"/>
              <a:gd name="T22" fmla="*/ 283 w 1949"/>
              <a:gd name="T23" fmla="*/ 511 h 1762"/>
              <a:gd name="T24" fmla="*/ 299 w 1949"/>
              <a:gd name="T25" fmla="*/ 584 h 1762"/>
              <a:gd name="T26" fmla="*/ 354 w 1949"/>
              <a:gd name="T27" fmla="*/ 610 h 1762"/>
              <a:gd name="T28" fmla="*/ 354 w 1949"/>
              <a:gd name="T29" fmla="*/ 682 h 1762"/>
              <a:gd name="T30" fmla="*/ 394 w 1949"/>
              <a:gd name="T31" fmla="*/ 781 h 1762"/>
              <a:gd name="T32" fmla="*/ 365 w 1949"/>
              <a:gd name="T33" fmla="*/ 871 h 1762"/>
              <a:gd name="T34" fmla="*/ 291 w 1949"/>
              <a:gd name="T35" fmla="*/ 914 h 1762"/>
              <a:gd name="T36" fmla="*/ 141 w 1949"/>
              <a:gd name="T37" fmla="*/ 916 h 1762"/>
              <a:gd name="T38" fmla="*/ 44 w 1949"/>
              <a:gd name="T39" fmla="*/ 861 h 1762"/>
              <a:gd name="T40" fmla="*/ 44 w 1949"/>
              <a:gd name="T41" fmla="*/ 1000 h 1762"/>
              <a:gd name="T42" fmla="*/ 0 w 1949"/>
              <a:gd name="T43" fmla="*/ 1057 h 1762"/>
              <a:gd name="T44" fmla="*/ 110 w 1949"/>
              <a:gd name="T45" fmla="*/ 1177 h 1762"/>
              <a:gd name="T46" fmla="*/ 234 w 1949"/>
              <a:gd name="T47" fmla="*/ 1199 h 1762"/>
              <a:gd name="T48" fmla="*/ 234 w 1949"/>
              <a:gd name="T49" fmla="*/ 1266 h 1762"/>
              <a:gd name="T50" fmla="*/ 198 w 1949"/>
              <a:gd name="T51" fmla="*/ 1293 h 1762"/>
              <a:gd name="T52" fmla="*/ 198 w 1949"/>
              <a:gd name="T53" fmla="*/ 1378 h 1762"/>
              <a:gd name="T54" fmla="*/ 340 w 1949"/>
              <a:gd name="T55" fmla="*/ 1437 h 1762"/>
              <a:gd name="T56" fmla="*/ 683 w 1949"/>
              <a:gd name="T57" fmla="*/ 1325 h 1762"/>
              <a:gd name="T58" fmla="*/ 922 w 1949"/>
              <a:gd name="T59" fmla="*/ 1426 h 1762"/>
              <a:gd name="T60" fmla="*/ 943 w 1949"/>
              <a:gd name="T61" fmla="*/ 1532 h 1762"/>
              <a:gd name="T62" fmla="*/ 1010 w 1949"/>
              <a:gd name="T63" fmla="*/ 1532 h 1762"/>
              <a:gd name="T64" fmla="*/ 1200 w 1949"/>
              <a:gd name="T65" fmla="*/ 1659 h 1762"/>
              <a:gd name="T66" fmla="*/ 1232 w 1949"/>
              <a:gd name="T67" fmla="*/ 1762 h 1762"/>
              <a:gd name="T68" fmla="*/ 1394 w 1949"/>
              <a:gd name="T69" fmla="*/ 1680 h 1762"/>
              <a:gd name="T70" fmla="*/ 1342 w 1949"/>
              <a:gd name="T71" fmla="*/ 1587 h 1762"/>
              <a:gd name="T72" fmla="*/ 1407 w 1949"/>
              <a:gd name="T73" fmla="*/ 1528 h 1762"/>
              <a:gd name="T74" fmla="*/ 1342 w 1949"/>
              <a:gd name="T75" fmla="*/ 1414 h 1762"/>
              <a:gd name="T76" fmla="*/ 1342 w 1949"/>
              <a:gd name="T77" fmla="*/ 1346 h 1762"/>
              <a:gd name="T78" fmla="*/ 1432 w 1949"/>
              <a:gd name="T79" fmla="*/ 1329 h 1762"/>
              <a:gd name="T80" fmla="*/ 1426 w 1949"/>
              <a:gd name="T81" fmla="*/ 1249 h 1762"/>
              <a:gd name="T82" fmla="*/ 1493 w 1949"/>
              <a:gd name="T83" fmla="*/ 1192 h 1762"/>
              <a:gd name="T84" fmla="*/ 1544 w 1949"/>
              <a:gd name="T85" fmla="*/ 1215 h 1762"/>
              <a:gd name="T86" fmla="*/ 1618 w 1949"/>
              <a:gd name="T87" fmla="*/ 1110 h 1762"/>
              <a:gd name="T88" fmla="*/ 1692 w 1949"/>
              <a:gd name="T89" fmla="*/ 1110 h 1762"/>
              <a:gd name="T90" fmla="*/ 1766 w 1949"/>
              <a:gd name="T91" fmla="*/ 1066 h 1762"/>
              <a:gd name="T92" fmla="*/ 1835 w 1949"/>
              <a:gd name="T93" fmla="*/ 1099 h 1762"/>
              <a:gd name="T94" fmla="*/ 1879 w 1949"/>
              <a:gd name="T95" fmla="*/ 1101 h 1762"/>
              <a:gd name="T96" fmla="*/ 1898 w 1949"/>
              <a:gd name="T97" fmla="*/ 1057 h 1762"/>
              <a:gd name="T98" fmla="*/ 1844 w 1949"/>
              <a:gd name="T99" fmla="*/ 1013 h 1762"/>
              <a:gd name="T100" fmla="*/ 1949 w 1949"/>
              <a:gd name="T101" fmla="*/ 1000 h 1762"/>
              <a:gd name="T102" fmla="*/ 1802 w 1949"/>
              <a:gd name="T103" fmla="*/ 789 h 1762"/>
              <a:gd name="T104" fmla="*/ 1802 w 1949"/>
              <a:gd name="T105" fmla="*/ 789 h 1762"/>
              <a:gd name="T106" fmla="*/ 1802 w 1949"/>
              <a:gd name="T107" fmla="*/ 789 h 17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949"/>
              <a:gd name="T163" fmla="*/ 0 h 1762"/>
              <a:gd name="T164" fmla="*/ 1949 w 1949"/>
              <a:gd name="T165" fmla="*/ 1762 h 17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949" h="1762">
                <a:moveTo>
                  <a:pt x="1802" y="789"/>
                </a:moveTo>
                <a:lnTo>
                  <a:pt x="1854" y="378"/>
                </a:lnTo>
                <a:lnTo>
                  <a:pt x="1550" y="264"/>
                </a:lnTo>
                <a:lnTo>
                  <a:pt x="1398" y="355"/>
                </a:lnTo>
                <a:lnTo>
                  <a:pt x="960" y="188"/>
                </a:lnTo>
                <a:lnTo>
                  <a:pt x="785" y="203"/>
                </a:lnTo>
                <a:lnTo>
                  <a:pt x="453" y="0"/>
                </a:lnTo>
                <a:lnTo>
                  <a:pt x="409" y="135"/>
                </a:lnTo>
                <a:lnTo>
                  <a:pt x="399" y="295"/>
                </a:lnTo>
                <a:lnTo>
                  <a:pt x="291" y="268"/>
                </a:lnTo>
                <a:lnTo>
                  <a:pt x="190" y="479"/>
                </a:lnTo>
                <a:lnTo>
                  <a:pt x="283" y="511"/>
                </a:lnTo>
                <a:lnTo>
                  <a:pt x="299" y="584"/>
                </a:lnTo>
                <a:lnTo>
                  <a:pt x="354" y="610"/>
                </a:lnTo>
                <a:lnTo>
                  <a:pt x="354" y="682"/>
                </a:lnTo>
                <a:lnTo>
                  <a:pt x="394" y="781"/>
                </a:lnTo>
                <a:lnTo>
                  <a:pt x="365" y="871"/>
                </a:lnTo>
                <a:lnTo>
                  <a:pt x="291" y="914"/>
                </a:lnTo>
                <a:lnTo>
                  <a:pt x="141" y="916"/>
                </a:lnTo>
                <a:lnTo>
                  <a:pt x="44" y="861"/>
                </a:lnTo>
                <a:lnTo>
                  <a:pt x="44" y="1000"/>
                </a:lnTo>
                <a:lnTo>
                  <a:pt x="0" y="1057"/>
                </a:lnTo>
                <a:lnTo>
                  <a:pt x="110" y="1177"/>
                </a:lnTo>
                <a:lnTo>
                  <a:pt x="234" y="1199"/>
                </a:lnTo>
                <a:lnTo>
                  <a:pt x="234" y="1266"/>
                </a:lnTo>
                <a:lnTo>
                  <a:pt x="198" y="1293"/>
                </a:lnTo>
                <a:lnTo>
                  <a:pt x="198" y="1378"/>
                </a:lnTo>
                <a:lnTo>
                  <a:pt x="340" y="1437"/>
                </a:lnTo>
                <a:lnTo>
                  <a:pt x="683" y="1325"/>
                </a:lnTo>
                <a:lnTo>
                  <a:pt x="922" y="1426"/>
                </a:lnTo>
                <a:lnTo>
                  <a:pt x="943" y="1532"/>
                </a:lnTo>
                <a:lnTo>
                  <a:pt x="1010" y="1532"/>
                </a:lnTo>
                <a:lnTo>
                  <a:pt x="1200" y="1659"/>
                </a:lnTo>
                <a:lnTo>
                  <a:pt x="1232" y="1762"/>
                </a:lnTo>
                <a:lnTo>
                  <a:pt x="1394" y="1680"/>
                </a:lnTo>
                <a:lnTo>
                  <a:pt x="1342" y="1587"/>
                </a:lnTo>
                <a:lnTo>
                  <a:pt x="1407" y="1528"/>
                </a:lnTo>
                <a:lnTo>
                  <a:pt x="1342" y="1414"/>
                </a:lnTo>
                <a:lnTo>
                  <a:pt x="1342" y="1346"/>
                </a:lnTo>
                <a:lnTo>
                  <a:pt x="1432" y="1329"/>
                </a:lnTo>
                <a:lnTo>
                  <a:pt x="1426" y="1249"/>
                </a:lnTo>
                <a:lnTo>
                  <a:pt x="1493" y="1192"/>
                </a:lnTo>
                <a:lnTo>
                  <a:pt x="1544" y="1215"/>
                </a:lnTo>
                <a:lnTo>
                  <a:pt x="1618" y="1110"/>
                </a:lnTo>
                <a:lnTo>
                  <a:pt x="1692" y="1110"/>
                </a:lnTo>
                <a:lnTo>
                  <a:pt x="1766" y="1066"/>
                </a:lnTo>
                <a:lnTo>
                  <a:pt x="1835" y="1099"/>
                </a:lnTo>
                <a:lnTo>
                  <a:pt x="1879" y="1101"/>
                </a:lnTo>
                <a:lnTo>
                  <a:pt x="1898" y="1057"/>
                </a:lnTo>
                <a:lnTo>
                  <a:pt x="1844" y="1013"/>
                </a:lnTo>
                <a:lnTo>
                  <a:pt x="1949" y="1000"/>
                </a:lnTo>
                <a:lnTo>
                  <a:pt x="1802" y="789"/>
                </a:lnTo>
                <a:close/>
              </a:path>
            </a:pathLst>
          </a:custGeom>
          <a:solidFill>
            <a:schemeClr val="accent3"/>
          </a:solidFill>
          <a:ln w="12700">
            <a:solidFill>
              <a:schemeClr val="bg1"/>
            </a:solidFill>
            <a:round/>
            <a:headEnd/>
            <a:tailEnd/>
          </a:ln>
        </p:spPr>
        <p:txBody>
          <a:bodyPr/>
          <a:lstStyle/>
          <a:p>
            <a:pPr>
              <a:defRPr/>
            </a:pPr>
            <a:endParaRPr lang="nl-NL"/>
          </a:p>
        </p:txBody>
      </p:sp>
      <p:sp>
        <p:nvSpPr>
          <p:cNvPr id="17" name="Freeform 17"/>
          <p:cNvSpPr>
            <a:spLocks noChangeAspect="1"/>
          </p:cNvSpPr>
          <p:nvPr/>
        </p:nvSpPr>
        <p:spPr bwMode="auto">
          <a:xfrm>
            <a:off x="8168417" y="3132150"/>
            <a:ext cx="591653" cy="1035672"/>
          </a:xfrm>
          <a:custGeom>
            <a:avLst/>
            <a:gdLst>
              <a:gd name="T0" fmla="*/ 397 w 870"/>
              <a:gd name="T1" fmla="*/ 1192 h 1406"/>
              <a:gd name="T2" fmla="*/ 351 w 870"/>
              <a:gd name="T3" fmla="*/ 1015 h 1406"/>
              <a:gd name="T4" fmla="*/ 336 w 870"/>
              <a:gd name="T5" fmla="*/ 783 h 1406"/>
              <a:gd name="T6" fmla="*/ 519 w 870"/>
              <a:gd name="T7" fmla="*/ 699 h 1406"/>
              <a:gd name="T8" fmla="*/ 505 w 870"/>
              <a:gd name="T9" fmla="*/ 568 h 1406"/>
              <a:gd name="T10" fmla="*/ 351 w 870"/>
              <a:gd name="T11" fmla="*/ 507 h 1406"/>
              <a:gd name="T12" fmla="*/ 446 w 870"/>
              <a:gd name="T13" fmla="*/ 405 h 1406"/>
              <a:gd name="T14" fmla="*/ 732 w 870"/>
              <a:gd name="T15" fmla="*/ 488 h 1406"/>
              <a:gd name="T16" fmla="*/ 815 w 870"/>
              <a:gd name="T17" fmla="*/ 405 h 1406"/>
              <a:gd name="T18" fmla="*/ 735 w 870"/>
              <a:gd name="T19" fmla="*/ 281 h 1406"/>
              <a:gd name="T20" fmla="*/ 870 w 870"/>
              <a:gd name="T21" fmla="*/ 64 h 1406"/>
              <a:gd name="T22" fmla="*/ 821 w 870"/>
              <a:gd name="T23" fmla="*/ 0 h 1406"/>
              <a:gd name="T24" fmla="*/ 716 w 870"/>
              <a:gd name="T25" fmla="*/ 13 h 1406"/>
              <a:gd name="T26" fmla="*/ 770 w 870"/>
              <a:gd name="T27" fmla="*/ 57 h 1406"/>
              <a:gd name="T28" fmla="*/ 751 w 870"/>
              <a:gd name="T29" fmla="*/ 101 h 1406"/>
              <a:gd name="T30" fmla="*/ 707 w 870"/>
              <a:gd name="T31" fmla="*/ 99 h 1406"/>
              <a:gd name="T32" fmla="*/ 638 w 870"/>
              <a:gd name="T33" fmla="*/ 66 h 1406"/>
              <a:gd name="T34" fmla="*/ 564 w 870"/>
              <a:gd name="T35" fmla="*/ 110 h 1406"/>
              <a:gd name="T36" fmla="*/ 490 w 870"/>
              <a:gd name="T37" fmla="*/ 110 h 1406"/>
              <a:gd name="T38" fmla="*/ 416 w 870"/>
              <a:gd name="T39" fmla="*/ 215 h 1406"/>
              <a:gd name="T40" fmla="*/ 365 w 870"/>
              <a:gd name="T41" fmla="*/ 192 h 1406"/>
              <a:gd name="T42" fmla="*/ 298 w 870"/>
              <a:gd name="T43" fmla="*/ 249 h 1406"/>
              <a:gd name="T44" fmla="*/ 304 w 870"/>
              <a:gd name="T45" fmla="*/ 329 h 1406"/>
              <a:gd name="T46" fmla="*/ 214 w 870"/>
              <a:gd name="T47" fmla="*/ 346 h 1406"/>
              <a:gd name="T48" fmla="*/ 214 w 870"/>
              <a:gd name="T49" fmla="*/ 414 h 1406"/>
              <a:gd name="T50" fmla="*/ 279 w 870"/>
              <a:gd name="T51" fmla="*/ 528 h 1406"/>
              <a:gd name="T52" fmla="*/ 214 w 870"/>
              <a:gd name="T53" fmla="*/ 587 h 1406"/>
              <a:gd name="T54" fmla="*/ 266 w 870"/>
              <a:gd name="T55" fmla="*/ 680 h 1406"/>
              <a:gd name="T56" fmla="*/ 106 w 870"/>
              <a:gd name="T57" fmla="*/ 762 h 1406"/>
              <a:gd name="T58" fmla="*/ 104 w 870"/>
              <a:gd name="T59" fmla="*/ 766 h 1406"/>
              <a:gd name="T60" fmla="*/ 1 w 870"/>
              <a:gd name="T61" fmla="*/ 823 h 1406"/>
              <a:gd name="T62" fmla="*/ 93 w 870"/>
              <a:gd name="T63" fmla="*/ 1059 h 1406"/>
              <a:gd name="T64" fmla="*/ 55 w 870"/>
              <a:gd name="T65" fmla="*/ 1119 h 1406"/>
              <a:gd name="T66" fmla="*/ 95 w 870"/>
              <a:gd name="T67" fmla="*/ 1224 h 1406"/>
              <a:gd name="T68" fmla="*/ 0 w 870"/>
              <a:gd name="T69" fmla="*/ 1406 h 1406"/>
              <a:gd name="T70" fmla="*/ 397 w 870"/>
              <a:gd name="T71" fmla="*/ 1192 h 1406"/>
              <a:gd name="T72" fmla="*/ 397 w 870"/>
              <a:gd name="T73" fmla="*/ 1192 h 1406"/>
              <a:gd name="T74" fmla="*/ 397 w 870"/>
              <a:gd name="T75" fmla="*/ 1192 h 14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70"/>
              <a:gd name="T115" fmla="*/ 0 h 1406"/>
              <a:gd name="T116" fmla="*/ 870 w 870"/>
              <a:gd name="T117" fmla="*/ 1406 h 14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70" h="1406">
                <a:moveTo>
                  <a:pt x="397" y="1192"/>
                </a:moveTo>
                <a:lnTo>
                  <a:pt x="351" y="1015"/>
                </a:lnTo>
                <a:lnTo>
                  <a:pt x="336" y="783"/>
                </a:lnTo>
                <a:lnTo>
                  <a:pt x="519" y="699"/>
                </a:lnTo>
                <a:lnTo>
                  <a:pt x="505" y="568"/>
                </a:lnTo>
                <a:lnTo>
                  <a:pt x="351" y="507"/>
                </a:lnTo>
                <a:lnTo>
                  <a:pt x="446" y="405"/>
                </a:lnTo>
                <a:lnTo>
                  <a:pt x="732" y="488"/>
                </a:lnTo>
                <a:lnTo>
                  <a:pt x="815" y="405"/>
                </a:lnTo>
                <a:lnTo>
                  <a:pt x="735" y="281"/>
                </a:lnTo>
                <a:lnTo>
                  <a:pt x="870" y="64"/>
                </a:lnTo>
                <a:lnTo>
                  <a:pt x="821" y="0"/>
                </a:lnTo>
                <a:lnTo>
                  <a:pt x="716" y="13"/>
                </a:lnTo>
                <a:lnTo>
                  <a:pt x="770" y="57"/>
                </a:lnTo>
                <a:lnTo>
                  <a:pt x="751" y="101"/>
                </a:lnTo>
                <a:lnTo>
                  <a:pt x="707" y="99"/>
                </a:lnTo>
                <a:lnTo>
                  <a:pt x="638" y="66"/>
                </a:lnTo>
                <a:lnTo>
                  <a:pt x="564" y="110"/>
                </a:lnTo>
                <a:lnTo>
                  <a:pt x="490" y="110"/>
                </a:lnTo>
                <a:lnTo>
                  <a:pt x="416" y="215"/>
                </a:lnTo>
                <a:lnTo>
                  <a:pt x="365" y="192"/>
                </a:lnTo>
                <a:lnTo>
                  <a:pt x="298" y="249"/>
                </a:lnTo>
                <a:lnTo>
                  <a:pt x="304" y="329"/>
                </a:lnTo>
                <a:lnTo>
                  <a:pt x="214" y="346"/>
                </a:lnTo>
                <a:lnTo>
                  <a:pt x="214" y="414"/>
                </a:lnTo>
                <a:lnTo>
                  <a:pt x="279" y="528"/>
                </a:lnTo>
                <a:lnTo>
                  <a:pt x="214" y="587"/>
                </a:lnTo>
                <a:lnTo>
                  <a:pt x="266" y="680"/>
                </a:lnTo>
                <a:lnTo>
                  <a:pt x="106" y="762"/>
                </a:lnTo>
                <a:lnTo>
                  <a:pt x="104" y="766"/>
                </a:lnTo>
                <a:lnTo>
                  <a:pt x="1" y="823"/>
                </a:lnTo>
                <a:lnTo>
                  <a:pt x="93" y="1059"/>
                </a:lnTo>
                <a:lnTo>
                  <a:pt x="55" y="1119"/>
                </a:lnTo>
                <a:lnTo>
                  <a:pt x="95" y="1224"/>
                </a:lnTo>
                <a:lnTo>
                  <a:pt x="0" y="1406"/>
                </a:lnTo>
                <a:lnTo>
                  <a:pt x="397" y="1192"/>
                </a:lnTo>
                <a:close/>
              </a:path>
            </a:pathLst>
          </a:custGeom>
          <a:solidFill>
            <a:schemeClr val="accent3"/>
          </a:solidFill>
          <a:ln w="12700">
            <a:solidFill>
              <a:schemeClr val="bg1"/>
            </a:solidFill>
            <a:round/>
            <a:headEnd/>
            <a:tailEnd/>
          </a:ln>
        </p:spPr>
        <p:txBody>
          <a:bodyPr/>
          <a:lstStyle/>
          <a:p>
            <a:pPr>
              <a:defRPr/>
            </a:pPr>
            <a:endParaRPr lang="nl-NL"/>
          </a:p>
        </p:txBody>
      </p:sp>
      <p:sp>
        <p:nvSpPr>
          <p:cNvPr id="18" name="Freeform 18"/>
          <p:cNvSpPr>
            <a:spLocks noChangeAspect="1"/>
          </p:cNvSpPr>
          <p:nvPr/>
        </p:nvSpPr>
        <p:spPr bwMode="auto">
          <a:xfrm>
            <a:off x="8250024" y="2971569"/>
            <a:ext cx="235301" cy="163527"/>
          </a:xfrm>
          <a:custGeom>
            <a:avLst/>
            <a:gdLst>
              <a:gd name="T0" fmla="*/ 253 w 346"/>
              <a:gd name="T1" fmla="*/ 2 h 223"/>
              <a:gd name="T2" fmla="*/ 198 w 346"/>
              <a:gd name="T3" fmla="*/ 0 h 223"/>
              <a:gd name="T4" fmla="*/ 151 w 346"/>
              <a:gd name="T5" fmla="*/ 29 h 223"/>
              <a:gd name="T6" fmla="*/ 76 w 346"/>
              <a:gd name="T7" fmla="*/ 44 h 223"/>
              <a:gd name="T8" fmla="*/ 61 w 346"/>
              <a:gd name="T9" fmla="*/ 74 h 223"/>
              <a:gd name="T10" fmla="*/ 21 w 346"/>
              <a:gd name="T11" fmla="*/ 101 h 223"/>
              <a:gd name="T12" fmla="*/ 0 w 346"/>
              <a:gd name="T13" fmla="*/ 143 h 223"/>
              <a:gd name="T14" fmla="*/ 40 w 346"/>
              <a:gd name="T15" fmla="*/ 213 h 223"/>
              <a:gd name="T16" fmla="*/ 74 w 346"/>
              <a:gd name="T17" fmla="*/ 219 h 223"/>
              <a:gd name="T18" fmla="*/ 111 w 346"/>
              <a:gd name="T19" fmla="*/ 202 h 223"/>
              <a:gd name="T20" fmla="*/ 198 w 346"/>
              <a:gd name="T21" fmla="*/ 223 h 223"/>
              <a:gd name="T22" fmla="*/ 247 w 346"/>
              <a:gd name="T23" fmla="*/ 179 h 223"/>
              <a:gd name="T24" fmla="*/ 346 w 346"/>
              <a:gd name="T25" fmla="*/ 192 h 223"/>
              <a:gd name="T26" fmla="*/ 346 w 346"/>
              <a:gd name="T27" fmla="*/ 175 h 223"/>
              <a:gd name="T28" fmla="*/ 308 w 346"/>
              <a:gd name="T29" fmla="*/ 124 h 223"/>
              <a:gd name="T30" fmla="*/ 310 w 346"/>
              <a:gd name="T31" fmla="*/ 55 h 223"/>
              <a:gd name="T32" fmla="*/ 272 w 346"/>
              <a:gd name="T33" fmla="*/ 48 h 223"/>
              <a:gd name="T34" fmla="*/ 253 w 346"/>
              <a:gd name="T35" fmla="*/ 2 h 223"/>
              <a:gd name="T36" fmla="*/ 253 w 346"/>
              <a:gd name="T37" fmla="*/ 2 h 223"/>
              <a:gd name="T38" fmla="*/ 253 w 346"/>
              <a:gd name="T39" fmla="*/ 2 h 2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6"/>
              <a:gd name="T61" fmla="*/ 0 h 223"/>
              <a:gd name="T62" fmla="*/ 346 w 346"/>
              <a:gd name="T63" fmla="*/ 223 h 2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6" h="223">
                <a:moveTo>
                  <a:pt x="253" y="2"/>
                </a:moveTo>
                <a:lnTo>
                  <a:pt x="198" y="0"/>
                </a:lnTo>
                <a:lnTo>
                  <a:pt x="151" y="29"/>
                </a:lnTo>
                <a:lnTo>
                  <a:pt x="76" y="44"/>
                </a:lnTo>
                <a:lnTo>
                  <a:pt x="61" y="74"/>
                </a:lnTo>
                <a:lnTo>
                  <a:pt x="21" y="101"/>
                </a:lnTo>
                <a:lnTo>
                  <a:pt x="0" y="143"/>
                </a:lnTo>
                <a:lnTo>
                  <a:pt x="40" y="213"/>
                </a:lnTo>
                <a:lnTo>
                  <a:pt x="74" y="219"/>
                </a:lnTo>
                <a:lnTo>
                  <a:pt x="111" y="202"/>
                </a:lnTo>
                <a:lnTo>
                  <a:pt x="198" y="223"/>
                </a:lnTo>
                <a:lnTo>
                  <a:pt x="247" y="179"/>
                </a:lnTo>
                <a:lnTo>
                  <a:pt x="346" y="192"/>
                </a:lnTo>
                <a:lnTo>
                  <a:pt x="346" y="175"/>
                </a:lnTo>
                <a:lnTo>
                  <a:pt x="308" y="124"/>
                </a:lnTo>
                <a:lnTo>
                  <a:pt x="310" y="55"/>
                </a:lnTo>
                <a:lnTo>
                  <a:pt x="272" y="48"/>
                </a:lnTo>
                <a:lnTo>
                  <a:pt x="253" y="2"/>
                </a:lnTo>
                <a:close/>
              </a:path>
            </a:pathLst>
          </a:custGeom>
          <a:solidFill>
            <a:schemeClr val="accent3"/>
          </a:solidFill>
          <a:ln w="12700">
            <a:solidFill>
              <a:schemeClr val="bg1"/>
            </a:solidFill>
            <a:round/>
            <a:headEnd/>
            <a:tailEnd/>
          </a:ln>
        </p:spPr>
        <p:txBody>
          <a:bodyPr/>
          <a:lstStyle/>
          <a:p>
            <a:pPr>
              <a:defRPr/>
            </a:pPr>
            <a:endParaRPr lang="nl-NL"/>
          </a:p>
        </p:txBody>
      </p:sp>
      <p:sp>
        <p:nvSpPr>
          <p:cNvPr id="19" name="Text Placeholder 12"/>
          <p:cNvSpPr>
            <a:spLocks/>
          </p:cNvSpPr>
          <p:nvPr>
            <p:custDataLst>
              <p:tags r:id="rId1"/>
            </p:custDataLst>
          </p:nvPr>
        </p:nvSpPr>
        <p:spPr bwMode="auto">
          <a:xfrm>
            <a:off x="424583" y="1123950"/>
            <a:ext cx="1282402" cy="276999"/>
          </a:xfrm>
          <a:prstGeom prst="rect">
            <a:avLst/>
          </a:prstGeom>
          <a:noFill/>
          <a:ln w="9525">
            <a:noFill/>
            <a:miter lim="800000"/>
            <a:headEnd/>
            <a:tailEnd/>
          </a:ln>
        </p:spPr>
        <p:txBody>
          <a:bodyPr wrap="none" lIns="0" tIns="0" rIns="0" bIns="0">
            <a:spAutoFit/>
          </a:bodyPr>
          <a:lstStyle/>
          <a:p>
            <a:pPr algn="l" defTabSz="1019175">
              <a:spcAft>
                <a:spcPts val="0"/>
              </a:spcAft>
            </a:pPr>
            <a:r>
              <a:rPr lang="en-US" sz="1800" b="1" dirty="0">
                <a:solidFill>
                  <a:schemeClr val="tx2"/>
                </a:solidFill>
              </a:rPr>
              <a:t>Switzerland</a:t>
            </a:r>
          </a:p>
        </p:txBody>
      </p:sp>
      <p:sp>
        <p:nvSpPr>
          <p:cNvPr id="20" name="Text Placeholder 12"/>
          <p:cNvSpPr>
            <a:spLocks/>
          </p:cNvSpPr>
          <p:nvPr>
            <p:custDataLst>
              <p:tags r:id="rId2"/>
            </p:custDataLst>
          </p:nvPr>
        </p:nvSpPr>
        <p:spPr bwMode="auto">
          <a:xfrm>
            <a:off x="4826462" y="1123950"/>
            <a:ext cx="795089" cy="276999"/>
          </a:xfrm>
          <a:prstGeom prst="rect">
            <a:avLst/>
          </a:prstGeom>
          <a:noFill/>
          <a:ln w="9525">
            <a:noFill/>
            <a:miter lim="800000"/>
            <a:headEnd/>
            <a:tailEnd/>
          </a:ln>
        </p:spPr>
        <p:txBody>
          <a:bodyPr wrap="none" lIns="0" tIns="0" rIns="0" bIns="0">
            <a:spAutoFit/>
          </a:bodyPr>
          <a:lstStyle/>
          <a:p>
            <a:pPr algn="l" defTabSz="1019175">
              <a:spcAft>
                <a:spcPts val="0"/>
              </a:spcAft>
            </a:pPr>
            <a:r>
              <a:rPr lang="en-US" sz="1800" b="1">
                <a:solidFill>
                  <a:schemeClr val="tx2"/>
                </a:solidFill>
              </a:rPr>
              <a:t>Austria</a:t>
            </a:r>
          </a:p>
        </p:txBody>
      </p:sp>
      <p:sp>
        <p:nvSpPr>
          <p:cNvPr id="2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5777" name="Title 1"/>
          <p:cNvSpPr>
            <a:spLocks noGrp="1"/>
          </p:cNvSpPr>
          <p:nvPr>
            <p:ph type="title"/>
          </p:nvPr>
        </p:nvSpPr>
        <p:spPr>
          <a:xfrm>
            <a:off x="414338" y="446038"/>
            <a:ext cx="8330184" cy="333425"/>
          </a:xfrm>
        </p:spPr>
        <p:txBody>
          <a:bodyPr/>
          <a:lstStyle/>
          <a:p>
            <a:r>
              <a:rPr lang="nl-NL"/>
              <a:t>Maps </a:t>
            </a:r>
            <a:r>
              <a:rPr lang="en-US"/>
              <a:t>—</a:t>
            </a:r>
            <a:r>
              <a:rPr lang="nl-NL" smtClean="0"/>
              <a:t> </a:t>
            </a:r>
            <a:r>
              <a:rPr lang="nl-NL"/>
              <a:t>Sweden and Finland</a:t>
            </a:r>
          </a:p>
        </p:txBody>
      </p:sp>
      <p:sp>
        <p:nvSpPr>
          <p:cNvPr id="7" name="Freeform 8"/>
          <p:cNvSpPr>
            <a:spLocks noChangeAspect="1"/>
          </p:cNvSpPr>
          <p:nvPr/>
        </p:nvSpPr>
        <p:spPr bwMode="auto">
          <a:xfrm>
            <a:off x="2510049" y="5162691"/>
            <a:ext cx="200696" cy="350274"/>
          </a:xfrm>
          <a:custGeom>
            <a:avLst/>
            <a:gdLst>
              <a:gd name="T0" fmla="*/ 108 w 108"/>
              <a:gd name="T1" fmla="*/ 2 h 174"/>
              <a:gd name="T2" fmla="*/ 108 w 108"/>
              <a:gd name="T3" fmla="*/ 2 h 174"/>
              <a:gd name="T4" fmla="*/ 108 w 108"/>
              <a:gd name="T5" fmla="*/ 1 h 174"/>
              <a:gd name="T6" fmla="*/ 106 w 108"/>
              <a:gd name="T7" fmla="*/ 0 h 174"/>
              <a:gd name="T8" fmla="*/ 103 w 108"/>
              <a:gd name="T9" fmla="*/ 0 h 174"/>
              <a:gd name="T10" fmla="*/ 91 w 108"/>
              <a:gd name="T11" fmla="*/ 3 h 174"/>
              <a:gd name="T12" fmla="*/ 82 w 108"/>
              <a:gd name="T13" fmla="*/ 10 h 174"/>
              <a:gd name="T14" fmla="*/ 75 w 108"/>
              <a:gd name="T15" fmla="*/ 10 h 174"/>
              <a:gd name="T16" fmla="*/ 66 w 108"/>
              <a:gd name="T17" fmla="*/ 8 h 174"/>
              <a:gd name="T18" fmla="*/ 47 w 108"/>
              <a:gd name="T19" fmla="*/ 9 h 174"/>
              <a:gd name="T20" fmla="*/ 34 w 108"/>
              <a:gd name="T21" fmla="*/ 24 h 174"/>
              <a:gd name="T22" fmla="*/ 23 w 108"/>
              <a:gd name="T23" fmla="*/ 38 h 174"/>
              <a:gd name="T24" fmla="*/ 19 w 108"/>
              <a:gd name="T25" fmla="*/ 53 h 174"/>
              <a:gd name="T26" fmla="*/ 7 w 108"/>
              <a:gd name="T27" fmla="*/ 64 h 174"/>
              <a:gd name="T28" fmla="*/ 0 w 108"/>
              <a:gd name="T29" fmla="*/ 75 h 174"/>
              <a:gd name="T30" fmla="*/ 2 w 108"/>
              <a:gd name="T31" fmla="*/ 86 h 174"/>
              <a:gd name="T32" fmla="*/ 6 w 108"/>
              <a:gd name="T33" fmla="*/ 97 h 174"/>
              <a:gd name="T34" fmla="*/ 4 w 108"/>
              <a:gd name="T35" fmla="*/ 112 h 174"/>
              <a:gd name="T36" fmla="*/ 7 w 108"/>
              <a:gd name="T37" fmla="*/ 128 h 174"/>
              <a:gd name="T38" fmla="*/ 14 w 108"/>
              <a:gd name="T39" fmla="*/ 144 h 174"/>
              <a:gd name="T40" fmla="*/ 10 w 108"/>
              <a:gd name="T41" fmla="*/ 155 h 174"/>
              <a:gd name="T42" fmla="*/ 8 w 108"/>
              <a:gd name="T43" fmla="*/ 167 h 174"/>
              <a:gd name="T44" fmla="*/ 13 w 108"/>
              <a:gd name="T45" fmla="*/ 174 h 174"/>
              <a:gd name="T46" fmla="*/ 19 w 108"/>
              <a:gd name="T47" fmla="*/ 168 h 174"/>
              <a:gd name="T48" fmla="*/ 23 w 108"/>
              <a:gd name="T49" fmla="*/ 158 h 174"/>
              <a:gd name="T50" fmla="*/ 28 w 108"/>
              <a:gd name="T51" fmla="*/ 145 h 174"/>
              <a:gd name="T52" fmla="*/ 31 w 108"/>
              <a:gd name="T53" fmla="*/ 134 h 174"/>
              <a:gd name="T54" fmla="*/ 36 w 108"/>
              <a:gd name="T55" fmla="*/ 126 h 174"/>
              <a:gd name="T56" fmla="*/ 46 w 108"/>
              <a:gd name="T57" fmla="*/ 127 h 174"/>
              <a:gd name="T58" fmla="*/ 52 w 108"/>
              <a:gd name="T59" fmla="*/ 123 h 174"/>
              <a:gd name="T60" fmla="*/ 53 w 108"/>
              <a:gd name="T61" fmla="*/ 114 h 174"/>
              <a:gd name="T62" fmla="*/ 53 w 108"/>
              <a:gd name="T63" fmla="*/ 107 h 174"/>
              <a:gd name="T64" fmla="*/ 61 w 108"/>
              <a:gd name="T65" fmla="*/ 101 h 174"/>
              <a:gd name="T66" fmla="*/ 68 w 108"/>
              <a:gd name="T67" fmla="*/ 93 h 174"/>
              <a:gd name="T68" fmla="*/ 67 w 108"/>
              <a:gd name="T69" fmla="*/ 84 h 174"/>
              <a:gd name="T70" fmla="*/ 63 w 108"/>
              <a:gd name="T71" fmla="*/ 68 h 174"/>
              <a:gd name="T72" fmla="*/ 59 w 108"/>
              <a:gd name="T73" fmla="*/ 54 h 174"/>
              <a:gd name="T74" fmla="*/ 72 w 108"/>
              <a:gd name="T75" fmla="*/ 40 h 174"/>
              <a:gd name="T76" fmla="*/ 84 w 108"/>
              <a:gd name="T77" fmla="*/ 29 h 174"/>
              <a:gd name="T78" fmla="*/ 92 w 108"/>
              <a:gd name="T79" fmla="*/ 16 h 174"/>
              <a:gd name="T80" fmla="*/ 98 w 108"/>
              <a:gd name="T81" fmla="*/ 9 h 174"/>
              <a:gd name="T82" fmla="*/ 106 w 108"/>
              <a:gd name="T83" fmla="*/ 5 h 17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08"/>
              <a:gd name="T127" fmla="*/ 0 h 174"/>
              <a:gd name="T128" fmla="*/ 108 w 108"/>
              <a:gd name="T129" fmla="*/ 174 h 17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08" h="174">
                <a:moveTo>
                  <a:pt x="108" y="2"/>
                </a:moveTo>
                <a:lnTo>
                  <a:pt x="108" y="2"/>
                </a:lnTo>
                <a:lnTo>
                  <a:pt x="108" y="1"/>
                </a:lnTo>
                <a:lnTo>
                  <a:pt x="107" y="1"/>
                </a:lnTo>
                <a:lnTo>
                  <a:pt x="106" y="0"/>
                </a:lnTo>
                <a:lnTo>
                  <a:pt x="105" y="0"/>
                </a:lnTo>
                <a:lnTo>
                  <a:pt x="103" y="0"/>
                </a:lnTo>
                <a:lnTo>
                  <a:pt x="97" y="1"/>
                </a:lnTo>
                <a:lnTo>
                  <a:pt x="91" y="3"/>
                </a:lnTo>
                <a:lnTo>
                  <a:pt x="85" y="7"/>
                </a:lnTo>
                <a:lnTo>
                  <a:pt x="82" y="10"/>
                </a:lnTo>
                <a:lnTo>
                  <a:pt x="78" y="11"/>
                </a:lnTo>
                <a:lnTo>
                  <a:pt x="75" y="10"/>
                </a:lnTo>
                <a:lnTo>
                  <a:pt x="72" y="9"/>
                </a:lnTo>
                <a:lnTo>
                  <a:pt x="66" y="8"/>
                </a:lnTo>
                <a:lnTo>
                  <a:pt x="57" y="7"/>
                </a:lnTo>
                <a:lnTo>
                  <a:pt x="47" y="9"/>
                </a:lnTo>
                <a:lnTo>
                  <a:pt x="39" y="16"/>
                </a:lnTo>
                <a:lnTo>
                  <a:pt x="34" y="24"/>
                </a:lnTo>
                <a:lnTo>
                  <a:pt x="28" y="31"/>
                </a:lnTo>
                <a:lnTo>
                  <a:pt x="23" y="38"/>
                </a:lnTo>
                <a:lnTo>
                  <a:pt x="21" y="46"/>
                </a:lnTo>
                <a:lnTo>
                  <a:pt x="19" y="53"/>
                </a:lnTo>
                <a:lnTo>
                  <a:pt x="14" y="59"/>
                </a:lnTo>
                <a:lnTo>
                  <a:pt x="7" y="64"/>
                </a:lnTo>
                <a:lnTo>
                  <a:pt x="2" y="69"/>
                </a:lnTo>
                <a:lnTo>
                  <a:pt x="0" y="75"/>
                </a:lnTo>
                <a:lnTo>
                  <a:pt x="0" y="81"/>
                </a:lnTo>
                <a:lnTo>
                  <a:pt x="2" y="86"/>
                </a:lnTo>
                <a:lnTo>
                  <a:pt x="5" y="91"/>
                </a:lnTo>
                <a:lnTo>
                  <a:pt x="6" y="97"/>
                </a:lnTo>
                <a:lnTo>
                  <a:pt x="5" y="104"/>
                </a:lnTo>
                <a:lnTo>
                  <a:pt x="4" y="112"/>
                </a:lnTo>
                <a:lnTo>
                  <a:pt x="5" y="120"/>
                </a:lnTo>
                <a:lnTo>
                  <a:pt x="7" y="128"/>
                </a:lnTo>
                <a:lnTo>
                  <a:pt x="10" y="136"/>
                </a:lnTo>
                <a:lnTo>
                  <a:pt x="14" y="144"/>
                </a:lnTo>
                <a:lnTo>
                  <a:pt x="13" y="150"/>
                </a:lnTo>
                <a:lnTo>
                  <a:pt x="10" y="155"/>
                </a:lnTo>
                <a:lnTo>
                  <a:pt x="8" y="161"/>
                </a:lnTo>
                <a:lnTo>
                  <a:pt x="8" y="167"/>
                </a:lnTo>
                <a:lnTo>
                  <a:pt x="10" y="172"/>
                </a:lnTo>
                <a:lnTo>
                  <a:pt x="13" y="174"/>
                </a:lnTo>
                <a:lnTo>
                  <a:pt x="16" y="172"/>
                </a:lnTo>
                <a:lnTo>
                  <a:pt x="19" y="168"/>
                </a:lnTo>
                <a:lnTo>
                  <a:pt x="21" y="164"/>
                </a:lnTo>
                <a:lnTo>
                  <a:pt x="23" y="158"/>
                </a:lnTo>
                <a:lnTo>
                  <a:pt x="25" y="152"/>
                </a:lnTo>
                <a:lnTo>
                  <a:pt x="28" y="145"/>
                </a:lnTo>
                <a:lnTo>
                  <a:pt x="30" y="139"/>
                </a:lnTo>
                <a:lnTo>
                  <a:pt x="31" y="134"/>
                </a:lnTo>
                <a:lnTo>
                  <a:pt x="32" y="129"/>
                </a:lnTo>
                <a:lnTo>
                  <a:pt x="36" y="126"/>
                </a:lnTo>
                <a:lnTo>
                  <a:pt x="40" y="126"/>
                </a:lnTo>
                <a:lnTo>
                  <a:pt x="46" y="127"/>
                </a:lnTo>
                <a:lnTo>
                  <a:pt x="51" y="126"/>
                </a:lnTo>
                <a:lnTo>
                  <a:pt x="52" y="123"/>
                </a:lnTo>
                <a:lnTo>
                  <a:pt x="53" y="119"/>
                </a:lnTo>
                <a:lnTo>
                  <a:pt x="53" y="114"/>
                </a:lnTo>
                <a:lnTo>
                  <a:pt x="53" y="111"/>
                </a:lnTo>
                <a:lnTo>
                  <a:pt x="53" y="107"/>
                </a:lnTo>
                <a:lnTo>
                  <a:pt x="57" y="105"/>
                </a:lnTo>
                <a:lnTo>
                  <a:pt x="61" y="101"/>
                </a:lnTo>
                <a:lnTo>
                  <a:pt x="66" y="97"/>
                </a:lnTo>
                <a:lnTo>
                  <a:pt x="68" y="93"/>
                </a:lnTo>
                <a:lnTo>
                  <a:pt x="68" y="89"/>
                </a:lnTo>
                <a:lnTo>
                  <a:pt x="67" y="84"/>
                </a:lnTo>
                <a:lnTo>
                  <a:pt x="66" y="76"/>
                </a:lnTo>
                <a:lnTo>
                  <a:pt x="63" y="68"/>
                </a:lnTo>
                <a:lnTo>
                  <a:pt x="60" y="61"/>
                </a:lnTo>
                <a:lnTo>
                  <a:pt x="59" y="54"/>
                </a:lnTo>
                <a:lnTo>
                  <a:pt x="63" y="47"/>
                </a:lnTo>
                <a:lnTo>
                  <a:pt x="72" y="40"/>
                </a:lnTo>
                <a:lnTo>
                  <a:pt x="78" y="34"/>
                </a:lnTo>
                <a:lnTo>
                  <a:pt x="84" y="29"/>
                </a:lnTo>
                <a:lnTo>
                  <a:pt x="89" y="22"/>
                </a:lnTo>
                <a:lnTo>
                  <a:pt x="92" y="16"/>
                </a:lnTo>
                <a:lnTo>
                  <a:pt x="96" y="11"/>
                </a:lnTo>
                <a:lnTo>
                  <a:pt x="98" y="9"/>
                </a:lnTo>
                <a:lnTo>
                  <a:pt x="103" y="7"/>
                </a:lnTo>
                <a:lnTo>
                  <a:pt x="106" y="5"/>
                </a:lnTo>
                <a:lnTo>
                  <a:pt x="108" y="2"/>
                </a:lnTo>
                <a:close/>
              </a:path>
            </a:pathLst>
          </a:custGeom>
          <a:solidFill>
            <a:schemeClr val="accent3"/>
          </a:solidFill>
          <a:ln w="12700">
            <a:solidFill>
              <a:schemeClr val="bg1"/>
            </a:solidFill>
            <a:round/>
            <a:headEnd/>
            <a:tailEnd/>
          </a:ln>
        </p:spPr>
        <p:txBody>
          <a:bodyPr/>
          <a:lstStyle/>
          <a:p>
            <a:pPr>
              <a:defRPr/>
            </a:pPr>
            <a:endParaRPr lang="nl-NL"/>
          </a:p>
        </p:txBody>
      </p:sp>
      <p:sp>
        <p:nvSpPr>
          <p:cNvPr id="8" name="Freeform 9"/>
          <p:cNvSpPr>
            <a:spLocks noChangeAspect="1"/>
          </p:cNvSpPr>
          <p:nvPr/>
        </p:nvSpPr>
        <p:spPr bwMode="auto">
          <a:xfrm>
            <a:off x="1439671" y="1595529"/>
            <a:ext cx="1798829" cy="4392521"/>
          </a:xfrm>
          <a:custGeom>
            <a:avLst/>
            <a:gdLst>
              <a:gd name="T0" fmla="*/ 373 w 968"/>
              <a:gd name="T1" fmla="*/ 2067 h 2182"/>
              <a:gd name="T2" fmla="*/ 290 w 968"/>
              <a:gd name="T3" fmla="*/ 2056 h 2182"/>
              <a:gd name="T4" fmla="*/ 261 w 968"/>
              <a:gd name="T5" fmla="*/ 2082 h 2182"/>
              <a:gd name="T6" fmla="*/ 240 w 968"/>
              <a:gd name="T7" fmla="*/ 2162 h 2182"/>
              <a:gd name="T8" fmla="*/ 193 w 968"/>
              <a:gd name="T9" fmla="*/ 2171 h 2182"/>
              <a:gd name="T10" fmla="*/ 124 w 968"/>
              <a:gd name="T11" fmla="*/ 2134 h 2182"/>
              <a:gd name="T12" fmla="*/ 105 w 968"/>
              <a:gd name="T13" fmla="*/ 2037 h 2182"/>
              <a:gd name="T14" fmla="*/ 122 w 968"/>
              <a:gd name="T15" fmla="*/ 2006 h 2182"/>
              <a:gd name="T16" fmla="*/ 80 w 968"/>
              <a:gd name="T17" fmla="*/ 1922 h 2182"/>
              <a:gd name="T18" fmla="*/ 52 w 968"/>
              <a:gd name="T19" fmla="*/ 1827 h 2182"/>
              <a:gd name="T20" fmla="*/ 24 w 968"/>
              <a:gd name="T21" fmla="*/ 1713 h 2182"/>
              <a:gd name="T22" fmla="*/ 2 w 968"/>
              <a:gd name="T23" fmla="*/ 1611 h 2182"/>
              <a:gd name="T24" fmla="*/ 50 w 968"/>
              <a:gd name="T25" fmla="*/ 1583 h 2182"/>
              <a:gd name="T26" fmla="*/ 85 w 968"/>
              <a:gd name="T27" fmla="*/ 1447 h 2182"/>
              <a:gd name="T28" fmla="*/ 125 w 968"/>
              <a:gd name="T29" fmla="*/ 1331 h 2182"/>
              <a:gd name="T30" fmla="*/ 159 w 968"/>
              <a:gd name="T31" fmla="*/ 1207 h 2182"/>
              <a:gd name="T32" fmla="*/ 130 w 968"/>
              <a:gd name="T33" fmla="*/ 969 h 2182"/>
              <a:gd name="T34" fmla="*/ 157 w 968"/>
              <a:gd name="T35" fmla="*/ 836 h 2182"/>
              <a:gd name="T36" fmla="*/ 240 w 968"/>
              <a:gd name="T37" fmla="*/ 783 h 2182"/>
              <a:gd name="T38" fmla="*/ 261 w 968"/>
              <a:gd name="T39" fmla="*/ 707 h 2182"/>
              <a:gd name="T40" fmla="*/ 326 w 968"/>
              <a:gd name="T41" fmla="*/ 516 h 2182"/>
              <a:gd name="T42" fmla="*/ 397 w 968"/>
              <a:gd name="T43" fmla="*/ 401 h 2182"/>
              <a:gd name="T44" fmla="*/ 444 w 968"/>
              <a:gd name="T45" fmla="*/ 285 h 2182"/>
              <a:gd name="T46" fmla="*/ 525 w 968"/>
              <a:gd name="T47" fmla="*/ 165 h 2182"/>
              <a:gd name="T48" fmla="*/ 597 w 968"/>
              <a:gd name="T49" fmla="*/ 82 h 2182"/>
              <a:gd name="T50" fmla="*/ 675 w 968"/>
              <a:gd name="T51" fmla="*/ 62 h 2182"/>
              <a:gd name="T52" fmla="*/ 710 w 968"/>
              <a:gd name="T53" fmla="*/ 1 h 2182"/>
              <a:gd name="T54" fmla="*/ 792 w 968"/>
              <a:gd name="T55" fmla="*/ 73 h 2182"/>
              <a:gd name="T56" fmla="*/ 861 w 968"/>
              <a:gd name="T57" fmla="*/ 124 h 2182"/>
              <a:gd name="T58" fmla="*/ 898 w 968"/>
              <a:gd name="T59" fmla="*/ 238 h 2182"/>
              <a:gd name="T60" fmla="*/ 943 w 968"/>
              <a:gd name="T61" fmla="*/ 348 h 2182"/>
              <a:gd name="T62" fmla="*/ 965 w 968"/>
              <a:gd name="T63" fmla="*/ 467 h 2182"/>
              <a:gd name="T64" fmla="*/ 910 w 968"/>
              <a:gd name="T65" fmla="*/ 505 h 2182"/>
              <a:gd name="T66" fmla="*/ 869 w 968"/>
              <a:gd name="T67" fmla="*/ 503 h 2182"/>
              <a:gd name="T68" fmla="*/ 834 w 968"/>
              <a:gd name="T69" fmla="*/ 558 h 2182"/>
              <a:gd name="T70" fmla="*/ 802 w 968"/>
              <a:gd name="T71" fmla="*/ 582 h 2182"/>
              <a:gd name="T72" fmla="*/ 785 w 968"/>
              <a:gd name="T73" fmla="*/ 649 h 2182"/>
              <a:gd name="T74" fmla="*/ 804 w 968"/>
              <a:gd name="T75" fmla="*/ 727 h 2182"/>
              <a:gd name="T76" fmla="*/ 769 w 968"/>
              <a:gd name="T77" fmla="*/ 794 h 2182"/>
              <a:gd name="T78" fmla="*/ 710 w 968"/>
              <a:gd name="T79" fmla="*/ 869 h 2182"/>
              <a:gd name="T80" fmla="*/ 643 w 968"/>
              <a:gd name="T81" fmla="*/ 926 h 2182"/>
              <a:gd name="T82" fmla="*/ 600 w 968"/>
              <a:gd name="T83" fmla="*/ 992 h 2182"/>
              <a:gd name="T84" fmla="*/ 562 w 968"/>
              <a:gd name="T85" fmla="*/ 1029 h 2182"/>
              <a:gd name="T86" fmla="*/ 514 w 968"/>
              <a:gd name="T87" fmla="*/ 1059 h 2182"/>
              <a:gd name="T88" fmla="*/ 520 w 968"/>
              <a:gd name="T89" fmla="*/ 1126 h 2182"/>
              <a:gd name="T90" fmla="*/ 513 w 968"/>
              <a:gd name="T91" fmla="*/ 1182 h 2182"/>
              <a:gd name="T92" fmla="*/ 509 w 968"/>
              <a:gd name="T93" fmla="*/ 1321 h 2182"/>
              <a:gd name="T94" fmla="*/ 556 w 968"/>
              <a:gd name="T95" fmla="*/ 1356 h 2182"/>
              <a:gd name="T96" fmla="*/ 595 w 968"/>
              <a:gd name="T97" fmla="*/ 1384 h 2182"/>
              <a:gd name="T98" fmla="*/ 607 w 968"/>
              <a:gd name="T99" fmla="*/ 1426 h 2182"/>
              <a:gd name="T100" fmla="*/ 648 w 968"/>
              <a:gd name="T101" fmla="*/ 1471 h 2182"/>
              <a:gd name="T102" fmla="*/ 623 w 968"/>
              <a:gd name="T103" fmla="*/ 1537 h 2182"/>
              <a:gd name="T104" fmla="*/ 586 w 968"/>
              <a:gd name="T105" fmla="*/ 1599 h 2182"/>
              <a:gd name="T106" fmla="*/ 539 w 968"/>
              <a:gd name="T107" fmla="*/ 1630 h 2182"/>
              <a:gd name="T108" fmla="*/ 478 w 968"/>
              <a:gd name="T109" fmla="*/ 1675 h 2182"/>
              <a:gd name="T110" fmla="*/ 459 w 968"/>
              <a:gd name="T111" fmla="*/ 1709 h 2182"/>
              <a:gd name="T112" fmla="*/ 467 w 968"/>
              <a:gd name="T113" fmla="*/ 1775 h 2182"/>
              <a:gd name="T114" fmla="*/ 456 w 968"/>
              <a:gd name="T115" fmla="*/ 1810 h 2182"/>
              <a:gd name="T116" fmla="*/ 446 w 968"/>
              <a:gd name="T117" fmla="*/ 1872 h 2182"/>
              <a:gd name="T118" fmla="*/ 437 w 968"/>
              <a:gd name="T119" fmla="*/ 1929 h 218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68"/>
              <a:gd name="T181" fmla="*/ 0 h 2182"/>
              <a:gd name="T182" fmla="*/ 968 w 968"/>
              <a:gd name="T183" fmla="*/ 2182 h 218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68" h="2182">
                <a:moveTo>
                  <a:pt x="431" y="1949"/>
                </a:moveTo>
                <a:lnTo>
                  <a:pt x="431" y="1954"/>
                </a:lnTo>
                <a:lnTo>
                  <a:pt x="429" y="1967"/>
                </a:lnTo>
                <a:lnTo>
                  <a:pt x="424" y="1980"/>
                </a:lnTo>
                <a:lnTo>
                  <a:pt x="416" y="1990"/>
                </a:lnTo>
                <a:lnTo>
                  <a:pt x="408" y="1998"/>
                </a:lnTo>
                <a:lnTo>
                  <a:pt x="405" y="2008"/>
                </a:lnTo>
                <a:lnTo>
                  <a:pt x="403" y="2020"/>
                </a:lnTo>
                <a:lnTo>
                  <a:pt x="401" y="2031"/>
                </a:lnTo>
                <a:lnTo>
                  <a:pt x="395" y="2044"/>
                </a:lnTo>
                <a:lnTo>
                  <a:pt x="388" y="2054"/>
                </a:lnTo>
                <a:lnTo>
                  <a:pt x="380" y="2063"/>
                </a:lnTo>
                <a:lnTo>
                  <a:pt x="374" y="2067"/>
                </a:lnTo>
                <a:lnTo>
                  <a:pt x="373" y="2067"/>
                </a:lnTo>
                <a:lnTo>
                  <a:pt x="371" y="2066"/>
                </a:lnTo>
                <a:lnTo>
                  <a:pt x="369" y="2066"/>
                </a:lnTo>
                <a:lnTo>
                  <a:pt x="365" y="2063"/>
                </a:lnTo>
                <a:lnTo>
                  <a:pt x="361" y="2062"/>
                </a:lnTo>
                <a:lnTo>
                  <a:pt x="355" y="2061"/>
                </a:lnTo>
                <a:lnTo>
                  <a:pt x="348" y="2060"/>
                </a:lnTo>
                <a:lnTo>
                  <a:pt x="339" y="2060"/>
                </a:lnTo>
                <a:lnTo>
                  <a:pt x="328" y="2060"/>
                </a:lnTo>
                <a:lnTo>
                  <a:pt x="320" y="2060"/>
                </a:lnTo>
                <a:lnTo>
                  <a:pt x="312" y="2060"/>
                </a:lnTo>
                <a:lnTo>
                  <a:pt x="305" y="2059"/>
                </a:lnTo>
                <a:lnTo>
                  <a:pt x="299" y="2059"/>
                </a:lnTo>
                <a:lnTo>
                  <a:pt x="294" y="2058"/>
                </a:lnTo>
                <a:lnTo>
                  <a:pt x="290" y="2056"/>
                </a:lnTo>
                <a:lnTo>
                  <a:pt x="287" y="2055"/>
                </a:lnTo>
                <a:lnTo>
                  <a:pt x="283" y="2054"/>
                </a:lnTo>
                <a:lnTo>
                  <a:pt x="281" y="2058"/>
                </a:lnTo>
                <a:lnTo>
                  <a:pt x="281" y="2063"/>
                </a:lnTo>
                <a:lnTo>
                  <a:pt x="283" y="2069"/>
                </a:lnTo>
                <a:lnTo>
                  <a:pt x="286" y="2074"/>
                </a:lnTo>
                <a:lnTo>
                  <a:pt x="286" y="2078"/>
                </a:lnTo>
                <a:lnTo>
                  <a:pt x="283" y="2082"/>
                </a:lnTo>
                <a:lnTo>
                  <a:pt x="280" y="2084"/>
                </a:lnTo>
                <a:lnTo>
                  <a:pt x="275" y="2088"/>
                </a:lnTo>
                <a:lnTo>
                  <a:pt x="271" y="2090"/>
                </a:lnTo>
                <a:lnTo>
                  <a:pt x="266" y="2090"/>
                </a:lnTo>
                <a:lnTo>
                  <a:pt x="264" y="2086"/>
                </a:lnTo>
                <a:lnTo>
                  <a:pt x="261" y="2082"/>
                </a:lnTo>
                <a:lnTo>
                  <a:pt x="256" y="2080"/>
                </a:lnTo>
                <a:lnTo>
                  <a:pt x="250" y="2081"/>
                </a:lnTo>
                <a:lnTo>
                  <a:pt x="244" y="2083"/>
                </a:lnTo>
                <a:lnTo>
                  <a:pt x="241" y="2088"/>
                </a:lnTo>
                <a:lnTo>
                  <a:pt x="237" y="2095"/>
                </a:lnTo>
                <a:lnTo>
                  <a:pt x="234" y="2100"/>
                </a:lnTo>
                <a:lnTo>
                  <a:pt x="230" y="2107"/>
                </a:lnTo>
                <a:lnTo>
                  <a:pt x="230" y="2115"/>
                </a:lnTo>
                <a:lnTo>
                  <a:pt x="233" y="2126"/>
                </a:lnTo>
                <a:lnTo>
                  <a:pt x="236" y="2136"/>
                </a:lnTo>
                <a:lnTo>
                  <a:pt x="240" y="2143"/>
                </a:lnTo>
                <a:lnTo>
                  <a:pt x="242" y="2149"/>
                </a:lnTo>
                <a:lnTo>
                  <a:pt x="242" y="2156"/>
                </a:lnTo>
                <a:lnTo>
                  <a:pt x="240" y="2162"/>
                </a:lnTo>
                <a:lnTo>
                  <a:pt x="235" y="2169"/>
                </a:lnTo>
                <a:lnTo>
                  <a:pt x="230" y="2174"/>
                </a:lnTo>
                <a:lnTo>
                  <a:pt x="227" y="2179"/>
                </a:lnTo>
                <a:lnTo>
                  <a:pt x="225" y="2181"/>
                </a:lnTo>
                <a:lnTo>
                  <a:pt x="222" y="2182"/>
                </a:lnTo>
                <a:lnTo>
                  <a:pt x="221" y="2182"/>
                </a:lnTo>
                <a:lnTo>
                  <a:pt x="220" y="2182"/>
                </a:lnTo>
                <a:lnTo>
                  <a:pt x="219" y="2182"/>
                </a:lnTo>
                <a:lnTo>
                  <a:pt x="218" y="2181"/>
                </a:lnTo>
                <a:lnTo>
                  <a:pt x="213" y="2177"/>
                </a:lnTo>
                <a:lnTo>
                  <a:pt x="210" y="2173"/>
                </a:lnTo>
                <a:lnTo>
                  <a:pt x="205" y="2169"/>
                </a:lnTo>
                <a:lnTo>
                  <a:pt x="198" y="2169"/>
                </a:lnTo>
                <a:lnTo>
                  <a:pt x="193" y="2171"/>
                </a:lnTo>
                <a:lnTo>
                  <a:pt x="188" y="2172"/>
                </a:lnTo>
                <a:lnTo>
                  <a:pt x="181" y="2173"/>
                </a:lnTo>
                <a:lnTo>
                  <a:pt x="173" y="2174"/>
                </a:lnTo>
                <a:lnTo>
                  <a:pt x="165" y="2175"/>
                </a:lnTo>
                <a:lnTo>
                  <a:pt x="158" y="2176"/>
                </a:lnTo>
                <a:lnTo>
                  <a:pt x="151" y="2176"/>
                </a:lnTo>
                <a:lnTo>
                  <a:pt x="145" y="2177"/>
                </a:lnTo>
                <a:lnTo>
                  <a:pt x="135" y="2177"/>
                </a:lnTo>
                <a:lnTo>
                  <a:pt x="125" y="2176"/>
                </a:lnTo>
                <a:lnTo>
                  <a:pt x="116" y="2172"/>
                </a:lnTo>
                <a:lnTo>
                  <a:pt x="112" y="2161"/>
                </a:lnTo>
                <a:lnTo>
                  <a:pt x="113" y="2149"/>
                </a:lnTo>
                <a:lnTo>
                  <a:pt x="118" y="2139"/>
                </a:lnTo>
                <a:lnTo>
                  <a:pt x="124" y="2134"/>
                </a:lnTo>
                <a:lnTo>
                  <a:pt x="125" y="2129"/>
                </a:lnTo>
                <a:lnTo>
                  <a:pt x="124" y="2126"/>
                </a:lnTo>
                <a:lnTo>
                  <a:pt x="121" y="2120"/>
                </a:lnTo>
                <a:lnTo>
                  <a:pt x="118" y="2114"/>
                </a:lnTo>
                <a:lnTo>
                  <a:pt x="116" y="2109"/>
                </a:lnTo>
                <a:lnTo>
                  <a:pt x="113" y="2101"/>
                </a:lnTo>
                <a:lnTo>
                  <a:pt x="107" y="2088"/>
                </a:lnTo>
                <a:lnTo>
                  <a:pt x="102" y="2074"/>
                </a:lnTo>
                <a:lnTo>
                  <a:pt x="98" y="2063"/>
                </a:lnTo>
                <a:lnTo>
                  <a:pt x="94" y="2055"/>
                </a:lnTo>
                <a:lnTo>
                  <a:pt x="91" y="2046"/>
                </a:lnTo>
                <a:lnTo>
                  <a:pt x="92" y="2039"/>
                </a:lnTo>
                <a:lnTo>
                  <a:pt x="98" y="2037"/>
                </a:lnTo>
                <a:lnTo>
                  <a:pt x="105" y="2037"/>
                </a:lnTo>
                <a:lnTo>
                  <a:pt x="108" y="2035"/>
                </a:lnTo>
                <a:lnTo>
                  <a:pt x="108" y="2031"/>
                </a:lnTo>
                <a:lnTo>
                  <a:pt x="105" y="2022"/>
                </a:lnTo>
                <a:lnTo>
                  <a:pt x="100" y="2013"/>
                </a:lnTo>
                <a:lnTo>
                  <a:pt x="98" y="2007"/>
                </a:lnTo>
                <a:lnTo>
                  <a:pt x="98" y="2002"/>
                </a:lnTo>
                <a:lnTo>
                  <a:pt x="101" y="1999"/>
                </a:lnTo>
                <a:lnTo>
                  <a:pt x="106" y="1997"/>
                </a:lnTo>
                <a:lnTo>
                  <a:pt x="108" y="1998"/>
                </a:lnTo>
                <a:lnTo>
                  <a:pt x="110" y="2000"/>
                </a:lnTo>
                <a:lnTo>
                  <a:pt x="113" y="2003"/>
                </a:lnTo>
                <a:lnTo>
                  <a:pt x="116" y="2007"/>
                </a:lnTo>
                <a:lnTo>
                  <a:pt x="120" y="2008"/>
                </a:lnTo>
                <a:lnTo>
                  <a:pt x="122" y="2006"/>
                </a:lnTo>
                <a:lnTo>
                  <a:pt x="122" y="1999"/>
                </a:lnTo>
                <a:lnTo>
                  <a:pt x="123" y="1992"/>
                </a:lnTo>
                <a:lnTo>
                  <a:pt x="125" y="1985"/>
                </a:lnTo>
                <a:lnTo>
                  <a:pt x="125" y="1979"/>
                </a:lnTo>
                <a:lnTo>
                  <a:pt x="121" y="1972"/>
                </a:lnTo>
                <a:lnTo>
                  <a:pt x="113" y="1969"/>
                </a:lnTo>
                <a:lnTo>
                  <a:pt x="107" y="1967"/>
                </a:lnTo>
                <a:lnTo>
                  <a:pt x="102" y="1963"/>
                </a:lnTo>
                <a:lnTo>
                  <a:pt x="99" y="1955"/>
                </a:lnTo>
                <a:lnTo>
                  <a:pt x="97" y="1945"/>
                </a:lnTo>
                <a:lnTo>
                  <a:pt x="94" y="1939"/>
                </a:lnTo>
                <a:lnTo>
                  <a:pt x="91" y="1934"/>
                </a:lnTo>
                <a:lnTo>
                  <a:pt x="86" y="1930"/>
                </a:lnTo>
                <a:lnTo>
                  <a:pt x="80" y="1922"/>
                </a:lnTo>
                <a:lnTo>
                  <a:pt x="76" y="1908"/>
                </a:lnTo>
                <a:lnTo>
                  <a:pt x="71" y="1894"/>
                </a:lnTo>
                <a:lnTo>
                  <a:pt x="69" y="1880"/>
                </a:lnTo>
                <a:lnTo>
                  <a:pt x="68" y="1869"/>
                </a:lnTo>
                <a:lnTo>
                  <a:pt x="67" y="1859"/>
                </a:lnTo>
                <a:lnTo>
                  <a:pt x="64" y="1854"/>
                </a:lnTo>
                <a:lnTo>
                  <a:pt x="60" y="1851"/>
                </a:lnTo>
                <a:lnTo>
                  <a:pt x="53" y="1850"/>
                </a:lnTo>
                <a:lnTo>
                  <a:pt x="47" y="1846"/>
                </a:lnTo>
                <a:lnTo>
                  <a:pt x="44" y="1839"/>
                </a:lnTo>
                <a:lnTo>
                  <a:pt x="44" y="1833"/>
                </a:lnTo>
                <a:lnTo>
                  <a:pt x="46" y="1830"/>
                </a:lnTo>
                <a:lnTo>
                  <a:pt x="49" y="1830"/>
                </a:lnTo>
                <a:lnTo>
                  <a:pt x="52" y="1827"/>
                </a:lnTo>
                <a:lnTo>
                  <a:pt x="50" y="1819"/>
                </a:lnTo>
                <a:lnTo>
                  <a:pt x="47" y="1811"/>
                </a:lnTo>
                <a:lnTo>
                  <a:pt x="42" y="1805"/>
                </a:lnTo>
                <a:lnTo>
                  <a:pt x="39" y="1800"/>
                </a:lnTo>
                <a:lnTo>
                  <a:pt x="38" y="1792"/>
                </a:lnTo>
                <a:lnTo>
                  <a:pt x="39" y="1780"/>
                </a:lnTo>
                <a:lnTo>
                  <a:pt x="40" y="1768"/>
                </a:lnTo>
                <a:lnTo>
                  <a:pt x="40" y="1759"/>
                </a:lnTo>
                <a:lnTo>
                  <a:pt x="37" y="1752"/>
                </a:lnTo>
                <a:lnTo>
                  <a:pt x="30" y="1745"/>
                </a:lnTo>
                <a:lnTo>
                  <a:pt x="24" y="1736"/>
                </a:lnTo>
                <a:lnTo>
                  <a:pt x="22" y="1728"/>
                </a:lnTo>
                <a:lnTo>
                  <a:pt x="23" y="1720"/>
                </a:lnTo>
                <a:lnTo>
                  <a:pt x="24" y="1713"/>
                </a:lnTo>
                <a:lnTo>
                  <a:pt x="22" y="1706"/>
                </a:lnTo>
                <a:lnTo>
                  <a:pt x="17" y="1699"/>
                </a:lnTo>
                <a:lnTo>
                  <a:pt x="14" y="1694"/>
                </a:lnTo>
                <a:lnTo>
                  <a:pt x="11" y="1688"/>
                </a:lnTo>
                <a:lnTo>
                  <a:pt x="9" y="1680"/>
                </a:lnTo>
                <a:lnTo>
                  <a:pt x="8" y="1673"/>
                </a:lnTo>
                <a:lnTo>
                  <a:pt x="7" y="1664"/>
                </a:lnTo>
                <a:lnTo>
                  <a:pt x="7" y="1656"/>
                </a:lnTo>
                <a:lnTo>
                  <a:pt x="6" y="1647"/>
                </a:lnTo>
                <a:lnTo>
                  <a:pt x="4" y="1639"/>
                </a:lnTo>
                <a:lnTo>
                  <a:pt x="1" y="1630"/>
                </a:lnTo>
                <a:lnTo>
                  <a:pt x="0" y="1622"/>
                </a:lnTo>
                <a:lnTo>
                  <a:pt x="1" y="1616"/>
                </a:lnTo>
                <a:lnTo>
                  <a:pt x="2" y="1611"/>
                </a:lnTo>
                <a:lnTo>
                  <a:pt x="3" y="1604"/>
                </a:lnTo>
                <a:lnTo>
                  <a:pt x="3" y="1593"/>
                </a:lnTo>
                <a:lnTo>
                  <a:pt x="4" y="1582"/>
                </a:lnTo>
                <a:lnTo>
                  <a:pt x="7" y="1573"/>
                </a:lnTo>
                <a:lnTo>
                  <a:pt x="9" y="1568"/>
                </a:lnTo>
                <a:lnTo>
                  <a:pt x="14" y="1567"/>
                </a:lnTo>
                <a:lnTo>
                  <a:pt x="19" y="1568"/>
                </a:lnTo>
                <a:lnTo>
                  <a:pt x="25" y="1571"/>
                </a:lnTo>
                <a:lnTo>
                  <a:pt x="27" y="1581"/>
                </a:lnTo>
                <a:lnTo>
                  <a:pt x="30" y="1591"/>
                </a:lnTo>
                <a:lnTo>
                  <a:pt x="34" y="1598"/>
                </a:lnTo>
                <a:lnTo>
                  <a:pt x="40" y="1600"/>
                </a:lnTo>
                <a:lnTo>
                  <a:pt x="45" y="1596"/>
                </a:lnTo>
                <a:lnTo>
                  <a:pt x="50" y="1583"/>
                </a:lnTo>
                <a:lnTo>
                  <a:pt x="56" y="1567"/>
                </a:lnTo>
                <a:lnTo>
                  <a:pt x="61" y="1551"/>
                </a:lnTo>
                <a:lnTo>
                  <a:pt x="62" y="1537"/>
                </a:lnTo>
                <a:lnTo>
                  <a:pt x="59" y="1523"/>
                </a:lnTo>
                <a:lnTo>
                  <a:pt x="54" y="1508"/>
                </a:lnTo>
                <a:lnTo>
                  <a:pt x="52" y="1494"/>
                </a:lnTo>
                <a:lnTo>
                  <a:pt x="55" y="1485"/>
                </a:lnTo>
                <a:lnTo>
                  <a:pt x="62" y="1480"/>
                </a:lnTo>
                <a:lnTo>
                  <a:pt x="68" y="1476"/>
                </a:lnTo>
                <a:lnTo>
                  <a:pt x="72" y="1470"/>
                </a:lnTo>
                <a:lnTo>
                  <a:pt x="75" y="1462"/>
                </a:lnTo>
                <a:lnTo>
                  <a:pt x="76" y="1453"/>
                </a:lnTo>
                <a:lnTo>
                  <a:pt x="80" y="1448"/>
                </a:lnTo>
                <a:lnTo>
                  <a:pt x="85" y="1447"/>
                </a:lnTo>
                <a:lnTo>
                  <a:pt x="92" y="1446"/>
                </a:lnTo>
                <a:lnTo>
                  <a:pt x="101" y="1442"/>
                </a:lnTo>
                <a:lnTo>
                  <a:pt x="112" y="1436"/>
                </a:lnTo>
                <a:lnTo>
                  <a:pt x="120" y="1427"/>
                </a:lnTo>
                <a:lnTo>
                  <a:pt x="124" y="1418"/>
                </a:lnTo>
                <a:lnTo>
                  <a:pt x="125" y="1408"/>
                </a:lnTo>
                <a:lnTo>
                  <a:pt x="125" y="1396"/>
                </a:lnTo>
                <a:lnTo>
                  <a:pt x="125" y="1386"/>
                </a:lnTo>
                <a:lnTo>
                  <a:pt x="128" y="1379"/>
                </a:lnTo>
                <a:lnTo>
                  <a:pt x="132" y="1373"/>
                </a:lnTo>
                <a:lnTo>
                  <a:pt x="136" y="1364"/>
                </a:lnTo>
                <a:lnTo>
                  <a:pt x="137" y="1355"/>
                </a:lnTo>
                <a:lnTo>
                  <a:pt x="132" y="1346"/>
                </a:lnTo>
                <a:lnTo>
                  <a:pt x="125" y="1331"/>
                </a:lnTo>
                <a:lnTo>
                  <a:pt x="121" y="1310"/>
                </a:lnTo>
                <a:lnTo>
                  <a:pt x="120" y="1288"/>
                </a:lnTo>
                <a:lnTo>
                  <a:pt x="121" y="1274"/>
                </a:lnTo>
                <a:lnTo>
                  <a:pt x="123" y="1271"/>
                </a:lnTo>
                <a:lnTo>
                  <a:pt x="127" y="1268"/>
                </a:lnTo>
                <a:lnTo>
                  <a:pt x="131" y="1267"/>
                </a:lnTo>
                <a:lnTo>
                  <a:pt x="137" y="1267"/>
                </a:lnTo>
                <a:lnTo>
                  <a:pt x="143" y="1266"/>
                </a:lnTo>
                <a:lnTo>
                  <a:pt x="147" y="1264"/>
                </a:lnTo>
                <a:lnTo>
                  <a:pt x="152" y="1260"/>
                </a:lnTo>
                <a:lnTo>
                  <a:pt x="155" y="1255"/>
                </a:lnTo>
                <a:lnTo>
                  <a:pt x="160" y="1240"/>
                </a:lnTo>
                <a:lnTo>
                  <a:pt x="162" y="1224"/>
                </a:lnTo>
                <a:lnTo>
                  <a:pt x="159" y="1207"/>
                </a:lnTo>
                <a:lnTo>
                  <a:pt x="144" y="1192"/>
                </a:lnTo>
                <a:lnTo>
                  <a:pt x="128" y="1179"/>
                </a:lnTo>
                <a:lnTo>
                  <a:pt x="121" y="1166"/>
                </a:lnTo>
                <a:lnTo>
                  <a:pt x="118" y="1152"/>
                </a:lnTo>
                <a:lnTo>
                  <a:pt x="118" y="1138"/>
                </a:lnTo>
                <a:lnTo>
                  <a:pt x="123" y="1119"/>
                </a:lnTo>
                <a:lnTo>
                  <a:pt x="130" y="1096"/>
                </a:lnTo>
                <a:lnTo>
                  <a:pt x="133" y="1073"/>
                </a:lnTo>
                <a:lnTo>
                  <a:pt x="130" y="1056"/>
                </a:lnTo>
                <a:lnTo>
                  <a:pt x="123" y="1041"/>
                </a:lnTo>
                <a:lnTo>
                  <a:pt x="121" y="1023"/>
                </a:lnTo>
                <a:lnTo>
                  <a:pt x="122" y="1002"/>
                </a:lnTo>
                <a:lnTo>
                  <a:pt x="125" y="984"/>
                </a:lnTo>
                <a:lnTo>
                  <a:pt x="130" y="969"/>
                </a:lnTo>
                <a:lnTo>
                  <a:pt x="135" y="959"/>
                </a:lnTo>
                <a:lnTo>
                  <a:pt x="135" y="950"/>
                </a:lnTo>
                <a:lnTo>
                  <a:pt x="132" y="942"/>
                </a:lnTo>
                <a:lnTo>
                  <a:pt x="128" y="933"/>
                </a:lnTo>
                <a:lnTo>
                  <a:pt x="127" y="923"/>
                </a:lnTo>
                <a:lnTo>
                  <a:pt x="127" y="911"/>
                </a:lnTo>
                <a:lnTo>
                  <a:pt x="131" y="900"/>
                </a:lnTo>
                <a:lnTo>
                  <a:pt x="137" y="889"/>
                </a:lnTo>
                <a:lnTo>
                  <a:pt x="140" y="880"/>
                </a:lnTo>
                <a:lnTo>
                  <a:pt x="143" y="873"/>
                </a:lnTo>
                <a:lnTo>
                  <a:pt x="144" y="865"/>
                </a:lnTo>
                <a:lnTo>
                  <a:pt x="146" y="856"/>
                </a:lnTo>
                <a:lnTo>
                  <a:pt x="151" y="847"/>
                </a:lnTo>
                <a:lnTo>
                  <a:pt x="157" y="836"/>
                </a:lnTo>
                <a:lnTo>
                  <a:pt x="162" y="828"/>
                </a:lnTo>
                <a:lnTo>
                  <a:pt x="165" y="824"/>
                </a:lnTo>
                <a:lnTo>
                  <a:pt x="168" y="819"/>
                </a:lnTo>
                <a:lnTo>
                  <a:pt x="173" y="812"/>
                </a:lnTo>
                <a:lnTo>
                  <a:pt x="176" y="806"/>
                </a:lnTo>
                <a:lnTo>
                  <a:pt x="182" y="801"/>
                </a:lnTo>
                <a:lnTo>
                  <a:pt x="188" y="795"/>
                </a:lnTo>
                <a:lnTo>
                  <a:pt x="193" y="790"/>
                </a:lnTo>
                <a:lnTo>
                  <a:pt x="200" y="788"/>
                </a:lnTo>
                <a:lnTo>
                  <a:pt x="208" y="787"/>
                </a:lnTo>
                <a:lnTo>
                  <a:pt x="216" y="785"/>
                </a:lnTo>
                <a:lnTo>
                  <a:pt x="225" y="783"/>
                </a:lnTo>
                <a:lnTo>
                  <a:pt x="233" y="783"/>
                </a:lnTo>
                <a:lnTo>
                  <a:pt x="240" y="783"/>
                </a:lnTo>
                <a:lnTo>
                  <a:pt x="246" y="783"/>
                </a:lnTo>
                <a:lnTo>
                  <a:pt x="251" y="786"/>
                </a:lnTo>
                <a:lnTo>
                  <a:pt x="254" y="788"/>
                </a:lnTo>
                <a:lnTo>
                  <a:pt x="261" y="794"/>
                </a:lnTo>
                <a:lnTo>
                  <a:pt x="269" y="798"/>
                </a:lnTo>
                <a:lnTo>
                  <a:pt x="278" y="797"/>
                </a:lnTo>
                <a:lnTo>
                  <a:pt x="286" y="789"/>
                </a:lnTo>
                <a:lnTo>
                  <a:pt x="290" y="775"/>
                </a:lnTo>
                <a:lnTo>
                  <a:pt x="291" y="759"/>
                </a:lnTo>
                <a:lnTo>
                  <a:pt x="289" y="744"/>
                </a:lnTo>
                <a:lnTo>
                  <a:pt x="282" y="734"/>
                </a:lnTo>
                <a:lnTo>
                  <a:pt x="273" y="726"/>
                </a:lnTo>
                <a:lnTo>
                  <a:pt x="265" y="717"/>
                </a:lnTo>
                <a:lnTo>
                  <a:pt x="261" y="707"/>
                </a:lnTo>
                <a:lnTo>
                  <a:pt x="266" y="696"/>
                </a:lnTo>
                <a:lnTo>
                  <a:pt x="272" y="688"/>
                </a:lnTo>
                <a:lnTo>
                  <a:pt x="278" y="677"/>
                </a:lnTo>
                <a:lnTo>
                  <a:pt x="284" y="665"/>
                </a:lnTo>
                <a:lnTo>
                  <a:pt x="293" y="652"/>
                </a:lnTo>
                <a:lnTo>
                  <a:pt x="299" y="639"/>
                </a:lnTo>
                <a:lnTo>
                  <a:pt x="305" y="628"/>
                </a:lnTo>
                <a:lnTo>
                  <a:pt x="310" y="619"/>
                </a:lnTo>
                <a:lnTo>
                  <a:pt x="313" y="612"/>
                </a:lnTo>
                <a:lnTo>
                  <a:pt x="318" y="598"/>
                </a:lnTo>
                <a:lnTo>
                  <a:pt x="322" y="580"/>
                </a:lnTo>
                <a:lnTo>
                  <a:pt x="325" y="559"/>
                </a:lnTo>
                <a:lnTo>
                  <a:pt x="325" y="538"/>
                </a:lnTo>
                <a:lnTo>
                  <a:pt x="326" y="516"/>
                </a:lnTo>
                <a:lnTo>
                  <a:pt x="329" y="493"/>
                </a:lnTo>
                <a:lnTo>
                  <a:pt x="335" y="475"/>
                </a:lnTo>
                <a:lnTo>
                  <a:pt x="344" y="468"/>
                </a:lnTo>
                <a:lnTo>
                  <a:pt x="350" y="467"/>
                </a:lnTo>
                <a:lnTo>
                  <a:pt x="358" y="465"/>
                </a:lnTo>
                <a:lnTo>
                  <a:pt x="366" y="462"/>
                </a:lnTo>
                <a:lnTo>
                  <a:pt x="373" y="459"/>
                </a:lnTo>
                <a:lnTo>
                  <a:pt x="380" y="454"/>
                </a:lnTo>
                <a:lnTo>
                  <a:pt x="385" y="448"/>
                </a:lnTo>
                <a:lnTo>
                  <a:pt x="388" y="441"/>
                </a:lnTo>
                <a:lnTo>
                  <a:pt x="387" y="434"/>
                </a:lnTo>
                <a:lnTo>
                  <a:pt x="386" y="422"/>
                </a:lnTo>
                <a:lnTo>
                  <a:pt x="391" y="410"/>
                </a:lnTo>
                <a:lnTo>
                  <a:pt x="397" y="401"/>
                </a:lnTo>
                <a:lnTo>
                  <a:pt x="405" y="391"/>
                </a:lnTo>
                <a:lnTo>
                  <a:pt x="409" y="385"/>
                </a:lnTo>
                <a:lnTo>
                  <a:pt x="414" y="378"/>
                </a:lnTo>
                <a:lnTo>
                  <a:pt x="417" y="370"/>
                </a:lnTo>
                <a:lnTo>
                  <a:pt x="422" y="362"/>
                </a:lnTo>
                <a:lnTo>
                  <a:pt x="426" y="354"/>
                </a:lnTo>
                <a:lnTo>
                  <a:pt x="431" y="347"/>
                </a:lnTo>
                <a:lnTo>
                  <a:pt x="437" y="340"/>
                </a:lnTo>
                <a:lnTo>
                  <a:pt x="442" y="335"/>
                </a:lnTo>
                <a:lnTo>
                  <a:pt x="450" y="325"/>
                </a:lnTo>
                <a:lnTo>
                  <a:pt x="453" y="312"/>
                </a:lnTo>
                <a:lnTo>
                  <a:pt x="450" y="301"/>
                </a:lnTo>
                <a:lnTo>
                  <a:pt x="448" y="291"/>
                </a:lnTo>
                <a:lnTo>
                  <a:pt x="444" y="285"/>
                </a:lnTo>
                <a:lnTo>
                  <a:pt x="439" y="275"/>
                </a:lnTo>
                <a:lnTo>
                  <a:pt x="437" y="266"/>
                </a:lnTo>
                <a:lnTo>
                  <a:pt x="439" y="258"/>
                </a:lnTo>
                <a:lnTo>
                  <a:pt x="447" y="251"/>
                </a:lnTo>
                <a:lnTo>
                  <a:pt x="454" y="243"/>
                </a:lnTo>
                <a:lnTo>
                  <a:pt x="461" y="232"/>
                </a:lnTo>
                <a:lnTo>
                  <a:pt x="465" y="218"/>
                </a:lnTo>
                <a:lnTo>
                  <a:pt x="470" y="200"/>
                </a:lnTo>
                <a:lnTo>
                  <a:pt x="477" y="182"/>
                </a:lnTo>
                <a:lnTo>
                  <a:pt x="486" y="168"/>
                </a:lnTo>
                <a:lnTo>
                  <a:pt x="499" y="162"/>
                </a:lnTo>
                <a:lnTo>
                  <a:pt x="507" y="162"/>
                </a:lnTo>
                <a:lnTo>
                  <a:pt x="516" y="164"/>
                </a:lnTo>
                <a:lnTo>
                  <a:pt x="525" y="165"/>
                </a:lnTo>
                <a:lnTo>
                  <a:pt x="535" y="165"/>
                </a:lnTo>
                <a:lnTo>
                  <a:pt x="543" y="166"/>
                </a:lnTo>
                <a:lnTo>
                  <a:pt x="550" y="165"/>
                </a:lnTo>
                <a:lnTo>
                  <a:pt x="554" y="162"/>
                </a:lnTo>
                <a:lnTo>
                  <a:pt x="555" y="158"/>
                </a:lnTo>
                <a:lnTo>
                  <a:pt x="556" y="139"/>
                </a:lnTo>
                <a:lnTo>
                  <a:pt x="558" y="113"/>
                </a:lnTo>
                <a:lnTo>
                  <a:pt x="559" y="90"/>
                </a:lnTo>
                <a:lnTo>
                  <a:pt x="560" y="79"/>
                </a:lnTo>
                <a:lnTo>
                  <a:pt x="562" y="78"/>
                </a:lnTo>
                <a:lnTo>
                  <a:pt x="567" y="76"/>
                </a:lnTo>
                <a:lnTo>
                  <a:pt x="576" y="75"/>
                </a:lnTo>
                <a:lnTo>
                  <a:pt x="589" y="78"/>
                </a:lnTo>
                <a:lnTo>
                  <a:pt x="597" y="82"/>
                </a:lnTo>
                <a:lnTo>
                  <a:pt x="606" y="85"/>
                </a:lnTo>
                <a:lnTo>
                  <a:pt x="616" y="90"/>
                </a:lnTo>
                <a:lnTo>
                  <a:pt x="628" y="94"/>
                </a:lnTo>
                <a:lnTo>
                  <a:pt x="638" y="98"/>
                </a:lnTo>
                <a:lnTo>
                  <a:pt x="648" y="101"/>
                </a:lnTo>
                <a:lnTo>
                  <a:pt x="657" y="103"/>
                </a:lnTo>
                <a:lnTo>
                  <a:pt x="664" y="104"/>
                </a:lnTo>
                <a:lnTo>
                  <a:pt x="674" y="103"/>
                </a:lnTo>
                <a:lnTo>
                  <a:pt x="679" y="100"/>
                </a:lnTo>
                <a:lnTo>
                  <a:pt x="679" y="96"/>
                </a:lnTo>
                <a:lnTo>
                  <a:pt x="676" y="88"/>
                </a:lnTo>
                <a:lnTo>
                  <a:pt x="674" y="78"/>
                </a:lnTo>
                <a:lnTo>
                  <a:pt x="674" y="70"/>
                </a:lnTo>
                <a:lnTo>
                  <a:pt x="675" y="62"/>
                </a:lnTo>
                <a:lnTo>
                  <a:pt x="676" y="54"/>
                </a:lnTo>
                <a:lnTo>
                  <a:pt x="679" y="47"/>
                </a:lnTo>
                <a:lnTo>
                  <a:pt x="681" y="40"/>
                </a:lnTo>
                <a:lnTo>
                  <a:pt x="681" y="33"/>
                </a:lnTo>
                <a:lnTo>
                  <a:pt x="681" y="24"/>
                </a:lnTo>
                <a:lnTo>
                  <a:pt x="682" y="15"/>
                </a:lnTo>
                <a:lnTo>
                  <a:pt x="686" y="8"/>
                </a:lnTo>
                <a:lnTo>
                  <a:pt x="690" y="3"/>
                </a:lnTo>
                <a:lnTo>
                  <a:pt x="697" y="0"/>
                </a:lnTo>
                <a:lnTo>
                  <a:pt x="698" y="0"/>
                </a:lnTo>
                <a:lnTo>
                  <a:pt x="699" y="0"/>
                </a:lnTo>
                <a:lnTo>
                  <a:pt x="701" y="0"/>
                </a:lnTo>
                <a:lnTo>
                  <a:pt x="702" y="0"/>
                </a:lnTo>
                <a:lnTo>
                  <a:pt x="710" y="1"/>
                </a:lnTo>
                <a:lnTo>
                  <a:pt x="716" y="5"/>
                </a:lnTo>
                <a:lnTo>
                  <a:pt x="719" y="9"/>
                </a:lnTo>
                <a:lnTo>
                  <a:pt x="721" y="16"/>
                </a:lnTo>
                <a:lnTo>
                  <a:pt x="724" y="22"/>
                </a:lnTo>
                <a:lnTo>
                  <a:pt x="727" y="28"/>
                </a:lnTo>
                <a:lnTo>
                  <a:pt x="733" y="33"/>
                </a:lnTo>
                <a:lnTo>
                  <a:pt x="739" y="39"/>
                </a:lnTo>
                <a:lnTo>
                  <a:pt x="746" y="46"/>
                </a:lnTo>
                <a:lnTo>
                  <a:pt x="752" y="52"/>
                </a:lnTo>
                <a:lnTo>
                  <a:pt x="758" y="56"/>
                </a:lnTo>
                <a:lnTo>
                  <a:pt x="765" y="60"/>
                </a:lnTo>
                <a:lnTo>
                  <a:pt x="776" y="65"/>
                </a:lnTo>
                <a:lnTo>
                  <a:pt x="785" y="68"/>
                </a:lnTo>
                <a:lnTo>
                  <a:pt x="792" y="73"/>
                </a:lnTo>
                <a:lnTo>
                  <a:pt x="799" y="78"/>
                </a:lnTo>
                <a:lnTo>
                  <a:pt x="802" y="82"/>
                </a:lnTo>
                <a:lnTo>
                  <a:pt x="805" y="85"/>
                </a:lnTo>
                <a:lnTo>
                  <a:pt x="809" y="89"/>
                </a:lnTo>
                <a:lnTo>
                  <a:pt x="814" y="91"/>
                </a:lnTo>
                <a:lnTo>
                  <a:pt x="818" y="93"/>
                </a:lnTo>
                <a:lnTo>
                  <a:pt x="823" y="96"/>
                </a:lnTo>
                <a:lnTo>
                  <a:pt x="827" y="97"/>
                </a:lnTo>
                <a:lnTo>
                  <a:pt x="833" y="98"/>
                </a:lnTo>
                <a:lnTo>
                  <a:pt x="845" y="100"/>
                </a:lnTo>
                <a:lnTo>
                  <a:pt x="853" y="104"/>
                </a:lnTo>
                <a:lnTo>
                  <a:pt x="858" y="109"/>
                </a:lnTo>
                <a:lnTo>
                  <a:pt x="861" y="118"/>
                </a:lnTo>
                <a:lnTo>
                  <a:pt x="861" y="124"/>
                </a:lnTo>
                <a:lnTo>
                  <a:pt x="861" y="130"/>
                </a:lnTo>
                <a:lnTo>
                  <a:pt x="864" y="136"/>
                </a:lnTo>
                <a:lnTo>
                  <a:pt x="872" y="141"/>
                </a:lnTo>
                <a:lnTo>
                  <a:pt x="883" y="145"/>
                </a:lnTo>
                <a:lnTo>
                  <a:pt x="887" y="152"/>
                </a:lnTo>
                <a:lnTo>
                  <a:pt x="890" y="160"/>
                </a:lnTo>
                <a:lnTo>
                  <a:pt x="891" y="172"/>
                </a:lnTo>
                <a:lnTo>
                  <a:pt x="892" y="183"/>
                </a:lnTo>
                <a:lnTo>
                  <a:pt x="894" y="192"/>
                </a:lnTo>
                <a:lnTo>
                  <a:pt x="897" y="202"/>
                </a:lnTo>
                <a:lnTo>
                  <a:pt x="897" y="213"/>
                </a:lnTo>
                <a:lnTo>
                  <a:pt x="895" y="225"/>
                </a:lnTo>
                <a:lnTo>
                  <a:pt x="895" y="233"/>
                </a:lnTo>
                <a:lnTo>
                  <a:pt x="898" y="238"/>
                </a:lnTo>
                <a:lnTo>
                  <a:pt x="906" y="245"/>
                </a:lnTo>
                <a:lnTo>
                  <a:pt x="914" y="255"/>
                </a:lnTo>
                <a:lnTo>
                  <a:pt x="916" y="263"/>
                </a:lnTo>
                <a:lnTo>
                  <a:pt x="914" y="271"/>
                </a:lnTo>
                <a:lnTo>
                  <a:pt x="910" y="277"/>
                </a:lnTo>
                <a:lnTo>
                  <a:pt x="907" y="281"/>
                </a:lnTo>
                <a:lnTo>
                  <a:pt x="907" y="287"/>
                </a:lnTo>
                <a:lnTo>
                  <a:pt x="910" y="294"/>
                </a:lnTo>
                <a:lnTo>
                  <a:pt x="918" y="302"/>
                </a:lnTo>
                <a:lnTo>
                  <a:pt x="929" y="312"/>
                </a:lnTo>
                <a:lnTo>
                  <a:pt x="938" y="323"/>
                </a:lnTo>
                <a:lnTo>
                  <a:pt x="943" y="333"/>
                </a:lnTo>
                <a:lnTo>
                  <a:pt x="944" y="342"/>
                </a:lnTo>
                <a:lnTo>
                  <a:pt x="943" y="348"/>
                </a:lnTo>
                <a:lnTo>
                  <a:pt x="940" y="353"/>
                </a:lnTo>
                <a:lnTo>
                  <a:pt x="939" y="361"/>
                </a:lnTo>
                <a:lnTo>
                  <a:pt x="938" y="374"/>
                </a:lnTo>
                <a:lnTo>
                  <a:pt x="938" y="388"/>
                </a:lnTo>
                <a:lnTo>
                  <a:pt x="937" y="395"/>
                </a:lnTo>
                <a:lnTo>
                  <a:pt x="935" y="399"/>
                </a:lnTo>
                <a:lnTo>
                  <a:pt x="931" y="403"/>
                </a:lnTo>
                <a:lnTo>
                  <a:pt x="928" y="411"/>
                </a:lnTo>
                <a:lnTo>
                  <a:pt x="928" y="421"/>
                </a:lnTo>
                <a:lnTo>
                  <a:pt x="930" y="431"/>
                </a:lnTo>
                <a:lnTo>
                  <a:pt x="938" y="440"/>
                </a:lnTo>
                <a:lnTo>
                  <a:pt x="948" y="449"/>
                </a:lnTo>
                <a:lnTo>
                  <a:pt x="958" y="457"/>
                </a:lnTo>
                <a:lnTo>
                  <a:pt x="965" y="467"/>
                </a:lnTo>
                <a:lnTo>
                  <a:pt x="968" y="480"/>
                </a:lnTo>
                <a:lnTo>
                  <a:pt x="968" y="484"/>
                </a:lnTo>
                <a:lnTo>
                  <a:pt x="968" y="486"/>
                </a:lnTo>
                <a:lnTo>
                  <a:pt x="968" y="488"/>
                </a:lnTo>
                <a:lnTo>
                  <a:pt x="968" y="491"/>
                </a:lnTo>
                <a:lnTo>
                  <a:pt x="967" y="497"/>
                </a:lnTo>
                <a:lnTo>
                  <a:pt x="965" y="499"/>
                </a:lnTo>
                <a:lnTo>
                  <a:pt x="958" y="500"/>
                </a:lnTo>
                <a:lnTo>
                  <a:pt x="946" y="501"/>
                </a:lnTo>
                <a:lnTo>
                  <a:pt x="938" y="501"/>
                </a:lnTo>
                <a:lnTo>
                  <a:pt x="930" y="502"/>
                </a:lnTo>
                <a:lnTo>
                  <a:pt x="923" y="503"/>
                </a:lnTo>
                <a:lnTo>
                  <a:pt x="916" y="503"/>
                </a:lnTo>
                <a:lnTo>
                  <a:pt x="910" y="505"/>
                </a:lnTo>
                <a:lnTo>
                  <a:pt x="906" y="506"/>
                </a:lnTo>
                <a:lnTo>
                  <a:pt x="902" y="506"/>
                </a:lnTo>
                <a:lnTo>
                  <a:pt x="900" y="506"/>
                </a:lnTo>
                <a:lnTo>
                  <a:pt x="898" y="508"/>
                </a:lnTo>
                <a:lnTo>
                  <a:pt x="897" y="513"/>
                </a:lnTo>
                <a:lnTo>
                  <a:pt x="895" y="517"/>
                </a:lnTo>
                <a:lnTo>
                  <a:pt x="893" y="520"/>
                </a:lnTo>
                <a:lnTo>
                  <a:pt x="891" y="518"/>
                </a:lnTo>
                <a:lnTo>
                  <a:pt x="887" y="516"/>
                </a:lnTo>
                <a:lnTo>
                  <a:pt x="884" y="513"/>
                </a:lnTo>
                <a:lnTo>
                  <a:pt x="879" y="508"/>
                </a:lnTo>
                <a:lnTo>
                  <a:pt x="876" y="505"/>
                </a:lnTo>
                <a:lnTo>
                  <a:pt x="872" y="502"/>
                </a:lnTo>
                <a:lnTo>
                  <a:pt x="869" y="503"/>
                </a:lnTo>
                <a:lnTo>
                  <a:pt x="865" y="507"/>
                </a:lnTo>
                <a:lnTo>
                  <a:pt x="862" y="510"/>
                </a:lnTo>
                <a:lnTo>
                  <a:pt x="857" y="513"/>
                </a:lnTo>
                <a:lnTo>
                  <a:pt x="853" y="513"/>
                </a:lnTo>
                <a:lnTo>
                  <a:pt x="849" y="512"/>
                </a:lnTo>
                <a:lnTo>
                  <a:pt x="845" y="512"/>
                </a:lnTo>
                <a:lnTo>
                  <a:pt x="841" y="514"/>
                </a:lnTo>
                <a:lnTo>
                  <a:pt x="839" y="517"/>
                </a:lnTo>
                <a:lnTo>
                  <a:pt x="839" y="522"/>
                </a:lnTo>
                <a:lnTo>
                  <a:pt x="842" y="531"/>
                </a:lnTo>
                <a:lnTo>
                  <a:pt x="846" y="543"/>
                </a:lnTo>
                <a:lnTo>
                  <a:pt x="846" y="552"/>
                </a:lnTo>
                <a:lnTo>
                  <a:pt x="841" y="556"/>
                </a:lnTo>
                <a:lnTo>
                  <a:pt x="834" y="558"/>
                </a:lnTo>
                <a:lnTo>
                  <a:pt x="829" y="559"/>
                </a:lnTo>
                <a:lnTo>
                  <a:pt x="824" y="562"/>
                </a:lnTo>
                <a:lnTo>
                  <a:pt x="823" y="566"/>
                </a:lnTo>
                <a:lnTo>
                  <a:pt x="824" y="570"/>
                </a:lnTo>
                <a:lnTo>
                  <a:pt x="825" y="575"/>
                </a:lnTo>
                <a:lnTo>
                  <a:pt x="826" y="577"/>
                </a:lnTo>
                <a:lnTo>
                  <a:pt x="823" y="578"/>
                </a:lnTo>
                <a:lnTo>
                  <a:pt x="819" y="581"/>
                </a:lnTo>
                <a:lnTo>
                  <a:pt x="819" y="585"/>
                </a:lnTo>
                <a:lnTo>
                  <a:pt x="818" y="590"/>
                </a:lnTo>
                <a:lnTo>
                  <a:pt x="814" y="591"/>
                </a:lnTo>
                <a:lnTo>
                  <a:pt x="808" y="588"/>
                </a:lnTo>
                <a:lnTo>
                  <a:pt x="805" y="584"/>
                </a:lnTo>
                <a:lnTo>
                  <a:pt x="802" y="582"/>
                </a:lnTo>
                <a:lnTo>
                  <a:pt x="799" y="581"/>
                </a:lnTo>
                <a:lnTo>
                  <a:pt x="794" y="583"/>
                </a:lnTo>
                <a:lnTo>
                  <a:pt x="792" y="584"/>
                </a:lnTo>
                <a:lnTo>
                  <a:pt x="792" y="588"/>
                </a:lnTo>
                <a:lnTo>
                  <a:pt x="795" y="592"/>
                </a:lnTo>
                <a:lnTo>
                  <a:pt x="800" y="597"/>
                </a:lnTo>
                <a:lnTo>
                  <a:pt x="801" y="603"/>
                </a:lnTo>
                <a:lnTo>
                  <a:pt x="800" y="609"/>
                </a:lnTo>
                <a:lnTo>
                  <a:pt x="799" y="618"/>
                </a:lnTo>
                <a:lnTo>
                  <a:pt x="799" y="627"/>
                </a:lnTo>
                <a:lnTo>
                  <a:pt x="799" y="634"/>
                </a:lnTo>
                <a:lnTo>
                  <a:pt x="796" y="641"/>
                </a:lnTo>
                <a:lnTo>
                  <a:pt x="792" y="645"/>
                </a:lnTo>
                <a:lnTo>
                  <a:pt x="785" y="649"/>
                </a:lnTo>
                <a:lnTo>
                  <a:pt x="781" y="653"/>
                </a:lnTo>
                <a:lnTo>
                  <a:pt x="779" y="658"/>
                </a:lnTo>
                <a:lnTo>
                  <a:pt x="778" y="666"/>
                </a:lnTo>
                <a:lnTo>
                  <a:pt x="777" y="674"/>
                </a:lnTo>
                <a:lnTo>
                  <a:pt x="778" y="680"/>
                </a:lnTo>
                <a:lnTo>
                  <a:pt x="778" y="685"/>
                </a:lnTo>
                <a:lnTo>
                  <a:pt x="778" y="690"/>
                </a:lnTo>
                <a:lnTo>
                  <a:pt x="776" y="696"/>
                </a:lnTo>
                <a:lnTo>
                  <a:pt x="773" y="704"/>
                </a:lnTo>
                <a:lnTo>
                  <a:pt x="776" y="710"/>
                </a:lnTo>
                <a:lnTo>
                  <a:pt x="785" y="714"/>
                </a:lnTo>
                <a:lnTo>
                  <a:pt x="795" y="717"/>
                </a:lnTo>
                <a:lnTo>
                  <a:pt x="802" y="721"/>
                </a:lnTo>
                <a:lnTo>
                  <a:pt x="804" y="727"/>
                </a:lnTo>
                <a:lnTo>
                  <a:pt x="804" y="734"/>
                </a:lnTo>
                <a:lnTo>
                  <a:pt x="804" y="740"/>
                </a:lnTo>
                <a:lnTo>
                  <a:pt x="803" y="745"/>
                </a:lnTo>
                <a:lnTo>
                  <a:pt x="800" y="751"/>
                </a:lnTo>
                <a:lnTo>
                  <a:pt x="794" y="755"/>
                </a:lnTo>
                <a:lnTo>
                  <a:pt x="788" y="757"/>
                </a:lnTo>
                <a:lnTo>
                  <a:pt x="784" y="762"/>
                </a:lnTo>
                <a:lnTo>
                  <a:pt x="781" y="767"/>
                </a:lnTo>
                <a:lnTo>
                  <a:pt x="779" y="774"/>
                </a:lnTo>
                <a:lnTo>
                  <a:pt x="777" y="778"/>
                </a:lnTo>
                <a:lnTo>
                  <a:pt x="774" y="779"/>
                </a:lnTo>
                <a:lnTo>
                  <a:pt x="773" y="780"/>
                </a:lnTo>
                <a:lnTo>
                  <a:pt x="771" y="785"/>
                </a:lnTo>
                <a:lnTo>
                  <a:pt x="769" y="794"/>
                </a:lnTo>
                <a:lnTo>
                  <a:pt x="767" y="803"/>
                </a:lnTo>
                <a:lnTo>
                  <a:pt x="765" y="812"/>
                </a:lnTo>
                <a:lnTo>
                  <a:pt x="759" y="821"/>
                </a:lnTo>
                <a:lnTo>
                  <a:pt x="755" y="826"/>
                </a:lnTo>
                <a:lnTo>
                  <a:pt x="750" y="830"/>
                </a:lnTo>
                <a:lnTo>
                  <a:pt x="744" y="834"/>
                </a:lnTo>
                <a:lnTo>
                  <a:pt x="739" y="839"/>
                </a:lnTo>
                <a:lnTo>
                  <a:pt x="734" y="843"/>
                </a:lnTo>
                <a:lnTo>
                  <a:pt x="729" y="848"/>
                </a:lnTo>
                <a:lnTo>
                  <a:pt x="726" y="854"/>
                </a:lnTo>
                <a:lnTo>
                  <a:pt x="725" y="859"/>
                </a:lnTo>
                <a:lnTo>
                  <a:pt x="721" y="866"/>
                </a:lnTo>
                <a:lnTo>
                  <a:pt x="716" y="869"/>
                </a:lnTo>
                <a:lnTo>
                  <a:pt x="710" y="869"/>
                </a:lnTo>
                <a:lnTo>
                  <a:pt x="703" y="869"/>
                </a:lnTo>
                <a:lnTo>
                  <a:pt x="697" y="873"/>
                </a:lnTo>
                <a:lnTo>
                  <a:pt x="694" y="880"/>
                </a:lnTo>
                <a:lnTo>
                  <a:pt x="690" y="888"/>
                </a:lnTo>
                <a:lnTo>
                  <a:pt x="687" y="895"/>
                </a:lnTo>
                <a:lnTo>
                  <a:pt x="683" y="896"/>
                </a:lnTo>
                <a:lnTo>
                  <a:pt x="679" y="892"/>
                </a:lnTo>
                <a:lnTo>
                  <a:pt x="674" y="886"/>
                </a:lnTo>
                <a:lnTo>
                  <a:pt x="668" y="885"/>
                </a:lnTo>
                <a:lnTo>
                  <a:pt x="663" y="889"/>
                </a:lnTo>
                <a:lnTo>
                  <a:pt x="656" y="897"/>
                </a:lnTo>
                <a:lnTo>
                  <a:pt x="651" y="908"/>
                </a:lnTo>
                <a:lnTo>
                  <a:pt x="648" y="918"/>
                </a:lnTo>
                <a:lnTo>
                  <a:pt x="643" y="926"/>
                </a:lnTo>
                <a:lnTo>
                  <a:pt x="635" y="933"/>
                </a:lnTo>
                <a:lnTo>
                  <a:pt x="626" y="938"/>
                </a:lnTo>
                <a:lnTo>
                  <a:pt x="616" y="941"/>
                </a:lnTo>
                <a:lnTo>
                  <a:pt x="610" y="946"/>
                </a:lnTo>
                <a:lnTo>
                  <a:pt x="606" y="950"/>
                </a:lnTo>
                <a:lnTo>
                  <a:pt x="604" y="957"/>
                </a:lnTo>
                <a:lnTo>
                  <a:pt x="603" y="964"/>
                </a:lnTo>
                <a:lnTo>
                  <a:pt x="601" y="970"/>
                </a:lnTo>
                <a:lnTo>
                  <a:pt x="598" y="975"/>
                </a:lnTo>
                <a:lnTo>
                  <a:pt x="596" y="978"/>
                </a:lnTo>
                <a:lnTo>
                  <a:pt x="596" y="982"/>
                </a:lnTo>
                <a:lnTo>
                  <a:pt x="597" y="985"/>
                </a:lnTo>
                <a:lnTo>
                  <a:pt x="599" y="988"/>
                </a:lnTo>
                <a:lnTo>
                  <a:pt x="600" y="992"/>
                </a:lnTo>
                <a:lnTo>
                  <a:pt x="597" y="993"/>
                </a:lnTo>
                <a:lnTo>
                  <a:pt x="591" y="994"/>
                </a:lnTo>
                <a:lnTo>
                  <a:pt x="583" y="997"/>
                </a:lnTo>
                <a:lnTo>
                  <a:pt x="576" y="1000"/>
                </a:lnTo>
                <a:lnTo>
                  <a:pt x="571" y="1003"/>
                </a:lnTo>
                <a:lnTo>
                  <a:pt x="567" y="1005"/>
                </a:lnTo>
                <a:lnTo>
                  <a:pt x="562" y="1005"/>
                </a:lnTo>
                <a:lnTo>
                  <a:pt x="559" y="1005"/>
                </a:lnTo>
                <a:lnTo>
                  <a:pt x="560" y="1007"/>
                </a:lnTo>
                <a:lnTo>
                  <a:pt x="563" y="1012"/>
                </a:lnTo>
                <a:lnTo>
                  <a:pt x="567" y="1016"/>
                </a:lnTo>
                <a:lnTo>
                  <a:pt x="567" y="1022"/>
                </a:lnTo>
                <a:lnTo>
                  <a:pt x="565" y="1025"/>
                </a:lnTo>
                <a:lnTo>
                  <a:pt x="562" y="1029"/>
                </a:lnTo>
                <a:lnTo>
                  <a:pt x="565" y="1033"/>
                </a:lnTo>
                <a:lnTo>
                  <a:pt x="565" y="1038"/>
                </a:lnTo>
                <a:lnTo>
                  <a:pt x="561" y="1043"/>
                </a:lnTo>
                <a:lnTo>
                  <a:pt x="555" y="1046"/>
                </a:lnTo>
                <a:lnTo>
                  <a:pt x="552" y="1048"/>
                </a:lnTo>
                <a:lnTo>
                  <a:pt x="550" y="1052"/>
                </a:lnTo>
                <a:lnTo>
                  <a:pt x="543" y="1055"/>
                </a:lnTo>
                <a:lnTo>
                  <a:pt x="533" y="1058"/>
                </a:lnTo>
                <a:lnTo>
                  <a:pt x="527" y="1056"/>
                </a:lnTo>
                <a:lnTo>
                  <a:pt x="522" y="1056"/>
                </a:lnTo>
                <a:lnTo>
                  <a:pt x="517" y="1055"/>
                </a:lnTo>
                <a:lnTo>
                  <a:pt x="515" y="1055"/>
                </a:lnTo>
                <a:lnTo>
                  <a:pt x="513" y="1056"/>
                </a:lnTo>
                <a:lnTo>
                  <a:pt x="514" y="1059"/>
                </a:lnTo>
                <a:lnTo>
                  <a:pt x="518" y="1062"/>
                </a:lnTo>
                <a:lnTo>
                  <a:pt x="524" y="1067"/>
                </a:lnTo>
                <a:lnTo>
                  <a:pt x="525" y="1071"/>
                </a:lnTo>
                <a:lnTo>
                  <a:pt x="524" y="1076"/>
                </a:lnTo>
                <a:lnTo>
                  <a:pt x="523" y="1082"/>
                </a:lnTo>
                <a:lnTo>
                  <a:pt x="523" y="1088"/>
                </a:lnTo>
                <a:lnTo>
                  <a:pt x="523" y="1093"/>
                </a:lnTo>
                <a:lnTo>
                  <a:pt x="523" y="1098"/>
                </a:lnTo>
                <a:lnTo>
                  <a:pt x="525" y="1104"/>
                </a:lnTo>
                <a:lnTo>
                  <a:pt x="528" y="1108"/>
                </a:lnTo>
                <a:lnTo>
                  <a:pt x="528" y="1112"/>
                </a:lnTo>
                <a:lnTo>
                  <a:pt x="524" y="1116"/>
                </a:lnTo>
                <a:lnTo>
                  <a:pt x="522" y="1121"/>
                </a:lnTo>
                <a:lnTo>
                  <a:pt x="520" y="1126"/>
                </a:lnTo>
                <a:lnTo>
                  <a:pt x="518" y="1130"/>
                </a:lnTo>
                <a:lnTo>
                  <a:pt x="517" y="1136"/>
                </a:lnTo>
                <a:lnTo>
                  <a:pt x="515" y="1146"/>
                </a:lnTo>
                <a:lnTo>
                  <a:pt x="512" y="1156"/>
                </a:lnTo>
                <a:lnTo>
                  <a:pt x="510" y="1161"/>
                </a:lnTo>
                <a:lnTo>
                  <a:pt x="510" y="1165"/>
                </a:lnTo>
                <a:lnTo>
                  <a:pt x="514" y="1168"/>
                </a:lnTo>
                <a:lnTo>
                  <a:pt x="518" y="1173"/>
                </a:lnTo>
                <a:lnTo>
                  <a:pt x="523" y="1179"/>
                </a:lnTo>
                <a:lnTo>
                  <a:pt x="527" y="1183"/>
                </a:lnTo>
                <a:lnTo>
                  <a:pt x="525" y="1186"/>
                </a:lnTo>
                <a:lnTo>
                  <a:pt x="522" y="1184"/>
                </a:lnTo>
                <a:lnTo>
                  <a:pt x="517" y="1183"/>
                </a:lnTo>
                <a:lnTo>
                  <a:pt x="513" y="1182"/>
                </a:lnTo>
                <a:lnTo>
                  <a:pt x="509" y="1182"/>
                </a:lnTo>
                <a:lnTo>
                  <a:pt x="506" y="1184"/>
                </a:lnTo>
                <a:lnTo>
                  <a:pt x="501" y="1191"/>
                </a:lnTo>
                <a:lnTo>
                  <a:pt x="498" y="1199"/>
                </a:lnTo>
                <a:lnTo>
                  <a:pt x="495" y="1209"/>
                </a:lnTo>
                <a:lnTo>
                  <a:pt x="495" y="1219"/>
                </a:lnTo>
                <a:lnTo>
                  <a:pt x="498" y="1229"/>
                </a:lnTo>
                <a:lnTo>
                  <a:pt x="500" y="1241"/>
                </a:lnTo>
                <a:lnTo>
                  <a:pt x="501" y="1252"/>
                </a:lnTo>
                <a:lnTo>
                  <a:pt x="501" y="1266"/>
                </a:lnTo>
                <a:lnTo>
                  <a:pt x="500" y="1283"/>
                </a:lnTo>
                <a:lnTo>
                  <a:pt x="501" y="1300"/>
                </a:lnTo>
                <a:lnTo>
                  <a:pt x="505" y="1313"/>
                </a:lnTo>
                <a:lnTo>
                  <a:pt x="509" y="1321"/>
                </a:lnTo>
                <a:lnTo>
                  <a:pt x="513" y="1326"/>
                </a:lnTo>
                <a:lnTo>
                  <a:pt x="515" y="1330"/>
                </a:lnTo>
                <a:lnTo>
                  <a:pt x="516" y="1334"/>
                </a:lnTo>
                <a:lnTo>
                  <a:pt x="517" y="1339"/>
                </a:lnTo>
                <a:lnTo>
                  <a:pt x="520" y="1343"/>
                </a:lnTo>
                <a:lnTo>
                  <a:pt x="524" y="1348"/>
                </a:lnTo>
                <a:lnTo>
                  <a:pt x="530" y="1351"/>
                </a:lnTo>
                <a:lnTo>
                  <a:pt x="535" y="1356"/>
                </a:lnTo>
                <a:lnTo>
                  <a:pt x="536" y="1362"/>
                </a:lnTo>
                <a:lnTo>
                  <a:pt x="536" y="1366"/>
                </a:lnTo>
                <a:lnTo>
                  <a:pt x="540" y="1368"/>
                </a:lnTo>
                <a:lnTo>
                  <a:pt x="546" y="1364"/>
                </a:lnTo>
                <a:lnTo>
                  <a:pt x="552" y="1359"/>
                </a:lnTo>
                <a:lnTo>
                  <a:pt x="556" y="1356"/>
                </a:lnTo>
                <a:lnTo>
                  <a:pt x="562" y="1357"/>
                </a:lnTo>
                <a:lnTo>
                  <a:pt x="567" y="1361"/>
                </a:lnTo>
                <a:lnTo>
                  <a:pt x="569" y="1365"/>
                </a:lnTo>
                <a:lnTo>
                  <a:pt x="571" y="1371"/>
                </a:lnTo>
                <a:lnTo>
                  <a:pt x="574" y="1378"/>
                </a:lnTo>
                <a:lnTo>
                  <a:pt x="576" y="1384"/>
                </a:lnTo>
                <a:lnTo>
                  <a:pt x="580" y="1387"/>
                </a:lnTo>
                <a:lnTo>
                  <a:pt x="583" y="1389"/>
                </a:lnTo>
                <a:lnTo>
                  <a:pt x="588" y="1393"/>
                </a:lnTo>
                <a:lnTo>
                  <a:pt x="592" y="1396"/>
                </a:lnTo>
                <a:lnTo>
                  <a:pt x="595" y="1396"/>
                </a:lnTo>
                <a:lnTo>
                  <a:pt x="596" y="1395"/>
                </a:lnTo>
                <a:lnTo>
                  <a:pt x="596" y="1389"/>
                </a:lnTo>
                <a:lnTo>
                  <a:pt x="595" y="1384"/>
                </a:lnTo>
                <a:lnTo>
                  <a:pt x="592" y="1380"/>
                </a:lnTo>
                <a:lnTo>
                  <a:pt x="591" y="1380"/>
                </a:lnTo>
                <a:lnTo>
                  <a:pt x="595" y="1379"/>
                </a:lnTo>
                <a:lnTo>
                  <a:pt x="599" y="1379"/>
                </a:lnTo>
                <a:lnTo>
                  <a:pt x="601" y="1383"/>
                </a:lnTo>
                <a:lnTo>
                  <a:pt x="603" y="1387"/>
                </a:lnTo>
                <a:lnTo>
                  <a:pt x="604" y="1393"/>
                </a:lnTo>
                <a:lnTo>
                  <a:pt x="606" y="1400"/>
                </a:lnTo>
                <a:lnTo>
                  <a:pt x="610" y="1404"/>
                </a:lnTo>
                <a:lnTo>
                  <a:pt x="612" y="1408"/>
                </a:lnTo>
                <a:lnTo>
                  <a:pt x="613" y="1414"/>
                </a:lnTo>
                <a:lnTo>
                  <a:pt x="612" y="1419"/>
                </a:lnTo>
                <a:lnTo>
                  <a:pt x="608" y="1423"/>
                </a:lnTo>
                <a:lnTo>
                  <a:pt x="607" y="1426"/>
                </a:lnTo>
                <a:lnTo>
                  <a:pt x="608" y="1429"/>
                </a:lnTo>
                <a:lnTo>
                  <a:pt x="613" y="1430"/>
                </a:lnTo>
                <a:lnTo>
                  <a:pt x="619" y="1430"/>
                </a:lnTo>
                <a:lnTo>
                  <a:pt x="623" y="1431"/>
                </a:lnTo>
                <a:lnTo>
                  <a:pt x="628" y="1431"/>
                </a:lnTo>
                <a:lnTo>
                  <a:pt x="631" y="1432"/>
                </a:lnTo>
                <a:lnTo>
                  <a:pt x="634" y="1436"/>
                </a:lnTo>
                <a:lnTo>
                  <a:pt x="634" y="1439"/>
                </a:lnTo>
                <a:lnTo>
                  <a:pt x="635" y="1445"/>
                </a:lnTo>
                <a:lnTo>
                  <a:pt x="636" y="1450"/>
                </a:lnTo>
                <a:lnTo>
                  <a:pt x="637" y="1455"/>
                </a:lnTo>
                <a:lnTo>
                  <a:pt x="639" y="1460"/>
                </a:lnTo>
                <a:lnTo>
                  <a:pt x="643" y="1465"/>
                </a:lnTo>
                <a:lnTo>
                  <a:pt x="648" y="1471"/>
                </a:lnTo>
                <a:lnTo>
                  <a:pt x="650" y="1475"/>
                </a:lnTo>
                <a:lnTo>
                  <a:pt x="651" y="1479"/>
                </a:lnTo>
                <a:lnTo>
                  <a:pt x="652" y="1485"/>
                </a:lnTo>
                <a:lnTo>
                  <a:pt x="653" y="1492"/>
                </a:lnTo>
                <a:lnTo>
                  <a:pt x="652" y="1497"/>
                </a:lnTo>
                <a:lnTo>
                  <a:pt x="650" y="1498"/>
                </a:lnTo>
                <a:lnTo>
                  <a:pt x="643" y="1498"/>
                </a:lnTo>
                <a:lnTo>
                  <a:pt x="636" y="1498"/>
                </a:lnTo>
                <a:lnTo>
                  <a:pt x="631" y="1501"/>
                </a:lnTo>
                <a:lnTo>
                  <a:pt x="628" y="1506"/>
                </a:lnTo>
                <a:lnTo>
                  <a:pt x="627" y="1512"/>
                </a:lnTo>
                <a:lnTo>
                  <a:pt x="627" y="1521"/>
                </a:lnTo>
                <a:lnTo>
                  <a:pt x="627" y="1530"/>
                </a:lnTo>
                <a:lnTo>
                  <a:pt x="623" y="1537"/>
                </a:lnTo>
                <a:lnTo>
                  <a:pt x="618" y="1537"/>
                </a:lnTo>
                <a:lnTo>
                  <a:pt x="610" y="1533"/>
                </a:lnTo>
                <a:lnTo>
                  <a:pt x="601" y="1532"/>
                </a:lnTo>
                <a:lnTo>
                  <a:pt x="595" y="1532"/>
                </a:lnTo>
                <a:lnTo>
                  <a:pt x="590" y="1537"/>
                </a:lnTo>
                <a:lnTo>
                  <a:pt x="588" y="1543"/>
                </a:lnTo>
                <a:lnTo>
                  <a:pt x="586" y="1550"/>
                </a:lnTo>
                <a:lnTo>
                  <a:pt x="586" y="1556"/>
                </a:lnTo>
                <a:lnTo>
                  <a:pt x="591" y="1563"/>
                </a:lnTo>
                <a:lnTo>
                  <a:pt x="597" y="1571"/>
                </a:lnTo>
                <a:lnTo>
                  <a:pt x="598" y="1582"/>
                </a:lnTo>
                <a:lnTo>
                  <a:pt x="597" y="1590"/>
                </a:lnTo>
                <a:lnTo>
                  <a:pt x="591" y="1597"/>
                </a:lnTo>
                <a:lnTo>
                  <a:pt x="586" y="1599"/>
                </a:lnTo>
                <a:lnTo>
                  <a:pt x="583" y="1598"/>
                </a:lnTo>
                <a:lnTo>
                  <a:pt x="580" y="1597"/>
                </a:lnTo>
                <a:lnTo>
                  <a:pt x="576" y="1600"/>
                </a:lnTo>
                <a:lnTo>
                  <a:pt x="571" y="1606"/>
                </a:lnTo>
                <a:lnTo>
                  <a:pt x="566" y="1611"/>
                </a:lnTo>
                <a:lnTo>
                  <a:pt x="562" y="1615"/>
                </a:lnTo>
                <a:lnTo>
                  <a:pt x="562" y="1620"/>
                </a:lnTo>
                <a:lnTo>
                  <a:pt x="565" y="1623"/>
                </a:lnTo>
                <a:lnTo>
                  <a:pt x="566" y="1626"/>
                </a:lnTo>
                <a:lnTo>
                  <a:pt x="565" y="1627"/>
                </a:lnTo>
                <a:lnTo>
                  <a:pt x="560" y="1627"/>
                </a:lnTo>
                <a:lnTo>
                  <a:pt x="553" y="1626"/>
                </a:lnTo>
                <a:lnTo>
                  <a:pt x="546" y="1627"/>
                </a:lnTo>
                <a:lnTo>
                  <a:pt x="539" y="1630"/>
                </a:lnTo>
                <a:lnTo>
                  <a:pt x="532" y="1635"/>
                </a:lnTo>
                <a:lnTo>
                  <a:pt x="528" y="1641"/>
                </a:lnTo>
                <a:lnTo>
                  <a:pt x="528" y="1646"/>
                </a:lnTo>
                <a:lnTo>
                  <a:pt x="527" y="1651"/>
                </a:lnTo>
                <a:lnTo>
                  <a:pt x="522" y="1654"/>
                </a:lnTo>
                <a:lnTo>
                  <a:pt x="515" y="1656"/>
                </a:lnTo>
                <a:lnTo>
                  <a:pt x="508" y="1656"/>
                </a:lnTo>
                <a:lnTo>
                  <a:pt x="502" y="1656"/>
                </a:lnTo>
                <a:lnTo>
                  <a:pt x="497" y="1656"/>
                </a:lnTo>
                <a:lnTo>
                  <a:pt x="492" y="1658"/>
                </a:lnTo>
                <a:lnTo>
                  <a:pt x="491" y="1664"/>
                </a:lnTo>
                <a:lnTo>
                  <a:pt x="488" y="1671"/>
                </a:lnTo>
                <a:lnTo>
                  <a:pt x="485" y="1674"/>
                </a:lnTo>
                <a:lnTo>
                  <a:pt x="478" y="1675"/>
                </a:lnTo>
                <a:lnTo>
                  <a:pt x="471" y="1675"/>
                </a:lnTo>
                <a:lnTo>
                  <a:pt x="464" y="1676"/>
                </a:lnTo>
                <a:lnTo>
                  <a:pt x="460" y="1679"/>
                </a:lnTo>
                <a:lnTo>
                  <a:pt x="460" y="1680"/>
                </a:lnTo>
                <a:lnTo>
                  <a:pt x="463" y="1680"/>
                </a:lnTo>
                <a:lnTo>
                  <a:pt x="468" y="1682"/>
                </a:lnTo>
                <a:lnTo>
                  <a:pt x="472" y="1688"/>
                </a:lnTo>
                <a:lnTo>
                  <a:pt x="474" y="1696"/>
                </a:lnTo>
                <a:lnTo>
                  <a:pt x="470" y="1702"/>
                </a:lnTo>
                <a:lnTo>
                  <a:pt x="465" y="1705"/>
                </a:lnTo>
                <a:lnTo>
                  <a:pt x="463" y="1706"/>
                </a:lnTo>
                <a:lnTo>
                  <a:pt x="462" y="1706"/>
                </a:lnTo>
                <a:lnTo>
                  <a:pt x="460" y="1706"/>
                </a:lnTo>
                <a:lnTo>
                  <a:pt x="459" y="1709"/>
                </a:lnTo>
                <a:lnTo>
                  <a:pt x="460" y="1715"/>
                </a:lnTo>
                <a:lnTo>
                  <a:pt x="462" y="1724"/>
                </a:lnTo>
                <a:lnTo>
                  <a:pt x="463" y="1730"/>
                </a:lnTo>
                <a:lnTo>
                  <a:pt x="464" y="1735"/>
                </a:lnTo>
                <a:lnTo>
                  <a:pt x="465" y="1739"/>
                </a:lnTo>
                <a:lnTo>
                  <a:pt x="467" y="1741"/>
                </a:lnTo>
                <a:lnTo>
                  <a:pt x="467" y="1744"/>
                </a:lnTo>
                <a:lnTo>
                  <a:pt x="464" y="1749"/>
                </a:lnTo>
                <a:lnTo>
                  <a:pt x="463" y="1755"/>
                </a:lnTo>
                <a:lnTo>
                  <a:pt x="462" y="1762"/>
                </a:lnTo>
                <a:lnTo>
                  <a:pt x="462" y="1766"/>
                </a:lnTo>
                <a:lnTo>
                  <a:pt x="462" y="1771"/>
                </a:lnTo>
                <a:lnTo>
                  <a:pt x="464" y="1773"/>
                </a:lnTo>
                <a:lnTo>
                  <a:pt x="467" y="1775"/>
                </a:lnTo>
                <a:lnTo>
                  <a:pt x="465" y="1779"/>
                </a:lnTo>
                <a:lnTo>
                  <a:pt x="463" y="1783"/>
                </a:lnTo>
                <a:lnTo>
                  <a:pt x="460" y="1786"/>
                </a:lnTo>
                <a:lnTo>
                  <a:pt x="456" y="1787"/>
                </a:lnTo>
                <a:lnTo>
                  <a:pt x="453" y="1787"/>
                </a:lnTo>
                <a:lnTo>
                  <a:pt x="449" y="1787"/>
                </a:lnTo>
                <a:lnTo>
                  <a:pt x="445" y="1788"/>
                </a:lnTo>
                <a:lnTo>
                  <a:pt x="441" y="1790"/>
                </a:lnTo>
                <a:lnTo>
                  <a:pt x="441" y="1793"/>
                </a:lnTo>
                <a:lnTo>
                  <a:pt x="442" y="1795"/>
                </a:lnTo>
                <a:lnTo>
                  <a:pt x="445" y="1797"/>
                </a:lnTo>
                <a:lnTo>
                  <a:pt x="448" y="1801"/>
                </a:lnTo>
                <a:lnTo>
                  <a:pt x="453" y="1805"/>
                </a:lnTo>
                <a:lnTo>
                  <a:pt x="456" y="1810"/>
                </a:lnTo>
                <a:lnTo>
                  <a:pt x="457" y="1817"/>
                </a:lnTo>
                <a:lnTo>
                  <a:pt x="456" y="1823"/>
                </a:lnTo>
                <a:lnTo>
                  <a:pt x="455" y="1830"/>
                </a:lnTo>
                <a:lnTo>
                  <a:pt x="453" y="1835"/>
                </a:lnTo>
                <a:lnTo>
                  <a:pt x="452" y="1840"/>
                </a:lnTo>
                <a:lnTo>
                  <a:pt x="452" y="1845"/>
                </a:lnTo>
                <a:lnTo>
                  <a:pt x="454" y="1848"/>
                </a:lnTo>
                <a:lnTo>
                  <a:pt x="455" y="1854"/>
                </a:lnTo>
                <a:lnTo>
                  <a:pt x="456" y="1859"/>
                </a:lnTo>
                <a:lnTo>
                  <a:pt x="455" y="1866"/>
                </a:lnTo>
                <a:lnTo>
                  <a:pt x="454" y="1870"/>
                </a:lnTo>
                <a:lnTo>
                  <a:pt x="452" y="1872"/>
                </a:lnTo>
                <a:lnTo>
                  <a:pt x="449" y="1872"/>
                </a:lnTo>
                <a:lnTo>
                  <a:pt x="446" y="1872"/>
                </a:lnTo>
                <a:lnTo>
                  <a:pt x="442" y="1874"/>
                </a:lnTo>
                <a:lnTo>
                  <a:pt x="439" y="1879"/>
                </a:lnTo>
                <a:lnTo>
                  <a:pt x="438" y="1884"/>
                </a:lnTo>
                <a:lnTo>
                  <a:pt x="438" y="1891"/>
                </a:lnTo>
                <a:lnTo>
                  <a:pt x="439" y="1898"/>
                </a:lnTo>
                <a:lnTo>
                  <a:pt x="440" y="1904"/>
                </a:lnTo>
                <a:lnTo>
                  <a:pt x="440" y="1907"/>
                </a:lnTo>
                <a:lnTo>
                  <a:pt x="441" y="1909"/>
                </a:lnTo>
                <a:lnTo>
                  <a:pt x="445" y="1916"/>
                </a:lnTo>
                <a:lnTo>
                  <a:pt x="447" y="1922"/>
                </a:lnTo>
                <a:lnTo>
                  <a:pt x="446" y="1925"/>
                </a:lnTo>
                <a:lnTo>
                  <a:pt x="442" y="1925"/>
                </a:lnTo>
                <a:lnTo>
                  <a:pt x="439" y="1926"/>
                </a:lnTo>
                <a:lnTo>
                  <a:pt x="437" y="1929"/>
                </a:lnTo>
                <a:lnTo>
                  <a:pt x="435" y="1932"/>
                </a:lnTo>
                <a:lnTo>
                  <a:pt x="434" y="1938"/>
                </a:lnTo>
                <a:lnTo>
                  <a:pt x="432" y="1944"/>
                </a:lnTo>
                <a:lnTo>
                  <a:pt x="431" y="1947"/>
                </a:lnTo>
                <a:lnTo>
                  <a:pt x="431" y="1949"/>
                </a:lnTo>
                <a:close/>
              </a:path>
            </a:pathLst>
          </a:custGeom>
          <a:solidFill>
            <a:schemeClr val="accent3"/>
          </a:solidFill>
          <a:ln w="12700">
            <a:solidFill>
              <a:schemeClr val="bg1"/>
            </a:solidFill>
            <a:round/>
            <a:headEnd/>
            <a:tailEnd/>
          </a:ln>
        </p:spPr>
        <p:txBody>
          <a:bodyPr/>
          <a:lstStyle/>
          <a:p>
            <a:pPr>
              <a:defRPr/>
            </a:pPr>
            <a:endParaRPr lang="nl-NL"/>
          </a:p>
        </p:txBody>
      </p:sp>
      <p:sp>
        <p:nvSpPr>
          <p:cNvPr id="9" name="Freeform 12"/>
          <p:cNvSpPr>
            <a:spLocks noChangeAspect="1"/>
          </p:cNvSpPr>
          <p:nvPr/>
        </p:nvSpPr>
        <p:spPr bwMode="auto">
          <a:xfrm>
            <a:off x="5476875" y="1376363"/>
            <a:ext cx="2028825" cy="4611688"/>
          </a:xfrm>
          <a:custGeom>
            <a:avLst/>
            <a:gdLst>
              <a:gd name="T0" fmla="*/ 980 w 987"/>
              <a:gd name="T1" fmla="*/ 1501 h 2069"/>
              <a:gd name="T2" fmla="*/ 962 w 987"/>
              <a:gd name="T3" fmla="*/ 1389 h 2069"/>
              <a:gd name="T4" fmla="*/ 911 w 987"/>
              <a:gd name="T5" fmla="*/ 1350 h 2069"/>
              <a:gd name="T6" fmla="*/ 860 w 987"/>
              <a:gd name="T7" fmla="*/ 1268 h 2069"/>
              <a:gd name="T8" fmla="*/ 850 w 987"/>
              <a:gd name="T9" fmla="*/ 1136 h 2069"/>
              <a:gd name="T10" fmla="*/ 796 w 987"/>
              <a:gd name="T11" fmla="*/ 1063 h 2069"/>
              <a:gd name="T12" fmla="*/ 814 w 987"/>
              <a:gd name="T13" fmla="*/ 989 h 2069"/>
              <a:gd name="T14" fmla="*/ 833 w 987"/>
              <a:gd name="T15" fmla="*/ 882 h 2069"/>
              <a:gd name="T16" fmla="*/ 812 w 987"/>
              <a:gd name="T17" fmla="*/ 801 h 2069"/>
              <a:gd name="T18" fmla="*/ 761 w 987"/>
              <a:gd name="T19" fmla="*/ 711 h 2069"/>
              <a:gd name="T20" fmla="*/ 748 w 987"/>
              <a:gd name="T21" fmla="*/ 603 h 2069"/>
              <a:gd name="T22" fmla="*/ 800 w 987"/>
              <a:gd name="T23" fmla="*/ 531 h 2069"/>
              <a:gd name="T24" fmla="*/ 765 w 987"/>
              <a:gd name="T25" fmla="*/ 432 h 2069"/>
              <a:gd name="T26" fmla="*/ 714 w 987"/>
              <a:gd name="T27" fmla="*/ 393 h 2069"/>
              <a:gd name="T28" fmla="*/ 693 w 987"/>
              <a:gd name="T29" fmla="*/ 298 h 2069"/>
              <a:gd name="T30" fmla="*/ 708 w 987"/>
              <a:gd name="T31" fmla="*/ 207 h 2069"/>
              <a:gd name="T32" fmla="*/ 736 w 987"/>
              <a:gd name="T33" fmla="*/ 107 h 2069"/>
              <a:gd name="T34" fmla="*/ 647 w 987"/>
              <a:gd name="T35" fmla="*/ 10 h 2069"/>
              <a:gd name="T36" fmla="*/ 610 w 987"/>
              <a:gd name="T37" fmla="*/ 3 h 2069"/>
              <a:gd name="T38" fmla="*/ 584 w 987"/>
              <a:gd name="T39" fmla="*/ 27 h 2069"/>
              <a:gd name="T40" fmla="*/ 543 w 987"/>
              <a:gd name="T41" fmla="*/ 29 h 2069"/>
              <a:gd name="T42" fmla="*/ 480 w 987"/>
              <a:gd name="T43" fmla="*/ 114 h 2069"/>
              <a:gd name="T44" fmla="*/ 458 w 987"/>
              <a:gd name="T45" fmla="*/ 240 h 2069"/>
              <a:gd name="T46" fmla="*/ 421 w 987"/>
              <a:gd name="T47" fmla="*/ 293 h 2069"/>
              <a:gd name="T48" fmla="*/ 380 w 987"/>
              <a:gd name="T49" fmla="*/ 274 h 2069"/>
              <a:gd name="T50" fmla="*/ 318 w 987"/>
              <a:gd name="T51" fmla="*/ 281 h 2069"/>
              <a:gd name="T52" fmla="*/ 226 w 987"/>
              <a:gd name="T53" fmla="*/ 239 h 2069"/>
              <a:gd name="T54" fmla="*/ 190 w 987"/>
              <a:gd name="T55" fmla="*/ 161 h 2069"/>
              <a:gd name="T56" fmla="*/ 157 w 987"/>
              <a:gd name="T57" fmla="*/ 142 h 2069"/>
              <a:gd name="T58" fmla="*/ 131 w 987"/>
              <a:gd name="T59" fmla="*/ 247 h 2069"/>
              <a:gd name="T60" fmla="*/ 218 w 987"/>
              <a:gd name="T61" fmla="*/ 328 h 2069"/>
              <a:gd name="T62" fmla="*/ 275 w 987"/>
              <a:gd name="T63" fmla="*/ 398 h 2069"/>
              <a:gd name="T64" fmla="*/ 295 w 987"/>
              <a:gd name="T65" fmla="*/ 553 h 2069"/>
              <a:gd name="T66" fmla="*/ 302 w 987"/>
              <a:gd name="T67" fmla="*/ 730 h 2069"/>
              <a:gd name="T68" fmla="*/ 321 w 987"/>
              <a:gd name="T69" fmla="*/ 841 h 2069"/>
              <a:gd name="T70" fmla="*/ 369 w 987"/>
              <a:gd name="T71" fmla="*/ 883 h 2069"/>
              <a:gd name="T72" fmla="*/ 422 w 987"/>
              <a:gd name="T73" fmla="*/ 1003 h 2069"/>
              <a:gd name="T74" fmla="*/ 365 w 987"/>
              <a:gd name="T75" fmla="*/ 1075 h 2069"/>
              <a:gd name="T76" fmla="*/ 328 w 987"/>
              <a:gd name="T77" fmla="*/ 1135 h 2069"/>
              <a:gd name="T78" fmla="*/ 259 w 987"/>
              <a:gd name="T79" fmla="*/ 1220 h 2069"/>
              <a:gd name="T80" fmla="*/ 207 w 987"/>
              <a:gd name="T81" fmla="*/ 1242 h 2069"/>
              <a:gd name="T82" fmla="*/ 159 w 987"/>
              <a:gd name="T83" fmla="*/ 1309 h 2069"/>
              <a:gd name="T84" fmla="*/ 124 w 987"/>
              <a:gd name="T85" fmla="*/ 1359 h 2069"/>
              <a:gd name="T86" fmla="*/ 71 w 987"/>
              <a:gd name="T87" fmla="*/ 1393 h 2069"/>
              <a:gd name="T88" fmla="*/ 37 w 987"/>
              <a:gd name="T89" fmla="*/ 1458 h 2069"/>
              <a:gd name="T90" fmla="*/ 44 w 987"/>
              <a:gd name="T91" fmla="*/ 1700 h 2069"/>
              <a:gd name="T92" fmla="*/ 18 w 987"/>
              <a:gd name="T93" fmla="*/ 1816 h 2069"/>
              <a:gd name="T94" fmla="*/ 19 w 987"/>
              <a:gd name="T95" fmla="*/ 1913 h 2069"/>
              <a:gd name="T96" fmla="*/ 82 w 987"/>
              <a:gd name="T97" fmla="*/ 1960 h 2069"/>
              <a:gd name="T98" fmla="*/ 140 w 987"/>
              <a:gd name="T99" fmla="*/ 2047 h 2069"/>
              <a:gd name="T100" fmla="*/ 265 w 987"/>
              <a:gd name="T101" fmla="*/ 2054 h 2069"/>
              <a:gd name="T102" fmla="*/ 403 w 987"/>
              <a:gd name="T103" fmla="*/ 2005 h 2069"/>
              <a:gd name="T104" fmla="*/ 499 w 987"/>
              <a:gd name="T105" fmla="*/ 1975 h 2069"/>
              <a:gd name="T106" fmla="*/ 584 w 987"/>
              <a:gd name="T107" fmla="*/ 1953 h 2069"/>
              <a:gd name="T108" fmla="*/ 702 w 987"/>
              <a:gd name="T109" fmla="*/ 1883 h 2069"/>
              <a:gd name="T110" fmla="*/ 841 w 987"/>
              <a:gd name="T111" fmla="*/ 1701 h 2069"/>
              <a:gd name="T112" fmla="*/ 931 w 987"/>
              <a:gd name="T113" fmla="*/ 1581 h 206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87"/>
              <a:gd name="T172" fmla="*/ 0 h 2069"/>
              <a:gd name="T173" fmla="*/ 987 w 987"/>
              <a:gd name="T174" fmla="*/ 2069 h 206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87" h="2069">
                <a:moveTo>
                  <a:pt x="946" y="1563"/>
                </a:moveTo>
                <a:lnTo>
                  <a:pt x="948" y="1560"/>
                </a:lnTo>
                <a:lnTo>
                  <a:pt x="952" y="1555"/>
                </a:lnTo>
                <a:lnTo>
                  <a:pt x="958" y="1545"/>
                </a:lnTo>
                <a:lnTo>
                  <a:pt x="966" y="1533"/>
                </a:lnTo>
                <a:lnTo>
                  <a:pt x="974" y="1518"/>
                </a:lnTo>
                <a:lnTo>
                  <a:pt x="980" y="1501"/>
                </a:lnTo>
                <a:lnTo>
                  <a:pt x="985" y="1481"/>
                </a:lnTo>
                <a:lnTo>
                  <a:pt x="987" y="1460"/>
                </a:lnTo>
                <a:lnTo>
                  <a:pt x="986" y="1443"/>
                </a:lnTo>
                <a:lnTo>
                  <a:pt x="982" y="1426"/>
                </a:lnTo>
                <a:lnTo>
                  <a:pt x="974" y="1408"/>
                </a:lnTo>
                <a:lnTo>
                  <a:pt x="963" y="1390"/>
                </a:lnTo>
                <a:lnTo>
                  <a:pt x="962" y="1389"/>
                </a:lnTo>
                <a:lnTo>
                  <a:pt x="958" y="1385"/>
                </a:lnTo>
                <a:lnTo>
                  <a:pt x="954" y="1381"/>
                </a:lnTo>
                <a:lnTo>
                  <a:pt x="948" y="1374"/>
                </a:lnTo>
                <a:lnTo>
                  <a:pt x="940" y="1367"/>
                </a:lnTo>
                <a:lnTo>
                  <a:pt x="932" y="1361"/>
                </a:lnTo>
                <a:lnTo>
                  <a:pt x="921" y="1354"/>
                </a:lnTo>
                <a:lnTo>
                  <a:pt x="911" y="1350"/>
                </a:lnTo>
                <a:lnTo>
                  <a:pt x="901" y="1344"/>
                </a:lnTo>
                <a:lnTo>
                  <a:pt x="889" y="1333"/>
                </a:lnTo>
                <a:lnTo>
                  <a:pt x="879" y="1322"/>
                </a:lnTo>
                <a:lnTo>
                  <a:pt x="869" y="1308"/>
                </a:lnTo>
                <a:lnTo>
                  <a:pt x="863" y="1293"/>
                </a:lnTo>
                <a:lnTo>
                  <a:pt x="859" y="1280"/>
                </a:lnTo>
                <a:lnTo>
                  <a:pt x="860" y="1268"/>
                </a:lnTo>
                <a:lnTo>
                  <a:pt x="866" y="1257"/>
                </a:lnTo>
                <a:lnTo>
                  <a:pt x="879" y="1235"/>
                </a:lnTo>
                <a:lnTo>
                  <a:pt x="883" y="1208"/>
                </a:lnTo>
                <a:lnTo>
                  <a:pt x="879" y="1181"/>
                </a:lnTo>
                <a:lnTo>
                  <a:pt x="866" y="1159"/>
                </a:lnTo>
                <a:lnTo>
                  <a:pt x="858" y="1149"/>
                </a:lnTo>
                <a:lnTo>
                  <a:pt x="850" y="1136"/>
                </a:lnTo>
                <a:lnTo>
                  <a:pt x="843" y="1124"/>
                </a:lnTo>
                <a:lnTo>
                  <a:pt x="836" y="1109"/>
                </a:lnTo>
                <a:lnTo>
                  <a:pt x="829" y="1095"/>
                </a:lnTo>
                <a:lnTo>
                  <a:pt x="821" y="1083"/>
                </a:lnTo>
                <a:lnTo>
                  <a:pt x="813" y="1073"/>
                </a:lnTo>
                <a:lnTo>
                  <a:pt x="803" y="1067"/>
                </a:lnTo>
                <a:lnTo>
                  <a:pt x="796" y="1063"/>
                </a:lnTo>
                <a:lnTo>
                  <a:pt x="793" y="1055"/>
                </a:lnTo>
                <a:lnTo>
                  <a:pt x="797" y="1045"/>
                </a:lnTo>
                <a:lnTo>
                  <a:pt x="801" y="1035"/>
                </a:lnTo>
                <a:lnTo>
                  <a:pt x="808" y="1023"/>
                </a:lnTo>
                <a:lnTo>
                  <a:pt x="813" y="1012"/>
                </a:lnTo>
                <a:lnTo>
                  <a:pt x="815" y="1000"/>
                </a:lnTo>
                <a:lnTo>
                  <a:pt x="814" y="989"/>
                </a:lnTo>
                <a:lnTo>
                  <a:pt x="808" y="965"/>
                </a:lnTo>
                <a:lnTo>
                  <a:pt x="809" y="939"/>
                </a:lnTo>
                <a:lnTo>
                  <a:pt x="815" y="916"/>
                </a:lnTo>
                <a:lnTo>
                  <a:pt x="826" y="902"/>
                </a:lnTo>
                <a:lnTo>
                  <a:pt x="829" y="898"/>
                </a:lnTo>
                <a:lnTo>
                  <a:pt x="831" y="891"/>
                </a:lnTo>
                <a:lnTo>
                  <a:pt x="833" y="882"/>
                </a:lnTo>
                <a:lnTo>
                  <a:pt x="833" y="871"/>
                </a:lnTo>
                <a:lnTo>
                  <a:pt x="831" y="861"/>
                </a:lnTo>
                <a:lnTo>
                  <a:pt x="829" y="848"/>
                </a:lnTo>
                <a:lnTo>
                  <a:pt x="827" y="837"/>
                </a:lnTo>
                <a:lnTo>
                  <a:pt x="822" y="824"/>
                </a:lnTo>
                <a:lnTo>
                  <a:pt x="818" y="813"/>
                </a:lnTo>
                <a:lnTo>
                  <a:pt x="812" y="801"/>
                </a:lnTo>
                <a:lnTo>
                  <a:pt x="805" y="791"/>
                </a:lnTo>
                <a:lnTo>
                  <a:pt x="797" y="781"/>
                </a:lnTo>
                <a:lnTo>
                  <a:pt x="785" y="769"/>
                </a:lnTo>
                <a:lnTo>
                  <a:pt x="777" y="755"/>
                </a:lnTo>
                <a:lnTo>
                  <a:pt x="771" y="740"/>
                </a:lnTo>
                <a:lnTo>
                  <a:pt x="766" y="726"/>
                </a:lnTo>
                <a:lnTo>
                  <a:pt x="761" y="711"/>
                </a:lnTo>
                <a:lnTo>
                  <a:pt x="755" y="696"/>
                </a:lnTo>
                <a:lnTo>
                  <a:pt x="748" y="681"/>
                </a:lnTo>
                <a:lnTo>
                  <a:pt x="739" y="666"/>
                </a:lnTo>
                <a:lnTo>
                  <a:pt x="732" y="650"/>
                </a:lnTo>
                <a:lnTo>
                  <a:pt x="732" y="634"/>
                </a:lnTo>
                <a:lnTo>
                  <a:pt x="738" y="619"/>
                </a:lnTo>
                <a:lnTo>
                  <a:pt x="748" y="603"/>
                </a:lnTo>
                <a:lnTo>
                  <a:pt x="760" y="588"/>
                </a:lnTo>
                <a:lnTo>
                  <a:pt x="771" y="575"/>
                </a:lnTo>
                <a:lnTo>
                  <a:pt x="783" y="565"/>
                </a:lnTo>
                <a:lnTo>
                  <a:pt x="791" y="557"/>
                </a:lnTo>
                <a:lnTo>
                  <a:pt x="796" y="550"/>
                </a:lnTo>
                <a:lnTo>
                  <a:pt x="799" y="542"/>
                </a:lnTo>
                <a:lnTo>
                  <a:pt x="800" y="531"/>
                </a:lnTo>
                <a:lnTo>
                  <a:pt x="800" y="521"/>
                </a:lnTo>
                <a:lnTo>
                  <a:pt x="798" y="506"/>
                </a:lnTo>
                <a:lnTo>
                  <a:pt x="793" y="491"/>
                </a:lnTo>
                <a:lnTo>
                  <a:pt x="788" y="475"/>
                </a:lnTo>
                <a:lnTo>
                  <a:pt x="780" y="459"/>
                </a:lnTo>
                <a:lnTo>
                  <a:pt x="771" y="445"/>
                </a:lnTo>
                <a:lnTo>
                  <a:pt x="765" y="432"/>
                </a:lnTo>
                <a:lnTo>
                  <a:pt x="758" y="422"/>
                </a:lnTo>
                <a:lnTo>
                  <a:pt x="751" y="413"/>
                </a:lnTo>
                <a:lnTo>
                  <a:pt x="744" y="406"/>
                </a:lnTo>
                <a:lnTo>
                  <a:pt x="737" y="401"/>
                </a:lnTo>
                <a:lnTo>
                  <a:pt x="730" y="398"/>
                </a:lnTo>
                <a:lnTo>
                  <a:pt x="722" y="396"/>
                </a:lnTo>
                <a:lnTo>
                  <a:pt x="714" y="393"/>
                </a:lnTo>
                <a:lnTo>
                  <a:pt x="706" y="385"/>
                </a:lnTo>
                <a:lnTo>
                  <a:pt x="700" y="371"/>
                </a:lnTo>
                <a:lnTo>
                  <a:pt x="694" y="356"/>
                </a:lnTo>
                <a:lnTo>
                  <a:pt x="691" y="340"/>
                </a:lnTo>
                <a:lnTo>
                  <a:pt x="690" y="324"/>
                </a:lnTo>
                <a:lnTo>
                  <a:pt x="690" y="309"/>
                </a:lnTo>
                <a:lnTo>
                  <a:pt x="693" y="298"/>
                </a:lnTo>
                <a:lnTo>
                  <a:pt x="698" y="281"/>
                </a:lnTo>
                <a:lnTo>
                  <a:pt x="698" y="264"/>
                </a:lnTo>
                <a:lnTo>
                  <a:pt x="694" y="251"/>
                </a:lnTo>
                <a:lnTo>
                  <a:pt x="693" y="247"/>
                </a:lnTo>
                <a:lnTo>
                  <a:pt x="697" y="242"/>
                </a:lnTo>
                <a:lnTo>
                  <a:pt x="703" y="228"/>
                </a:lnTo>
                <a:lnTo>
                  <a:pt x="708" y="207"/>
                </a:lnTo>
                <a:lnTo>
                  <a:pt x="705" y="183"/>
                </a:lnTo>
                <a:lnTo>
                  <a:pt x="709" y="179"/>
                </a:lnTo>
                <a:lnTo>
                  <a:pt x="721" y="167"/>
                </a:lnTo>
                <a:lnTo>
                  <a:pt x="732" y="150"/>
                </a:lnTo>
                <a:lnTo>
                  <a:pt x="738" y="128"/>
                </a:lnTo>
                <a:lnTo>
                  <a:pt x="738" y="118"/>
                </a:lnTo>
                <a:lnTo>
                  <a:pt x="736" y="107"/>
                </a:lnTo>
                <a:lnTo>
                  <a:pt x="730" y="97"/>
                </a:lnTo>
                <a:lnTo>
                  <a:pt x="722" y="85"/>
                </a:lnTo>
                <a:lnTo>
                  <a:pt x="676" y="51"/>
                </a:lnTo>
                <a:lnTo>
                  <a:pt x="671" y="47"/>
                </a:lnTo>
                <a:lnTo>
                  <a:pt x="662" y="37"/>
                </a:lnTo>
                <a:lnTo>
                  <a:pt x="652" y="24"/>
                </a:lnTo>
                <a:lnTo>
                  <a:pt x="647" y="10"/>
                </a:lnTo>
                <a:lnTo>
                  <a:pt x="646" y="6"/>
                </a:lnTo>
                <a:lnTo>
                  <a:pt x="641" y="2"/>
                </a:lnTo>
                <a:lnTo>
                  <a:pt x="634" y="1"/>
                </a:lnTo>
                <a:lnTo>
                  <a:pt x="626" y="0"/>
                </a:lnTo>
                <a:lnTo>
                  <a:pt x="620" y="1"/>
                </a:lnTo>
                <a:lnTo>
                  <a:pt x="616" y="1"/>
                </a:lnTo>
                <a:lnTo>
                  <a:pt x="610" y="3"/>
                </a:lnTo>
                <a:lnTo>
                  <a:pt x="605" y="5"/>
                </a:lnTo>
                <a:lnTo>
                  <a:pt x="601" y="7"/>
                </a:lnTo>
                <a:lnTo>
                  <a:pt x="596" y="10"/>
                </a:lnTo>
                <a:lnTo>
                  <a:pt x="593" y="13"/>
                </a:lnTo>
                <a:lnTo>
                  <a:pt x="589" y="16"/>
                </a:lnTo>
                <a:lnTo>
                  <a:pt x="586" y="22"/>
                </a:lnTo>
                <a:lnTo>
                  <a:pt x="584" y="27"/>
                </a:lnTo>
                <a:lnTo>
                  <a:pt x="581" y="29"/>
                </a:lnTo>
                <a:lnTo>
                  <a:pt x="579" y="30"/>
                </a:lnTo>
                <a:lnTo>
                  <a:pt x="575" y="31"/>
                </a:lnTo>
                <a:lnTo>
                  <a:pt x="571" y="31"/>
                </a:lnTo>
                <a:lnTo>
                  <a:pt x="564" y="30"/>
                </a:lnTo>
                <a:lnTo>
                  <a:pt x="555" y="28"/>
                </a:lnTo>
                <a:lnTo>
                  <a:pt x="543" y="29"/>
                </a:lnTo>
                <a:lnTo>
                  <a:pt x="531" y="33"/>
                </a:lnTo>
                <a:lnTo>
                  <a:pt x="518" y="44"/>
                </a:lnTo>
                <a:lnTo>
                  <a:pt x="506" y="55"/>
                </a:lnTo>
                <a:lnTo>
                  <a:pt x="496" y="70"/>
                </a:lnTo>
                <a:lnTo>
                  <a:pt x="488" y="85"/>
                </a:lnTo>
                <a:lnTo>
                  <a:pt x="482" y="100"/>
                </a:lnTo>
                <a:lnTo>
                  <a:pt x="480" y="114"/>
                </a:lnTo>
                <a:lnTo>
                  <a:pt x="478" y="138"/>
                </a:lnTo>
                <a:lnTo>
                  <a:pt x="472" y="161"/>
                </a:lnTo>
                <a:lnTo>
                  <a:pt x="467" y="184"/>
                </a:lnTo>
                <a:lnTo>
                  <a:pt x="468" y="212"/>
                </a:lnTo>
                <a:lnTo>
                  <a:pt x="468" y="225"/>
                </a:lnTo>
                <a:lnTo>
                  <a:pt x="465" y="233"/>
                </a:lnTo>
                <a:lnTo>
                  <a:pt x="458" y="240"/>
                </a:lnTo>
                <a:lnTo>
                  <a:pt x="450" y="243"/>
                </a:lnTo>
                <a:lnTo>
                  <a:pt x="442" y="248"/>
                </a:lnTo>
                <a:lnTo>
                  <a:pt x="435" y="255"/>
                </a:lnTo>
                <a:lnTo>
                  <a:pt x="430" y="263"/>
                </a:lnTo>
                <a:lnTo>
                  <a:pt x="428" y="275"/>
                </a:lnTo>
                <a:lnTo>
                  <a:pt x="426" y="287"/>
                </a:lnTo>
                <a:lnTo>
                  <a:pt x="421" y="293"/>
                </a:lnTo>
                <a:lnTo>
                  <a:pt x="413" y="293"/>
                </a:lnTo>
                <a:lnTo>
                  <a:pt x="405" y="290"/>
                </a:lnTo>
                <a:lnTo>
                  <a:pt x="397" y="286"/>
                </a:lnTo>
                <a:lnTo>
                  <a:pt x="389" y="281"/>
                </a:lnTo>
                <a:lnTo>
                  <a:pt x="384" y="277"/>
                </a:lnTo>
                <a:lnTo>
                  <a:pt x="382" y="275"/>
                </a:lnTo>
                <a:lnTo>
                  <a:pt x="380" y="274"/>
                </a:lnTo>
                <a:lnTo>
                  <a:pt x="375" y="271"/>
                </a:lnTo>
                <a:lnTo>
                  <a:pt x="367" y="266"/>
                </a:lnTo>
                <a:lnTo>
                  <a:pt x="356" y="263"/>
                </a:lnTo>
                <a:lnTo>
                  <a:pt x="346" y="262"/>
                </a:lnTo>
                <a:lnTo>
                  <a:pt x="336" y="263"/>
                </a:lnTo>
                <a:lnTo>
                  <a:pt x="327" y="270"/>
                </a:lnTo>
                <a:lnTo>
                  <a:pt x="318" y="281"/>
                </a:lnTo>
                <a:lnTo>
                  <a:pt x="309" y="290"/>
                </a:lnTo>
                <a:lnTo>
                  <a:pt x="297" y="292"/>
                </a:lnTo>
                <a:lnTo>
                  <a:pt x="282" y="285"/>
                </a:lnTo>
                <a:lnTo>
                  <a:pt x="264" y="273"/>
                </a:lnTo>
                <a:lnTo>
                  <a:pt x="249" y="260"/>
                </a:lnTo>
                <a:lnTo>
                  <a:pt x="235" y="248"/>
                </a:lnTo>
                <a:lnTo>
                  <a:pt x="226" y="239"/>
                </a:lnTo>
                <a:lnTo>
                  <a:pt x="223" y="235"/>
                </a:lnTo>
                <a:lnTo>
                  <a:pt x="222" y="228"/>
                </a:lnTo>
                <a:lnTo>
                  <a:pt x="218" y="212"/>
                </a:lnTo>
                <a:lnTo>
                  <a:pt x="210" y="191"/>
                </a:lnTo>
                <a:lnTo>
                  <a:pt x="200" y="172"/>
                </a:lnTo>
                <a:lnTo>
                  <a:pt x="195" y="166"/>
                </a:lnTo>
                <a:lnTo>
                  <a:pt x="190" y="161"/>
                </a:lnTo>
                <a:lnTo>
                  <a:pt x="186" y="156"/>
                </a:lnTo>
                <a:lnTo>
                  <a:pt x="181" y="151"/>
                </a:lnTo>
                <a:lnTo>
                  <a:pt x="177" y="148"/>
                </a:lnTo>
                <a:lnTo>
                  <a:pt x="172" y="144"/>
                </a:lnTo>
                <a:lnTo>
                  <a:pt x="167" y="142"/>
                </a:lnTo>
                <a:lnTo>
                  <a:pt x="163" y="141"/>
                </a:lnTo>
                <a:lnTo>
                  <a:pt x="157" y="142"/>
                </a:lnTo>
                <a:lnTo>
                  <a:pt x="151" y="144"/>
                </a:lnTo>
                <a:lnTo>
                  <a:pt x="147" y="148"/>
                </a:lnTo>
                <a:lnTo>
                  <a:pt x="142" y="154"/>
                </a:lnTo>
                <a:lnTo>
                  <a:pt x="131" y="174"/>
                </a:lnTo>
                <a:lnTo>
                  <a:pt x="124" y="194"/>
                </a:lnTo>
                <a:lnTo>
                  <a:pt x="122" y="217"/>
                </a:lnTo>
                <a:lnTo>
                  <a:pt x="131" y="247"/>
                </a:lnTo>
                <a:lnTo>
                  <a:pt x="139" y="263"/>
                </a:lnTo>
                <a:lnTo>
                  <a:pt x="150" y="278"/>
                </a:lnTo>
                <a:lnTo>
                  <a:pt x="163" y="292"/>
                </a:lnTo>
                <a:lnTo>
                  <a:pt x="178" y="303"/>
                </a:lnTo>
                <a:lnTo>
                  <a:pt x="192" y="312"/>
                </a:lnTo>
                <a:lnTo>
                  <a:pt x="205" y="322"/>
                </a:lnTo>
                <a:lnTo>
                  <a:pt x="218" y="328"/>
                </a:lnTo>
                <a:lnTo>
                  <a:pt x="229" y="333"/>
                </a:lnTo>
                <a:lnTo>
                  <a:pt x="237" y="339"/>
                </a:lnTo>
                <a:lnTo>
                  <a:pt x="245" y="348"/>
                </a:lnTo>
                <a:lnTo>
                  <a:pt x="252" y="360"/>
                </a:lnTo>
                <a:lnTo>
                  <a:pt x="260" y="372"/>
                </a:lnTo>
                <a:lnTo>
                  <a:pt x="267" y="385"/>
                </a:lnTo>
                <a:lnTo>
                  <a:pt x="275" y="398"/>
                </a:lnTo>
                <a:lnTo>
                  <a:pt x="283" y="409"/>
                </a:lnTo>
                <a:lnTo>
                  <a:pt x="291" y="420"/>
                </a:lnTo>
                <a:lnTo>
                  <a:pt x="301" y="439"/>
                </a:lnTo>
                <a:lnTo>
                  <a:pt x="302" y="462"/>
                </a:lnTo>
                <a:lnTo>
                  <a:pt x="299" y="490"/>
                </a:lnTo>
                <a:lnTo>
                  <a:pt x="297" y="522"/>
                </a:lnTo>
                <a:lnTo>
                  <a:pt x="295" y="553"/>
                </a:lnTo>
                <a:lnTo>
                  <a:pt x="295" y="581"/>
                </a:lnTo>
                <a:lnTo>
                  <a:pt x="299" y="606"/>
                </a:lnTo>
                <a:lnTo>
                  <a:pt x="307" y="632"/>
                </a:lnTo>
                <a:lnTo>
                  <a:pt x="316" y="659"/>
                </a:lnTo>
                <a:lnTo>
                  <a:pt x="317" y="687"/>
                </a:lnTo>
                <a:lnTo>
                  <a:pt x="313" y="712"/>
                </a:lnTo>
                <a:lnTo>
                  <a:pt x="302" y="730"/>
                </a:lnTo>
                <a:lnTo>
                  <a:pt x="293" y="746"/>
                </a:lnTo>
                <a:lnTo>
                  <a:pt x="292" y="765"/>
                </a:lnTo>
                <a:lnTo>
                  <a:pt x="297" y="786"/>
                </a:lnTo>
                <a:lnTo>
                  <a:pt x="307" y="804"/>
                </a:lnTo>
                <a:lnTo>
                  <a:pt x="313" y="815"/>
                </a:lnTo>
                <a:lnTo>
                  <a:pt x="316" y="827"/>
                </a:lnTo>
                <a:lnTo>
                  <a:pt x="321" y="841"/>
                </a:lnTo>
                <a:lnTo>
                  <a:pt x="324" y="854"/>
                </a:lnTo>
                <a:lnTo>
                  <a:pt x="329" y="866"/>
                </a:lnTo>
                <a:lnTo>
                  <a:pt x="336" y="874"/>
                </a:lnTo>
                <a:lnTo>
                  <a:pt x="346" y="877"/>
                </a:lnTo>
                <a:lnTo>
                  <a:pt x="359" y="874"/>
                </a:lnTo>
                <a:lnTo>
                  <a:pt x="361" y="876"/>
                </a:lnTo>
                <a:lnTo>
                  <a:pt x="369" y="883"/>
                </a:lnTo>
                <a:lnTo>
                  <a:pt x="378" y="892"/>
                </a:lnTo>
                <a:lnTo>
                  <a:pt x="391" y="905"/>
                </a:lnTo>
                <a:lnTo>
                  <a:pt x="403" y="921"/>
                </a:lnTo>
                <a:lnTo>
                  <a:pt x="412" y="937"/>
                </a:lnTo>
                <a:lnTo>
                  <a:pt x="420" y="954"/>
                </a:lnTo>
                <a:lnTo>
                  <a:pt x="422" y="972"/>
                </a:lnTo>
                <a:lnTo>
                  <a:pt x="422" y="1003"/>
                </a:lnTo>
                <a:lnTo>
                  <a:pt x="421" y="1027"/>
                </a:lnTo>
                <a:lnTo>
                  <a:pt x="415" y="1043"/>
                </a:lnTo>
                <a:lnTo>
                  <a:pt x="399" y="1051"/>
                </a:lnTo>
                <a:lnTo>
                  <a:pt x="389" y="1055"/>
                </a:lnTo>
                <a:lnTo>
                  <a:pt x="380" y="1060"/>
                </a:lnTo>
                <a:lnTo>
                  <a:pt x="371" y="1067"/>
                </a:lnTo>
                <a:lnTo>
                  <a:pt x="365" y="1075"/>
                </a:lnTo>
                <a:lnTo>
                  <a:pt x="359" y="1083"/>
                </a:lnTo>
                <a:lnTo>
                  <a:pt x="354" y="1093"/>
                </a:lnTo>
                <a:lnTo>
                  <a:pt x="350" y="1101"/>
                </a:lnTo>
                <a:lnTo>
                  <a:pt x="347" y="1108"/>
                </a:lnTo>
                <a:lnTo>
                  <a:pt x="344" y="1116"/>
                </a:lnTo>
                <a:lnTo>
                  <a:pt x="337" y="1125"/>
                </a:lnTo>
                <a:lnTo>
                  <a:pt x="328" y="1135"/>
                </a:lnTo>
                <a:lnTo>
                  <a:pt x="317" y="1147"/>
                </a:lnTo>
                <a:lnTo>
                  <a:pt x="306" y="1159"/>
                </a:lnTo>
                <a:lnTo>
                  <a:pt x="294" y="1173"/>
                </a:lnTo>
                <a:lnTo>
                  <a:pt x="283" y="1187"/>
                </a:lnTo>
                <a:lnTo>
                  <a:pt x="273" y="1200"/>
                </a:lnTo>
                <a:lnTo>
                  <a:pt x="265" y="1211"/>
                </a:lnTo>
                <a:lnTo>
                  <a:pt x="259" y="1220"/>
                </a:lnTo>
                <a:lnTo>
                  <a:pt x="253" y="1227"/>
                </a:lnTo>
                <a:lnTo>
                  <a:pt x="247" y="1233"/>
                </a:lnTo>
                <a:lnTo>
                  <a:pt x="241" y="1237"/>
                </a:lnTo>
                <a:lnTo>
                  <a:pt x="234" y="1239"/>
                </a:lnTo>
                <a:lnTo>
                  <a:pt x="226" y="1240"/>
                </a:lnTo>
                <a:lnTo>
                  <a:pt x="217" y="1240"/>
                </a:lnTo>
                <a:lnTo>
                  <a:pt x="207" y="1242"/>
                </a:lnTo>
                <a:lnTo>
                  <a:pt x="196" y="1247"/>
                </a:lnTo>
                <a:lnTo>
                  <a:pt x="188" y="1254"/>
                </a:lnTo>
                <a:lnTo>
                  <a:pt x="180" y="1264"/>
                </a:lnTo>
                <a:lnTo>
                  <a:pt x="172" y="1275"/>
                </a:lnTo>
                <a:lnTo>
                  <a:pt x="166" y="1286"/>
                </a:lnTo>
                <a:lnTo>
                  <a:pt x="163" y="1298"/>
                </a:lnTo>
                <a:lnTo>
                  <a:pt x="159" y="1309"/>
                </a:lnTo>
                <a:lnTo>
                  <a:pt x="157" y="1320"/>
                </a:lnTo>
                <a:lnTo>
                  <a:pt x="154" y="1329"/>
                </a:lnTo>
                <a:lnTo>
                  <a:pt x="150" y="1337"/>
                </a:lnTo>
                <a:lnTo>
                  <a:pt x="146" y="1344"/>
                </a:lnTo>
                <a:lnTo>
                  <a:pt x="139" y="1350"/>
                </a:lnTo>
                <a:lnTo>
                  <a:pt x="132" y="1354"/>
                </a:lnTo>
                <a:lnTo>
                  <a:pt x="124" y="1359"/>
                </a:lnTo>
                <a:lnTo>
                  <a:pt x="113" y="1361"/>
                </a:lnTo>
                <a:lnTo>
                  <a:pt x="103" y="1363"/>
                </a:lnTo>
                <a:lnTo>
                  <a:pt x="94" y="1368"/>
                </a:lnTo>
                <a:lnTo>
                  <a:pt x="86" y="1373"/>
                </a:lnTo>
                <a:lnTo>
                  <a:pt x="80" y="1378"/>
                </a:lnTo>
                <a:lnTo>
                  <a:pt x="74" y="1385"/>
                </a:lnTo>
                <a:lnTo>
                  <a:pt x="71" y="1393"/>
                </a:lnTo>
                <a:lnTo>
                  <a:pt x="68" y="1403"/>
                </a:lnTo>
                <a:lnTo>
                  <a:pt x="67" y="1413"/>
                </a:lnTo>
                <a:lnTo>
                  <a:pt x="65" y="1423"/>
                </a:lnTo>
                <a:lnTo>
                  <a:pt x="60" y="1431"/>
                </a:lnTo>
                <a:lnTo>
                  <a:pt x="53" y="1439"/>
                </a:lnTo>
                <a:lnTo>
                  <a:pt x="45" y="1449"/>
                </a:lnTo>
                <a:lnTo>
                  <a:pt x="37" y="1458"/>
                </a:lnTo>
                <a:lnTo>
                  <a:pt x="30" y="1471"/>
                </a:lnTo>
                <a:lnTo>
                  <a:pt x="27" y="1486"/>
                </a:lnTo>
                <a:lnTo>
                  <a:pt x="27" y="1505"/>
                </a:lnTo>
                <a:lnTo>
                  <a:pt x="31" y="1555"/>
                </a:lnTo>
                <a:lnTo>
                  <a:pt x="37" y="1609"/>
                </a:lnTo>
                <a:lnTo>
                  <a:pt x="42" y="1661"/>
                </a:lnTo>
                <a:lnTo>
                  <a:pt x="44" y="1700"/>
                </a:lnTo>
                <a:lnTo>
                  <a:pt x="44" y="1716"/>
                </a:lnTo>
                <a:lnTo>
                  <a:pt x="42" y="1733"/>
                </a:lnTo>
                <a:lnTo>
                  <a:pt x="39" y="1752"/>
                </a:lnTo>
                <a:lnTo>
                  <a:pt x="36" y="1770"/>
                </a:lnTo>
                <a:lnTo>
                  <a:pt x="30" y="1788"/>
                </a:lnTo>
                <a:lnTo>
                  <a:pt x="25" y="1802"/>
                </a:lnTo>
                <a:lnTo>
                  <a:pt x="18" y="1816"/>
                </a:lnTo>
                <a:lnTo>
                  <a:pt x="10" y="1827"/>
                </a:lnTo>
                <a:lnTo>
                  <a:pt x="3" y="1837"/>
                </a:lnTo>
                <a:lnTo>
                  <a:pt x="0" y="1852"/>
                </a:lnTo>
                <a:lnTo>
                  <a:pt x="1" y="1868"/>
                </a:lnTo>
                <a:lnTo>
                  <a:pt x="5" y="1884"/>
                </a:lnTo>
                <a:lnTo>
                  <a:pt x="11" y="1899"/>
                </a:lnTo>
                <a:lnTo>
                  <a:pt x="19" y="1913"/>
                </a:lnTo>
                <a:lnTo>
                  <a:pt x="28" y="1921"/>
                </a:lnTo>
                <a:lnTo>
                  <a:pt x="38" y="1925"/>
                </a:lnTo>
                <a:lnTo>
                  <a:pt x="49" y="1927"/>
                </a:lnTo>
                <a:lnTo>
                  <a:pt x="58" y="1932"/>
                </a:lnTo>
                <a:lnTo>
                  <a:pt x="66" y="1940"/>
                </a:lnTo>
                <a:lnTo>
                  <a:pt x="74" y="1949"/>
                </a:lnTo>
                <a:lnTo>
                  <a:pt x="82" y="1960"/>
                </a:lnTo>
                <a:lnTo>
                  <a:pt x="89" y="1973"/>
                </a:lnTo>
                <a:lnTo>
                  <a:pt x="95" y="1987"/>
                </a:lnTo>
                <a:lnTo>
                  <a:pt x="102" y="2000"/>
                </a:lnTo>
                <a:lnTo>
                  <a:pt x="109" y="2012"/>
                </a:lnTo>
                <a:lnTo>
                  <a:pt x="118" y="2025"/>
                </a:lnTo>
                <a:lnTo>
                  <a:pt x="128" y="2036"/>
                </a:lnTo>
                <a:lnTo>
                  <a:pt x="140" y="2047"/>
                </a:lnTo>
                <a:lnTo>
                  <a:pt x="152" y="2056"/>
                </a:lnTo>
                <a:lnTo>
                  <a:pt x="167" y="2063"/>
                </a:lnTo>
                <a:lnTo>
                  <a:pt x="182" y="2068"/>
                </a:lnTo>
                <a:lnTo>
                  <a:pt x="200" y="2069"/>
                </a:lnTo>
                <a:lnTo>
                  <a:pt x="218" y="2066"/>
                </a:lnTo>
                <a:lnTo>
                  <a:pt x="241" y="2062"/>
                </a:lnTo>
                <a:lnTo>
                  <a:pt x="265" y="2054"/>
                </a:lnTo>
                <a:lnTo>
                  <a:pt x="291" y="2045"/>
                </a:lnTo>
                <a:lnTo>
                  <a:pt x="316" y="2034"/>
                </a:lnTo>
                <a:lnTo>
                  <a:pt x="340" y="2025"/>
                </a:lnTo>
                <a:lnTo>
                  <a:pt x="362" y="2017"/>
                </a:lnTo>
                <a:lnTo>
                  <a:pt x="382" y="2011"/>
                </a:lnTo>
                <a:lnTo>
                  <a:pt x="391" y="2009"/>
                </a:lnTo>
                <a:lnTo>
                  <a:pt x="403" y="2005"/>
                </a:lnTo>
                <a:lnTo>
                  <a:pt x="414" y="2002"/>
                </a:lnTo>
                <a:lnTo>
                  <a:pt x="427" y="1998"/>
                </a:lnTo>
                <a:lnTo>
                  <a:pt x="441" y="1994"/>
                </a:lnTo>
                <a:lnTo>
                  <a:pt x="456" y="1989"/>
                </a:lnTo>
                <a:lnTo>
                  <a:pt x="469" y="1985"/>
                </a:lnTo>
                <a:lnTo>
                  <a:pt x="484" y="1980"/>
                </a:lnTo>
                <a:lnTo>
                  <a:pt x="499" y="1975"/>
                </a:lnTo>
                <a:lnTo>
                  <a:pt x="514" y="1971"/>
                </a:lnTo>
                <a:lnTo>
                  <a:pt x="528" y="1967"/>
                </a:lnTo>
                <a:lnTo>
                  <a:pt x="542" y="1964"/>
                </a:lnTo>
                <a:lnTo>
                  <a:pt x="554" y="1960"/>
                </a:lnTo>
                <a:lnTo>
                  <a:pt x="565" y="1957"/>
                </a:lnTo>
                <a:lnTo>
                  <a:pt x="575" y="1955"/>
                </a:lnTo>
                <a:lnTo>
                  <a:pt x="584" y="1953"/>
                </a:lnTo>
                <a:lnTo>
                  <a:pt x="599" y="1950"/>
                </a:lnTo>
                <a:lnTo>
                  <a:pt x="615" y="1945"/>
                </a:lnTo>
                <a:lnTo>
                  <a:pt x="631" y="1938"/>
                </a:lnTo>
                <a:lnTo>
                  <a:pt x="648" y="1929"/>
                </a:lnTo>
                <a:lnTo>
                  <a:pt x="665" y="1917"/>
                </a:lnTo>
                <a:lnTo>
                  <a:pt x="684" y="1902"/>
                </a:lnTo>
                <a:lnTo>
                  <a:pt x="702" y="1883"/>
                </a:lnTo>
                <a:lnTo>
                  <a:pt x="722" y="1861"/>
                </a:lnTo>
                <a:lnTo>
                  <a:pt x="741" y="1836"/>
                </a:lnTo>
                <a:lnTo>
                  <a:pt x="762" y="1809"/>
                </a:lnTo>
                <a:lnTo>
                  <a:pt x="783" y="1782"/>
                </a:lnTo>
                <a:lnTo>
                  <a:pt x="804" y="1754"/>
                </a:lnTo>
                <a:lnTo>
                  <a:pt x="823" y="1726"/>
                </a:lnTo>
                <a:lnTo>
                  <a:pt x="841" y="1701"/>
                </a:lnTo>
                <a:lnTo>
                  <a:pt x="858" y="1679"/>
                </a:lnTo>
                <a:lnTo>
                  <a:pt x="872" y="1660"/>
                </a:lnTo>
                <a:lnTo>
                  <a:pt x="884" y="1642"/>
                </a:lnTo>
                <a:lnTo>
                  <a:pt x="897" y="1625"/>
                </a:lnTo>
                <a:lnTo>
                  <a:pt x="910" y="1609"/>
                </a:lnTo>
                <a:lnTo>
                  <a:pt x="921" y="1594"/>
                </a:lnTo>
                <a:lnTo>
                  <a:pt x="931" y="1581"/>
                </a:lnTo>
                <a:lnTo>
                  <a:pt x="939" y="1571"/>
                </a:lnTo>
                <a:lnTo>
                  <a:pt x="943" y="1565"/>
                </a:lnTo>
                <a:lnTo>
                  <a:pt x="946" y="1563"/>
                </a:lnTo>
                <a:close/>
              </a:path>
            </a:pathLst>
          </a:custGeom>
          <a:solidFill>
            <a:schemeClr val="accent3"/>
          </a:solidFill>
          <a:ln w="12700">
            <a:solidFill>
              <a:schemeClr val="bg1"/>
            </a:solidFill>
            <a:round/>
            <a:headEnd/>
            <a:tailEnd/>
          </a:ln>
        </p:spPr>
        <p:txBody>
          <a:bodyPr/>
          <a:lstStyle/>
          <a:p>
            <a:pPr>
              <a:defRPr/>
            </a:pPr>
            <a:endParaRPr lang="nl-NL"/>
          </a:p>
        </p:txBody>
      </p:sp>
      <p:sp>
        <p:nvSpPr>
          <p:cNvPr id="10" name="Text Placeholder 12"/>
          <p:cNvSpPr>
            <a:spLocks/>
          </p:cNvSpPr>
          <p:nvPr>
            <p:custDataLst>
              <p:tags r:id="rId1"/>
            </p:custDataLst>
          </p:nvPr>
        </p:nvSpPr>
        <p:spPr bwMode="auto">
          <a:xfrm>
            <a:off x="428395" y="1123950"/>
            <a:ext cx="872035" cy="276999"/>
          </a:xfrm>
          <a:prstGeom prst="rect">
            <a:avLst/>
          </a:prstGeom>
          <a:noFill/>
          <a:ln w="9525">
            <a:noFill/>
            <a:miter lim="800000"/>
            <a:headEnd/>
            <a:tailEnd/>
          </a:ln>
        </p:spPr>
        <p:txBody>
          <a:bodyPr wrap="none" lIns="0" tIns="0" rIns="0" bIns="0">
            <a:spAutoFit/>
          </a:bodyPr>
          <a:lstStyle/>
          <a:p>
            <a:pPr algn="l" defTabSz="1019175">
              <a:spcAft>
                <a:spcPts val="0"/>
              </a:spcAft>
            </a:pPr>
            <a:r>
              <a:rPr lang="en-US" sz="1800" b="1" dirty="0">
                <a:solidFill>
                  <a:schemeClr val="tx2"/>
                </a:solidFill>
              </a:rPr>
              <a:t>Sweden</a:t>
            </a:r>
          </a:p>
        </p:txBody>
      </p:sp>
      <p:sp>
        <p:nvSpPr>
          <p:cNvPr id="11" name="Text Placeholder 12"/>
          <p:cNvSpPr>
            <a:spLocks/>
          </p:cNvSpPr>
          <p:nvPr>
            <p:custDataLst>
              <p:tags r:id="rId2"/>
            </p:custDataLst>
          </p:nvPr>
        </p:nvSpPr>
        <p:spPr bwMode="auto">
          <a:xfrm>
            <a:off x="5281652" y="1123950"/>
            <a:ext cx="820738" cy="276999"/>
          </a:xfrm>
          <a:prstGeom prst="rect">
            <a:avLst/>
          </a:prstGeom>
          <a:noFill/>
          <a:ln w="9525">
            <a:noFill/>
            <a:miter lim="800000"/>
            <a:headEnd/>
            <a:tailEnd/>
          </a:ln>
        </p:spPr>
        <p:txBody>
          <a:bodyPr wrap="none" lIns="0" tIns="0" rIns="0" bIns="0">
            <a:spAutoFit/>
          </a:bodyPr>
          <a:lstStyle/>
          <a:p>
            <a:pPr algn="l" defTabSz="1019175">
              <a:spcAft>
                <a:spcPts val="0"/>
              </a:spcAft>
            </a:pPr>
            <a:r>
              <a:rPr lang="en-US" sz="1800" b="1">
                <a:solidFill>
                  <a:schemeClr val="tx2"/>
                </a:solidFill>
              </a:rPr>
              <a:t>Finland</a:t>
            </a:r>
          </a:p>
        </p:txBody>
      </p:sp>
      <p:sp>
        <p:nvSpPr>
          <p:cNvPr id="1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01" name="Title 1"/>
          <p:cNvSpPr>
            <a:spLocks noGrp="1"/>
          </p:cNvSpPr>
          <p:nvPr>
            <p:ph type="title"/>
          </p:nvPr>
        </p:nvSpPr>
        <p:spPr>
          <a:xfrm>
            <a:off x="414338" y="446038"/>
            <a:ext cx="8330184" cy="333425"/>
          </a:xfrm>
        </p:spPr>
        <p:txBody>
          <a:bodyPr/>
          <a:lstStyle/>
          <a:p>
            <a:r>
              <a:rPr lang="nl-NL"/>
              <a:t>Maps </a:t>
            </a:r>
            <a:r>
              <a:rPr lang="en-US"/>
              <a:t>—</a:t>
            </a:r>
            <a:r>
              <a:rPr lang="nl-NL" smtClean="0"/>
              <a:t> </a:t>
            </a:r>
            <a:r>
              <a:rPr lang="nl-NL"/>
              <a:t>Hungary and Poland</a:t>
            </a:r>
          </a:p>
        </p:txBody>
      </p:sp>
      <p:sp>
        <p:nvSpPr>
          <p:cNvPr id="5" name="Freeform 19"/>
          <p:cNvSpPr>
            <a:spLocks/>
          </p:cNvSpPr>
          <p:nvPr/>
        </p:nvSpPr>
        <p:spPr bwMode="auto">
          <a:xfrm>
            <a:off x="382588" y="2247900"/>
            <a:ext cx="3759200" cy="2362200"/>
          </a:xfrm>
          <a:custGeom>
            <a:avLst/>
            <a:gdLst>
              <a:gd name="T0" fmla="*/ 455 w 1993"/>
              <a:gd name="T1" fmla="*/ 322 h 1241"/>
              <a:gd name="T2" fmla="*/ 385 w 1993"/>
              <a:gd name="T3" fmla="*/ 256 h 1241"/>
              <a:gd name="T4" fmla="*/ 342 w 1993"/>
              <a:gd name="T5" fmla="*/ 240 h 1241"/>
              <a:gd name="T6" fmla="*/ 291 w 1993"/>
              <a:gd name="T7" fmla="*/ 311 h 1241"/>
              <a:gd name="T8" fmla="*/ 264 w 1993"/>
              <a:gd name="T9" fmla="*/ 373 h 1241"/>
              <a:gd name="T10" fmla="*/ 191 w 1993"/>
              <a:gd name="T11" fmla="*/ 351 h 1241"/>
              <a:gd name="T12" fmla="*/ 129 w 1993"/>
              <a:gd name="T13" fmla="*/ 372 h 1241"/>
              <a:gd name="T14" fmla="*/ 118 w 1993"/>
              <a:gd name="T15" fmla="*/ 399 h 1241"/>
              <a:gd name="T16" fmla="*/ 177 w 1993"/>
              <a:gd name="T17" fmla="*/ 448 h 1241"/>
              <a:gd name="T18" fmla="*/ 111 w 1993"/>
              <a:gd name="T19" fmla="*/ 524 h 1241"/>
              <a:gd name="T20" fmla="*/ 107 w 1993"/>
              <a:gd name="T21" fmla="*/ 664 h 1241"/>
              <a:gd name="T22" fmla="*/ 34 w 1993"/>
              <a:gd name="T23" fmla="*/ 687 h 1241"/>
              <a:gd name="T24" fmla="*/ 15 w 1993"/>
              <a:gd name="T25" fmla="*/ 742 h 1241"/>
              <a:gd name="T26" fmla="*/ 69 w 1993"/>
              <a:gd name="T27" fmla="*/ 761 h 1241"/>
              <a:gd name="T28" fmla="*/ 109 w 1993"/>
              <a:gd name="T29" fmla="*/ 875 h 1241"/>
              <a:gd name="T30" fmla="*/ 184 w 1993"/>
              <a:gd name="T31" fmla="*/ 951 h 1241"/>
              <a:gd name="T32" fmla="*/ 241 w 1993"/>
              <a:gd name="T33" fmla="*/ 1018 h 1241"/>
              <a:gd name="T34" fmla="*/ 307 w 1993"/>
              <a:gd name="T35" fmla="*/ 1068 h 1241"/>
              <a:gd name="T36" fmla="*/ 397 w 1993"/>
              <a:gd name="T37" fmla="*/ 1149 h 1241"/>
              <a:gd name="T38" fmla="*/ 495 w 1993"/>
              <a:gd name="T39" fmla="*/ 1211 h 1241"/>
              <a:gd name="T40" fmla="*/ 602 w 1993"/>
              <a:gd name="T41" fmla="*/ 1225 h 1241"/>
              <a:gd name="T42" fmla="*/ 710 w 1993"/>
              <a:gd name="T43" fmla="*/ 1227 h 1241"/>
              <a:gd name="T44" fmla="*/ 763 w 1993"/>
              <a:gd name="T45" fmla="*/ 1182 h 1241"/>
              <a:gd name="T46" fmla="*/ 878 w 1993"/>
              <a:gd name="T47" fmla="*/ 1151 h 1241"/>
              <a:gd name="T48" fmla="*/ 1014 w 1993"/>
              <a:gd name="T49" fmla="*/ 1092 h 1241"/>
              <a:gd name="T50" fmla="*/ 1122 w 1993"/>
              <a:gd name="T51" fmla="*/ 1065 h 1241"/>
              <a:gd name="T52" fmla="*/ 1249 w 1993"/>
              <a:gd name="T53" fmla="*/ 1064 h 1241"/>
              <a:gd name="T54" fmla="*/ 1335 w 1993"/>
              <a:gd name="T55" fmla="*/ 1065 h 1241"/>
              <a:gd name="T56" fmla="*/ 1399 w 1993"/>
              <a:gd name="T57" fmla="*/ 1018 h 1241"/>
              <a:gd name="T58" fmla="*/ 1516 w 1993"/>
              <a:gd name="T59" fmla="*/ 977 h 1241"/>
              <a:gd name="T60" fmla="*/ 1550 w 1993"/>
              <a:gd name="T61" fmla="*/ 910 h 1241"/>
              <a:gd name="T62" fmla="*/ 1597 w 1993"/>
              <a:gd name="T63" fmla="*/ 838 h 1241"/>
              <a:gd name="T64" fmla="*/ 1643 w 1993"/>
              <a:gd name="T65" fmla="*/ 716 h 1241"/>
              <a:gd name="T66" fmla="*/ 1698 w 1993"/>
              <a:gd name="T67" fmla="*/ 622 h 1241"/>
              <a:gd name="T68" fmla="*/ 1759 w 1993"/>
              <a:gd name="T69" fmla="*/ 499 h 1241"/>
              <a:gd name="T70" fmla="*/ 1805 w 1993"/>
              <a:gd name="T71" fmla="*/ 427 h 1241"/>
              <a:gd name="T72" fmla="*/ 1859 w 1993"/>
              <a:gd name="T73" fmla="*/ 355 h 1241"/>
              <a:gd name="T74" fmla="*/ 1932 w 1993"/>
              <a:gd name="T75" fmla="*/ 350 h 1241"/>
              <a:gd name="T76" fmla="*/ 1993 w 1993"/>
              <a:gd name="T77" fmla="*/ 271 h 1241"/>
              <a:gd name="T78" fmla="*/ 1947 w 1993"/>
              <a:gd name="T79" fmla="*/ 187 h 1241"/>
              <a:gd name="T80" fmla="*/ 1883 w 1993"/>
              <a:gd name="T81" fmla="*/ 147 h 1241"/>
              <a:gd name="T82" fmla="*/ 1819 w 1993"/>
              <a:gd name="T83" fmla="*/ 95 h 1241"/>
              <a:gd name="T84" fmla="*/ 1735 w 1993"/>
              <a:gd name="T85" fmla="*/ 75 h 1241"/>
              <a:gd name="T86" fmla="*/ 1644 w 1993"/>
              <a:gd name="T87" fmla="*/ 82 h 1241"/>
              <a:gd name="T88" fmla="*/ 1596 w 1993"/>
              <a:gd name="T89" fmla="*/ 20 h 1241"/>
              <a:gd name="T90" fmla="*/ 1556 w 1993"/>
              <a:gd name="T91" fmla="*/ 0 h 1241"/>
              <a:gd name="T92" fmla="*/ 1458 w 1993"/>
              <a:gd name="T93" fmla="*/ 32 h 1241"/>
              <a:gd name="T94" fmla="*/ 1366 w 1993"/>
              <a:gd name="T95" fmla="*/ 3 h 1241"/>
              <a:gd name="T96" fmla="*/ 1291 w 1993"/>
              <a:gd name="T97" fmla="*/ 47 h 1241"/>
              <a:gd name="T98" fmla="*/ 1201 w 1993"/>
              <a:gd name="T99" fmla="*/ 149 h 1241"/>
              <a:gd name="T100" fmla="*/ 1109 w 1993"/>
              <a:gd name="T101" fmla="*/ 186 h 1241"/>
              <a:gd name="T102" fmla="*/ 1037 w 1993"/>
              <a:gd name="T103" fmla="*/ 149 h 1241"/>
              <a:gd name="T104" fmla="*/ 1000 w 1993"/>
              <a:gd name="T105" fmla="*/ 213 h 1241"/>
              <a:gd name="T106" fmla="*/ 898 w 1993"/>
              <a:gd name="T107" fmla="*/ 238 h 1241"/>
              <a:gd name="T108" fmla="*/ 830 w 1993"/>
              <a:gd name="T109" fmla="*/ 234 h 1241"/>
              <a:gd name="T110" fmla="*/ 791 w 1993"/>
              <a:gd name="T111" fmla="*/ 328 h 1241"/>
              <a:gd name="T112" fmla="*/ 667 w 1993"/>
              <a:gd name="T113" fmla="*/ 371 h 1241"/>
              <a:gd name="T114" fmla="*/ 539 w 1993"/>
              <a:gd name="T115" fmla="*/ 362 h 124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93"/>
              <a:gd name="T175" fmla="*/ 0 h 1241"/>
              <a:gd name="T176" fmla="*/ 1993 w 1993"/>
              <a:gd name="T177" fmla="*/ 1241 h 124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93" h="1241">
                <a:moveTo>
                  <a:pt x="506" y="363"/>
                </a:moveTo>
                <a:lnTo>
                  <a:pt x="505" y="362"/>
                </a:lnTo>
                <a:lnTo>
                  <a:pt x="503" y="359"/>
                </a:lnTo>
                <a:lnTo>
                  <a:pt x="499" y="353"/>
                </a:lnTo>
                <a:lnTo>
                  <a:pt x="493" y="348"/>
                </a:lnTo>
                <a:lnTo>
                  <a:pt x="488" y="342"/>
                </a:lnTo>
                <a:lnTo>
                  <a:pt x="481" y="337"/>
                </a:lnTo>
                <a:lnTo>
                  <a:pt x="475" y="331"/>
                </a:lnTo>
                <a:lnTo>
                  <a:pt x="468" y="329"/>
                </a:lnTo>
                <a:lnTo>
                  <a:pt x="462" y="326"/>
                </a:lnTo>
                <a:lnTo>
                  <a:pt x="455" y="322"/>
                </a:lnTo>
                <a:lnTo>
                  <a:pt x="448" y="314"/>
                </a:lnTo>
                <a:lnTo>
                  <a:pt x="443" y="306"/>
                </a:lnTo>
                <a:lnTo>
                  <a:pt x="437" y="299"/>
                </a:lnTo>
                <a:lnTo>
                  <a:pt x="431" y="290"/>
                </a:lnTo>
                <a:lnTo>
                  <a:pt x="426" y="284"/>
                </a:lnTo>
                <a:lnTo>
                  <a:pt x="421" y="278"/>
                </a:lnTo>
                <a:lnTo>
                  <a:pt x="416" y="274"/>
                </a:lnTo>
                <a:lnTo>
                  <a:pt x="408" y="268"/>
                </a:lnTo>
                <a:lnTo>
                  <a:pt x="401" y="264"/>
                </a:lnTo>
                <a:lnTo>
                  <a:pt x="393" y="260"/>
                </a:lnTo>
                <a:lnTo>
                  <a:pt x="385" y="256"/>
                </a:lnTo>
                <a:lnTo>
                  <a:pt x="380" y="254"/>
                </a:lnTo>
                <a:lnTo>
                  <a:pt x="376" y="253"/>
                </a:lnTo>
                <a:lnTo>
                  <a:pt x="375" y="252"/>
                </a:lnTo>
                <a:lnTo>
                  <a:pt x="373" y="252"/>
                </a:lnTo>
                <a:lnTo>
                  <a:pt x="371" y="250"/>
                </a:lnTo>
                <a:lnTo>
                  <a:pt x="368" y="249"/>
                </a:lnTo>
                <a:lnTo>
                  <a:pt x="364" y="246"/>
                </a:lnTo>
                <a:lnTo>
                  <a:pt x="359" y="243"/>
                </a:lnTo>
                <a:lnTo>
                  <a:pt x="354" y="242"/>
                </a:lnTo>
                <a:lnTo>
                  <a:pt x="347" y="240"/>
                </a:lnTo>
                <a:lnTo>
                  <a:pt x="342" y="240"/>
                </a:lnTo>
                <a:lnTo>
                  <a:pt x="338" y="240"/>
                </a:lnTo>
                <a:lnTo>
                  <a:pt x="334" y="241"/>
                </a:lnTo>
                <a:lnTo>
                  <a:pt x="331" y="242"/>
                </a:lnTo>
                <a:lnTo>
                  <a:pt x="328" y="245"/>
                </a:lnTo>
                <a:lnTo>
                  <a:pt x="317" y="253"/>
                </a:lnTo>
                <a:lnTo>
                  <a:pt x="308" y="263"/>
                </a:lnTo>
                <a:lnTo>
                  <a:pt x="304" y="273"/>
                </a:lnTo>
                <a:lnTo>
                  <a:pt x="302" y="283"/>
                </a:lnTo>
                <a:lnTo>
                  <a:pt x="299" y="291"/>
                </a:lnTo>
                <a:lnTo>
                  <a:pt x="295" y="300"/>
                </a:lnTo>
                <a:lnTo>
                  <a:pt x="291" y="311"/>
                </a:lnTo>
                <a:lnTo>
                  <a:pt x="290" y="322"/>
                </a:lnTo>
                <a:lnTo>
                  <a:pt x="290" y="324"/>
                </a:lnTo>
                <a:lnTo>
                  <a:pt x="291" y="327"/>
                </a:lnTo>
                <a:lnTo>
                  <a:pt x="292" y="330"/>
                </a:lnTo>
                <a:lnTo>
                  <a:pt x="294" y="334"/>
                </a:lnTo>
                <a:lnTo>
                  <a:pt x="299" y="347"/>
                </a:lnTo>
                <a:lnTo>
                  <a:pt x="299" y="359"/>
                </a:lnTo>
                <a:lnTo>
                  <a:pt x="293" y="368"/>
                </a:lnTo>
                <a:lnTo>
                  <a:pt x="281" y="372"/>
                </a:lnTo>
                <a:lnTo>
                  <a:pt x="272" y="372"/>
                </a:lnTo>
                <a:lnTo>
                  <a:pt x="264" y="373"/>
                </a:lnTo>
                <a:lnTo>
                  <a:pt x="255" y="373"/>
                </a:lnTo>
                <a:lnTo>
                  <a:pt x="247" y="374"/>
                </a:lnTo>
                <a:lnTo>
                  <a:pt x="241" y="375"/>
                </a:lnTo>
                <a:lnTo>
                  <a:pt x="235" y="375"/>
                </a:lnTo>
                <a:lnTo>
                  <a:pt x="231" y="376"/>
                </a:lnTo>
                <a:lnTo>
                  <a:pt x="230" y="376"/>
                </a:lnTo>
                <a:lnTo>
                  <a:pt x="205" y="359"/>
                </a:lnTo>
                <a:lnTo>
                  <a:pt x="204" y="358"/>
                </a:lnTo>
                <a:lnTo>
                  <a:pt x="200" y="356"/>
                </a:lnTo>
                <a:lnTo>
                  <a:pt x="196" y="354"/>
                </a:lnTo>
                <a:lnTo>
                  <a:pt x="191" y="351"/>
                </a:lnTo>
                <a:lnTo>
                  <a:pt x="184" y="348"/>
                </a:lnTo>
                <a:lnTo>
                  <a:pt x="178" y="346"/>
                </a:lnTo>
                <a:lnTo>
                  <a:pt x="171" y="343"/>
                </a:lnTo>
                <a:lnTo>
                  <a:pt x="164" y="342"/>
                </a:lnTo>
                <a:lnTo>
                  <a:pt x="159" y="342"/>
                </a:lnTo>
                <a:lnTo>
                  <a:pt x="156" y="342"/>
                </a:lnTo>
                <a:lnTo>
                  <a:pt x="153" y="343"/>
                </a:lnTo>
                <a:lnTo>
                  <a:pt x="149" y="346"/>
                </a:lnTo>
                <a:lnTo>
                  <a:pt x="140" y="355"/>
                </a:lnTo>
                <a:lnTo>
                  <a:pt x="134" y="364"/>
                </a:lnTo>
                <a:lnTo>
                  <a:pt x="129" y="372"/>
                </a:lnTo>
                <a:lnTo>
                  <a:pt x="119" y="376"/>
                </a:lnTo>
                <a:lnTo>
                  <a:pt x="116" y="377"/>
                </a:lnTo>
                <a:lnTo>
                  <a:pt x="113" y="378"/>
                </a:lnTo>
                <a:lnTo>
                  <a:pt x="112" y="380"/>
                </a:lnTo>
                <a:lnTo>
                  <a:pt x="111" y="383"/>
                </a:lnTo>
                <a:lnTo>
                  <a:pt x="111" y="384"/>
                </a:lnTo>
                <a:lnTo>
                  <a:pt x="111" y="385"/>
                </a:lnTo>
                <a:lnTo>
                  <a:pt x="111" y="386"/>
                </a:lnTo>
                <a:lnTo>
                  <a:pt x="113" y="392"/>
                </a:lnTo>
                <a:lnTo>
                  <a:pt x="118" y="399"/>
                </a:lnTo>
                <a:lnTo>
                  <a:pt x="124" y="404"/>
                </a:lnTo>
                <a:lnTo>
                  <a:pt x="132" y="410"/>
                </a:lnTo>
                <a:lnTo>
                  <a:pt x="138" y="413"/>
                </a:lnTo>
                <a:lnTo>
                  <a:pt x="146" y="416"/>
                </a:lnTo>
                <a:lnTo>
                  <a:pt x="155" y="419"/>
                </a:lnTo>
                <a:lnTo>
                  <a:pt x="162" y="423"/>
                </a:lnTo>
                <a:lnTo>
                  <a:pt x="169" y="426"/>
                </a:lnTo>
                <a:lnTo>
                  <a:pt x="174" y="430"/>
                </a:lnTo>
                <a:lnTo>
                  <a:pt x="178" y="435"/>
                </a:lnTo>
                <a:lnTo>
                  <a:pt x="179" y="439"/>
                </a:lnTo>
                <a:lnTo>
                  <a:pt x="177" y="448"/>
                </a:lnTo>
                <a:lnTo>
                  <a:pt x="172" y="456"/>
                </a:lnTo>
                <a:lnTo>
                  <a:pt x="168" y="466"/>
                </a:lnTo>
                <a:lnTo>
                  <a:pt x="166" y="477"/>
                </a:lnTo>
                <a:lnTo>
                  <a:pt x="162" y="487"/>
                </a:lnTo>
                <a:lnTo>
                  <a:pt x="156" y="491"/>
                </a:lnTo>
                <a:lnTo>
                  <a:pt x="146" y="492"/>
                </a:lnTo>
                <a:lnTo>
                  <a:pt x="136" y="490"/>
                </a:lnTo>
                <a:lnTo>
                  <a:pt x="127" y="490"/>
                </a:lnTo>
                <a:lnTo>
                  <a:pt x="119" y="498"/>
                </a:lnTo>
                <a:lnTo>
                  <a:pt x="113" y="510"/>
                </a:lnTo>
                <a:lnTo>
                  <a:pt x="111" y="524"/>
                </a:lnTo>
                <a:lnTo>
                  <a:pt x="109" y="544"/>
                </a:lnTo>
                <a:lnTo>
                  <a:pt x="105" y="568"/>
                </a:lnTo>
                <a:lnTo>
                  <a:pt x="100" y="588"/>
                </a:lnTo>
                <a:lnTo>
                  <a:pt x="98" y="597"/>
                </a:lnTo>
                <a:lnTo>
                  <a:pt x="102" y="601"/>
                </a:lnTo>
                <a:lnTo>
                  <a:pt x="109" y="612"/>
                </a:lnTo>
                <a:lnTo>
                  <a:pt x="116" y="627"/>
                </a:lnTo>
                <a:lnTo>
                  <a:pt x="119" y="643"/>
                </a:lnTo>
                <a:lnTo>
                  <a:pt x="118" y="655"/>
                </a:lnTo>
                <a:lnTo>
                  <a:pt x="115" y="663"/>
                </a:lnTo>
                <a:lnTo>
                  <a:pt x="107" y="664"/>
                </a:lnTo>
                <a:lnTo>
                  <a:pt x="94" y="660"/>
                </a:lnTo>
                <a:lnTo>
                  <a:pt x="85" y="656"/>
                </a:lnTo>
                <a:lnTo>
                  <a:pt x="78" y="655"/>
                </a:lnTo>
                <a:lnTo>
                  <a:pt x="69" y="654"/>
                </a:lnTo>
                <a:lnTo>
                  <a:pt x="62" y="654"/>
                </a:lnTo>
                <a:lnTo>
                  <a:pt x="55" y="656"/>
                </a:lnTo>
                <a:lnTo>
                  <a:pt x="49" y="660"/>
                </a:lnTo>
                <a:lnTo>
                  <a:pt x="45" y="665"/>
                </a:lnTo>
                <a:lnTo>
                  <a:pt x="43" y="672"/>
                </a:lnTo>
                <a:lnTo>
                  <a:pt x="40" y="679"/>
                </a:lnTo>
                <a:lnTo>
                  <a:pt x="34" y="687"/>
                </a:lnTo>
                <a:lnTo>
                  <a:pt x="28" y="694"/>
                </a:lnTo>
                <a:lnTo>
                  <a:pt x="20" y="702"/>
                </a:lnTo>
                <a:lnTo>
                  <a:pt x="12" y="710"/>
                </a:lnTo>
                <a:lnTo>
                  <a:pt x="7" y="717"/>
                </a:lnTo>
                <a:lnTo>
                  <a:pt x="3" y="724"/>
                </a:lnTo>
                <a:lnTo>
                  <a:pt x="0" y="730"/>
                </a:lnTo>
                <a:lnTo>
                  <a:pt x="1" y="736"/>
                </a:lnTo>
                <a:lnTo>
                  <a:pt x="3" y="740"/>
                </a:lnTo>
                <a:lnTo>
                  <a:pt x="6" y="742"/>
                </a:lnTo>
                <a:lnTo>
                  <a:pt x="9" y="742"/>
                </a:lnTo>
                <a:lnTo>
                  <a:pt x="15" y="742"/>
                </a:lnTo>
                <a:lnTo>
                  <a:pt x="20" y="742"/>
                </a:lnTo>
                <a:lnTo>
                  <a:pt x="26" y="740"/>
                </a:lnTo>
                <a:lnTo>
                  <a:pt x="34" y="739"/>
                </a:lnTo>
                <a:lnTo>
                  <a:pt x="42" y="738"/>
                </a:lnTo>
                <a:lnTo>
                  <a:pt x="49" y="739"/>
                </a:lnTo>
                <a:lnTo>
                  <a:pt x="57" y="740"/>
                </a:lnTo>
                <a:lnTo>
                  <a:pt x="62" y="743"/>
                </a:lnTo>
                <a:lnTo>
                  <a:pt x="67" y="747"/>
                </a:lnTo>
                <a:lnTo>
                  <a:pt x="70" y="751"/>
                </a:lnTo>
                <a:lnTo>
                  <a:pt x="70" y="756"/>
                </a:lnTo>
                <a:lnTo>
                  <a:pt x="69" y="761"/>
                </a:lnTo>
                <a:lnTo>
                  <a:pt x="67" y="775"/>
                </a:lnTo>
                <a:lnTo>
                  <a:pt x="72" y="794"/>
                </a:lnTo>
                <a:lnTo>
                  <a:pt x="78" y="812"/>
                </a:lnTo>
                <a:lnTo>
                  <a:pt x="81" y="819"/>
                </a:lnTo>
                <a:lnTo>
                  <a:pt x="82" y="824"/>
                </a:lnTo>
                <a:lnTo>
                  <a:pt x="85" y="833"/>
                </a:lnTo>
                <a:lnTo>
                  <a:pt x="90" y="845"/>
                </a:lnTo>
                <a:lnTo>
                  <a:pt x="98" y="854"/>
                </a:lnTo>
                <a:lnTo>
                  <a:pt x="103" y="858"/>
                </a:lnTo>
                <a:lnTo>
                  <a:pt x="106" y="866"/>
                </a:lnTo>
                <a:lnTo>
                  <a:pt x="109" y="875"/>
                </a:lnTo>
                <a:lnTo>
                  <a:pt x="113" y="885"/>
                </a:lnTo>
                <a:lnTo>
                  <a:pt x="118" y="894"/>
                </a:lnTo>
                <a:lnTo>
                  <a:pt x="123" y="903"/>
                </a:lnTo>
                <a:lnTo>
                  <a:pt x="131" y="912"/>
                </a:lnTo>
                <a:lnTo>
                  <a:pt x="141" y="917"/>
                </a:lnTo>
                <a:lnTo>
                  <a:pt x="150" y="923"/>
                </a:lnTo>
                <a:lnTo>
                  <a:pt x="159" y="929"/>
                </a:lnTo>
                <a:lnTo>
                  <a:pt x="166" y="935"/>
                </a:lnTo>
                <a:lnTo>
                  <a:pt x="172" y="941"/>
                </a:lnTo>
                <a:lnTo>
                  <a:pt x="178" y="946"/>
                </a:lnTo>
                <a:lnTo>
                  <a:pt x="184" y="951"/>
                </a:lnTo>
                <a:lnTo>
                  <a:pt x="192" y="954"/>
                </a:lnTo>
                <a:lnTo>
                  <a:pt x="200" y="955"/>
                </a:lnTo>
                <a:lnTo>
                  <a:pt x="208" y="956"/>
                </a:lnTo>
                <a:lnTo>
                  <a:pt x="214" y="961"/>
                </a:lnTo>
                <a:lnTo>
                  <a:pt x="218" y="967"/>
                </a:lnTo>
                <a:lnTo>
                  <a:pt x="220" y="975"/>
                </a:lnTo>
                <a:lnTo>
                  <a:pt x="222" y="985"/>
                </a:lnTo>
                <a:lnTo>
                  <a:pt x="226" y="993"/>
                </a:lnTo>
                <a:lnTo>
                  <a:pt x="229" y="1002"/>
                </a:lnTo>
                <a:lnTo>
                  <a:pt x="234" y="1011"/>
                </a:lnTo>
                <a:lnTo>
                  <a:pt x="241" y="1018"/>
                </a:lnTo>
                <a:lnTo>
                  <a:pt x="247" y="1024"/>
                </a:lnTo>
                <a:lnTo>
                  <a:pt x="254" y="1028"/>
                </a:lnTo>
                <a:lnTo>
                  <a:pt x="261" y="1030"/>
                </a:lnTo>
                <a:lnTo>
                  <a:pt x="268" y="1033"/>
                </a:lnTo>
                <a:lnTo>
                  <a:pt x="274" y="1036"/>
                </a:lnTo>
                <a:lnTo>
                  <a:pt x="280" y="1038"/>
                </a:lnTo>
                <a:lnTo>
                  <a:pt x="285" y="1041"/>
                </a:lnTo>
                <a:lnTo>
                  <a:pt x="290" y="1045"/>
                </a:lnTo>
                <a:lnTo>
                  <a:pt x="295" y="1051"/>
                </a:lnTo>
                <a:lnTo>
                  <a:pt x="301" y="1058"/>
                </a:lnTo>
                <a:lnTo>
                  <a:pt x="307" y="1068"/>
                </a:lnTo>
                <a:lnTo>
                  <a:pt x="314" y="1079"/>
                </a:lnTo>
                <a:lnTo>
                  <a:pt x="321" y="1092"/>
                </a:lnTo>
                <a:lnTo>
                  <a:pt x="329" y="1106"/>
                </a:lnTo>
                <a:lnTo>
                  <a:pt x="336" y="1121"/>
                </a:lnTo>
                <a:lnTo>
                  <a:pt x="344" y="1134"/>
                </a:lnTo>
                <a:lnTo>
                  <a:pt x="353" y="1144"/>
                </a:lnTo>
                <a:lnTo>
                  <a:pt x="363" y="1149"/>
                </a:lnTo>
                <a:lnTo>
                  <a:pt x="371" y="1152"/>
                </a:lnTo>
                <a:lnTo>
                  <a:pt x="380" y="1152"/>
                </a:lnTo>
                <a:lnTo>
                  <a:pt x="389" y="1151"/>
                </a:lnTo>
                <a:lnTo>
                  <a:pt x="397" y="1149"/>
                </a:lnTo>
                <a:lnTo>
                  <a:pt x="404" y="1146"/>
                </a:lnTo>
                <a:lnTo>
                  <a:pt x="410" y="1148"/>
                </a:lnTo>
                <a:lnTo>
                  <a:pt x="419" y="1152"/>
                </a:lnTo>
                <a:lnTo>
                  <a:pt x="428" y="1158"/>
                </a:lnTo>
                <a:lnTo>
                  <a:pt x="437" y="1167"/>
                </a:lnTo>
                <a:lnTo>
                  <a:pt x="446" y="1178"/>
                </a:lnTo>
                <a:lnTo>
                  <a:pt x="456" y="1187"/>
                </a:lnTo>
                <a:lnTo>
                  <a:pt x="466" y="1195"/>
                </a:lnTo>
                <a:lnTo>
                  <a:pt x="476" y="1202"/>
                </a:lnTo>
                <a:lnTo>
                  <a:pt x="485" y="1206"/>
                </a:lnTo>
                <a:lnTo>
                  <a:pt x="495" y="1211"/>
                </a:lnTo>
                <a:lnTo>
                  <a:pt x="506" y="1213"/>
                </a:lnTo>
                <a:lnTo>
                  <a:pt x="516" y="1215"/>
                </a:lnTo>
                <a:lnTo>
                  <a:pt x="525" y="1217"/>
                </a:lnTo>
                <a:lnTo>
                  <a:pt x="533" y="1218"/>
                </a:lnTo>
                <a:lnTo>
                  <a:pt x="542" y="1219"/>
                </a:lnTo>
                <a:lnTo>
                  <a:pt x="549" y="1219"/>
                </a:lnTo>
                <a:lnTo>
                  <a:pt x="556" y="1219"/>
                </a:lnTo>
                <a:lnTo>
                  <a:pt x="566" y="1220"/>
                </a:lnTo>
                <a:lnTo>
                  <a:pt x="577" y="1221"/>
                </a:lnTo>
                <a:lnTo>
                  <a:pt x="590" y="1223"/>
                </a:lnTo>
                <a:lnTo>
                  <a:pt x="602" y="1225"/>
                </a:lnTo>
                <a:lnTo>
                  <a:pt x="615" y="1228"/>
                </a:lnTo>
                <a:lnTo>
                  <a:pt x="627" y="1231"/>
                </a:lnTo>
                <a:lnTo>
                  <a:pt x="638" y="1236"/>
                </a:lnTo>
                <a:lnTo>
                  <a:pt x="648" y="1239"/>
                </a:lnTo>
                <a:lnTo>
                  <a:pt x="656" y="1241"/>
                </a:lnTo>
                <a:lnTo>
                  <a:pt x="666" y="1241"/>
                </a:lnTo>
                <a:lnTo>
                  <a:pt x="676" y="1239"/>
                </a:lnTo>
                <a:lnTo>
                  <a:pt x="685" y="1237"/>
                </a:lnTo>
                <a:lnTo>
                  <a:pt x="693" y="1233"/>
                </a:lnTo>
                <a:lnTo>
                  <a:pt x="702" y="1230"/>
                </a:lnTo>
                <a:lnTo>
                  <a:pt x="710" y="1227"/>
                </a:lnTo>
                <a:lnTo>
                  <a:pt x="717" y="1224"/>
                </a:lnTo>
                <a:lnTo>
                  <a:pt x="723" y="1220"/>
                </a:lnTo>
                <a:lnTo>
                  <a:pt x="727" y="1216"/>
                </a:lnTo>
                <a:lnTo>
                  <a:pt x="730" y="1212"/>
                </a:lnTo>
                <a:lnTo>
                  <a:pt x="735" y="1207"/>
                </a:lnTo>
                <a:lnTo>
                  <a:pt x="738" y="1203"/>
                </a:lnTo>
                <a:lnTo>
                  <a:pt x="742" y="1198"/>
                </a:lnTo>
                <a:lnTo>
                  <a:pt x="748" y="1193"/>
                </a:lnTo>
                <a:lnTo>
                  <a:pt x="753" y="1189"/>
                </a:lnTo>
                <a:lnTo>
                  <a:pt x="758" y="1184"/>
                </a:lnTo>
                <a:lnTo>
                  <a:pt x="763" y="1182"/>
                </a:lnTo>
                <a:lnTo>
                  <a:pt x="766" y="1180"/>
                </a:lnTo>
                <a:lnTo>
                  <a:pt x="772" y="1179"/>
                </a:lnTo>
                <a:lnTo>
                  <a:pt x="777" y="1178"/>
                </a:lnTo>
                <a:lnTo>
                  <a:pt x="785" y="1179"/>
                </a:lnTo>
                <a:lnTo>
                  <a:pt x="794" y="1180"/>
                </a:lnTo>
                <a:lnTo>
                  <a:pt x="807" y="1180"/>
                </a:lnTo>
                <a:lnTo>
                  <a:pt x="822" y="1178"/>
                </a:lnTo>
                <a:lnTo>
                  <a:pt x="837" y="1173"/>
                </a:lnTo>
                <a:lnTo>
                  <a:pt x="852" y="1166"/>
                </a:lnTo>
                <a:lnTo>
                  <a:pt x="866" y="1158"/>
                </a:lnTo>
                <a:lnTo>
                  <a:pt x="878" y="1151"/>
                </a:lnTo>
                <a:lnTo>
                  <a:pt x="889" y="1142"/>
                </a:lnTo>
                <a:lnTo>
                  <a:pt x="896" y="1133"/>
                </a:lnTo>
                <a:lnTo>
                  <a:pt x="899" y="1133"/>
                </a:lnTo>
                <a:lnTo>
                  <a:pt x="907" y="1133"/>
                </a:lnTo>
                <a:lnTo>
                  <a:pt x="921" y="1133"/>
                </a:lnTo>
                <a:lnTo>
                  <a:pt x="936" y="1131"/>
                </a:lnTo>
                <a:lnTo>
                  <a:pt x="953" y="1128"/>
                </a:lnTo>
                <a:lnTo>
                  <a:pt x="971" y="1123"/>
                </a:lnTo>
                <a:lnTo>
                  <a:pt x="988" y="1115"/>
                </a:lnTo>
                <a:lnTo>
                  <a:pt x="1002" y="1104"/>
                </a:lnTo>
                <a:lnTo>
                  <a:pt x="1014" y="1092"/>
                </a:lnTo>
                <a:lnTo>
                  <a:pt x="1025" y="1081"/>
                </a:lnTo>
                <a:lnTo>
                  <a:pt x="1036" y="1073"/>
                </a:lnTo>
                <a:lnTo>
                  <a:pt x="1046" y="1066"/>
                </a:lnTo>
                <a:lnTo>
                  <a:pt x="1054" y="1063"/>
                </a:lnTo>
                <a:lnTo>
                  <a:pt x="1064" y="1062"/>
                </a:lnTo>
                <a:lnTo>
                  <a:pt x="1073" y="1064"/>
                </a:lnTo>
                <a:lnTo>
                  <a:pt x="1083" y="1070"/>
                </a:lnTo>
                <a:lnTo>
                  <a:pt x="1092" y="1075"/>
                </a:lnTo>
                <a:lnTo>
                  <a:pt x="1101" y="1075"/>
                </a:lnTo>
                <a:lnTo>
                  <a:pt x="1111" y="1070"/>
                </a:lnTo>
                <a:lnTo>
                  <a:pt x="1122" y="1065"/>
                </a:lnTo>
                <a:lnTo>
                  <a:pt x="1132" y="1058"/>
                </a:lnTo>
                <a:lnTo>
                  <a:pt x="1141" y="1054"/>
                </a:lnTo>
                <a:lnTo>
                  <a:pt x="1152" y="1051"/>
                </a:lnTo>
                <a:lnTo>
                  <a:pt x="1163" y="1053"/>
                </a:lnTo>
                <a:lnTo>
                  <a:pt x="1174" y="1057"/>
                </a:lnTo>
                <a:lnTo>
                  <a:pt x="1187" y="1061"/>
                </a:lnTo>
                <a:lnTo>
                  <a:pt x="1199" y="1064"/>
                </a:lnTo>
                <a:lnTo>
                  <a:pt x="1212" y="1065"/>
                </a:lnTo>
                <a:lnTo>
                  <a:pt x="1224" y="1066"/>
                </a:lnTo>
                <a:lnTo>
                  <a:pt x="1237" y="1066"/>
                </a:lnTo>
                <a:lnTo>
                  <a:pt x="1249" y="1064"/>
                </a:lnTo>
                <a:lnTo>
                  <a:pt x="1261" y="1062"/>
                </a:lnTo>
                <a:lnTo>
                  <a:pt x="1271" y="1058"/>
                </a:lnTo>
                <a:lnTo>
                  <a:pt x="1281" y="1055"/>
                </a:lnTo>
                <a:lnTo>
                  <a:pt x="1288" y="1053"/>
                </a:lnTo>
                <a:lnTo>
                  <a:pt x="1296" y="1051"/>
                </a:lnTo>
                <a:lnTo>
                  <a:pt x="1301" y="1051"/>
                </a:lnTo>
                <a:lnTo>
                  <a:pt x="1308" y="1051"/>
                </a:lnTo>
                <a:lnTo>
                  <a:pt x="1313" y="1053"/>
                </a:lnTo>
                <a:lnTo>
                  <a:pt x="1320" y="1057"/>
                </a:lnTo>
                <a:lnTo>
                  <a:pt x="1327" y="1062"/>
                </a:lnTo>
                <a:lnTo>
                  <a:pt x="1335" y="1065"/>
                </a:lnTo>
                <a:lnTo>
                  <a:pt x="1344" y="1067"/>
                </a:lnTo>
                <a:lnTo>
                  <a:pt x="1353" y="1068"/>
                </a:lnTo>
                <a:lnTo>
                  <a:pt x="1361" y="1067"/>
                </a:lnTo>
                <a:lnTo>
                  <a:pt x="1369" y="1065"/>
                </a:lnTo>
                <a:lnTo>
                  <a:pt x="1375" y="1060"/>
                </a:lnTo>
                <a:lnTo>
                  <a:pt x="1380" y="1053"/>
                </a:lnTo>
                <a:lnTo>
                  <a:pt x="1383" y="1045"/>
                </a:lnTo>
                <a:lnTo>
                  <a:pt x="1386" y="1037"/>
                </a:lnTo>
                <a:lnTo>
                  <a:pt x="1389" y="1029"/>
                </a:lnTo>
                <a:lnTo>
                  <a:pt x="1394" y="1023"/>
                </a:lnTo>
                <a:lnTo>
                  <a:pt x="1399" y="1018"/>
                </a:lnTo>
                <a:lnTo>
                  <a:pt x="1406" y="1014"/>
                </a:lnTo>
                <a:lnTo>
                  <a:pt x="1415" y="1013"/>
                </a:lnTo>
                <a:lnTo>
                  <a:pt x="1426" y="1015"/>
                </a:lnTo>
                <a:lnTo>
                  <a:pt x="1439" y="1017"/>
                </a:lnTo>
                <a:lnTo>
                  <a:pt x="1454" y="1017"/>
                </a:lnTo>
                <a:lnTo>
                  <a:pt x="1467" y="1016"/>
                </a:lnTo>
                <a:lnTo>
                  <a:pt x="1481" y="1012"/>
                </a:lnTo>
                <a:lnTo>
                  <a:pt x="1493" y="1006"/>
                </a:lnTo>
                <a:lnTo>
                  <a:pt x="1502" y="999"/>
                </a:lnTo>
                <a:lnTo>
                  <a:pt x="1510" y="989"/>
                </a:lnTo>
                <a:lnTo>
                  <a:pt x="1516" y="977"/>
                </a:lnTo>
                <a:lnTo>
                  <a:pt x="1519" y="967"/>
                </a:lnTo>
                <a:lnTo>
                  <a:pt x="1524" y="958"/>
                </a:lnTo>
                <a:lnTo>
                  <a:pt x="1531" y="952"/>
                </a:lnTo>
                <a:lnTo>
                  <a:pt x="1536" y="946"/>
                </a:lnTo>
                <a:lnTo>
                  <a:pt x="1543" y="940"/>
                </a:lnTo>
                <a:lnTo>
                  <a:pt x="1547" y="935"/>
                </a:lnTo>
                <a:lnTo>
                  <a:pt x="1551" y="927"/>
                </a:lnTo>
                <a:lnTo>
                  <a:pt x="1552" y="919"/>
                </a:lnTo>
                <a:lnTo>
                  <a:pt x="1552" y="916"/>
                </a:lnTo>
                <a:lnTo>
                  <a:pt x="1551" y="913"/>
                </a:lnTo>
                <a:lnTo>
                  <a:pt x="1550" y="910"/>
                </a:lnTo>
                <a:lnTo>
                  <a:pt x="1549" y="905"/>
                </a:lnTo>
                <a:lnTo>
                  <a:pt x="1549" y="898"/>
                </a:lnTo>
                <a:lnTo>
                  <a:pt x="1551" y="882"/>
                </a:lnTo>
                <a:lnTo>
                  <a:pt x="1557" y="867"/>
                </a:lnTo>
                <a:lnTo>
                  <a:pt x="1567" y="863"/>
                </a:lnTo>
                <a:lnTo>
                  <a:pt x="1573" y="863"/>
                </a:lnTo>
                <a:lnTo>
                  <a:pt x="1579" y="860"/>
                </a:lnTo>
                <a:lnTo>
                  <a:pt x="1584" y="854"/>
                </a:lnTo>
                <a:lnTo>
                  <a:pt x="1589" y="849"/>
                </a:lnTo>
                <a:lnTo>
                  <a:pt x="1594" y="843"/>
                </a:lnTo>
                <a:lnTo>
                  <a:pt x="1597" y="838"/>
                </a:lnTo>
                <a:lnTo>
                  <a:pt x="1599" y="833"/>
                </a:lnTo>
                <a:lnTo>
                  <a:pt x="1600" y="832"/>
                </a:lnTo>
                <a:lnTo>
                  <a:pt x="1603" y="829"/>
                </a:lnTo>
                <a:lnTo>
                  <a:pt x="1609" y="819"/>
                </a:lnTo>
                <a:lnTo>
                  <a:pt x="1613" y="807"/>
                </a:lnTo>
                <a:lnTo>
                  <a:pt x="1613" y="794"/>
                </a:lnTo>
                <a:lnTo>
                  <a:pt x="1614" y="780"/>
                </a:lnTo>
                <a:lnTo>
                  <a:pt x="1623" y="765"/>
                </a:lnTo>
                <a:lnTo>
                  <a:pt x="1632" y="749"/>
                </a:lnTo>
                <a:lnTo>
                  <a:pt x="1638" y="730"/>
                </a:lnTo>
                <a:lnTo>
                  <a:pt x="1643" y="716"/>
                </a:lnTo>
                <a:lnTo>
                  <a:pt x="1649" y="707"/>
                </a:lnTo>
                <a:lnTo>
                  <a:pt x="1656" y="699"/>
                </a:lnTo>
                <a:lnTo>
                  <a:pt x="1660" y="685"/>
                </a:lnTo>
                <a:lnTo>
                  <a:pt x="1662" y="676"/>
                </a:lnTo>
                <a:lnTo>
                  <a:pt x="1667" y="667"/>
                </a:lnTo>
                <a:lnTo>
                  <a:pt x="1672" y="660"/>
                </a:lnTo>
                <a:lnTo>
                  <a:pt x="1678" y="652"/>
                </a:lnTo>
                <a:lnTo>
                  <a:pt x="1683" y="644"/>
                </a:lnTo>
                <a:lnTo>
                  <a:pt x="1690" y="637"/>
                </a:lnTo>
                <a:lnTo>
                  <a:pt x="1694" y="629"/>
                </a:lnTo>
                <a:lnTo>
                  <a:pt x="1698" y="622"/>
                </a:lnTo>
                <a:lnTo>
                  <a:pt x="1705" y="605"/>
                </a:lnTo>
                <a:lnTo>
                  <a:pt x="1712" y="588"/>
                </a:lnTo>
                <a:lnTo>
                  <a:pt x="1719" y="571"/>
                </a:lnTo>
                <a:lnTo>
                  <a:pt x="1723" y="554"/>
                </a:lnTo>
                <a:lnTo>
                  <a:pt x="1727" y="547"/>
                </a:lnTo>
                <a:lnTo>
                  <a:pt x="1732" y="539"/>
                </a:lnTo>
                <a:lnTo>
                  <a:pt x="1738" y="531"/>
                </a:lnTo>
                <a:lnTo>
                  <a:pt x="1745" y="524"/>
                </a:lnTo>
                <a:lnTo>
                  <a:pt x="1752" y="516"/>
                </a:lnTo>
                <a:lnTo>
                  <a:pt x="1757" y="507"/>
                </a:lnTo>
                <a:lnTo>
                  <a:pt x="1759" y="499"/>
                </a:lnTo>
                <a:lnTo>
                  <a:pt x="1758" y="490"/>
                </a:lnTo>
                <a:lnTo>
                  <a:pt x="1756" y="480"/>
                </a:lnTo>
                <a:lnTo>
                  <a:pt x="1756" y="471"/>
                </a:lnTo>
                <a:lnTo>
                  <a:pt x="1758" y="462"/>
                </a:lnTo>
                <a:lnTo>
                  <a:pt x="1762" y="453"/>
                </a:lnTo>
                <a:lnTo>
                  <a:pt x="1768" y="446"/>
                </a:lnTo>
                <a:lnTo>
                  <a:pt x="1774" y="440"/>
                </a:lnTo>
                <a:lnTo>
                  <a:pt x="1782" y="436"/>
                </a:lnTo>
                <a:lnTo>
                  <a:pt x="1792" y="435"/>
                </a:lnTo>
                <a:lnTo>
                  <a:pt x="1799" y="432"/>
                </a:lnTo>
                <a:lnTo>
                  <a:pt x="1805" y="427"/>
                </a:lnTo>
                <a:lnTo>
                  <a:pt x="1809" y="418"/>
                </a:lnTo>
                <a:lnTo>
                  <a:pt x="1811" y="409"/>
                </a:lnTo>
                <a:lnTo>
                  <a:pt x="1814" y="398"/>
                </a:lnTo>
                <a:lnTo>
                  <a:pt x="1817" y="388"/>
                </a:lnTo>
                <a:lnTo>
                  <a:pt x="1820" y="380"/>
                </a:lnTo>
                <a:lnTo>
                  <a:pt x="1825" y="376"/>
                </a:lnTo>
                <a:lnTo>
                  <a:pt x="1832" y="373"/>
                </a:lnTo>
                <a:lnTo>
                  <a:pt x="1840" y="368"/>
                </a:lnTo>
                <a:lnTo>
                  <a:pt x="1846" y="364"/>
                </a:lnTo>
                <a:lnTo>
                  <a:pt x="1854" y="360"/>
                </a:lnTo>
                <a:lnTo>
                  <a:pt x="1859" y="355"/>
                </a:lnTo>
                <a:lnTo>
                  <a:pt x="1864" y="353"/>
                </a:lnTo>
                <a:lnTo>
                  <a:pt x="1867" y="351"/>
                </a:lnTo>
                <a:lnTo>
                  <a:pt x="1868" y="350"/>
                </a:lnTo>
                <a:lnTo>
                  <a:pt x="1870" y="350"/>
                </a:lnTo>
                <a:lnTo>
                  <a:pt x="1877" y="352"/>
                </a:lnTo>
                <a:lnTo>
                  <a:pt x="1886" y="353"/>
                </a:lnTo>
                <a:lnTo>
                  <a:pt x="1897" y="354"/>
                </a:lnTo>
                <a:lnTo>
                  <a:pt x="1908" y="355"/>
                </a:lnTo>
                <a:lnTo>
                  <a:pt x="1918" y="355"/>
                </a:lnTo>
                <a:lnTo>
                  <a:pt x="1927" y="353"/>
                </a:lnTo>
                <a:lnTo>
                  <a:pt x="1932" y="350"/>
                </a:lnTo>
                <a:lnTo>
                  <a:pt x="1936" y="343"/>
                </a:lnTo>
                <a:lnTo>
                  <a:pt x="1943" y="336"/>
                </a:lnTo>
                <a:lnTo>
                  <a:pt x="1952" y="326"/>
                </a:lnTo>
                <a:lnTo>
                  <a:pt x="1961" y="315"/>
                </a:lnTo>
                <a:lnTo>
                  <a:pt x="1971" y="304"/>
                </a:lnTo>
                <a:lnTo>
                  <a:pt x="1980" y="294"/>
                </a:lnTo>
                <a:lnTo>
                  <a:pt x="1986" y="286"/>
                </a:lnTo>
                <a:lnTo>
                  <a:pt x="1991" y="278"/>
                </a:lnTo>
                <a:lnTo>
                  <a:pt x="1992" y="276"/>
                </a:lnTo>
                <a:lnTo>
                  <a:pt x="1993" y="273"/>
                </a:lnTo>
                <a:lnTo>
                  <a:pt x="1993" y="271"/>
                </a:lnTo>
                <a:lnTo>
                  <a:pt x="1993" y="267"/>
                </a:lnTo>
                <a:lnTo>
                  <a:pt x="1993" y="265"/>
                </a:lnTo>
                <a:lnTo>
                  <a:pt x="1993" y="263"/>
                </a:lnTo>
                <a:lnTo>
                  <a:pt x="1993" y="262"/>
                </a:lnTo>
                <a:lnTo>
                  <a:pt x="1993" y="260"/>
                </a:lnTo>
                <a:lnTo>
                  <a:pt x="1990" y="236"/>
                </a:lnTo>
                <a:lnTo>
                  <a:pt x="1983" y="211"/>
                </a:lnTo>
                <a:lnTo>
                  <a:pt x="1973" y="192"/>
                </a:lnTo>
                <a:lnTo>
                  <a:pt x="1961" y="185"/>
                </a:lnTo>
                <a:lnTo>
                  <a:pt x="1954" y="186"/>
                </a:lnTo>
                <a:lnTo>
                  <a:pt x="1947" y="187"/>
                </a:lnTo>
                <a:lnTo>
                  <a:pt x="1941" y="189"/>
                </a:lnTo>
                <a:lnTo>
                  <a:pt x="1935" y="191"/>
                </a:lnTo>
                <a:lnTo>
                  <a:pt x="1930" y="193"/>
                </a:lnTo>
                <a:lnTo>
                  <a:pt x="1924" y="196"/>
                </a:lnTo>
                <a:lnTo>
                  <a:pt x="1919" y="197"/>
                </a:lnTo>
                <a:lnTo>
                  <a:pt x="1915" y="198"/>
                </a:lnTo>
                <a:lnTo>
                  <a:pt x="1907" y="192"/>
                </a:lnTo>
                <a:lnTo>
                  <a:pt x="1904" y="179"/>
                </a:lnTo>
                <a:lnTo>
                  <a:pt x="1898" y="163"/>
                </a:lnTo>
                <a:lnTo>
                  <a:pt x="1890" y="151"/>
                </a:lnTo>
                <a:lnTo>
                  <a:pt x="1883" y="147"/>
                </a:lnTo>
                <a:lnTo>
                  <a:pt x="1878" y="143"/>
                </a:lnTo>
                <a:lnTo>
                  <a:pt x="1871" y="142"/>
                </a:lnTo>
                <a:lnTo>
                  <a:pt x="1866" y="140"/>
                </a:lnTo>
                <a:lnTo>
                  <a:pt x="1860" y="138"/>
                </a:lnTo>
                <a:lnTo>
                  <a:pt x="1855" y="136"/>
                </a:lnTo>
                <a:lnTo>
                  <a:pt x="1848" y="134"/>
                </a:lnTo>
                <a:lnTo>
                  <a:pt x="1843" y="129"/>
                </a:lnTo>
                <a:lnTo>
                  <a:pt x="1837" y="123"/>
                </a:lnTo>
                <a:lnTo>
                  <a:pt x="1831" y="115"/>
                </a:lnTo>
                <a:lnTo>
                  <a:pt x="1825" y="105"/>
                </a:lnTo>
                <a:lnTo>
                  <a:pt x="1819" y="95"/>
                </a:lnTo>
                <a:lnTo>
                  <a:pt x="1811" y="86"/>
                </a:lnTo>
                <a:lnTo>
                  <a:pt x="1803" y="77"/>
                </a:lnTo>
                <a:lnTo>
                  <a:pt x="1793" y="72"/>
                </a:lnTo>
                <a:lnTo>
                  <a:pt x="1782" y="70"/>
                </a:lnTo>
                <a:lnTo>
                  <a:pt x="1780" y="70"/>
                </a:lnTo>
                <a:lnTo>
                  <a:pt x="1779" y="70"/>
                </a:lnTo>
                <a:lnTo>
                  <a:pt x="1777" y="70"/>
                </a:lnTo>
                <a:lnTo>
                  <a:pt x="1774" y="70"/>
                </a:lnTo>
                <a:lnTo>
                  <a:pt x="1760" y="72"/>
                </a:lnTo>
                <a:lnTo>
                  <a:pt x="1747" y="74"/>
                </a:lnTo>
                <a:lnTo>
                  <a:pt x="1735" y="75"/>
                </a:lnTo>
                <a:lnTo>
                  <a:pt x="1723" y="76"/>
                </a:lnTo>
                <a:lnTo>
                  <a:pt x="1712" y="78"/>
                </a:lnTo>
                <a:lnTo>
                  <a:pt x="1702" y="80"/>
                </a:lnTo>
                <a:lnTo>
                  <a:pt x="1691" y="83"/>
                </a:lnTo>
                <a:lnTo>
                  <a:pt x="1681" y="87"/>
                </a:lnTo>
                <a:lnTo>
                  <a:pt x="1672" y="90"/>
                </a:lnTo>
                <a:lnTo>
                  <a:pt x="1665" y="92"/>
                </a:lnTo>
                <a:lnTo>
                  <a:pt x="1658" y="91"/>
                </a:lnTo>
                <a:lnTo>
                  <a:pt x="1651" y="89"/>
                </a:lnTo>
                <a:lnTo>
                  <a:pt x="1647" y="86"/>
                </a:lnTo>
                <a:lnTo>
                  <a:pt x="1644" y="82"/>
                </a:lnTo>
                <a:lnTo>
                  <a:pt x="1641" y="76"/>
                </a:lnTo>
                <a:lnTo>
                  <a:pt x="1638" y="70"/>
                </a:lnTo>
                <a:lnTo>
                  <a:pt x="1636" y="63"/>
                </a:lnTo>
                <a:lnTo>
                  <a:pt x="1633" y="58"/>
                </a:lnTo>
                <a:lnTo>
                  <a:pt x="1629" y="51"/>
                </a:lnTo>
                <a:lnTo>
                  <a:pt x="1624" y="45"/>
                </a:lnTo>
                <a:lnTo>
                  <a:pt x="1619" y="39"/>
                </a:lnTo>
                <a:lnTo>
                  <a:pt x="1613" y="34"/>
                </a:lnTo>
                <a:lnTo>
                  <a:pt x="1607" y="28"/>
                </a:lnTo>
                <a:lnTo>
                  <a:pt x="1600" y="23"/>
                </a:lnTo>
                <a:lnTo>
                  <a:pt x="1596" y="20"/>
                </a:lnTo>
                <a:lnTo>
                  <a:pt x="1591" y="15"/>
                </a:lnTo>
                <a:lnTo>
                  <a:pt x="1586" y="12"/>
                </a:lnTo>
                <a:lnTo>
                  <a:pt x="1581" y="9"/>
                </a:lnTo>
                <a:lnTo>
                  <a:pt x="1575" y="5"/>
                </a:lnTo>
                <a:lnTo>
                  <a:pt x="1570" y="3"/>
                </a:lnTo>
                <a:lnTo>
                  <a:pt x="1564" y="1"/>
                </a:lnTo>
                <a:lnTo>
                  <a:pt x="1558" y="0"/>
                </a:lnTo>
                <a:lnTo>
                  <a:pt x="1557" y="0"/>
                </a:lnTo>
                <a:lnTo>
                  <a:pt x="1556" y="0"/>
                </a:lnTo>
                <a:lnTo>
                  <a:pt x="1551" y="0"/>
                </a:lnTo>
                <a:lnTo>
                  <a:pt x="1546" y="1"/>
                </a:lnTo>
                <a:lnTo>
                  <a:pt x="1542" y="3"/>
                </a:lnTo>
                <a:lnTo>
                  <a:pt x="1536" y="7"/>
                </a:lnTo>
                <a:lnTo>
                  <a:pt x="1526" y="13"/>
                </a:lnTo>
                <a:lnTo>
                  <a:pt x="1517" y="20"/>
                </a:lnTo>
                <a:lnTo>
                  <a:pt x="1506" y="25"/>
                </a:lnTo>
                <a:lnTo>
                  <a:pt x="1495" y="29"/>
                </a:lnTo>
                <a:lnTo>
                  <a:pt x="1483" y="33"/>
                </a:lnTo>
                <a:lnTo>
                  <a:pt x="1471" y="34"/>
                </a:lnTo>
                <a:lnTo>
                  <a:pt x="1458" y="32"/>
                </a:lnTo>
                <a:lnTo>
                  <a:pt x="1444" y="27"/>
                </a:lnTo>
                <a:lnTo>
                  <a:pt x="1433" y="23"/>
                </a:lnTo>
                <a:lnTo>
                  <a:pt x="1424" y="18"/>
                </a:lnTo>
                <a:lnTo>
                  <a:pt x="1415" y="14"/>
                </a:lnTo>
                <a:lnTo>
                  <a:pt x="1408" y="10"/>
                </a:lnTo>
                <a:lnTo>
                  <a:pt x="1400" y="7"/>
                </a:lnTo>
                <a:lnTo>
                  <a:pt x="1393" y="4"/>
                </a:lnTo>
                <a:lnTo>
                  <a:pt x="1385" y="3"/>
                </a:lnTo>
                <a:lnTo>
                  <a:pt x="1377" y="2"/>
                </a:lnTo>
                <a:lnTo>
                  <a:pt x="1372" y="2"/>
                </a:lnTo>
                <a:lnTo>
                  <a:pt x="1366" y="3"/>
                </a:lnTo>
                <a:lnTo>
                  <a:pt x="1360" y="4"/>
                </a:lnTo>
                <a:lnTo>
                  <a:pt x="1355" y="7"/>
                </a:lnTo>
                <a:lnTo>
                  <a:pt x="1341" y="11"/>
                </a:lnTo>
                <a:lnTo>
                  <a:pt x="1331" y="13"/>
                </a:lnTo>
                <a:lnTo>
                  <a:pt x="1321" y="15"/>
                </a:lnTo>
                <a:lnTo>
                  <a:pt x="1312" y="16"/>
                </a:lnTo>
                <a:lnTo>
                  <a:pt x="1304" y="18"/>
                </a:lnTo>
                <a:lnTo>
                  <a:pt x="1299" y="21"/>
                </a:lnTo>
                <a:lnTo>
                  <a:pt x="1296" y="25"/>
                </a:lnTo>
                <a:lnTo>
                  <a:pt x="1295" y="32"/>
                </a:lnTo>
                <a:lnTo>
                  <a:pt x="1291" y="47"/>
                </a:lnTo>
                <a:lnTo>
                  <a:pt x="1285" y="59"/>
                </a:lnTo>
                <a:lnTo>
                  <a:pt x="1275" y="66"/>
                </a:lnTo>
                <a:lnTo>
                  <a:pt x="1265" y="70"/>
                </a:lnTo>
                <a:lnTo>
                  <a:pt x="1260" y="77"/>
                </a:lnTo>
                <a:lnTo>
                  <a:pt x="1257" y="95"/>
                </a:lnTo>
                <a:lnTo>
                  <a:pt x="1251" y="114"/>
                </a:lnTo>
                <a:lnTo>
                  <a:pt x="1235" y="129"/>
                </a:lnTo>
                <a:lnTo>
                  <a:pt x="1225" y="134"/>
                </a:lnTo>
                <a:lnTo>
                  <a:pt x="1215" y="139"/>
                </a:lnTo>
                <a:lnTo>
                  <a:pt x="1208" y="143"/>
                </a:lnTo>
                <a:lnTo>
                  <a:pt x="1201" y="149"/>
                </a:lnTo>
                <a:lnTo>
                  <a:pt x="1195" y="153"/>
                </a:lnTo>
                <a:lnTo>
                  <a:pt x="1188" y="159"/>
                </a:lnTo>
                <a:lnTo>
                  <a:pt x="1183" y="163"/>
                </a:lnTo>
                <a:lnTo>
                  <a:pt x="1176" y="167"/>
                </a:lnTo>
                <a:lnTo>
                  <a:pt x="1169" y="173"/>
                </a:lnTo>
                <a:lnTo>
                  <a:pt x="1161" y="177"/>
                </a:lnTo>
                <a:lnTo>
                  <a:pt x="1151" y="181"/>
                </a:lnTo>
                <a:lnTo>
                  <a:pt x="1141" y="185"/>
                </a:lnTo>
                <a:lnTo>
                  <a:pt x="1130" y="187"/>
                </a:lnTo>
                <a:lnTo>
                  <a:pt x="1120" y="188"/>
                </a:lnTo>
                <a:lnTo>
                  <a:pt x="1109" y="186"/>
                </a:lnTo>
                <a:lnTo>
                  <a:pt x="1099" y="180"/>
                </a:lnTo>
                <a:lnTo>
                  <a:pt x="1091" y="175"/>
                </a:lnTo>
                <a:lnTo>
                  <a:pt x="1084" y="171"/>
                </a:lnTo>
                <a:lnTo>
                  <a:pt x="1076" y="165"/>
                </a:lnTo>
                <a:lnTo>
                  <a:pt x="1067" y="160"/>
                </a:lnTo>
                <a:lnTo>
                  <a:pt x="1060" y="155"/>
                </a:lnTo>
                <a:lnTo>
                  <a:pt x="1052" y="152"/>
                </a:lnTo>
                <a:lnTo>
                  <a:pt x="1045" y="150"/>
                </a:lnTo>
                <a:lnTo>
                  <a:pt x="1038" y="149"/>
                </a:lnTo>
                <a:lnTo>
                  <a:pt x="1037" y="149"/>
                </a:lnTo>
                <a:lnTo>
                  <a:pt x="1036" y="149"/>
                </a:lnTo>
                <a:lnTo>
                  <a:pt x="1034" y="150"/>
                </a:lnTo>
                <a:lnTo>
                  <a:pt x="1031" y="151"/>
                </a:lnTo>
                <a:lnTo>
                  <a:pt x="1029" y="153"/>
                </a:lnTo>
                <a:lnTo>
                  <a:pt x="1027" y="155"/>
                </a:lnTo>
                <a:lnTo>
                  <a:pt x="1020" y="166"/>
                </a:lnTo>
                <a:lnTo>
                  <a:pt x="1012" y="177"/>
                </a:lnTo>
                <a:lnTo>
                  <a:pt x="1004" y="189"/>
                </a:lnTo>
                <a:lnTo>
                  <a:pt x="1002" y="205"/>
                </a:lnTo>
                <a:lnTo>
                  <a:pt x="1000" y="213"/>
                </a:lnTo>
                <a:lnTo>
                  <a:pt x="993" y="216"/>
                </a:lnTo>
                <a:lnTo>
                  <a:pt x="985" y="218"/>
                </a:lnTo>
                <a:lnTo>
                  <a:pt x="974" y="217"/>
                </a:lnTo>
                <a:lnTo>
                  <a:pt x="962" y="217"/>
                </a:lnTo>
                <a:lnTo>
                  <a:pt x="950" y="218"/>
                </a:lnTo>
                <a:lnTo>
                  <a:pt x="939" y="221"/>
                </a:lnTo>
                <a:lnTo>
                  <a:pt x="929" y="227"/>
                </a:lnTo>
                <a:lnTo>
                  <a:pt x="922" y="234"/>
                </a:lnTo>
                <a:lnTo>
                  <a:pt x="914" y="237"/>
                </a:lnTo>
                <a:lnTo>
                  <a:pt x="905" y="238"/>
                </a:lnTo>
                <a:lnTo>
                  <a:pt x="898" y="238"/>
                </a:lnTo>
                <a:lnTo>
                  <a:pt x="890" y="237"/>
                </a:lnTo>
                <a:lnTo>
                  <a:pt x="881" y="234"/>
                </a:lnTo>
                <a:lnTo>
                  <a:pt x="874" y="230"/>
                </a:lnTo>
                <a:lnTo>
                  <a:pt x="866" y="227"/>
                </a:lnTo>
                <a:lnTo>
                  <a:pt x="863" y="226"/>
                </a:lnTo>
                <a:lnTo>
                  <a:pt x="860" y="225"/>
                </a:lnTo>
                <a:lnTo>
                  <a:pt x="856" y="225"/>
                </a:lnTo>
                <a:lnTo>
                  <a:pt x="854" y="225"/>
                </a:lnTo>
                <a:lnTo>
                  <a:pt x="843" y="226"/>
                </a:lnTo>
                <a:lnTo>
                  <a:pt x="836" y="230"/>
                </a:lnTo>
                <a:lnTo>
                  <a:pt x="830" y="234"/>
                </a:lnTo>
                <a:lnTo>
                  <a:pt x="828" y="236"/>
                </a:lnTo>
                <a:lnTo>
                  <a:pt x="827" y="237"/>
                </a:lnTo>
                <a:lnTo>
                  <a:pt x="823" y="238"/>
                </a:lnTo>
                <a:lnTo>
                  <a:pt x="817" y="241"/>
                </a:lnTo>
                <a:lnTo>
                  <a:pt x="812" y="246"/>
                </a:lnTo>
                <a:lnTo>
                  <a:pt x="805" y="251"/>
                </a:lnTo>
                <a:lnTo>
                  <a:pt x="800" y="259"/>
                </a:lnTo>
                <a:lnTo>
                  <a:pt x="795" y="267"/>
                </a:lnTo>
                <a:lnTo>
                  <a:pt x="794" y="278"/>
                </a:lnTo>
                <a:lnTo>
                  <a:pt x="794" y="302"/>
                </a:lnTo>
                <a:lnTo>
                  <a:pt x="791" y="328"/>
                </a:lnTo>
                <a:lnTo>
                  <a:pt x="782" y="350"/>
                </a:lnTo>
                <a:lnTo>
                  <a:pt x="765" y="363"/>
                </a:lnTo>
                <a:lnTo>
                  <a:pt x="754" y="365"/>
                </a:lnTo>
                <a:lnTo>
                  <a:pt x="743" y="365"/>
                </a:lnTo>
                <a:lnTo>
                  <a:pt x="733" y="364"/>
                </a:lnTo>
                <a:lnTo>
                  <a:pt x="723" y="362"/>
                </a:lnTo>
                <a:lnTo>
                  <a:pt x="712" y="361"/>
                </a:lnTo>
                <a:lnTo>
                  <a:pt x="702" y="361"/>
                </a:lnTo>
                <a:lnTo>
                  <a:pt x="691" y="363"/>
                </a:lnTo>
                <a:lnTo>
                  <a:pt x="680" y="367"/>
                </a:lnTo>
                <a:lnTo>
                  <a:pt x="667" y="371"/>
                </a:lnTo>
                <a:lnTo>
                  <a:pt x="651" y="369"/>
                </a:lnTo>
                <a:lnTo>
                  <a:pt x="631" y="366"/>
                </a:lnTo>
                <a:lnTo>
                  <a:pt x="613" y="361"/>
                </a:lnTo>
                <a:lnTo>
                  <a:pt x="593" y="355"/>
                </a:lnTo>
                <a:lnTo>
                  <a:pt x="576" y="351"/>
                </a:lnTo>
                <a:lnTo>
                  <a:pt x="561" y="351"/>
                </a:lnTo>
                <a:lnTo>
                  <a:pt x="549" y="354"/>
                </a:lnTo>
                <a:lnTo>
                  <a:pt x="547" y="355"/>
                </a:lnTo>
                <a:lnTo>
                  <a:pt x="546" y="356"/>
                </a:lnTo>
                <a:lnTo>
                  <a:pt x="543" y="360"/>
                </a:lnTo>
                <a:lnTo>
                  <a:pt x="539" y="362"/>
                </a:lnTo>
                <a:lnTo>
                  <a:pt x="532" y="364"/>
                </a:lnTo>
                <a:lnTo>
                  <a:pt x="525" y="365"/>
                </a:lnTo>
                <a:lnTo>
                  <a:pt x="516" y="365"/>
                </a:lnTo>
                <a:lnTo>
                  <a:pt x="506" y="363"/>
                </a:lnTo>
                <a:close/>
              </a:path>
            </a:pathLst>
          </a:custGeom>
          <a:solidFill>
            <a:schemeClr val="accent3"/>
          </a:solidFill>
          <a:ln w="12700">
            <a:solidFill>
              <a:schemeClr val="bg1"/>
            </a:solidFill>
            <a:round/>
            <a:headEnd/>
            <a:tailEnd/>
          </a:ln>
        </p:spPr>
        <p:txBody>
          <a:bodyPr/>
          <a:lstStyle/>
          <a:p>
            <a:pPr>
              <a:defRPr/>
            </a:pPr>
            <a:endParaRPr lang="nl-NL"/>
          </a:p>
        </p:txBody>
      </p:sp>
      <p:sp>
        <p:nvSpPr>
          <p:cNvPr id="6" name="Freeform 94"/>
          <p:cNvSpPr>
            <a:spLocks/>
          </p:cNvSpPr>
          <p:nvPr/>
        </p:nvSpPr>
        <p:spPr bwMode="auto">
          <a:xfrm>
            <a:off x="5526088" y="1827213"/>
            <a:ext cx="3233737" cy="3203575"/>
          </a:xfrm>
          <a:custGeom>
            <a:avLst/>
            <a:gdLst>
              <a:gd name="T0" fmla="*/ 1708 w 2207"/>
              <a:gd name="T1" fmla="*/ 140 h 2017"/>
              <a:gd name="T2" fmla="*/ 1222 w 2207"/>
              <a:gd name="T3" fmla="*/ 118 h 2017"/>
              <a:gd name="T4" fmla="*/ 1114 w 2207"/>
              <a:gd name="T5" fmla="*/ 184 h 2017"/>
              <a:gd name="T6" fmla="*/ 1005 w 2207"/>
              <a:gd name="T7" fmla="*/ 163 h 2017"/>
              <a:gd name="T8" fmla="*/ 928 w 2207"/>
              <a:gd name="T9" fmla="*/ 46 h 2017"/>
              <a:gd name="T10" fmla="*/ 943 w 2207"/>
              <a:gd name="T11" fmla="*/ 16 h 2017"/>
              <a:gd name="T12" fmla="*/ 804 w 2207"/>
              <a:gd name="T13" fmla="*/ 2 h 2017"/>
              <a:gd name="T14" fmla="*/ 643 w 2207"/>
              <a:gd name="T15" fmla="*/ 63 h 2017"/>
              <a:gd name="T16" fmla="*/ 524 w 2207"/>
              <a:gd name="T17" fmla="*/ 116 h 2017"/>
              <a:gd name="T18" fmla="*/ 402 w 2207"/>
              <a:gd name="T19" fmla="*/ 185 h 2017"/>
              <a:gd name="T20" fmla="*/ 225 w 2207"/>
              <a:gd name="T21" fmla="*/ 230 h 2017"/>
              <a:gd name="T22" fmla="*/ 110 w 2207"/>
              <a:gd name="T23" fmla="*/ 276 h 2017"/>
              <a:gd name="T24" fmla="*/ 52 w 2207"/>
              <a:gd name="T25" fmla="*/ 272 h 2017"/>
              <a:gd name="T26" fmla="*/ 69 w 2207"/>
              <a:gd name="T27" fmla="*/ 471 h 2017"/>
              <a:gd name="T28" fmla="*/ 0 w 2207"/>
              <a:gd name="T29" fmla="*/ 639 h 2017"/>
              <a:gd name="T30" fmla="*/ 64 w 2207"/>
              <a:gd name="T31" fmla="*/ 726 h 2017"/>
              <a:gd name="T32" fmla="*/ 99 w 2207"/>
              <a:gd name="T33" fmla="*/ 871 h 2017"/>
              <a:gd name="T34" fmla="*/ 94 w 2207"/>
              <a:gd name="T35" fmla="*/ 1050 h 2017"/>
              <a:gd name="T36" fmla="*/ 125 w 2207"/>
              <a:gd name="T37" fmla="*/ 1147 h 2017"/>
              <a:gd name="T38" fmla="*/ 133 w 2207"/>
              <a:gd name="T39" fmla="*/ 1294 h 2017"/>
              <a:gd name="T40" fmla="*/ 210 w 2207"/>
              <a:gd name="T41" fmla="*/ 1342 h 2017"/>
              <a:gd name="T42" fmla="*/ 261 w 2207"/>
              <a:gd name="T43" fmla="*/ 1407 h 2017"/>
              <a:gd name="T44" fmla="*/ 360 w 2207"/>
              <a:gd name="T45" fmla="*/ 1463 h 2017"/>
              <a:gd name="T46" fmla="*/ 451 w 2207"/>
              <a:gd name="T47" fmla="*/ 1467 h 2017"/>
              <a:gd name="T48" fmla="*/ 405 w 2207"/>
              <a:gd name="T49" fmla="*/ 1533 h 2017"/>
              <a:gd name="T50" fmla="*/ 471 w 2207"/>
              <a:gd name="T51" fmla="*/ 1595 h 2017"/>
              <a:gd name="T52" fmla="*/ 560 w 2207"/>
              <a:gd name="T53" fmla="*/ 1646 h 2017"/>
              <a:gd name="T54" fmla="*/ 624 w 2207"/>
              <a:gd name="T55" fmla="*/ 1592 h 2017"/>
              <a:gd name="T56" fmla="*/ 627 w 2207"/>
              <a:gd name="T57" fmla="*/ 1552 h 2017"/>
              <a:gd name="T58" fmla="*/ 714 w 2207"/>
              <a:gd name="T59" fmla="*/ 1608 h 2017"/>
              <a:gd name="T60" fmla="*/ 748 w 2207"/>
              <a:gd name="T61" fmla="*/ 1668 h 2017"/>
              <a:gd name="T62" fmla="*/ 804 w 2207"/>
              <a:gd name="T63" fmla="*/ 1714 h 2017"/>
              <a:gd name="T64" fmla="*/ 861 w 2207"/>
              <a:gd name="T65" fmla="*/ 1705 h 2017"/>
              <a:gd name="T66" fmla="*/ 934 w 2207"/>
              <a:gd name="T67" fmla="*/ 1753 h 2017"/>
              <a:gd name="T68" fmla="*/ 986 w 2207"/>
              <a:gd name="T69" fmla="*/ 1823 h 2017"/>
              <a:gd name="T70" fmla="*/ 1085 w 2207"/>
              <a:gd name="T71" fmla="*/ 1904 h 2017"/>
              <a:gd name="T72" fmla="*/ 1154 w 2207"/>
              <a:gd name="T73" fmla="*/ 1846 h 2017"/>
              <a:gd name="T74" fmla="*/ 1213 w 2207"/>
              <a:gd name="T75" fmla="*/ 1945 h 2017"/>
              <a:gd name="T76" fmla="*/ 1267 w 2207"/>
              <a:gd name="T77" fmla="*/ 1974 h 2017"/>
              <a:gd name="T78" fmla="*/ 1323 w 2207"/>
              <a:gd name="T79" fmla="*/ 1942 h 2017"/>
              <a:gd name="T80" fmla="*/ 1409 w 2207"/>
              <a:gd name="T81" fmla="*/ 1912 h 2017"/>
              <a:gd name="T82" fmla="*/ 1480 w 2207"/>
              <a:gd name="T83" fmla="*/ 1938 h 2017"/>
              <a:gd name="T84" fmla="*/ 1618 w 2207"/>
              <a:gd name="T85" fmla="*/ 1890 h 2017"/>
              <a:gd name="T86" fmla="*/ 1742 w 2207"/>
              <a:gd name="T87" fmla="*/ 1965 h 2017"/>
              <a:gd name="T88" fmla="*/ 1902 w 2207"/>
              <a:gd name="T89" fmla="*/ 2015 h 2017"/>
              <a:gd name="T90" fmla="*/ 1927 w 2207"/>
              <a:gd name="T91" fmla="*/ 1950 h 2017"/>
              <a:gd name="T92" fmla="*/ 1931 w 2207"/>
              <a:gd name="T93" fmla="*/ 1783 h 2017"/>
              <a:gd name="T94" fmla="*/ 2030 w 2207"/>
              <a:gd name="T95" fmla="*/ 1636 h 2017"/>
              <a:gd name="T96" fmla="*/ 2133 w 2207"/>
              <a:gd name="T97" fmla="*/ 1525 h 2017"/>
              <a:gd name="T98" fmla="*/ 2207 w 2207"/>
              <a:gd name="T99" fmla="*/ 1456 h 2017"/>
              <a:gd name="T100" fmla="*/ 2198 w 2207"/>
              <a:gd name="T101" fmla="*/ 1357 h 2017"/>
              <a:gd name="T102" fmla="*/ 2113 w 2207"/>
              <a:gd name="T103" fmla="*/ 1249 h 2017"/>
              <a:gd name="T104" fmla="*/ 2076 w 2207"/>
              <a:gd name="T105" fmla="*/ 1132 h 2017"/>
              <a:gd name="T106" fmla="*/ 2069 w 2207"/>
              <a:gd name="T107" fmla="*/ 958 h 2017"/>
              <a:gd name="T108" fmla="*/ 1966 w 2207"/>
              <a:gd name="T109" fmla="*/ 857 h 2017"/>
              <a:gd name="T110" fmla="*/ 2035 w 2207"/>
              <a:gd name="T111" fmla="*/ 749 h 2017"/>
              <a:gd name="T112" fmla="*/ 2103 w 2207"/>
              <a:gd name="T113" fmla="*/ 700 h 2017"/>
              <a:gd name="T114" fmla="*/ 2086 w 2207"/>
              <a:gd name="T115" fmla="*/ 531 h 2017"/>
              <a:gd name="T116" fmla="*/ 2024 w 2207"/>
              <a:gd name="T117" fmla="*/ 408 h 2017"/>
              <a:gd name="T118" fmla="*/ 1990 w 2207"/>
              <a:gd name="T119" fmla="*/ 251 h 201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207"/>
              <a:gd name="T181" fmla="*/ 0 h 2017"/>
              <a:gd name="T182" fmla="*/ 2207 w 2207"/>
              <a:gd name="T183" fmla="*/ 2017 h 201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207" h="2017">
                <a:moveTo>
                  <a:pt x="1840" y="104"/>
                </a:moveTo>
                <a:lnTo>
                  <a:pt x="1839" y="106"/>
                </a:lnTo>
                <a:lnTo>
                  <a:pt x="1833" y="108"/>
                </a:lnTo>
                <a:lnTo>
                  <a:pt x="1824" y="112"/>
                </a:lnTo>
                <a:lnTo>
                  <a:pt x="1810" y="118"/>
                </a:lnTo>
                <a:lnTo>
                  <a:pt x="1792" y="123"/>
                </a:lnTo>
                <a:lnTo>
                  <a:pt x="1769" y="129"/>
                </a:lnTo>
                <a:lnTo>
                  <a:pt x="1742" y="135"/>
                </a:lnTo>
                <a:lnTo>
                  <a:pt x="1708" y="140"/>
                </a:lnTo>
                <a:lnTo>
                  <a:pt x="1670" y="145"/>
                </a:lnTo>
                <a:lnTo>
                  <a:pt x="1626" y="148"/>
                </a:lnTo>
                <a:lnTo>
                  <a:pt x="1575" y="149"/>
                </a:lnTo>
                <a:lnTo>
                  <a:pt x="1519" y="148"/>
                </a:lnTo>
                <a:lnTo>
                  <a:pt x="1456" y="145"/>
                </a:lnTo>
                <a:lnTo>
                  <a:pt x="1386" y="139"/>
                </a:lnTo>
                <a:lnTo>
                  <a:pt x="1309" y="129"/>
                </a:lnTo>
                <a:lnTo>
                  <a:pt x="1225" y="116"/>
                </a:lnTo>
                <a:lnTo>
                  <a:pt x="1222" y="118"/>
                </a:lnTo>
                <a:lnTo>
                  <a:pt x="1216" y="125"/>
                </a:lnTo>
                <a:lnTo>
                  <a:pt x="1206" y="137"/>
                </a:lnTo>
                <a:lnTo>
                  <a:pt x="1195" y="148"/>
                </a:lnTo>
                <a:lnTo>
                  <a:pt x="1180" y="162"/>
                </a:lnTo>
                <a:lnTo>
                  <a:pt x="1167" y="173"/>
                </a:lnTo>
                <a:lnTo>
                  <a:pt x="1152" y="180"/>
                </a:lnTo>
                <a:lnTo>
                  <a:pt x="1138" y="185"/>
                </a:lnTo>
                <a:lnTo>
                  <a:pt x="1126" y="185"/>
                </a:lnTo>
                <a:lnTo>
                  <a:pt x="1114" y="184"/>
                </a:lnTo>
                <a:lnTo>
                  <a:pt x="1104" y="179"/>
                </a:lnTo>
                <a:lnTo>
                  <a:pt x="1096" y="174"/>
                </a:lnTo>
                <a:lnTo>
                  <a:pt x="1086" y="170"/>
                </a:lnTo>
                <a:lnTo>
                  <a:pt x="1076" y="167"/>
                </a:lnTo>
                <a:lnTo>
                  <a:pt x="1063" y="165"/>
                </a:lnTo>
                <a:lnTo>
                  <a:pt x="1050" y="168"/>
                </a:lnTo>
                <a:lnTo>
                  <a:pt x="1035" y="170"/>
                </a:lnTo>
                <a:lnTo>
                  <a:pt x="1020" y="168"/>
                </a:lnTo>
                <a:lnTo>
                  <a:pt x="1005" y="163"/>
                </a:lnTo>
                <a:lnTo>
                  <a:pt x="991" y="155"/>
                </a:lnTo>
                <a:lnTo>
                  <a:pt x="979" y="145"/>
                </a:lnTo>
                <a:lnTo>
                  <a:pt x="969" y="135"/>
                </a:lnTo>
                <a:lnTo>
                  <a:pt x="961" y="125"/>
                </a:lnTo>
                <a:lnTo>
                  <a:pt x="958" y="116"/>
                </a:lnTo>
                <a:lnTo>
                  <a:pt x="954" y="96"/>
                </a:lnTo>
                <a:lnTo>
                  <a:pt x="949" y="75"/>
                </a:lnTo>
                <a:lnTo>
                  <a:pt x="942" y="56"/>
                </a:lnTo>
                <a:lnTo>
                  <a:pt x="928" y="46"/>
                </a:lnTo>
                <a:lnTo>
                  <a:pt x="922" y="43"/>
                </a:lnTo>
                <a:lnTo>
                  <a:pt x="922" y="39"/>
                </a:lnTo>
                <a:lnTo>
                  <a:pt x="924" y="35"/>
                </a:lnTo>
                <a:lnTo>
                  <a:pt x="928" y="30"/>
                </a:lnTo>
                <a:lnTo>
                  <a:pt x="934" y="25"/>
                </a:lnTo>
                <a:lnTo>
                  <a:pt x="939" y="21"/>
                </a:lnTo>
                <a:lnTo>
                  <a:pt x="944" y="19"/>
                </a:lnTo>
                <a:lnTo>
                  <a:pt x="945" y="17"/>
                </a:lnTo>
                <a:lnTo>
                  <a:pt x="943" y="16"/>
                </a:lnTo>
                <a:lnTo>
                  <a:pt x="938" y="15"/>
                </a:lnTo>
                <a:lnTo>
                  <a:pt x="928" y="12"/>
                </a:lnTo>
                <a:lnTo>
                  <a:pt x="916" y="9"/>
                </a:lnTo>
                <a:lnTo>
                  <a:pt x="902" y="5"/>
                </a:lnTo>
                <a:lnTo>
                  <a:pt x="884" y="2"/>
                </a:lnTo>
                <a:lnTo>
                  <a:pt x="867" y="1"/>
                </a:lnTo>
                <a:lnTo>
                  <a:pt x="848" y="0"/>
                </a:lnTo>
                <a:lnTo>
                  <a:pt x="827" y="1"/>
                </a:lnTo>
                <a:lnTo>
                  <a:pt x="804" y="2"/>
                </a:lnTo>
                <a:lnTo>
                  <a:pt x="778" y="6"/>
                </a:lnTo>
                <a:lnTo>
                  <a:pt x="753" y="11"/>
                </a:lnTo>
                <a:lnTo>
                  <a:pt x="728" y="17"/>
                </a:lnTo>
                <a:lnTo>
                  <a:pt x="707" y="24"/>
                </a:lnTo>
                <a:lnTo>
                  <a:pt x="688" y="31"/>
                </a:lnTo>
                <a:lnTo>
                  <a:pt x="674" y="40"/>
                </a:lnTo>
                <a:lnTo>
                  <a:pt x="663" y="48"/>
                </a:lnTo>
                <a:lnTo>
                  <a:pt x="653" y="56"/>
                </a:lnTo>
                <a:lnTo>
                  <a:pt x="643" y="63"/>
                </a:lnTo>
                <a:lnTo>
                  <a:pt x="633" y="70"/>
                </a:lnTo>
                <a:lnTo>
                  <a:pt x="621" y="75"/>
                </a:lnTo>
                <a:lnTo>
                  <a:pt x="609" y="78"/>
                </a:lnTo>
                <a:lnTo>
                  <a:pt x="594" y="80"/>
                </a:lnTo>
                <a:lnTo>
                  <a:pt x="575" y="81"/>
                </a:lnTo>
                <a:lnTo>
                  <a:pt x="558" y="83"/>
                </a:lnTo>
                <a:lnTo>
                  <a:pt x="544" y="91"/>
                </a:lnTo>
                <a:lnTo>
                  <a:pt x="533" y="102"/>
                </a:lnTo>
                <a:lnTo>
                  <a:pt x="524" y="116"/>
                </a:lnTo>
                <a:lnTo>
                  <a:pt x="515" y="129"/>
                </a:lnTo>
                <a:lnTo>
                  <a:pt x="509" y="143"/>
                </a:lnTo>
                <a:lnTo>
                  <a:pt x="502" y="154"/>
                </a:lnTo>
                <a:lnTo>
                  <a:pt x="494" y="163"/>
                </a:lnTo>
                <a:lnTo>
                  <a:pt x="483" y="169"/>
                </a:lnTo>
                <a:lnTo>
                  <a:pt x="467" y="173"/>
                </a:lnTo>
                <a:lnTo>
                  <a:pt x="447" y="178"/>
                </a:lnTo>
                <a:lnTo>
                  <a:pt x="425" y="180"/>
                </a:lnTo>
                <a:lnTo>
                  <a:pt x="402" y="185"/>
                </a:lnTo>
                <a:lnTo>
                  <a:pt x="380" y="189"/>
                </a:lnTo>
                <a:lnTo>
                  <a:pt x="360" y="195"/>
                </a:lnTo>
                <a:lnTo>
                  <a:pt x="343" y="203"/>
                </a:lnTo>
                <a:lnTo>
                  <a:pt x="327" y="210"/>
                </a:lnTo>
                <a:lnTo>
                  <a:pt x="308" y="215"/>
                </a:lnTo>
                <a:lnTo>
                  <a:pt x="287" y="220"/>
                </a:lnTo>
                <a:lnTo>
                  <a:pt x="267" y="222"/>
                </a:lnTo>
                <a:lnTo>
                  <a:pt x="245" y="226"/>
                </a:lnTo>
                <a:lnTo>
                  <a:pt x="225" y="230"/>
                </a:lnTo>
                <a:lnTo>
                  <a:pt x="205" y="236"/>
                </a:lnTo>
                <a:lnTo>
                  <a:pt x="186" y="244"/>
                </a:lnTo>
                <a:lnTo>
                  <a:pt x="170" y="251"/>
                </a:lnTo>
                <a:lnTo>
                  <a:pt x="156" y="258"/>
                </a:lnTo>
                <a:lnTo>
                  <a:pt x="144" y="263"/>
                </a:lnTo>
                <a:lnTo>
                  <a:pt x="134" y="267"/>
                </a:lnTo>
                <a:lnTo>
                  <a:pt x="125" y="271"/>
                </a:lnTo>
                <a:lnTo>
                  <a:pt x="118" y="273"/>
                </a:lnTo>
                <a:lnTo>
                  <a:pt x="110" y="276"/>
                </a:lnTo>
                <a:lnTo>
                  <a:pt x="104" y="278"/>
                </a:lnTo>
                <a:lnTo>
                  <a:pt x="97" y="280"/>
                </a:lnTo>
                <a:lnTo>
                  <a:pt x="89" y="280"/>
                </a:lnTo>
                <a:lnTo>
                  <a:pt x="80" y="280"/>
                </a:lnTo>
                <a:lnTo>
                  <a:pt x="72" y="277"/>
                </a:lnTo>
                <a:lnTo>
                  <a:pt x="64" y="276"/>
                </a:lnTo>
                <a:lnTo>
                  <a:pt x="58" y="273"/>
                </a:lnTo>
                <a:lnTo>
                  <a:pt x="53" y="272"/>
                </a:lnTo>
                <a:lnTo>
                  <a:pt x="52" y="272"/>
                </a:lnTo>
                <a:lnTo>
                  <a:pt x="53" y="283"/>
                </a:lnTo>
                <a:lnTo>
                  <a:pt x="54" y="309"/>
                </a:lnTo>
                <a:lnTo>
                  <a:pt x="54" y="339"/>
                </a:lnTo>
                <a:lnTo>
                  <a:pt x="52" y="360"/>
                </a:lnTo>
                <a:lnTo>
                  <a:pt x="51" y="379"/>
                </a:lnTo>
                <a:lnTo>
                  <a:pt x="54" y="406"/>
                </a:lnTo>
                <a:lnTo>
                  <a:pt x="59" y="432"/>
                </a:lnTo>
                <a:lnTo>
                  <a:pt x="64" y="452"/>
                </a:lnTo>
                <a:lnTo>
                  <a:pt x="69" y="471"/>
                </a:lnTo>
                <a:lnTo>
                  <a:pt x="74" y="496"/>
                </a:lnTo>
                <a:lnTo>
                  <a:pt x="72" y="527"/>
                </a:lnTo>
                <a:lnTo>
                  <a:pt x="58" y="558"/>
                </a:lnTo>
                <a:lnTo>
                  <a:pt x="47" y="573"/>
                </a:lnTo>
                <a:lnTo>
                  <a:pt x="35" y="586"/>
                </a:lnTo>
                <a:lnTo>
                  <a:pt x="23" y="600"/>
                </a:lnTo>
                <a:lnTo>
                  <a:pt x="12" y="614"/>
                </a:lnTo>
                <a:lnTo>
                  <a:pt x="5" y="626"/>
                </a:lnTo>
                <a:lnTo>
                  <a:pt x="0" y="639"/>
                </a:lnTo>
                <a:lnTo>
                  <a:pt x="0" y="651"/>
                </a:lnTo>
                <a:lnTo>
                  <a:pt x="6" y="662"/>
                </a:lnTo>
                <a:lnTo>
                  <a:pt x="15" y="672"/>
                </a:lnTo>
                <a:lnTo>
                  <a:pt x="25" y="682"/>
                </a:lnTo>
                <a:lnTo>
                  <a:pt x="33" y="692"/>
                </a:lnTo>
                <a:lnTo>
                  <a:pt x="42" y="701"/>
                </a:lnTo>
                <a:lnTo>
                  <a:pt x="51" y="710"/>
                </a:lnTo>
                <a:lnTo>
                  <a:pt x="58" y="718"/>
                </a:lnTo>
                <a:lnTo>
                  <a:pt x="64" y="726"/>
                </a:lnTo>
                <a:lnTo>
                  <a:pt x="69" y="732"/>
                </a:lnTo>
                <a:lnTo>
                  <a:pt x="79" y="744"/>
                </a:lnTo>
                <a:lnTo>
                  <a:pt x="88" y="758"/>
                </a:lnTo>
                <a:lnTo>
                  <a:pt x="94" y="770"/>
                </a:lnTo>
                <a:lnTo>
                  <a:pt x="93" y="784"/>
                </a:lnTo>
                <a:lnTo>
                  <a:pt x="87" y="801"/>
                </a:lnTo>
                <a:lnTo>
                  <a:pt x="83" y="825"/>
                </a:lnTo>
                <a:lnTo>
                  <a:pt x="84" y="850"/>
                </a:lnTo>
                <a:lnTo>
                  <a:pt x="99" y="871"/>
                </a:lnTo>
                <a:lnTo>
                  <a:pt x="112" y="887"/>
                </a:lnTo>
                <a:lnTo>
                  <a:pt x="113" y="901"/>
                </a:lnTo>
                <a:lnTo>
                  <a:pt x="110" y="916"/>
                </a:lnTo>
                <a:lnTo>
                  <a:pt x="110" y="934"/>
                </a:lnTo>
                <a:lnTo>
                  <a:pt x="109" y="956"/>
                </a:lnTo>
                <a:lnTo>
                  <a:pt x="99" y="977"/>
                </a:lnTo>
                <a:lnTo>
                  <a:pt x="89" y="1000"/>
                </a:lnTo>
                <a:lnTo>
                  <a:pt x="87" y="1028"/>
                </a:lnTo>
                <a:lnTo>
                  <a:pt x="94" y="1050"/>
                </a:lnTo>
                <a:lnTo>
                  <a:pt x="103" y="1064"/>
                </a:lnTo>
                <a:lnTo>
                  <a:pt x="108" y="1075"/>
                </a:lnTo>
                <a:lnTo>
                  <a:pt x="104" y="1091"/>
                </a:lnTo>
                <a:lnTo>
                  <a:pt x="102" y="1101"/>
                </a:lnTo>
                <a:lnTo>
                  <a:pt x="102" y="1111"/>
                </a:lnTo>
                <a:lnTo>
                  <a:pt x="104" y="1121"/>
                </a:lnTo>
                <a:lnTo>
                  <a:pt x="110" y="1129"/>
                </a:lnTo>
                <a:lnTo>
                  <a:pt x="117" y="1138"/>
                </a:lnTo>
                <a:lnTo>
                  <a:pt x="125" y="1147"/>
                </a:lnTo>
                <a:lnTo>
                  <a:pt x="135" y="1154"/>
                </a:lnTo>
                <a:lnTo>
                  <a:pt x="145" y="1161"/>
                </a:lnTo>
                <a:lnTo>
                  <a:pt x="156" y="1213"/>
                </a:lnTo>
                <a:lnTo>
                  <a:pt x="159" y="1219"/>
                </a:lnTo>
                <a:lnTo>
                  <a:pt x="162" y="1236"/>
                </a:lnTo>
                <a:lnTo>
                  <a:pt x="160" y="1256"/>
                </a:lnTo>
                <a:lnTo>
                  <a:pt x="145" y="1276"/>
                </a:lnTo>
                <a:lnTo>
                  <a:pt x="136" y="1285"/>
                </a:lnTo>
                <a:lnTo>
                  <a:pt x="133" y="1294"/>
                </a:lnTo>
                <a:lnTo>
                  <a:pt x="133" y="1302"/>
                </a:lnTo>
                <a:lnTo>
                  <a:pt x="136" y="1310"/>
                </a:lnTo>
                <a:lnTo>
                  <a:pt x="144" y="1316"/>
                </a:lnTo>
                <a:lnTo>
                  <a:pt x="153" y="1321"/>
                </a:lnTo>
                <a:lnTo>
                  <a:pt x="165" y="1326"/>
                </a:lnTo>
                <a:lnTo>
                  <a:pt x="180" y="1328"/>
                </a:lnTo>
                <a:lnTo>
                  <a:pt x="194" y="1332"/>
                </a:lnTo>
                <a:lnTo>
                  <a:pt x="202" y="1336"/>
                </a:lnTo>
                <a:lnTo>
                  <a:pt x="210" y="1342"/>
                </a:lnTo>
                <a:lnTo>
                  <a:pt x="215" y="1348"/>
                </a:lnTo>
                <a:lnTo>
                  <a:pt x="217" y="1356"/>
                </a:lnTo>
                <a:lnTo>
                  <a:pt x="220" y="1364"/>
                </a:lnTo>
                <a:lnTo>
                  <a:pt x="223" y="1372"/>
                </a:lnTo>
                <a:lnTo>
                  <a:pt x="227" y="1380"/>
                </a:lnTo>
                <a:lnTo>
                  <a:pt x="232" y="1389"/>
                </a:lnTo>
                <a:lnTo>
                  <a:pt x="241" y="1395"/>
                </a:lnTo>
                <a:lnTo>
                  <a:pt x="249" y="1402"/>
                </a:lnTo>
                <a:lnTo>
                  <a:pt x="261" y="1407"/>
                </a:lnTo>
                <a:lnTo>
                  <a:pt x="273" y="1412"/>
                </a:lnTo>
                <a:lnTo>
                  <a:pt x="284" y="1417"/>
                </a:lnTo>
                <a:lnTo>
                  <a:pt x="297" y="1422"/>
                </a:lnTo>
                <a:lnTo>
                  <a:pt x="308" y="1428"/>
                </a:lnTo>
                <a:lnTo>
                  <a:pt x="318" y="1435"/>
                </a:lnTo>
                <a:lnTo>
                  <a:pt x="329" y="1443"/>
                </a:lnTo>
                <a:lnTo>
                  <a:pt x="339" y="1450"/>
                </a:lnTo>
                <a:lnTo>
                  <a:pt x="349" y="1456"/>
                </a:lnTo>
                <a:lnTo>
                  <a:pt x="360" y="1463"/>
                </a:lnTo>
                <a:lnTo>
                  <a:pt x="370" y="1466"/>
                </a:lnTo>
                <a:lnTo>
                  <a:pt x="382" y="1469"/>
                </a:lnTo>
                <a:lnTo>
                  <a:pt x="395" y="1467"/>
                </a:lnTo>
                <a:lnTo>
                  <a:pt x="407" y="1465"/>
                </a:lnTo>
                <a:lnTo>
                  <a:pt x="420" y="1463"/>
                </a:lnTo>
                <a:lnTo>
                  <a:pt x="431" y="1460"/>
                </a:lnTo>
                <a:lnTo>
                  <a:pt x="441" y="1460"/>
                </a:lnTo>
                <a:lnTo>
                  <a:pt x="447" y="1463"/>
                </a:lnTo>
                <a:lnTo>
                  <a:pt x="451" y="1467"/>
                </a:lnTo>
                <a:lnTo>
                  <a:pt x="451" y="1476"/>
                </a:lnTo>
                <a:lnTo>
                  <a:pt x="447" y="1491"/>
                </a:lnTo>
                <a:lnTo>
                  <a:pt x="445" y="1492"/>
                </a:lnTo>
                <a:lnTo>
                  <a:pt x="440" y="1495"/>
                </a:lnTo>
                <a:lnTo>
                  <a:pt x="431" y="1500"/>
                </a:lnTo>
                <a:lnTo>
                  <a:pt x="422" y="1506"/>
                </a:lnTo>
                <a:lnTo>
                  <a:pt x="414" y="1515"/>
                </a:lnTo>
                <a:lnTo>
                  <a:pt x="407" y="1523"/>
                </a:lnTo>
                <a:lnTo>
                  <a:pt x="405" y="1533"/>
                </a:lnTo>
                <a:lnTo>
                  <a:pt x="406" y="1543"/>
                </a:lnTo>
                <a:lnTo>
                  <a:pt x="412" y="1553"/>
                </a:lnTo>
                <a:lnTo>
                  <a:pt x="420" y="1559"/>
                </a:lnTo>
                <a:lnTo>
                  <a:pt x="428" y="1563"/>
                </a:lnTo>
                <a:lnTo>
                  <a:pt x="438" y="1567"/>
                </a:lnTo>
                <a:lnTo>
                  <a:pt x="448" y="1572"/>
                </a:lnTo>
                <a:lnTo>
                  <a:pt x="457" y="1577"/>
                </a:lnTo>
                <a:lnTo>
                  <a:pt x="466" y="1584"/>
                </a:lnTo>
                <a:lnTo>
                  <a:pt x="471" y="1595"/>
                </a:lnTo>
                <a:lnTo>
                  <a:pt x="477" y="1609"/>
                </a:lnTo>
                <a:lnTo>
                  <a:pt x="486" y="1623"/>
                </a:lnTo>
                <a:lnTo>
                  <a:pt x="497" y="1635"/>
                </a:lnTo>
                <a:lnTo>
                  <a:pt x="509" y="1648"/>
                </a:lnTo>
                <a:lnTo>
                  <a:pt x="522" y="1656"/>
                </a:lnTo>
                <a:lnTo>
                  <a:pt x="533" y="1663"/>
                </a:lnTo>
                <a:lnTo>
                  <a:pt x="544" y="1664"/>
                </a:lnTo>
                <a:lnTo>
                  <a:pt x="551" y="1660"/>
                </a:lnTo>
                <a:lnTo>
                  <a:pt x="560" y="1646"/>
                </a:lnTo>
                <a:lnTo>
                  <a:pt x="565" y="1633"/>
                </a:lnTo>
                <a:lnTo>
                  <a:pt x="571" y="1623"/>
                </a:lnTo>
                <a:lnTo>
                  <a:pt x="586" y="1619"/>
                </a:lnTo>
                <a:lnTo>
                  <a:pt x="596" y="1618"/>
                </a:lnTo>
                <a:lnTo>
                  <a:pt x="606" y="1615"/>
                </a:lnTo>
                <a:lnTo>
                  <a:pt x="614" y="1610"/>
                </a:lnTo>
                <a:lnTo>
                  <a:pt x="619" y="1605"/>
                </a:lnTo>
                <a:lnTo>
                  <a:pt x="622" y="1599"/>
                </a:lnTo>
                <a:lnTo>
                  <a:pt x="624" y="1592"/>
                </a:lnTo>
                <a:lnTo>
                  <a:pt x="621" y="1584"/>
                </a:lnTo>
                <a:lnTo>
                  <a:pt x="616" y="1578"/>
                </a:lnTo>
                <a:lnTo>
                  <a:pt x="611" y="1571"/>
                </a:lnTo>
                <a:lnTo>
                  <a:pt x="607" y="1564"/>
                </a:lnTo>
                <a:lnTo>
                  <a:pt x="606" y="1557"/>
                </a:lnTo>
                <a:lnTo>
                  <a:pt x="607" y="1552"/>
                </a:lnTo>
                <a:lnTo>
                  <a:pt x="611" y="1549"/>
                </a:lnTo>
                <a:lnTo>
                  <a:pt x="617" y="1549"/>
                </a:lnTo>
                <a:lnTo>
                  <a:pt x="627" y="1552"/>
                </a:lnTo>
                <a:lnTo>
                  <a:pt x="638" y="1561"/>
                </a:lnTo>
                <a:lnTo>
                  <a:pt x="651" y="1571"/>
                </a:lnTo>
                <a:lnTo>
                  <a:pt x="662" y="1579"/>
                </a:lnTo>
                <a:lnTo>
                  <a:pt x="671" y="1587"/>
                </a:lnTo>
                <a:lnTo>
                  <a:pt x="679" y="1593"/>
                </a:lnTo>
                <a:lnTo>
                  <a:pt x="687" y="1598"/>
                </a:lnTo>
                <a:lnTo>
                  <a:pt x="696" y="1602"/>
                </a:lnTo>
                <a:lnTo>
                  <a:pt x="704" y="1605"/>
                </a:lnTo>
                <a:lnTo>
                  <a:pt x="714" y="1608"/>
                </a:lnTo>
                <a:lnTo>
                  <a:pt x="729" y="1612"/>
                </a:lnTo>
                <a:lnTo>
                  <a:pt x="730" y="1618"/>
                </a:lnTo>
                <a:lnTo>
                  <a:pt x="727" y="1625"/>
                </a:lnTo>
                <a:lnTo>
                  <a:pt x="720" y="1636"/>
                </a:lnTo>
                <a:lnTo>
                  <a:pt x="720" y="1643"/>
                </a:lnTo>
                <a:lnTo>
                  <a:pt x="724" y="1649"/>
                </a:lnTo>
                <a:lnTo>
                  <a:pt x="730" y="1655"/>
                </a:lnTo>
                <a:lnTo>
                  <a:pt x="739" y="1661"/>
                </a:lnTo>
                <a:lnTo>
                  <a:pt x="748" y="1668"/>
                </a:lnTo>
                <a:lnTo>
                  <a:pt x="756" y="1675"/>
                </a:lnTo>
                <a:lnTo>
                  <a:pt x="763" y="1685"/>
                </a:lnTo>
                <a:lnTo>
                  <a:pt x="766" y="1695"/>
                </a:lnTo>
                <a:lnTo>
                  <a:pt x="770" y="1704"/>
                </a:lnTo>
                <a:lnTo>
                  <a:pt x="775" y="1711"/>
                </a:lnTo>
                <a:lnTo>
                  <a:pt x="781" y="1715"/>
                </a:lnTo>
                <a:lnTo>
                  <a:pt x="789" y="1716"/>
                </a:lnTo>
                <a:lnTo>
                  <a:pt x="796" y="1716"/>
                </a:lnTo>
                <a:lnTo>
                  <a:pt x="804" y="1714"/>
                </a:lnTo>
                <a:lnTo>
                  <a:pt x="811" y="1710"/>
                </a:lnTo>
                <a:lnTo>
                  <a:pt x="819" y="1706"/>
                </a:lnTo>
                <a:lnTo>
                  <a:pt x="825" y="1702"/>
                </a:lnTo>
                <a:lnTo>
                  <a:pt x="831" y="1699"/>
                </a:lnTo>
                <a:lnTo>
                  <a:pt x="838" y="1697"/>
                </a:lnTo>
                <a:lnTo>
                  <a:pt x="845" y="1696"/>
                </a:lnTo>
                <a:lnTo>
                  <a:pt x="850" y="1697"/>
                </a:lnTo>
                <a:lnTo>
                  <a:pt x="856" y="1700"/>
                </a:lnTo>
                <a:lnTo>
                  <a:pt x="861" y="1705"/>
                </a:lnTo>
                <a:lnTo>
                  <a:pt x="866" y="1712"/>
                </a:lnTo>
                <a:lnTo>
                  <a:pt x="872" y="1720"/>
                </a:lnTo>
                <a:lnTo>
                  <a:pt x="879" y="1723"/>
                </a:lnTo>
                <a:lnTo>
                  <a:pt x="889" y="1725"/>
                </a:lnTo>
                <a:lnTo>
                  <a:pt x="901" y="1726"/>
                </a:lnTo>
                <a:lnTo>
                  <a:pt x="911" y="1728"/>
                </a:lnTo>
                <a:lnTo>
                  <a:pt x="920" y="1733"/>
                </a:lnTo>
                <a:lnTo>
                  <a:pt x="928" y="1741"/>
                </a:lnTo>
                <a:lnTo>
                  <a:pt x="934" y="1753"/>
                </a:lnTo>
                <a:lnTo>
                  <a:pt x="939" y="1767"/>
                </a:lnTo>
                <a:lnTo>
                  <a:pt x="944" y="1778"/>
                </a:lnTo>
                <a:lnTo>
                  <a:pt x="949" y="1788"/>
                </a:lnTo>
                <a:lnTo>
                  <a:pt x="955" y="1796"/>
                </a:lnTo>
                <a:lnTo>
                  <a:pt x="961" y="1802"/>
                </a:lnTo>
                <a:lnTo>
                  <a:pt x="968" y="1808"/>
                </a:lnTo>
                <a:lnTo>
                  <a:pt x="974" y="1813"/>
                </a:lnTo>
                <a:lnTo>
                  <a:pt x="980" y="1817"/>
                </a:lnTo>
                <a:lnTo>
                  <a:pt x="986" y="1823"/>
                </a:lnTo>
                <a:lnTo>
                  <a:pt x="993" y="1834"/>
                </a:lnTo>
                <a:lnTo>
                  <a:pt x="1000" y="1848"/>
                </a:lnTo>
                <a:lnTo>
                  <a:pt x="1007" y="1861"/>
                </a:lnTo>
                <a:lnTo>
                  <a:pt x="1016" y="1876"/>
                </a:lnTo>
                <a:lnTo>
                  <a:pt x="1027" y="1889"/>
                </a:lnTo>
                <a:lnTo>
                  <a:pt x="1040" y="1899"/>
                </a:lnTo>
                <a:lnTo>
                  <a:pt x="1056" y="1904"/>
                </a:lnTo>
                <a:lnTo>
                  <a:pt x="1072" y="1905"/>
                </a:lnTo>
                <a:lnTo>
                  <a:pt x="1085" y="1904"/>
                </a:lnTo>
                <a:lnTo>
                  <a:pt x="1096" y="1900"/>
                </a:lnTo>
                <a:lnTo>
                  <a:pt x="1104" y="1895"/>
                </a:lnTo>
                <a:lnTo>
                  <a:pt x="1111" y="1889"/>
                </a:lnTo>
                <a:lnTo>
                  <a:pt x="1117" y="1882"/>
                </a:lnTo>
                <a:lnTo>
                  <a:pt x="1122" y="1875"/>
                </a:lnTo>
                <a:lnTo>
                  <a:pt x="1126" y="1869"/>
                </a:lnTo>
                <a:lnTo>
                  <a:pt x="1135" y="1855"/>
                </a:lnTo>
                <a:lnTo>
                  <a:pt x="1145" y="1846"/>
                </a:lnTo>
                <a:lnTo>
                  <a:pt x="1154" y="1846"/>
                </a:lnTo>
                <a:lnTo>
                  <a:pt x="1160" y="1863"/>
                </a:lnTo>
                <a:lnTo>
                  <a:pt x="1164" y="1875"/>
                </a:lnTo>
                <a:lnTo>
                  <a:pt x="1171" y="1885"/>
                </a:lnTo>
                <a:lnTo>
                  <a:pt x="1181" y="1895"/>
                </a:lnTo>
                <a:lnTo>
                  <a:pt x="1191" y="1904"/>
                </a:lnTo>
                <a:lnTo>
                  <a:pt x="1200" y="1912"/>
                </a:lnTo>
                <a:lnTo>
                  <a:pt x="1208" y="1922"/>
                </a:lnTo>
                <a:lnTo>
                  <a:pt x="1213" y="1932"/>
                </a:lnTo>
                <a:lnTo>
                  <a:pt x="1213" y="1945"/>
                </a:lnTo>
                <a:lnTo>
                  <a:pt x="1213" y="1956"/>
                </a:lnTo>
                <a:lnTo>
                  <a:pt x="1215" y="1963"/>
                </a:lnTo>
                <a:lnTo>
                  <a:pt x="1221" y="1969"/>
                </a:lnTo>
                <a:lnTo>
                  <a:pt x="1227" y="1972"/>
                </a:lnTo>
                <a:lnTo>
                  <a:pt x="1236" y="1973"/>
                </a:lnTo>
                <a:lnTo>
                  <a:pt x="1245" y="1973"/>
                </a:lnTo>
                <a:lnTo>
                  <a:pt x="1252" y="1973"/>
                </a:lnTo>
                <a:lnTo>
                  <a:pt x="1260" y="1973"/>
                </a:lnTo>
                <a:lnTo>
                  <a:pt x="1267" y="1974"/>
                </a:lnTo>
                <a:lnTo>
                  <a:pt x="1275" y="1977"/>
                </a:lnTo>
                <a:lnTo>
                  <a:pt x="1282" y="1979"/>
                </a:lnTo>
                <a:lnTo>
                  <a:pt x="1290" y="1982"/>
                </a:lnTo>
                <a:lnTo>
                  <a:pt x="1296" y="1982"/>
                </a:lnTo>
                <a:lnTo>
                  <a:pt x="1301" y="1981"/>
                </a:lnTo>
                <a:lnTo>
                  <a:pt x="1304" y="1977"/>
                </a:lnTo>
                <a:lnTo>
                  <a:pt x="1306" y="1968"/>
                </a:lnTo>
                <a:lnTo>
                  <a:pt x="1311" y="1951"/>
                </a:lnTo>
                <a:lnTo>
                  <a:pt x="1323" y="1942"/>
                </a:lnTo>
                <a:lnTo>
                  <a:pt x="1336" y="1938"/>
                </a:lnTo>
                <a:lnTo>
                  <a:pt x="1340" y="1938"/>
                </a:lnTo>
                <a:lnTo>
                  <a:pt x="1342" y="1933"/>
                </a:lnTo>
                <a:lnTo>
                  <a:pt x="1347" y="1922"/>
                </a:lnTo>
                <a:lnTo>
                  <a:pt x="1358" y="1911"/>
                </a:lnTo>
                <a:lnTo>
                  <a:pt x="1375" y="1910"/>
                </a:lnTo>
                <a:lnTo>
                  <a:pt x="1386" y="1911"/>
                </a:lnTo>
                <a:lnTo>
                  <a:pt x="1398" y="1912"/>
                </a:lnTo>
                <a:lnTo>
                  <a:pt x="1409" y="1912"/>
                </a:lnTo>
                <a:lnTo>
                  <a:pt x="1420" y="1914"/>
                </a:lnTo>
                <a:lnTo>
                  <a:pt x="1429" y="1915"/>
                </a:lnTo>
                <a:lnTo>
                  <a:pt x="1436" y="1917"/>
                </a:lnTo>
                <a:lnTo>
                  <a:pt x="1441" y="1922"/>
                </a:lnTo>
                <a:lnTo>
                  <a:pt x="1445" y="1927"/>
                </a:lnTo>
                <a:lnTo>
                  <a:pt x="1450" y="1933"/>
                </a:lnTo>
                <a:lnTo>
                  <a:pt x="1457" y="1937"/>
                </a:lnTo>
                <a:lnTo>
                  <a:pt x="1467" y="1938"/>
                </a:lnTo>
                <a:lnTo>
                  <a:pt x="1480" y="1938"/>
                </a:lnTo>
                <a:lnTo>
                  <a:pt x="1493" y="1935"/>
                </a:lnTo>
                <a:lnTo>
                  <a:pt x="1507" y="1930"/>
                </a:lnTo>
                <a:lnTo>
                  <a:pt x="1521" y="1921"/>
                </a:lnTo>
                <a:lnTo>
                  <a:pt x="1532" y="1910"/>
                </a:lnTo>
                <a:lnTo>
                  <a:pt x="1544" y="1899"/>
                </a:lnTo>
                <a:lnTo>
                  <a:pt x="1560" y="1892"/>
                </a:lnTo>
                <a:lnTo>
                  <a:pt x="1579" y="1889"/>
                </a:lnTo>
                <a:lnTo>
                  <a:pt x="1598" y="1887"/>
                </a:lnTo>
                <a:lnTo>
                  <a:pt x="1618" y="1890"/>
                </a:lnTo>
                <a:lnTo>
                  <a:pt x="1637" y="1895"/>
                </a:lnTo>
                <a:lnTo>
                  <a:pt x="1656" y="1901"/>
                </a:lnTo>
                <a:lnTo>
                  <a:pt x="1672" y="1910"/>
                </a:lnTo>
                <a:lnTo>
                  <a:pt x="1686" y="1919"/>
                </a:lnTo>
                <a:lnTo>
                  <a:pt x="1698" y="1927"/>
                </a:lnTo>
                <a:lnTo>
                  <a:pt x="1708" y="1937"/>
                </a:lnTo>
                <a:lnTo>
                  <a:pt x="1719" y="1946"/>
                </a:lnTo>
                <a:lnTo>
                  <a:pt x="1729" y="1956"/>
                </a:lnTo>
                <a:lnTo>
                  <a:pt x="1742" y="1965"/>
                </a:lnTo>
                <a:lnTo>
                  <a:pt x="1754" y="1972"/>
                </a:lnTo>
                <a:lnTo>
                  <a:pt x="1770" y="1979"/>
                </a:lnTo>
                <a:lnTo>
                  <a:pt x="1785" y="1984"/>
                </a:lnTo>
                <a:lnTo>
                  <a:pt x="1804" y="1991"/>
                </a:lnTo>
                <a:lnTo>
                  <a:pt x="1824" y="1997"/>
                </a:lnTo>
                <a:lnTo>
                  <a:pt x="1844" y="2003"/>
                </a:lnTo>
                <a:lnTo>
                  <a:pt x="1865" y="2008"/>
                </a:lnTo>
                <a:lnTo>
                  <a:pt x="1885" y="2012"/>
                </a:lnTo>
                <a:lnTo>
                  <a:pt x="1902" y="2015"/>
                </a:lnTo>
                <a:lnTo>
                  <a:pt x="1918" y="2017"/>
                </a:lnTo>
                <a:lnTo>
                  <a:pt x="1925" y="2017"/>
                </a:lnTo>
                <a:lnTo>
                  <a:pt x="1931" y="2017"/>
                </a:lnTo>
                <a:lnTo>
                  <a:pt x="1936" y="2015"/>
                </a:lnTo>
                <a:lnTo>
                  <a:pt x="1939" y="2014"/>
                </a:lnTo>
                <a:lnTo>
                  <a:pt x="1948" y="2002"/>
                </a:lnTo>
                <a:lnTo>
                  <a:pt x="1947" y="1984"/>
                </a:lnTo>
                <a:lnTo>
                  <a:pt x="1937" y="1966"/>
                </a:lnTo>
                <a:lnTo>
                  <a:pt x="1927" y="1950"/>
                </a:lnTo>
                <a:lnTo>
                  <a:pt x="1918" y="1930"/>
                </a:lnTo>
                <a:lnTo>
                  <a:pt x="1912" y="1902"/>
                </a:lnTo>
                <a:lnTo>
                  <a:pt x="1907" y="1874"/>
                </a:lnTo>
                <a:lnTo>
                  <a:pt x="1905" y="1851"/>
                </a:lnTo>
                <a:lnTo>
                  <a:pt x="1906" y="1841"/>
                </a:lnTo>
                <a:lnTo>
                  <a:pt x="1910" y="1829"/>
                </a:lnTo>
                <a:lnTo>
                  <a:pt x="1915" y="1815"/>
                </a:lnTo>
                <a:lnTo>
                  <a:pt x="1922" y="1799"/>
                </a:lnTo>
                <a:lnTo>
                  <a:pt x="1931" y="1783"/>
                </a:lnTo>
                <a:lnTo>
                  <a:pt x="1941" y="1767"/>
                </a:lnTo>
                <a:lnTo>
                  <a:pt x="1951" y="1751"/>
                </a:lnTo>
                <a:lnTo>
                  <a:pt x="1962" y="1736"/>
                </a:lnTo>
                <a:lnTo>
                  <a:pt x="1973" y="1720"/>
                </a:lnTo>
                <a:lnTo>
                  <a:pt x="1984" y="1704"/>
                </a:lnTo>
                <a:lnTo>
                  <a:pt x="1995" y="1686"/>
                </a:lnTo>
                <a:lnTo>
                  <a:pt x="2007" y="1670"/>
                </a:lnTo>
                <a:lnTo>
                  <a:pt x="2018" y="1653"/>
                </a:lnTo>
                <a:lnTo>
                  <a:pt x="2030" y="1636"/>
                </a:lnTo>
                <a:lnTo>
                  <a:pt x="2043" y="1622"/>
                </a:lnTo>
                <a:lnTo>
                  <a:pt x="2055" y="1608"/>
                </a:lnTo>
                <a:lnTo>
                  <a:pt x="2067" y="1594"/>
                </a:lnTo>
                <a:lnTo>
                  <a:pt x="2080" y="1581"/>
                </a:lnTo>
                <a:lnTo>
                  <a:pt x="2092" y="1567"/>
                </a:lnTo>
                <a:lnTo>
                  <a:pt x="2103" y="1553"/>
                </a:lnTo>
                <a:lnTo>
                  <a:pt x="2113" y="1542"/>
                </a:lnTo>
                <a:lnTo>
                  <a:pt x="2123" y="1532"/>
                </a:lnTo>
                <a:lnTo>
                  <a:pt x="2133" y="1525"/>
                </a:lnTo>
                <a:lnTo>
                  <a:pt x="2142" y="1521"/>
                </a:lnTo>
                <a:lnTo>
                  <a:pt x="2152" y="1517"/>
                </a:lnTo>
                <a:lnTo>
                  <a:pt x="2163" y="1513"/>
                </a:lnTo>
                <a:lnTo>
                  <a:pt x="2174" y="1507"/>
                </a:lnTo>
                <a:lnTo>
                  <a:pt x="2185" y="1500"/>
                </a:lnTo>
                <a:lnTo>
                  <a:pt x="2194" y="1490"/>
                </a:lnTo>
                <a:lnTo>
                  <a:pt x="2202" y="1480"/>
                </a:lnTo>
                <a:lnTo>
                  <a:pt x="2207" y="1469"/>
                </a:lnTo>
                <a:lnTo>
                  <a:pt x="2207" y="1456"/>
                </a:lnTo>
                <a:lnTo>
                  <a:pt x="2199" y="1430"/>
                </a:lnTo>
                <a:lnTo>
                  <a:pt x="2187" y="1405"/>
                </a:lnTo>
                <a:lnTo>
                  <a:pt x="2177" y="1388"/>
                </a:lnTo>
                <a:lnTo>
                  <a:pt x="2172" y="1380"/>
                </a:lnTo>
                <a:lnTo>
                  <a:pt x="2174" y="1379"/>
                </a:lnTo>
                <a:lnTo>
                  <a:pt x="2179" y="1376"/>
                </a:lnTo>
                <a:lnTo>
                  <a:pt x="2187" y="1371"/>
                </a:lnTo>
                <a:lnTo>
                  <a:pt x="2193" y="1364"/>
                </a:lnTo>
                <a:lnTo>
                  <a:pt x="2198" y="1357"/>
                </a:lnTo>
                <a:lnTo>
                  <a:pt x="2199" y="1349"/>
                </a:lnTo>
                <a:lnTo>
                  <a:pt x="2194" y="1342"/>
                </a:lnTo>
                <a:lnTo>
                  <a:pt x="2183" y="1335"/>
                </a:lnTo>
                <a:lnTo>
                  <a:pt x="2168" y="1326"/>
                </a:lnTo>
                <a:lnTo>
                  <a:pt x="2154" y="1313"/>
                </a:lnTo>
                <a:lnTo>
                  <a:pt x="2142" y="1298"/>
                </a:lnTo>
                <a:lnTo>
                  <a:pt x="2132" y="1281"/>
                </a:lnTo>
                <a:lnTo>
                  <a:pt x="2122" y="1265"/>
                </a:lnTo>
                <a:lnTo>
                  <a:pt x="2113" y="1249"/>
                </a:lnTo>
                <a:lnTo>
                  <a:pt x="2107" y="1235"/>
                </a:lnTo>
                <a:lnTo>
                  <a:pt x="2102" y="1224"/>
                </a:lnTo>
                <a:lnTo>
                  <a:pt x="2094" y="1208"/>
                </a:lnTo>
                <a:lnTo>
                  <a:pt x="2086" y="1195"/>
                </a:lnTo>
                <a:lnTo>
                  <a:pt x="2084" y="1184"/>
                </a:lnTo>
                <a:lnTo>
                  <a:pt x="2085" y="1172"/>
                </a:lnTo>
                <a:lnTo>
                  <a:pt x="2086" y="1158"/>
                </a:lnTo>
                <a:lnTo>
                  <a:pt x="2082" y="1146"/>
                </a:lnTo>
                <a:lnTo>
                  <a:pt x="2076" y="1132"/>
                </a:lnTo>
                <a:lnTo>
                  <a:pt x="2067" y="1120"/>
                </a:lnTo>
                <a:lnTo>
                  <a:pt x="2060" y="1103"/>
                </a:lnTo>
                <a:lnTo>
                  <a:pt x="2055" y="1082"/>
                </a:lnTo>
                <a:lnTo>
                  <a:pt x="2056" y="1059"/>
                </a:lnTo>
                <a:lnTo>
                  <a:pt x="2061" y="1034"/>
                </a:lnTo>
                <a:lnTo>
                  <a:pt x="2065" y="1019"/>
                </a:lnTo>
                <a:lnTo>
                  <a:pt x="2067" y="1000"/>
                </a:lnTo>
                <a:lnTo>
                  <a:pt x="2069" y="979"/>
                </a:lnTo>
                <a:lnTo>
                  <a:pt x="2069" y="958"/>
                </a:lnTo>
                <a:lnTo>
                  <a:pt x="2065" y="937"/>
                </a:lnTo>
                <a:lnTo>
                  <a:pt x="2057" y="918"/>
                </a:lnTo>
                <a:lnTo>
                  <a:pt x="2046" y="905"/>
                </a:lnTo>
                <a:lnTo>
                  <a:pt x="2031" y="895"/>
                </a:lnTo>
                <a:lnTo>
                  <a:pt x="2014" y="888"/>
                </a:lnTo>
                <a:lnTo>
                  <a:pt x="1999" y="882"/>
                </a:lnTo>
                <a:lnTo>
                  <a:pt x="1985" y="875"/>
                </a:lnTo>
                <a:lnTo>
                  <a:pt x="1974" y="866"/>
                </a:lnTo>
                <a:lnTo>
                  <a:pt x="1966" y="857"/>
                </a:lnTo>
                <a:lnTo>
                  <a:pt x="1962" y="845"/>
                </a:lnTo>
                <a:lnTo>
                  <a:pt x="1962" y="830"/>
                </a:lnTo>
                <a:lnTo>
                  <a:pt x="1968" y="813"/>
                </a:lnTo>
                <a:lnTo>
                  <a:pt x="1978" y="795"/>
                </a:lnTo>
                <a:lnTo>
                  <a:pt x="1988" y="780"/>
                </a:lnTo>
                <a:lnTo>
                  <a:pt x="1999" y="769"/>
                </a:lnTo>
                <a:lnTo>
                  <a:pt x="2010" y="760"/>
                </a:lnTo>
                <a:lnTo>
                  <a:pt x="2023" y="754"/>
                </a:lnTo>
                <a:lnTo>
                  <a:pt x="2035" y="749"/>
                </a:lnTo>
                <a:lnTo>
                  <a:pt x="2049" y="746"/>
                </a:lnTo>
                <a:lnTo>
                  <a:pt x="2061" y="743"/>
                </a:lnTo>
                <a:lnTo>
                  <a:pt x="2074" y="741"/>
                </a:lnTo>
                <a:lnTo>
                  <a:pt x="2084" y="736"/>
                </a:lnTo>
                <a:lnTo>
                  <a:pt x="2091" y="731"/>
                </a:lnTo>
                <a:lnTo>
                  <a:pt x="2097" y="723"/>
                </a:lnTo>
                <a:lnTo>
                  <a:pt x="2101" y="716"/>
                </a:lnTo>
                <a:lnTo>
                  <a:pt x="2102" y="708"/>
                </a:lnTo>
                <a:lnTo>
                  <a:pt x="2103" y="700"/>
                </a:lnTo>
                <a:lnTo>
                  <a:pt x="2102" y="691"/>
                </a:lnTo>
                <a:lnTo>
                  <a:pt x="2102" y="667"/>
                </a:lnTo>
                <a:lnTo>
                  <a:pt x="2107" y="635"/>
                </a:lnTo>
                <a:lnTo>
                  <a:pt x="2111" y="604"/>
                </a:lnTo>
                <a:lnTo>
                  <a:pt x="2107" y="580"/>
                </a:lnTo>
                <a:lnTo>
                  <a:pt x="2102" y="570"/>
                </a:lnTo>
                <a:lnTo>
                  <a:pt x="2097" y="559"/>
                </a:lnTo>
                <a:lnTo>
                  <a:pt x="2092" y="545"/>
                </a:lnTo>
                <a:lnTo>
                  <a:pt x="2086" y="531"/>
                </a:lnTo>
                <a:lnTo>
                  <a:pt x="2080" y="517"/>
                </a:lnTo>
                <a:lnTo>
                  <a:pt x="2074" y="503"/>
                </a:lnTo>
                <a:lnTo>
                  <a:pt x="2067" y="492"/>
                </a:lnTo>
                <a:lnTo>
                  <a:pt x="2061" y="482"/>
                </a:lnTo>
                <a:lnTo>
                  <a:pt x="2054" y="471"/>
                </a:lnTo>
                <a:lnTo>
                  <a:pt x="2046" y="457"/>
                </a:lnTo>
                <a:lnTo>
                  <a:pt x="2039" y="441"/>
                </a:lnTo>
                <a:lnTo>
                  <a:pt x="2031" y="425"/>
                </a:lnTo>
                <a:lnTo>
                  <a:pt x="2024" y="408"/>
                </a:lnTo>
                <a:lnTo>
                  <a:pt x="2019" y="393"/>
                </a:lnTo>
                <a:lnTo>
                  <a:pt x="2015" y="380"/>
                </a:lnTo>
                <a:lnTo>
                  <a:pt x="2014" y="372"/>
                </a:lnTo>
                <a:lnTo>
                  <a:pt x="2014" y="358"/>
                </a:lnTo>
                <a:lnTo>
                  <a:pt x="2013" y="342"/>
                </a:lnTo>
                <a:lnTo>
                  <a:pt x="2009" y="327"/>
                </a:lnTo>
                <a:lnTo>
                  <a:pt x="2003" y="313"/>
                </a:lnTo>
                <a:lnTo>
                  <a:pt x="1995" y="288"/>
                </a:lnTo>
                <a:lnTo>
                  <a:pt x="1990" y="251"/>
                </a:lnTo>
                <a:lnTo>
                  <a:pt x="1987" y="217"/>
                </a:lnTo>
                <a:lnTo>
                  <a:pt x="1985" y="203"/>
                </a:lnTo>
                <a:lnTo>
                  <a:pt x="1840" y="104"/>
                </a:lnTo>
                <a:close/>
              </a:path>
            </a:pathLst>
          </a:custGeom>
          <a:solidFill>
            <a:schemeClr val="accent3"/>
          </a:solidFill>
          <a:ln w="12700">
            <a:solidFill>
              <a:schemeClr val="bg1"/>
            </a:solidFill>
            <a:round/>
            <a:headEnd/>
            <a:tailEnd/>
          </a:ln>
        </p:spPr>
        <p:txBody>
          <a:bodyPr/>
          <a:lstStyle/>
          <a:p>
            <a:pPr>
              <a:defRPr/>
            </a:pPr>
            <a:endParaRPr lang="nl-NL"/>
          </a:p>
        </p:txBody>
      </p:sp>
      <p:sp>
        <p:nvSpPr>
          <p:cNvPr id="8" name="Text Placeholder 12"/>
          <p:cNvSpPr>
            <a:spLocks/>
          </p:cNvSpPr>
          <p:nvPr>
            <p:custDataLst>
              <p:tags r:id="rId1"/>
            </p:custDataLst>
          </p:nvPr>
        </p:nvSpPr>
        <p:spPr bwMode="auto">
          <a:xfrm>
            <a:off x="421182" y="1123950"/>
            <a:ext cx="936155" cy="276999"/>
          </a:xfrm>
          <a:prstGeom prst="rect">
            <a:avLst/>
          </a:prstGeom>
          <a:noFill/>
          <a:ln w="9525">
            <a:noFill/>
            <a:miter lim="800000"/>
            <a:headEnd/>
            <a:tailEnd/>
          </a:ln>
        </p:spPr>
        <p:txBody>
          <a:bodyPr wrap="none" lIns="0" tIns="0" rIns="0" bIns="0">
            <a:spAutoFit/>
          </a:bodyPr>
          <a:lstStyle/>
          <a:p>
            <a:pPr algn="l" defTabSz="1019175">
              <a:spcAft>
                <a:spcPts val="0"/>
              </a:spcAft>
            </a:pPr>
            <a:r>
              <a:rPr lang="en-US" sz="1800" b="1" dirty="0">
                <a:solidFill>
                  <a:schemeClr val="tx2"/>
                </a:solidFill>
              </a:rPr>
              <a:t>Hungary</a:t>
            </a:r>
          </a:p>
        </p:txBody>
      </p:sp>
      <p:sp>
        <p:nvSpPr>
          <p:cNvPr id="10" name="Text Placeholder 12"/>
          <p:cNvSpPr>
            <a:spLocks/>
          </p:cNvSpPr>
          <p:nvPr>
            <p:custDataLst>
              <p:tags r:id="rId2"/>
            </p:custDataLst>
          </p:nvPr>
        </p:nvSpPr>
        <p:spPr bwMode="auto">
          <a:xfrm>
            <a:off x="5532612" y="1123950"/>
            <a:ext cx="769441" cy="276999"/>
          </a:xfrm>
          <a:prstGeom prst="rect">
            <a:avLst/>
          </a:prstGeom>
          <a:noFill/>
          <a:ln w="9525">
            <a:noFill/>
            <a:miter lim="800000"/>
            <a:headEnd/>
            <a:tailEnd/>
          </a:ln>
        </p:spPr>
        <p:txBody>
          <a:bodyPr wrap="none" lIns="0" tIns="0" rIns="0" bIns="0">
            <a:spAutoFit/>
          </a:bodyPr>
          <a:lstStyle/>
          <a:p>
            <a:pPr algn="l" defTabSz="1019175">
              <a:spcAft>
                <a:spcPts val="0"/>
              </a:spcAft>
            </a:pPr>
            <a:r>
              <a:rPr lang="en-US" sz="1800" b="1">
                <a:solidFill>
                  <a:schemeClr val="tx2"/>
                </a:solidFill>
              </a:rPr>
              <a:t>Poland</a:t>
            </a:r>
          </a:p>
        </p:txBody>
      </p:sp>
      <p:sp>
        <p:nvSpPr>
          <p:cNvPr id="9"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nl-NL"/>
              <a:t>Maps </a:t>
            </a:r>
            <a:r>
              <a:rPr lang="en-US"/>
              <a:t>—</a:t>
            </a:r>
            <a:r>
              <a:rPr lang="nl-NL" smtClean="0"/>
              <a:t> </a:t>
            </a:r>
            <a:r>
              <a:rPr lang="nl-NL"/>
              <a:t>Russia</a:t>
            </a:r>
          </a:p>
        </p:txBody>
      </p:sp>
      <p:sp>
        <p:nvSpPr>
          <p:cNvPr id="4" name="Freeform 172"/>
          <p:cNvSpPr>
            <a:spLocks noChangeArrowheads="1"/>
          </p:cNvSpPr>
          <p:nvPr>
            <p:custDataLst>
              <p:tags r:id="rId1"/>
            </p:custDataLst>
          </p:nvPr>
        </p:nvSpPr>
        <p:spPr bwMode="auto">
          <a:xfrm>
            <a:off x="5890955" y="4677581"/>
            <a:ext cx="765036" cy="1118986"/>
          </a:xfrm>
          <a:custGeom>
            <a:avLst/>
            <a:gdLst>
              <a:gd name="T0" fmla="*/ 0 w 870915"/>
              <a:gd name="T1" fmla="*/ 0 h 1273969"/>
              <a:gd name="T2" fmla="*/ 870915 w 870915"/>
              <a:gd name="T3" fmla="*/ 1273969 h 1273969"/>
            </a:gdLst>
            <a:ahLst/>
            <a:cxnLst/>
            <a:rect l="T0" t="T1" r="T2" b="T3"/>
            <a:pathLst>
              <a:path w="870915" h="1273969">
                <a:moveTo>
                  <a:pt x="9910" y="1216819"/>
                </a:moveTo>
                <a:cubicBezTo>
                  <a:pt x="12688" y="1216025"/>
                  <a:pt x="16712" y="1216253"/>
                  <a:pt x="19435" y="1214438"/>
                </a:cubicBezTo>
                <a:cubicBezTo>
                  <a:pt x="40975" y="1200077"/>
                  <a:pt x="7987" y="1212696"/>
                  <a:pt x="31341" y="1204913"/>
                </a:cubicBezTo>
                <a:cubicBezTo>
                  <a:pt x="32135" y="1202532"/>
                  <a:pt x="33722" y="1200279"/>
                  <a:pt x="33722" y="1197769"/>
                </a:cubicBezTo>
                <a:cubicBezTo>
                  <a:pt x="33722" y="1190172"/>
                  <a:pt x="30365" y="1185212"/>
                  <a:pt x="24197" y="1181100"/>
                </a:cubicBezTo>
                <a:cubicBezTo>
                  <a:pt x="22109" y="1179708"/>
                  <a:pt x="19299" y="1179841"/>
                  <a:pt x="17054" y="1178719"/>
                </a:cubicBezTo>
                <a:cubicBezTo>
                  <a:pt x="14494" y="1177439"/>
                  <a:pt x="12291" y="1175544"/>
                  <a:pt x="9910" y="1173957"/>
                </a:cubicBezTo>
                <a:cubicBezTo>
                  <a:pt x="8322" y="1171576"/>
                  <a:pt x="6427" y="1169373"/>
                  <a:pt x="5147" y="1166813"/>
                </a:cubicBezTo>
                <a:cubicBezTo>
                  <a:pt x="1477" y="1159473"/>
                  <a:pt x="1205" y="1147182"/>
                  <a:pt x="385" y="1140619"/>
                </a:cubicBezTo>
                <a:cubicBezTo>
                  <a:pt x="4570" y="1128063"/>
                  <a:pt x="0" y="1138224"/>
                  <a:pt x="9910" y="1126332"/>
                </a:cubicBezTo>
                <a:cubicBezTo>
                  <a:pt x="19834" y="1114423"/>
                  <a:pt x="8716" y="1123159"/>
                  <a:pt x="21816" y="1114425"/>
                </a:cubicBezTo>
                <a:cubicBezTo>
                  <a:pt x="21022" y="1109663"/>
                  <a:pt x="21292" y="1104595"/>
                  <a:pt x="19435" y="1100138"/>
                </a:cubicBezTo>
                <a:cubicBezTo>
                  <a:pt x="17234" y="1094854"/>
                  <a:pt x="11720" y="1091280"/>
                  <a:pt x="9910" y="1085850"/>
                </a:cubicBezTo>
                <a:lnTo>
                  <a:pt x="7529" y="1078707"/>
                </a:lnTo>
                <a:cubicBezTo>
                  <a:pt x="8323" y="1075532"/>
                  <a:pt x="7755" y="1071645"/>
                  <a:pt x="9910" y="1069182"/>
                </a:cubicBezTo>
                <a:cubicBezTo>
                  <a:pt x="25034" y="1051897"/>
                  <a:pt x="49429" y="1058329"/>
                  <a:pt x="69441" y="1057275"/>
                </a:cubicBezTo>
                <a:cubicBezTo>
                  <a:pt x="83103" y="1052722"/>
                  <a:pt x="70352" y="1058155"/>
                  <a:pt x="83729" y="1047750"/>
                </a:cubicBezTo>
                <a:cubicBezTo>
                  <a:pt x="88247" y="1044236"/>
                  <a:pt x="98016" y="1038225"/>
                  <a:pt x="98016" y="1038225"/>
                </a:cubicBezTo>
                <a:cubicBezTo>
                  <a:pt x="99604" y="1035844"/>
                  <a:pt x="100947" y="1033280"/>
                  <a:pt x="102779" y="1031082"/>
                </a:cubicBezTo>
                <a:cubicBezTo>
                  <a:pt x="117026" y="1013986"/>
                  <a:pt x="119368" y="1023413"/>
                  <a:pt x="152785" y="1021557"/>
                </a:cubicBezTo>
                <a:cubicBezTo>
                  <a:pt x="155166" y="1019969"/>
                  <a:pt x="157730" y="1018626"/>
                  <a:pt x="159929" y="1016794"/>
                </a:cubicBezTo>
                <a:cubicBezTo>
                  <a:pt x="162516" y="1014638"/>
                  <a:pt x="164231" y="1011458"/>
                  <a:pt x="167072" y="1009650"/>
                </a:cubicBezTo>
                <a:cubicBezTo>
                  <a:pt x="197413" y="990341"/>
                  <a:pt x="177175" y="1009071"/>
                  <a:pt x="193266" y="992982"/>
                </a:cubicBezTo>
                <a:cubicBezTo>
                  <a:pt x="194060" y="985044"/>
                  <a:pt x="194519" y="977066"/>
                  <a:pt x="195647" y="969169"/>
                </a:cubicBezTo>
                <a:cubicBezTo>
                  <a:pt x="196558" y="962796"/>
                  <a:pt x="198108" y="957183"/>
                  <a:pt x="202791" y="952500"/>
                </a:cubicBezTo>
                <a:cubicBezTo>
                  <a:pt x="204815" y="950476"/>
                  <a:pt x="207554" y="949325"/>
                  <a:pt x="209935" y="947738"/>
                </a:cubicBezTo>
                <a:cubicBezTo>
                  <a:pt x="212316" y="944563"/>
                  <a:pt x="214496" y="941226"/>
                  <a:pt x="217079" y="938213"/>
                </a:cubicBezTo>
                <a:cubicBezTo>
                  <a:pt x="219270" y="935656"/>
                  <a:pt x="222155" y="933727"/>
                  <a:pt x="224222" y="931069"/>
                </a:cubicBezTo>
                <a:cubicBezTo>
                  <a:pt x="227736" y="926551"/>
                  <a:pt x="229700" y="920829"/>
                  <a:pt x="233747" y="916782"/>
                </a:cubicBezTo>
                <a:lnTo>
                  <a:pt x="248035" y="902494"/>
                </a:lnTo>
                <a:cubicBezTo>
                  <a:pt x="252174" y="890077"/>
                  <a:pt x="247355" y="899659"/>
                  <a:pt x="257560" y="890588"/>
                </a:cubicBezTo>
                <a:cubicBezTo>
                  <a:pt x="265679" y="883371"/>
                  <a:pt x="269724" y="876171"/>
                  <a:pt x="278991" y="871538"/>
                </a:cubicBezTo>
                <a:cubicBezTo>
                  <a:pt x="281236" y="870416"/>
                  <a:pt x="283754" y="869951"/>
                  <a:pt x="286135" y="869157"/>
                </a:cubicBezTo>
                <a:cubicBezTo>
                  <a:pt x="297326" y="857966"/>
                  <a:pt x="290477" y="863882"/>
                  <a:pt x="307566" y="852488"/>
                </a:cubicBezTo>
                <a:lnTo>
                  <a:pt x="321854" y="842963"/>
                </a:lnTo>
                <a:lnTo>
                  <a:pt x="328997" y="840582"/>
                </a:lnTo>
                <a:cubicBezTo>
                  <a:pt x="331378" y="838201"/>
                  <a:pt x="333339" y="835306"/>
                  <a:pt x="336141" y="833438"/>
                </a:cubicBezTo>
                <a:cubicBezTo>
                  <a:pt x="338230" y="832046"/>
                  <a:pt x="341325" y="832625"/>
                  <a:pt x="343285" y="831057"/>
                </a:cubicBezTo>
                <a:cubicBezTo>
                  <a:pt x="345520" y="829269"/>
                  <a:pt x="346023" y="825937"/>
                  <a:pt x="348047" y="823913"/>
                </a:cubicBezTo>
                <a:cubicBezTo>
                  <a:pt x="350071" y="821889"/>
                  <a:pt x="352810" y="820738"/>
                  <a:pt x="355191" y="819150"/>
                </a:cubicBezTo>
                <a:cubicBezTo>
                  <a:pt x="366108" y="802774"/>
                  <a:pt x="359286" y="806673"/>
                  <a:pt x="371860" y="802482"/>
                </a:cubicBezTo>
                <a:cubicBezTo>
                  <a:pt x="375936" y="790254"/>
                  <a:pt x="376622" y="789942"/>
                  <a:pt x="376622" y="771525"/>
                </a:cubicBezTo>
                <a:cubicBezTo>
                  <a:pt x="376622" y="761176"/>
                  <a:pt x="376148" y="750741"/>
                  <a:pt x="374241" y="740569"/>
                </a:cubicBezTo>
                <a:cubicBezTo>
                  <a:pt x="373714" y="737756"/>
                  <a:pt x="371311" y="735624"/>
                  <a:pt x="369479" y="733425"/>
                </a:cubicBezTo>
                <a:cubicBezTo>
                  <a:pt x="365719" y="728913"/>
                  <a:pt x="360540" y="724194"/>
                  <a:pt x="355191" y="721519"/>
                </a:cubicBezTo>
                <a:cubicBezTo>
                  <a:pt x="351776" y="719811"/>
                  <a:pt x="341572" y="717520"/>
                  <a:pt x="338522" y="716757"/>
                </a:cubicBezTo>
                <a:cubicBezTo>
                  <a:pt x="336141" y="715169"/>
                  <a:pt x="332966" y="714375"/>
                  <a:pt x="331379" y="711994"/>
                </a:cubicBezTo>
                <a:cubicBezTo>
                  <a:pt x="329564" y="709271"/>
                  <a:pt x="328997" y="705742"/>
                  <a:pt x="328997" y="702469"/>
                </a:cubicBezTo>
                <a:cubicBezTo>
                  <a:pt x="328997" y="689744"/>
                  <a:pt x="330113" y="677031"/>
                  <a:pt x="331379" y="664369"/>
                </a:cubicBezTo>
                <a:cubicBezTo>
                  <a:pt x="331705" y="661113"/>
                  <a:pt x="331945" y="657567"/>
                  <a:pt x="333760" y="654844"/>
                </a:cubicBezTo>
                <a:cubicBezTo>
                  <a:pt x="335348" y="652463"/>
                  <a:pt x="338705" y="651914"/>
                  <a:pt x="340904" y="650082"/>
                </a:cubicBezTo>
                <a:cubicBezTo>
                  <a:pt x="352796" y="640172"/>
                  <a:pt x="342635" y="644742"/>
                  <a:pt x="355191" y="640557"/>
                </a:cubicBezTo>
                <a:cubicBezTo>
                  <a:pt x="362215" y="635874"/>
                  <a:pt x="363749" y="635526"/>
                  <a:pt x="369479" y="628650"/>
                </a:cubicBezTo>
                <a:cubicBezTo>
                  <a:pt x="371311" y="626452"/>
                  <a:pt x="372654" y="623888"/>
                  <a:pt x="374241" y="621507"/>
                </a:cubicBezTo>
                <a:cubicBezTo>
                  <a:pt x="379972" y="604311"/>
                  <a:pt x="373741" y="624755"/>
                  <a:pt x="379004" y="590550"/>
                </a:cubicBezTo>
                <a:cubicBezTo>
                  <a:pt x="379386" y="588069"/>
                  <a:pt x="379844" y="585388"/>
                  <a:pt x="381385" y="583407"/>
                </a:cubicBezTo>
                <a:cubicBezTo>
                  <a:pt x="385520" y="578090"/>
                  <a:pt x="395672" y="569119"/>
                  <a:pt x="395672" y="569119"/>
                </a:cubicBezTo>
                <a:cubicBezTo>
                  <a:pt x="401660" y="551161"/>
                  <a:pt x="392887" y="572600"/>
                  <a:pt x="405197" y="557213"/>
                </a:cubicBezTo>
                <a:cubicBezTo>
                  <a:pt x="406765" y="555253"/>
                  <a:pt x="406456" y="552314"/>
                  <a:pt x="407579" y="550069"/>
                </a:cubicBezTo>
                <a:cubicBezTo>
                  <a:pt x="411548" y="542130"/>
                  <a:pt x="412340" y="542926"/>
                  <a:pt x="419485" y="538163"/>
                </a:cubicBezTo>
                <a:cubicBezTo>
                  <a:pt x="425212" y="529572"/>
                  <a:pt x="428745" y="523259"/>
                  <a:pt x="438535" y="516732"/>
                </a:cubicBezTo>
                <a:cubicBezTo>
                  <a:pt x="443297" y="513557"/>
                  <a:pt x="448775" y="511254"/>
                  <a:pt x="452822" y="507207"/>
                </a:cubicBezTo>
                <a:cubicBezTo>
                  <a:pt x="455203" y="504826"/>
                  <a:pt x="457810" y="502650"/>
                  <a:pt x="459966" y="500063"/>
                </a:cubicBezTo>
                <a:cubicBezTo>
                  <a:pt x="461798" y="497864"/>
                  <a:pt x="462705" y="494943"/>
                  <a:pt x="464729" y="492919"/>
                </a:cubicBezTo>
                <a:cubicBezTo>
                  <a:pt x="466752" y="490896"/>
                  <a:pt x="469491" y="489744"/>
                  <a:pt x="471872" y="488157"/>
                </a:cubicBezTo>
                <a:cubicBezTo>
                  <a:pt x="471078" y="478632"/>
                  <a:pt x="473322" y="468339"/>
                  <a:pt x="469491" y="459582"/>
                </a:cubicBezTo>
                <a:cubicBezTo>
                  <a:pt x="466696" y="453193"/>
                  <a:pt x="454678" y="449882"/>
                  <a:pt x="448060" y="447675"/>
                </a:cubicBezTo>
                <a:cubicBezTo>
                  <a:pt x="446472" y="444500"/>
                  <a:pt x="445570" y="440877"/>
                  <a:pt x="443297" y="438150"/>
                </a:cubicBezTo>
                <a:cubicBezTo>
                  <a:pt x="441465" y="435952"/>
                  <a:pt x="438483" y="435051"/>
                  <a:pt x="436154" y="433388"/>
                </a:cubicBezTo>
                <a:cubicBezTo>
                  <a:pt x="432924" y="431081"/>
                  <a:pt x="430256" y="427856"/>
                  <a:pt x="426629" y="426244"/>
                </a:cubicBezTo>
                <a:cubicBezTo>
                  <a:pt x="422930" y="424600"/>
                  <a:pt x="418666" y="424773"/>
                  <a:pt x="414722" y="423863"/>
                </a:cubicBezTo>
                <a:cubicBezTo>
                  <a:pt x="408344" y="422391"/>
                  <a:pt x="402022" y="420688"/>
                  <a:pt x="395672" y="419100"/>
                </a:cubicBezTo>
                <a:cubicBezTo>
                  <a:pt x="382577" y="410370"/>
                  <a:pt x="393688" y="419100"/>
                  <a:pt x="383766" y="407194"/>
                </a:cubicBezTo>
                <a:cubicBezTo>
                  <a:pt x="368489" y="388862"/>
                  <a:pt x="383682" y="410640"/>
                  <a:pt x="371860" y="392907"/>
                </a:cubicBezTo>
                <a:cubicBezTo>
                  <a:pt x="371066" y="390526"/>
                  <a:pt x="370698" y="387957"/>
                  <a:pt x="369479" y="385763"/>
                </a:cubicBezTo>
                <a:cubicBezTo>
                  <a:pt x="366699" y="380759"/>
                  <a:pt x="361764" y="376905"/>
                  <a:pt x="359954" y="371475"/>
                </a:cubicBezTo>
                <a:lnTo>
                  <a:pt x="355191" y="357188"/>
                </a:lnTo>
                <a:cubicBezTo>
                  <a:pt x="354397" y="354807"/>
                  <a:pt x="354202" y="352132"/>
                  <a:pt x="352810" y="350044"/>
                </a:cubicBezTo>
                <a:lnTo>
                  <a:pt x="348047" y="342900"/>
                </a:lnTo>
                <a:cubicBezTo>
                  <a:pt x="347253" y="340519"/>
                  <a:pt x="347058" y="337845"/>
                  <a:pt x="345666" y="335757"/>
                </a:cubicBezTo>
                <a:cubicBezTo>
                  <a:pt x="342000" y="330258"/>
                  <a:pt x="336649" y="327364"/>
                  <a:pt x="331379" y="323850"/>
                </a:cubicBezTo>
                <a:cubicBezTo>
                  <a:pt x="328204" y="319088"/>
                  <a:pt x="323243" y="315116"/>
                  <a:pt x="321854" y="309563"/>
                </a:cubicBezTo>
                <a:cubicBezTo>
                  <a:pt x="321060" y="306388"/>
                  <a:pt x="320936" y="302965"/>
                  <a:pt x="319472" y="300038"/>
                </a:cubicBezTo>
                <a:cubicBezTo>
                  <a:pt x="316912" y="294918"/>
                  <a:pt x="309947" y="285750"/>
                  <a:pt x="309947" y="285750"/>
                </a:cubicBezTo>
                <a:cubicBezTo>
                  <a:pt x="306221" y="274572"/>
                  <a:pt x="305185" y="273127"/>
                  <a:pt x="305185" y="257175"/>
                </a:cubicBezTo>
                <a:cubicBezTo>
                  <a:pt x="305185" y="253902"/>
                  <a:pt x="305522" y="250206"/>
                  <a:pt x="307566" y="247650"/>
                </a:cubicBezTo>
                <a:cubicBezTo>
                  <a:pt x="309134" y="245690"/>
                  <a:pt x="312329" y="246063"/>
                  <a:pt x="314710" y="245269"/>
                </a:cubicBezTo>
                <a:cubicBezTo>
                  <a:pt x="333988" y="251694"/>
                  <a:pt x="332543" y="252180"/>
                  <a:pt x="367097" y="245269"/>
                </a:cubicBezTo>
                <a:cubicBezTo>
                  <a:pt x="372710" y="244146"/>
                  <a:pt x="376622" y="238919"/>
                  <a:pt x="381385" y="235744"/>
                </a:cubicBezTo>
                <a:cubicBezTo>
                  <a:pt x="390616" y="229590"/>
                  <a:pt x="385815" y="231887"/>
                  <a:pt x="395672" y="228600"/>
                </a:cubicBezTo>
                <a:cubicBezTo>
                  <a:pt x="411735" y="212538"/>
                  <a:pt x="407830" y="220703"/>
                  <a:pt x="412341" y="207169"/>
                </a:cubicBezTo>
                <a:cubicBezTo>
                  <a:pt x="411547" y="196850"/>
                  <a:pt x="412594" y="186221"/>
                  <a:pt x="409960" y="176213"/>
                </a:cubicBezTo>
                <a:cubicBezTo>
                  <a:pt x="408503" y="170678"/>
                  <a:pt x="400435" y="161925"/>
                  <a:pt x="400435" y="161925"/>
                </a:cubicBezTo>
                <a:cubicBezTo>
                  <a:pt x="400414" y="161840"/>
                  <a:pt x="396813" y="146398"/>
                  <a:pt x="395672" y="145257"/>
                </a:cubicBezTo>
                <a:cubicBezTo>
                  <a:pt x="391625" y="141210"/>
                  <a:pt x="386147" y="138907"/>
                  <a:pt x="381385" y="135732"/>
                </a:cubicBezTo>
                <a:lnTo>
                  <a:pt x="374241" y="130969"/>
                </a:lnTo>
                <a:cubicBezTo>
                  <a:pt x="372654" y="128588"/>
                  <a:pt x="370759" y="126385"/>
                  <a:pt x="369479" y="123825"/>
                </a:cubicBezTo>
                <a:cubicBezTo>
                  <a:pt x="368356" y="121580"/>
                  <a:pt x="368489" y="118770"/>
                  <a:pt x="367097" y="116682"/>
                </a:cubicBezTo>
                <a:cubicBezTo>
                  <a:pt x="365229" y="113880"/>
                  <a:pt x="362110" y="112125"/>
                  <a:pt x="359954" y="109538"/>
                </a:cubicBezTo>
                <a:cubicBezTo>
                  <a:pt x="358122" y="107339"/>
                  <a:pt x="356779" y="104775"/>
                  <a:pt x="355191" y="102394"/>
                </a:cubicBezTo>
                <a:cubicBezTo>
                  <a:pt x="353604" y="97632"/>
                  <a:pt x="348842" y="92869"/>
                  <a:pt x="350429" y="88107"/>
                </a:cubicBezTo>
                <a:lnTo>
                  <a:pt x="355191" y="73819"/>
                </a:lnTo>
                <a:cubicBezTo>
                  <a:pt x="355985" y="57944"/>
                  <a:pt x="353121" y="41453"/>
                  <a:pt x="357572" y="26194"/>
                </a:cubicBezTo>
                <a:cubicBezTo>
                  <a:pt x="359175" y="20699"/>
                  <a:pt x="367097" y="19844"/>
                  <a:pt x="371860" y="16669"/>
                </a:cubicBezTo>
                <a:lnTo>
                  <a:pt x="379004" y="11907"/>
                </a:lnTo>
                <a:cubicBezTo>
                  <a:pt x="394761" y="1402"/>
                  <a:pt x="383282" y="7364"/>
                  <a:pt x="417104" y="4763"/>
                </a:cubicBezTo>
                <a:cubicBezTo>
                  <a:pt x="425437" y="2680"/>
                  <a:pt x="434770" y="0"/>
                  <a:pt x="443297" y="0"/>
                </a:cubicBezTo>
                <a:cubicBezTo>
                  <a:pt x="451274" y="0"/>
                  <a:pt x="459172" y="1588"/>
                  <a:pt x="467110" y="2382"/>
                </a:cubicBezTo>
                <a:cubicBezTo>
                  <a:pt x="469491" y="3969"/>
                  <a:pt x="472466" y="4909"/>
                  <a:pt x="474254" y="7144"/>
                </a:cubicBezTo>
                <a:cubicBezTo>
                  <a:pt x="475822" y="9104"/>
                  <a:pt x="475416" y="12094"/>
                  <a:pt x="476635" y="14288"/>
                </a:cubicBezTo>
                <a:cubicBezTo>
                  <a:pt x="479415" y="19291"/>
                  <a:pt x="482985" y="23813"/>
                  <a:pt x="486160" y="28575"/>
                </a:cubicBezTo>
                <a:lnTo>
                  <a:pt x="490922" y="35719"/>
                </a:lnTo>
                <a:cubicBezTo>
                  <a:pt x="491716" y="38894"/>
                  <a:pt x="492594" y="42049"/>
                  <a:pt x="493304" y="45244"/>
                </a:cubicBezTo>
                <a:cubicBezTo>
                  <a:pt x="494182" y="49195"/>
                  <a:pt x="494703" y="53224"/>
                  <a:pt x="495685" y="57150"/>
                </a:cubicBezTo>
                <a:cubicBezTo>
                  <a:pt x="496294" y="59585"/>
                  <a:pt x="496291" y="62519"/>
                  <a:pt x="498066" y="64294"/>
                </a:cubicBezTo>
                <a:cubicBezTo>
                  <a:pt x="499841" y="66069"/>
                  <a:pt x="502829" y="65881"/>
                  <a:pt x="505210" y="66675"/>
                </a:cubicBezTo>
                <a:cubicBezTo>
                  <a:pt x="507591" y="69056"/>
                  <a:pt x="509696" y="71751"/>
                  <a:pt x="512354" y="73819"/>
                </a:cubicBezTo>
                <a:cubicBezTo>
                  <a:pt x="516872" y="77333"/>
                  <a:pt x="526641" y="83344"/>
                  <a:pt x="526641" y="83344"/>
                </a:cubicBezTo>
                <a:cubicBezTo>
                  <a:pt x="528578" y="89155"/>
                  <a:pt x="529168" y="93015"/>
                  <a:pt x="533785" y="97632"/>
                </a:cubicBezTo>
                <a:cubicBezTo>
                  <a:pt x="535809" y="99656"/>
                  <a:pt x="538548" y="100807"/>
                  <a:pt x="540929" y="102394"/>
                </a:cubicBezTo>
                <a:cubicBezTo>
                  <a:pt x="552748" y="120125"/>
                  <a:pt x="537561" y="98353"/>
                  <a:pt x="552835" y="116682"/>
                </a:cubicBezTo>
                <a:cubicBezTo>
                  <a:pt x="554667" y="118880"/>
                  <a:pt x="555574" y="121802"/>
                  <a:pt x="557597" y="123825"/>
                </a:cubicBezTo>
                <a:cubicBezTo>
                  <a:pt x="562214" y="128442"/>
                  <a:pt x="566073" y="129032"/>
                  <a:pt x="571885" y="130969"/>
                </a:cubicBezTo>
                <a:cubicBezTo>
                  <a:pt x="577153" y="136237"/>
                  <a:pt x="580475" y="138625"/>
                  <a:pt x="583791" y="145257"/>
                </a:cubicBezTo>
                <a:cubicBezTo>
                  <a:pt x="584913" y="147502"/>
                  <a:pt x="585378" y="150019"/>
                  <a:pt x="586172" y="152400"/>
                </a:cubicBezTo>
                <a:cubicBezTo>
                  <a:pt x="586966" y="161131"/>
                  <a:pt x="585182" y="170501"/>
                  <a:pt x="588554" y="178594"/>
                </a:cubicBezTo>
                <a:cubicBezTo>
                  <a:pt x="589813" y="181615"/>
                  <a:pt x="594932" y="180076"/>
                  <a:pt x="598079" y="180975"/>
                </a:cubicBezTo>
                <a:cubicBezTo>
                  <a:pt x="615855" y="186055"/>
                  <a:pt x="591804" y="181866"/>
                  <a:pt x="626654" y="185738"/>
                </a:cubicBezTo>
                <a:cubicBezTo>
                  <a:pt x="629588" y="187694"/>
                  <a:pt x="640024" y="193977"/>
                  <a:pt x="640941" y="197644"/>
                </a:cubicBezTo>
                <a:cubicBezTo>
                  <a:pt x="642814" y="205134"/>
                  <a:pt x="637400" y="211290"/>
                  <a:pt x="633797" y="216694"/>
                </a:cubicBezTo>
                <a:cubicBezTo>
                  <a:pt x="632250" y="221336"/>
                  <a:pt x="628371" y="228712"/>
                  <a:pt x="633797" y="233363"/>
                </a:cubicBezTo>
                <a:cubicBezTo>
                  <a:pt x="637609" y="236630"/>
                  <a:pt x="648085" y="238125"/>
                  <a:pt x="648085" y="238125"/>
                </a:cubicBezTo>
                <a:cubicBezTo>
                  <a:pt x="674573" y="234341"/>
                  <a:pt x="656895" y="240269"/>
                  <a:pt x="671897" y="228600"/>
                </a:cubicBezTo>
                <a:cubicBezTo>
                  <a:pt x="676415" y="225086"/>
                  <a:pt x="686185" y="219075"/>
                  <a:pt x="686185" y="219075"/>
                </a:cubicBezTo>
                <a:cubicBezTo>
                  <a:pt x="687772" y="216694"/>
                  <a:pt x="688141" y="212493"/>
                  <a:pt x="690947" y="211932"/>
                </a:cubicBezTo>
                <a:cubicBezTo>
                  <a:pt x="705470" y="209028"/>
                  <a:pt x="711385" y="216924"/>
                  <a:pt x="724285" y="219075"/>
                </a:cubicBezTo>
                <a:lnTo>
                  <a:pt x="738572" y="221457"/>
                </a:lnTo>
                <a:cubicBezTo>
                  <a:pt x="760155" y="235845"/>
                  <a:pt x="747160" y="230464"/>
                  <a:pt x="779054" y="233363"/>
                </a:cubicBezTo>
                <a:cubicBezTo>
                  <a:pt x="780641" y="235744"/>
                  <a:pt x="781581" y="238719"/>
                  <a:pt x="783816" y="240507"/>
                </a:cubicBezTo>
                <a:cubicBezTo>
                  <a:pt x="785776" y="242075"/>
                  <a:pt x="788715" y="241766"/>
                  <a:pt x="790960" y="242888"/>
                </a:cubicBezTo>
                <a:cubicBezTo>
                  <a:pt x="793520" y="244168"/>
                  <a:pt x="795723" y="246063"/>
                  <a:pt x="798104" y="247650"/>
                </a:cubicBezTo>
                <a:cubicBezTo>
                  <a:pt x="799691" y="252413"/>
                  <a:pt x="802243" y="256957"/>
                  <a:pt x="802866" y="261938"/>
                </a:cubicBezTo>
                <a:cubicBezTo>
                  <a:pt x="803117" y="263945"/>
                  <a:pt x="806253" y="291149"/>
                  <a:pt x="807629" y="295275"/>
                </a:cubicBezTo>
                <a:cubicBezTo>
                  <a:pt x="808534" y="297990"/>
                  <a:pt x="810804" y="300038"/>
                  <a:pt x="812391" y="302419"/>
                </a:cubicBezTo>
                <a:cubicBezTo>
                  <a:pt x="813185" y="312738"/>
                  <a:pt x="811194" y="323664"/>
                  <a:pt x="814772" y="333375"/>
                </a:cubicBezTo>
                <a:cubicBezTo>
                  <a:pt x="817100" y="339695"/>
                  <a:pt x="829060" y="347663"/>
                  <a:pt x="829060" y="347663"/>
                </a:cubicBezTo>
                <a:cubicBezTo>
                  <a:pt x="829854" y="351632"/>
                  <a:pt x="830939" y="355553"/>
                  <a:pt x="831441" y="359569"/>
                </a:cubicBezTo>
                <a:cubicBezTo>
                  <a:pt x="832528" y="368269"/>
                  <a:pt x="832582" y="377084"/>
                  <a:pt x="833822" y="385763"/>
                </a:cubicBezTo>
                <a:cubicBezTo>
                  <a:pt x="834177" y="388248"/>
                  <a:pt x="834812" y="390818"/>
                  <a:pt x="836204" y="392907"/>
                </a:cubicBezTo>
                <a:cubicBezTo>
                  <a:pt x="841421" y="400732"/>
                  <a:pt x="843903" y="399323"/>
                  <a:pt x="850491" y="404813"/>
                </a:cubicBezTo>
                <a:cubicBezTo>
                  <a:pt x="853078" y="406969"/>
                  <a:pt x="855254" y="409576"/>
                  <a:pt x="857635" y="411957"/>
                </a:cubicBezTo>
                <a:cubicBezTo>
                  <a:pt x="858429" y="414338"/>
                  <a:pt x="858894" y="416855"/>
                  <a:pt x="860016" y="419100"/>
                </a:cubicBezTo>
                <a:cubicBezTo>
                  <a:pt x="863082" y="425231"/>
                  <a:pt x="870915" y="429632"/>
                  <a:pt x="862397" y="438150"/>
                </a:cubicBezTo>
                <a:cubicBezTo>
                  <a:pt x="862395" y="438152"/>
                  <a:pt x="844539" y="444103"/>
                  <a:pt x="840966" y="445294"/>
                </a:cubicBezTo>
                <a:lnTo>
                  <a:pt x="833822" y="447675"/>
                </a:lnTo>
                <a:lnTo>
                  <a:pt x="826679" y="450057"/>
                </a:lnTo>
                <a:cubicBezTo>
                  <a:pt x="825091" y="452438"/>
                  <a:pt x="823940" y="455176"/>
                  <a:pt x="821916" y="457200"/>
                </a:cubicBezTo>
                <a:cubicBezTo>
                  <a:pt x="819892" y="459224"/>
                  <a:pt x="816657" y="459809"/>
                  <a:pt x="814772" y="461963"/>
                </a:cubicBezTo>
                <a:cubicBezTo>
                  <a:pt x="811003" y="466270"/>
                  <a:pt x="809294" y="472203"/>
                  <a:pt x="805247" y="476250"/>
                </a:cubicBezTo>
                <a:cubicBezTo>
                  <a:pt x="800485" y="481013"/>
                  <a:pt x="794696" y="484934"/>
                  <a:pt x="790960" y="490538"/>
                </a:cubicBezTo>
                <a:cubicBezTo>
                  <a:pt x="784329" y="500484"/>
                  <a:pt x="788221" y="495658"/>
                  <a:pt x="779054" y="504825"/>
                </a:cubicBezTo>
                <a:cubicBezTo>
                  <a:pt x="778260" y="507206"/>
                  <a:pt x="776672" y="509459"/>
                  <a:pt x="776672" y="511969"/>
                </a:cubicBezTo>
                <a:cubicBezTo>
                  <a:pt x="776672" y="562315"/>
                  <a:pt x="774862" y="552351"/>
                  <a:pt x="781435" y="578644"/>
                </a:cubicBezTo>
                <a:cubicBezTo>
                  <a:pt x="782229" y="588963"/>
                  <a:pt x="781182" y="599592"/>
                  <a:pt x="783816" y="609600"/>
                </a:cubicBezTo>
                <a:cubicBezTo>
                  <a:pt x="785273" y="615135"/>
                  <a:pt x="793341" y="623888"/>
                  <a:pt x="793341" y="623888"/>
                </a:cubicBezTo>
                <a:cubicBezTo>
                  <a:pt x="794135" y="627063"/>
                  <a:pt x="793678" y="630857"/>
                  <a:pt x="795722" y="633413"/>
                </a:cubicBezTo>
                <a:cubicBezTo>
                  <a:pt x="797290" y="635373"/>
                  <a:pt x="800362" y="635621"/>
                  <a:pt x="802866" y="635794"/>
                </a:cubicBezTo>
                <a:cubicBezTo>
                  <a:pt x="823470" y="637215"/>
                  <a:pt x="844141" y="637381"/>
                  <a:pt x="864779" y="638175"/>
                </a:cubicBezTo>
                <a:cubicBezTo>
                  <a:pt x="863191" y="643731"/>
                  <a:pt x="863855" y="650525"/>
                  <a:pt x="860016" y="654844"/>
                </a:cubicBezTo>
                <a:cubicBezTo>
                  <a:pt x="860014" y="654846"/>
                  <a:pt x="842158" y="660797"/>
                  <a:pt x="838585" y="661988"/>
                </a:cubicBezTo>
                <a:lnTo>
                  <a:pt x="831441" y="664369"/>
                </a:lnTo>
                <a:cubicBezTo>
                  <a:pt x="829034" y="667979"/>
                  <a:pt x="824297" y="673730"/>
                  <a:pt x="824297" y="678657"/>
                </a:cubicBezTo>
                <a:cubicBezTo>
                  <a:pt x="824297" y="681167"/>
                  <a:pt x="825885" y="683419"/>
                  <a:pt x="826679" y="685800"/>
                </a:cubicBezTo>
                <a:cubicBezTo>
                  <a:pt x="827473" y="696119"/>
                  <a:pt x="828030" y="706459"/>
                  <a:pt x="829060" y="716757"/>
                </a:cubicBezTo>
                <a:cubicBezTo>
                  <a:pt x="829618" y="722342"/>
                  <a:pt x="831260" y="727816"/>
                  <a:pt x="831441" y="733425"/>
                </a:cubicBezTo>
                <a:cubicBezTo>
                  <a:pt x="832849" y="777066"/>
                  <a:pt x="832317" y="820756"/>
                  <a:pt x="833822" y="864394"/>
                </a:cubicBezTo>
                <a:cubicBezTo>
                  <a:pt x="833909" y="866903"/>
                  <a:pt x="835081" y="869293"/>
                  <a:pt x="836204" y="871538"/>
                </a:cubicBezTo>
                <a:cubicBezTo>
                  <a:pt x="837484" y="874098"/>
                  <a:pt x="839686" y="876122"/>
                  <a:pt x="840966" y="878682"/>
                </a:cubicBezTo>
                <a:cubicBezTo>
                  <a:pt x="850820" y="898391"/>
                  <a:pt x="834465" y="872503"/>
                  <a:pt x="848110" y="892969"/>
                </a:cubicBezTo>
                <a:cubicBezTo>
                  <a:pt x="848904" y="895350"/>
                  <a:pt x="851285" y="897732"/>
                  <a:pt x="850491" y="900113"/>
                </a:cubicBezTo>
                <a:cubicBezTo>
                  <a:pt x="849426" y="903308"/>
                  <a:pt x="845503" y="904670"/>
                  <a:pt x="843347" y="907257"/>
                </a:cubicBezTo>
                <a:cubicBezTo>
                  <a:pt x="833425" y="919163"/>
                  <a:pt x="844539" y="910431"/>
                  <a:pt x="831441" y="919163"/>
                </a:cubicBezTo>
                <a:lnTo>
                  <a:pt x="817154" y="940594"/>
                </a:lnTo>
                <a:lnTo>
                  <a:pt x="812391" y="947738"/>
                </a:lnTo>
                <a:lnTo>
                  <a:pt x="807629" y="954882"/>
                </a:lnTo>
                <a:cubicBezTo>
                  <a:pt x="806041" y="961232"/>
                  <a:pt x="804936" y="967722"/>
                  <a:pt x="802866" y="973932"/>
                </a:cubicBezTo>
                <a:cubicBezTo>
                  <a:pt x="802072" y="976313"/>
                  <a:pt x="801704" y="978881"/>
                  <a:pt x="800485" y="981075"/>
                </a:cubicBezTo>
                <a:cubicBezTo>
                  <a:pt x="797705" y="986079"/>
                  <a:pt x="794135" y="990600"/>
                  <a:pt x="790960" y="995363"/>
                </a:cubicBezTo>
                <a:lnTo>
                  <a:pt x="786197" y="1002507"/>
                </a:lnTo>
                <a:cubicBezTo>
                  <a:pt x="784610" y="1004888"/>
                  <a:pt x="784150" y="1008745"/>
                  <a:pt x="781435" y="1009650"/>
                </a:cubicBezTo>
                <a:lnTo>
                  <a:pt x="774291" y="1012032"/>
                </a:lnTo>
                <a:cubicBezTo>
                  <a:pt x="763972" y="1011238"/>
                  <a:pt x="753604" y="1010934"/>
                  <a:pt x="743335" y="1009650"/>
                </a:cubicBezTo>
                <a:cubicBezTo>
                  <a:pt x="740844" y="1009339"/>
                  <a:pt x="738641" y="1007813"/>
                  <a:pt x="736191" y="1007269"/>
                </a:cubicBezTo>
                <a:cubicBezTo>
                  <a:pt x="731478" y="1006222"/>
                  <a:pt x="726617" y="1005935"/>
                  <a:pt x="721904" y="1004888"/>
                </a:cubicBezTo>
                <a:cubicBezTo>
                  <a:pt x="719454" y="1004344"/>
                  <a:pt x="717221" y="1002999"/>
                  <a:pt x="714760" y="1002507"/>
                </a:cubicBezTo>
                <a:cubicBezTo>
                  <a:pt x="709256" y="1001406"/>
                  <a:pt x="703647" y="1000919"/>
                  <a:pt x="698091" y="1000125"/>
                </a:cubicBezTo>
                <a:cubicBezTo>
                  <a:pt x="669516" y="1000919"/>
                  <a:pt x="640879" y="1000470"/>
                  <a:pt x="612366" y="1002507"/>
                </a:cubicBezTo>
                <a:cubicBezTo>
                  <a:pt x="607359" y="1002865"/>
                  <a:pt x="602841" y="1005682"/>
                  <a:pt x="598079" y="1007269"/>
                </a:cubicBezTo>
                <a:cubicBezTo>
                  <a:pt x="595698" y="1008063"/>
                  <a:pt x="593442" y="1009531"/>
                  <a:pt x="590935" y="1009650"/>
                </a:cubicBezTo>
                <a:lnTo>
                  <a:pt x="490922" y="1014413"/>
                </a:lnTo>
                <a:lnTo>
                  <a:pt x="474254" y="1019175"/>
                </a:lnTo>
                <a:cubicBezTo>
                  <a:pt x="471097" y="1020036"/>
                  <a:pt x="467737" y="1020268"/>
                  <a:pt x="464729" y="1021557"/>
                </a:cubicBezTo>
                <a:cubicBezTo>
                  <a:pt x="462099" y="1022684"/>
                  <a:pt x="460145" y="1025039"/>
                  <a:pt x="457585" y="1026319"/>
                </a:cubicBezTo>
                <a:cubicBezTo>
                  <a:pt x="455340" y="1027441"/>
                  <a:pt x="452822" y="1027906"/>
                  <a:pt x="450441" y="1028700"/>
                </a:cubicBezTo>
                <a:cubicBezTo>
                  <a:pt x="448060" y="1030288"/>
                  <a:pt x="445857" y="1032183"/>
                  <a:pt x="443297" y="1033463"/>
                </a:cubicBezTo>
                <a:cubicBezTo>
                  <a:pt x="441052" y="1034585"/>
                  <a:pt x="438114" y="1034276"/>
                  <a:pt x="436154" y="1035844"/>
                </a:cubicBezTo>
                <a:cubicBezTo>
                  <a:pt x="433919" y="1037632"/>
                  <a:pt x="433292" y="1040849"/>
                  <a:pt x="431391" y="1042988"/>
                </a:cubicBezTo>
                <a:cubicBezTo>
                  <a:pt x="426344" y="1048666"/>
                  <a:pt x="417921" y="1058057"/>
                  <a:pt x="409960" y="1062038"/>
                </a:cubicBezTo>
                <a:cubicBezTo>
                  <a:pt x="407715" y="1063161"/>
                  <a:pt x="405197" y="1063625"/>
                  <a:pt x="402816" y="1064419"/>
                </a:cubicBezTo>
                <a:cubicBezTo>
                  <a:pt x="400435" y="1066007"/>
                  <a:pt x="398001" y="1067518"/>
                  <a:pt x="395672" y="1069182"/>
                </a:cubicBezTo>
                <a:cubicBezTo>
                  <a:pt x="374979" y="1083962"/>
                  <a:pt x="395851" y="1069854"/>
                  <a:pt x="379004" y="1081088"/>
                </a:cubicBezTo>
                <a:cubicBezTo>
                  <a:pt x="377416" y="1083469"/>
                  <a:pt x="376073" y="1086033"/>
                  <a:pt x="374241" y="1088232"/>
                </a:cubicBezTo>
                <a:cubicBezTo>
                  <a:pt x="372085" y="1090819"/>
                  <a:pt x="368965" y="1092573"/>
                  <a:pt x="367097" y="1095375"/>
                </a:cubicBezTo>
                <a:cubicBezTo>
                  <a:pt x="365705" y="1097464"/>
                  <a:pt x="365406" y="1100105"/>
                  <a:pt x="364716" y="1102519"/>
                </a:cubicBezTo>
                <a:cubicBezTo>
                  <a:pt x="360664" y="1116701"/>
                  <a:pt x="363328" y="1110156"/>
                  <a:pt x="359954" y="1128713"/>
                </a:cubicBezTo>
                <a:cubicBezTo>
                  <a:pt x="359368" y="1131933"/>
                  <a:pt x="358471" y="1135091"/>
                  <a:pt x="357572" y="1138238"/>
                </a:cubicBezTo>
                <a:cubicBezTo>
                  <a:pt x="355898" y="1144097"/>
                  <a:pt x="354589" y="1149617"/>
                  <a:pt x="348047" y="1152525"/>
                </a:cubicBezTo>
                <a:cubicBezTo>
                  <a:pt x="343635" y="1154486"/>
                  <a:pt x="338522" y="1154113"/>
                  <a:pt x="333760" y="1154907"/>
                </a:cubicBezTo>
                <a:cubicBezTo>
                  <a:pt x="329791" y="1157288"/>
                  <a:pt x="325436" y="1159119"/>
                  <a:pt x="321854" y="1162050"/>
                </a:cubicBezTo>
                <a:cubicBezTo>
                  <a:pt x="316641" y="1166315"/>
                  <a:pt x="307566" y="1176338"/>
                  <a:pt x="307566" y="1176338"/>
                </a:cubicBezTo>
                <a:cubicBezTo>
                  <a:pt x="303375" y="1188912"/>
                  <a:pt x="306577" y="1181394"/>
                  <a:pt x="295660" y="1197769"/>
                </a:cubicBezTo>
                <a:cubicBezTo>
                  <a:pt x="290897" y="1204913"/>
                  <a:pt x="291691" y="1205706"/>
                  <a:pt x="283754" y="1209675"/>
                </a:cubicBezTo>
                <a:cubicBezTo>
                  <a:pt x="277889" y="1212608"/>
                  <a:pt x="267816" y="1213522"/>
                  <a:pt x="262322" y="1214438"/>
                </a:cubicBezTo>
                <a:cubicBezTo>
                  <a:pt x="246237" y="1219800"/>
                  <a:pt x="263672" y="1212364"/>
                  <a:pt x="250416" y="1223963"/>
                </a:cubicBezTo>
                <a:cubicBezTo>
                  <a:pt x="240338" y="1232782"/>
                  <a:pt x="238797" y="1232599"/>
                  <a:pt x="228985" y="1235869"/>
                </a:cubicBezTo>
                <a:cubicBezTo>
                  <a:pt x="225810" y="1238250"/>
                  <a:pt x="222266" y="1240207"/>
                  <a:pt x="219460" y="1243013"/>
                </a:cubicBezTo>
                <a:cubicBezTo>
                  <a:pt x="217436" y="1245037"/>
                  <a:pt x="216932" y="1248369"/>
                  <a:pt x="214697" y="1250157"/>
                </a:cubicBezTo>
                <a:cubicBezTo>
                  <a:pt x="212737" y="1251725"/>
                  <a:pt x="209799" y="1251416"/>
                  <a:pt x="207554" y="1252538"/>
                </a:cubicBezTo>
                <a:cubicBezTo>
                  <a:pt x="204994" y="1253818"/>
                  <a:pt x="203208" y="1256700"/>
                  <a:pt x="200410" y="1257300"/>
                </a:cubicBezTo>
                <a:cubicBezTo>
                  <a:pt x="191837" y="1259137"/>
                  <a:pt x="182947" y="1258888"/>
                  <a:pt x="174216" y="1259682"/>
                </a:cubicBezTo>
                <a:cubicBezTo>
                  <a:pt x="169690" y="1260587"/>
                  <a:pt x="160046" y="1262004"/>
                  <a:pt x="155166" y="1264444"/>
                </a:cubicBezTo>
                <a:cubicBezTo>
                  <a:pt x="152606" y="1265724"/>
                  <a:pt x="150653" y="1268080"/>
                  <a:pt x="148022" y="1269207"/>
                </a:cubicBezTo>
                <a:cubicBezTo>
                  <a:pt x="145014" y="1270496"/>
                  <a:pt x="141644" y="1270689"/>
                  <a:pt x="138497" y="1271588"/>
                </a:cubicBezTo>
                <a:cubicBezTo>
                  <a:pt x="136084" y="1272277"/>
                  <a:pt x="133735" y="1273175"/>
                  <a:pt x="131354" y="1273969"/>
                </a:cubicBezTo>
                <a:cubicBezTo>
                  <a:pt x="126591" y="1273175"/>
                  <a:pt x="121647" y="1273115"/>
                  <a:pt x="117066" y="1271588"/>
                </a:cubicBezTo>
                <a:cubicBezTo>
                  <a:pt x="114351" y="1270683"/>
                  <a:pt x="112407" y="1268245"/>
                  <a:pt x="109922" y="1266825"/>
                </a:cubicBezTo>
                <a:cubicBezTo>
                  <a:pt x="106840" y="1265064"/>
                  <a:pt x="103693" y="1263381"/>
                  <a:pt x="100397" y="1262063"/>
                </a:cubicBezTo>
                <a:cubicBezTo>
                  <a:pt x="100374" y="1262054"/>
                  <a:pt x="82550" y="1256113"/>
                  <a:pt x="78966" y="1254919"/>
                </a:cubicBezTo>
                <a:cubicBezTo>
                  <a:pt x="76585" y="1254125"/>
                  <a:pt x="74322" y="1252765"/>
                  <a:pt x="71822" y="1252538"/>
                </a:cubicBezTo>
                <a:lnTo>
                  <a:pt x="45629" y="1250157"/>
                </a:lnTo>
                <a:cubicBezTo>
                  <a:pt x="43248" y="1248569"/>
                  <a:pt x="40509" y="1247418"/>
                  <a:pt x="38485" y="1245394"/>
                </a:cubicBezTo>
                <a:cubicBezTo>
                  <a:pt x="24731" y="1231640"/>
                  <a:pt x="44126" y="1244754"/>
                  <a:pt x="26579" y="1231107"/>
                </a:cubicBezTo>
                <a:cubicBezTo>
                  <a:pt x="13150" y="1220662"/>
                  <a:pt x="15796" y="1222459"/>
                  <a:pt x="2766" y="1219200"/>
                </a:cubicBezTo>
                <a:cubicBezTo>
                  <a:pt x="15773" y="1216599"/>
                  <a:pt x="7132" y="1217613"/>
                  <a:pt x="9910" y="1216819"/>
                </a:cubicBezTo>
                <a:close/>
              </a:path>
            </a:pathLst>
          </a:custGeom>
          <a:solidFill>
            <a:schemeClr val="accent3"/>
          </a:solidFill>
          <a:ln w="12700">
            <a:solidFill>
              <a:schemeClr val="bg1"/>
            </a:solidFill>
            <a:round/>
            <a:headEnd/>
            <a:tailEnd/>
          </a:ln>
        </p:spPr>
        <p:txBody>
          <a:bodyPr/>
          <a:lstStyle/>
          <a:p>
            <a:endParaRPr lang="nl-NL"/>
          </a:p>
        </p:txBody>
      </p:sp>
      <p:grpSp>
        <p:nvGrpSpPr>
          <p:cNvPr id="9" name="Group 168"/>
          <p:cNvGrpSpPr/>
          <p:nvPr>
            <p:custDataLst>
              <p:tags r:id="rId2"/>
            </p:custDataLst>
          </p:nvPr>
        </p:nvGrpSpPr>
        <p:grpSpPr bwMode="auto">
          <a:xfrm>
            <a:off x="2001677" y="2743394"/>
            <a:ext cx="1985747" cy="1316515"/>
            <a:chOff x="2005013" y="2674938"/>
            <a:chExt cx="2262187" cy="1499790"/>
          </a:xfrm>
          <a:solidFill>
            <a:schemeClr val="accent3"/>
          </a:solidFill>
        </p:grpSpPr>
        <p:sp>
          <p:nvSpPr>
            <p:cNvPr id="6" name="Freeform 5"/>
            <p:cNvSpPr>
              <a:spLocks/>
            </p:cNvSpPr>
            <p:nvPr/>
          </p:nvSpPr>
          <p:spPr bwMode="auto">
            <a:xfrm>
              <a:off x="3392488" y="2952750"/>
              <a:ext cx="257175" cy="273050"/>
            </a:xfrm>
            <a:custGeom>
              <a:avLst/>
              <a:gdLst/>
              <a:ahLst/>
              <a:cxnLst>
                <a:cxn ang="0">
                  <a:pos x="34" y="179"/>
                </a:cxn>
                <a:cxn ang="0">
                  <a:pos x="25" y="169"/>
                </a:cxn>
                <a:cxn ang="0">
                  <a:pos x="19" y="161"/>
                </a:cxn>
                <a:cxn ang="0">
                  <a:pos x="21" y="157"/>
                </a:cxn>
                <a:cxn ang="0">
                  <a:pos x="36" y="154"/>
                </a:cxn>
                <a:cxn ang="0">
                  <a:pos x="48" y="136"/>
                </a:cxn>
                <a:cxn ang="0">
                  <a:pos x="44" y="125"/>
                </a:cxn>
                <a:cxn ang="0">
                  <a:pos x="40" y="119"/>
                </a:cxn>
                <a:cxn ang="0">
                  <a:pos x="44" y="115"/>
                </a:cxn>
                <a:cxn ang="0">
                  <a:pos x="48" y="108"/>
                </a:cxn>
                <a:cxn ang="0">
                  <a:pos x="28" y="96"/>
                </a:cxn>
                <a:cxn ang="0">
                  <a:pos x="5" y="90"/>
                </a:cxn>
                <a:cxn ang="0">
                  <a:pos x="0" y="77"/>
                </a:cxn>
                <a:cxn ang="0">
                  <a:pos x="9" y="67"/>
                </a:cxn>
                <a:cxn ang="0">
                  <a:pos x="21" y="67"/>
                </a:cxn>
                <a:cxn ang="0">
                  <a:pos x="27" y="69"/>
                </a:cxn>
                <a:cxn ang="0">
                  <a:pos x="34" y="69"/>
                </a:cxn>
                <a:cxn ang="0">
                  <a:pos x="44" y="62"/>
                </a:cxn>
                <a:cxn ang="0">
                  <a:pos x="53" y="52"/>
                </a:cxn>
                <a:cxn ang="0">
                  <a:pos x="63" y="48"/>
                </a:cxn>
                <a:cxn ang="0">
                  <a:pos x="73" y="42"/>
                </a:cxn>
                <a:cxn ang="0">
                  <a:pos x="78" y="33"/>
                </a:cxn>
                <a:cxn ang="0">
                  <a:pos x="78" y="23"/>
                </a:cxn>
                <a:cxn ang="0">
                  <a:pos x="78" y="14"/>
                </a:cxn>
                <a:cxn ang="0">
                  <a:pos x="92" y="10"/>
                </a:cxn>
                <a:cxn ang="0">
                  <a:pos x="111" y="4"/>
                </a:cxn>
                <a:cxn ang="0">
                  <a:pos x="126" y="0"/>
                </a:cxn>
                <a:cxn ang="0">
                  <a:pos x="147" y="0"/>
                </a:cxn>
                <a:cxn ang="0">
                  <a:pos x="163" y="2"/>
                </a:cxn>
                <a:cxn ang="0">
                  <a:pos x="165" y="6"/>
                </a:cxn>
                <a:cxn ang="0">
                  <a:pos x="165" y="14"/>
                </a:cxn>
                <a:cxn ang="0">
                  <a:pos x="159" y="19"/>
                </a:cxn>
                <a:cxn ang="0">
                  <a:pos x="149" y="23"/>
                </a:cxn>
                <a:cxn ang="0">
                  <a:pos x="130" y="37"/>
                </a:cxn>
                <a:cxn ang="0">
                  <a:pos x="115" y="46"/>
                </a:cxn>
                <a:cxn ang="0">
                  <a:pos x="109" y="58"/>
                </a:cxn>
                <a:cxn ang="0">
                  <a:pos x="99" y="71"/>
                </a:cxn>
                <a:cxn ang="0">
                  <a:pos x="90" y="83"/>
                </a:cxn>
                <a:cxn ang="0">
                  <a:pos x="86" y="94"/>
                </a:cxn>
                <a:cxn ang="0">
                  <a:pos x="86" y="108"/>
                </a:cxn>
                <a:cxn ang="0">
                  <a:pos x="82" y="123"/>
                </a:cxn>
                <a:cxn ang="0">
                  <a:pos x="76" y="161"/>
                </a:cxn>
                <a:cxn ang="0">
                  <a:pos x="63" y="180"/>
                </a:cxn>
                <a:cxn ang="0">
                  <a:pos x="48" y="180"/>
                </a:cxn>
              </a:cxnLst>
              <a:rect l="0" t="0" r="r" b="b"/>
              <a:pathLst>
                <a:path w="165" h="182">
                  <a:moveTo>
                    <a:pt x="40" y="182"/>
                  </a:moveTo>
                  <a:lnTo>
                    <a:pt x="34" y="179"/>
                  </a:lnTo>
                  <a:lnTo>
                    <a:pt x="28" y="173"/>
                  </a:lnTo>
                  <a:lnTo>
                    <a:pt x="25" y="169"/>
                  </a:lnTo>
                  <a:lnTo>
                    <a:pt x="19" y="163"/>
                  </a:lnTo>
                  <a:lnTo>
                    <a:pt x="19" y="161"/>
                  </a:lnTo>
                  <a:lnTo>
                    <a:pt x="19" y="159"/>
                  </a:lnTo>
                  <a:lnTo>
                    <a:pt x="21" y="157"/>
                  </a:lnTo>
                  <a:lnTo>
                    <a:pt x="25" y="154"/>
                  </a:lnTo>
                  <a:lnTo>
                    <a:pt x="36" y="154"/>
                  </a:lnTo>
                  <a:lnTo>
                    <a:pt x="48" y="154"/>
                  </a:lnTo>
                  <a:lnTo>
                    <a:pt x="48" y="136"/>
                  </a:lnTo>
                  <a:lnTo>
                    <a:pt x="48" y="129"/>
                  </a:lnTo>
                  <a:lnTo>
                    <a:pt x="44" y="125"/>
                  </a:lnTo>
                  <a:lnTo>
                    <a:pt x="40" y="125"/>
                  </a:lnTo>
                  <a:lnTo>
                    <a:pt x="40" y="119"/>
                  </a:lnTo>
                  <a:lnTo>
                    <a:pt x="40" y="115"/>
                  </a:lnTo>
                  <a:lnTo>
                    <a:pt x="44" y="115"/>
                  </a:lnTo>
                  <a:lnTo>
                    <a:pt x="48" y="113"/>
                  </a:lnTo>
                  <a:lnTo>
                    <a:pt x="48" y="108"/>
                  </a:lnTo>
                  <a:lnTo>
                    <a:pt x="48" y="96"/>
                  </a:lnTo>
                  <a:lnTo>
                    <a:pt x="28" y="96"/>
                  </a:lnTo>
                  <a:lnTo>
                    <a:pt x="9" y="96"/>
                  </a:lnTo>
                  <a:lnTo>
                    <a:pt x="5" y="90"/>
                  </a:lnTo>
                  <a:lnTo>
                    <a:pt x="0" y="86"/>
                  </a:lnTo>
                  <a:lnTo>
                    <a:pt x="0" y="77"/>
                  </a:lnTo>
                  <a:lnTo>
                    <a:pt x="0" y="67"/>
                  </a:lnTo>
                  <a:lnTo>
                    <a:pt x="9" y="67"/>
                  </a:lnTo>
                  <a:lnTo>
                    <a:pt x="19" y="67"/>
                  </a:lnTo>
                  <a:lnTo>
                    <a:pt x="21" y="67"/>
                  </a:lnTo>
                  <a:lnTo>
                    <a:pt x="25" y="67"/>
                  </a:lnTo>
                  <a:lnTo>
                    <a:pt x="27" y="69"/>
                  </a:lnTo>
                  <a:lnTo>
                    <a:pt x="28" y="73"/>
                  </a:lnTo>
                  <a:lnTo>
                    <a:pt x="34" y="69"/>
                  </a:lnTo>
                  <a:lnTo>
                    <a:pt x="40" y="67"/>
                  </a:lnTo>
                  <a:lnTo>
                    <a:pt x="44" y="62"/>
                  </a:lnTo>
                  <a:lnTo>
                    <a:pt x="48" y="58"/>
                  </a:lnTo>
                  <a:lnTo>
                    <a:pt x="53" y="52"/>
                  </a:lnTo>
                  <a:lnTo>
                    <a:pt x="57" y="48"/>
                  </a:lnTo>
                  <a:lnTo>
                    <a:pt x="63" y="48"/>
                  </a:lnTo>
                  <a:lnTo>
                    <a:pt x="69" y="48"/>
                  </a:lnTo>
                  <a:lnTo>
                    <a:pt x="73" y="42"/>
                  </a:lnTo>
                  <a:lnTo>
                    <a:pt x="78" y="38"/>
                  </a:lnTo>
                  <a:lnTo>
                    <a:pt x="78" y="33"/>
                  </a:lnTo>
                  <a:lnTo>
                    <a:pt x="78" y="29"/>
                  </a:lnTo>
                  <a:lnTo>
                    <a:pt x="78" y="23"/>
                  </a:lnTo>
                  <a:lnTo>
                    <a:pt x="78" y="19"/>
                  </a:lnTo>
                  <a:lnTo>
                    <a:pt x="78" y="14"/>
                  </a:lnTo>
                  <a:lnTo>
                    <a:pt x="78" y="10"/>
                  </a:lnTo>
                  <a:lnTo>
                    <a:pt x="92" y="10"/>
                  </a:lnTo>
                  <a:lnTo>
                    <a:pt x="107" y="10"/>
                  </a:lnTo>
                  <a:lnTo>
                    <a:pt x="111" y="4"/>
                  </a:lnTo>
                  <a:lnTo>
                    <a:pt x="117" y="0"/>
                  </a:lnTo>
                  <a:lnTo>
                    <a:pt x="126" y="0"/>
                  </a:lnTo>
                  <a:lnTo>
                    <a:pt x="136" y="0"/>
                  </a:lnTo>
                  <a:lnTo>
                    <a:pt x="147" y="0"/>
                  </a:lnTo>
                  <a:lnTo>
                    <a:pt x="161" y="0"/>
                  </a:lnTo>
                  <a:lnTo>
                    <a:pt x="163" y="2"/>
                  </a:lnTo>
                  <a:lnTo>
                    <a:pt x="165" y="4"/>
                  </a:lnTo>
                  <a:lnTo>
                    <a:pt x="165" y="6"/>
                  </a:lnTo>
                  <a:lnTo>
                    <a:pt x="165" y="10"/>
                  </a:lnTo>
                  <a:lnTo>
                    <a:pt x="165" y="14"/>
                  </a:lnTo>
                  <a:lnTo>
                    <a:pt x="165" y="19"/>
                  </a:lnTo>
                  <a:lnTo>
                    <a:pt x="159" y="19"/>
                  </a:lnTo>
                  <a:lnTo>
                    <a:pt x="155" y="19"/>
                  </a:lnTo>
                  <a:lnTo>
                    <a:pt x="149" y="23"/>
                  </a:lnTo>
                  <a:lnTo>
                    <a:pt x="145" y="29"/>
                  </a:lnTo>
                  <a:lnTo>
                    <a:pt x="130" y="37"/>
                  </a:lnTo>
                  <a:lnTo>
                    <a:pt x="119" y="42"/>
                  </a:lnTo>
                  <a:lnTo>
                    <a:pt x="115" y="46"/>
                  </a:lnTo>
                  <a:lnTo>
                    <a:pt x="113" y="52"/>
                  </a:lnTo>
                  <a:lnTo>
                    <a:pt x="109" y="58"/>
                  </a:lnTo>
                  <a:lnTo>
                    <a:pt x="107" y="67"/>
                  </a:lnTo>
                  <a:lnTo>
                    <a:pt x="99" y="71"/>
                  </a:lnTo>
                  <a:lnTo>
                    <a:pt x="94" y="77"/>
                  </a:lnTo>
                  <a:lnTo>
                    <a:pt x="90" y="83"/>
                  </a:lnTo>
                  <a:lnTo>
                    <a:pt x="88" y="88"/>
                  </a:lnTo>
                  <a:lnTo>
                    <a:pt x="86" y="94"/>
                  </a:lnTo>
                  <a:lnTo>
                    <a:pt x="86" y="100"/>
                  </a:lnTo>
                  <a:lnTo>
                    <a:pt x="86" y="108"/>
                  </a:lnTo>
                  <a:lnTo>
                    <a:pt x="88" y="115"/>
                  </a:lnTo>
                  <a:lnTo>
                    <a:pt x="82" y="123"/>
                  </a:lnTo>
                  <a:lnTo>
                    <a:pt x="78" y="140"/>
                  </a:lnTo>
                  <a:lnTo>
                    <a:pt x="76" y="161"/>
                  </a:lnTo>
                  <a:lnTo>
                    <a:pt x="78" y="182"/>
                  </a:lnTo>
                  <a:lnTo>
                    <a:pt x="63" y="180"/>
                  </a:lnTo>
                  <a:lnTo>
                    <a:pt x="55" y="179"/>
                  </a:lnTo>
                  <a:lnTo>
                    <a:pt x="48" y="180"/>
                  </a:lnTo>
                  <a:lnTo>
                    <a:pt x="40" y="182"/>
                  </a:lnTo>
                </a:path>
              </a:pathLst>
            </a:custGeom>
            <a:grpFill/>
            <a:ln w="12700">
              <a:solidFill>
                <a:schemeClr val="bg1"/>
              </a:solidFill>
              <a:round/>
              <a:headEnd/>
              <a:tailEnd/>
            </a:ln>
          </p:spPr>
          <p:txBody>
            <a:bodyPr/>
            <a:lstStyle/>
            <a:p>
              <a:pPr>
                <a:defRPr/>
              </a:pPr>
              <a:endParaRPr lang="en-GB"/>
            </a:p>
          </p:txBody>
        </p:sp>
        <p:sp>
          <p:nvSpPr>
            <p:cNvPr id="7" name="Freeform 6"/>
            <p:cNvSpPr>
              <a:spLocks/>
            </p:cNvSpPr>
            <p:nvPr/>
          </p:nvSpPr>
          <p:spPr bwMode="auto">
            <a:xfrm>
              <a:off x="3632200" y="2674938"/>
              <a:ext cx="635000" cy="277812"/>
            </a:xfrm>
            <a:custGeom>
              <a:avLst/>
              <a:gdLst/>
              <a:ahLst/>
              <a:cxnLst>
                <a:cxn ang="0">
                  <a:pos x="10" y="178"/>
                </a:cxn>
                <a:cxn ang="0">
                  <a:pos x="0" y="169"/>
                </a:cxn>
                <a:cxn ang="0">
                  <a:pos x="19" y="153"/>
                </a:cxn>
                <a:cxn ang="0">
                  <a:pos x="4" y="146"/>
                </a:cxn>
                <a:cxn ang="0">
                  <a:pos x="0" y="134"/>
                </a:cxn>
                <a:cxn ang="0">
                  <a:pos x="13" y="130"/>
                </a:cxn>
                <a:cxn ang="0">
                  <a:pos x="29" y="125"/>
                </a:cxn>
                <a:cxn ang="0">
                  <a:pos x="42" y="121"/>
                </a:cxn>
                <a:cxn ang="0">
                  <a:pos x="58" y="105"/>
                </a:cxn>
                <a:cxn ang="0">
                  <a:pos x="73" y="105"/>
                </a:cxn>
                <a:cxn ang="0">
                  <a:pos x="86" y="86"/>
                </a:cxn>
                <a:cxn ang="0">
                  <a:pos x="96" y="77"/>
                </a:cxn>
                <a:cxn ang="0">
                  <a:pos x="106" y="67"/>
                </a:cxn>
                <a:cxn ang="0">
                  <a:pos x="117" y="54"/>
                </a:cxn>
                <a:cxn ang="0">
                  <a:pos x="125" y="48"/>
                </a:cxn>
                <a:cxn ang="0">
                  <a:pos x="144" y="42"/>
                </a:cxn>
                <a:cxn ang="0">
                  <a:pos x="165" y="38"/>
                </a:cxn>
                <a:cxn ang="0">
                  <a:pos x="178" y="29"/>
                </a:cxn>
                <a:cxn ang="0">
                  <a:pos x="194" y="29"/>
                </a:cxn>
                <a:cxn ang="0">
                  <a:pos x="236" y="13"/>
                </a:cxn>
                <a:cxn ang="0">
                  <a:pos x="251" y="9"/>
                </a:cxn>
                <a:cxn ang="0">
                  <a:pos x="274" y="19"/>
                </a:cxn>
                <a:cxn ang="0">
                  <a:pos x="280" y="29"/>
                </a:cxn>
                <a:cxn ang="0">
                  <a:pos x="324" y="29"/>
                </a:cxn>
                <a:cxn ang="0">
                  <a:pos x="357" y="19"/>
                </a:cxn>
                <a:cxn ang="0">
                  <a:pos x="363" y="9"/>
                </a:cxn>
                <a:cxn ang="0">
                  <a:pos x="378" y="0"/>
                </a:cxn>
                <a:cxn ang="0">
                  <a:pos x="397" y="0"/>
                </a:cxn>
                <a:cxn ang="0">
                  <a:pos x="407" y="9"/>
                </a:cxn>
                <a:cxn ang="0">
                  <a:pos x="397" y="23"/>
                </a:cxn>
                <a:cxn ang="0">
                  <a:pos x="378" y="29"/>
                </a:cxn>
                <a:cxn ang="0">
                  <a:pos x="372" y="42"/>
                </a:cxn>
                <a:cxn ang="0">
                  <a:pos x="357" y="48"/>
                </a:cxn>
                <a:cxn ang="0">
                  <a:pos x="320" y="57"/>
                </a:cxn>
                <a:cxn ang="0">
                  <a:pos x="271" y="57"/>
                </a:cxn>
                <a:cxn ang="0">
                  <a:pos x="263" y="48"/>
                </a:cxn>
                <a:cxn ang="0">
                  <a:pos x="251" y="57"/>
                </a:cxn>
                <a:cxn ang="0">
                  <a:pos x="196" y="69"/>
                </a:cxn>
                <a:cxn ang="0">
                  <a:pos x="165" y="82"/>
                </a:cxn>
                <a:cxn ang="0">
                  <a:pos x="131" y="105"/>
                </a:cxn>
                <a:cxn ang="0">
                  <a:pos x="86" y="115"/>
                </a:cxn>
                <a:cxn ang="0">
                  <a:pos x="77" y="134"/>
                </a:cxn>
                <a:cxn ang="0">
                  <a:pos x="29" y="184"/>
                </a:cxn>
                <a:cxn ang="0">
                  <a:pos x="17" y="184"/>
                </a:cxn>
              </a:cxnLst>
              <a:rect l="0" t="0" r="r" b="b"/>
              <a:pathLst>
                <a:path w="407" h="184">
                  <a:moveTo>
                    <a:pt x="13" y="184"/>
                  </a:moveTo>
                  <a:lnTo>
                    <a:pt x="12" y="180"/>
                  </a:lnTo>
                  <a:lnTo>
                    <a:pt x="10" y="178"/>
                  </a:lnTo>
                  <a:lnTo>
                    <a:pt x="4" y="176"/>
                  </a:lnTo>
                  <a:lnTo>
                    <a:pt x="0" y="175"/>
                  </a:lnTo>
                  <a:lnTo>
                    <a:pt x="0" y="169"/>
                  </a:lnTo>
                  <a:lnTo>
                    <a:pt x="0" y="163"/>
                  </a:lnTo>
                  <a:lnTo>
                    <a:pt x="10" y="159"/>
                  </a:lnTo>
                  <a:lnTo>
                    <a:pt x="19" y="153"/>
                  </a:lnTo>
                  <a:lnTo>
                    <a:pt x="13" y="150"/>
                  </a:lnTo>
                  <a:lnTo>
                    <a:pt x="10" y="146"/>
                  </a:lnTo>
                  <a:lnTo>
                    <a:pt x="4" y="146"/>
                  </a:lnTo>
                  <a:lnTo>
                    <a:pt x="0" y="146"/>
                  </a:lnTo>
                  <a:lnTo>
                    <a:pt x="0" y="140"/>
                  </a:lnTo>
                  <a:lnTo>
                    <a:pt x="0" y="134"/>
                  </a:lnTo>
                  <a:lnTo>
                    <a:pt x="4" y="134"/>
                  </a:lnTo>
                  <a:lnTo>
                    <a:pt x="10" y="134"/>
                  </a:lnTo>
                  <a:lnTo>
                    <a:pt x="13" y="130"/>
                  </a:lnTo>
                  <a:lnTo>
                    <a:pt x="19" y="125"/>
                  </a:lnTo>
                  <a:lnTo>
                    <a:pt x="25" y="125"/>
                  </a:lnTo>
                  <a:lnTo>
                    <a:pt x="29" y="125"/>
                  </a:lnTo>
                  <a:lnTo>
                    <a:pt x="35" y="125"/>
                  </a:lnTo>
                  <a:lnTo>
                    <a:pt x="38" y="125"/>
                  </a:lnTo>
                  <a:lnTo>
                    <a:pt x="42" y="121"/>
                  </a:lnTo>
                  <a:lnTo>
                    <a:pt x="48" y="115"/>
                  </a:lnTo>
                  <a:lnTo>
                    <a:pt x="54" y="111"/>
                  </a:lnTo>
                  <a:lnTo>
                    <a:pt x="58" y="105"/>
                  </a:lnTo>
                  <a:lnTo>
                    <a:pt x="63" y="105"/>
                  </a:lnTo>
                  <a:lnTo>
                    <a:pt x="67" y="105"/>
                  </a:lnTo>
                  <a:lnTo>
                    <a:pt x="73" y="105"/>
                  </a:lnTo>
                  <a:lnTo>
                    <a:pt x="77" y="105"/>
                  </a:lnTo>
                  <a:lnTo>
                    <a:pt x="83" y="96"/>
                  </a:lnTo>
                  <a:lnTo>
                    <a:pt x="86" y="86"/>
                  </a:lnTo>
                  <a:lnTo>
                    <a:pt x="92" y="86"/>
                  </a:lnTo>
                  <a:lnTo>
                    <a:pt x="96" y="86"/>
                  </a:lnTo>
                  <a:lnTo>
                    <a:pt x="96" y="77"/>
                  </a:lnTo>
                  <a:lnTo>
                    <a:pt x="96" y="67"/>
                  </a:lnTo>
                  <a:lnTo>
                    <a:pt x="102" y="67"/>
                  </a:lnTo>
                  <a:lnTo>
                    <a:pt x="106" y="67"/>
                  </a:lnTo>
                  <a:lnTo>
                    <a:pt x="111" y="63"/>
                  </a:lnTo>
                  <a:lnTo>
                    <a:pt x="117" y="57"/>
                  </a:lnTo>
                  <a:lnTo>
                    <a:pt x="117" y="54"/>
                  </a:lnTo>
                  <a:lnTo>
                    <a:pt x="117" y="48"/>
                  </a:lnTo>
                  <a:lnTo>
                    <a:pt x="121" y="48"/>
                  </a:lnTo>
                  <a:lnTo>
                    <a:pt x="125" y="48"/>
                  </a:lnTo>
                  <a:lnTo>
                    <a:pt x="131" y="48"/>
                  </a:lnTo>
                  <a:lnTo>
                    <a:pt x="134" y="48"/>
                  </a:lnTo>
                  <a:lnTo>
                    <a:pt x="144" y="42"/>
                  </a:lnTo>
                  <a:lnTo>
                    <a:pt x="155" y="38"/>
                  </a:lnTo>
                  <a:lnTo>
                    <a:pt x="159" y="38"/>
                  </a:lnTo>
                  <a:lnTo>
                    <a:pt x="165" y="38"/>
                  </a:lnTo>
                  <a:lnTo>
                    <a:pt x="169" y="33"/>
                  </a:lnTo>
                  <a:lnTo>
                    <a:pt x="175" y="29"/>
                  </a:lnTo>
                  <a:lnTo>
                    <a:pt x="178" y="29"/>
                  </a:lnTo>
                  <a:lnTo>
                    <a:pt x="184" y="29"/>
                  </a:lnTo>
                  <a:lnTo>
                    <a:pt x="188" y="29"/>
                  </a:lnTo>
                  <a:lnTo>
                    <a:pt x="194" y="29"/>
                  </a:lnTo>
                  <a:lnTo>
                    <a:pt x="213" y="23"/>
                  </a:lnTo>
                  <a:lnTo>
                    <a:pt x="232" y="19"/>
                  </a:lnTo>
                  <a:lnTo>
                    <a:pt x="236" y="13"/>
                  </a:lnTo>
                  <a:lnTo>
                    <a:pt x="242" y="9"/>
                  </a:lnTo>
                  <a:lnTo>
                    <a:pt x="246" y="9"/>
                  </a:lnTo>
                  <a:lnTo>
                    <a:pt x="251" y="9"/>
                  </a:lnTo>
                  <a:lnTo>
                    <a:pt x="261" y="13"/>
                  </a:lnTo>
                  <a:lnTo>
                    <a:pt x="271" y="19"/>
                  </a:lnTo>
                  <a:lnTo>
                    <a:pt x="274" y="19"/>
                  </a:lnTo>
                  <a:lnTo>
                    <a:pt x="280" y="19"/>
                  </a:lnTo>
                  <a:lnTo>
                    <a:pt x="280" y="23"/>
                  </a:lnTo>
                  <a:lnTo>
                    <a:pt x="280" y="29"/>
                  </a:lnTo>
                  <a:lnTo>
                    <a:pt x="290" y="29"/>
                  </a:lnTo>
                  <a:lnTo>
                    <a:pt x="299" y="29"/>
                  </a:lnTo>
                  <a:lnTo>
                    <a:pt x="324" y="29"/>
                  </a:lnTo>
                  <a:lnTo>
                    <a:pt x="349" y="29"/>
                  </a:lnTo>
                  <a:lnTo>
                    <a:pt x="353" y="23"/>
                  </a:lnTo>
                  <a:lnTo>
                    <a:pt x="357" y="19"/>
                  </a:lnTo>
                  <a:lnTo>
                    <a:pt x="357" y="13"/>
                  </a:lnTo>
                  <a:lnTo>
                    <a:pt x="357" y="9"/>
                  </a:lnTo>
                  <a:lnTo>
                    <a:pt x="363" y="9"/>
                  </a:lnTo>
                  <a:lnTo>
                    <a:pt x="367" y="9"/>
                  </a:lnTo>
                  <a:lnTo>
                    <a:pt x="372" y="4"/>
                  </a:lnTo>
                  <a:lnTo>
                    <a:pt x="378" y="0"/>
                  </a:lnTo>
                  <a:lnTo>
                    <a:pt x="382" y="0"/>
                  </a:lnTo>
                  <a:lnTo>
                    <a:pt x="388" y="0"/>
                  </a:lnTo>
                  <a:lnTo>
                    <a:pt x="397" y="0"/>
                  </a:lnTo>
                  <a:lnTo>
                    <a:pt x="407" y="0"/>
                  </a:lnTo>
                  <a:lnTo>
                    <a:pt x="407" y="4"/>
                  </a:lnTo>
                  <a:lnTo>
                    <a:pt x="407" y="9"/>
                  </a:lnTo>
                  <a:lnTo>
                    <a:pt x="407" y="13"/>
                  </a:lnTo>
                  <a:lnTo>
                    <a:pt x="407" y="19"/>
                  </a:lnTo>
                  <a:lnTo>
                    <a:pt x="397" y="23"/>
                  </a:lnTo>
                  <a:lnTo>
                    <a:pt x="388" y="29"/>
                  </a:lnTo>
                  <a:lnTo>
                    <a:pt x="382" y="29"/>
                  </a:lnTo>
                  <a:lnTo>
                    <a:pt x="378" y="29"/>
                  </a:lnTo>
                  <a:lnTo>
                    <a:pt x="378" y="33"/>
                  </a:lnTo>
                  <a:lnTo>
                    <a:pt x="378" y="38"/>
                  </a:lnTo>
                  <a:lnTo>
                    <a:pt x="372" y="42"/>
                  </a:lnTo>
                  <a:lnTo>
                    <a:pt x="367" y="48"/>
                  </a:lnTo>
                  <a:lnTo>
                    <a:pt x="363" y="48"/>
                  </a:lnTo>
                  <a:lnTo>
                    <a:pt x="357" y="48"/>
                  </a:lnTo>
                  <a:lnTo>
                    <a:pt x="347" y="54"/>
                  </a:lnTo>
                  <a:lnTo>
                    <a:pt x="338" y="57"/>
                  </a:lnTo>
                  <a:lnTo>
                    <a:pt x="320" y="57"/>
                  </a:lnTo>
                  <a:lnTo>
                    <a:pt x="305" y="57"/>
                  </a:lnTo>
                  <a:lnTo>
                    <a:pt x="288" y="57"/>
                  </a:lnTo>
                  <a:lnTo>
                    <a:pt x="271" y="57"/>
                  </a:lnTo>
                  <a:lnTo>
                    <a:pt x="271" y="52"/>
                  </a:lnTo>
                  <a:lnTo>
                    <a:pt x="269" y="50"/>
                  </a:lnTo>
                  <a:lnTo>
                    <a:pt x="263" y="48"/>
                  </a:lnTo>
                  <a:lnTo>
                    <a:pt x="251" y="48"/>
                  </a:lnTo>
                  <a:lnTo>
                    <a:pt x="251" y="54"/>
                  </a:lnTo>
                  <a:lnTo>
                    <a:pt x="251" y="57"/>
                  </a:lnTo>
                  <a:lnTo>
                    <a:pt x="223" y="61"/>
                  </a:lnTo>
                  <a:lnTo>
                    <a:pt x="207" y="63"/>
                  </a:lnTo>
                  <a:lnTo>
                    <a:pt x="196" y="69"/>
                  </a:lnTo>
                  <a:lnTo>
                    <a:pt x="184" y="77"/>
                  </a:lnTo>
                  <a:lnTo>
                    <a:pt x="173" y="80"/>
                  </a:lnTo>
                  <a:lnTo>
                    <a:pt x="165" y="82"/>
                  </a:lnTo>
                  <a:lnTo>
                    <a:pt x="161" y="88"/>
                  </a:lnTo>
                  <a:lnTo>
                    <a:pt x="155" y="96"/>
                  </a:lnTo>
                  <a:lnTo>
                    <a:pt x="131" y="105"/>
                  </a:lnTo>
                  <a:lnTo>
                    <a:pt x="106" y="115"/>
                  </a:lnTo>
                  <a:lnTo>
                    <a:pt x="96" y="115"/>
                  </a:lnTo>
                  <a:lnTo>
                    <a:pt x="86" y="115"/>
                  </a:lnTo>
                  <a:lnTo>
                    <a:pt x="86" y="125"/>
                  </a:lnTo>
                  <a:lnTo>
                    <a:pt x="86" y="134"/>
                  </a:lnTo>
                  <a:lnTo>
                    <a:pt x="77" y="134"/>
                  </a:lnTo>
                  <a:lnTo>
                    <a:pt x="67" y="134"/>
                  </a:lnTo>
                  <a:lnTo>
                    <a:pt x="48" y="159"/>
                  </a:lnTo>
                  <a:lnTo>
                    <a:pt x="29" y="184"/>
                  </a:lnTo>
                  <a:lnTo>
                    <a:pt x="25" y="184"/>
                  </a:lnTo>
                  <a:lnTo>
                    <a:pt x="19" y="184"/>
                  </a:lnTo>
                  <a:lnTo>
                    <a:pt x="17" y="184"/>
                  </a:lnTo>
                  <a:lnTo>
                    <a:pt x="13" y="184"/>
                  </a:lnTo>
                </a:path>
              </a:pathLst>
            </a:custGeom>
            <a:grpFill/>
            <a:ln w="12700">
              <a:solidFill>
                <a:schemeClr val="bg1"/>
              </a:solidFill>
              <a:round/>
              <a:headEnd/>
              <a:tailEnd/>
            </a:ln>
          </p:spPr>
          <p:txBody>
            <a:bodyPr/>
            <a:lstStyle/>
            <a:p>
              <a:pPr>
                <a:defRPr/>
              </a:pPr>
              <a:endParaRPr lang="en-GB"/>
            </a:p>
          </p:txBody>
        </p:sp>
        <p:sp>
          <p:nvSpPr>
            <p:cNvPr id="8" name="Freeform 7"/>
            <p:cNvSpPr/>
            <p:nvPr/>
          </p:nvSpPr>
          <p:spPr bwMode="auto">
            <a:xfrm>
              <a:off x="2005013" y="3318313"/>
              <a:ext cx="1819275" cy="856415"/>
            </a:xfrm>
            <a:custGeom>
              <a:avLst/>
              <a:gdLst>
                <a:gd name="connsiteX0" fmla="*/ 492918 w 1819275"/>
                <a:gd name="connsiteY0" fmla="*/ 856018 h 856415"/>
                <a:gd name="connsiteX1" fmla="*/ 523875 w 1819275"/>
                <a:gd name="connsiteY1" fmla="*/ 853637 h 856415"/>
                <a:gd name="connsiteX2" fmla="*/ 545306 w 1819275"/>
                <a:gd name="connsiteY2" fmla="*/ 841731 h 856415"/>
                <a:gd name="connsiteX3" fmla="*/ 559593 w 1819275"/>
                <a:gd name="connsiteY3" fmla="*/ 836968 h 856415"/>
                <a:gd name="connsiteX4" fmla="*/ 578643 w 1819275"/>
                <a:gd name="connsiteY4" fmla="*/ 832206 h 856415"/>
                <a:gd name="connsiteX5" fmla="*/ 585787 w 1819275"/>
                <a:gd name="connsiteY5" fmla="*/ 827443 h 856415"/>
                <a:gd name="connsiteX6" fmla="*/ 600075 w 1819275"/>
                <a:gd name="connsiteY6" fmla="*/ 820300 h 856415"/>
                <a:gd name="connsiteX7" fmla="*/ 604837 w 1819275"/>
                <a:gd name="connsiteY7" fmla="*/ 784581 h 856415"/>
                <a:gd name="connsiteX8" fmla="*/ 609600 w 1819275"/>
                <a:gd name="connsiteY8" fmla="*/ 770293 h 856415"/>
                <a:gd name="connsiteX9" fmla="*/ 616743 w 1819275"/>
                <a:gd name="connsiteY9" fmla="*/ 765531 h 856415"/>
                <a:gd name="connsiteX10" fmla="*/ 626268 w 1819275"/>
                <a:gd name="connsiteY10" fmla="*/ 760768 h 856415"/>
                <a:gd name="connsiteX11" fmla="*/ 645318 w 1819275"/>
                <a:gd name="connsiteY11" fmla="*/ 746481 h 856415"/>
                <a:gd name="connsiteX12" fmla="*/ 654843 w 1819275"/>
                <a:gd name="connsiteY12" fmla="*/ 739337 h 856415"/>
                <a:gd name="connsiteX13" fmla="*/ 661987 w 1819275"/>
                <a:gd name="connsiteY13" fmla="*/ 734575 h 856415"/>
                <a:gd name="connsiteX14" fmla="*/ 673893 w 1819275"/>
                <a:gd name="connsiteY14" fmla="*/ 720287 h 856415"/>
                <a:gd name="connsiteX15" fmla="*/ 666750 w 1819275"/>
                <a:gd name="connsiteY15" fmla="*/ 684568 h 856415"/>
                <a:gd name="connsiteX16" fmla="*/ 652462 w 1819275"/>
                <a:gd name="connsiteY16" fmla="*/ 670281 h 856415"/>
                <a:gd name="connsiteX17" fmla="*/ 623887 w 1819275"/>
                <a:gd name="connsiteY17" fmla="*/ 675043 h 856415"/>
                <a:gd name="connsiteX18" fmla="*/ 609600 w 1819275"/>
                <a:gd name="connsiteY18" fmla="*/ 679806 h 856415"/>
                <a:gd name="connsiteX19" fmla="*/ 602456 w 1819275"/>
                <a:gd name="connsiteY19" fmla="*/ 682187 h 856415"/>
                <a:gd name="connsiteX20" fmla="*/ 585787 w 1819275"/>
                <a:gd name="connsiteY20" fmla="*/ 679806 h 856415"/>
                <a:gd name="connsiteX21" fmla="*/ 569118 w 1819275"/>
                <a:gd name="connsiteY21" fmla="*/ 675043 h 856415"/>
                <a:gd name="connsiteX22" fmla="*/ 557212 w 1819275"/>
                <a:gd name="connsiteY22" fmla="*/ 660756 h 856415"/>
                <a:gd name="connsiteX23" fmla="*/ 550068 w 1819275"/>
                <a:gd name="connsiteY23" fmla="*/ 653612 h 856415"/>
                <a:gd name="connsiteX24" fmla="*/ 552450 w 1819275"/>
                <a:gd name="connsiteY24" fmla="*/ 636943 h 856415"/>
                <a:gd name="connsiteX25" fmla="*/ 564356 w 1819275"/>
                <a:gd name="connsiteY25" fmla="*/ 622656 h 856415"/>
                <a:gd name="connsiteX26" fmla="*/ 571500 w 1819275"/>
                <a:gd name="connsiteY26" fmla="*/ 620275 h 856415"/>
                <a:gd name="connsiteX27" fmla="*/ 578643 w 1819275"/>
                <a:gd name="connsiteY27" fmla="*/ 615512 h 856415"/>
                <a:gd name="connsiteX28" fmla="*/ 588168 w 1819275"/>
                <a:gd name="connsiteY28" fmla="*/ 613131 h 856415"/>
                <a:gd name="connsiteX29" fmla="*/ 595312 w 1819275"/>
                <a:gd name="connsiteY29" fmla="*/ 605987 h 856415"/>
                <a:gd name="connsiteX30" fmla="*/ 609600 w 1819275"/>
                <a:gd name="connsiteY30" fmla="*/ 598843 h 856415"/>
                <a:gd name="connsiteX31" fmla="*/ 623887 w 1819275"/>
                <a:gd name="connsiteY31" fmla="*/ 586937 h 856415"/>
                <a:gd name="connsiteX32" fmla="*/ 623887 w 1819275"/>
                <a:gd name="connsiteY32" fmla="*/ 570268 h 856415"/>
                <a:gd name="connsiteX33" fmla="*/ 633412 w 1819275"/>
                <a:gd name="connsiteY33" fmla="*/ 432156 h 856415"/>
                <a:gd name="connsiteX34" fmla="*/ 657225 w 1819275"/>
                <a:gd name="connsiteY34" fmla="*/ 436918 h 856415"/>
                <a:gd name="connsiteX35" fmla="*/ 673893 w 1819275"/>
                <a:gd name="connsiteY35" fmla="*/ 444062 h 856415"/>
                <a:gd name="connsiteX36" fmla="*/ 692943 w 1819275"/>
                <a:gd name="connsiteY36" fmla="*/ 446443 h 856415"/>
                <a:gd name="connsiteX37" fmla="*/ 707231 w 1819275"/>
                <a:gd name="connsiteY37" fmla="*/ 451206 h 856415"/>
                <a:gd name="connsiteX38" fmla="*/ 714375 w 1819275"/>
                <a:gd name="connsiteY38" fmla="*/ 453587 h 856415"/>
                <a:gd name="connsiteX39" fmla="*/ 723900 w 1819275"/>
                <a:gd name="connsiteY39" fmla="*/ 455968 h 856415"/>
                <a:gd name="connsiteX40" fmla="*/ 735806 w 1819275"/>
                <a:gd name="connsiteY40" fmla="*/ 470256 h 856415"/>
                <a:gd name="connsiteX41" fmla="*/ 738187 w 1819275"/>
                <a:gd name="connsiteY41" fmla="*/ 477400 h 856415"/>
                <a:gd name="connsiteX42" fmla="*/ 769143 w 1819275"/>
                <a:gd name="connsiteY42" fmla="*/ 489306 h 856415"/>
                <a:gd name="connsiteX43" fmla="*/ 783431 w 1819275"/>
                <a:gd name="connsiteY43" fmla="*/ 494068 h 856415"/>
                <a:gd name="connsiteX44" fmla="*/ 809625 w 1819275"/>
                <a:gd name="connsiteY44" fmla="*/ 510737 h 856415"/>
                <a:gd name="connsiteX45" fmla="*/ 838200 w 1819275"/>
                <a:gd name="connsiteY45" fmla="*/ 508356 h 856415"/>
                <a:gd name="connsiteX46" fmla="*/ 847725 w 1819275"/>
                <a:gd name="connsiteY46" fmla="*/ 522643 h 856415"/>
                <a:gd name="connsiteX47" fmla="*/ 857250 w 1819275"/>
                <a:gd name="connsiteY47" fmla="*/ 529787 h 856415"/>
                <a:gd name="connsiteX48" fmla="*/ 871537 w 1819275"/>
                <a:gd name="connsiteY48" fmla="*/ 527406 h 856415"/>
                <a:gd name="connsiteX49" fmla="*/ 876300 w 1819275"/>
                <a:gd name="connsiteY49" fmla="*/ 513118 h 856415"/>
                <a:gd name="connsiteX50" fmla="*/ 873918 w 1819275"/>
                <a:gd name="connsiteY50" fmla="*/ 451206 h 856415"/>
                <a:gd name="connsiteX51" fmla="*/ 869156 w 1819275"/>
                <a:gd name="connsiteY51" fmla="*/ 432156 h 856415"/>
                <a:gd name="connsiteX52" fmla="*/ 866775 w 1819275"/>
                <a:gd name="connsiteY52" fmla="*/ 422631 h 856415"/>
                <a:gd name="connsiteX53" fmla="*/ 864393 w 1819275"/>
                <a:gd name="connsiteY53" fmla="*/ 413106 h 856415"/>
                <a:gd name="connsiteX54" fmla="*/ 857250 w 1819275"/>
                <a:gd name="connsiteY54" fmla="*/ 398818 h 856415"/>
                <a:gd name="connsiteX55" fmla="*/ 859631 w 1819275"/>
                <a:gd name="connsiteY55" fmla="*/ 358337 h 856415"/>
                <a:gd name="connsiteX56" fmla="*/ 862012 w 1819275"/>
                <a:gd name="connsiteY56" fmla="*/ 348812 h 856415"/>
                <a:gd name="connsiteX57" fmla="*/ 873918 w 1819275"/>
                <a:gd name="connsiteY57" fmla="*/ 336906 h 856415"/>
                <a:gd name="connsiteX58" fmla="*/ 881062 w 1819275"/>
                <a:gd name="connsiteY58" fmla="*/ 334525 h 856415"/>
                <a:gd name="connsiteX59" fmla="*/ 904875 w 1819275"/>
                <a:gd name="connsiteY59" fmla="*/ 325000 h 856415"/>
                <a:gd name="connsiteX60" fmla="*/ 912018 w 1819275"/>
                <a:gd name="connsiteY60" fmla="*/ 322618 h 856415"/>
                <a:gd name="connsiteX61" fmla="*/ 938212 w 1819275"/>
                <a:gd name="connsiteY61" fmla="*/ 320237 h 856415"/>
                <a:gd name="connsiteX62" fmla="*/ 947737 w 1819275"/>
                <a:gd name="connsiteY62" fmla="*/ 317856 h 856415"/>
                <a:gd name="connsiteX63" fmla="*/ 981075 w 1819275"/>
                <a:gd name="connsiteY63" fmla="*/ 313093 h 856415"/>
                <a:gd name="connsiteX64" fmla="*/ 995362 w 1819275"/>
                <a:gd name="connsiteY64" fmla="*/ 310712 h 856415"/>
                <a:gd name="connsiteX65" fmla="*/ 1012031 w 1819275"/>
                <a:gd name="connsiteY65" fmla="*/ 308331 h 856415"/>
                <a:gd name="connsiteX66" fmla="*/ 1023937 w 1819275"/>
                <a:gd name="connsiteY66" fmla="*/ 305950 h 856415"/>
                <a:gd name="connsiteX67" fmla="*/ 1085850 w 1819275"/>
                <a:gd name="connsiteY67" fmla="*/ 303568 h 856415"/>
                <a:gd name="connsiteX68" fmla="*/ 1102518 w 1819275"/>
                <a:gd name="connsiteY68" fmla="*/ 301187 h 856415"/>
                <a:gd name="connsiteX69" fmla="*/ 1112043 w 1819275"/>
                <a:gd name="connsiteY69" fmla="*/ 296425 h 856415"/>
                <a:gd name="connsiteX70" fmla="*/ 1119187 w 1819275"/>
                <a:gd name="connsiteY70" fmla="*/ 298806 h 856415"/>
                <a:gd name="connsiteX71" fmla="*/ 1143000 w 1819275"/>
                <a:gd name="connsiteY71" fmla="*/ 313093 h 856415"/>
                <a:gd name="connsiteX72" fmla="*/ 1157287 w 1819275"/>
                <a:gd name="connsiteY72" fmla="*/ 325000 h 856415"/>
                <a:gd name="connsiteX73" fmla="*/ 1171575 w 1819275"/>
                <a:gd name="connsiteY73" fmla="*/ 329762 h 856415"/>
                <a:gd name="connsiteX74" fmla="*/ 1178718 w 1819275"/>
                <a:gd name="connsiteY74" fmla="*/ 334525 h 856415"/>
                <a:gd name="connsiteX75" fmla="*/ 1185862 w 1819275"/>
                <a:gd name="connsiteY75" fmla="*/ 336906 h 856415"/>
                <a:gd name="connsiteX76" fmla="*/ 1207293 w 1819275"/>
                <a:gd name="connsiteY76" fmla="*/ 351193 h 856415"/>
                <a:gd name="connsiteX77" fmla="*/ 1214437 w 1819275"/>
                <a:gd name="connsiteY77" fmla="*/ 355956 h 856415"/>
                <a:gd name="connsiteX78" fmla="*/ 1228725 w 1819275"/>
                <a:gd name="connsiteY78" fmla="*/ 370243 h 856415"/>
                <a:gd name="connsiteX79" fmla="*/ 1233487 w 1819275"/>
                <a:gd name="connsiteY79" fmla="*/ 377387 h 856415"/>
                <a:gd name="connsiteX80" fmla="*/ 1240631 w 1819275"/>
                <a:gd name="connsiteY80" fmla="*/ 379768 h 856415"/>
                <a:gd name="connsiteX81" fmla="*/ 1245393 w 1819275"/>
                <a:gd name="connsiteY81" fmla="*/ 386912 h 856415"/>
                <a:gd name="connsiteX82" fmla="*/ 1254918 w 1819275"/>
                <a:gd name="connsiteY82" fmla="*/ 389293 h 856415"/>
                <a:gd name="connsiteX83" fmla="*/ 1262062 w 1819275"/>
                <a:gd name="connsiteY83" fmla="*/ 394056 h 856415"/>
                <a:gd name="connsiteX84" fmla="*/ 1278731 w 1819275"/>
                <a:gd name="connsiteY84" fmla="*/ 401200 h 856415"/>
                <a:gd name="connsiteX85" fmla="*/ 1293018 w 1819275"/>
                <a:gd name="connsiteY85" fmla="*/ 413106 h 856415"/>
                <a:gd name="connsiteX86" fmla="*/ 1302543 w 1819275"/>
                <a:gd name="connsiteY86" fmla="*/ 415487 h 856415"/>
                <a:gd name="connsiteX87" fmla="*/ 1309687 w 1819275"/>
                <a:gd name="connsiteY87" fmla="*/ 420250 h 856415"/>
                <a:gd name="connsiteX88" fmla="*/ 1323975 w 1819275"/>
                <a:gd name="connsiteY88" fmla="*/ 425012 h 856415"/>
                <a:gd name="connsiteX89" fmla="*/ 1331118 w 1819275"/>
                <a:gd name="connsiteY89" fmla="*/ 427393 h 856415"/>
                <a:gd name="connsiteX90" fmla="*/ 1345406 w 1819275"/>
                <a:gd name="connsiteY90" fmla="*/ 429775 h 856415"/>
                <a:gd name="connsiteX91" fmla="*/ 1362075 w 1819275"/>
                <a:gd name="connsiteY91" fmla="*/ 432156 h 856415"/>
                <a:gd name="connsiteX92" fmla="*/ 1371600 w 1819275"/>
                <a:gd name="connsiteY92" fmla="*/ 434537 h 856415"/>
                <a:gd name="connsiteX93" fmla="*/ 1388268 w 1819275"/>
                <a:gd name="connsiteY93" fmla="*/ 444062 h 856415"/>
                <a:gd name="connsiteX94" fmla="*/ 1395412 w 1819275"/>
                <a:gd name="connsiteY94" fmla="*/ 446443 h 856415"/>
                <a:gd name="connsiteX95" fmla="*/ 1404937 w 1819275"/>
                <a:gd name="connsiteY95" fmla="*/ 451206 h 856415"/>
                <a:gd name="connsiteX96" fmla="*/ 1419225 w 1819275"/>
                <a:gd name="connsiteY96" fmla="*/ 455968 h 856415"/>
                <a:gd name="connsiteX97" fmla="*/ 1426368 w 1819275"/>
                <a:gd name="connsiteY97" fmla="*/ 458350 h 856415"/>
                <a:gd name="connsiteX98" fmla="*/ 1433512 w 1819275"/>
                <a:gd name="connsiteY98" fmla="*/ 460731 h 856415"/>
                <a:gd name="connsiteX99" fmla="*/ 1443037 w 1819275"/>
                <a:gd name="connsiteY99" fmla="*/ 475018 h 856415"/>
                <a:gd name="connsiteX100" fmla="*/ 1445418 w 1819275"/>
                <a:gd name="connsiteY100" fmla="*/ 482162 h 856415"/>
                <a:gd name="connsiteX101" fmla="*/ 1459706 w 1819275"/>
                <a:gd name="connsiteY101" fmla="*/ 491687 h 856415"/>
                <a:gd name="connsiteX102" fmla="*/ 1466850 w 1819275"/>
                <a:gd name="connsiteY102" fmla="*/ 496450 h 856415"/>
                <a:gd name="connsiteX103" fmla="*/ 1483518 w 1819275"/>
                <a:gd name="connsiteY103" fmla="*/ 501212 h 856415"/>
                <a:gd name="connsiteX104" fmla="*/ 1500187 w 1819275"/>
                <a:gd name="connsiteY104" fmla="*/ 505975 h 856415"/>
                <a:gd name="connsiteX105" fmla="*/ 1514475 w 1819275"/>
                <a:gd name="connsiteY105" fmla="*/ 515500 h 856415"/>
                <a:gd name="connsiteX106" fmla="*/ 1531143 w 1819275"/>
                <a:gd name="connsiteY106" fmla="*/ 525025 h 856415"/>
                <a:gd name="connsiteX107" fmla="*/ 1545431 w 1819275"/>
                <a:gd name="connsiteY107" fmla="*/ 527406 h 856415"/>
                <a:gd name="connsiteX108" fmla="*/ 1552575 w 1819275"/>
                <a:gd name="connsiteY108" fmla="*/ 529787 h 856415"/>
                <a:gd name="connsiteX109" fmla="*/ 1564481 w 1819275"/>
                <a:gd name="connsiteY109" fmla="*/ 532168 h 856415"/>
                <a:gd name="connsiteX110" fmla="*/ 1604962 w 1819275"/>
                <a:gd name="connsiteY110" fmla="*/ 529787 h 856415"/>
                <a:gd name="connsiteX111" fmla="*/ 1612106 w 1819275"/>
                <a:gd name="connsiteY111" fmla="*/ 525025 h 856415"/>
                <a:gd name="connsiteX112" fmla="*/ 1621631 w 1819275"/>
                <a:gd name="connsiteY112" fmla="*/ 520262 h 856415"/>
                <a:gd name="connsiteX113" fmla="*/ 1631156 w 1819275"/>
                <a:gd name="connsiteY113" fmla="*/ 513118 h 856415"/>
                <a:gd name="connsiteX114" fmla="*/ 1638300 w 1819275"/>
                <a:gd name="connsiteY114" fmla="*/ 510737 h 856415"/>
                <a:gd name="connsiteX115" fmla="*/ 1647825 w 1819275"/>
                <a:gd name="connsiteY115" fmla="*/ 505975 h 856415"/>
                <a:gd name="connsiteX116" fmla="*/ 1654968 w 1819275"/>
                <a:gd name="connsiteY116" fmla="*/ 503593 h 856415"/>
                <a:gd name="connsiteX117" fmla="*/ 1662112 w 1819275"/>
                <a:gd name="connsiteY117" fmla="*/ 498831 h 856415"/>
                <a:gd name="connsiteX118" fmla="*/ 1671637 w 1819275"/>
                <a:gd name="connsiteY118" fmla="*/ 496450 h 856415"/>
                <a:gd name="connsiteX119" fmla="*/ 1678781 w 1819275"/>
                <a:gd name="connsiteY119" fmla="*/ 494068 h 856415"/>
                <a:gd name="connsiteX120" fmla="*/ 1685925 w 1819275"/>
                <a:gd name="connsiteY120" fmla="*/ 486925 h 856415"/>
                <a:gd name="connsiteX121" fmla="*/ 1693068 w 1819275"/>
                <a:gd name="connsiteY121" fmla="*/ 482162 h 856415"/>
                <a:gd name="connsiteX122" fmla="*/ 1709737 w 1819275"/>
                <a:gd name="connsiteY122" fmla="*/ 470256 h 856415"/>
                <a:gd name="connsiteX123" fmla="*/ 1716881 w 1819275"/>
                <a:gd name="connsiteY123" fmla="*/ 455968 h 856415"/>
                <a:gd name="connsiteX124" fmla="*/ 1740693 w 1819275"/>
                <a:gd name="connsiteY124" fmla="*/ 441681 h 856415"/>
                <a:gd name="connsiteX125" fmla="*/ 1747837 w 1819275"/>
                <a:gd name="connsiteY125" fmla="*/ 439300 h 856415"/>
                <a:gd name="connsiteX126" fmla="*/ 1754981 w 1819275"/>
                <a:gd name="connsiteY126" fmla="*/ 434537 h 856415"/>
                <a:gd name="connsiteX127" fmla="*/ 1778793 w 1819275"/>
                <a:gd name="connsiteY127" fmla="*/ 427393 h 856415"/>
                <a:gd name="connsiteX128" fmla="*/ 1788318 w 1819275"/>
                <a:gd name="connsiteY128" fmla="*/ 417868 h 856415"/>
                <a:gd name="connsiteX129" fmla="*/ 1795462 w 1819275"/>
                <a:gd name="connsiteY129" fmla="*/ 415487 h 856415"/>
                <a:gd name="connsiteX130" fmla="*/ 1802606 w 1819275"/>
                <a:gd name="connsiteY130" fmla="*/ 408343 h 856415"/>
                <a:gd name="connsiteX131" fmla="*/ 1804987 w 1819275"/>
                <a:gd name="connsiteY131" fmla="*/ 401200 h 856415"/>
                <a:gd name="connsiteX132" fmla="*/ 1800225 w 1819275"/>
                <a:gd name="connsiteY132" fmla="*/ 344050 h 856415"/>
                <a:gd name="connsiteX133" fmla="*/ 1802606 w 1819275"/>
                <a:gd name="connsiteY133" fmla="*/ 313093 h 856415"/>
                <a:gd name="connsiteX134" fmla="*/ 1816893 w 1819275"/>
                <a:gd name="connsiteY134" fmla="*/ 303568 h 856415"/>
                <a:gd name="connsiteX135" fmla="*/ 1819275 w 1819275"/>
                <a:gd name="connsiteY135" fmla="*/ 294043 h 856415"/>
                <a:gd name="connsiteX136" fmla="*/ 1814512 w 1819275"/>
                <a:gd name="connsiteY136" fmla="*/ 277375 h 856415"/>
                <a:gd name="connsiteX137" fmla="*/ 1807368 w 1819275"/>
                <a:gd name="connsiteY137" fmla="*/ 272612 h 856415"/>
                <a:gd name="connsiteX138" fmla="*/ 1797843 w 1819275"/>
                <a:gd name="connsiteY138" fmla="*/ 265468 h 856415"/>
                <a:gd name="connsiteX139" fmla="*/ 1790700 w 1819275"/>
                <a:gd name="connsiteY139" fmla="*/ 263087 h 856415"/>
                <a:gd name="connsiteX140" fmla="*/ 1766887 w 1819275"/>
                <a:gd name="connsiteY140" fmla="*/ 246418 h 856415"/>
                <a:gd name="connsiteX141" fmla="*/ 1757362 w 1819275"/>
                <a:gd name="connsiteY141" fmla="*/ 241656 h 856415"/>
                <a:gd name="connsiteX142" fmla="*/ 1750218 w 1819275"/>
                <a:gd name="connsiteY142" fmla="*/ 236893 h 856415"/>
                <a:gd name="connsiteX143" fmla="*/ 1731168 w 1819275"/>
                <a:gd name="connsiteY143" fmla="*/ 227368 h 856415"/>
                <a:gd name="connsiteX144" fmla="*/ 1724025 w 1819275"/>
                <a:gd name="connsiteY144" fmla="*/ 222606 h 856415"/>
                <a:gd name="connsiteX145" fmla="*/ 1709737 w 1819275"/>
                <a:gd name="connsiteY145" fmla="*/ 217843 h 856415"/>
                <a:gd name="connsiteX146" fmla="*/ 1693068 w 1819275"/>
                <a:gd name="connsiteY146" fmla="*/ 208318 h 856415"/>
                <a:gd name="connsiteX147" fmla="*/ 1681162 w 1819275"/>
                <a:gd name="connsiteY147" fmla="*/ 205937 h 856415"/>
                <a:gd name="connsiteX148" fmla="*/ 1659731 w 1819275"/>
                <a:gd name="connsiteY148" fmla="*/ 186887 h 856415"/>
                <a:gd name="connsiteX149" fmla="*/ 1643062 w 1819275"/>
                <a:gd name="connsiteY149" fmla="*/ 167837 h 856415"/>
                <a:gd name="connsiteX150" fmla="*/ 1628775 w 1819275"/>
                <a:gd name="connsiteY150" fmla="*/ 158312 h 856415"/>
                <a:gd name="connsiteX151" fmla="*/ 1614487 w 1819275"/>
                <a:gd name="connsiteY151" fmla="*/ 153550 h 856415"/>
                <a:gd name="connsiteX152" fmla="*/ 1607343 w 1819275"/>
                <a:gd name="connsiteY152" fmla="*/ 167837 h 856415"/>
                <a:gd name="connsiteX153" fmla="*/ 1612106 w 1819275"/>
                <a:gd name="connsiteY153" fmla="*/ 196412 h 856415"/>
                <a:gd name="connsiteX154" fmla="*/ 1614487 w 1819275"/>
                <a:gd name="connsiteY154" fmla="*/ 224987 h 856415"/>
                <a:gd name="connsiteX155" fmla="*/ 1607343 w 1819275"/>
                <a:gd name="connsiteY155" fmla="*/ 277375 h 856415"/>
                <a:gd name="connsiteX156" fmla="*/ 1593056 w 1819275"/>
                <a:gd name="connsiteY156" fmla="*/ 284518 h 856415"/>
                <a:gd name="connsiteX157" fmla="*/ 1585912 w 1819275"/>
                <a:gd name="connsiteY157" fmla="*/ 289281 h 856415"/>
                <a:gd name="connsiteX158" fmla="*/ 1562100 w 1819275"/>
                <a:gd name="connsiteY158" fmla="*/ 294043 h 856415"/>
                <a:gd name="connsiteX159" fmla="*/ 1547812 w 1819275"/>
                <a:gd name="connsiteY159" fmla="*/ 305950 h 856415"/>
                <a:gd name="connsiteX160" fmla="*/ 1538287 w 1819275"/>
                <a:gd name="connsiteY160" fmla="*/ 341668 h 856415"/>
                <a:gd name="connsiteX161" fmla="*/ 1531143 w 1819275"/>
                <a:gd name="connsiteY161" fmla="*/ 346431 h 856415"/>
                <a:gd name="connsiteX162" fmla="*/ 1516856 w 1819275"/>
                <a:gd name="connsiteY162" fmla="*/ 344050 h 856415"/>
                <a:gd name="connsiteX163" fmla="*/ 1509712 w 1819275"/>
                <a:gd name="connsiteY163" fmla="*/ 336906 h 856415"/>
                <a:gd name="connsiteX164" fmla="*/ 1502568 w 1819275"/>
                <a:gd name="connsiteY164" fmla="*/ 332143 h 856415"/>
                <a:gd name="connsiteX165" fmla="*/ 1495425 w 1819275"/>
                <a:gd name="connsiteY165" fmla="*/ 329762 h 856415"/>
                <a:gd name="connsiteX166" fmla="*/ 1471612 w 1819275"/>
                <a:gd name="connsiteY166" fmla="*/ 325000 h 856415"/>
                <a:gd name="connsiteX167" fmla="*/ 1464468 w 1819275"/>
                <a:gd name="connsiteY167" fmla="*/ 310712 h 856415"/>
                <a:gd name="connsiteX168" fmla="*/ 1471612 w 1819275"/>
                <a:gd name="connsiteY168" fmla="*/ 294043 h 856415"/>
                <a:gd name="connsiteX169" fmla="*/ 1478756 w 1819275"/>
                <a:gd name="connsiteY169" fmla="*/ 289281 h 856415"/>
                <a:gd name="connsiteX170" fmla="*/ 1485900 w 1819275"/>
                <a:gd name="connsiteY170" fmla="*/ 286900 h 856415"/>
                <a:gd name="connsiteX171" fmla="*/ 1500187 w 1819275"/>
                <a:gd name="connsiteY171" fmla="*/ 277375 h 856415"/>
                <a:gd name="connsiteX172" fmla="*/ 1514475 w 1819275"/>
                <a:gd name="connsiteY172" fmla="*/ 267850 h 856415"/>
                <a:gd name="connsiteX173" fmla="*/ 1528762 w 1819275"/>
                <a:gd name="connsiteY173" fmla="*/ 260706 h 856415"/>
                <a:gd name="connsiteX174" fmla="*/ 1535906 w 1819275"/>
                <a:gd name="connsiteY174" fmla="*/ 258325 h 856415"/>
                <a:gd name="connsiteX175" fmla="*/ 1535906 w 1819275"/>
                <a:gd name="connsiteY175" fmla="*/ 239275 h 856415"/>
                <a:gd name="connsiteX176" fmla="*/ 1519237 w 1819275"/>
                <a:gd name="connsiteY176" fmla="*/ 241656 h 856415"/>
                <a:gd name="connsiteX177" fmla="*/ 1485900 w 1819275"/>
                <a:gd name="connsiteY177" fmla="*/ 239275 h 856415"/>
                <a:gd name="connsiteX178" fmla="*/ 1471612 w 1819275"/>
                <a:gd name="connsiteY178" fmla="*/ 236893 h 856415"/>
                <a:gd name="connsiteX179" fmla="*/ 1431131 w 1819275"/>
                <a:gd name="connsiteY179" fmla="*/ 232131 h 856415"/>
                <a:gd name="connsiteX180" fmla="*/ 1423987 w 1819275"/>
                <a:gd name="connsiteY180" fmla="*/ 229750 h 856415"/>
                <a:gd name="connsiteX181" fmla="*/ 1402556 w 1819275"/>
                <a:gd name="connsiteY181" fmla="*/ 224987 h 856415"/>
                <a:gd name="connsiteX182" fmla="*/ 1395412 w 1819275"/>
                <a:gd name="connsiteY182" fmla="*/ 220225 h 856415"/>
                <a:gd name="connsiteX183" fmla="*/ 1371600 w 1819275"/>
                <a:gd name="connsiteY183" fmla="*/ 215462 h 856415"/>
                <a:gd name="connsiteX184" fmla="*/ 1352550 w 1819275"/>
                <a:gd name="connsiteY184" fmla="*/ 210700 h 856415"/>
                <a:gd name="connsiteX185" fmla="*/ 1309687 w 1819275"/>
                <a:gd name="connsiteY185" fmla="*/ 215462 h 856415"/>
                <a:gd name="connsiteX186" fmla="*/ 1302543 w 1819275"/>
                <a:gd name="connsiteY186" fmla="*/ 217843 h 856415"/>
                <a:gd name="connsiteX187" fmla="*/ 1295400 w 1819275"/>
                <a:gd name="connsiteY187" fmla="*/ 224987 h 856415"/>
                <a:gd name="connsiteX188" fmla="*/ 1281112 w 1819275"/>
                <a:gd name="connsiteY188" fmla="*/ 234512 h 856415"/>
                <a:gd name="connsiteX189" fmla="*/ 1269206 w 1819275"/>
                <a:gd name="connsiteY189" fmla="*/ 232131 h 856415"/>
                <a:gd name="connsiteX190" fmla="*/ 1259681 w 1819275"/>
                <a:gd name="connsiteY190" fmla="*/ 229750 h 856415"/>
                <a:gd name="connsiteX191" fmla="*/ 1250156 w 1819275"/>
                <a:gd name="connsiteY191" fmla="*/ 215462 h 856415"/>
                <a:gd name="connsiteX192" fmla="*/ 1243012 w 1819275"/>
                <a:gd name="connsiteY192" fmla="*/ 201175 h 856415"/>
                <a:gd name="connsiteX193" fmla="*/ 1233487 w 1819275"/>
                <a:gd name="connsiteY193" fmla="*/ 198793 h 856415"/>
                <a:gd name="connsiteX194" fmla="*/ 1221581 w 1819275"/>
                <a:gd name="connsiteY194" fmla="*/ 201175 h 856415"/>
                <a:gd name="connsiteX195" fmla="*/ 1197768 w 1819275"/>
                <a:gd name="connsiteY195" fmla="*/ 217843 h 856415"/>
                <a:gd name="connsiteX196" fmla="*/ 1181100 w 1819275"/>
                <a:gd name="connsiteY196" fmla="*/ 224987 h 856415"/>
                <a:gd name="connsiteX197" fmla="*/ 1164431 w 1819275"/>
                <a:gd name="connsiteY197" fmla="*/ 229750 h 856415"/>
                <a:gd name="connsiteX198" fmla="*/ 1157287 w 1819275"/>
                <a:gd name="connsiteY198" fmla="*/ 224987 h 856415"/>
                <a:gd name="connsiteX199" fmla="*/ 1159668 w 1819275"/>
                <a:gd name="connsiteY199" fmla="*/ 215462 h 856415"/>
                <a:gd name="connsiteX200" fmla="*/ 1171575 w 1819275"/>
                <a:gd name="connsiteY200" fmla="*/ 203556 h 856415"/>
                <a:gd name="connsiteX201" fmla="*/ 1176337 w 1819275"/>
                <a:gd name="connsiteY201" fmla="*/ 189268 h 856415"/>
                <a:gd name="connsiteX202" fmla="*/ 1171575 w 1819275"/>
                <a:gd name="connsiteY202" fmla="*/ 153550 h 856415"/>
                <a:gd name="connsiteX203" fmla="*/ 1164431 w 1819275"/>
                <a:gd name="connsiteY203" fmla="*/ 136881 h 856415"/>
                <a:gd name="connsiteX204" fmla="*/ 1150143 w 1819275"/>
                <a:gd name="connsiteY204" fmla="*/ 129737 h 856415"/>
                <a:gd name="connsiteX205" fmla="*/ 1143000 w 1819275"/>
                <a:gd name="connsiteY205" fmla="*/ 132118 h 856415"/>
                <a:gd name="connsiteX206" fmla="*/ 1138237 w 1819275"/>
                <a:gd name="connsiteY206" fmla="*/ 139262 h 856415"/>
                <a:gd name="connsiteX207" fmla="*/ 1131093 w 1819275"/>
                <a:gd name="connsiteY207" fmla="*/ 163075 h 856415"/>
                <a:gd name="connsiteX208" fmla="*/ 1123950 w 1819275"/>
                <a:gd name="connsiteY208" fmla="*/ 184506 h 856415"/>
                <a:gd name="connsiteX209" fmla="*/ 1121568 w 1819275"/>
                <a:gd name="connsiteY209" fmla="*/ 191650 h 856415"/>
                <a:gd name="connsiteX210" fmla="*/ 1114425 w 1819275"/>
                <a:gd name="connsiteY210" fmla="*/ 198793 h 856415"/>
                <a:gd name="connsiteX211" fmla="*/ 1102518 w 1819275"/>
                <a:gd name="connsiteY211" fmla="*/ 213081 h 856415"/>
                <a:gd name="connsiteX212" fmla="*/ 1085850 w 1819275"/>
                <a:gd name="connsiteY212" fmla="*/ 217843 h 856415"/>
                <a:gd name="connsiteX213" fmla="*/ 1057275 w 1819275"/>
                <a:gd name="connsiteY213" fmla="*/ 215462 h 856415"/>
                <a:gd name="connsiteX214" fmla="*/ 1050131 w 1819275"/>
                <a:gd name="connsiteY214" fmla="*/ 208318 h 856415"/>
                <a:gd name="connsiteX215" fmla="*/ 1042987 w 1819275"/>
                <a:gd name="connsiteY215" fmla="*/ 194031 h 856415"/>
                <a:gd name="connsiteX216" fmla="*/ 1023937 w 1819275"/>
                <a:gd name="connsiteY216" fmla="*/ 186887 h 856415"/>
                <a:gd name="connsiteX217" fmla="*/ 1000125 w 1819275"/>
                <a:gd name="connsiteY217" fmla="*/ 189268 h 856415"/>
                <a:gd name="connsiteX218" fmla="*/ 990600 w 1819275"/>
                <a:gd name="connsiteY218" fmla="*/ 203556 h 856415"/>
                <a:gd name="connsiteX219" fmla="*/ 983456 w 1819275"/>
                <a:gd name="connsiteY219" fmla="*/ 208318 h 856415"/>
                <a:gd name="connsiteX220" fmla="*/ 942975 w 1819275"/>
                <a:gd name="connsiteY220" fmla="*/ 213081 h 856415"/>
                <a:gd name="connsiteX221" fmla="*/ 938212 w 1819275"/>
                <a:gd name="connsiteY221" fmla="*/ 227368 h 856415"/>
                <a:gd name="connsiteX222" fmla="*/ 935831 w 1819275"/>
                <a:gd name="connsiteY222" fmla="*/ 234512 h 856415"/>
                <a:gd name="connsiteX223" fmla="*/ 931068 w 1819275"/>
                <a:gd name="connsiteY223" fmla="*/ 241656 h 856415"/>
                <a:gd name="connsiteX224" fmla="*/ 900112 w 1819275"/>
                <a:gd name="connsiteY224" fmla="*/ 232131 h 856415"/>
                <a:gd name="connsiteX225" fmla="*/ 907256 w 1819275"/>
                <a:gd name="connsiteY225" fmla="*/ 224987 h 856415"/>
                <a:gd name="connsiteX226" fmla="*/ 907256 w 1819275"/>
                <a:gd name="connsiteY226" fmla="*/ 203556 h 856415"/>
                <a:gd name="connsiteX227" fmla="*/ 904875 w 1819275"/>
                <a:gd name="connsiteY227" fmla="*/ 191650 h 856415"/>
                <a:gd name="connsiteX228" fmla="*/ 897731 w 1819275"/>
                <a:gd name="connsiteY228" fmla="*/ 189268 h 856415"/>
                <a:gd name="connsiteX229" fmla="*/ 876300 w 1819275"/>
                <a:gd name="connsiteY229" fmla="*/ 198793 h 856415"/>
                <a:gd name="connsiteX230" fmla="*/ 871537 w 1819275"/>
                <a:gd name="connsiteY230" fmla="*/ 205937 h 856415"/>
                <a:gd name="connsiteX231" fmla="*/ 857250 w 1819275"/>
                <a:gd name="connsiteY231" fmla="*/ 213081 h 856415"/>
                <a:gd name="connsiteX232" fmla="*/ 826293 w 1819275"/>
                <a:gd name="connsiteY232" fmla="*/ 210700 h 856415"/>
                <a:gd name="connsiteX233" fmla="*/ 802481 w 1819275"/>
                <a:gd name="connsiteY233" fmla="*/ 205937 h 856415"/>
                <a:gd name="connsiteX234" fmla="*/ 795337 w 1819275"/>
                <a:gd name="connsiteY234" fmla="*/ 201175 h 856415"/>
                <a:gd name="connsiteX235" fmla="*/ 790575 w 1819275"/>
                <a:gd name="connsiteY235" fmla="*/ 186887 h 856415"/>
                <a:gd name="connsiteX236" fmla="*/ 778668 w 1819275"/>
                <a:gd name="connsiteY236" fmla="*/ 129737 h 856415"/>
                <a:gd name="connsiteX237" fmla="*/ 769143 w 1819275"/>
                <a:gd name="connsiteY237" fmla="*/ 132118 h 856415"/>
                <a:gd name="connsiteX238" fmla="*/ 764381 w 1819275"/>
                <a:gd name="connsiteY238" fmla="*/ 146406 h 856415"/>
                <a:gd name="connsiteX239" fmla="*/ 759618 w 1819275"/>
                <a:gd name="connsiteY239" fmla="*/ 189268 h 856415"/>
                <a:gd name="connsiteX240" fmla="*/ 757237 w 1819275"/>
                <a:gd name="connsiteY240" fmla="*/ 215462 h 856415"/>
                <a:gd name="connsiteX241" fmla="*/ 740568 w 1819275"/>
                <a:gd name="connsiteY241" fmla="*/ 213081 h 856415"/>
                <a:gd name="connsiteX242" fmla="*/ 721518 w 1819275"/>
                <a:gd name="connsiteY242" fmla="*/ 208318 h 856415"/>
                <a:gd name="connsiteX243" fmla="*/ 719137 w 1819275"/>
                <a:gd name="connsiteY243" fmla="*/ 198793 h 856415"/>
                <a:gd name="connsiteX244" fmla="*/ 731043 w 1819275"/>
                <a:gd name="connsiteY244" fmla="*/ 177362 h 856415"/>
                <a:gd name="connsiteX245" fmla="*/ 738187 w 1819275"/>
                <a:gd name="connsiteY245" fmla="*/ 172600 h 856415"/>
                <a:gd name="connsiteX246" fmla="*/ 733425 w 1819275"/>
                <a:gd name="connsiteY246" fmla="*/ 144025 h 856415"/>
                <a:gd name="connsiteX247" fmla="*/ 728662 w 1819275"/>
                <a:gd name="connsiteY247" fmla="*/ 136881 h 856415"/>
                <a:gd name="connsiteX248" fmla="*/ 697706 w 1819275"/>
                <a:gd name="connsiteY248" fmla="*/ 141643 h 856415"/>
                <a:gd name="connsiteX249" fmla="*/ 690562 w 1819275"/>
                <a:gd name="connsiteY249" fmla="*/ 144025 h 856415"/>
                <a:gd name="connsiteX250" fmla="*/ 685800 w 1819275"/>
                <a:gd name="connsiteY250" fmla="*/ 160693 h 856415"/>
                <a:gd name="connsiteX251" fmla="*/ 683418 w 1819275"/>
                <a:gd name="connsiteY251" fmla="*/ 174981 h 856415"/>
                <a:gd name="connsiteX252" fmla="*/ 676275 w 1819275"/>
                <a:gd name="connsiteY252" fmla="*/ 191650 h 856415"/>
                <a:gd name="connsiteX253" fmla="*/ 671512 w 1819275"/>
                <a:gd name="connsiteY253" fmla="*/ 198793 h 856415"/>
                <a:gd name="connsiteX254" fmla="*/ 657225 w 1819275"/>
                <a:gd name="connsiteY254" fmla="*/ 208318 h 856415"/>
                <a:gd name="connsiteX255" fmla="*/ 642937 w 1819275"/>
                <a:gd name="connsiteY255" fmla="*/ 213081 h 856415"/>
                <a:gd name="connsiteX256" fmla="*/ 607218 w 1819275"/>
                <a:gd name="connsiteY256" fmla="*/ 208318 h 856415"/>
                <a:gd name="connsiteX257" fmla="*/ 588168 w 1819275"/>
                <a:gd name="connsiteY257" fmla="*/ 198793 h 856415"/>
                <a:gd name="connsiteX258" fmla="*/ 585787 w 1819275"/>
                <a:gd name="connsiteY258" fmla="*/ 191650 h 856415"/>
                <a:gd name="connsiteX259" fmla="*/ 581025 w 1819275"/>
                <a:gd name="connsiteY259" fmla="*/ 146406 h 856415"/>
                <a:gd name="connsiteX260" fmla="*/ 576262 w 1819275"/>
                <a:gd name="connsiteY260" fmla="*/ 139262 h 856415"/>
                <a:gd name="connsiteX261" fmla="*/ 564356 w 1819275"/>
                <a:gd name="connsiteY261" fmla="*/ 141643 h 856415"/>
                <a:gd name="connsiteX262" fmla="*/ 557212 w 1819275"/>
                <a:gd name="connsiteY262" fmla="*/ 155931 h 856415"/>
                <a:gd name="connsiteX263" fmla="*/ 554831 w 1819275"/>
                <a:gd name="connsiteY263" fmla="*/ 203556 h 856415"/>
                <a:gd name="connsiteX264" fmla="*/ 550068 w 1819275"/>
                <a:gd name="connsiteY264" fmla="*/ 213081 h 856415"/>
                <a:gd name="connsiteX265" fmla="*/ 540543 w 1819275"/>
                <a:gd name="connsiteY265" fmla="*/ 215462 h 856415"/>
                <a:gd name="connsiteX266" fmla="*/ 531018 w 1819275"/>
                <a:gd name="connsiteY266" fmla="*/ 213081 h 856415"/>
                <a:gd name="connsiteX267" fmla="*/ 523875 w 1819275"/>
                <a:gd name="connsiteY267" fmla="*/ 205937 h 856415"/>
                <a:gd name="connsiteX268" fmla="*/ 516731 w 1819275"/>
                <a:gd name="connsiteY268" fmla="*/ 189268 h 856415"/>
                <a:gd name="connsiteX269" fmla="*/ 523875 w 1819275"/>
                <a:gd name="connsiteY269" fmla="*/ 167837 h 856415"/>
                <a:gd name="connsiteX270" fmla="*/ 526256 w 1819275"/>
                <a:gd name="connsiteY270" fmla="*/ 160693 h 856415"/>
                <a:gd name="connsiteX271" fmla="*/ 528637 w 1819275"/>
                <a:gd name="connsiteY271" fmla="*/ 151168 h 856415"/>
                <a:gd name="connsiteX272" fmla="*/ 531018 w 1819275"/>
                <a:gd name="connsiteY272" fmla="*/ 129737 h 856415"/>
                <a:gd name="connsiteX273" fmla="*/ 531018 w 1819275"/>
                <a:gd name="connsiteY273" fmla="*/ 101162 h 856415"/>
                <a:gd name="connsiteX274" fmla="*/ 516731 w 1819275"/>
                <a:gd name="connsiteY274" fmla="*/ 96400 h 856415"/>
                <a:gd name="connsiteX275" fmla="*/ 492918 w 1819275"/>
                <a:gd name="connsiteY275" fmla="*/ 98781 h 856415"/>
                <a:gd name="connsiteX276" fmla="*/ 490537 w 1819275"/>
                <a:gd name="connsiteY276" fmla="*/ 108306 h 856415"/>
                <a:gd name="connsiteX277" fmla="*/ 488156 w 1819275"/>
                <a:gd name="connsiteY277" fmla="*/ 122593 h 856415"/>
                <a:gd name="connsiteX278" fmla="*/ 485775 w 1819275"/>
                <a:gd name="connsiteY278" fmla="*/ 146406 h 856415"/>
                <a:gd name="connsiteX279" fmla="*/ 478631 w 1819275"/>
                <a:gd name="connsiteY279" fmla="*/ 153550 h 856415"/>
                <a:gd name="connsiteX280" fmla="*/ 473868 w 1819275"/>
                <a:gd name="connsiteY280" fmla="*/ 160693 h 856415"/>
                <a:gd name="connsiteX281" fmla="*/ 471487 w 1819275"/>
                <a:gd name="connsiteY281" fmla="*/ 186887 h 856415"/>
                <a:gd name="connsiteX282" fmla="*/ 469106 w 1819275"/>
                <a:gd name="connsiteY282" fmla="*/ 201175 h 856415"/>
                <a:gd name="connsiteX283" fmla="*/ 454818 w 1819275"/>
                <a:gd name="connsiteY283" fmla="*/ 210700 h 856415"/>
                <a:gd name="connsiteX284" fmla="*/ 433387 w 1819275"/>
                <a:gd name="connsiteY284" fmla="*/ 201175 h 856415"/>
                <a:gd name="connsiteX285" fmla="*/ 431006 w 1819275"/>
                <a:gd name="connsiteY285" fmla="*/ 194031 h 856415"/>
                <a:gd name="connsiteX286" fmla="*/ 433387 w 1819275"/>
                <a:gd name="connsiteY286" fmla="*/ 186887 h 856415"/>
                <a:gd name="connsiteX287" fmla="*/ 440531 w 1819275"/>
                <a:gd name="connsiteY287" fmla="*/ 184506 h 856415"/>
                <a:gd name="connsiteX288" fmla="*/ 447675 w 1819275"/>
                <a:gd name="connsiteY288" fmla="*/ 177362 h 856415"/>
                <a:gd name="connsiteX289" fmla="*/ 438150 w 1819275"/>
                <a:gd name="connsiteY289" fmla="*/ 158312 h 856415"/>
                <a:gd name="connsiteX290" fmla="*/ 428625 w 1819275"/>
                <a:gd name="connsiteY290" fmla="*/ 160693 h 856415"/>
                <a:gd name="connsiteX291" fmla="*/ 421481 w 1819275"/>
                <a:gd name="connsiteY291" fmla="*/ 167837 h 856415"/>
                <a:gd name="connsiteX292" fmla="*/ 416718 w 1819275"/>
                <a:gd name="connsiteY292" fmla="*/ 184506 h 856415"/>
                <a:gd name="connsiteX293" fmla="*/ 414337 w 1819275"/>
                <a:gd name="connsiteY293" fmla="*/ 191650 h 856415"/>
                <a:gd name="connsiteX294" fmla="*/ 407193 w 1819275"/>
                <a:gd name="connsiteY294" fmla="*/ 194031 h 856415"/>
                <a:gd name="connsiteX295" fmla="*/ 402431 w 1819275"/>
                <a:gd name="connsiteY295" fmla="*/ 186887 h 856415"/>
                <a:gd name="connsiteX296" fmla="*/ 397668 w 1819275"/>
                <a:gd name="connsiteY296" fmla="*/ 170218 h 856415"/>
                <a:gd name="connsiteX297" fmla="*/ 392906 w 1819275"/>
                <a:gd name="connsiteY297" fmla="*/ 163075 h 856415"/>
                <a:gd name="connsiteX298" fmla="*/ 390525 w 1819275"/>
                <a:gd name="connsiteY298" fmla="*/ 155931 h 856415"/>
                <a:gd name="connsiteX299" fmla="*/ 378618 w 1819275"/>
                <a:gd name="connsiteY299" fmla="*/ 141643 h 856415"/>
                <a:gd name="connsiteX300" fmla="*/ 373856 w 1819275"/>
                <a:gd name="connsiteY300" fmla="*/ 132118 h 856415"/>
                <a:gd name="connsiteX301" fmla="*/ 366712 w 1819275"/>
                <a:gd name="connsiteY301" fmla="*/ 127356 h 856415"/>
                <a:gd name="connsiteX302" fmla="*/ 364331 w 1819275"/>
                <a:gd name="connsiteY302" fmla="*/ 120212 h 856415"/>
                <a:gd name="connsiteX303" fmla="*/ 350043 w 1819275"/>
                <a:gd name="connsiteY303" fmla="*/ 115450 h 856415"/>
                <a:gd name="connsiteX304" fmla="*/ 340518 w 1819275"/>
                <a:gd name="connsiteY304" fmla="*/ 110687 h 856415"/>
                <a:gd name="connsiteX305" fmla="*/ 335756 w 1819275"/>
                <a:gd name="connsiteY305" fmla="*/ 103543 h 856415"/>
                <a:gd name="connsiteX306" fmla="*/ 328612 w 1819275"/>
                <a:gd name="connsiteY306" fmla="*/ 98781 h 856415"/>
                <a:gd name="connsiteX307" fmla="*/ 319087 w 1819275"/>
                <a:gd name="connsiteY307" fmla="*/ 84493 h 856415"/>
                <a:gd name="connsiteX308" fmla="*/ 328612 w 1819275"/>
                <a:gd name="connsiteY308" fmla="*/ 55918 h 856415"/>
                <a:gd name="connsiteX309" fmla="*/ 338137 w 1819275"/>
                <a:gd name="connsiteY309" fmla="*/ 53537 h 856415"/>
                <a:gd name="connsiteX310" fmla="*/ 338137 w 1819275"/>
                <a:gd name="connsiteY310" fmla="*/ 34487 h 856415"/>
                <a:gd name="connsiteX311" fmla="*/ 335756 w 1819275"/>
                <a:gd name="connsiteY311" fmla="*/ 27343 h 856415"/>
                <a:gd name="connsiteX312" fmla="*/ 328612 w 1819275"/>
                <a:gd name="connsiteY312" fmla="*/ 22581 h 856415"/>
                <a:gd name="connsiteX313" fmla="*/ 314325 w 1819275"/>
                <a:gd name="connsiteY313" fmla="*/ 10675 h 856415"/>
                <a:gd name="connsiteX314" fmla="*/ 302418 w 1819275"/>
                <a:gd name="connsiteY314" fmla="*/ 1150 h 856415"/>
                <a:gd name="connsiteX315" fmla="*/ 295275 w 1819275"/>
                <a:gd name="connsiteY315" fmla="*/ 5912 h 856415"/>
                <a:gd name="connsiteX316" fmla="*/ 292893 w 1819275"/>
                <a:gd name="connsiteY316" fmla="*/ 24962 h 856415"/>
                <a:gd name="connsiteX317" fmla="*/ 280987 w 1819275"/>
                <a:gd name="connsiteY317" fmla="*/ 36868 h 856415"/>
                <a:gd name="connsiteX318" fmla="*/ 266700 w 1819275"/>
                <a:gd name="connsiteY318" fmla="*/ 39250 h 856415"/>
                <a:gd name="connsiteX319" fmla="*/ 261937 w 1819275"/>
                <a:gd name="connsiteY319" fmla="*/ 113068 h 856415"/>
                <a:gd name="connsiteX320" fmla="*/ 271462 w 1819275"/>
                <a:gd name="connsiteY320" fmla="*/ 120212 h 856415"/>
                <a:gd name="connsiteX321" fmla="*/ 285750 w 1819275"/>
                <a:gd name="connsiteY321" fmla="*/ 129737 h 856415"/>
                <a:gd name="connsiteX322" fmla="*/ 292893 w 1819275"/>
                <a:gd name="connsiteY322" fmla="*/ 134500 h 856415"/>
                <a:gd name="connsiteX323" fmla="*/ 297656 w 1819275"/>
                <a:gd name="connsiteY323" fmla="*/ 141643 h 856415"/>
                <a:gd name="connsiteX324" fmla="*/ 295275 w 1819275"/>
                <a:gd name="connsiteY324" fmla="*/ 148787 h 856415"/>
                <a:gd name="connsiteX325" fmla="*/ 219075 w 1819275"/>
                <a:gd name="connsiteY325" fmla="*/ 146406 h 856415"/>
                <a:gd name="connsiteX326" fmla="*/ 207168 w 1819275"/>
                <a:gd name="connsiteY326" fmla="*/ 124975 h 856415"/>
                <a:gd name="connsiteX327" fmla="*/ 200025 w 1819275"/>
                <a:gd name="connsiteY327" fmla="*/ 122593 h 856415"/>
                <a:gd name="connsiteX328" fmla="*/ 188118 w 1819275"/>
                <a:gd name="connsiteY328" fmla="*/ 177362 h 856415"/>
                <a:gd name="connsiteX329" fmla="*/ 171450 w 1819275"/>
                <a:gd name="connsiteY329" fmla="*/ 196412 h 856415"/>
                <a:gd name="connsiteX330" fmla="*/ 157162 w 1819275"/>
                <a:gd name="connsiteY330" fmla="*/ 210700 h 856415"/>
                <a:gd name="connsiteX331" fmla="*/ 147637 w 1819275"/>
                <a:gd name="connsiteY331" fmla="*/ 208318 h 856415"/>
                <a:gd name="connsiteX332" fmla="*/ 152400 w 1819275"/>
                <a:gd name="connsiteY332" fmla="*/ 165456 h 856415"/>
                <a:gd name="connsiteX333" fmla="*/ 157162 w 1819275"/>
                <a:gd name="connsiteY333" fmla="*/ 129737 h 856415"/>
                <a:gd name="connsiteX334" fmla="*/ 154781 w 1819275"/>
                <a:gd name="connsiteY334" fmla="*/ 101162 h 856415"/>
                <a:gd name="connsiteX335" fmla="*/ 147637 w 1819275"/>
                <a:gd name="connsiteY335" fmla="*/ 103543 h 856415"/>
                <a:gd name="connsiteX336" fmla="*/ 133350 w 1819275"/>
                <a:gd name="connsiteY336" fmla="*/ 115450 h 856415"/>
                <a:gd name="connsiteX337" fmla="*/ 130968 w 1819275"/>
                <a:gd name="connsiteY337" fmla="*/ 122593 h 856415"/>
                <a:gd name="connsiteX338" fmla="*/ 121443 w 1819275"/>
                <a:gd name="connsiteY338" fmla="*/ 136881 h 856415"/>
                <a:gd name="connsiteX339" fmla="*/ 116681 w 1819275"/>
                <a:gd name="connsiteY339" fmla="*/ 144025 h 856415"/>
                <a:gd name="connsiteX340" fmla="*/ 107156 w 1819275"/>
                <a:gd name="connsiteY340" fmla="*/ 158312 h 856415"/>
                <a:gd name="connsiteX341" fmla="*/ 100012 w 1819275"/>
                <a:gd name="connsiteY341" fmla="*/ 179743 h 856415"/>
                <a:gd name="connsiteX342" fmla="*/ 97631 w 1819275"/>
                <a:gd name="connsiteY342" fmla="*/ 186887 h 856415"/>
                <a:gd name="connsiteX343" fmla="*/ 95250 w 1819275"/>
                <a:gd name="connsiteY343" fmla="*/ 194031 h 856415"/>
                <a:gd name="connsiteX344" fmla="*/ 97631 w 1819275"/>
                <a:gd name="connsiteY344" fmla="*/ 236893 h 856415"/>
                <a:gd name="connsiteX345" fmla="*/ 100012 w 1819275"/>
                <a:gd name="connsiteY345" fmla="*/ 246418 h 856415"/>
                <a:gd name="connsiteX346" fmla="*/ 102393 w 1819275"/>
                <a:gd name="connsiteY346" fmla="*/ 260706 h 856415"/>
                <a:gd name="connsiteX347" fmla="*/ 100012 w 1819275"/>
                <a:gd name="connsiteY347" fmla="*/ 274993 h 856415"/>
                <a:gd name="connsiteX348" fmla="*/ 85725 w 1819275"/>
                <a:gd name="connsiteY348" fmla="*/ 289281 h 856415"/>
                <a:gd name="connsiteX349" fmla="*/ 80962 w 1819275"/>
                <a:gd name="connsiteY349" fmla="*/ 296425 h 856415"/>
                <a:gd name="connsiteX350" fmla="*/ 76200 w 1819275"/>
                <a:gd name="connsiteY350" fmla="*/ 310712 h 856415"/>
                <a:gd name="connsiteX351" fmla="*/ 69056 w 1819275"/>
                <a:gd name="connsiteY351" fmla="*/ 327381 h 856415"/>
                <a:gd name="connsiteX352" fmla="*/ 61912 w 1819275"/>
                <a:gd name="connsiteY352" fmla="*/ 332143 h 856415"/>
                <a:gd name="connsiteX353" fmla="*/ 47625 w 1819275"/>
                <a:gd name="connsiteY353" fmla="*/ 346431 h 856415"/>
                <a:gd name="connsiteX354" fmla="*/ 40481 w 1819275"/>
                <a:gd name="connsiteY354" fmla="*/ 360718 h 856415"/>
                <a:gd name="connsiteX355" fmla="*/ 26193 w 1819275"/>
                <a:gd name="connsiteY355" fmla="*/ 370243 h 856415"/>
                <a:gd name="connsiteX356" fmla="*/ 14287 w 1819275"/>
                <a:gd name="connsiteY356" fmla="*/ 375006 h 856415"/>
                <a:gd name="connsiteX357" fmla="*/ 23812 w 1819275"/>
                <a:gd name="connsiteY357" fmla="*/ 389293 h 856415"/>
                <a:gd name="connsiteX358" fmla="*/ 28575 w 1819275"/>
                <a:gd name="connsiteY358" fmla="*/ 396437 h 856415"/>
                <a:gd name="connsiteX359" fmla="*/ 21431 w 1819275"/>
                <a:gd name="connsiteY359" fmla="*/ 403581 h 856415"/>
                <a:gd name="connsiteX360" fmla="*/ 14287 w 1819275"/>
                <a:gd name="connsiteY360" fmla="*/ 408343 h 856415"/>
                <a:gd name="connsiteX361" fmla="*/ 11906 w 1819275"/>
                <a:gd name="connsiteY361" fmla="*/ 415487 h 856415"/>
                <a:gd name="connsiteX362" fmla="*/ 4762 w 1819275"/>
                <a:gd name="connsiteY362" fmla="*/ 422631 h 856415"/>
                <a:gd name="connsiteX363" fmla="*/ 0 w 1819275"/>
                <a:gd name="connsiteY363" fmla="*/ 429775 h 856415"/>
                <a:gd name="connsiteX364" fmla="*/ 4762 w 1819275"/>
                <a:gd name="connsiteY364" fmla="*/ 463112 h 856415"/>
                <a:gd name="connsiteX365" fmla="*/ 7143 w 1819275"/>
                <a:gd name="connsiteY365" fmla="*/ 477400 h 856415"/>
                <a:gd name="connsiteX366" fmla="*/ 11906 w 1819275"/>
                <a:gd name="connsiteY366" fmla="*/ 494068 h 856415"/>
                <a:gd name="connsiteX367" fmla="*/ 19050 w 1819275"/>
                <a:gd name="connsiteY367" fmla="*/ 520262 h 856415"/>
                <a:gd name="connsiteX368" fmla="*/ 23812 w 1819275"/>
                <a:gd name="connsiteY368" fmla="*/ 534550 h 856415"/>
                <a:gd name="connsiteX369" fmla="*/ 35718 w 1819275"/>
                <a:gd name="connsiteY369" fmla="*/ 548837 h 856415"/>
                <a:gd name="connsiteX370" fmla="*/ 52387 w 1819275"/>
                <a:gd name="connsiteY370" fmla="*/ 558362 h 856415"/>
                <a:gd name="connsiteX371" fmla="*/ 59531 w 1819275"/>
                <a:gd name="connsiteY371" fmla="*/ 560743 h 856415"/>
                <a:gd name="connsiteX372" fmla="*/ 69056 w 1819275"/>
                <a:gd name="connsiteY372" fmla="*/ 565506 h 856415"/>
                <a:gd name="connsiteX373" fmla="*/ 83343 w 1819275"/>
                <a:gd name="connsiteY373" fmla="*/ 575031 h 856415"/>
                <a:gd name="connsiteX374" fmla="*/ 88106 w 1819275"/>
                <a:gd name="connsiteY374" fmla="*/ 582175 h 856415"/>
                <a:gd name="connsiteX375" fmla="*/ 97631 w 1819275"/>
                <a:gd name="connsiteY375" fmla="*/ 596462 h 856415"/>
                <a:gd name="connsiteX376" fmla="*/ 104775 w 1819275"/>
                <a:gd name="connsiteY376" fmla="*/ 598843 h 856415"/>
                <a:gd name="connsiteX377" fmla="*/ 114300 w 1819275"/>
                <a:gd name="connsiteY377" fmla="*/ 603606 h 856415"/>
                <a:gd name="connsiteX378" fmla="*/ 128587 w 1819275"/>
                <a:gd name="connsiteY378" fmla="*/ 608368 h 856415"/>
                <a:gd name="connsiteX379" fmla="*/ 135731 w 1819275"/>
                <a:gd name="connsiteY379" fmla="*/ 610750 h 856415"/>
                <a:gd name="connsiteX380" fmla="*/ 145256 w 1819275"/>
                <a:gd name="connsiteY380" fmla="*/ 615512 h 856415"/>
                <a:gd name="connsiteX381" fmla="*/ 154781 w 1819275"/>
                <a:gd name="connsiteY381" fmla="*/ 622656 h 856415"/>
                <a:gd name="connsiteX382" fmla="*/ 169068 w 1819275"/>
                <a:gd name="connsiteY382" fmla="*/ 627418 h 856415"/>
                <a:gd name="connsiteX383" fmla="*/ 173831 w 1819275"/>
                <a:gd name="connsiteY383" fmla="*/ 634562 h 856415"/>
                <a:gd name="connsiteX384" fmla="*/ 180975 w 1819275"/>
                <a:gd name="connsiteY384" fmla="*/ 636943 h 856415"/>
                <a:gd name="connsiteX385" fmla="*/ 188118 w 1819275"/>
                <a:gd name="connsiteY385" fmla="*/ 641706 h 856415"/>
                <a:gd name="connsiteX386" fmla="*/ 204787 w 1819275"/>
                <a:gd name="connsiteY386" fmla="*/ 651231 h 856415"/>
                <a:gd name="connsiteX387" fmla="*/ 216693 w 1819275"/>
                <a:gd name="connsiteY387" fmla="*/ 665518 h 856415"/>
                <a:gd name="connsiteX388" fmla="*/ 235743 w 1819275"/>
                <a:gd name="connsiteY388" fmla="*/ 672662 h 856415"/>
                <a:gd name="connsiteX389" fmla="*/ 285750 w 1819275"/>
                <a:gd name="connsiteY389" fmla="*/ 672662 h 856415"/>
                <a:gd name="connsiteX390" fmla="*/ 295275 w 1819275"/>
                <a:gd name="connsiteY390" fmla="*/ 679806 h 856415"/>
                <a:gd name="connsiteX391" fmla="*/ 302418 w 1819275"/>
                <a:gd name="connsiteY391" fmla="*/ 682187 h 856415"/>
                <a:gd name="connsiteX392" fmla="*/ 330993 w 1819275"/>
                <a:gd name="connsiteY392" fmla="*/ 686950 h 856415"/>
                <a:gd name="connsiteX393" fmla="*/ 338137 w 1819275"/>
                <a:gd name="connsiteY393" fmla="*/ 694093 h 856415"/>
                <a:gd name="connsiteX394" fmla="*/ 345281 w 1819275"/>
                <a:gd name="connsiteY394" fmla="*/ 696475 h 856415"/>
                <a:gd name="connsiteX395" fmla="*/ 350043 w 1819275"/>
                <a:gd name="connsiteY395" fmla="*/ 703618 h 856415"/>
                <a:gd name="connsiteX396" fmla="*/ 352425 w 1819275"/>
                <a:gd name="connsiteY396" fmla="*/ 713143 h 856415"/>
                <a:gd name="connsiteX397" fmla="*/ 354806 w 1819275"/>
                <a:gd name="connsiteY397" fmla="*/ 720287 h 856415"/>
                <a:gd name="connsiteX398" fmla="*/ 357187 w 1819275"/>
                <a:gd name="connsiteY398" fmla="*/ 732193 h 856415"/>
                <a:gd name="connsiteX399" fmla="*/ 366712 w 1819275"/>
                <a:gd name="connsiteY399" fmla="*/ 744100 h 856415"/>
                <a:gd name="connsiteX400" fmla="*/ 421481 w 1819275"/>
                <a:gd name="connsiteY400" fmla="*/ 746481 h 856415"/>
                <a:gd name="connsiteX401" fmla="*/ 438150 w 1819275"/>
                <a:gd name="connsiteY401" fmla="*/ 753625 h 856415"/>
                <a:gd name="connsiteX402" fmla="*/ 447675 w 1819275"/>
                <a:gd name="connsiteY402" fmla="*/ 765531 h 856415"/>
                <a:gd name="connsiteX403" fmla="*/ 459581 w 1819275"/>
                <a:gd name="connsiteY403" fmla="*/ 779818 h 856415"/>
                <a:gd name="connsiteX404" fmla="*/ 469106 w 1819275"/>
                <a:gd name="connsiteY404" fmla="*/ 794106 h 856415"/>
                <a:gd name="connsiteX405" fmla="*/ 473868 w 1819275"/>
                <a:gd name="connsiteY405" fmla="*/ 801250 h 856415"/>
                <a:gd name="connsiteX406" fmla="*/ 476250 w 1819275"/>
                <a:gd name="connsiteY406" fmla="*/ 825062 h 856415"/>
                <a:gd name="connsiteX407" fmla="*/ 481012 w 1819275"/>
                <a:gd name="connsiteY407" fmla="*/ 832206 h 856415"/>
                <a:gd name="connsiteX408" fmla="*/ 488156 w 1819275"/>
                <a:gd name="connsiteY408" fmla="*/ 846493 h 856415"/>
                <a:gd name="connsiteX409" fmla="*/ 497681 w 1819275"/>
                <a:gd name="connsiteY409" fmla="*/ 856018 h 856415"/>
                <a:gd name="connsiteX410" fmla="*/ 492918 w 1819275"/>
                <a:gd name="connsiteY410" fmla="*/ 856018 h 856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Lst>
              <a:rect l="l" t="t" r="r" b="b"/>
              <a:pathLst>
                <a:path w="1819275" h="856415">
                  <a:moveTo>
                    <a:pt x="492918" y="856018"/>
                  </a:moveTo>
                  <a:cubicBezTo>
                    <a:pt x="497284" y="855621"/>
                    <a:pt x="513605" y="854921"/>
                    <a:pt x="523875" y="853637"/>
                  </a:cubicBezTo>
                  <a:cubicBezTo>
                    <a:pt x="535361" y="852201"/>
                    <a:pt x="531409" y="846364"/>
                    <a:pt x="545306" y="841731"/>
                  </a:cubicBezTo>
                  <a:cubicBezTo>
                    <a:pt x="550068" y="840143"/>
                    <a:pt x="554670" y="837952"/>
                    <a:pt x="559593" y="836968"/>
                  </a:cubicBezTo>
                  <a:cubicBezTo>
                    <a:pt x="573961" y="834095"/>
                    <a:pt x="567660" y="835867"/>
                    <a:pt x="578643" y="832206"/>
                  </a:cubicBezTo>
                  <a:cubicBezTo>
                    <a:pt x="581024" y="830618"/>
                    <a:pt x="583227" y="828723"/>
                    <a:pt x="585787" y="827443"/>
                  </a:cubicBezTo>
                  <a:cubicBezTo>
                    <a:pt x="605513" y="817580"/>
                    <a:pt x="579592" y="833953"/>
                    <a:pt x="600075" y="820300"/>
                  </a:cubicBezTo>
                  <a:cubicBezTo>
                    <a:pt x="606839" y="800006"/>
                    <a:pt x="597067" y="831203"/>
                    <a:pt x="604837" y="784581"/>
                  </a:cubicBezTo>
                  <a:cubicBezTo>
                    <a:pt x="605662" y="779629"/>
                    <a:pt x="605423" y="773078"/>
                    <a:pt x="609600" y="770293"/>
                  </a:cubicBezTo>
                  <a:cubicBezTo>
                    <a:pt x="611981" y="768706"/>
                    <a:pt x="614258" y="766951"/>
                    <a:pt x="616743" y="765531"/>
                  </a:cubicBezTo>
                  <a:cubicBezTo>
                    <a:pt x="619825" y="763770"/>
                    <a:pt x="623314" y="762737"/>
                    <a:pt x="626268" y="760768"/>
                  </a:cubicBezTo>
                  <a:cubicBezTo>
                    <a:pt x="632872" y="756365"/>
                    <a:pt x="638968" y="751243"/>
                    <a:pt x="645318" y="746481"/>
                  </a:cubicBezTo>
                  <a:cubicBezTo>
                    <a:pt x="648493" y="744100"/>
                    <a:pt x="651541" y="741538"/>
                    <a:pt x="654843" y="739337"/>
                  </a:cubicBezTo>
                  <a:cubicBezTo>
                    <a:pt x="657224" y="737750"/>
                    <a:pt x="659788" y="736407"/>
                    <a:pt x="661987" y="734575"/>
                  </a:cubicBezTo>
                  <a:cubicBezTo>
                    <a:pt x="668863" y="728845"/>
                    <a:pt x="669211" y="727312"/>
                    <a:pt x="673893" y="720287"/>
                  </a:cubicBezTo>
                  <a:cubicBezTo>
                    <a:pt x="672434" y="702775"/>
                    <a:pt x="676466" y="695499"/>
                    <a:pt x="666750" y="684568"/>
                  </a:cubicBezTo>
                  <a:cubicBezTo>
                    <a:pt x="662275" y="679534"/>
                    <a:pt x="652462" y="670281"/>
                    <a:pt x="652462" y="670281"/>
                  </a:cubicBezTo>
                  <a:cubicBezTo>
                    <a:pt x="638961" y="671968"/>
                    <a:pt x="635122" y="671672"/>
                    <a:pt x="623887" y="675043"/>
                  </a:cubicBezTo>
                  <a:cubicBezTo>
                    <a:pt x="619079" y="676486"/>
                    <a:pt x="614362" y="678218"/>
                    <a:pt x="609600" y="679806"/>
                  </a:cubicBezTo>
                  <a:lnTo>
                    <a:pt x="602456" y="682187"/>
                  </a:lnTo>
                  <a:cubicBezTo>
                    <a:pt x="596900" y="681393"/>
                    <a:pt x="591309" y="680810"/>
                    <a:pt x="585787" y="679806"/>
                  </a:cubicBezTo>
                  <a:cubicBezTo>
                    <a:pt x="579204" y="678609"/>
                    <a:pt x="575242" y="677085"/>
                    <a:pt x="569118" y="675043"/>
                  </a:cubicBezTo>
                  <a:cubicBezTo>
                    <a:pt x="548250" y="654175"/>
                    <a:pt x="573789" y="680647"/>
                    <a:pt x="557212" y="660756"/>
                  </a:cubicBezTo>
                  <a:cubicBezTo>
                    <a:pt x="555056" y="658169"/>
                    <a:pt x="552449" y="655993"/>
                    <a:pt x="550068" y="653612"/>
                  </a:cubicBezTo>
                  <a:cubicBezTo>
                    <a:pt x="550862" y="648056"/>
                    <a:pt x="550837" y="642319"/>
                    <a:pt x="552450" y="636943"/>
                  </a:cubicBezTo>
                  <a:cubicBezTo>
                    <a:pt x="553548" y="633282"/>
                    <a:pt x="561699" y="624427"/>
                    <a:pt x="564356" y="622656"/>
                  </a:cubicBezTo>
                  <a:cubicBezTo>
                    <a:pt x="566445" y="621264"/>
                    <a:pt x="569119" y="621069"/>
                    <a:pt x="571500" y="620275"/>
                  </a:cubicBezTo>
                  <a:cubicBezTo>
                    <a:pt x="573881" y="618687"/>
                    <a:pt x="576013" y="616639"/>
                    <a:pt x="578643" y="615512"/>
                  </a:cubicBezTo>
                  <a:cubicBezTo>
                    <a:pt x="581651" y="614223"/>
                    <a:pt x="585326" y="614755"/>
                    <a:pt x="588168" y="613131"/>
                  </a:cubicBezTo>
                  <a:cubicBezTo>
                    <a:pt x="591092" y="611460"/>
                    <a:pt x="592725" y="608143"/>
                    <a:pt x="595312" y="605987"/>
                  </a:cubicBezTo>
                  <a:cubicBezTo>
                    <a:pt x="605545" y="597460"/>
                    <a:pt x="598863" y="604212"/>
                    <a:pt x="609600" y="598843"/>
                  </a:cubicBezTo>
                  <a:cubicBezTo>
                    <a:pt x="616231" y="595528"/>
                    <a:pt x="618620" y="592204"/>
                    <a:pt x="623887" y="586937"/>
                  </a:cubicBezTo>
                  <a:cubicBezTo>
                    <a:pt x="629596" y="569808"/>
                    <a:pt x="623887" y="591199"/>
                    <a:pt x="623887" y="570268"/>
                  </a:cubicBezTo>
                  <a:cubicBezTo>
                    <a:pt x="623887" y="432836"/>
                    <a:pt x="583473" y="448800"/>
                    <a:pt x="633412" y="432156"/>
                  </a:cubicBezTo>
                  <a:cubicBezTo>
                    <a:pt x="643268" y="433564"/>
                    <a:pt x="648915" y="433356"/>
                    <a:pt x="657225" y="436918"/>
                  </a:cubicBezTo>
                  <a:cubicBezTo>
                    <a:pt x="663275" y="439511"/>
                    <a:pt x="667426" y="442886"/>
                    <a:pt x="673893" y="444062"/>
                  </a:cubicBezTo>
                  <a:cubicBezTo>
                    <a:pt x="680189" y="445207"/>
                    <a:pt x="686593" y="445649"/>
                    <a:pt x="692943" y="446443"/>
                  </a:cubicBezTo>
                  <a:lnTo>
                    <a:pt x="707231" y="451206"/>
                  </a:lnTo>
                  <a:cubicBezTo>
                    <a:pt x="709612" y="452000"/>
                    <a:pt x="711940" y="452978"/>
                    <a:pt x="714375" y="453587"/>
                  </a:cubicBezTo>
                  <a:lnTo>
                    <a:pt x="723900" y="455968"/>
                  </a:lnTo>
                  <a:cubicBezTo>
                    <a:pt x="729164" y="461233"/>
                    <a:pt x="732492" y="463627"/>
                    <a:pt x="735806" y="470256"/>
                  </a:cubicBezTo>
                  <a:cubicBezTo>
                    <a:pt x="736929" y="472501"/>
                    <a:pt x="736412" y="475625"/>
                    <a:pt x="738187" y="477400"/>
                  </a:cubicBezTo>
                  <a:cubicBezTo>
                    <a:pt x="749772" y="488985"/>
                    <a:pt x="754038" y="487148"/>
                    <a:pt x="769143" y="489306"/>
                  </a:cubicBezTo>
                  <a:cubicBezTo>
                    <a:pt x="773906" y="490893"/>
                    <a:pt x="779415" y="491056"/>
                    <a:pt x="783431" y="494068"/>
                  </a:cubicBezTo>
                  <a:cubicBezTo>
                    <a:pt x="804489" y="509862"/>
                    <a:pt x="794951" y="505846"/>
                    <a:pt x="809625" y="510737"/>
                  </a:cubicBezTo>
                  <a:cubicBezTo>
                    <a:pt x="828493" y="504448"/>
                    <a:pt x="818960" y="505150"/>
                    <a:pt x="838200" y="508356"/>
                  </a:cubicBezTo>
                  <a:cubicBezTo>
                    <a:pt x="853965" y="513611"/>
                    <a:pt x="837138" y="505705"/>
                    <a:pt x="847725" y="522643"/>
                  </a:cubicBezTo>
                  <a:cubicBezTo>
                    <a:pt x="849829" y="526008"/>
                    <a:pt x="854075" y="527406"/>
                    <a:pt x="857250" y="529787"/>
                  </a:cubicBezTo>
                  <a:cubicBezTo>
                    <a:pt x="862012" y="528993"/>
                    <a:pt x="867904" y="530585"/>
                    <a:pt x="871537" y="527406"/>
                  </a:cubicBezTo>
                  <a:cubicBezTo>
                    <a:pt x="875315" y="524100"/>
                    <a:pt x="876300" y="513118"/>
                    <a:pt x="876300" y="513118"/>
                  </a:cubicBezTo>
                  <a:cubicBezTo>
                    <a:pt x="875506" y="492481"/>
                    <a:pt x="875733" y="471779"/>
                    <a:pt x="873918" y="451206"/>
                  </a:cubicBezTo>
                  <a:cubicBezTo>
                    <a:pt x="873343" y="444686"/>
                    <a:pt x="870743" y="438506"/>
                    <a:pt x="869156" y="432156"/>
                  </a:cubicBezTo>
                  <a:lnTo>
                    <a:pt x="866775" y="422631"/>
                  </a:lnTo>
                  <a:cubicBezTo>
                    <a:pt x="865981" y="419456"/>
                    <a:pt x="866208" y="415829"/>
                    <a:pt x="864393" y="413106"/>
                  </a:cubicBezTo>
                  <a:cubicBezTo>
                    <a:pt x="858239" y="403873"/>
                    <a:pt x="860536" y="408677"/>
                    <a:pt x="857250" y="398818"/>
                  </a:cubicBezTo>
                  <a:cubicBezTo>
                    <a:pt x="858044" y="385324"/>
                    <a:pt x="858350" y="371793"/>
                    <a:pt x="859631" y="358337"/>
                  </a:cubicBezTo>
                  <a:cubicBezTo>
                    <a:pt x="859941" y="355079"/>
                    <a:pt x="860723" y="351820"/>
                    <a:pt x="862012" y="348812"/>
                  </a:cubicBezTo>
                  <a:cubicBezTo>
                    <a:pt x="864609" y="342751"/>
                    <a:pt x="868146" y="339792"/>
                    <a:pt x="873918" y="336906"/>
                  </a:cubicBezTo>
                  <a:cubicBezTo>
                    <a:pt x="876163" y="335784"/>
                    <a:pt x="878755" y="335514"/>
                    <a:pt x="881062" y="334525"/>
                  </a:cubicBezTo>
                  <a:cubicBezTo>
                    <a:pt x="905604" y="324007"/>
                    <a:pt x="872332" y="335848"/>
                    <a:pt x="904875" y="325000"/>
                  </a:cubicBezTo>
                  <a:cubicBezTo>
                    <a:pt x="907256" y="324206"/>
                    <a:pt x="909518" y="322845"/>
                    <a:pt x="912018" y="322618"/>
                  </a:cubicBezTo>
                  <a:lnTo>
                    <a:pt x="938212" y="320237"/>
                  </a:lnTo>
                  <a:cubicBezTo>
                    <a:pt x="941387" y="319443"/>
                    <a:pt x="944528" y="318498"/>
                    <a:pt x="947737" y="317856"/>
                  </a:cubicBezTo>
                  <a:cubicBezTo>
                    <a:pt x="961931" y="315018"/>
                    <a:pt x="965725" y="315286"/>
                    <a:pt x="981075" y="313093"/>
                  </a:cubicBezTo>
                  <a:cubicBezTo>
                    <a:pt x="985854" y="312410"/>
                    <a:pt x="990590" y="311446"/>
                    <a:pt x="995362" y="310712"/>
                  </a:cubicBezTo>
                  <a:cubicBezTo>
                    <a:pt x="1000909" y="309859"/>
                    <a:pt x="1006495" y="309254"/>
                    <a:pt x="1012031" y="308331"/>
                  </a:cubicBezTo>
                  <a:cubicBezTo>
                    <a:pt x="1016023" y="307666"/>
                    <a:pt x="1019898" y="306211"/>
                    <a:pt x="1023937" y="305950"/>
                  </a:cubicBezTo>
                  <a:cubicBezTo>
                    <a:pt x="1044547" y="304620"/>
                    <a:pt x="1065212" y="304362"/>
                    <a:pt x="1085850" y="303568"/>
                  </a:cubicBezTo>
                  <a:cubicBezTo>
                    <a:pt x="1091406" y="302774"/>
                    <a:pt x="1097103" y="302664"/>
                    <a:pt x="1102518" y="301187"/>
                  </a:cubicBezTo>
                  <a:cubicBezTo>
                    <a:pt x="1105943" y="300253"/>
                    <a:pt x="1108529" y="296927"/>
                    <a:pt x="1112043" y="296425"/>
                  </a:cubicBezTo>
                  <a:cubicBezTo>
                    <a:pt x="1114528" y="296070"/>
                    <a:pt x="1116880" y="297817"/>
                    <a:pt x="1119187" y="298806"/>
                  </a:cubicBezTo>
                  <a:cubicBezTo>
                    <a:pt x="1125764" y="301624"/>
                    <a:pt x="1138768" y="308861"/>
                    <a:pt x="1143000" y="313093"/>
                  </a:cubicBezTo>
                  <a:cubicBezTo>
                    <a:pt x="1147486" y="317579"/>
                    <a:pt x="1151319" y="322348"/>
                    <a:pt x="1157287" y="325000"/>
                  </a:cubicBezTo>
                  <a:cubicBezTo>
                    <a:pt x="1161875" y="327039"/>
                    <a:pt x="1171575" y="329762"/>
                    <a:pt x="1171575" y="329762"/>
                  </a:cubicBezTo>
                  <a:cubicBezTo>
                    <a:pt x="1173956" y="331350"/>
                    <a:pt x="1176158" y="333245"/>
                    <a:pt x="1178718" y="334525"/>
                  </a:cubicBezTo>
                  <a:cubicBezTo>
                    <a:pt x="1180963" y="335648"/>
                    <a:pt x="1183668" y="335687"/>
                    <a:pt x="1185862" y="336906"/>
                  </a:cubicBezTo>
                  <a:cubicBezTo>
                    <a:pt x="1185864" y="336907"/>
                    <a:pt x="1203720" y="348811"/>
                    <a:pt x="1207293" y="351193"/>
                  </a:cubicBezTo>
                  <a:cubicBezTo>
                    <a:pt x="1209674" y="352781"/>
                    <a:pt x="1212413" y="353932"/>
                    <a:pt x="1214437" y="355956"/>
                  </a:cubicBezTo>
                  <a:cubicBezTo>
                    <a:pt x="1219200" y="360718"/>
                    <a:pt x="1224989" y="364639"/>
                    <a:pt x="1228725" y="370243"/>
                  </a:cubicBezTo>
                  <a:cubicBezTo>
                    <a:pt x="1230312" y="372624"/>
                    <a:pt x="1231252" y="375599"/>
                    <a:pt x="1233487" y="377387"/>
                  </a:cubicBezTo>
                  <a:cubicBezTo>
                    <a:pt x="1235447" y="378955"/>
                    <a:pt x="1238250" y="378974"/>
                    <a:pt x="1240631" y="379768"/>
                  </a:cubicBezTo>
                  <a:cubicBezTo>
                    <a:pt x="1242218" y="382149"/>
                    <a:pt x="1243012" y="385324"/>
                    <a:pt x="1245393" y="386912"/>
                  </a:cubicBezTo>
                  <a:cubicBezTo>
                    <a:pt x="1248116" y="388727"/>
                    <a:pt x="1251910" y="388004"/>
                    <a:pt x="1254918" y="389293"/>
                  </a:cubicBezTo>
                  <a:cubicBezTo>
                    <a:pt x="1257549" y="390420"/>
                    <a:pt x="1259502" y="392776"/>
                    <a:pt x="1262062" y="394056"/>
                  </a:cubicBezTo>
                  <a:cubicBezTo>
                    <a:pt x="1272432" y="399241"/>
                    <a:pt x="1267161" y="392936"/>
                    <a:pt x="1278731" y="401200"/>
                  </a:cubicBezTo>
                  <a:cubicBezTo>
                    <a:pt x="1287307" y="407325"/>
                    <a:pt x="1283576" y="409059"/>
                    <a:pt x="1293018" y="413106"/>
                  </a:cubicBezTo>
                  <a:cubicBezTo>
                    <a:pt x="1296026" y="414395"/>
                    <a:pt x="1299368" y="414693"/>
                    <a:pt x="1302543" y="415487"/>
                  </a:cubicBezTo>
                  <a:cubicBezTo>
                    <a:pt x="1304924" y="417075"/>
                    <a:pt x="1307072" y="419088"/>
                    <a:pt x="1309687" y="420250"/>
                  </a:cubicBezTo>
                  <a:cubicBezTo>
                    <a:pt x="1314275" y="422289"/>
                    <a:pt x="1319212" y="423425"/>
                    <a:pt x="1323975" y="425012"/>
                  </a:cubicBezTo>
                  <a:cubicBezTo>
                    <a:pt x="1326356" y="425806"/>
                    <a:pt x="1328642" y="426980"/>
                    <a:pt x="1331118" y="427393"/>
                  </a:cubicBezTo>
                  <a:lnTo>
                    <a:pt x="1345406" y="429775"/>
                  </a:lnTo>
                  <a:cubicBezTo>
                    <a:pt x="1350953" y="430629"/>
                    <a:pt x="1356553" y="431152"/>
                    <a:pt x="1362075" y="432156"/>
                  </a:cubicBezTo>
                  <a:cubicBezTo>
                    <a:pt x="1365295" y="432741"/>
                    <a:pt x="1368425" y="433743"/>
                    <a:pt x="1371600" y="434537"/>
                  </a:cubicBezTo>
                  <a:cubicBezTo>
                    <a:pt x="1378776" y="439322"/>
                    <a:pt x="1379806" y="440436"/>
                    <a:pt x="1388268" y="444062"/>
                  </a:cubicBezTo>
                  <a:cubicBezTo>
                    <a:pt x="1390575" y="445051"/>
                    <a:pt x="1393105" y="445454"/>
                    <a:pt x="1395412" y="446443"/>
                  </a:cubicBezTo>
                  <a:cubicBezTo>
                    <a:pt x="1398675" y="447841"/>
                    <a:pt x="1401641" y="449888"/>
                    <a:pt x="1404937" y="451206"/>
                  </a:cubicBezTo>
                  <a:cubicBezTo>
                    <a:pt x="1409598" y="453070"/>
                    <a:pt x="1414462" y="454380"/>
                    <a:pt x="1419225" y="455968"/>
                  </a:cubicBezTo>
                  <a:lnTo>
                    <a:pt x="1426368" y="458350"/>
                  </a:lnTo>
                  <a:lnTo>
                    <a:pt x="1433512" y="460731"/>
                  </a:lnTo>
                  <a:cubicBezTo>
                    <a:pt x="1439174" y="477718"/>
                    <a:pt x="1431145" y="457181"/>
                    <a:pt x="1443037" y="475018"/>
                  </a:cubicBezTo>
                  <a:cubicBezTo>
                    <a:pt x="1444429" y="477107"/>
                    <a:pt x="1443643" y="480387"/>
                    <a:pt x="1445418" y="482162"/>
                  </a:cubicBezTo>
                  <a:cubicBezTo>
                    <a:pt x="1449465" y="486209"/>
                    <a:pt x="1454943" y="488512"/>
                    <a:pt x="1459706" y="491687"/>
                  </a:cubicBezTo>
                  <a:cubicBezTo>
                    <a:pt x="1462087" y="493275"/>
                    <a:pt x="1464135" y="495545"/>
                    <a:pt x="1466850" y="496450"/>
                  </a:cubicBezTo>
                  <a:cubicBezTo>
                    <a:pt x="1483970" y="502157"/>
                    <a:pt x="1462597" y="495235"/>
                    <a:pt x="1483518" y="501212"/>
                  </a:cubicBezTo>
                  <a:cubicBezTo>
                    <a:pt x="1507472" y="508055"/>
                    <a:pt x="1470358" y="498515"/>
                    <a:pt x="1500187" y="505975"/>
                  </a:cubicBezTo>
                  <a:lnTo>
                    <a:pt x="1514475" y="515500"/>
                  </a:lnTo>
                  <a:cubicBezTo>
                    <a:pt x="1519257" y="518688"/>
                    <a:pt x="1525651" y="523378"/>
                    <a:pt x="1531143" y="525025"/>
                  </a:cubicBezTo>
                  <a:cubicBezTo>
                    <a:pt x="1535768" y="526412"/>
                    <a:pt x="1540718" y="526359"/>
                    <a:pt x="1545431" y="527406"/>
                  </a:cubicBezTo>
                  <a:cubicBezTo>
                    <a:pt x="1547881" y="527950"/>
                    <a:pt x="1550140" y="529178"/>
                    <a:pt x="1552575" y="529787"/>
                  </a:cubicBezTo>
                  <a:cubicBezTo>
                    <a:pt x="1556501" y="530769"/>
                    <a:pt x="1560512" y="531374"/>
                    <a:pt x="1564481" y="532168"/>
                  </a:cubicBezTo>
                  <a:cubicBezTo>
                    <a:pt x="1577975" y="531374"/>
                    <a:pt x="1591595" y="531792"/>
                    <a:pt x="1604962" y="529787"/>
                  </a:cubicBezTo>
                  <a:cubicBezTo>
                    <a:pt x="1607792" y="529363"/>
                    <a:pt x="1609621" y="526445"/>
                    <a:pt x="1612106" y="525025"/>
                  </a:cubicBezTo>
                  <a:cubicBezTo>
                    <a:pt x="1615188" y="523264"/>
                    <a:pt x="1618621" y="522143"/>
                    <a:pt x="1621631" y="520262"/>
                  </a:cubicBezTo>
                  <a:cubicBezTo>
                    <a:pt x="1624996" y="518158"/>
                    <a:pt x="1627710" y="515087"/>
                    <a:pt x="1631156" y="513118"/>
                  </a:cubicBezTo>
                  <a:cubicBezTo>
                    <a:pt x="1633335" y="511873"/>
                    <a:pt x="1635993" y="511726"/>
                    <a:pt x="1638300" y="510737"/>
                  </a:cubicBezTo>
                  <a:cubicBezTo>
                    <a:pt x="1641563" y="509339"/>
                    <a:pt x="1644562" y="507373"/>
                    <a:pt x="1647825" y="505975"/>
                  </a:cubicBezTo>
                  <a:cubicBezTo>
                    <a:pt x="1650132" y="504986"/>
                    <a:pt x="1652723" y="504716"/>
                    <a:pt x="1654968" y="503593"/>
                  </a:cubicBezTo>
                  <a:cubicBezTo>
                    <a:pt x="1657528" y="502313"/>
                    <a:pt x="1659481" y="499958"/>
                    <a:pt x="1662112" y="498831"/>
                  </a:cubicBezTo>
                  <a:cubicBezTo>
                    <a:pt x="1665120" y="497542"/>
                    <a:pt x="1668490" y="497349"/>
                    <a:pt x="1671637" y="496450"/>
                  </a:cubicBezTo>
                  <a:cubicBezTo>
                    <a:pt x="1674051" y="495760"/>
                    <a:pt x="1676400" y="494862"/>
                    <a:pt x="1678781" y="494068"/>
                  </a:cubicBezTo>
                  <a:cubicBezTo>
                    <a:pt x="1681162" y="491687"/>
                    <a:pt x="1683338" y="489081"/>
                    <a:pt x="1685925" y="486925"/>
                  </a:cubicBezTo>
                  <a:cubicBezTo>
                    <a:pt x="1688123" y="485093"/>
                    <a:pt x="1690739" y="483826"/>
                    <a:pt x="1693068" y="482162"/>
                  </a:cubicBezTo>
                  <a:cubicBezTo>
                    <a:pt x="1713699" y="467424"/>
                    <a:pt x="1692933" y="481457"/>
                    <a:pt x="1709737" y="470256"/>
                  </a:cubicBezTo>
                  <a:cubicBezTo>
                    <a:pt x="1711436" y="465159"/>
                    <a:pt x="1712535" y="459771"/>
                    <a:pt x="1716881" y="455968"/>
                  </a:cubicBezTo>
                  <a:cubicBezTo>
                    <a:pt x="1722300" y="451226"/>
                    <a:pt x="1733380" y="444815"/>
                    <a:pt x="1740693" y="441681"/>
                  </a:cubicBezTo>
                  <a:cubicBezTo>
                    <a:pt x="1743000" y="440692"/>
                    <a:pt x="1745456" y="440094"/>
                    <a:pt x="1747837" y="439300"/>
                  </a:cubicBezTo>
                  <a:cubicBezTo>
                    <a:pt x="1750218" y="437712"/>
                    <a:pt x="1752366" y="435699"/>
                    <a:pt x="1754981" y="434537"/>
                  </a:cubicBezTo>
                  <a:cubicBezTo>
                    <a:pt x="1762428" y="431227"/>
                    <a:pt x="1770881" y="429372"/>
                    <a:pt x="1778793" y="427393"/>
                  </a:cubicBezTo>
                  <a:cubicBezTo>
                    <a:pt x="1781968" y="424218"/>
                    <a:pt x="1784664" y="420478"/>
                    <a:pt x="1788318" y="417868"/>
                  </a:cubicBezTo>
                  <a:cubicBezTo>
                    <a:pt x="1790361" y="416409"/>
                    <a:pt x="1793373" y="416879"/>
                    <a:pt x="1795462" y="415487"/>
                  </a:cubicBezTo>
                  <a:cubicBezTo>
                    <a:pt x="1798264" y="413619"/>
                    <a:pt x="1800225" y="410724"/>
                    <a:pt x="1802606" y="408343"/>
                  </a:cubicBezTo>
                  <a:cubicBezTo>
                    <a:pt x="1803400" y="405962"/>
                    <a:pt x="1804987" y="403710"/>
                    <a:pt x="1804987" y="401200"/>
                  </a:cubicBezTo>
                  <a:cubicBezTo>
                    <a:pt x="1804987" y="360485"/>
                    <a:pt x="1805937" y="366900"/>
                    <a:pt x="1800225" y="344050"/>
                  </a:cubicBezTo>
                  <a:cubicBezTo>
                    <a:pt x="1801019" y="333731"/>
                    <a:pt x="1798666" y="322663"/>
                    <a:pt x="1802606" y="313093"/>
                  </a:cubicBezTo>
                  <a:cubicBezTo>
                    <a:pt x="1804785" y="307800"/>
                    <a:pt x="1816893" y="303568"/>
                    <a:pt x="1816893" y="303568"/>
                  </a:cubicBezTo>
                  <a:cubicBezTo>
                    <a:pt x="1817687" y="300393"/>
                    <a:pt x="1819275" y="297316"/>
                    <a:pt x="1819275" y="294043"/>
                  </a:cubicBezTo>
                  <a:cubicBezTo>
                    <a:pt x="1819275" y="293617"/>
                    <a:pt x="1815634" y="278778"/>
                    <a:pt x="1814512" y="277375"/>
                  </a:cubicBezTo>
                  <a:cubicBezTo>
                    <a:pt x="1812724" y="275140"/>
                    <a:pt x="1809697" y="274276"/>
                    <a:pt x="1807368" y="272612"/>
                  </a:cubicBezTo>
                  <a:cubicBezTo>
                    <a:pt x="1804139" y="270305"/>
                    <a:pt x="1801289" y="267437"/>
                    <a:pt x="1797843" y="265468"/>
                  </a:cubicBezTo>
                  <a:cubicBezTo>
                    <a:pt x="1795664" y="264223"/>
                    <a:pt x="1792894" y="264306"/>
                    <a:pt x="1790700" y="263087"/>
                  </a:cubicBezTo>
                  <a:cubicBezTo>
                    <a:pt x="1764622" y="248600"/>
                    <a:pt x="1786876" y="258911"/>
                    <a:pt x="1766887" y="246418"/>
                  </a:cubicBezTo>
                  <a:cubicBezTo>
                    <a:pt x="1763877" y="244537"/>
                    <a:pt x="1760444" y="243417"/>
                    <a:pt x="1757362" y="241656"/>
                  </a:cubicBezTo>
                  <a:cubicBezTo>
                    <a:pt x="1754877" y="240236"/>
                    <a:pt x="1752731" y="238264"/>
                    <a:pt x="1750218" y="236893"/>
                  </a:cubicBezTo>
                  <a:cubicBezTo>
                    <a:pt x="1743985" y="233493"/>
                    <a:pt x="1737075" y="231306"/>
                    <a:pt x="1731168" y="227368"/>
                  </a:cubicBezTo>
                  <a:cubicBezTo>
                    <a:pt x="1728787" y="225781"/>
                    <a:pt x="1726640" y="223768"/>
                    <a:pt x="1724025" y="222606"/>
                  </a:cubicBezTo>
                  <a:cubicBezTo>
                    <a:pt x="1719437" y="220567"/>
                    <a:pt x="1713914" y="220628"/>
                    <a:pt x="1709737" y="217843"/>
                  </a:cubicBezTo>
                  <a:cubicBezTo>
                    <a:pt x="1704513" y="214361"/>
                    <a:pt x="1699107" y="210331"/>
                    <a:pt x="1693068" y="208318"/>
                  </a:cubicBezTo>
                  <a:cubicBezTo>
                    <a:pt x="1689228" y="207038"/>
                    <a:pt x="1685131" y="206731"/>
                    <a:pt x="1681162" y="205937"/>
                  </a:cubicBezTo>
                  <a:cubicBezTo>
                    <a:pt x="1672571" y="200210"/>
                    <a:pt x="1666258" y="196677"/>
                    <a:pt x="1659731" y="186887"/>
                  </a:cubicBezTo>
                  <a:cubicBezTo>
                    <a:pt x="1648618" y="170219"/>
                    <a:pt x="1654968" y="175775"/>
                    <a:pt x="1643062" y="167837"/>
                  </a:cubicBezTo>
                  <a:cubicBezTo>
                    <a:pt x="1636037" y="157298"/>
                    <a:pt x="1641589" y="162156"/>
                    <a:pt x="1628775" y="158312"/>
                  </a:cubicBezTo>
                  <a:cubicBezTo>
                    <a:pt x="1623966" y="156870"/>
                    <a:pt x="1614487" y="153550"/>
                    <a:pt x="1614487" y="153550"/>
                  </a:cubicBezTo>
                  <a:cubicBezTo>
                    <a:pt x="1612080" y="157161"/>
                    <a:pt x="1607343" y="162909"/>
                    <a:pt x="1607343" y="167837"/>
                  </a:cubicBezTo>
                  <a:cubicBezTo>
                    <a:pt x="1607343" y="183784"/>
                    <a:pt x="1608381" y="185236"/>
                    <a:pt x="1612106" y="196412"/>
                  </a:cubicBezTo>
                  <a:cubicBezTo>
                    <a:pt x="1612900" y="205937"/>
                    <a:pt x="1614487" y="215429"/>
                    <a:pt x="1614487" y="224987"/>
                  </a:cubicBezTo>
                  <a:cubicBezTo>
                    <a:pt x="1614487" y="235896"/>
                    <a:pt x="1620004" y="264714"/>
                    <a:pt x="1607343" y="277375"/>
                  </a:cubicBezTo>
                  <a:cubicBezTo>
                    <a:pt x="1602727" y="281991"/>
                    <a:pt x="1598866" y="282582"/>
                    <a:pt x="1593056" y="284518"/>
                  </a:cubicBezTo>
                  <a:cubicBezTo>
                    <a:pt x="1590675" y="286106"/>
                    <a:pt x="1588648" y="288439"/>
                    <a:pt x="1585912" y="289281"/>
                  </a:cubicBezTo>
                  <a:cubicBezTo>
                    <a:pt x="1578175" y="291661"/>
                    <a:pt x="1562100" y="294043"/>
                    <a:pt x="1562100" y="294043"/>
                  </a:cubicBezTo>
                  <a:cubicBezTo>
                    <a:pt x="1556749" y="296719"/>
                    <a:pt x="1549115" y="298567"/>
                    <a:pt x="1547812" y="305950"/>
                  </a:cubicBezTo>
                  <a:cubicBezTo>
                    <a:pt x="1541252" y="343124"/>
                    <a:pt x="1556901" y="335464"/>
                    <a:pt x="1538287" y="341668"/>
                  </a:cubicBezTo>
                  <a:cubicBezTo>
                    <a:pt x="1535906" y="343256"/>
                    <a:pt x="1533988" y="346115"/>
                    <a:pt x="1531143" y="346431"/>
                  </a:cubicBezTo>
                  <a:cubicBezTo>
                    <a:pt x="1526345" y="346964"/>
                    <a:pt x="1521268" y="346011"/>
                    <a:pt x="1516856" y="344050"/>
                  </a:cubicBezTo>
                  <a:cubicBezTo>
                    <a:pt x="1513779" y="342682"/>
                    <a:pt x="1512299" y="339062"/>
                    <a:pt x="1509712" y="336906"/>
                  </a:cubicBezTo>
                  <a:cubicBezTo>
                    <a:pt x="1507513" y="335074"/>
                    <a:pt x="1505128" y="333423"/>
                    <a:pt x="1502568" y="332143"/>
                  </a:cubicBezTo>
                  <a:cubicBezTo>
                    <a:pt x="1500323" y="331021"/>
                    <a:pt x="1497838" y="330451"/>
                    <a:pt x="1495425" y="329762"/>
                  </a:cubicBezTo>
                  <a:cubicBezTo>
                    <a:pt x="1485479" y="326921"/>
                    <a:pt x="1482838" y="326871"/>
                    <a:pt x="1471612" y="325000"/>
                  </a:cubicBezTo>
                  <a:cubicBezTo>
                    <a:pt x="1469205" y="321390"/>
                    <a:pt x="1464468" y="315639"/>
                    <a:pt x="1464468" y="310712"/>
                  </a:cubicBezTo>
                  <a:cubicBezTo>
                    <a:pt x="1464468" y="305249"/>
                    <a:pt x="1467725" y="297930"/>
                    <a:pt x="1471612" y="294043"/>
                  </a:cubicBezTo>
                  <a:cubicBezTo>
                    <a:pt x="1473636" y="292019"/>
                    <a:pt x="1476196" y="290561"/>
                    <a:pt x="1478756" y="289281"/>
                  </a:cubicBezTo>
                  <a:cubicBezTo>
                    <a:pt x="1481001" y="288159"/>
                    <a:pt x="1483519" y="287694"/>
                    <a:pt x="1485900" y="286900"/>
                  </a:cubicBezTo>
                  <a:cubicBezTo>
                    <a:pt x="1501751" y="271047"/>
                    <a:pt x="1484681" y="285989"/>
                    <a:pt x="1500187" y="277375"/>
                  </a:cubicBezTo>
                  <a:cubicBezTo>
                    <a:pt x="1505191" y="274595"/>
                    <a:pt x="1509045" y="269661"/>
                    <a:pt x="1514475" y="267850"/>
                  </a:cubicBezTo>
                  <a:cubicBezTo>
                    <a:pt x="1532439" y="261860"/>
                    <a:pt x="1510287" y="269942"/>
                    <a:pt x="1528762" y="260706"/>
                  </a:cubicBezTo>
                  <a:cubicBezTo>
                    <a:pt x="1531007" y="259584"/>
                    <a:pt x="1533525" y="259119"/>
                    <a:pt x="1535906" y="258325"/>
                  </a:cubicBezTo>
                  <a:cubicBezTo>
                    <a:pt x="1537276" y="254216"/>
                    <a:pt x="1542473" y="242559"/>
                    <a:pt x="1535906" y="239275"/>
                  </a:cubicBezTo>
                  <a:cubicBezTo>
                    <a:pt x="1530886" y="236765"/>
                    <a:pt x="1524793" y="240862"/>
                    <a:pt x="1519237" y="241656"/>
                  </a:cubicBezTo>
                  <a:cubicBezTo>
                    <a:pt x="1508125" y="240862"/>
                    <a:pt x="1496985" y="240384"/>
                    <a:pt x="1485900" y="239275"/>
                  </a:cubicBezTo>
                  <a:cubicBezTo>
                    <a:pt x="1481096" y="238795"/>
                    <a:pt x="1476392" y="237576"/>
                    <a:pt x="1471612" y="236893"/>
                  </a:cubicBezTo>
                  <a:cubicBezTo>
                    <a:pt x="1460168" y="235258"/>
                    <a:pt x="1442369" y="233380"/>
                    <a:pt x="1431131" y="232131"/>
                  </a:cubicBezTo>
                  <a:cubicBezTo>
                    <a:pt x="1428750" y="231337"/>
                    <a:pt x="1426401" y="230440"/>
                    <a:pt x="1423987" y="229750"/>
                  </a:cubicBezTo>
                  <a:cubicBezTo>
                    <a:pt x="1416129" y="227505"/>
                    <a:pt x="1410754" y="226626"/>
                    <a:pt x="1402556" y="224987"/>
                  </a:cubicBezTo>
                  <a:cubicBezTo>
                    <a:pt x="1400175" y="223400"/>
                    <a:pt x="1397972" y="221505"/>
                    <a:pt x="1395412" y="220225"/>
                  </a:cubicBezTo>
                  <a:cubicBezTo>
                    <a:pt x="1388562" y="216800"/>
                    <a:pt x="1378191" y="216560"/>
                    <a:pt x="1371600" y="215462"/>
                  </a:cubicBezTo>
                  <a:cubicBezTo>
                    <a:pt x="1360104" y="213546"/>
                    <a:pt x="1361752" y="213767"/>
                    <a:pt x="1352550" y="210700"/>
                  </a:cubicBezTo>
                  <a:cubicBezTo>
                    <a:pt x="1341506" y="211704"/>
                    <a:pt x="1321758" y="213048"/>
                    <a:pt x="1309687" y="215462"/>
                  </a:cubicBezTo>
                  <a:cubicBezTo>
                    <a:pt x="1307226" y="215954"/>
                    <a:pt x="1304924" y="217049"/>
                    <a:pt x="1302543" y="217843"/>
                  </a:cubicBezTo>
                  <a:cubicBezTo>
                    <a:pt x="1300162" y="220224"/>
                    <a:pt x="1298058" y="222920"/>
                    <a:pt x="1295400" y="224987"/>
                  </a:cubicBezTo>
                  <a:cubicBezTo>
                    <a:pt x="1290882" y="228501"/>
                    <a:pt x="1281112" y="234512"/>
                    <a:pt x="1281112" y="234512"/>
                  </a:cubicBezTo>
                  <a:cubicBezTo>
                    <a:pt x="1277143" y="233718"/>
                    <a:pt x="1273157" y="233009"/>
                    <a:pt x="1269206" y="232131"/>
                  </a:cubicBezTo>
                  <a:cubicBezTo>
                    <a:pt x="1266011" y="231421"/>
                    <a:pt x="1262144" y="231905"/>
                    <a:pt x="1259681" y="229750"/>
                  </a:cubicBezTo>
                  <a:cubicBezTo>
                    <a:pt x="1255373" y="225981"/>
                    <a:pt x="1251966" y="220892"/>
                    <a:pt x="1250156" y="215462"/>
                  </a:cubicBezTo>
                  <a:cubicBezTo>
                    <a:pt x="1248797" y="211385"/>
                    <a:pt x="1246970" y="203814"/>
                    <a:pt x="1243012" y="201175"/>
                  </a:cubicBezTo>
                  <a:cubicBezTo>
                    <a:pt x="1240289" y="199360"/>
                    <a:pt x="1236662" y="199587"/>
                    <a:pt x="1233487" y="198793"/>
                  </a:cubicBezTo>
                  <a:cubicBezTo>
                    <a:pt x="1229518" y="199587"/>
                    <a:pt x="1225279" y="199531"/>
                    <a:pt x="1221581" y="201175"/>
                  </a:cubicBezTo>
                  <a:cubicBezTo>
                    <a:pt x="1205267" y="208426"/>
                    <a:pt x="1218545" y="210914"/>
                    <a:pt x="1197768" y="217843"/>
                  </a:cubicBezTo>
                  <a:cubicBezTo>
                    <a:pt x="1181003" y="223434"/>
                    <a:pt x="1201715" y="216153"/>
                    <a:pt x="1181100" y="224987"/>
                  </a:cubicBezTo>
                  <a:cubicBezTo>
                    <a:pt x="1176321" y="227035"/>
                    <a:pt x="1169259" y="228543"/>
                    <a:pt x="1164431" y="229750"/>
                  </a:cubicBezTo>
                  <a:cubicBezTo>
                    <a:pt x="1162050" y="228162"/>
                    <a:pt x="1158192" y="227702"/>
                    <a:pt x="1157287" y="224987"/>
                  </a:cubicBezTo>
                  <a:cubicBezTo>
                    <a:pt x="1156252" y="221882"/>
                    <a:pt x="1158379" y="218470"/>
                    <a:pt x="1159668" y="215462"/>
                  </a:cubicBezTo>
                  <a:cubicBezTo>
                    <a:pt x="1162843" y="208053"/>
                    <a:pt x="1165225" y="207789"/>
                    <a:pt x="1171575" y="203556"/>
                  </a:cubicBezTo>
                  <a:cubicBezTo>
                    <a:pt x="1173162" y="198793"/>
                    <a:pt x="1176791" y="194268"/>
                    <a:pt x="1176337" y="189268"/>
                  </a:cubicBezTo>
                  <a:cubicBezTo>
                    <a:pt x="1174466" y="168682"/>
                    <a:pt x="1175781" y="168270"/>
                    <a:pt x="1171575" y="153550"/>
                  </a:cubicBezTo>
                  <a:cubicBezTo>
                    <a:pt x="1170281" y="149021"/>
                    <a:pt x="1167189" y="140191"/>
                    <a:pt x="1164431" y="136881"/>
                  </a:cubicBezTo>
                  <a:cubicBezTo>
                    <a:pt x="1160880" y="132619"/>
                    <a:pt x="1155020" y="131362"/>
                    <a:pt x="1150143" y="129737"/>
                  </a:cubicBezTo>
                  <a:cubicBezTo>
                    <a:pt x="1147762" y="130531"/>
                    <a:pt x="1144960" y="130550"/>
                    <a:pt x="1143000" y="132118"/>
                  </a:cubicBezTo>
                  <a:cubicBezTo>
                    <a:pt x="1140765" y="133906"/>
                    <a:pt x="1139399" y="136647"/>
                    <a:pt x="1138237" y="139262"/>
                  </a:cubicBezTo>
                  <a:cubicBezTo>
                    <a:pt x="1133063" y="150905"/>
                    <a:pt x="1134287" y="152428"/>
                    <a:pt x="1131093" y="163075"/>
                  </a:cubicBezTo>
                  <a:cubicBezTo>
                    <a:pt x="1128929" y="170287"/>
                    <a:pt x="1126331" y="177362"/>
                    <a:pt x="1123950" y="184506"/>
                  </a:cubicBezTo>
                  <a:cubicBezTo>
                    <a:pt x="1123156" y="186887"/>
                    <a:pt x="1123343" y="189875"/>
                    <a:pt x="1121568" y="191650"/>
                  </a:cubicBezTo>
                  <a:cubicBezTo>
                    <a:pt x="1119187" y="194031"/>
                    <a:pt x="1116581" y="196206"/>
                    <a:pt x="1114425" y="198793"/>
                  </a:cubicBezTo>
                  <a:cubicBezTo>
                    <a:pt x="1108934" y="205382"/>
                    <a:pt x="1110344" y="207864"/>
                    <a:pt x="1102518" y="213081"/>
                  </a:cubicBezTo>
                  <a:cubicBezTo>
                    <a:pt x="1100468" y="214448"/>
                    <a:pt x="1087120" y="217525"/>
                    <a:pt x="1085850" y="217843"/>
                  </a:cubicBezTo>
                  <a:cubicBezTo>
                    <a:pt x="1076325" y="217049"/>
                    <a:pt x="1066510" y="217925"/>
                    <a:pt x="1057275" y="215462"/>
                  </a:cubicBezTo>
                  <a:cubicBezTo>
                    <a:pt x="1054021" y="214594"/>
                    <a:pt x="1051999" y="211120"/>
                    <a:pt x="1050131" y="208318"/>
                  </a:cubicBezTo>
                  <a:cubicBezTo>
                    <a:pt x="1044847" y="200393"/>
                    <a:pt x="1051420" y="201059"/>
                    <a:pt x="1042987" y="194031"/>
                  </a:cubicBezTo>
                  <a:cubicBezTo>
                    <a:pt x="1037649" y="189583"/>
                    <a:pt x="1030347" y="188489"/>
                    <a:pt x="1023937" y="186887"/>
                  </a:cubicBezTo>
                  <a:cubicBezTo>
                    <a:pt x="1016000" y="187681"/>
                    <a:pt x="1007749" y="186922"/>
                    <a:pt x="1000125" y="189268"/>
                  </a:cubicBezTo>
                  <a:cubicBezTo>
                    <a:pt x="989171" y="192639"/>
                    <a:pt x="995563" y="197352"/>
                    <a:pt x="990600" y="203556"/>
                  </a:cubicBezTo>
                  <a:cubicBezTo>
                    <a:pt x="988812" y="205791"/>
                    <a:pt x="986016" y="207038"/>
                    <a:pt x="983456" y="208318"/>
                  </a:cubicBezTo>
                  <a:cubicBezTo>
                    <a:pt x="972628" y="213732"/>
                    <a:pt x="948263" y="212703"/>
                    <a:pt x="942975" y="213081"/>
                  </a:cubicBezTo>
                  <a:lnTo>
                    <a:pt x="938212" y="227368"/>
                  </a:lnTo>
                  <a:cubicBezTo>
                    <a:pt x="937418" y="229749"/>
                    <a:pt x="937223" y="232424"/>
                    <a:pt x="935831" y="234512"/>
                  </a:cubicBezTo>
                  <a:lnTo>
                    <a:pt x="931068" y="241656"/>
                  </a:lnTo>
                  <a:cubicBezTo>
                    <a:pt x="920243" y="240883"/>
                    <a:pt x="888572" y="249442"/>
                    <a:pt x="900112" y="232131"/>
                  </a:cubicBezTo>
                  <a:cubicBezTo>
                    <a:pt x="901980" y="229329"/>
                    <a:pt x="904875" y="227368"/>
                    <a:pt x="907256" y="224987"/>
                  </a:cubicBezTo>
                  <a:cubicBezTo>
                    <a:pt x="911078" y="213519"/>
                    <a:pt x="910214" y="219826"/>
                    <a:pt x="907256" y="203556"/>
                  </a:cubicBezTo>
                  <a:cubicBezTo>
                    <a:pt x="906532" y="199574"/>
                    <a:pt x="907120" y="195018"/>
                    <a:pt x="904875" y="191650"/>
                  </a:cubicBezTo>
                  <a:cubicBezTo>
                    <a:pt x="903483" y="189561"/>
                    <a:pt x="900112" y="190062"/>
                    <a:pt x="897731" y="189268"/>
                  </a:cubicBezTo>
                  <a:cubicBezTo>
                    <a:pt x="880728" y="194936"/>
                    <a:pt x="887620" y="191246"/>
                    <a:pt x="876300" y="198793"/>
                  </a:cubicBezTo>
                  <a:cubicBezTo>
                    <a:pt x="874712" y="201174"/>
                    <a:pt x="873561" y="203913"/>
                    <a:pt x="871537" y="205937"/>
                  </a:cubicBezTo>
                  <a:cubicBezTo>
                    <a:pt x="866920" y="210554"/>
                    <a:pt x="863061" y="211144"/>
                    <a:pt x="857250" y="213081"/>
                  </a:cubicBezTo>
                  <a:cubicBezTo>
                    <a:pt x="846931" y="212287"/>
                    <a:pt x="836586" y="211784"/>
                    <a:pt x="826293" y="210700"/>
                  </a:cubicBezTo>
                  <a:cubicBezTo>
                    <a:pt x="816216" y="209639"/>
                    <a:pt x="811648" y="208228"/>
                    <a:pt x="802481" y="205937"/>
                  </a:cubicBezTo>
                  <a:cubicBezTo>
                    <a:pt x="800100" y="204350"/>
                    <a:pt x="796854" y="203602"/>
                    <a:pt x="795337" y="201175"/>
                  </a:cubicBezTo>
                  <a:cubicBezTo>
                    <a:pt x="792676" y="196918"/>
                    <a:pt x="790575" y="186887"/>
                    <a:pt x="790575" y="186887"/>
                  </a:cubicBezTo>
                  <a:cubicBezTo>
                    <a:pt x="789705" y="166887"/>
                    <a:pt x="805625" y="129737"/>
                    <a:pt x="778668" y="129737"/>
                  </a:cubicBezTo>
                  <a:cubicBezTo>
                    <a:pt x="775395" y="129737"/>
                    <a:pt x="772318" y="131324"/>
                    <a:pt x="769143" y="132118"/>
                  </a:cubicBezTo>
                  <a:cubicBezTo>
                    <a:pt x="767556" y="136881"/>
                    <a:pt x="764766" y="141401"/>
                    <a:pt x="764381" y="146406"/>
                  </a:cubicBezTo>
                  <a:cubicBezTo>
                    <a:pt x="761690" y="181397"/>
                    <a:pt x="764030" y="167214"/>
                    <a:pt x="759618" y="189268"/>
                  </a:cubicBezTo>
                  <a:cubicBezTo>
                    <a:pt x="758824" y="197999"/>
                    <a:pt x="760009" y="207145"/>
                    <a:pt x="757237" y="215462"/>
                  </a:cubicBezTo>
                  <a:cubicBezTo>
                    <a:pt x="754719" y="223017"/>
                    <a:pt x="741034" y="213236"/>
                    <a:pt x="740568" y="213081"/>
                  </a:cubicBezTo>
                  <a:cubicBezTo>
                    <a:pt x="734358" y="211011"/>
                    <a:pt x="721518" y="208318"/>
                    <a:pt x="721518" y="208318"/>
                  </a:cubicBezTo>
                  <a:cubicBezTo>
                    <a:pt x="720724" y="205143"/>
                    <a:pt x="718811" y="202049"/>
                    <a:pt x="719137" y="198793"/>
                  </a:cubicBezTo>
                  <a:cubicBezTo>
                    <a:pt x="720225" y="187920"/>
                    <a:pt x="723530" y="183623"/>
                    <a:pt x="731043" y="177362"/>
                  </a:cubicBezTo>
                  <a:cubicBezTo>
                    <a:pt x="733242" y="175530"/>
                    <a:pt x="735806" y="174187"/>
                    <a:pt x="738187" y="172600"/>
                  </a:cubicBezTo>
                  <a:cubicBezTo>
                    <a:pt x="737433" y="165812"/>
                    <a:pt x="737414" y="152003"/>
                    <a:pt x="733425" y="144025"/>
                  </a:cubicBezTo>
                  <a:cubicBezTo>
                    <a:pt x="732145" y="141465"/>
                    <a:pt x="730250" y="139262"/>
                    <a:pt x="728662" y="136881"/>
                  </a:cubicBezTo>
                  <a:cubicBezTo>
                    <a:pt x="723347" y="137640"/>
                    <a:pt x="703651" y="140322"/>
                    <a:pt x="697706" y="141643"/>
                  </a:cubicBezTo>
                  <a:cubicBezTo>
                    <a:pt x="695256" y="142188"/>
                    <a:pt x="692943" y="143231"/>
                    <a:pt x="690562" y="144025"/>
                  </a:cubicBezTo>
                  <a:cubicBezTo>
                    <a:pt x="688292" y="150836"/>
                    <a:pt x="687296" y="153215"/>
                    <a:pt x="685800" y="160693"/>
                  </a:cubicBezTo>
                  <a:cubicBezTo>
                    <a:pt x="684853" y="165428"/>
                    <a:pt x="684465" y="170268"/>
                    <a:pt x="683418" y="174981"/>
                  </a:cubicBezTo>
                  <a:cubicBezTo>
                    <a:pt x="682204" y="180446"/>
                    <a:pt x="678923" y="187017"/>
                    <a:pt x="676275" y="191650"/>
                  </a:cubicBezTo>
                  <a:cubicBezTo>
                    <a:pt x="674855" y="194135"/>
                    <a:pt x="673666" y="196909"/>
                    <a:pt x="671512" y="198793"/>
                  </a:cubicBezTo>
                  <a:cubicBezTo>
                    <a:pt x="667204" y="202562"/>
                    <a:pt x="662655" y="206508"/>
                    <a:pt x="657225" y="208318"/>
                  </a:cubicBezTo>
                  <a:lnTo>
                    <a:pt x="642937" y="213081"/>
                  </a:lnTo>
                  <a:cubicBezTo>
                    <a:pt x="632003" y="212170"/>
                    <a:pt x="618139" y="213282"/>
                    <a:pt x="607218" y="208318"/>
                  </a:cubicBezTo>
                  <a:cubicBezTo>
                    <a:pt x="600755" y="205380"/>
                    <a:pt x="588168" y="198793"/>
                    <a:pt x="588168" y="198793"/>
                  </a:cubicBezTo>
                  <a:cubicBezTo>
                    <a:pt x="587374" y="196412"/>
                    <a:pt x="586064" y="194144"/>
                    <a:pt x="585787" y="191650"/>
                  </a:cubicBezTo>
                  <a:cubicBezTo>
                    <a:pt x="585658" y="190493"/>
                    <a:pt x="585622" y="157133"/>
                    <a:pt x="581025" y="146406"/>
                  </a:cubicBezTo>
                  <a:cubicBezTo>
                    <a:pt x="579898" y="143775"/>
                    <a:pt x="577850" y="141643"/>
                    <a:pt x="576262" y="139262"/>
                  </a:cubicBezTo>
                  <a:cubicBezTo>
                    <a:pt x="572293" y="140056"/>
                    <a:pt x="567870" y="139635"/>
                    <a:pt x="564356" y="141643"/>
                  </a:cubicBezTo>
                  <a:cubicBezTo>
                    <a:pt x="560553" y="143816"/>
                    <a:pt x="558434" y="152263"/>
                    <a:pt x="557212" y="155931"/>
                  </a:cubicBezTo>
                  <a:cubicBezTo>
                    <a:pt x="556418" y="171806"/>
                    <a:pt x="556803" y="187784"/>
                    <a:pt x="554831" y="203556"/>
                  </a:cubicBezTo>
                  <a:cubicBezTo>
                    <a:pt x="554391" y="207078"/>
                    <a:pt x="552795" y="210809"/>
                    <a:pt x="550068" y="213081"/>
                  </a:cubicBezTo>
                  <a:cubicBezTo>
                    <a:pt x="547554" y="215176"/>
                    <a:pt x="543718" y="214668"/>
                    <a:pt x="540543" y="215462"/>
                  </a:cubicBezTo>
                  <a:cubicBezTo>
                    <a:pt x="537368" y="214668"/>
                    <a:pt x="533859" y="214705"/>
                    <a:pt x="531018" y="213081"/>
                  </a:cubicBezTo>
                  <a:cubicBezTo>
                    <a:pt x="528094" y="211410"/>
                    <a:pt x="525832" y="208677"/>
                    <a:pt x="523875" y="205937"/>
                  </a:cubicBezTo>
                  <a:cubicBezTo>
                    <a:pt x="520195" y="200785"/>
                    <a:pt x="518675" y="195100"/>
                    <a:pt x="516731" y="189268"/>
                  </a:cubicBezTo>
                  <a:lnTo>
                    <a:pt x="523875" y="167837"/>
                  </a:lnTo>
                  <a:cubicBezTo>
                    <a:pt x="524669" y="165456"/>
                    <a:pt x="525647" y="163128"/>
                    <a:pt x="526256" y="160693"/>
                  </a:cubicBezTo>
                  <a:lnTo>
                    <a:pt x="528637" y="151168"/>
                  </a:lnTo>
                  <a:cubicBezTo>
                    <a:pt x="529431" y="144024"/>
                    <a:pt x="529836" y="136827"/>
                    <a:pt x="531018" y="129737"/>
                  </a:cubicBezTo>
                  <a:cubicBezTo>
                    <a:pt x="532918" y="118340"/>
                    <a:pt x="541568" y="117740"/>
                    <a:pt x="531018" y="101162"/>
                  </a:cubicBezTo>
                  <a:cubicBezTo>
                    <a:pt x="528323" y="96927"/>
                    <a:pt x="516731" y="96400"/>
                    <a:pt x="516731" y="96400"/>
                  </a:cubicBezTo>
                  <a:cubicBezTo>
                    <a:pt x="508793" y="97194"/>
                    <a:pt x="500180" y="95480"/>
                    <a:pt x="492918" y="98781"/>
                  </a:cubicBezTo>
                  <a:cubicBezTo>
                    <a:pt x="489939" y="100135"/>
                    <a:pt x="491179" y="105097"/>
                    <a:pt x="490537" y="108306"/>
                  </a:cubicBezTo>
                  <a:cubicBezTo>
                    <a:pt x="489590" y="113040"/>
                    <a:pt x="488755" y="117802"/>
                    <a:pt x="488156" y="122593"/>
                  </a:cubicBezTo>
                  <a:cubicBezTo>
                    <a:pt x="487167" y="130509"/>
                    <a:pt x="488121" y="138781"/>
                    <a:pt x="485775" y="146406"/>
                  </a:cubicBezTo>
                  <a:cubicBezTo>
                    <a:pt x="484785" y="149625"/>
                    <a:pt x="480787" y="150963"/>
                    <a:pt x="478631" y="153550"/>
                  </a:cubicBezTo>
                  <a:cubicBezTo>
                    <a:pt x="476799" y="155748"/>
                    <a:pt x="475456" y="158312"/>
                    <a:pt x="473868" y="160693"/>
                  </a:cubicBezTo>
                  <a:cubicBezTo>
                    <a:pt x="473074" y="169424"/>
                    <a:pt x="472511" y="178180"/>
                    <a:pt x="471487" y="186887"/>
                  </a:cubicBezTo>
                  <a:cubicBezTo>
                    <a:pt x="470923" y="191682"/>
                    <a:pt x="471875" y="197219"/>
                    <a:pt x="469106" y="201175"/>
                  </a:cubicBezTo>
                  <a:cubicBezTo>
                    <a:pt x="465824" y="205864"/>
                    <a:pt x="454818" y="210700"/>
                    <a:pt x="454818" y="210700"/>
                  </a:cubicBezTo>
                  <a:cubicBezTo>
                    <a:pt x="450456" y="209246"/>
                    <a:pt x="437502" y="206319"/>
                    <a:pt x="433387" y="201175"/>
                  </a:cubicBezTo>
                  <a:cubicBezTo>
                    <a:pt x="431819" y="199215"/>
                    <a:pt x="431800" y="196412"/>
                    <a:pt x="431006" y="194031"/>
                  </a:cubicBezTo>
                  <a:cubicBezTo>
                    <a:pt x="431800" y="191650"/>
                    <a:pt x="431612" y="188662"/>
                    <a:pt x="433387" y="186887"/>
                  </a:cubicBezTo>
                  <a:cubicBezTo>
                    <a:pt x="435162" y="185112"/>
                    <a:pt x="438442" y="185898"/>
                    <a:pt x="440531" y="184506"/>
                  </a:cubicBezTo>
                  <a:cubicBezTo>
                    <a:pt x="443333" y="182638"/>
                    <a:pt x="445294" y="179743"/>
                    <a:pt x="447675" y="177362"/>
                  </a:cubicBezTo>
                  <a:cubicBezTo>
                    <a:pt x="446455" y="171265"/>
                    <a:pt x="446638" y="160738"/>
                    <a:pt x="438150" y="158312"/>
                  </a:cubicBezTo>
                  <a:cubicBezTo>
                    <a:pt x="435003" y="157413"/>
                    <a:pt x="431800" y="159899"/>
                    <a:pt x="428625" y="160693"/>
                  </a:cubicBezTo>
                  <a:cubicBezTo>
                    <a:pt x="426244" y="163074"/>
                    <a:pt x="423349" y="165035"/>
                    <a:pt x="421481" y="167837"/>
                  </a:cubicBezTo>
                  <a:cubicBezTo>
                    <a:pt x="420056" y="169975"/>
                    <a:pt x="417114" y="183121"/>
                    <a:pt x="416718" y="184506"/>
                  </a:cubicBezTo>
                  <a:cubicBezTo>
                    <a:pt x="416028" y="186920"/>
                    <a:pt x="416112" y="189875"/>
                    <a:pt x="414337" y="191650"/>
                  </a:cubicBezTo>
                  <a:cubicBezTo>
                    <a:pt x="412562" y="193425"/>
                    <a:pt x="409574" y="193237"/>
                    <a:pt x="407193" y="194031"/>
                  </a:cubicBezTo>
                  <a:cubicBezTo>
                    <a:pt x="405606" y="191650"/>
                    <a:pt x="403558" y="189518"/>
                    <a:pt x="402431" y="186887"/>
                  </a:cubicBezTo>
                  <a:cubicBezTo>
                    <a:pt x="397849" y="176195"/>
                    <a:pt x="402306" y="179494"/>
                    <a:pt x="397668" y="170218"/>
                  </a:cubicBezTo>
                  <a:cubicBezTo>
                    <a:pt x="396388" y="167659"/>
                    <a:pt x="394493" y="165456"/>
                    <a:pt x="392906" y="163075"/>
                  </a:cubicBezTo>
                  <a:cubicBezTo>
                    <a:pt x="392112" y="160694"/>
                    <a:pt x="391648" y="158176"/>
                    <a:pt x="390525" y="155931"/>
                  </a:cubicBezTo>
                  <a:cubicBezTo>
                    <a:pt x="387210" y="149301"/>
                    <a:pt x="383884" y="146909"/>
                    <a:pt x="378618" y="141643"/>
                  </a:cubicBezTo>
                  <a:cubicBezTo>
                    <a:pt x="377031" y="138468"/>
                    <a:pt x="376128" y="134845"/>
                    <a:pt x="373856" y="132118"/>
                  </a:cubicBezTo>
                  <a:cubicBezTo>
                    <a:pt x="372024" y="129919"/>
                    <a:pt x="368500" y="129591"/>
                    <a:pt x="366712" y="127356"/>
                  </a:cubicBezTo>
                  <a:cubicBezTo>
                    <a:pt x="365144" y="125396"/>
                    <a:pt x="366374" y="121671"/>
                    <a:pt x="364331" y="120212"/>
                  </a:cubicBezTo>
                  <a:cubicBezTo>
                    <a:pt x="360246" y="117294"/>
                    <a:pt x="354533" y="117695"/>
                    <a:pt x="350043" y="115450"/>
                  </a:cubicBezTo>
                  <a:lnTo>
                    <a:pt x="340518" y="110687"/>
                  </a:lnTo>
                  <a:cubicBezTo>
                    <a:pt x="338931" y="108306"/>
                    <a:pt x="337780" y="105567"/>
                    <a:pt x="335756" y="103543"/>
                  </a:cubicBezTo>
                  <a:cubicBezTo>
                    <a:pt x="333732" y="101519"/>
                    <a:pt x="330497" y="100935"/>
                    <a:pt x="328612" y="98781"/>
                  </a:cubicBezTo>
                  <a:cubicBezTo>
                    <a:pt x="324843" y="94473"/>
                    <a:pt x="319087" y="84493"/>
                    <a:pt x="319087" y="84493"/>
                  </a:cubicBezTo>
                  <a:cubicBezTo>
                    <a:pt x="320797" y="67389"/>
                    <a:pt x="315174" y="61677"/>
                    <a:pt x="328612" y="55918"/>
                  </a:cubicBezTo>
                  <a:cubicBezTo>
                    <a:pt x="331620" y="54629"/>
                    <a:pt x="334962" y="54331"/>
                    <a:pt x="338137" y="53537"/>
                  </a:cubicBezTo>
                  <a:cubicBezTo>
                    <a:pt x="341543" y="43317"/>
                    <a:pt x="341421" y="47623"/>
                    <a:pt x="338137" y="34487"/>
                  </a:cubicBezTo>
                  <a:cubicBezTo>
                    <a:pt x="337528" y="32052"/>
                    <a:pt x="337324" y="29303"/>
                    <a:pt x="335756" y="27343"/>
                  </a:cubicBezTo>
                  <a:cubicBezTo>
                    <a:pt x="333968" y="25108"/>
                    <a:pt x="330811" y="24413"/>
                    <a:pt x="328612" y="22581"/>
                  </a:cubicBezTo>
                  <a:cubicBezTo>
                    <a:pt x="310272" y="7298"/>
                    <a:pt x="332064" y="22501"/>
                    <a:pt x="314325" y="10675"/>
                  </a:cubicBezTo>
                  <a:cubicBezTo>
                    <a:pt x="311542" y="6501"/>
                    <a:pt x="309320" y="0"/>
                    <a:pt x="302418" y="1150"/>
                  </a:cubicBezTo>
                  <a:cubicBezTo>
                    <a:pt x="299595" y="1620"/>
                    <a:pt x="297656" y="4325"/>
                    <a:pt x="295275" y="5912"/>
                  </a:cubicBezTo>
                  <a:cubicBezTo>
                    <a:pt x="294481" y="12262"/>
                    <a:pt x="294577" y="18788"/>
                    <a:pt x="292893" y="24962"/>
                  </a:cubicBezTo>
                  <a:cubicBezTo>
                    <a:pt x="291623" y="29620"/>
                    <a:pt x="285433" y="35386"/>
                    <a:pt x="280987" y="36868"/>
                  </a:cubicBezTo>
                  <a:cubicBezTo>
                    <a:pt x="276407" y="38395"/>
                    <a:pt x="271462" y="38456"/>
                    <a:pt x="266700" y="39250"/>
                  </a:cubicBezTo>
                  <a:cubicBezTo>
                    <a:pt x="241377" y="56130"/>
                    <a:pt x="251526" y="46438"/>
                    <a:pt x="261937" y="113068"/>
                  </a:cubicBezTo>
                  <a:cubicBezTo>
                    <a:pt x="262550" y="116989"/>
                    <a:pt x="268211" y="117936"/>
                    <a:pt x="271462" y="120212"/>
                  </a:cubicBezTo>
                  <a:cubicBezTo>
                    <a:pt x="276151" y="123494"/>
                    <a:pt x="280987" y="126562"/>
                    <a:pt x="285750" y="129737"/>
                  </a:cubicBezTo>
                  <a:lnTo>
                    <a:pt x="292893" y="134500"/>
                  </a:lnTo>
                  <a:cubicBezTo>
                    <a:pt x="294481" y="136881"/>
                    <a:pt x="297185" y="138820"/>
                    <a:pt x="297656" y="141643"/>
                  </a:cubicBezTo>
                  <a:cubicBezTo>
                    <a:pt x="298069" y="144119"/>
                    <a:pt x="297781" y="148635"/>
                    <a:pt x="295275" y="148787"/>
                  </a:cubicBezTo>
                  <a:cubicBezTo>
                    <a:pt x="269909" y="150324"/>
                    <a:pt x="244475" y="147200"/>
                    <a:pt x="219075" y="146406"/>
                  </a:cubicBezTo>
                  <a:cubicBezTo>
                    <a:pt x="215524" y="135753"/>
                    <a:pt x="216335" y="131087"/>
                    <a:pt x="207168" y="124975"/>
                  </a:cubicBezTo>
                  <a:cubicBezTo>
                    <a:pt x="205080" y="123583"/>
                    <a:pt x="202406" y="123387"/>
                    <a:pt x="200025" y="122593"/>
                  </a:cubicBezTo>
                  <a:cubicBezTo>
                    <a:pt x="172090" y="129579"/>
                    <a:pt x="198404" y="119766"/>
                    <a:pt x="188118" y="177362"/>
                  </a:cubicBezTo>
                  <a:cubicBezTo>
                    <a:pt x="185553" y="191726"/>
                    <a:pt x="179083" y="189627"/>
                    <a:pt x="171450" y="196412"/>
                  </a:cubicBezTo>
                  <a:cubicBezTo>
                    <a:pt x="166416" y="200887"/>
                    <a:pt x="157162" y="210700"/>
                    <a:pt x="157162" y="210700"/>
                  </a:cubicBezTo>
                  <a:cubicBezTo>
                    <a:pt x="153987" y="209906"/>
                    <a:pt x="147980" y="211573"/>
                    <a:pt x="147637" y="208318"/>
                  </a:cubicBezTo>
                  <a:cubicBezTo>
                    <a:pt x="146132" y="194022"/>
                    <a:pt x="150617" y="179720"/>
                    <a:pt x="152400" y="165456"/>
                  </a:cubicBezTo>
                  <a:cubicBezTo>
                    <a:pt x="155477" y="140837"/>
                    <a:pt x="153876" y="152741"/>
                    <a:pt x="157162" y="129737"/>
                  </a:cubicBezTo>
                  <a:cubicBezTo>
                    <a:pt x="156368" y="120212"/>
                    <a:pt x="158047" y="110145"/>
                    <a:pt x="154781" y="101162"/>
                  </a:cubicBezTo>
                  <a:cubicBezTo>
                    <a:pt x="153923" y="98803"/>
                    <a:pt x="149882" y="102420"/>
                    <a:pt x="147637" y="103543"/>
                  </a:cubicBezTo>
                  <a:cubicBezTo>
                    <a:pt x="141006" y="106858"/>
                    <a:pt x="138616" y="110183"/>
                    <a:pt x="133350" y="115450"/>
                  </a:cubicBezTo>
                  <a:cubicBezTo>
                    <a:pt x="132556" y="117831"/>
                    <a:pt x="132187" y="120399"/>
                    <a:pt x="130968" y="122593"/>
                  </a:cubicBezTo>
                  <a:cubicBezTo>
                    <a:pt x="128188" y="127597"/>
                    <a:pt x="124618" y="132118"/>
                    <a:pt x="121443" y="136881"/>
                  </a:cubicBezTo>
                  <a:lnTo>
                    <a:pt x="116681" y="144025"/>
                  </a:lnTo>
                  <a:lnTo>
                    <a:pt x="107156" y="158312"/>
                  </a:lnTo>
                  <a:lnTo>
                    <a:pt x="100012" y="179743"/>
                  </a:lnTo>
                  <a:lnTo>
                    <a:pt x="97631" y="186887"/>
                  </a:lnTo>
                  <a:lnTo>
                    <a:pt x="95250" y="194031"/>
                  </a:lnTo>
                  <a:cubicBezTo>
                    <a:pt x="96044" y="208318"/>
                    <a:pt x="96336" y="222642"/>
                    <a:pt x="97631" y="236893"/>
                  </a:cubicBezTo>
                  <a:cubicBezTo>
                    <a:pt x="97927" y="240152"/>
                    <a:pt x="99370" y="243209"/>
                    <a:pt x="100012" y="246418"/>
                  </a:cubicBezTo>
                  <a:cubicBezTo>
                    <a:pt x="100959" y="251153"/>
                    <a:pt x="101599" y="255943"/>
                    <a:pt x="102393" y="260706"/>
                  </a:cubicBezTo>
                  <a:cubicBezTo>
                    <a:pt x="101599" y="265468"/>
                    <a:pt x="102445" y="270823"/>
                    <a:pt x="100012" y="274993"/>
                  </a:cubicBezTo>
                  <a:cubicBezTo>
                    <a:pt x="96618" y="280811"/>
                    <a:pt x="89461" y="283677"/>
                    <a:pt x="85725" y="289281"/>
                  </a:cubicBezTo>
                  <a:lnTo>
                    <a:pt x="80962" y="296425"/>
                  </a:lnTo>
                  <a:cubicBezTo>
                    <a:pt x="79375" y="301187"/>
                    <a:pt x="77418" y="305842"/>
                    <a:pt x="76200" y="310712"/>
                  </a:cubicBezTo>
                  <a:cubicBezTo>
                    <a:pt x="74378" y="317996"/>
                    <a:pt x="74536" y="321901"/>
                    <a:pt x="69056" y="327381"/>
                  </a:cubicBezTo>
                  <a:cubicBezTo>
                    <a:pt x="67032" y="329405"/>
                    <a:pt x="64051" y="330242"/>
                    <a:pt x="61912" y="332143"/>
                  </a:cubicBezTo>
                  <a:cubicBezTo>
                    <a:pt x="56878" y="336618"/>
                    <a:pt x="47625" y="346431"/>
                    <a:pt x="47625" y="346431"/>
                  </a:cubicBezTo>
                  <a:cubicBezTo>
                    <a:pt x="45926" y="351525"/>
                    <a:pt x="44824" y="356918"/>
                    <a:pt x="40481" y="360718"/>
                  </a:cubicBezTo>
                  <a:cubicBezTo>
                    <a:pt x="36173" y="364487"/>
                    <a:pt x="26193" y="370243"/>
                    <a:pt x="26193" y="370243"/>
                  </a:cubicBezTo>
                  <a:cubicBezTo>
                    <a:pt x="19273" y="365630"/>
                    <a:pt x="16389" y="360295"/>
                    <a:pt x="14287" y="375006"/>
                  </a:cubicBezTo>
                  <a:cubicBezTo>
                    <a:pt x="13368" y="381437"/>
                    <a:pt x="20749" y="385617"/>
                    <a:pt x="23812" y="389293"/>
                  </a:cubicBezTo>
                  <a:cubicBezTo>
                    <a:pt x="25644" y="391492"/>
                    <a:pt x="26987" y="394056"/>
                    <a:pt x="28575" y="396437"/>
                  </a:cubicBezTo>
                  <a:cubicBezTo>
                    <a:pt x="26194" y="398818"/>
                    <a:pt x="24018" y="401425"/>
                    <a:pt x="21431" y="403581"/>
                  </a:cubicBezTo>
                  <a:cubicBezTo>
                    <a:pt x="19232" y="405413"/>
                    <a:pt x="16075" y="406108"/>
                    <a:pt x="14287" y="408343"/>
                  </a:cubicBezTo>
                  <a:cubicBezTo>
                    <a:pt x="12719" y="410303"/>
                    <a:pt x="13298" y="413398"/>
                    <a:pt x="11906" y="415487"/>
                  </a:cubicBezTo>
                  <a:cubicBezTo>
                    <a:pt x="10038" y="418289"/>
                    <a:pt x="6918" y="420044"/>
                    <a:pt x="4762" y="422631"/>
                  </a:cubicBezTo>
                  <a:cubicBezTo>
                    <a:pt x="2930" y="424830"/>
                    <a:pt x="1587" y="427394"/>
                    <a:pt x="0" y="429775"/>
                  </a:cubicBezTo>
                  <a:cubicBezTo>
                    <a:pt x="3790" y="463887"/>
                    <a:pt x="430" y="439282"/>
                    <a:pt x="4762" y="463112"/>
                  </a:cubicBezTo>
                  <a:cubicBezTo>
                    <a:pt x="5626" y="467862"/>
                    <a:pt x="6095" y="472687"/>
                    <a:pt x="7143" y="477400"/>
                  </a:cubicBezTo>
                  <a:cubicBezTo>
                    <a:pt x="10922" y="494402"/>
                    <a:pt x="8445" y="473302"/>
                    <a:pt x="11906" y="494068"/>
                  </a:cubicBezTo>
                  <a:cubicBezTo>
                    <a:pt x="15858" y="517782"/>
                    <a:pt x="10193" y="506978"/>
                    <a:pt x="19050" y="520262"/>
                  </a:cubicBezTo>
                  <a:cubicBezTo>
                    <a:pt x="20637" y="525025"/>
                    <a:pt x="21027" y="530373"/>
                    <a:pt x="23812" y="534550"/>
                  </a:cubicBezTo>
                  <a:cubicBezTo>
                    <a:pt x="28494" y="541571"/>
                    <a:pt x="28845" y="543109"/>
                    <a:pt x="35718" y="548837"/>
                  </a:cubicBezTo>
                  <a:cubicBezTo>
                    <a:pt x="39939" y="552355"/>
                    <a:pt x="47590" y="556306"/>
                    <a:pt x="52387" y="558362"/>
                  </a:cubicBezTo>
                  <a:cubicBezTo>
                    <a:pt x="54694" y="559351"/>
                    <a:pt x="57224" y="559754"/>
                    <a:pt x="59531" y="560743"/>
                  </a:cubicBezTo>
                  <a:cubicBezTo>
                    <a:pt x="62794" y="562141"/>
                    <a:pt x="66012" y="563680"/>
                    <a:pt x="69056" y="565506"/>
                  </a:cubicBezTo>
                  <a:cubicBezTo>
                    <a:pt x="73964" y="568451"/>
                    <a:pt x="83343" y="575031"/>
                    <a:pt x="83343" y="575031"/>
                  </a:cubicBezTo>
                  <a:cubicBezTo>
                    <a:pt x="84931" y="577412"/>
                    <a:pt x="86826" y="579615"/>
                    <a:pt x="88106" y="582175"/>
                  </a:cubicBezTo>
                  <a:cubicBezTo>
                    <a:pt x="92475" y="590913"/>
                    <a:pt x="87474" y="589691"/>
                    <a:pt x="97631" y="596462"/>
                  </a:cubicBezTo>
                  <a:cubicBezTo>
                    <a:pt x="99720" y="597854"/>
                    <a:pt x="102468" y="597854"/>
                    <a:pt x="104775" y="598843"/>
                  </a:cubicBezTo>
                  <a:cubicBezTo>
                    <a:pt x="108038" y="600241"/>
                    <a:pt x="111004" y="602288"/>
                    <a:pt x="114300" y="603606"/>
                  </a:cubicBezTo>
                  <a:cubicBezTo>
                    <a:pt x="118961" y="605470"/>
                    <a:pt x="123825" y="606781"/>
                    <a:pt x="128587" y="608368"/>
                  </a:cubicBezTo>
                  <a:cubicBezTo>
                    <a:pt x="130968" y="609162"/>
                    <a:pt x="133486" y="609627"/>
                    <a:pt x="135731" y="610750"/>
                  </a:cubicBezTo>
                  <a:cubicBezTo>
                    <a:pt x="138906" y="612337"/>
                    <a:pt x="142246" y="613631"/>
                    <a:pt x="145256" y="615512"/>
                  </a:cubicBezTo>
                  <a:cubicBezTo>
                    <a:pt x="148622" y="617615"/>
                    <a:pt x="151231" y="620881"/>
                    <a:pt x="154781" y="622656"/>
                  </a:cubicBezTo>
                  <a:cubicBezTo>
                    <a:pt x="159271" y="624901"/>
                    <a:pt x="169068" y="627418"/>
                    <a:pt x="169068" y="627418"/>
                  </a:cubicBezTo>
                  <a:cubicBezTo>
                    <a:pt x="170656" y="629799"/>
                    <a:pt x="171596" y="632774"/>
                    <a:pt x="173831" y="634562"/>
                  </a:cubicBezTo>
                  <a:cubicBezTo>
                    <a:pt x="175791" y="636130"/>
                    <a:pt x="178730" y="635820"/>
                    <a:pt x="180975" y="636943"/>
                  </a:cubicBezTo>
                  <a:cubicBezTo>
                    <a:pt x="183535" y="638223"/>
                    <a:pt x="185633" y="640286"/>
                    <a:pt x="188118" y="641706"/>
                  </a:cubicBezTo>
                  <a:cubicBezTo>
                    <a:pt x="209275" y="653796"/>
                    <a:pt x="187375" y="639622"/>
                    <a:pt x="204787" y="651231"/>
                  </a:cubicBezTo>
                  <a:cubicBezTo>
                    <a:pt x="208584" y="656927"/>
                    <a:pt x="210860" y="661351"/>
                    <a:pt x="216693" y="665518"/>
                  </a:cubicBezTo>
                  <a:cubicBezTo>
                    <a:pt x="223399" y="670308"/>
                    <a:pt x="228071" y="670744"/>
                    <a:pt x="235743" y="672662"/>
                  </a:cubicBezTo>
                  <a:cubicBezTo>
                    <a:pt x="255338" y="669863"/>
                    <a:pt x="262897" y="667584"/>
                    <a:pt x="285750" y="672662"/>
                  </a:cubicBezTo>
                  <a:cubicBezTo>
                    <a:pt x="289624" y="673523"/>
                    <a:pt x="291829" y="677837"/>
                    <a:pt x="295275" y="679806"/>
                  </a:cubicBezTo>
                  <a:cubicBezTo>
                    <a:pt x="297454" y="681051"/>
                    <a:pt x="299983" y="681578"/>
                    <a:pt x="302418" y="682187"/>
                  </a:cubicBezTo>
                  <a:cubicBezTo>
                    <a:pt x="311697" y="684506"/>
                    <a:pt x="321594" y="685607"/>
                    <a:pt x="330993" y="686950"/>
                  </a:cubicBezTo>
                  <a:cubicBezTo>
                    <a:pt x="333374" y="689331"/>
                    <a:pt x="335335" y="692225"/>
                    <a:pt x="338137" y="694093"/>
                  </a:cubicBezTo>
                  <a:cubicBezTo>
                    <a:pt x="340226" y="695485"/>
                    <a:pt x="343321" y="694907"/>
                    <a:pt x="345281" y="696475"/>
                  </a:cubicBezTo>
                  <a:cubicBezTo>
                    <a:pt x="347516" y="698263"/>
                    <a:pt x="348456" y="701237"/>
                    <a:pt x="350043" y="703618"/>
                  </a:cubicBezTo>
                  <a:cubicBezTo>
                    <a:pt x="350837" y="706793"/>
                    <a:pt x="351526" y="709996"/>
                    <a:pt x="352425" y="713143"/>
                  </a:cubicBezTo>
                  <a:cubicBezTo>
                    <a:pt x="353115" y="715557"/>
                    <a:pt x="354197" y="717852"/>
                    <a:pt x="354806" y="720287"/>
                  </a:cubicBezTo>
                  <a:cubicBezTo>
                    <a:pt x="355788" y="724213"/>
                    <a:pt x="356205" y="728267"/>
                    <a:pt x="357187" y="732193"/>
                  </a:cubicBezTo>
                  <a:cubicBezTo>
                    <a:pt x="358478" y="737358"/>
                    <a:pt x="359754" y="743297"/>
                    <a:pt x="366712" y="744100"/>
                  </a:cubicBezTo>
                  <a:cubicBezTo>
                    <a:pt x="384865" y="746195"/>
                    <a:pt x="403225" y="745687"/>
                    <a:pt x="421481" y="746481"/>
                  </a:cubicBezTo>
                  <a:cubicBezTo>
                    <a:pt x="427202" y="747911"/>
                    <a:pt x="434038" y="748485"/>
                    <a:pt x="438150" y="753625"/>
                  </a:cubicBezTo>
                  <a:cubicBezTo>
                    <a:pt x="451296" y="770057"/>
                    <a:pt x="427199" y="751880"/>
                    <a:pt x="447675" y="765531"/>
                  </a:cubicBezTo>
                  <a:cubicBezTo>
                    <a:pt x="464685" y="791050"/>
                    <a:pt x="438199" y="752327"/>
                    <a:pt x="459581" y="779818"/>
                  </a:cubicBezTo>
                  <a:cubicBezTo>
                    <a:pt x="463095" y="784336"/>
                    <a:pt x="465931" y="789343"/>
                    <a:pt x="469106" y="794106"/>
                  </a:cubicBezTo>
                  <a:lnTo>
                    <a:pt x="473868" y="801250"/>
                  </a:lnTo>
                  <a:cubicBezTo>
                    <a:pt x="474662" y="809187"/>
                    <a:pt x="474456" y="817289"/>
                    <a:pt x="476250" y="825062"/>
                  </a:cubicBezTo>
                  <a:cubicBezTo>
                    <a:pt x="476894" y="827851"/>
                    <a:pt x="479732" y="829646"/>
                    <a:pt x="481012" y="832206"/>
                  </a:cubicBezTo>
                  <a:cubicBezTo>
                    <a:pt x="490863" y="851910"/>
                    <a:pt x="474516" y="826037"/>
                    <a:pt x="488156" y="846493"/>
                  </a:cubicBezTo>
                  <a:cubicBezTo>
                    <a:pt x="491042" y="855153"/>
                    <a:pt x="488444" y="853709"/>
                    <a:pt x="497681" y="856018"/>
                  </a:cubicBezTo>
                  <a:cubicBezTo>
                    <a:pt x="498451" y="856210"/>
                    <a:pt x="488552" y="856415"/>
                    <a:pt x="492918" y="856018"/>
                  </a:cubicBezTo>
                  <a:close/>
                </a:path>
              </a:pathLst>
            </a:custGeom>
            <a:grpFill/>
            <a:ln w="12700">
              <a:solidFill>
                <a:schemeClr val="bg1"/>
              </a:solidFill>
              <a:round/>
              <a:headEnd/>
              <a:tailEnd/>
            </a:ln>
          </p:spPr>
          <p:txBody>
            <a:bodyPr/>
            <a:lstStyle/>
            <a:p>
              <a:pPr>
                <a:defRPr/>
              </a:pPr>
              <a:endParaRPr lang="en-GB"/>
            </a:p>
          </p:txBody>
        </p:sp>
      </p:grpSp>
      <p:grpSp>
        <p:nvGrpSpPr>
          <p:cNvPr id="12" name="Group 166"/>
          <p:cNvGrpSpPr/>
          <p:nvPr>
            <p:custDataLst>
              <p:tags r:id="rId3"/>
            </p:custDataLst>
          </p:nvPr>
        </p:nvGrpSpPr>
        <p:grpSpPr bwMode="auto">
          <a:xfrm>
            <a:off x="4160430" y="2735290"/>
            <a:ext cx="1365004" cy="3002750"/>
            <a:chOff x="4464290" y="2665706"/>
            <a:chExt cx="1555029" cy="3420769"/>
          </a:xfrm>
          <a:solidFill>
            <a:schemeClr val="accent3"/>
          </a:solidFill>
        </p:grpSpPr>
        <p:sp>
          <p:nvSpPr>
            <p:cNvPr id="10" name="Freeform 9"/>
            <p:cNvSpPr/>
            <p:nvPr/>
          </p:nvSpPr>
          <p:spPr bwMode="auto">
            <a:xfrm>
              <a:off x="4464290" y="2665706"/>
              <a:ext cx="1460260" cy="1556250"/>
            </a:xfrm>
            <a:custGeom>
              <a:avLst/>
              <a:gdLst>
                <a:gd name="connsiteX0" fmla="*/ 145810 w 1460260"/>
                <a:gd name="connsiteY0" fmla="*/ 1549107 h 1556250"/>
                <a:gd name="connsiteX1" fmla="*/ 143429 w 1460260"/>
                <a:gd name="connsiteY1" fmla="*/ 1530057 h 1556250"/>
                <a:gd name="connsiteX2" fmla="*/ 141048 w 1460260"/>
                <a:gd name="connsiteY2" fmla="*/ 1522913 h 1556250"/>
                <a:gd name="connsiteX3" fmla="*/ 138666 w 1460260"/>
                <a:gd name="connsiteY3" fmla="*/ 1503863 h 1556250"/>
                <a:gd name="connsiteX4" fmla="*/ 136285 w 1460260"/>
                <a:gd name="connsiteY4" fmla="*/ 1463382 h 1556250"/>
                <a:gd name="connsiteX5" fmla="*/ 131523 w 1460260"/>
                <a:gd name="connsiteY5" fmla="*/ 1449094 h 1556250"/>
                <a:gd name="connsiteX6" fmla="*/ 129141 w 1460260"/>
                <a:gd name="connsiteY6" fmla="*/ 1434807 h 1556250"/>
                <a:gd name="connsiteX7" fmla="*/ 124379 w 1460260"/>
                <a:gd name="connsiteY7" fmla="*/ 1394325 h 1556250"/>
                <a:gd name="connsiteX8" fmla="*/ 121998 w 1460260"/>
                <a:gd name="connsiteY8" fmla="*/ 1384800 h 1556250"/>
                <a:gd name="connsiteX9" fmla="*/ 117235 w 1460260"/>
                <a:gd name="connsiteY9" fmla="*/ 1370513 h 1556250"/>
                <a:gd name="connsiteX10" fmla="*/ 121998 w 1460260"/>
                <a:gd name="connsiteY10" fmla="*/ 1320507 h 1556250"/>
                <a:gd name="connsiteX11" fmla="*/ 126760 w 1460260"/>
                <a:gd name="connsiteY11" fmla="*/ 1313363 h 1556250"/>
                <a:gd name="connsiteX12" fmla="*/ 129141 w 1460260"/>
                <a:gd name="connsiteY12" fmla="*/ 1303838 h 1556250"/>
                <a:gd name="connsiteX13" fmla="*/ 136285 w 1460260"/>
                <a:gd name="connsiteY13" fmla="*/ 1299075 h 1556250"/>
                <a:gd name="connsiteX14" fmla="*/ 141048 w 1460260"/>
                <a:gd name="connsiteY14" fmla="*/ 1284788 h 1556250"/>
                <a:gd name="connsiteX15" fmla="*/ 138666 w 1460260"/>
                <a:gd name="connsiteY15" fmla="*/ 1210969 h 1556250"/>
                <a:gd name="connsiteX16" fmla="*/ 119616 w 1460260"/>
                <a:gd name="connsiteY16" fmla="*/ 1187157 h 1556250"/>
                <a:gd name="connsiteX17" fmla="*/ 112473 w 1460260"/>
                <a:gd name="connsiteY17" fmla="*/ 1182394 h 1556250"/>
                <a:gd name="connsiteX18" fmla="*/ 98185 w 1460260"/>
                <a:gd name="connsiteY18" fmla="*/ 1177632 h 1556250"/>
                <a:gd name="connsiteX19" fmla="*/ 91041 w 1460260"/>
                <a:gd name="connsiteY19" fmla="*/ 1175250 h 1556250"/>
                <a:gd name="connsiteX20" fmla="*/ 71991 w 1460260"/>
                <a:gd name="connsiteY20" fmla="*/ 1172869 h 1556250"/>
                <a:gd name="connsiteX21" fmla="*/ 62466 w 1460260"/>
                <a:gd name="connsiteY21" fmla="*/ 1165725 h 1556250"/>
                <a:gd name="connsiteX22" fmla="*/ 48179 w 1460260"/>
                <a:gd name="connsiteY22" fmla="*/ 1153819 h 1556250"/>
                <a:gd name="connsiteX23" fmla="*/ 36273 w 1460260"/>
                <a:gd name="connsiteY23" fmla="*/ 1139532 h 1556250"/>
                <a:gd name="connsiteX24" fmla="*/ 29129 w 1460260"/>
                <a:gd name="connsiteY24" fmla="*/ 1134769 h 1556250"/>
                <a:gd name="connsiteX25" fmla="*/ 17223 w 1460260"/>
                <a:gd name="connsiteY25" fmla="*/ 1122863 h 1556250"/>
                <a:gd name="connsiteX26" fmla="*/ 5316 w 1460260"/>
                <a:gd name="connsiteY26" fmla="*/ 1110957 h 1556250"/>
                <a:gd name="connsiteX27" fmla="*/ 554 w 1460260"/>
                <a:gd name="connsiteY27" fmla="*/ 1096669 h 1556250"/>
                <a:gd name="connsiteX28" fmla="*/ 2935 w 1460260"/>
                <a:gd name="connsiteY28" fmla="*/ 1075238 h 1556250"/>
                <a:gd name="connsiteX29" fmla="*/ 7698 w 1460260"/>
                <a:gd name="connsiteY29" fmla="*/ 1068094 h 1556250"/>
                <a:gd name="connsiteX30" fmla="*/ 21985 w 1460260"/>
                <a:gd name="connsiteY30" fmla="*/ 1056188 h 1556250"/>
                <a:gd name="connsiteX31" fmla="*/ 26748 w 1460260"/>
                <a:gd name="connsiteY31" fmla="*/ 1049044 h 1556250"/>
                <a:gd name="connsiteX32" fmla="*/ 33891 w 1460260"/>
                <a:gd name="connsiteY32" fmla="*/ 1046663 h 1556250"/>
                <a:gd name="connsiteX33" fmla="*/ 41035 w 1460260"/>
                <a:gd name="connsiteY33" fmla="*/ 1041900 h 1556250"/>
                <a:gd name="connsiteX34" fmla="*/ 50560 w 1460260"/>
                <a:gd name="connsiteY34" fmla="*/ 1037138 h 1556250"/>
                <a:gd name="connsiteX35" fmla="*/ 57704 w 1460260"/>
                <a:gd name="connsiteY35" fmla="*/ 1003800 h 1556250"/>
                <a:gd name="connsiteX36" fmla="*/ 62466 w 1460260"/>
                <a:gd name="connsiteY36" fmla="*/ 894263 h 1556250"/>
                <a:gd name="connsiteX37" fmla="*/ 64848 w 1460260"/>
                <a:gd name="connsiteY37" fmla="*/ 884738 h 1556250"/>
                <a:gd name="connsiteX38" fmla="*/ 67229 w 1460260"/>
                <a:gd name="connsiteY38" fmla="*/ 872832 h 1556250"/>
                <a:gd name="connsiteX39" fmla="*/ 71991 w 1460260"/>
                <a:gd name="connsiteY39" fmla="*/ 853782 h 1556250"/>
                <a:gd name="connsiteX40" fmla="*/ 81516 w 1460260"/>
                <a:gd name="connsiteY40" fmla="*/ 813300 h 1556250"/>
                <a:gd name="connsiteX41" fmla="*/ 95804 w 1460260"/>
                <a:gd name="connsiteY41" fmla="*/ 806157 h 1556250"/>
                <a:gd name="connsiteX42" fmla="*/ 112473 w 1460260"/>
                <a:gd name="connsiteY42" fmla="*/ 799013 h 1556250"/>
                <a:gd name="connsiteX43" fmla="*/ 121998 w 1460260"/>
                <a:gd name="connsiteY43" fmla="*/ 801394 h 1556250"/>
                <a:gd name="connsiteX44" fmla="*/ 129141 w 1460260"/>
                <a:gd name="connsiteY44" fmla="*/ 806157 h 1556250"/>
                <a:gd name="connsiteX45" fmla="*/ 136285 w 1460260"/>
                <a:gd name="connsiteY45" fmla="*/ 808538 h 1556250"/>
                <a:gd name="connsiteX46" fmla="*/ 141048 w 1460260"/>
                <a:gd name="connsiteY46" fmla="*/ 815682 h 1556250"/>
                <a:gd name="connsiteX47" fmla="*/ 148191 w 1460260"/>
                <a:gd name="connsiteY47" fmla="*/ 822825 h 1556250"/>
                <a:gd name="connsiteX48" fmla="*/ 155335 w 1460260"/>
                <a:gd name="connsiteY48" fmla="*/ 837113 h 1556250"/>
                <a:gd name="connsiteX49" fmla="*/ 162479 w 1460260"/>
                <a:gd name="connsiteY49" fmla="*/ 841875 h 1556250"/>
                <a:gd name="connsiteX50" fmla="*/ 167241 w 1460260"/>
                <a:gd name="connsiteY50" fmla="*/ 849019 h 1556250"/>
                <a:gd name="connsiteX51" fmla="*/ 179148 w 1460260"/>
                <a:gd name="connsiteY51" fmla="*/ 860925 h 1556250"/>
                <a:gd name="connsiteX52" fmla="*/ 179148 w 1460260"/>
                <a:gd name="connsiteY52" fmla="*/ 877594 h 1556250"/>
                <a:gd name="connsiteX53" fmla="*/ 172004 w 1460260"/>
                <a:gd name="connsiteY53" fmla="*/ 884738 h 1556250"/>
                <a:gd name="connsiteX54" fmla="*/ 162479 w 1460260"/>
                <a:gd name="connsiteY54" fmla="*/ 899025 h 1556250"/>
                <a:gd name="connsiteX55" fmla="*/ 157716 w 1460260"/>
                <a:gd name="connsiteY55" fmla="*/ 913313 h 1556250"/>
                <a:gd name="connsiteX56" fmla="*/ 155335 w 1460260"/>
                <a:gd name="connsiteY56" fmla="*/ 920457 h 1556250"/>
                <a:gd name="connsiteX57" fmla="*/ 150573 w 1460260"/>
                <a:gd name="connsiteY57" fmla="*/ 960938 h 1556250"/>
                <a:gd name="connsiteX58" fmla="*/ 145810 w 1460260"/>
                <a:gd name="connsiteY58" fmla="*/ 968082 h 1556250"/>
                <a:gd name="connsiteX59" fmla="*/ 138666 w 1460260"/>
                <a:gd name="connsiteY59" fmla="*/ 972844 h 1556250"/>
                <a:gd name="connsiteX60" fmla="*/ 141048 w 1460260"/>
                <a:gd name="connsiteY60" fmla="*/ 1020469 h 1556250"/>
                <a:gd name="connsiteX61" fmla="*/ 143429 w 1460260"/>
                <a:gd name="connsiteY61" fmla="*/ 1027613 h 1556250"/>
                <a:gd name="connsiteX62" fmla="*/ 148191 w 1460260"/>
                <a:gd name="connsiteY62" fmla="*/ 1034757 h 1556250"/>
                <a:gd name="connsiteX63" fmla="*/ 155335 w 1460260"/>
                <a:gd name="connsiteY63" fmla="*/ 1041900 h 1556250"/>
                <a:gd name="connsiteX64" fmla="*/ 172004 w 1460260"/>
                <a:gd name="connsiteY64" fmla="*/ 1046663 h 1556250"/>
                <a:gd name="connsiteX65" fmla="*/ 195816 w 1460260"/>
                <a:gd name="connsiteY65" fmla="*/ 1041900 h 1556250"/>
                <a:gd name="connsiteX66" fmla="*/ 202960 w 1460260"/>
                <a:gd name="connsiteY66" fmla="*/ 1034757 h 1556250"/>
                <a:gd name="connsiteX67" fmla="*/ 217248 w 1460260"/>
                <a:gd name="connsiteY67" fmla="*/ 1025232 h 1556250"/>
                <a:gd name="connsiteX68" fmla="*/ 224391 w 1460260"/>
                <a:gd name="connsiteY68" fmla="*/ 1020469 h 1556250"/>
                <a:gd name="connsiteX69" fmla="*/ 226773 w 1460260"/>
                <a:gd name="connsiteY69" fmla="*/ 1013325 h 1556250"/>
                <a:gd name="connsiteX70" fmla="*/ 214866 w 1460260"/>
                <a:gd name="connsiteY70" fmla="*/ 999038 h 1556250"/>
                <a:gd name="connsiteX71" fmla="*/ 214866 w 1460260"/>
                <a:gd name="connsiteY71" fmla="*/ 944269 h 1556250"/>
                <a:gd name="connsiteX72" fmla="*/ 212485 w 1460260"/>
                <a:gd name="connsiteY72" fmla="*/ 937125 h 1556250"/>
                <a:gd name="connsiteX73" fmla="*/ 205341 w 1460260"/>
                <a:gd name="connsiteY73" fmla="*/ 932363 h 1556250"/>
                <a:gd name="connsiteX74" fmla="*/ 200579 w 1460260"/>
                <a:gd name="connsiteY74" fmla="*/ 925219 h 1556250"/>
                <a:gd name="connsiteX75" fmla="*/ 202960 w 1460260"/>
                <a:gd name="connsiteY75" fmla="*/ 894263 h 1556250"/>
                <a:gd name="connsiteX76" fmla="*/ 207723 w 1460260"/>
                <a:gd name="connsiteY76" fmla="*/ 887119 h 1556250"/>
                <a:gd name="connsiteX77" fmla="*/ 222010 w 1460260"/>
                <a:gd name="connsiteY77" fmla="*/ 875213 h 1556250"/>
                <a:gd name="connsiteX78" fmla="*/ 233916 w 1460260"/>
                <a:gd name="connsiteY78" fmla="*/ 860925 h 1556250"/>
                <a:gd name="connsiteX79" fmla="*/ 236298 w 1460260"/>
                <a:gd name="connsiteY79" fmla="*/ 853782 h 1556250"/>
                <a:gd name="connsiteX80" fmla="*/ 219629 w 1460260"/>
                <a:gd name="connsiteY80" fmla="*/ 846638 h 1556250"/>
                <a:gd name="connsiteX81" fmla="*/ 212485 w 1460260"/>
                <a:gd name="connsiteY81" fmla="*/ 841875 h 1556250"/>
                <a:gd name="connsiteX82" fmla="*/ 207723 w 1460260"/>
                <a:gd name="connsiteY82" fmla="*/ 822825 h 1556250"/>
                <a:gd name="connsiteX83" fmla="*/ 205341 w 1460260"/>
                <a:gd name="connsiteY83" fmla="*/ 768057 h 1556250"/>
                <a:gd name="connsiteX84" fmla="*/ 191054 w 1460260"/>
                <a:gd name="connsiteY84" fmla="*/ 763294 h 1556250"/>
                <a:gd name="connsiteX85" fmla="*/ 181529 w 1460260"/>
                <a:gd name="connsiteY85" fmla="*/ 760913 h 1556250"/>
                <a:gd name="connsiteX86" fmla="*/ 150573 w 1460260"/>
                <a:gd name="connsiteY86" fmla="*/ 756150 h 1556250"/>
                <a:gd name="connsiteX87" fmla="*/ 131523 w 1460260"/>
                <a:gd name="connsiteY87" fmla="*/ 751388 h 1556250"/>
                <a:gd name="connsiteX88" fmla="*/ 129141 w 1460260"/>
                <a:gd name="connsiteY88" fmla="*/ 741863 h 1556250"/>
                <a:gd name="connsiteX89" fmla="*/ 133904 w 1460260"/>
                <a:gd name="connsiteY89" fmla="*/ 713288 h 1556250"/>
                <a:gd name="connsiteX90" fmla="*/ 141048 w 1460260"/>
                <a:gd name="connsiteY90" fmla="*/ 699000 h 1556250"/>
                <a:gd name="connsiteX91" fmla="*/ 138666 w 1460260"/>
                <a:gd name="connsiteY91" fmla="*/ 668044 h 1556250"/>
                <a:gd name="connsiteX92" fmla="*/ 131523 w 1460260"/>
                <a:gd name="connsiteY92" fmla="*/ 665663 h 1556250"/>
                <a:gd name="connsiteX93" fmla="*/ 124379 w 1460260"/>
                <a:gd name="connsiteY93" fmla="*/ 658519 h 1556250"/>
                <a:gd name="connsiteX94" fmla="*/ 117235 w 1460260"/>
                <a:gd name="connsiteY94" fmla="*/ 653757 h 1556250"/>
                <a:gd name="connsiteX95" fmla="*/ 110091 w 1460260"/>
                <a:gd name="connsiteY95" fmla="*/ 629944 h 1556250"/>
                <a:gd name="connsiteX96" fmla="*/ 112473 w 1460260"/>
                <a:gd name="connsiteY96" fmla="*/ 608513 h 1556250"/>
                <a:gd name="connsiteX97" fmla="*/ 119616 w 1460260"/>
                <a:gd name="connsiteY97" fmla="*/ 603750 h 1556250"/>
                <a:gd name="connsiteX98" fmla="*/ 138666 w 1460260"/>
                <a:gd name="connsiteY98" fmla="*/ 601369 h 1556250"/>
                <a:gd name="connsiteX99" fmla="*/ 162479 w 1460260"/>
                <a:gd name="connsiteY99" fmla="*/ 584700 h 1556250"/>
                <a:gd name="connsiteX100" fmla="*/ 176766 w 1460260"/>
                <a:gd name="connsiteY100" fmla="*/ 579938 h 1556250"/>
                <a:gd name="connsiteX101" fmla="*/ 229154 w 1460260"/>
                <a:gd name="connsiteY101" fmla="*/ 582319 h 1556250"/>
                <a:gd name="connsiteX102" fmla="*/ 241060 w 1460260"/>
                <a:gd name="connsiteY102" fmla="*/ 584700 h 1556250"/>
                <a:gd name="connsiteX103" fmla="*/ 383935 w 1460260"/>
                <a:gd name="connsiteY103" fmla="*/ 582319 h 1556250"/>
                <a:gd name="connsiteX104" fmla="*/ 395841 w 1460260"/>
                <a:gd name="connsiteY104" fmla="*/ 560888 h 1556250"/>
                <a:gd name="connsiteX105" fmla="*/ 391079 w 1460260"/>
                <a:gd name="connsiteY105" fmla="*/ 537075 h 1556250"/>
                <a:gd name="connsiteX106" fmla="*/ 386316 w 1460260"/>
                <a:gd name="connsiteY106" fmla="*/ 529932 h 1556250"/>
                <a:gd name="connsiteX107" fmla="*/ 374410 w 1460260"/>
                <a:gd name="connsiteY107" fmla="*/ 513263 h 1556250"/>
                <a:gd name="connsiteX108" fmla="*/ 364885 w 1460260"/>
                <a:gd name="connsiteY108" fmla="*/ 496594 h 1556250"/>
                <a:gd name="connsiteX109" fmla="*/ 362504 w 1460260"/>
                <a:gd name="connsiteY109" fmla="*/ 489450 h 1556250"/>
                <a:gd name="connsiteX110" fmla="*/ 357741 w 1460260"/>
                <a:gd name="connsiteY110" fmla="*/ 482307 h 1556250"/>
                <a:gd name="connsiteX111" fmla="*/ 352979 w 1460260"/>
                <a:gd name="connsiteY111" fmla="*/ 468019 h 1556250"/>
                <a:gd name="connsiteX112" fmla="*/ 364885 w 1460260"/>
                <a:gd name="connsiteY112" fmla="*/ 441825 h 1556250"/>
                <a:gd name="connsiteX113" fmla="*/ 372029 w 1460260"/>
                <a:gd name="connsiteY113" fmla="*/ 437063 h 1556250"/>
                <a:gd name="connsiteX114" fmla="*/ 393460 w 1460260"/>
                <a:gd name="connsiteY114" fmla="*/ 418013 h 1556250"/>
                <a:gd name="connsiteX115" fmla="*/ 407748 w 1460260"/>
                <a:gd name="connsiteY115" fmla="*/ 413250 h 1556250"/>
                <a:gd name="connsiteX116" fmla="*/ 414891 w 1460260"/>
                <a:gd name="connsiteY116" fmla="*/ 410869 h 1556250"/>
                <a:gd name="connsiteX117" fmla="*/ 429179 w 1460260"/>
                <a:gd name="connsiteY117" fmla="*/ 401344 h 1556250"/>
                <a:gd name="connsiteX118" fmla="*/ 436323 w 1460260"/>
                <a:gd name="connsiteY118" fmla="*/ 396582 h 1556250"/>
                <a:gd name="connsiteX119" fmla="*/ 445848 w 1460260"/>
                <a:gd name="connsiteY119" fmla="*/ 389438 h 1556250"/>
                <a:gd name="connsiteX120" fmla="*/ 455373 w 1460260"/>
                <a:gd name="connsiteY120" fmla="*/ 384675 h 1556250"/>
                <a:gd name="connsiteX121" fmla="*/ 469660 w 1460260"/>
                <a:gd name="connsiteY121" fmla="*/ 375150 h 1556250"/>
                <a:gd name="connsiteX122" fmla="*/ 486329 w 1460260"/>
                <a:gd name="connsiteY122" fmla="*/ 363244 h 1556250"/>
                <a:gd name="connsiteX123" fmla="*/ 500616 w 1460260"/>
                <a:gd name="connsiteY123" fmla="*/ 351338 h 1556250"/>
                <a:gd name="connsiteX124" fmla="*/ 522048 w 1460260"/>
                <a:gd name="connsiteY124" fmla="*/ 334669 h 1556250"/>
                <a:gd name="connsiteX125" fmla="*/ 543479 w 1460260"/>
                <a:gd name="connsiteY125" fmla="*/ 327525 h 1556250"/>
                <a:gd name="connsiteX126" fmla="*/ 550623 w 1460260"/>
                <a:gd name="connsiteY126" fmla="*/ 325144 h 1556250"/>
                <a:gd name="connsiteX127" fmla="*/ 560148 w 1460260"/>
                <a:gd name="connsiteY127" fmla="*/ 322763 h 1556250"/>
                <a:gd name="connsiteX128" fmla="*/ 567291 w 1460260"/>
                <a:gd name="connsiteY128" fmla="*/ 320382 h 1556250"/>
                <a:gd name="connsiteX129" fmla="*/ 583960 w 1460260"/>
                <a:gd name="connsiteY129" fmla="*/ 318000 h 1556250"/>
                <a:gd name="connsiteX130" fmla="*/ 593485 w 1460260"/>
                <a:gd name="connsiteY130" fmla="*/ 310857 h 1556250"/>
                <a:gd name="connsiteX131" fmla="*/ 600629 w 1460260"/>
                <a:gd name="connsiteY131" fmla="*/ 306094 h 1556250"/>
                <a:gd name="connsiteX132" fmla="*/ 610154 w 1460260"/>
                <a:gd name="connsiteY132" fmla="*/ 291807 h 1556250"/>
                <a:gd name="connsiteX133" fmla="*/ 612535 w 1460260"/>
                <a:gd name="connsiteY133" fmla="*/ 277519 h 1556250"/>
                <a:gd name="connsiteX134" fmla="*/ 614916 w 1460260"/>
                <a:gd name="connsiteY134" fmla="*/ 265613 h 1556250"/>
                <a:gd name="connsiteX135" fmla="*/ 617298 w 1460260"/>
                <a:gd name="connsiteY135" fmla="*/ 258469 h 1556250"/>
                <a:gd name="connsiteX136" fmla="*/ 626823 w 1460260"/>
                <a:gd name="connsiteY136" fmla="*/ 256088 h 1556250"/>
                <a:gd name="connsiteX137" fmla="*/ 672066 w 1460260"/>
                <a:gd name="connsiteY137" fmla="*/ 253707 h 1556250"/>
                <a:gd name="connsiteX138" fmla="*/ 679210 w 1460260"/>
                <a:gd name="connsiteY138" fmla="*/ 251325 h 1556250"/>
                <a:gd name="connsiteX139" fmla="*/ 686354 w 1460260"/>
                <a:gd name="connsiteY139" fmla="*/ 244182 h 1556250"/>
                <a:gd name="connsiteX140" fmla="*/ 693498 w 1460260"/>
                <a:gd name="connsiteY140" fmla="*/ 239419 h 1556250"/>
                <a:gd name="connsiteX141" fmla="*/ 710166 w 1460260"/>
                <a:gd name="connsiteY141" fmla="*/ 241800 h 1556250"/>
                <a:gd name="connsiteX142" fmla="*/ 714929 w 1460260"/>
                <a:gd name="connsiteY142" fmla="*/ 248944 h 1556250"/>
                <a:gd name="connsiteX143" fmla="*/ 717310 w 1460260"/>
                <a:gd name="connsiteY143" fmla="*/ 275138 h 1556250"/>
                <a:gd name="connsiteX144" fmla="*/ 724454 w 1460260"/>
                <a:gd name="connsiteY144" fmla="*/ 277519 h 1556250"/>
                <a:gd name="connsiteX145" fmla="*/ 731598 w 1460260"/>
                <a:gd name="connsiteY145" fmla="*/ 275138 h 1556250"/>
                <a:gd name="connsiteX146" fmla="*/ 748266 w 1460260"/>
                <a:gd name="connsiteY146" fmla="*/ 260850 h 1556250"/>
                <a:gd name="connsiteX147" fmla="*/ 753029 w 1460260"/>
                <a:gd name="connsiteY147" fmla="*/ 253707 h 1556250"/>
                <a:gd name="connsiteX148" fmla="*/ 760173 w 1460260"/>
                <a:gd name="connsiteY148" fmla="*/ 248944 h 1556250"/>
                <a:gd name="connsiteX149" fmla="*/ 767316 w 1460260"/>
                <a:gd name="connsiteY149" fmla="*/ 241800 h 1556250"/>
                <a:gd name="connsiteX150" fmla="*/ 781604 w 1460260"/>
                <a:gd name="connsiteY150" fmla="*/ 244182 h 1556250"/>
                <a:gd name="connsiteX151" fmla="*/ 788748 w 1460260"/>
                <a:gd name="connsiteY151" fmla="*/ 246563 h 1556250"/>
                <a:gd name="connsiteX152" fmla="*/ 829229 w 1460260"/>
                <a:gd name="connsiteY152" fmla="*/ 244182 h 1556250"/>
                <a:gd name="connsiteX153" fmla="*/ 826848 w 1460260"/>
                <a:gd name="connsiteY153" fmla="*/ 237038 h 1556250"/>
                <a:gd name="connsiteX154" fmla="*/ 814941 w 1460260"/>
                <a:gd name="connsiteY154" fmla="*/ 222750 h 1556250"/>
                <a:gd name="connsiteX155" fmla="*/ 800654 w 1460260"/>
                <a:gd name="connsiteY155" fmla="*/ 213225 h 1556250"/>
                <a:gd name="connsiteX156" fmla="*/ 810179 w 1460260"/>
                <a:gd name="connsiteY156" fmla="*/ 194175 h 1556250"/>
                <a:gd name="connsiteX157" fmla="*/ 817323 w 1460260"/>
                <a:gd name="connsiteY157" fmla="*/ 189413 h 1556250"/>
                <a:gd name="connsiteX158" fmla="*/ 824466 w 1460260"/>
                <a:gd name="connsiteY158" fmla="*/ 187032 h 1556250"/>
                <a:gd name="connsiteX159" fmla="*/ 836373 w 1460260"/>
                <a:gd name="connsiteY159" fmla="*/ 184650 h 1556250"/>
                <a:gd name="connsiteX160" fmla="*/ 850660 w 1460260"/>
                <a:gd name="connsiteY160" fmla="*/ 179888 h 1556250"/>
                <a:gd name="connsiteX161" fmla="*/ 860185 w 1460260"/>
                <a:gd name="connsiteY161" fmla="*/ 165600 h 1556250"/>
                <a:gd name="connsiteX162" fmla="*/ 862566 w 1460260"/>
                <a:gd name="connsiteY162" fmla="*/ 89400 h 1556250"/>
                <a:gd name="connsiteX163" fmla="*/ 864948 w 1460260"/>
                <a:gd name="connsiteY163" fmla="*/ 79875 h 1556250"/>
                <a:gd name="connsiteX164" fmla="*/ 893523 w 1460260"/>
                <a:gd name="connsiteY164" fmla="*/ 67969 h 1556250"/>
                <a:gd name="connsiteX165" fmla="*/ 898285 w 1460260"/>
                <a:gd name="connsiteY165" fmla="*/ 41775 h 1556250"/>
                <a:gd name="connsiteX166" fmla="*/ 900666 w 1460260"/>
                <a:gd name="connsiteY166" fmla="*/ 34632 h 1556250"/>
                <a:gd name="connsiteX167" fmla="*/ 914954 w 1460260"/>
                <a:gd name="connsiteY167" fmla="*/ 20344 h 1556250"/>
                <a:gd name="connsiteX168" fmla="*/ 929241 w 1460260"/>
                <a:gd name="connsiteY168" fmla="*/ 13200 h 1556250"/>
                <a:gd name="connsiteX169" fmla="*/ 936385 w 1460260"/>
                <a:gd name="connsiteY169" fmla="*/ 8438 h 1556250"/>
                <a:gd name="connsiteX170" fmla="*/ 950673 w 1460260"/>
                <a:gd name="connsiteY170" fmla="*/ 3675 h 1556250"/>
                <a:gd name="connsiteX171" fmla="*/ 993535 w 1460260"/>
                <a:gd name="connsiteY171" fmla="*/ 10819 h 1556250"/>
                <a:gd name="connsiteX172" fmla="*/ 995916 w 1460260"/>
                <a:gd name="connsiteY172" fmla="*/ 17963 h 1556250"/>
                <a:gd name="connsiteX173" fmla="*/ 986391 w 1460260"/>
                <a:gd name="connsiteY173" fmla="*/ 29869 h 1556250"/>
                <a:gd name="connsiteX174" fmla="*/ 984010 w 1460260"/>
                <a:gd name="connsiteY174" fmla="*/ 37013 h 1556250"/>
                <a:gd name="connsiteX175" fmla="*/ 976866 w 1460260"/>
                <a:gd name="connsiteY175" fmla="*/ 51300 h 1556250"/>
                <a:gd name="connsiteX176" fmla="*/ 1026873 w 1460260"/>
                <a:gd name="connsiteY176" fmla="*/ 65588 h 1556250"/>
                <a:gd name="connsiteX177" fmla="*/ 1031635 w 1460260"/>
                <a:gd name="connsiteY177" fmla="*/ 72732 h 1556250"/>
                <a:gd name="connsiteX178" fmla="*/ 1038779 w 1460260"/>
                <a:gd name="connsiteY178" fmla="*/ 87019 h 1556250"/>
                <a:gd name="connsiteX179" fmla="*/ 1041160 w 1460260"/>
                <a:gd name="connsiteY179" fmla="*/ 94163 h 1556250"/>
                <a:gd name="connsiteX180" fmla="*/ 1043541 w 1460260"/>
                <a:gd name="connsiteY180" fmla="*/ 125119 h 1556250"/>
                <a:gd name="connsiteX181" fmla="*/ 1053066 w 1460260"/>
                <a:gd name="connsiteY181" fmla="*/ 127500 h 1556250"/>
                <a:gd name="connsiteX182" fmla="*/ 1079260 w 1460260"/>
                <a:gd name="connsiteY182" fmla="*/ 120357 h 1556250"/>
                <a:gd name="connsiteX183" fmla="*/ 1081641 w 1460260"/>
                <a:gd name="connsiteY183" fmla="*/ 113213 h 1556250"/>
                <a:gd name="connsiteX184" fmla="*/ 1084023 w 1460260"/>
                <a:gd name="connsiteY184" fmla="*/ 91782 h 1556250"/>
                <a:gd name="connsiteX185" fmla="*/ 1091166 w 1460260"/>
                <a:gd name="connsiteY185" fmla="*/ 89400 h 1556250"/>
                <a:gd name="connsiteX186" fmla="*/ 1129266 w 1460260"/>
                <a:gd name="connsiteY186" fmla="*/ 87019 h 1556250"/>
                <a:gd name="connsiteX187" fmla="*/ 1134029 w 1460260"/>
                <a:gd name="connsiteY187" fmla="*/ 77494 h 1556250"/>
                <a:gd name="connsiteX188" fmla="*/ 1143554 w 1460260"/>
                <a:gd name="connsiteY188" fmla="*/ 75113 h 1556250"/>
                <a:gd name="connsiteX189" fmla="*/ 1188798 w 1460260"/>
                <a:gd name="connsiteY189" fmla="*/ 77494 h 1556250"/>
                <a:gd name="connsiteX190" fmla="*/ 1193560 w 1460260"/>
                <a:gd name="connsiteY190" fmla="*/ 91782 h 1556250"/>
                <a:gd name="connsiteX191" fmla="*/ 1200704 w 1460260"/>
                <a:gd name="connsiteY191" fmla="*/ 96544 h 1556250"/>
                <a:gd name="connsiteX192" fmla="*/ 1224516 w 1460260"/>
                <a:gd name="connsiteY192" fmla="*/ 106069 h 1556250"/>
                <a:gd name="connsiteX193" fmla="*/ 1238804 w 1460260"/>
                <a:gd name="connsiteY193" fmla="*/ 117975 h 1556250"/>
                <a:gd name="connsiteX194" fmla="*/ 1253091 w 1460260"/>
                <a:gd name="connsiteY194" fmla="*/ 127500 h 1556250"/>
                <a:gd name="connsiteX195" fmla="*/ 1260235 w 1460260"/>
                <a:gd name="connsiteY195" fmla="*/ 132263 h 1556250"/>
                <a:gd name="connsiteX196" fmla="*/ 1274523 w 1460260"/>
                <a:gd name="connsiteY196" fmla="*/ 137025 h 1556250"/>
                <a:gd name="connsiteX197" fmla="*/ 1281666 w 1460260"/>
                <a:gd name="connsiteY197" fmla="*/ 141788 h 1556250"/>
                <a:gd name="connsiteX198" fmla="*/ 1279285 w 1460260"/>
                <a:gd name="connsiteY198" fmla="*/ 189413 h 1556250"/>
                <a:gd name="connsiteX199" fmla="*/ 1274523 w 1460260"/>
                <a:gd name="connsiteY199" fmla="*/ 210844 h 1556250"/>
                <a:gd name="connsiteX200" fmla="*/ 1269760 w 1460260"/>
                <a:gd name="connsiteY200" fmla="*/ 217988 h 1556250"/>
                <a:gd name="connsiteX201" fmla="*/ 1264998 w 1460260"/>
                <a:gd name="connsiteY201" fmla="*/ 232275 h 1556250"/>
                <a:gd name="connsiteX202" fmla="*/ 1260235 w 1460260"/>
                <a:gd name="connsiteY202" fmla="*/ 251325 h 1556250"/>
                <a:gd name="connsiteX203" fmla="*/ 1257854 w 1460260"/>
                <a:gd name="connsiteY203" fmla="*/ 263232 h 1556250"/>
                <a:gd name="connsiteX204" fmla="*/ 1248329 w 1460260"/>
                <a:gd name="connsiteY204" fmla="*/ 296569 h 1556250"/>
                <a:gd name="connsiteX205" fmla="*/ 1231660 w 1460260"/>
                <a:gd name="connsiteY205" fmla="*/ 320382 h 1556250"/>
                <a:gd name="connsiteX206" fmla="*/ 1226898 w 1460260"/>
                <a:gd name="connsiteY206" fmla="*/ 327525 h 1556250"/>
                <a:gd name="connsiteX207" fmla="*/ 1222135 w 1460260"/>
                <a:gd name="connsiteY207" fmla="*/ 334669 h 1556250"/>
                <a:gd name="connsiteX208" fmla="*/ 1212610 w 1460260"/>
                <a:gd name="connsiteY208" fmla="*/ 356100 h 1556250"/>
                <a:gd name="connsiteX209" fmla="*/ 1203085 w 1460260"/>
                <a:gd name="connsiteY209" fmla="*/ 377532 h 1556250"/>
                <a:gd name="connsiteX210" fmla="*/ 1195941 w 1460260"/>
                <a:gd name="connsiteY210" fmla="*/ 391819 h 1556250"/>
                <a:gd name="connsiteX211" fmla="*/ 1186416 w 1460260"/>
                <a:gd name="connsiteY211" fmla="*/ 408488 h 1556250"/>
                <a:gd name="connsiteX212" fmla="*/ 1176891 w 1460260"/>
                <a:gd name="connsiteY212" fmla="*/ 427538 h 1556250"/>
                <a:gd name="connsiteX213" fmla="*/ 1169748 w 1460260"/>
                <a:gd name="connsiteY213" fmla="*/ 444207 h 1556250"/>
                <a:gd name="connsiteX214" fmla="*/ 1164985 w 1460260"/>
                <a:gd name="connsiteY214" fmla="*/ 451350 h 1556250"/>
                <a:gd name="connsiteX215" fmla="*/ 1153079 w 1460260"/>
                <a:gd name="connsiteY215" fmla="*/ 468019 h 1556250"/>
                <a:gd name="connsiteX216" fmla="*/ 1148316 w 1460260"/>
                <a:gd name="connsiteY216" fmla="*/ 482307 h 1556250"/>
                <a:gd name="connsiteX217" fmla="*/ 1138791 w 1460260"/>
                <a:gd name="connsiteY217" fmla="*/ 498975 h 1556250"/>
                <a:gd name="connsiteX218" fmla="*/ 1131648 w 1460260"/>
                <a:gd name="connsiteY218" fmla="*/ 520407 h 1556250"/>
                <a:gd name="connsiteX219" fmla="*/ 1129266 w 1460260"/>
                <a:gd name="connsiteY219" fmla="*/ 527550 h 1556250"/>
                <a:gd name="connsiteX220" fmla="*/ 1119741 w 1460260"/>
                <a:gd name="connsiteY220" fmla="*/ 541838 h 1556250"/>
                <a:gd name="connsiteX221" fmla="*/ 1117360 w 1460260"/>
                <a:gd name="connsiteY221" fmla="*/ 548982 h 1556250"/>
                <a:gd name="connsiteX222" fmla="*/ 1107835 w 1460260"/>
                <a:gd name="connsiteY222" fmla="*/ 563269 h 1556250"/>
                <a:gd name="connsiteX223" fmla="*/ 1098310 w 1460260"/>
                <a:gd name="connsiteY223" fmla="*/ 584700 h 1556250"/>
                <a:gd name="connsiteX224" fmla="*/ 1093548 w 1460260"/>
                <a:gd name="connsiteY224" fmla="*/ 598988 h 1556250"/>
                <a:gd name="connsiteX225" fmla="*/ 1091166 w 1460260"/>
                <a:gd name="connsiteY225" fmla="*/ 606132 h 1556250"/>
                <a:gd name="connsiteX226" fmla="*/ 1093548 w 1460260"/>
                <a:gd name="connsiteY226" fmla="*/ 615657 h 1556250"/>
                <a:gd name="connsiteX227" fmla="*/ 1107835 w 1460260"/>
                <a:gd name="connsiteY227" fmla="*/ 620419 h 1556250"/>
                <a:gd name="connsiteX228" fmla="*/ 1114979 w 1460260"/>
                <a:gd name="connsiteY228" fmla="*/ 625182 h 1556250"/>
                <a:gd name="connsiteX229" fmla="*/ 1124504 w 1460260"/>
                <a:gd name="connsiteY229" fmla="*/ 639469 h 1556250"/>
                <a:gd name="connsiteX230" fmla="*/ 1141173 w 1460260"/>
                <a:gd name="connsiteY230" fmla="*/ 637088 h 1556250"/>
                <a:gd name="connsiteX231" fmla="*/ 1148316 w 1460260"/>
                <a:gd name="connsiteY231" fmla="*/ 634707 h 1556250"/>
                <a:gd name="connsiteX232" fmla="*/ 1153079 w 1460260"/>
                <a:gd name="connsiteY232" fmla="*/ 627563 h 1556250"/>
                <a:gd name="connsiteX233" fmla="*/ 1160223 w 1460260"/>
                <a:gd name="connsiteY233" fmla="*/ 622800 h 1556250"/>
                <a:gd name="connsiteX234" fmla="*/ 1164985 w 1460260"/>
                <a:gd name="connsiteY234" fmla="*/ 615657 h 1556250"/>
                <a:gd name="connsiteX235" fmla="*/ 1179273 w 1460260"/>
                <a:gd name="connsiteY235" fmla="*/ 606132 h 1556250"/>
                <a:gd name="connsiteX236" fmla="*/ 1193560 w 1460260"/>
                <a:gd name="connsiteY236" fmla="*/ 598988 h 1556250"/>
                <a:gd name="connsiteX237" fmla="*/ 1200704 w 1460260"/>
                <a:gd name="connsiteY237" fmla="*/ 594225 h 1556250"/>
                <a:gd name="connsiteX238" fmla="*/ 1224516 w 1460260"/>
                <a:gd name="connsiteY238" fmla="*/ 572794 h 1556250"/>
                <a:gd name="connsiteX239" fmla="*/ 1234041 w 1460260"/>
                <a:gd name="connsiteY239" fmla="*/ 558507 h 1556250"/>
                <a:gd name="connsiteX240" fmla="*/ 1243566 w 1460260"/>
                <a:gd name="connsiteY240" fmla="*/ 548982 h 1556250"/>
                <a:gd name="connsiteX241" fmla="*/ 1255473 w 1460260"/>
                <a:gd name="connsiteY241" fmla="*/ 534694 h 1556250"/>
                <a:gd name="connsiteX242" fmla="*/ 1269760 w 1460260"/>
                <a:gd name="connsiteY242" fmla="*/ 525169 h 1556250"/>
                <a:gd name="connsiteX243" fmla="*/ 1284048 w 1460260"/>
                <a:gd name="connsiteY243" fmla="*/ 510882 h 1556250"/>
                <a:gd name="connsiteX244" fmla="*/ 1291191 w 1460260"/>
                <a:gd name="connsiteY244" fmla="*/ 503738 h 1556250"/>
                <a:gd name="connsiteX245" fmla="*/ 1298335 w 1460260"/>
                <a:gd name="connsiteY245" fmla="*/ 496594 h 1556250"/>
                <a:gd name="connsiteX246" fmla="*/ 1310241 w 1460260"/>
                <a:gd name="connsiteY246" fmla="*/ 498975 h 1556250"/>
                <a:gd name="connsiteX247" fmla="*/ 1322148 w 1460260"/>
                <a:gd name="connsiteY247" fmla="*/ 515644 h 1556250"/>
                <a:gd name="connsiteX248" fmla="*/ 1326910 w 1460260"/>
                <a:gd name="connsiteY248" fmla="*/ 537075 h 1556250"/>
                <a:gd name="connsiteX249" fmla="*/ 1334054 w 1460260"/>
                <a:gd name="connsiteY249" fmla="*/ 577557 h 1556250"/>
                <a:gd name="connsiteX250" fmla="*/ 1341198 w 1460260"/>
                <a:gd name="connsiteY250" fmla="*/ 591844 h 1556250"/>
                <a:gd name="connsiteX251" fmla="*/ 1350723 w 1460260"/>
                <a:gd name="connsiteY251" fmla="*/ 606132 h 1556250"/>
                <a:gd name="connsiteX252" fmla="*/ 1353104 w 1460260"/>
                <a:gd name="connsiteY252" fmla="*/ 613275 h 1556250"/>
                <a:gd name="connsiteX253" fmla="*/ 1357866 w 1460260"/>
                <a:gd name="connsiteY253" fmla="*/ 620419 h 1556250"/>
                <a:gd name="connsiteX254" fmla="*/ 1372154 w 1460260"/>
                <a:gd name="connsiteY254" fmla="*/ 639469 h 1556250"/>
                <a:gd name="connsiteX255" fmla="*/ 1376916 w 1460260"/>
                <a:gd name="connsiteY255" fmla="*/ 646613 h 1556250"/>
                <a:gd name="connsiteX256" fmla="*/ 1386441 w 1460260"/>
                <a:gd name="connsiteY256" fmla="*/ 651375 h 1556250"/>
                <a:gd name="connsiteX257" fmla="*/ 1400729 w 1460260"/>
                <a:gd name="connsiteY257" fmla="*/ 660900 h 1556250"/>
                <a:gd name="connsiteX258" fmla="*/ 1407873 w 1460260"/>
                <a:gd name="connsiteY258" fmla="*/ 668044 h 1556250"/>
                <a:gd name="connsiteX259" fmla="*/ 1429304 w 1460260"/>
                <a:gd name="connsiteY259" fmla="*/ 684713 h 1556250"/>
                <a:gd name="connsiteX260" fmla="*/ 1434066 w 1460260"/>
                <a:gd name="connsiteY260" fmla="*/ 694238 h 1556250"/>
                <a:gd name="connsiteX261" fmla="*/ 1441210 w 1460260"/>
                <a:gd name="connsiteY261" fmla="*/ 701382 h 1556250"/>
                <a:gd name="connsiteX262" fmla="*/ 1450735 w 1460260"/>
                <a:gd name="connsiteY262" fmla="*/ 713288 h 1556250"/>
                <a:gd name="connsiteX263" fmla="*/ 1453116 w 1460260"/>
                <a:gd name="connsiteY263" fmla="*/ 720432 h 1556250"/>
                <a:gd name="connsiteX264" fmla="*/ 1460260 w 1460260"/>
                <a:gd name="connsiteY264" fmla="*/ 751388 h 1556250"/>
                <a:gd name="connsiteX265" fmla="*/ 1457879 w 1460260"/>
                <a:gd name="connsiteY265" fmla="*/ 799013 h 1556250"/>
                <a:gd name="connsiteX266" fmla="*/ 1445973 w 1460260"/>
                <a:gd name="connsiteY266" fmla="*/ 813300 h 1556250"/>
                <a:gd name="connsiteX267" fmla="*/ 1431685 w 1460260"/>
                <a:gd name="connsiteY267" fmla="*/ 829969 h 1556250"/>
                <a:gd name="connsiteX268" fmla="*/ 1429304 w 1460260"/>
                <a:gd name="connsiteY268" fmla="*/ 837113 h 1556250"/>
                <a:gd name="connsiteX269" fmla="*/ 1419779 w 1460260"/>
                <a:gd name="connsiteY269" fmla="*/ 851400 h 1556250"/>
                <a:gd name="connsiteX270" fmla="*/ 1412635 w 1460260"/>
                <a:gd name="connsiteY270" fmla="*/ 870450 h 1556250"/>
                <a:gd name="connsiteX271" fmla="*/ 1405491 w 1460260"/>
                <a:gd name="connsiteY271" fmla="*/ 894263 h 1556250"/>
                <a:gd name="connsiteX272" fmla="*/ 1403110 w 1460260"/>
                <a:gd name="connsiteY272" fmla="*/ 918075 h 1556250"/>
                <a:gd name="connsiteX273" fmla="*/ 1398348 w 1460260"/>
                <a:gd name="connsiteY273" fmla="*/ 968082 h 1556250"/>
                <a:gd name="connsiteX274" fmla="*/ 1395966 w 1460260"/>
                <a:gd name="connsiteY274" fmla="*/ 975225 h 1556250"/>
                <a:gd name="connsiteX275" fmla="*/ 1386441 w 1460260"/>
                <a:gd name="connsiteY275" fmla="*/ 989513 h 1556250"/>
                <a:gd name="connsiteX276" fmla="*/ 1372154 w 1460260"/>
                <a:gd name="connsiteY276" fmla="*/ 999038 h 1556250"/>
                <a:gd name="connsiteX277" fmla="*/ 1365010 w 1460260"/>
                <a:gd name="connsiteY277" fmla="*/ 1003800 h 1556250"/>
                <a:gd name="connsiteX278" fmla="*/ 1350723 w 1460260"/>
                <a:gd name="connsiteY278" fmla="*/ 1008563 h 1556250"/>
                <a:gd name="connsiteX279" fmla="*/ 1343579 w 1460260"/>
                <a:gd name="connsiteY279" fmla="*/ 1010944 h 1556250"/>
                <a:gd name="connsiteX280" fmla="*/ 1336435 w 1460260"/>
                <a:gd name="connsiteY280" fmla="*/ 1013325 h 1556250"/>
                <a:gd name="connsiteX281" fmla="*/ 1319766 w 1460260"/>
                <a:gd name="connsiteY281" fmla="*/ 1029994 h 1556250"/>
                <a:gd name="connsiteX282" fmla="*/ 1312623 w 1460260"/>
                <a:gd name="connsiteY282" fmla="*/ 1037138 h 1556250"/>
                <a:gd name="connsiteX283" fmla="*/ 1307860 w 1460260"/>
                <a:gd name="connsiteY283" fmla="*/ 1044282 h 1556250"/>
                <a:gd name="connsiteX284" fmla="*/ 1300716 w 1460260"/>
                <a:gd name="connsiteY284" fmla="*/ 1051425 h 1556250"/>
                <a:gd name="connsiteX285" fmla="*/ 1295954 w 1460260"/>
                <a:gd name="connsiteY285" fmla="*/ 1058569 h 1556250"/>
                <a:gd name="connsiteX286" fmla="*/ 1291191 w 1460260"/>
                <a:gd name="connsiteY286" fmla="*/ 1072857 h 1556250"/>
                <a:gd name="connsiteX287" fmla="*/ 1293573 w 1460260"/>
                <a:gd name="connsiteY287" fmla="*/ 1132388 h 1556250"/>
                <a:gd name="connsiteX288" fmla="*/ 1298335 w 1460260"/>
                <a:gd name="connsiteY288" fmla="*/ 1139532 h 1556250"/>
                <a:gd name="connsiteX289" fmla="*/ 1312623 w 1460260"/>
                <a:gd name="connsiteY289" fmla="*/ 1153819 h 1556250"/>
                <a:gd name="connsiteX290" fmla="*/ 1319766 w 1460260"/>
                <a:gd name="connsiteY290" fmla="*/ 1168107 h 1556250"/>
                <a:gd name="connsiteX291" fmla="*/ 1324529 w 1460260"/>
                <a:gd name="connsiteY291" fmla="*/ 1182394 h 1556250"/>
                <a:gd name="connsiteX292" fmla="*/ 1326910 w 1460260"/>
                <a:gd name="connsiteY292" fmla="*/ 1189538 h 1556250"/>
                <a:gd name="connsiteX293" fmla="*/ 1329291 w 1460260"/>
                <a:gd name="connsiteY293" fmla="*/ 1196682 h 1556250"/>
                <a:gd name="connsiteX294" fmla="*/ 1331673 w 1460260"/>
                <a:gd name="connsiteY294" fmla="*/ 1206207 h 1556250"/>
                <a:gd name="connsiteX295" fmla="*/ 1331673 w 1460260"/>
                <a:gd name="connsiteY295" fmla="*/ 1389563 h 1556250"/>
                <a:gd name="connsiteX296" fmla="*/ 1338816 w 1460260"/>
                <a:gd name="connsiteY296" fmla="*/ 1422900 h 1556250"/>
                <a:gd name="connsiteX297" fmla="*/ 1345960 w 1460260"/>
                <a:gd name="connsiteY297" fmla="*/ 1427663 h 1556250"/>
                <a:gd name="connsiteX298" fmla="*/ 1355485 w 1460260"/>
                <a:gd name="connsiteY298" fmla="*/ 1441950 h 1556250"/>
                <a:gd name="connsiteX299" fmla="*/ 1360248 w 1460260"/>
                <a:gd name="connsiteY299" fmla="*/ 1449094 h 1556250"/>
                <a:gd name="connsiteX300" fmla="*/ 1362629 w 1460260"/>
                <a:gd name="connsiteY300" fmla="*/ 1458619 h 1556250"/>
                <a:gd name="connsiteX301" fmla="*/ 1365010 w 1460260"/>
                <a:gd name="connsiteY301" fmla="*/ 1472907 h 1556250"/>
                <a:gd name="connsiteX302" fmla="*/ 1369773 w 1460260"/>
                <a:gd name="connsiteY302" fmla="*/ 1487194 h 1556250"/>
                <a:gd name="connsiteX303" fmla="*/ 1372154 w 1460260"/>
                <a:gd name="connsiteY303" fmla="*/ 1494338 h 1556250"/>
                <a:gd name="connsiteX304" fmla="*/ 1376916 w 1460260"/>
                <a:gd name="connsiteY304" fmla="*/ 1501482 h 1556250"/>
                <a:gd name="connsiteX305" fmla="*/ 1391204 w 1460260"/>
                <a:gd name="connsiteY305" fmla="*/ 1525294 h 1556250"/>
                <a:gd name="connsiteX306" fmla="*/ 1407873 w 1460260"/>
                <a:gd name="connsiteY306" fmla="*/ 1546725 h 1556250"/>
                <a:gd name="connsiteX307" fmla="*/ 1412635 w 1460260"/>
                <a:gd name="connsiteY307" fmla="*/ 1556250 h 155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Lst>
              <a:rect l="l" t="t" r="r" b="b"/>
              <a:pathLst>
                <a:path w="1460260" h="1556250">
                  <a:moveTo>
                    <a:pt x="145810" y="1549107"/>
                  </a:moveTo>
                  <a:cubicBezTo>
                    <a:pt x="145016" y="1542757"/>
                    <a:pt x="144574" y="1536353"/>
                    <a:pt x="143429" y="1530057"/>
                  </a:cubicBezTo>
                  <a:cubicBezTo>
                    <a:pt x="142980" y="1527587"/>
                    <a:pt x="141497" y="1525383"/>
                    <a:pt x="141048" y="1522913"/>
                  </a:cubicBezTo>
                  <a:cubicBezTo>
                    <a:pt x="139903" y="1516617"/>
                    <a:pt x="139460" y="1510213"/>
                    <a:pt x="138666" y="1503863"/>
                  </a:cubicBezTo>
                  <a:cubicBezTo>
                    <a:pt x="137872" y="1490369"/>
                    <a:pt x="138033" y="1476785"/>
                    <a:pt x="136285" y="1463382"/>
                  </a:cubicBezTo>
                  <a:cubicBezTo>
                    <a:pt x="135636" y="1458404"/>
                    <a:pt x="132349" y="1454046"/>
                    <a:pt x="131523" y="1449094"/>
                  </a:cubicBezTo>
                  <a:lnTo>
                    <a:pt x="129141" y="1434807"/>
                  </a:lnTo>
                  <a:cubicBezTo>
                    <a:pt x="125334" y="1381497"/>
                    <a:pt x="130564" y="1415974"/>
                    <a:pt x="124379" y="1394325"/>
                  </a:cubicBezTo>
                  <a:cubicBezTo>
                    <a:pt x="123480" y="1391178"/>
                    <a:pt x="122938" y="1387935"/>
                    <a:pt x="121998" y="1384800"/>
                  </a:cubicBezTo>
                  <a:cubicBezTo>
                    <a:pt x="120555" y="1379992"/>
                    <a:pt x="117235" y="1370513"/>
                    <a:pt x="117235" y="1370513"/>
                  </a:cubicBezTo>
                  <a:cubicBezTo>
                    <a:pt x="117296" y="1369406"/>
                    <a:pt x="115520" y="1333461"/>
                    <a:pt x="121998" y="1320507"/>
                  </a:cubicBezTo>
                  <a:cubicBezTo>
                    <a:pt x="123278" y="1317947"/>
                    <a:pt x="125173" y="1315744"/>
                    <a:pt x="126760" y="1313363"/>
                  </a:cubicBezTo>
                  <a:cubicBezTo>
                    <a:pt x="127554" y="1310188"/>
                    <a:pt x="127326" y="1306561"/>
                    <a:pt x="129141" y="1303838"/>
                  </a:cubicBezTo>
                  <a:cubicBezTo>
                    <a:pt x="130729" y="1301457"/>
                    <a:pt x="134768" y="1301502"/>
                    <a:pt x="136285" y="1299075"/>
                  </a:cubicBezTo>
                  <a:cubicBezTo>
                    <a:pt x="138946" y="1294818"/>
                    <a:pt x="141048" y="1284788"/>
                    <a:pt x="141048" y="1284788"/>
                  </a:cubicBezTo>
                  <a:cubicBezTo>
                    <a:pt x="140254" y="1260182"/>
                    <a:pt x="140656" y="1235508"/>
                    <a:pt x="138666" y="1210969"/>
                  </a:cubicBezTo>
                  <a:cubicBezTo>
                    <a:pt x="137351" y="1194756"/>
                    <a:pt x="132086" y="1195471"/>
                    <a:pt x="119616" y="1187157"/>
                  </a:cubicBezTo>
                  <a:cubicBezTo>
                    <a:pt x="117235" y="1185570"/>
                    <a:pt x="115188" y="1183299"/>
                    <a:pt x="112473" y="1182394"/>
                  </a:cubicBezTo>
                  <a:lnTo>
                    <a:pt x="98185" y="1177632"/>
                  </a:lnTo>
                  <a:cubicBezTo>
                    <a:pt x="95804" y="1176838"/>
                    <a:pt x="93532" y="1175561"/>
                    <a:pt x="91041" y="1175250"/>
                  </a:cubicBezTo>
                  <a:lnTo>
                    <a:pt x="71991" y="1172869"/>
                  </a:lnTo>
                  <a:cubicBezTo>
                    <a:pt x="68816" y="1170488"/>
                    <a:pt x="65479" y="1168308"/>
                    <a:pt x="62466" y="1165725"/>
                  </a:cubicBezTo>
                  <a:cubicBezTo>
                    <a:pt x="46423" y="1151974"/>
                    <a:pt x="63969" y="1164346"/>
                    <a:pt x="48179" y="1153819"/>
                  </a:cubicBezTo>
                  <a:cubicBezTo>
                    <a:pt x="43496" y="1146795"/>
                    <a:pt x="43148" y="1145261"/>
                    <a:pt x="36273" y="1139532"/>
                  </a:cubicBezTo>
                  <a:cubicBezTo>
                    <a:pt x="34074" y="1137700"/>
                    <a:pt x="31510" y="1136357"/>
                    <a:pt x="29129" y="1134769"/>
                  </a:cubicBezTo>
                  <a:cubicBezTo>
                    <a:pt x="16427" y="1115717"/>
                    <a:pt x="33098" y="1138738"/>
                    <a:pt x="17223" y="1122863"/>
                  </a:cubicBezTo>
                  <a:cubicBezTo>
                    <a:pt x="1351" y="1106991"/>
                    <a:pt x="24362" y="1123653"/>
                    <a:pt x="5316" y="1110957"/>
                  </a:cubicBezTo>
                  <a:cubicBezTo>
                    <a:pt x="3729" y="1106194"/>
                    <a:pt x="0" y="1101659"/>
                    <a:pt x="554" y="1096669"/>
                  </a:cubicBezTo>
                  <a:cubicBezTo>
                    <a:pt x="1348" y="1089525"/>
                    <a:pt x="1192" y="1082211"/>
                    <a:pt x="2935" y="1075238"/>
                  </a:cubicBezTo>
                  <a:cubicBezTo>
                    <a:pt x="3629" y="1072461"/>
                    <a:pt x="5866" y="1070293"/>
                    <a:pt x="7698" y="1068094"/>
                  </a:cubicBezTo>
                  <a:cubicBezTo>
                    <a:pt x="13429" y="1061216"/>
                    <a:pt x="14958" y="1060872"/>
                    <a:pt x="21985" y="1056188"/>
                  </a:cubicBezTo>
                  <a:cubicBezTo>
                    <a:pt x="23573" y="1053807"/>
                    <a:pt x="24513" y="1050832"/>
                    <a:pt x="26748" y="1049044"/>
                  </a:cubicBezTo>
                  <a:cubicBezTo>
                    <a:pt x="28708" y="1047476"/>
                    <a:pt x="31646" y="1047785"/>
                    <a:pt x="33891" y="1046663"/>
                  </a:cubicBezTo>
                  <a:cubicBezTo>
                    <a:pt x="36451" y="1045383"/>
                    <a:pt x="38550" y="1043320"/>
                    <a:pt x="41035" y="1041900"/>
                  </a:cubicBezTo>
                  <a:cubicBezTo>
                    <a:pt x="44117" y="1040139"/>
                    <a:pt x="47385" y="1038725"/>
                    <a:pt x="50560" y="1037138"/>
                  </a:cubicBezTo>
                  <a:cubicBezTo>
                    <a:pt x="63635" y="1017525"/>
                    <a:pt x="60795" y="1028530"/>
                    <a:pt x="57704" y="1003800"/>
                  </a:cubicBezTo>
                  <a:cubicBezTo>
                    <a:pt x="58394" y="978282"/>
                    <a:pt x="57302" y="927824"/>
                    <a:pt x="62466" y="894263"/>
                  </a:cubicBezTo>
                  <a:cubicBezTo>
                    <a:pt x="62964" y="891028"/>
                    <a:pt x="64138" y="887933"/>
                    <a:pt x="64848" y="884738"/>
                  </a:cubicBezTo>
                  <a:cubicBezTo>
                    <a:pt x="65726" y="880787"/>
                    <a:pt x="66319" y="876776"/>
                    <a:pt x="67229" y="872832"/>
                  </a:cubicBezTo>
                  <a:cubicBezTo>
                    <a:pt x="68701" y="866454"/>
                    <a:pt x="71991" y="853782"/>
                    <a:pt x="71991" y="853782"/>
                  </a:cubicBezTo>
                  <a:cubicBezTo>
                    <a:pt x="73039" y="842258"/>
                    <a:pt x="71581" y="823235"/>
                    <a:pt x="81516" y="813300"/>
                  </a:cubicBezTo>
                  <a:cubicBezTo>
                    <a:pt x="86131" y="808685"/>
                    <a:pt x="89995" y="808093"/>
                    <a:pt x="95804" y="806157"/>
                  </a:cubicBezTo>
                  <a:cubicBezTo>
                    <a:pt x="101637" y="802268"/>
                    <a:pt x="104784" y="799013"/>
                    <a:pt x="112473" y="799013"/>
                  </a:cubicBezTo>
                  <a:cubicBezTo>
                    <a:pt x="115746" y="799013"/>
                    <a:pt x="118823" y="800600"/>
                    <a:pt x="121998" y="801394"/>
                  </a:cubicBezTo>
                  <a:cubicBezTo>
                    <a:pt x="124379" y="802982"/>
                    <a:pt x="126581" y="804877"/>
                    <a:pt x="129141" y="806157"/>
                  </a:cubicBezTo>
                  <a:cubicBezTo>
                    <a:pt x="131386" y="807280"/>
                    <a:pt x="134325" y="806970"/>
                    <a:pt x="136285" y="808538"/>
                  </a:cubicBezTo>
                  <a:cubicBezTo>
                    <a:pt x="138520" y="810326"/>
                    <a:pt x="139216" y="813483"/>
                    <a:pt x="141048" y="815682"/>
                  </a:cubicBezTo>
                  <a:cubicBezTo>
                    <a:pt x="143204" y="818269"/>
                    <a:pt x="145810" y="820444"/>
                    <a:pt x="148191" y="822825"/>
                  </a:cubicBezTo>
                  <a:cubicBezTo>
                    <a:pt x="150128" y="828633"/>
                    <a:pt x="150721" y="832499"/>
                    <a:pt x="155335" y="837113"/>
                  </a:cubicBezTo>
                  <a:cubicBezTo>
                    <a:pt x="157359" y="839137"/>
                    <a:pt x="160098" y="840288"/>
                    <a:pt x="162479" y="841875"/>
                  </a:cubicBezTo>
                  <a:cubicBezTo>
                    <a:pt x="164066" y="844256"/>
                    <a:pt x="165217" y="846995"/>
                    <a:pt x="167241" y="849019"/>
                  </a:cubicBezTo>
                  <a:cubicBezTo>
                    <a:pt x="183122" y="864901"/>
                    <a:pt x="166442" y="841870"/>
                    <a:pt x="179148" y="860925"/>
                  </a:cubicBezTo>
                  <a:cubicBezTo>
                    <a:pt x="181478" y="867914"/>
                    <a:pt x="183554" y="869883"/>
                    <a:pt x="179148" y="877594"/>
                  </a:cubicBezTo>
                  <a:cubicBezTo>
                    <a:pt x="177477" y="880518"/>
                    <a:pt x="174072" y="882080"/>
                    <a:pt x="172004" y="884738"/>
                  </a:cubicBezTo>
                  <a:cubicBezTo>
                    <a:pt x="168490" y="889256"/>
                    <a:pt x="162479" y="899025"/>
                    <a:pt x="162479" y="899025"/>
                  </a:cubicBezTo>
                  <a:lnTo>
                    <a:pt x="157716" y="913313"/>
                  </a:lnTo>
                  <a:lnTo>
                    <a:pt x="155335" y="920457"/>
                  </a:lnTo>
                  <a:cubicBezTo>
                    <a:pt x="154959" y="925717"/>
                    <a:pt x="155984" y="950115"/>
                    <a:pt x="150573" y="960938"/>
                  </a:cubicBezTo>
                  <a:cubicBezTo>
                    <a:pt x="149293" y="963498"/>
                    <a:pt x="147834" y="966058"/>
                    <a:pt x="145810" y="968082"/>
                  </a:cubicBezTo>
                  <a:cubicBezTo>
                    <a:pt x="143786" y="970106"/>
                    <a:pt x="141047" y="971257"/>
                    <a:pt x="138666" y="972844"/>
                  </a:cubicBezTo>
                  <a:cubicBezTo>
                    <a:pt x="139460" y="988719"/>
                    <a:pt x="139671" y="1004634"/>
                    <a:pt x="141048" y="1020469"/>
                  </a:cubicBezTo>
                  <a:cubicBezTo>
                    <a:pt x="141265" y="1022970"/>
                    <a:pt x="142307" y="1025368"/>
                    <a:pt x="143429" y="1027613"/>
                  </a:cubicBezTo>
                  <a:cubicBezTo>
                    <a:pt x="144709" y="1030173"/>
                    <a:pt x="146359" y="1032558"/>
                    <a:pt x="148191" y="1034757"/>
                  </a:cubicBezTo>
                  <a:cubicBezTo>
                    <a:pt x="150347" y="1037344"/>
                    <a:pt x="152533" y="1040032"/>
                    <a:pt x="155335" y="1041900"/>
                  </a:cubicBezTo>
                  <a:cubicBezTo>
                    <a:pt x="157388" y="1043268"/>
                    <a:pt x="170729" y="1046344"/>
                    <a:pt x="172004" y="1046663"/>
                  </a:cubicBezTo>
                  <a:cubicBezTo>
                    <a:pt x="173423" y="1046460"/>
                    <a:pt x="191279" y="1044925"/>
                    <a:pt x="195816" y="1041900"/>
                  </a:cubicBezTo>
                  <a:cubicBezTo>
                    <a:pt x="198618" y="1040032"/>
                    <a:pt x="200302" y="1036824"/>
                    <a:pt x="202960" y="1034757"/>
                  </a:cubicBezTo>
                  <a:cubicBezTo>
                    <a:pt x="207478" y="1031243"/>
                    <a:pt x="212485" y="1028407"/>
                    <a:pt x="217248" y="1025232"/>
                  </a:cubicBezTo>
                  <a:lnTo>
                    <a:pt x="224391" y="1020469"/>
                  </a:lnTo>
                  <a:cubicBezTo>
                    <a:pt x="225185" y="1018088"/>
                    <a:pt x="227186" y="1015801"/>
                    <a:pt x="226773" y="1013325"/>
                  </a:cubicBezTo>
                  <a:cubicBezTo>
                    <a:pt x="226110" y="1009349"/>
                    <a:pt x="217010" y="1001182"/>
                    <a:pt x="214866" y="999038"/>
                  </a:cubicBezTo>
                  <a:cubicBezTo>
                    <a:pt x="218574" y="973093"/>
                    <a:pt x="218674" y="980442"/>
                    <a:pt x="214866" y="944269"/>
                  </a:cubicBezTo>
                  <a:cubicBezTo>
                    <a:pt x="214603" y="941773"/>
                    <a:pt x="214053" y="939085"/>
                    <a:pt x="212485" y="937125"/>
                  </a:cubicBezTo>
                  <a:cubicBezTo>
                    <a:pt x="210697" y="934890"/>
                    <a:pt x="207722" y="933950"/>
                    <a:pt x="205341" y="932363"/>
                  </a:cubicBezTo>
                  <a:cubicBezTo>
                    <a:pt x="203754" y="929982"/>
                    <a:pt x="200758" y="928075"/>
                    <a:pt x="200579" y="925219"/>
                  </a:cubicBezTo>
                  <a:cubicBezTo>
                    <a:pt x="199934" y="914890"/>
                    <a:pt x="201053" y="904435"/>
                    <a:pt x="202960" y="894263"/>
                  </a:cubicBezTo>
                  <a:cubicBezTo>
                    <a:pt x="203487" y="891450"/>
                    <a:pt x="205891" y="889318"/>
                    <a:pt x="207723" y="887119"/>
                  </a:cubicBezTo>
                  <a:cubicBezTo>
                    <a:pt x="217212" y="875731"/>
                    <a:pt x="211790" y="883730"/>
                    <a:pt x="222010" y="875213"/>
                  </a:cubicBezTo>
                  <a:cubicBezTo>
                    <a:pt x="226526" y="871450"/>
                    <a:pt x="231239" y="866278"/>
                    <a:pt x="233916" y="860925"/>
                  </a:cubicBezTo>
                  <a:cubicBezTo>
                    <a:pt x="235039" y="858680"/>
                    <a:pt x="235504" y="856163"/>
                    <a:pt x="236298" y="853782"/>
                  </a:cubicBezTo>
                  <a:cubicBezTo>
                    <a:pt x="218362" y="841824"/>
                    <a:pt x="241157" y="855865"/>
                    <a:pt x="219629" y="846638"/>
                  </a:cubicBezTo>
                  <a:cubicBezTo>
                    <a:pt x="216998" y="845511"/>
                    <a:pt x="214866" y="843463"/>
                    <a:pt x="212485" y="841875"/>
                  </a:cubicBezTo>
                  <a:cubicBezTo>
                    <a:pt x="210898" y="835525"/>
                    <a:pt x="208007" y="829364"/>
                    <a:pt x="207723" y="822825"/>
                  </a:cubicBezTo>
                  <a:cubicBezTo>
                    <a:pt x="206929" y="804569"/>
                    <a:pt x="210268" y="785653"/>
                    <a:pt x="205341" y="768057"/>
                  </a:cubicBezTo>
                  <a:cubicBezTo>
                    <a:pt x="203987" y="763223"/>
                    <a:pt x="195924" y="764511"/>
                    <a:pt x="191054" y="763294"/>
                  </a:cubicBezTo>
                  <a:cubicBezTo>
                    <a:pt x="187879" y="762500"/>
                    <a:pt x="184749" y="761498"/>
                    <a:pt x="181529" y="760913"/>
                  </a:cubicBezTo>
                  <a:cubicBezTo>
                    <a:pt x="168102" y="758472"/>
                    <a:pt x="163496" y="758919"/>
                    <a:pt x="150573" y="756150"/>
                  </a:cubicBezTo>
                  <a:cubicBezTo>
                    <a:pt x="144173" y="754778"/>
                    <a:pt x="131523" y="751388"/>
                    <a:pt x="131523" y="751388"/>
                  </a:cubicBezTo>
                  <a:cubicBezTo>
                    <a:pt x="130729" y="748213"/>
                    <a:pt x="129141" y="745136"/>
                    <a:pt x="129141" y="741863"/>
                  </a:cubicBezTo>
                  <a:cubicBezTo>
                    <a:pt x="129141" y="736584"/>
                    <a:pt x="130179" y="720739"/>
                    <a:pt x="133904" y="713288"/>
                  </a:cubicBezTo>
                  <a:cubicBezTo>
                    <a:pt x="143139" y="694815"/>
                    <a:pt x="135058" y="716964"/>
                    <a:pt x="141048" y="699000"/>
                  </a:cubicBezTo>
                  <a:cubicBezTo>
                    <a:pt x="140254" y="688681"/>
                    <a:pt x="141509" y="677995"/>
                    <a:pt x="138666" y="668044"/>
                  </a:cubicBezTo>
                  <a:cubicBezTo>
                    <a:pt x="137976" y="665631"/>
                    <a:pt x="133611" y="667055"/>
                    <a:pt x="131523" y="665663"/>
                  </a:cubicBezTo>
                  <a:cubicBezTo>
                    <a:pt x="128721" y="663795"/>
                    <a:pt x="126966" y="660675"/>
                    <a:pt x="124379" y="658519"/>
                  </a:cubicBezTo>
                  <a:cubicBezTo>
                    <a:pt x="122180" y="656687"/>
                    <a:pt x="119616" y="655344"/>
                    <a:pt x="117235" y="653757"/>
                  </a:cubicBezTo>
                  <a:cubicBezTo>
                    <a:pt x="111438" y="636364"/>
                    <a:pt x="113691" y="644339"/>
                    <a:pt x="110091" y="629944"/>
                  </a:cubicBezTo>
                  <a:cubicBezTo>
                    <a:pt x="110885" y="622800"/>
                    <a:pt x="110017" y="615268"/>
                    <a:pt x="112473" y="608513"/>
                  </a:cubicBezTo>
                  <a:cubicBezTo>
                    <a:pt x="113451" y="605824"/>
                    <a:pt x="116855" y="604503"/>
                    <a:pt x="119616" y="603750"/>
                  </a:cubicBezTo>
                  <a:cubicBezTo>
                    <a:pt x="125790" y="602066"/>
                    <a:pt x="132316" y="602163"/>
                    <a:pt x="138666" y="601369"/>
                  </a:cubicBezTo>
                  <a:cubicBezTo>
                    <a:pt x="157626" y="582410"/>
                    <a:pt x="145274" y="589862"/>
                    <a:pt x="162479" y="584700"/>
                  </a:cubicBezTo>
                  <a:cubicBezTo>
                    <a:pt x="167287" y="583257"/>
                    <a:pt x="176766" y="579938"/>
                    <a:pt x="176766" y="579938"/>
                  </a:cubicBezTo>
                  <a:cubicBezTo>
                    <a:pt x="194229" y="580732"/>
                    <a:pt x="211721" y="581028"/>
                    <a:pt x="229154" y="582319"/>
                  </a:cubicBezTo>
                  <a:cubicBezTo>
                    <a:pt x="233190" y="582618"/>
                    <a:pt x="237013" y="584700"/>
                    <a:pt x="241060" y="584700"/>
                  </a:cubicBezTo>
                  <a:cubicBezTo>
                    <a:pt x="288692" y="584700"/>
                    <a:pt x="336310" y="583113"/>
                    <a:pt x="383935" y="582319"/>
                  </a:cubicBezTo>
                  <a:cubicBezTo>
                    <a:pt x="394852" y="565943"/>
                    <a:pt x="391650" y="573462"/>
                    <a:pt x="395841" y="560888"/>
                  </a:cubicBezTo>
                  <a:cubicBezTo>
                    <a:pt x="394964" y="554750"/>
                    <a:pt x="394403" y="543723"/>
                    <a:pt x="391079" y="537075"/>
                  </a:cubicBezTo>
                  <a:cubicBezTo>
                    <a:pt x="389799" y="534515"/>
                    <a:pt x="387979" y="532261"/>
                    <a:pt x="386316" y="529932"/>
                  </a:cubicBezTo>
                  <a:cubicBezTo>
                    <a:pt x="371560" y="509275"/>
                    <a:pt x="385626" y="530086"/>
                    <a:pt x="374410" y="513263"/>
                  </a:cubicBezTo>
                  <a:cubicBezTo>
                    <a:pt x="369374" y="493117"/>
                    <a:pt x="376235" y="513619"/>
                    <a:pt x="364885" y="496594"/>
                  </a:cubicBezTo>
                  <a:cubicBezTo>
                    <a:pt x="363493" y="494505"/>
                    <a:pt x="363627" y="491695"/>
                    <a:pt x="362504" y="489450"/>
                  </a:cubicBezTo>
                  <a:cubicBezTo>
                    <a:pt x="361224" y="486890"/>
                    <a:pt x="359329" y="484688"/>
                    <a:pt x="357741" y="482307"/>
                  </a:cubicBezTo>
                  <a:cubicBezTo>
                    <a:pt x="356154" y="477544"/>
                    <a:pt x="351995" y="472942"/>
                    <a:pt x="352979" y="468019"/>
                  </a:cubicBezTo>
                  <a:cubicBezTo>
                    <a:pt x="354882" y="458503"/>
                    <a:pt x="355379" y="448162"/>
                    <a:pt x="364885" y="441825"/>
                  </a:cubicBezTo>
                  <a:cubicBezTo>
                    <a:pt x="367266" y="440238"/>
                    <a:pt x="369890" y="438964"/>
                    <a:pt x="372029" y="437063"/>
                  </a:cubicBezTo>
                  <a:cubicBezTo>
                    <a:pt x="377424" y="432267"/>
                    <a:pt x="385350" y="421617"/>
                    <a:pt x="393460" y="418013"/>
                  </a:cubicBezTo>
                  <a:cubicBezTo>
                    <a:pt x="398048" y="415974"/>
                    <a:pt x="402985" y="414838"/>
                    <a:pt x="407748" y="413250"/>
                  </a:cubicBezTo>
                  <a:cubicBezTo>
                    <a:pt x="410129" y="412456"/>
                    <a:pt x="412803" y="412261"/>
                    <a:pt x="414891" y="410869"/>
                  </a:cubicBezTo>
                  <a:lnTo>
                    <a:pt x="429179" y="401344"/>
                  </a:lnTo>
                  <a:cubicBezTo>
                    <a:pt x="431560" y="399757"/>
                    <a:pt x="434034" y="398299"/>
                    <a:pt x="436323" y="396582"/>
                  </a:cubicBezTo>
                  <a:cubicBezTo>
                    <a:pt x="439498" y="394201"/>
                    <a:pt x="442483" y="391542"/>
                    <a:pt x="445848" y="389438"/>
                  </a:cubicBezTo>
                  <a:cubicBezTo>
                    <a:pt x="448858" y="387557"/>
                    <a:pt x="452329" y="386501"/>
                    <a:pt x="455373" y="384675"/>
                  </a:cubicBezTo>
                  <a:cubicBezTo>
                    <a:pt x="460281" y="381730"/>
                    <a:pt x="465613" y="379197"/>
                    <a:pt x="469660" y="375150"/>
                  </a:cubicBezTo>
                  <a:cubicBezTo>
                    <a:pt x="480960" y="363850"/>
                    <a:pt x="474925" y="367045"/>
                    <a:pt x="486329" y="363244"/>
                  </a:cubicBezTo>
                  <a:cubicBezTo>
                    <a:pt x="507202" y="342371"/>
                    <a:pt x="480724" y="367915"/>
                    <a:pt x="500616" y="351338"/>
                  </a:cubicBezTo>
                  <a:cubicBezTo>
                    <a:pt x="508834" y="344489"/>
                    <a:pt x="510011" y="338681"/>
                    <a:pt x="522048" y="334669"/>
                  </a:cubicBezTo>
                  <a:lnTo>
                    <a:pt x="543479" y="327525"/>
                  </a:lnTo>
                  <a:cubicBezTo>
                    <a:pt x="545860" y="326731"/>
                    <a:pt x="548188" y="325753"/>
                    <a:pt x="550623" y="325144"/>
                  </a:cubicBezTo>
                  <a:cubicBezTo>
                    <a:pt x="553798" y="324350"/>
                    <a:pt x="557001" y="323662"/>
                    <a:pt x="560148" y="322763"/>
                  </a:cubicBezTo>
                  <a:cubicBezTo>
                    <a:pt x="562561" y="322074"/>
                    <a:pt x="564830" y="320874"/>
                    <a:pt x="567291" y="320382"/>
                  </a:cubicBezTo>
                  <a:cubicBezTo>
                    <a:pt x="572795" y="319281"/>
                    <a:pt x="578404" y="318794"/>
                    <a:pt x="583960" y="318000"/>
                  </a:cubicBezTo>
                  <a:cubicBezTo>
                    <a:pt x="587135" y="315619"/>
                    <a:pt x="590256" y="313164"/>
                    <a:pt x="593485" y="310857"/>
                  </a:cubicBezTo>
                  <a:cubicBezTo>
                    <a:pt x="595814" y="309193"/>
                    <a:pt x="598744" y="308248"/>
                    <a:pt x="600629" y="306094"/>
                  </a:cubicBezTo>
                  <a:cubicBezTo>
                    <a:pt x="604398" y="301787"/>
                    <a:pt x="610154" y="291807"/>
                    <a:pt x="610154" y="291807"/>
                  </a:cubicBezTo>
                  <a:cubicBezTo>
                    <a:pt x="610948" y="287044"/>
                    <a:pt x="611671" y="282269"/>
                    <a:pt x="612535" y="277519"/>
                  </a:cubicBezTo>
                  <a:cubicBezTo>
                    <a:pt x="613259" y="273537"/>
                    <a:pt x="613934" y="269539"/>
                    <a:pt x="614916" y="265613"/>
                  </a:cubicBezTo>
                  <a:cubicBezTo>
                    <a:pt x="615525" y="263178"/>
                    <a:pt x="615338" y="260037"/>
                    <a:pt x="617298" y="258469"/>
                  </a:cubicBezTo>
                  <a:cubicBezTo>
                    <a:pt x="619854" y="256425"/>
                    <a:pt x="623563" y="256371"/>
                    <a:pt x="626823" y="256088"/>
                  </a:cubicBezTo>
                  <a:cubicBezTo>
                    <a:pt x="641868" y="254780"/>
                    <a:pt x="656985" y="254501"/>
                    <a:pt x="672066" y="253707"/>
                  </a:cubicBezTo>
                  <a:cubicBezTo>
                    <a:pt x="674447" y="252913"/>
                    <a:pt x="677121" y="252717"/>
                    <a:pt x="679210" y="251325"/>
                  </a:cubicBezTo>
                  <a:cubicBezTo>
                    <a:pt x="682012" y="249457"/>
                    <a:pt x="683767" y="246338"/>
                    <a:pt x="686354" y="244182"/>
                  </a:cubicBezTo>
                  <a:cubicBezTo>
                    <a:pt x="688553" y="242350"/>
                    <a:pt x="691117" y="241007"/>
                    <a:pt x="693498" y="239419"/>
                  </a:cubicBezTo>
                  <a:cubicBezTo>
                    <a:pt x="699054" y="240213"/>
                    <a:pt x="705037" y="239521"/>
                    <a:pt x="710166" y="241800"/>
                  </a:cubicBezTo>
                  <a:cubicBezTo>
                    <a:pt x="712781" y="242962"/>
                    <a:pt x="714329" y="246145"/>
                    <a:pt x="714929" y="248944"/>
                  </a:cubicBezTo>
                  <a:cubicBezTo>
                    <a:pt x="716766" y="257517"/>
                    <a:pt x="714538" y="266821"/>
                    <a:pt x="717310" y="275138"/>
                  </a:cubicBezTo>
                  <a:cubicBezTo>
                    <a:pt x="718104" y="277519"/>
                    <a:pt x="722073" y="276725"/>
                    <a:pt x="724454" y="277519"/>
                  </a:cubicBezTo>
                  <a:cubicBezTo>
                    <a:pt x="726835" y="276725"/>
                    <a:pt x="729419" y="276383"/>
                    <a:pt x="731598" y="275138"/>
                  </a:cubicBezTo>
                  <a:cubicBezTo>
                    <a:pt x="736617" y="272270"/>
                    <a:pt x="744426" y="265458"/>
                    <a:pt x="748266" y="260850"/>
                  </a:cubicBezTo>
                  <a:cubicBezTo>
                    <a:pt x="750098" y="258652"/>
                    <a:pt x="751005" y="255731"/>
                    <a:pt x="753029" y="253707"/>
                  </a:cubicBezTo>
                  <a:cubicBezTo>
                    <a:pt x="755053" y="251683"/>
                    <a:pt x="757974" y="250776"/>
                    <a:pt x="760173" y="248944"/>
                  </a:cubicBezTo>
                  <a:cubicBezTo>
                    <a:pt x="762760" y="246788"/>
                    <a:pt x="764935" y="244181"/>
                    <a:pt x="767316" y="241800"/>
                  </a:cubicBezTo>
                  <a:cubicBezTo>
                    <a:pt x="772079" y="242594"/>
                    <a:pt x="776891" y="243135"/>
                    <a:pt x="781604" y="244182"/>
                  </a:cubicBezTo>
                  <a:cubicBezTo>
                    <a:pt x="784054" y="244727"/>
                    <a:pt x="786238" y="246563"/>
                    <a:pt x="788748" y="246563"/>
                  </a:cubicBezTo>
                  <a:cubicBezTo>
                    <a:pt x="802265" y="246563"/>
                    <a:pt x="815735" y="244976"/>
                    <a:pt x="829229" y="244182"/>
                  </a:cubicBezTo>
                  <a:cubicBezTo>
                    <a:pt x="828435" y="241801"/>
                    <a:pt x="827971" y="239283"/>
                    <a:pt x="826848" y="237038"/>
                  </a:cubicBezTo>
                  <a:cubicBezTo>
                    <a:pt x="824347" y="232035"/>
                    <a:pt x="819249" y="226101"/>
                    <a:pt x="814941" y="222750"/>
                  </a:cubicBezTo>
                  <a:cubicBezTo>
                    <a:pt x="810423" y="219236"/>
                    <a:pt x="800654" y="213225"/>
                    <a:pt x="800654" y="213225"/>
                  </a:cubicBezTo>
                  <a:cubicBezTo>
                    <a:pt x="802928" y="207539"/>
                    <a:pt x="805422" y="198931"/>
                    <a:pt x="810179" y="194175"/>
                  </a:cubicBezTo>
                  <a:cubicBezTo>
                    <a:pt x="812203" y="192151"/>
                    <a:pt x="814763" y="190693"/>
                    <a:pt x="817323" y="189413"/>
                  </a:cubicBezTo>
                  <a:cubicBezTo>
                    <a:pt x="819568" y="188291"/>
                    <a:pt x="822031" y="187641"/>
                    <a:pt x="824466" y="187032"/>
                  </a:cubicBezTo>
                  <a:cubicBezTo>
                    <a:pt x="828393" y="186050"/>
                    <a:pt x="832468" y="185715"/>
                    <a:pt x="836373" y="184650"/>
                  </a:cubicBezTo>
                  <a:cubicBezTo>
                    <a:pt x="841216" y="183329"/>
                    <a:pt x="850660" y="179888"/>
                    <a:pt x="850660" y="179888"/>
                  </a:cubicBezTo>
                  <a:cubicBezTo>
                    <a:pt x="853835" y="175125"/>
                    <a:pt x="860006" y="171321"/>
                    <a:pt x="860185" y="165600"/>
                  </a:cubicBezTo>
                  <a:cubicBezTo>
                    <a:pt x="860979" y="140200"/>
                    <a:pt x="861156" y="114773"/>
                    <a:pt x="862566" y="89400"/>
                  </a:cubicBezTo>
                  <a:cubicBezTo>
                    <a:pt x="862748" y="86132"/>
                    <a:pt x="862793" y="82338"/>
                    <a:pt x="864948" y="79875"/>
                  </a:cubicBezTo>
                  <a:cubicBezTo>
                    <a:pt x="874324" y="69159"/>
                    <a:pt x="881121" y="70036"/>
                    <a:pt x="893523" y="67969"/>
                  </a:cubicBezTo>
                  <a:cubicBezTo>
                    <a:pt x="898984" y="51585"/>
                    <a:pt x="892900" y="71395"/>
                    <a:pt x="898285" y="41775"/>
                  </a:cubicBezTo>
                  <a:cubicBezTo>
                    <a:pt x="898734" y="39306"/>
                    <a:pt x="899125" y="36613"/>
                    <a:pt x="900666" y="34632"/>
                  </a:cubicBezTo>
                  <a:cubicBezTo>
                    <a:pt x="904801" y="29315"/>
                    <a:pt x="909350" y="24080"/>
                    <a:pt x="914954" y="20344"/>
                  </a:cubicBezTo>
                  <a:cubicBezTo>
                    <a:pt x="935428" y="6696"/>
                    <a:pt x="909524" y="23059"/>
                    <a:pt x="929241" y="13200"/>
                  </a:cubicBezTo>
                  <a:cubicBezTo>
                    <a:pt x="931801" y="11920"/>
                    <a:pt x="933770" y="9600"/>
                    <a:pt x="936385" y="8438"/>
                  </a:cubicBezTo>
                  <a:cubicBezTo>
                    <a:pt x="940973" y="6399"/>
                    <a:pt x="950673" y="3675"/>
                    <a:pt x="950673" y="3675"/>
                  </a:cubicBezTo>
                  <a:cubicBezTo>
                    <a:pt x="954150" y="3907"/>
                    <a:pt x="984880" y="0"/>
                    <a:pt x="993535" y="10819"/>
                  </a:cubicBezTo>
                  <a:cubicBezTo>
                    <a:pt x="995103" y="12779"/>
                    <a:pt x="995122" y="15582"/>
                    <a:pt x="995916" y="17963"/>
                  </a:cubicBezTo>
                  <a:cubicBezTo>
                    <a:pt x="989931" y="35920"/>
                    <a:pt x="998701" y="14482"/>
                    <a:pt x="986391" y="29869"/>
                  </a:cubicBezTo>
                  <a:cubicBezTo>
                    <a:pt x="984823" y="31829"/>
                    <a:pt x="985132" y="34768"/>
                    <a:pt x="984010" y="37013"/>
                  </a:cubicBezTo>
                  <a:cubicBezTo>
                    <a:pt x="974774" y="55488"/>
                    <a:pt x="982856" y="33336"/>
                    <a:pt x="976866" y="51300"/>
                  </a:cubicBezTo>
                  <a:cubicBezTo>
                    <a:pt x="982726" y="80593"/>
                    <a:pt x="973791" y="55937"/>
                    <a:pt x="1026873" y="65588"/>
                  </a:cubicBezTo>
                  <a:cubicBezTo>
                    <a:pt x="1029689" y="66100"/>
                    <a:pt x="1030355" y="70172"/>
                    <a:pt x="1031635" y="72732"/>
                  </a:cubicBezTo>
                  <a:cubicBezTo>
                    <a:pt x="1041489" y="92441"/>
                    <a:pt x="1025134" y="66553"/>
                    <a:pt x="1038779" y="87019"/>
                  </a:cubicBezTo>
                  <a:cubicBezTo>
                    <a:pt x="1039573" y="89400"/>
                    <a:pt x="1040849" y="91672"/>
                    <a:pt x="1041160" y="94163"/>
                  </a:cubicBezTo>
                  <a:cubicBezTo>
                    <a:pt x="1042444" y="104432"/>
                    <a:pt x="1040060" y="115373"/>
                    <a:pt x="1043541" y="125119"/>
                  </a:cubicBezTo>
                  <a:cubicBezTo>
                    <a:pt x="1044642" y="128201"/>
                    <a:pt x="1049891" y="126706"/>
                    <a:pt x="1053066" y="127500"/>
                  </a:cubicBezTo>
                  <a:cubicBezTo>
                    <a:pt x="1060497" y="126571"/>
                    <a:pt x="1073257" y="127860"/>
                    <a:pt x="1079260" y="120357"/>
                  </a:cubicBezTo>
                  <a:cubicBezTo>
                    <a:pt x="1080828" y="118397"/>
                    <a:pt x="1080847" y="115594"/>
                    <a:pt x="1081641" y="113213"/>
                  </a:cubicBezTo>
                  <a:cubicBezTo>
                    <a:pt x="1082435" y="106069"/>
                    <a:pt x="1081354" y="98456"/>
                    <a:pt x="1084023" y="91782"/>
                  </a:cubicBezTo>
                  <a:cubicBezTo>
                    <a:pt x="1084955" y="89452"/>
                    <a:pt x="1088670" y="89663"/>
                    <a:pt x="1091166" y="89400"/>
                  </a:cubicBezTo>
                  <a:cubicBezTo>
                    <a:pt x="1103821" y="88068"/>
                    <a:pt x="1116566" y="87813"/>
                    <a:pt x="1129266" y="87019"/>
                  </a:cubicBezTo>
                  <a:cubicBezTo>
                    <a:pt x="1130854" y="83844"/>
                    <a:pt x="1131302" y="79766"/>
                    <a:pt x="1134029" y="77494"/>
                  </a:cubicBezTo>
                  <a:cubicBezTo>
                    <a:pt x="1136543" y="75399"/>
                    <a:pt x="1140281" y="75113"/>
                    <a:pt x="1143554" y="75113"/>
                  </a:cubicBezTo>
                  <a:cubicBezTo>
                    <a:pt x="1158656" y="75113"/>
                    <a:pt x="1173717" y="76700"/>
                    <a:pt x="1188798" y="77494"/>
                  </a:cubicBezTo>
                  <a:cubicBezTo>
                    <a:pt x="1190385" y="82257"/>
                    <a:pt x="1189383" y="88998"/>
                    <a:pt x="1193560" y="91782"/>
                  </a:cubicBezTo>
                  <a:cubicBezTo>
                    <a:pt x="1195941" y="93369"/>
                    <a:pt x="1198089" y="95382"/>
                    <a:pt x="1200704" y="96544"/>
                  </a:cubicBezTo>
                  <a:cubicBezTo>
                    <a:pt x="1222645" y="106296"/>
                    <a:pt x="1207470" y="96328"/>
                    <a:pt x="1224516" y="106069"/>
                  </a:cubicBezTo>
                  <a:cubicBezTo>
                    <a:pt x="1238256" y="113920"/>
                    <a:pt x="1225172" y="107372"/>
                    <a:pt x="1238804" y="117975"/>
                  </a:cubicBezTo>
                  <a:cubicBezTo>
                    <a:pt x="1243322" y="121489"/>
                    <a:pt x="1248329" y="124325"/>
                    <a:pt x="1253091" y="127500"/>
                  </a:cubicBezTo>
                  <a:cubicBezTo>
                    <a:pt x="1255472" y="129088"/>
                    <a:pt x="1257520" y="131358"/>
                    <a:pt x="1260235" y="132263"/>
                  </a:cubicBezTo>
                  <a:lnTo>
                    <a:pt x="1274523" y="137025"/>
                  </a:lnTo>
                  <a:cubicBezTo>
                    <a:pt x="1276904" y="138613"/>
                    <a:pt x="1281407" y="138938"/>
                    <a:pt x="1281666" y="141788"/>
                  </a:cubicBezTo>
                  <a:cubicBezTo>
                    <a:pt x="1283105" y="157618"/>
                    <a:pt x="1280504" y="173565"/>
                    <a:pt x="1279285" y="189413"/>
                  </a:cubicBezTo>
                  <a:cubicBezTo>
                    <a:pt x="1278953" y="193734"/>
                    <a:pt x="1277151" y="205588"/>
                    <a:pt x="1274523" y="210844"/>
                  </a:cubicBezTo>
                  <a:cubicBezTo>
                    <a:pt x="1273243" y="213404"/>
                    <a:pt x="1271348" y="215607"/>
                    <a:pt x="1269760" y="217988"/>
                  </a:cubicBezTo>
                  <a:cubicBezTo>
                    <a:pt x="1268173" y="222750"/>
                    <a:pt x="1266216" y="227405"/>
                    <a:pt x="1264998" y="232275"/>
                  </a:cubicBezTo>
                  <a:lnTo>
                    <a:pt x="1260235" y="251325"/>
                  </a:lnTo>
                  <a:cubicBezTo>
                    <a:pt x="1259253" y="255252"/>
                    <a:pt x="1258764" y="259288"/>
                    <a:pt x="1257854" y="263232"/>
                  </a:cubicBezTo>
                  <a:cubicBezTo>
                    <a:pt x="1257488" y="264817"/>
                    <a:pt x="1250855" y="293202"/>
                    <a:pt x="1248329" y="296569"/>
                  </a:cubicBezTo>
                  <a:cubicBezTo>
                    <a:pt x="1237750" y="310674"/>
                    <a:pt x="1243388" y="302790"/>
                    <a:pt x="1231660" y="320382"/>
                  </a:cubicBezTo>
                  <a:lnTo>
                    <a:pt x="1226898" y="327525"/>
                  </a:lnTo>
                  <a:lnTo>
                    <a:pt x="1222135" y="334669"/>
                  </a:lnTo>
                  <a:cubicBezTo>
                    <a:pt x="1216468" y="351672"/>
                    <a:pt x="1220158" y="344780"/>
                    <a:pt x="1212610" y="356100"/>
                  </a:cubicBezTo>
                  <a:cubicBezTo>
                    <a:pt x="1206943" y="373103"/>
                    <a:pt x="1210633" y="366211"/>
                    <a:pt x="1203085" y="377532"/>
                  </a:cubicBezTo>
                  <a:cubicBezTo>
                    <a:pt x="1197100" y="395488"/>
                    <a:pt x="1205175" y="373352"/>
                    <a:pt x="1195941" y="391819"/>
                  </a:cubicBezTo>
                  <a:cubicBezTo>
                    <a:pt x="1186849" y="410002"/>
                    <a:pt x="1203692" y="385454"/>
                    <a:pt x="1186416" y="408488"/>
                  </a:cubicBezTo>
                  <a:cubicBezTo>
                    <a:pt x="1182238" y="425202"/>
                    <a:pt x="1187011" y="411346"/>
                    <a:pt x="1176891" y="427538"/>
                  </a:cubicBezTo>
                  <a:cubicBezTo>
                    <a:pt x="1164498" y="447367"/>
                    <a:pt x="1177854" y="427997"/>
                    <a:pt x="1169748" y="444207"/>
                  </a:cubicBezTo>
                  <a:cubicBezTo>
                    <a:pt x="1168468" y="446767"/>
                    <a:pt x="1166649" y="449021"/>
                    <a:pt x="1164985" y="451350"/>
                  </a:cubicBezTo>
                  <a:cubicBezTo>
                    <a:pt x="1163947" y="452803"/>
                    <a:pt x="1154401" y="465044"/>
                    <a:pt x="1153079" y="468019"/>
                  </a:cubicBezTo>
                  <a:cubicBezTo>
                    <a:pt x="1151040" y="472607"/>
                    <a:pt x="1150561" y="477817"/>
                    <a:pt x="1148316" y="482307"/>
                  </a:cubicBezTo>
                  <a:cubicBezTo>
                    <a:pt x="1142274" y="494392"/>
                    <a:pt x="1145523" y="488879"/>
                    <a:pt x="1138791" y="498975"/>
                  </a:cubicBezTo>
                  <a:lnTo>
                    <a:pt x="1131648" y="520407"/>
                  </a:lnTo>
                  <a:cubicBezTo>
                    <a:pt x="1130854" y="522788"/>
                    <a:pt x="1130658" y="525462"/>
                    <a:pt x="1129266" y="527550"/>
                  </a:cubicBezTo>
                  <a:lnTo>
                    <a:pt x="1119741" y="541838"/>
                  </a:lnTo>
                  <a:cubicBezTo>
                    <a:pt x="1118947" y="544219"/>
                    <a:pt x="1118579" y="546788"/>
                    <a:pt x="1117360" y="548982"/>
                  </a:cubicBezTo>
                  <a:cubicBezTo>
                    <a:pt x="1114580" y="553985"/>
                    <a:pt x="1107835" y="563269"/>
                    <a:pt x="1107835" y="563269"/>
                  </a:cubicBezTo>
                  <a:cubicBezTo>
                    <a:pt x="1102168" y="580272"/>
                    <a:pt x="1105858" y="573380"/>
                    <a:pt x="1098310" y="584700"/>
                  </a:cubicBezTo>
                  <a:lnTo>
                    <a:pt x="1093548" y="598988"/>
                  </a:lnTo>
                  <a:lnTo>
                    <a:pt x="1091166" y="606132"/>
                  </a:lnTo>
                  <a:cubicBezTo>
                    <a:pt x="1091960" y="609307"/>
                    <a:pt x="1091063" y="613527"/>
                    <a:pt x="1093548" y="615657"/>
                  </a:cubicBezTo>
                  <a:cubicBezTo>
                    <a:pt x="1097359" y="618924"/>
                    <a:pt x="1107835" y="620419"/>
                    <a:pt x="1107835" y="620419"/>
                  </a:cubicBezTo>
                  <a:cubicBezTo>
                    <a:pt x="1110216" y="622007"/>
                    <a:pt x="1113559" y="622697"/>
                    <a:pt x="1114979" y="625182"/>
                  </a:cubicBezTo>
                  <a:cubicBezTo>
                    <a:pt x="1124444" y="641746"/>
                    <a:pt x="1109432" y="634446"/>
                    <a:pt x="1124504" y="639469"/>
                  </a:cubicBezTo>
                  <a:cubicBezTo>
                    <a:pt x="1130060" y="638675"/>
                    <a:pt x="1135669" y="638189"/>
                    <a:pt x="1141173" y="637088"/>
                  </a:cubicBezTo>
                  <a:cubicBezTo>
                    <a:pt x="1143634" y="636596"/>
                    <a:pt x="1146356" y="636275"/>
                    <a:pt x="1148316" y="634707"/>
                  </a:cubicBezTo>
                  <a:cubicBezTo>
                    <a:pt x="1150551" y="632919"/>
                    <a:pt x="1151055" y="629587"/>
                    <a:pt x="1153079" y="627563"/>
                  </a:cubicBezTo>
                  <a:cubicBezTo>
                    <a:pt x="1155103" y="625539"/>
                    <a:pt x="1157842" y="624388"/>
                    <a:pt x="1160223" y="622800"/>
                  </a:cubicBezTo>
                  <a:cubicBezTo>
                    <a:pt x="1161810" y="620419"/>
                    <a:pt x="1162831" y="617541"/>
                    <a:pt x="1164985" y="615657"/>
                  </a:cubicBezTo>
                  <a:cubicBezTo>
                    <a:pt x="1169293" y="611888"/>
                    <a:pt x="1174510" y="609307"/>
                    <a:pt x="1179273" y="606132"/>
                  </a:cubicBezTo>
                  <a:cubicBezTo>
                    <a:pt x="1188507" y="599975"/>
                    <a:pt x="1183698" y="602275"/>
                    <a:pt x="1193560" y="598988"/>
                  </a:cubicBezTo>
                  <a:cubicBezTo>
                    <a:pt x="1195941" y="597400"/>
                    <a:pt x="1198577" y="596140"/>
                    <a:pt x="1200704" y="594225"/>
                  </a:cubicBezTo>
                  <a:cubicBezTo>
                    <a:pt x="1227411" y="570189"/>
                    <a:pt x="1207917" y="583863"/>
                    <a:pt x="1224516" y="572794"/>
                  </a:cubicBezTo>
                  <a:cubicBezTo>
                    <a:pt x="1230180" y="555807"/>
                    <a:pt x="1222149" y="576344"/>
                    <a:pt x="1234041" y="558507"/>
                  </a:cubicBezTo>
                  <a:cubicBezTo>
                    <a:pt x="1241298" y="547622"/>
                    <a:pt x="1229961" y="553517"/>
                    <a:pt x="1243566" y="548982"/>
                  </a:cubicBezTo>
                  <a:cubicBezTo>
                    <a:pt x="1247800" y="542632"/>
                    <a:pt x="1249126" y="539630"/>
                    <a:pt x="1255473" y="534694"/>
                  </a:cubicBezTo>
                  <a:cubicBezTo>
                    <a:pt x="1259991" y="531180"/>
                    <a:pt x="1265713" y="529216"/>
                    <a:pt x="1269760" y="525169"/>
                  </a:cubicBezTo>
                  <a:lnTo>
                    <a:pt x="1284048" y="510882"/>
                  </a:lnTo>
                  <a:lnTo>
                    <a:pt x="1291191" y="503738"/>
                  </a:lnTo>
                  <a:lnTo>
                    <a:pt x="1298335" y="496594"/>
                  </a:lnTo>
                  <a:cubicBezTo>
                    <a:pt x="1302304" y="497388"/>
                    <a:pt x="1306809" y="496830"/>
                    <a:pt x="1310241" y="498975"/>
                  </a:cubicBezTo>
                  <a:cubicBezTo>
                    <a:pt x="1311928" y="500030"/>
                    <a:pt x="1320357" y="512957"/>
                    <a:pt x="1322148" y="515644"/>
                  </a:cubicBezTo>
                  <a:cubicBezTo>
                    <a:pt x="1325395" y="525387"/>
                    <a:pt x="1325386" y="524122"/>
                    <a:pt x="1326910" y="537075"/>
                  </a:cubicBezTo>
                  <a:cubicBezTo>
                    <a:pt x="1327939" y="545822"/>
                    <a:pt x="1327553" y="567805"/>
                    <a:pt x="1334054" y="577557"/>
                  </a:cubicBezTo>
                  <a:cubicBezTo>
                    <a:pt x="1355190" y="609261"/>
                    <a:pt x="1324769" y="562272"/>
                    <a:pt x="1341198" y="591844"/>
                  </a:cubicBezTo>
                  <a:cubicBezTo>
                    <a:pt x="1343978" y="596848"/>
                    <a:pt x="1350723" y="606132"/>
                    <a:pt x="1350723" y="606132"/>
                  </a:cubicBezTo>
                  <a:cubicBezTo>
                    <a:pt x="1351517" y="608513"/>
                    <a:pt x="1351982" y="611030"/>
                    <a:pt x="1353104" y="613275"/>
                  </a:cubicBezTo>
                  <a:cubicBezTo>
                    <a:pt x="1354384" y="615835"/>
                    <a:pt x="1356183" y="618104"/>
                    <a:pt x="1357866" y="620419"/>
                  </a:cubicBezTo>
                  <a:cubicBezTo>
                    <a:pt x="1362535" y="626838"/>
                    <a:pt x="1367751" y="632864"/>
                    <a:pt x="1372154" y="639469"/>
                  </a:cubicBezTo>
                  <a:cubicBezTo>
                    <a:pt x="1373741" y="641850"/>
                    <a:pt x="1374717" y="644781"/>
                    <a:pt x="1376916" y="646613"/>
                  </a:cubicBezTo>
                  <a:cubicBezTo>
                    <a:pt x="1379643" y="648885"/>
                    <a:pt x="1383266" y="649788"/>
                    <a:pt x="1386441" y="651375"/>
                  </a:cubicBezTo>
                  <a:cubicBezTo>
                    <a:pt x="1409231" y="674165"/>
                    <a:pt x="1380051" y="647115"/>
                    <a:pt x="1400729" y="660900"/>
                  </a:cubicBezTo>
                  <a:cubicBezTo>
                    <a:pt x="1403531" y="662768"/>
                    <a:pt x="1405215" y="665976"/>
                    <a:pt x="1407873" y="668044"/>
                  </a:cubicBezTo>
                  <a:cubicBezTo>
                    <a:pt x="1433507" y="687982"/>
                    <a:pt x="1413085" y="668494"/>
                    <a:pt x="1429304" y="684713"/>
                  </a:cubicBezTo>
                  <a:cubicBezTo>
                    <a:pt x="1430891" y="687888"/>
                    <a:pt x="1432003" y="691349"/>
                    <a:pt x="1434066" y="694238"/>
                  </a:cubicBezTo>
                  <a:cubicBezTo>
                    <a:pt x="1436023" y="696978"/>
                    <a:pt x="1439342" y="698580"/>
                    <a:pt x="1441210" y="701382"/>
                  </a:cubicBezTo>
                  <a:cubicBezTo>
                    <a:pt x="1450412" y="715184"/>
                    <a:pt x="1434757" y="702635"/>
                    <a:pt x="1450735" y="713288"/>
                  </a:cubicBezTo>
                  <a:cubicBezTo>
                    <a:pt x="1451529" y="715669"/>
                    <a:pt x="1452456" y="718010"/>
                    <a:pt x="1453116" y="720432"/>
                  </a:cubicBezTo>
                  <a:cubicBezTo>
                    <a:pt x="1457426" y="736237"/>
                    <a:pt x="1457482" y="737498"/>
                    <a:pt x="1460260" y="751388"/>
                  </a:cubicBezTo>
                  <a:cubicBezTo>
                    <a:pt x="1459466" y="767263"/>
                    <a:pt x="1459935" y="783252"/>
                    <a:pt x="1457879" y="799013"/>
                  </a:cubicBezTo>
                  <a:cubicBezTo>
                    <a:pt x="1457339" y="803151"/>
                    <a:pt x="1447973" y="810966"/>
                    <a:pt x="1445973" y="813300"/>
                  </a:cubicBezTo>
                  <a:cubicBezTo>
                    <a:pt x="1427645" y="834683"/>
                    <a:pt x="1449411" y="812243"/>
                    <a:pt x="1431685" y="829969"/>
                  </a:cubicBezTo>
                  <a:cubicBezTo>
                    <a:pt x="1430891" y="832350"/>
                    <a:pt x="1430523" y="834919"/>
                    <a:pt x="1429304" y="837113"/>
                  </a:cubicBezTo>
                  <a:cubicBezTo>
                    <a:pt x="1426524" y="842116"/>
                    <a:pt x="1419779" y="851400"/>
                    <a:pt x="1419779" y="851400"/>
                  </a:cubicBezTo>
                  <a:cubicBezTo>
                    <a:pt x="1414623" y="872026"/>
                    <a:pt x="1420938" y="849692"/>
                    <a:pt x="1412635" y="870450"/>
                  </a:cubicBezTo>
                  <a:cubicBezTo>
                    <a:pt x="1408774" y="880104"/>
                    <a:pt x="1407829" y="884913"/>
                    <a:pt x="1405491" y="894263"/>
                  </a:cubicBezTo>
                  <a:cubicBezTo>
                    <a:pt x="1404697" y="902200"/>
                    <a:pt x="1403722" y="910122"/>
                    <a:pt x="1403110" y="918075"/>
                  </a:cubicBezTo>
                  <a:cubicBezTo>
                    <a:pt x="1401304" y="941557"/>
                    <a:pt x="1402961" y="949632"/>
                    <a:pt x="1398348" y="968082"/>
                  </a:cubicBezTo>
                  <a:cubicBezTo>
                    <a:pt x="1397739" y="970517"/>
                    <a:pt x="1397185" y="973031"/>
                    <a:pt x="1395966" y="975225"/>
                  </a:cubicBezTo>
                  <a:cubicBezTo>
                    <a:pt x="1393186" y="980229"/>
                    <a:pt x="1391204" y="986338"/>
                    <a:pt x="1386441" y="989513"/>
                  </a:cubicBezTo>
                  <a:lnTo>
                    <a:pt x="1372154" y="999038"/>
                  </a:lnTo>
                  <a:cubicBezTo>
                    <a:pt x="1369773" y="1000625"/>
                    <a:pt x="1367725" y="1002895"/>
                    <a:pt x="1365010" y="1003800"/>
                  </a:cubicBezTo>
                  <a:lnTo>
                    <a:pt x="1350723" y="1008563"/>
                  </a:lnTo>
                  <a:lnTo>
                    <a:pt x="1343579" y="1010944"/>
                  </a:lnTo>
                  <a:lnTo>
                    <a:pt x="1336435" y="1013325"/>
                  </a:lnTo>
                  <a:cubicBezTo>
                    <a:pt x="1323630" y="1021862"/>
                    <a:pt x="1333622" y="1014157"/>
                    <a:pt x="1319766" y="1029994"/>
                  </a:cubicBezTo>
                  <a:cubicBezTo>
                    <a:pt x="1317549" y="1032528"/>
                    <a:pt x="1314779" y="1034551"/>
                    <a:pt x="1312623" y="1037138"/>
                  </a:cubicBezTo>
                  <a:cubicBezTo>
                    <a:pt x="1310791" y="1039337"/>
                    <a:pt x="1309692" y="1042083"/>
                    <a:pt x="1307860" y="1044282"/>
                  </a:cubicBezTo>
                  <a:cubicBezTo>
                    <a:pt x="1305704" y="1046869"/>
                    <a:pt x="1302872" y="1048838"/>
                    <a:pt x="1300716" y="1051425"/>
                  </a:cubicBezTo>
                  <a:cubicBezTo>
                    <a:pt x="1298884" y="1053624"/>
                    <a:pt x="1297116" y="1055954"/>
                    <a:pt x="1295954" y="1058569"/>
                  </a:cubicBezTo>
                  <a:cubicBezTo>
                    <a:pt x="1293915" y="1063157"/>
                    <a:pt x="1291191" y="1072857"/>
                    <a:pt x="1291191" y="1072857"/>
                  </a:cubicBezTo>
                  <a:cubicBezTo>
                    <a:pt x="1291985" y="1092701"/>
                    <a:pt x="1291457" y="1112641"/>
                    <a:pt x="1293573" y="1132388"/>
                  </a:cubicBezTo>
                  <a:cubicBezTo>
                    <a:pt x="1293878" y="1135234"/>
                    <a:pt x="1296434" y="1137393"/>
                    <a:pt x="1298335" y="1139532"/>
                  </a:cubicBezTo>
                  <a:cubicBezTo>
                    <a:pt x="1302810" y="1144566"/>
                    <a:pt x="1312623" y="1153819"/>
                    <a:pt x="1312623" y="1153819"/>
                  </a:cubicBezTo>
                  <a:cubicBezTo>
                    <a:pt x="1321302" y="1179859"/>
                    <a:pt x="1307463" y="1140426"/>
                    <a:pt x="1319766" y="1168107"/>
                  </a:cubicBezTo>
                  <a:cubicBezTo>
                    <a:pt x="1321805" y="1172694"/>
                    <a:pt x="1322941" y="1177632"/>
                    <a:pt x="1324529" y="1182394"/>
                  </a:cubicBezTo>
                  <a:lnTo>
                    <a:pt x="1326910" y="1189538"/>
                  </a:lnTo>
                  <a:cubicBezTo>
                    <a:pt x="1327704" y="1191919"/>
                    <a:pt x="1328682" y="1194247"/>
                    <a:pt x="1329291" y="1196682"/>
                  </a:cubicBezTo>
                  <a:lnTo>
                    <a:pt x="1331673" y="1206207"/>
                  </a:lnTo>
                  <a:cubicBezTo>
                    <a:pt x="1338107" y="1457152"/>
                    <a:pt x="1331673" y="1143482"/>
                    <a:pt x="1331673" y="1389563"/>
                  </a:cubicBezTo>
                  <a:cubicBezTo>
                    <a:pt x="1331673" y="1401222"/>
                    <a:pt x="1330052" y="1414136"/>
                    <a:pt x="1338816" y="1422900"/>
                  </a:cubicBezTo>
                  <a:cubicBezTo>
                    <a:pt x="1340840" y="1424924"/>
                    <a:pt x="1343579" y="1426075"/>
                    <a:pt x="1345960" y="1427663"/>
                  </a:cubicBezTo>
                  <a:lnTo>
                    <a:pt x="1355485" y="1441950"/>
                  </a:lnTo>
                  <a:lnTo>
                    <a:pt x="1360248" y="1449094"/>
                  </a:lnTo>
                  <a:cubicBezTo>
                    <a:pt x="1361042" y="1452269"/>
                    <a:pt x="1361987" y="1455410"/>
                    <a:pt x="1362629" y="1458619"/>
                  </a:cubicBezTo>
                  <a:cubicBezTo>
                    <a:pt x="1363576" y="1463354"/>
                    <a:pt x="1363839" y="1468223"/>
                    <a:pt x="1365010" y="1472907"/>
                  </a:cubicBezTo>
                  <a:cubicBezTo>
                    <a:pt x="1366228" y="1477777"/>
                    <a:pt x="1368185" y="1482432"/>
                    <a:pt x="1369773" y="1487194"/>
                  </a:cubicBezTo>
                  <a:cubicBezTo>
                    <a:pt x="1370567" y="1489575"/>
                    <a:pt x="1370762" y="1492249"/>
                    <a:pt x="1372154" y="1494338"/>
                  </a:cubicBezTo>
                  <a:cubicBezTo>
                    <a:pt x="1373741" y="1496719"/>
                    <a:pt x="1375496" y="1498997"/>
                    <a:pt x="1376916" y="1501482"/>
                  </a:cubicBezTo>
                  <a:cubicBezTo>
                    <a:pt x="1381926" y="1510249"/>
                    <a:pt x="1383440" y="1517530"/>
                    <a:pt x="1391204" y="1525294"/>
                  </a:cubicBezTo>
                  <a:cubicBezTo>
                    <a:pt x="1402394" y="1536484"/>
                    <a:pt x="1396482" y="1529638"/>
                    <a:pt x="1407873" y="1546725"/>
                  </a:cubicBezTo>
                  <a:cubicBezTo>
                    <a:pt x="1413075" y="1554528"/>
                    <a:pt x="1412635" y="1551007"/>
                    <a:pt x="1412635" y="1556250"/>
                  </a:cubicBezTo>
                </a:path>
              </a:pathLst>
            </a:custGeom>
            <a:grpFill/>
            <a:ln w="12700">
              <a:solidFill>
                <a:schemeClr val="bg1"/>
              </a:solidFill>
              <a:round/>
              <a:headEnd/>
              <a:tailEnd/>
            </a:ln>
          </p:spPr>
          <p:txBody>
            <a:bodyPr/>
            <a:lstStyle/>
            <a:p>
              <a:pPr>
                <a:defRPr/>
              </a:pPr>
              <a:endParaRPr lang="en-GB"/>
            </a:p>
          </p:txBody>
        </p:sp>
        <p:sp>
          <p:nvSpPr>
            <p:cNvPr id="11" name="Freeform 10"/>
            <p:cNvSpPr/>
            <p:nvPr/>
          </p:nvSpPr>
          <p:spPr bwMode="auto">
            <a:xfrm>
              <a:off x="4606925" y="4076700"/>
              <a:ext cx="1412394" cy="2009775"/>
            </a:xfrm>
            <a:custGeom>
              <a:avLst/>
              <a:gdLst>
                <a:gd name="connsiteX0" fmla="*/ 0 w 1412394"/>
                <a:gd name="connsiteY0" fmla="*/ 114300 h 2009775"/>
                <a:gd name="connsiteX1" fmla="*/ 6350 w 1412394"/>
                <a:gd name="connsiteY1" fmla="*/ 165100 h 2009775"/>
                <a:gd name="connsiteX2" fmla="*/ 9525 w 1412394"/>
                <a:gd name="connsiteY2" fmla="*/ 180975 h 2009775"/>
                <a:gd name="connsiteX3" fmla="*/ 15875 w 1412394"/>
                <a:gd name="connsiteY3" fmla="*/ 200025 h 2009775"/>
                <a:gd name="connsiteX4" fmla="*/ 25400 w 1412394"/>
                <a:gd name="connsiteY4" fmla="*/ 241300 h 2009775"/>
                <a:gd name="connsiteX5" fmla="*/ 34925 w 1412394"/>
                <a:gd name="connsiteY5" fmla="*/ 247650 h 2009775"/>
                <a:gd name="connsiteX6" fmla="*/ 47625 w 1412394"/>
                <a:gd name="connsiteY6" fmla="*/ 266700 h 2009775"/>
                <a:gd name="connsiteX7" fmla="*/ 63500 w 1412394"/>
                <a:gd name="connsiteY7" fmla="*/ 295275 h 2009775"/>
                <a:gd name="connsiteX8" fmla="*/ 69850 w 1412394"/>
                <a:gd name="connsiteY8" fmla="*/ 304800 h 2009775"/>
                <a:gd name="connsiteX9" fmla="*/ 88900 w 1412394"/>
                <a:gd name="connsiteY9" fmla="*/ 323850 h 2009775"/>
                <a:gd name="connsiteX10" fmla="*/ 95250 w 1412394"/>
                <a:gd name="connsiteY10" fmla="*/ 333375 h 2009775"/>
                <a:gd name="connsiteX11" fmla="*/ 127000 w 1412394"/>
                <a:gd name="connsiteY11" fmla="*/ 346075 h 2009775"/>
                <a:gd name="connsiteX12" fmla="*/ 146050 w 1412394"/>
                <a:gd name="connsiteY12" fmla="*/ 355600 h 2009775"/>
                <a:gd name="connsiteX13" fmla="*/ 146050 w 1412394"/>
                <a:gd name="connsiteY13" fmla="*/ 422275 h 2009775"/>
                <a:gd name="connsiteX14" fmla="*/ 136525 w 1412394"/>
                <a:gd name="connsiteY14" fmla="*/ 431800 h 2009775"/>
                <a:gd name="connsiteX15" fmla="*/ 123825 w 1412394"/>
                <a:gd name="connsiteY15" fmla="*/ 450850 h 2009775"/>
                <a:gd name="connsiteX16" fmla="*/ 111125 w 1412394"/>
                <a:gd name="connsiteY16" fmla="*/ 466725 h 2009775"/>
                <a:gd name="connsiteX17" fmla="*/ 95250 w 1412394"/>
                <a:gd name="connsiteY17" fmla="*/ 584200 h 2009775"/>
                <a:gd name="connsiteX18" fmla="*/ 92075 w 1412394"/>
                <a:gd name="connsiteY18" fmla="*/ 593725 h 2009775"/>
                <a:gd name="connsiteX19" fmla="*/ 73025 w 1412394"/>
                <a:gd name="connsiteY19" fmla="*/ 612775 h 2009775"/>
                <a:gd name="connsiteX20" fmla="*/ 63500 w 1412394"/>
                <a:gd name="connsiteY20" fmla="*/ 641350 h 2009775"/>
                <a:gd name="connsiteX21" fmla="*/ 60325 w 1412394"/>
                <a:gd name="connsiteY21" fmla="*/ 650875 h 2009775"/>
                <a:gd name="connsiteX22" fmla="*/ 63500 w 1412394"/>
                <a:gd name="connsiteY22" fmla="*/ 736600 h 2009775"/>
                <a:gd name="connsiteX23" fmla="*/ 66675 w 1412394"/>
                <a:gd name="connsiteY23" fmla="*/ 749300 h 2009775"/>
                <a:gd name="connsiteX24" fmla="*/ 85725 w 1412394"/>
                <a:gd name="connsiteY24" fmla="*/ 762000 h 2009775"/>
                <a:gd name="connsiteX25" fmla="*/ 120650 w 1412394"/>
                <a:gd name="connsiteY25" fmla="*/ 765175 h 2009775"/>
                <a:gd name="connsiteX26" fmla="*/ 117475 w 1412394"/>
                <a:gd name="connsiteY26" fmla="*/ 793750 h 2009775"/>
                <a:gd name="connsiteX27" fmla="*/ 101600 w 1412394"/>
                <a:gd name="connsiteY27" fmla="*/ 809625 h 2009775"/>
                <a:gd name="connsiteX28" fmla="*/ 92075 w 1412394"/>
                <a:gd name="connsiteY28" fmla="*/ 812800 h 2009775"/>
                <a:gd name="connsiteX29" fmla="*/ 63500 w 1412394"/>
                <a:gd name="connsiteY29" fmla="*/ 828675 h 2009775"/>
                <a:gd name="connsiteX30" fmla="*/ 53975 w 1412394"/>
                <a:gd name="connsiteY30" fmla="*/ 838200 h 2009775"/>
                <a:gd name="connsiteX31" fmla="*/ 19050 w 1412394"/>
                <a:gd name="connsiteY31" fmla="*/ 844550 h 2009775"/>
                <a:gd name="connsiteX32" fmla="*/ 9525 w 1412394"/>
                <a:gd name="connsiteY32" fmla="*/ 847725 h 2009775"/>
                <a:gd name="connsiteX33" fmla="*/ 9525 w 1412394"/>
                <a:gd name="connsiteY33" fmla="*/ 866775 h 2009775"/>
                <a:gd name="connsiteX34" fmla="*/ 12700 w 1412394"/>
                <a:gd name="connsiteY34" fmla="*/ 898525 h 2009775"/>
                <a:gd name="connsiteX35" fmla="*/ 19050 w 1412394"/>
                <a:gd name="connsiteY35" fmla="*/ 908050 h 2009775"/>
                <a:gd name="connsiteX36" fmla="*/ 22225 w 1412394"/>
                <a:gd name="connsiteY36" fmla="*/ 917575 h 2009775"/>
                <a:gd name="connsiteX37" fmla="*/ 25400 w 1412394"/>
                <a:gd name="connsiteY37" fmla="*/ 955675 h 2009775"/>
                <a:gd name="connsiteX38" fmla="*/ 28575 w 1412394"/>
                <a:gd name="connsiteY38" fmla="*/ 971550 h 2009775"/>
                <a:gd name="connsiteX39" fmla="*/ 38100 w 1412394"/>
                <a:gd name="connsiteY39" fmla="*/ 977900 h 2009775"/>
                <a:gd name="connsiteX40" fmla="*/ 53975 w 1412394"/>
                <a:gd name="connsiteY40" fmla="*/ 974725 h 2009775"/>
                <a:gd name="connsiteX41" fmla="*/ 73025 w 1412394"/>
                <a:gd name="connsiteY41" fmla="*/ 968375 h 2009775"/>
                <a:gd name="connsiteX42" fmla="*/ 98425 w 1412394"/>
                <a:gd name="connsiteY42" fmla="*/ 971550 h 2009775"/>
                <a:gd name="connsiteX43" fmla="*/ 111125 w 1412394"/>
                <a:gd name="connsiteY43" fmla="*/ 974725 h 2009775"/>
                <a:gd name="connsiteX44" fmla="*/ 149225 w 1412394"/>
                <a:gd name="connsiteY44" fmla="*/ 977900 h 2009775"/>
                <a:gd name="connsiteX45" fmla="*/ 168275 w 1412394"/>
                <a:gd name="connsiteY45" fmla="*/ 984250 h 2009775"/>
                <a:gd name="connsiteX46" fmla="*/ 184150 w 1412394"/>
                <a:gd name="connsiteY46" fmla="*/ 1000125 h 2009775"/>
                <a:gd name="connsiteX47" fmla="*/ 190500 w 1412394"/>
                <a:gd name="connsiteY47" fmla="*/ 1009650 h 2009775"/>
                <a:gd name="connsiteX48" fmla="*/ 206375 w 1412394"/>
                <a:gd name="connsiteY48" fmla="*/ 1038225 h 2009775"/>
                <a:gd name="connsiteX49" fmla="*/ 215900 w 1412394"/>
                <a:gd name="connsiteY49" fmla="*/ 1041400 h 2009775"/>
                <a:gd name="connsiteX50" fmla="*/ 228600 w 1412394"/>
                <a:gd name="connsiteY50" fmla="*/ 1050925 h 2009775"/>
                <a:gd name="connsiteX51" fmla="*/ 238125 w 1412394"/>
                <a:gd name="connsiteY51" fmla="*/ 1060450 h 2009775"/>
                <a:gd name="connsiteX52" fmla="*/ 257175 w 1412394"/>
                <a:gd name="connsiteY52" fmla="*/ 1073150 h 2009775"/>
                <a:gd name="connsiteX53" fmla="*/ 266700 w 1412394"/>
                <a:gd name="connsiteY53" fmla="*/ 1079500 h 2009775"/>
                <a:gd name="connsiteX54" fmla="*/ 273050 w 1412394"/>
                <a:gd name="connsiteY54" fmla="*/ 1089025 h 2009775"/>
                <a:gd name="connsiteX55" fmla="*/ 266700 w 1412394"/>
                <a:gd name="connsiteY55" fmla="*/ 1108075 h 2009775"/>
                <a:gd name="connsiteX56" fmla="*/ 263525 w 1412394"/>
                <a:gd name="connsiteY56" fmla="*/ 1152525 h 2009775"/>
                <a:gd name="connsiteX57" fmla="*/ 254000 w 1412394"/>
                <a:gd name="connsiteY57" fmla="*/ 1162050 h 2009775"/>
                <a:gd name="connsiteX58" fmla="*/ 238125 w 1412394"/>
                <a:gd name="connsiteY58" fmla="*/ 1190625 h 2009775"/>
                <a:gd name="connsiteX59" fmla="*/ 241300 w 1412394"/>
                <a:gd name="connsiteY59" fmla="*/ 1216025 h 2009775"/>
                <a:gd name="connsiteX60" fmla="*/ 254000 w 1412394"/>
                <a:gd name="connsiteY60" fmla="*/ 1238250 h 2009775"/>
                <a:gd name="connsiteX61" fmla="*/ 266700 w 1412394"/>
                <a:gd name="connsiteY61" fmla="*/ 1235075 h 2009775"/>
                <a:gd name="connsiteX62" fmla="*/ 276225 w 1412394"/>
                <a:gd name="connsiteY62" fmla="*/ 1228725 h 2009775"/>
                <a:gd name="connsiteX63" fmla="*/ 301625 w 1412394"/>
                <a:gd name="connsiteY63" fmla="*/ 1231900 h 2009775"/>
                <a:gd name="connsiteX64" fmla="*/ 311150 w 1412394"/>
                <a:gd name="connsiteY64" fmla="*/ 1235075 h 2009775"/>
                <a:gd name="connsiteX65" fmla="*/ 314325 w 1412394"/>
                <a:gd name="connsiteY65" fmla="*/ 1276350 h 2009775"/>
                <a:gd name="connsiteX66" fmla="*/ 304800 w 1412394"/>
                <a:gd name="connsiteY66" fmla="*/ 1282700 h 2009775"/>
                <a:gd name="connsiteX67" fmla="*/ 292100 w 1412394"/>
                <a:gd name="connsiteY67" fmla="*/ 1301750 h 2009775"/>
                <a:gd name="connsiteX68" fmla="*/ 285750 w 1412394"/>
                <a:gd name="connsiteY68" fmla="*/ 1311275 h 2009775"/>
                <a:gd name="connsiteX69" fmla="*/ 282575 w 1412394"/>
                <a:gd name="connsiteY69" fmla="*/ 1320800 h 2009775"/>
                <a:gd name="connsiteX70" fmla="*/ 279400 w 1412394"/>
                <a:gd name="connsiteY70" fmla="*/ 1365250 h 2009775"/>
                <a:gd name="connsiteX71" fmla="*/ 254000 w 1412394"/>
                <a:gd name="connsiteY71" fmla="*/ 1390650 h 2009775"/>
                <a:gd name="connsiteX72" fmla="*/ 244475 w 1412394"/>
                <a:gd name="connsiteY72" fmla="*/ 1397000 h 2009775"/>
                <a:gd name="connsiteX73" fmla="*/ 254000 w 1412394"/>
                <a:gd name="connsiteY73" fmla="*/ 1403350 h 2009775"/>
                <a:gd name="connsiteX74" fmla="*/ 285750 w 1412394"/>
                <a:gd name="connsiteY74" fmla="*/ 1406525 h 2009775"/>
                <a:gd name="connsiteX75" fmla="*/ 295275 w 1412394"/>
                <a:gd name="connsiteY75" fmla="*/ 1409700 h 2009775"/>
                <a:gd name="connsiteX76" fmla="*/ 301625 w 1412394"/>
                <a:gd name="connsiteY76" fmla="*/ 1447800 h 2009775"/>
                <a:gd name="connsiteX77" fmla="*/ 304800 w 1412394"/>
                <a:gd name="connsiteY77" fmla="*/ 1460500 h 2009775"/>
                <a:gd name="connsiteX78" fmla="*/ 307975 w 1412394"/>
                <a:gd name="connsiteY78" fmla="*/ 1489075 h 2009775"/>
                <a:gd name="connsiteX79" fmla="*/ 311150 w 1412394"/>
                <a:gd name="connsiteY79" fmla="*/ 1498600 h 2009775"/>
                <a:gd name="connsiteX80" fmla="*/ 301625 w 1412394"/>
                <a:gd name="connsiteY80" fmla="*/ 1536700 h 2009775"/>
                <a:gd name="connsiteX81" fmla="*/ 292100 w 1412394"/>
                <a:gd name="connsiteY81" fmla="*/ 1543050 h 2009775"/>
                <a:gd name="connsiteX82" fmla="*/ 288925 w 1412394"/>
                <a:gd name="connsiteY82" fmla="*/ 1552575 h 2009775"/>
                <a:gd name="connsiteX83" fmla="*/ 301625 w 1412394"/>
                <a:gd name="connsiteY83" fmla="*/ 1581150 h 2009775"/>
                <a:gd name="connsiteX84" fmla="*/ 304800 w 1412394"/>
                <a:gd name="connsiteY84" fmla="*/ 1590675 h 2009775"/>
                <a:gd name="connsiteX85" fmla="*/ 393700 w 1412394"/>
                <a:gd name="connsiteY85" fmla="*/ 1616075 h 2009775"/>
                <a:gd name="connsiteX86" fmla="*/ 403225 w 1412394"/>
                <a:gd name="connsiteY86" fmla="*/ 1622425 h 2009775"/>
                <a:gd name="connsiteX87" fmla="*/ 409575 w 1412394"/>
                <a:gd name="connsiteY87" fmla="*/ 1631950 h 2009775"/>
                <a:gd name="connsiteX88" fmla="*/ 438150 w 1412394"/>
                <a:gd name="connsiteY88" fmla="*/ 1647825 h 2009775"/>
                <a:gd name="connsiteX89" fmla="*/ 447675 w 1412394"/>
                <a:gd name="connsiteY89" fmla="*/ 1660525 h 2009775"/>
                <a:gd name="connsiteX90" fmla="*/ 460375 w 1412394"/>
                <a:gd name="connsiteY90" fmla="*/ 1676400 h 2009775"/>
                <a:gd name="connsiteX91" fmla="*/ 466725 w 1412394"/>
                <a:gd name="connsiteY91" fmla="*/ 1730375 h 2009775"/>
                <a:gd name="connsiteX92" fmla="*/ 476250 w 1412394"/>
                <a:gd name="connsiteY92" fmla="*/ 1749425 h 2009775"/>
                <a:gd name="connsiteX93" fmla="*/ 495300 w 1412394"/>
                <a:gd name="connsiteY93" fmla="*/ 1758950 h 2009775"/>
                <a:gd name="connsiteX94" fmla="*/ 501650 w 1412394"/>
                <a:gd name="connsiteY94" fmla="*/ 1768475 h 2009775"/>
                <a:gd name="connsiteX95" fmla="*/ 501650 w 1412394"/>
                <a:gd name="connsiteY95" fmla="*/ 1844675 h 2009775"/>
                <a:gd name="connsiteX96" fmla="*/ 492125 w 1412394"/>
                <a:gd name="connsiteY96" fmla="*/ 1879600 h 2009775"/>
                <a:gd name="connsiteX97" fmla="*/ 488950 w 1412394"/>
                <a:gd name="connsiteY97" fmla="*/ 1889125 h 2009775"/>
                <a:gd name="connsiteX98" fmla="*/ 476250 w 1412394"/>
                <a:gd name="connsiteY98" fmla="*/ 1908175 h 2009775"/>
                <a:gd name="connsiteX99" fmla="*/ 469900 w 1412394"/>
                <a:gd name="connsiteY99" fmla="*/ 1917700 h 2009775"/>
                <a:gd name="connsiteX100" fmla="*/ 460375 w 1412394"/>
                <a:gd name="connsiteY100" fmla="*/ 1924050 h 2009775"/>
                <a:gd name="connsiteX101" fmla="*/ 441325 w 1412394"/>
                <a:gd name="connsiteY101" fmla="*/ 1943100 h 2009775"/>
                <a:gd name="connsiteX102" fmla="*/ 434975 w 1412394"/>
                <a:gd name="connsiteY102" fmla="*/ 1952625 h 2009775"/>
                <a:gd name="connsiteX103" fmla="*/ 425450 w 1412394"/>
                <a:gd name="connsiteY103" fmla="*/ 1958975 h 2009775"/>
                <a:gd name="connsiteX104" fmla="*/ 422275 w 1412394"/>
                <a:gd name="connsiteY104" fmla="*/ 1987550 h 2009775"/>
                <a:gd name="connsiteX105" fmla="*/ 444500 w 1412394"/>
                <a:gd name="connsiteY105" fmla="*/ 1993900 h 2009775"/>
                <a:gd name="connsiteX106" fmla="*/ 460375 w 1412394"/>
                <a:gd name="connsiteY106" fmla="*/ 1997075 h 2009775"/>
                <a:gd name="connsiteX107" fmla="*/ 479425 w 1412394"/>
                <a:gd name="connsiteY107" fmla="*/ 2003425 h 2009775"/>
                <a:gd name="connsiteX108" fmla="*/ 514350 w 1412394"/>
                <a:gd name="connsiteY108" fmla="*/ 2009775 h 2009775"/>
                <a:gd name="connsiteX109" fmla="*/ 619125 w 1412394"/>
                <a:gd name="connsiteY109" fmla="*/ 2006600 h 2009775"/>
                <a:gd name="connsiteX110" fmla="*/ 631825 w 1412394"/>
                <a:gd name="connsiteY110" fmla="*/ 2003425 h 2009775"/>
                <a:gd name="connsiteX111" fmla="*/ 641350 w 1412394"/>
                <a:gd name="connsiteY111" fmla="*/ 1993900 h 2009775"/>
                <a:gd name="connsiteX112" fmla="*/ 650875 w 1412394"/>
                <a:gd name="connsiteY112" fmla="*/ 1987550 h 2009775"/>
                <a:gd name="connsiteX113" fmla="*/ 663575 w 1412394"/>
                <a:gd name="connsiteY113" fmla="*/ 1968500 h 2009775"/>
                <a:gd name="connsiteX114" fmla="*/ 673100 w 1412394"/>
                <a:gd name="connsiteY114" fmla="*/ 1939925 h 2009775"/>
                <a:gd name="connsiteX115" fmla="*/ 676275 w 1412394"/>
                <a:gd name="connsiteY115" fmla="*/ 1930400 h 2009775"/>
                <a:gd name="connsiteX116" fmla="*/ 682625 w 1412394"/>
                <a:gd name="connsiteY116" fmla="*/ 1920875 h 2009775"/>
                <a:gd name="connsiteX117" fmla="*/ 692150 w 1412394"/>
                <a:gd name="connsiteY117" fmla="*/ 1901825 h 2009775"/>
                <a:gd name="connsiteX118" fmla="*/ 701675 w 1412394"/>
                <a:gd name="connsiteY118" fmla="*/ 1895475 h 2009775"/>
                <a:gd name="connsiteX119" fmla="*/ 708025 w 1412394"/>
                <a:gd name="connsiteY119" fmla="*/ 1885950 h 2009775"/>
                <a:gd name="connsiteX120" fmla="*/ 723900 w 1412394"/>
                <a:gd name="connsiteY120" fmla="*/ 1870075 h 2009775"/>
                <a:gd name="connsiteX121" fmla="*/ 730250 w 1412394"/>
                <a:gd name="connsiteY121" fmla="*/ 1841500 h 2009775"/>
                <a:gd name="connsiteX122" fmla="*/ 749300 w 1412394"/>
                <a:gd name="connsiteY122" fmla="*/ 1803400 h 2009775"/>
                <a:gd name="connsiteX123" fmla="*/ 758825 w 1412394"/>
                <a:gd name="connsiteY123" fmla="*/ 1797050 h 2009775"/>
                <a:gd name="connsiteX124" fmla="*/ 768350 w 1412394"/>
                <a:gd name="connsiteY124" fmla="*/ 1793875 h 2009775"/>
                <a:gd name="connsiteX125" fmla="*/ 863600 w 1412394"/>
                <a:gd name="connsiteY125" fmla="*/ 1790700 h 2009775"/>
                <a:gd name="connsiteX126" fmla="*/ 882650 w 1412394"/>
                <a:gd name="connsiteY126" fmla="*/ 1781175 h 2009775"/>
                <a:gd name="connsiteX127" fmla="*/ 885825 w 1412394"/>
                <a:gd name="connsiteY127" fmla="*/ 1771650 h 2009775"/>
                <a:gd name="connsiteX128" fmla="*/ 882650 w 1412394"/>
                <a:gd name="connsiteY128" fmla="*/ 1755775 h 2009775"/>
                <a:gd name="connsiteX129" fmla="*/ 869950 w 1412394"/>
                <a:gd name="connsiteY129" fmla="*/ 1752600 h 2009775"/>
                <a:gd name="connsiteX130" fmla="*/ 860425 w 1412394"/>
                <a:gd name="connsiteY130" fmla="*/ 1743075 h 2009775"/>
                <a:gd name="connsiteX131" fmla="*/ 850900 w 1412394"/>
                <a:gd name="connsiteY131" fmla="*/ 1736725 h 2009775"/>
                <a:gd name="connsiteX132" fmla="*/ 844550 w 1412394"/>
                <a:gd name="connsiteY132" fmla="*/ 1727200 h 2009775"/>
                <a:gd name="connsiteX133" fmla="*/ 835025 w 1412394"/>
                <a:gd name="connsiteY133" fmla="*/ 1720850 h 2009775"/>
                <a:gd name="connsiteX134" fmla="*/ 831850 w 1412394"/>
                <a:gd name="connsiteY134" fmla="*/ 1711325 h 2009775"/>
                <a:gd name="connsiteX135" fmla="*/ 822325 w 1412394"/>
                <a:gd name="connsiteY135" fmla="*/ 1701800 h 2009775"/>
                <a:gd name="connsiteX136" fmla="*/ 812800 w 1412394"/>
                <a:gd name="connsiteY136" fmla="*/ 1682750 h 2009775"/>
                <a:gd name="connsiteX137" fmla="*/ 809625 w 1412394"/>
                <a:gd name="connsiteY137" fmla="*/ 1673225 h 2009775"/>
                <a:gd name="connsiteX138" fmla="*/ 838200 w 1412394"/>
                <a:gd name="connsiteY138" fmla="*/ 1654175 h 2009775"/>
                <a:gd name="connsiteX139" fmla="*/ 847725 w 1412394"/>
                <a:gd name="connsiteY139" fmla="*/ 1647825 h 2009775"/>
                <a:gd name="connsiteX140" fmla="*/ 857250 w 1412394"/>
                <a:gd name="connsiteY140" fmla="*/ 1641475 h 2009775"/>
                <a:gd name="connsiteX141" fmla="*/ 863600 w 1412394"/>
                <a:gd name="connsiteY141" fmla="*/ 1631950 h 2009775"/>
                <a:gd name="connsiteX142" fmla="*/ 873125 w 1412394"/>
                <a:gd name="connsiteY142" fmla="*/ 1625600 h 2009775"/>
                <a:gd name="connsiteX143" fmla="*/ 876300 w 1412394"/>
                <a:gd name="connsiteY143" fmla="*/ 1492250 h 2009775"/>
                <a:gd name="connsiteX144" fmla="*/ 879475 w 1412394"/>
                <a:gd name="connsiteY144" fmla="*/ 1470025 h 2009775"/>
                <a:gd name="connsiteX145" fmla="*/ 882650 w 1412394"/>
                <a:gd name="connsiteY145" fmla="*/ 1457325 h 2009775"/>
                <a:gd name="connsiteX146" fmla="*/ 901700 w 1412394"/>
                <a:gd name="connsiteY146" fmla="*/ 1444625 h 2009775"/>
                <a:gd name="connsiteX147" fmla="*/ 917575 w 1412394"/>
                <a:gd name="connsiteY147" fmla="*/ 1428750 h 2009775"/>
                <a:gd name="connsiteX148" fmla="*/ 933450 w 1412394"/>
                <a:gd name="connsiteY148" fmla="*/ 1412875 h 2009775"/>
                <a:gd name="connsiteX149" fmla="*/ 933450 w 1412394"/>
                <a:gd name="connsiteY149" fmla="*/ 1358900 h 2009775"/>
                <a:gd name="connsiteX150" fmla="*/ 930275 w 1412394"/>
                <a:gd name="connsiteY150" fmla="*/ 1349375 h 2009775"/>
                <a:gd name="connsiteX151" fmla="*/ 920750 w 1412394"/>
                <a:gd name="connsiteY151" fmla="*/ 1339850 h 2009775"/>
                <a:gd name="connsiteX152" fmla="*/ 911225 w 1412394"/>
                <a:gd name="connsiteY152" fmla="*/ 1327150 h 2009775"/>
                <a:gd name="connsiteX153" fmla="*/ 908050 w 1412394"/>
                <a:gd name="connsiteY153" fmla="*/ 1317625 h 2009775"/>
                <a:gd name="connsiteX154" fmla="*/ 901700 w 1412394"/>
                <a:gd name="connsiteY154" fmla="*/ 1304925 h 2009775"/>
                <a:gd name="connsiteX155" fmla="*/ 908050 w 1412394"/>
                <a:gd name="connsiteY155" fmla="*/ 1270000 h 2009775"/>
                <a:gd name="connsiteX156" fmla="*/ 914400 w 1412394"/>
                <a:gd name="connsiteY156" fmla="*/ 1260475 h 2009775"/>
                <a:gd name="connsiteX157" fmla="*/ 923925 w 1412394"/>
                <a:gd name="connsiteY157" fmla="*/ 1257300 h 2009775"/>
                <a:gd name="connsiteX158" fmla="*/ 936625 w 1412394"/>
                <a:gd name="connsiteY158" fmla="*/ 1244600 h 2009775"/>
                <a:gd name="connsiteX159" fmla="*/ 955675 w 1412394"/>
                <a:gd name="connsiteY159" fmla="*/ 1228725 h 2009775"/>
                <a:gd name="connsiteX160" fmla="*/ 1000125 w 1412394"/>
                <a:gd name="connsiteY160" fmla="*/ 1216025 h 2009775"/>
                <a:gd name="connsiteX161" fmla="*/ 1009650 w 1412394"/>
                <a:gd name="connsiteY161" fmla="*/ 1212850 h 2009775"/>
                <a:gd name="connsiteX162" fmla="*/ 1028700 w 1412394"/>
                <a:gd name="connsiteY162" fmla="*/ 1200150 h 2009775"/>
                <a:gd name="connsiteX163" fmla="*/ 1047750 w 1412394"/>
                <a:gd name="connsiteY163" fmla="*/ 1181100 h 2009775"/>
                <a:gd name="connsiteX164" fmla="*/ 1066800 w 1412394"/>
                <a:gd name="connsiteY164" fmla="*/ 1193800 h 2009775"/>
                <a:gd name="connsiteX165" fmla="*/ 1076325 w 1412394"/>
                <a:gd name="connsiteY165" fmla="*/ 1196975 h 2009775"/>
                <a:gd name="connsiteX166" fmla="*/ 1085850 w 1412394"/>
                <a:gd name="connsiteY166" fmla="*/ 1235075 h 2009775"/>
                <a:gd name="connsiteX167" fmla="*/ 1089025 w 1412394"/>
                <a:gd name="connsiteY167" fmla="*/ 1244600 h 2009775"/>
                <a:gd name="connsiteX168" fmla="*/ 1104900 w 1412394"/>
                <a:gd name="connsiteY168" fmla="*/ 1247775 h 2009775"/>
                <a:gd name="connsiteX169" fmla="*/ 1123950 w 1412394"/>
                <a:gd name="connsiteY169" fmla="*/ 1244600 h 2009775"/>
                <a:gd name="connsiteX170" fmla="*/ 1136650 w 1412394"/>
                <a:gd name="connsiteY170" fmla="*/ 1184275 h 2009775"/>
                <a:gd name="connsiteX171" fmla="*/ 1146175 w 1412394"/>
                <a:gd name="connsiteY171" fmla="*/ 1165225 h 2009775"/>
                <a:gd name="connsiteX172" fmla="*/ 1158875 w 1412394"/>
                <a:gd name="connsiteY172" fmla="*/ 1149350 h 2009775"/>
                <a:gd name="connsiteX173" fmla="*/ 1171575 w 1412394"/>
                <a:gd name="connsiteY173" fmla="*/ 1130300 h 2009775"/>
                <a:gd name="connsiteX174" fmla="*/ 1177925 w 1412394"/>
                <a:gd name="connsiteY174" fmla="*/ 1111250 h 2009775"/>
                <a:gd name="connsiteX175" fmla="*/ 1187450 w 1412394"/>
                <a:gd name="connsiteY175" fmla="*/ 1092200 h 2009775"/>
                <a:gd name="connsiteX176" fmla="*/ 1193800 w 1412394"/>
                <a:gd name="connsiteY176" fmla="*/ 1082675 h 2009775"/>
                <a:gd name="connsiteX177" fmla="*/ 1196975 w 1412394"/>
                <a:gd name="connsiteY177" fmla="*/ 1073150 h 2009775"/>
                <a:gd name="connsiteX178" fmla="*/ 1203325 w 1412394"/>
                <a:gd name="connsiteY178" fmla="*/ 1063625 h 2009775"/>
                <a:gd name="connsiteX179" fmla="*/ 1209675 w 1412394"/>
                <a:gd name="connsiteY179" fmla="*/ 1044575 h 2009775"/>
                <a:gd name="connsiteX180" fmla="*/ 1212850 w 1412394"/>
                <a:gd name="connsiteY180" fmla="*/ 1035050 h 2009775"/>
                <a:gd name="connsiteX181" fmla="*/ 1216025 w 1412394"/>
                <a:gd name="connsiteY181" fmla="*/ 1009650 h 2009775"/>
                <a:gd name="connsiteX182" fmla="*/ 1244600 w 1412394"/>
                <a:gd name="connsiteY182" fmla="*/ 1016000 h 2009775"/>
                <a:gd name="connsiteX183" fmla="*/ 1254125 w 1412394"/>
                <a:gd name="connsiteY183" fmla="*/ 1022350 h 2009775"/>
                <a:gd name="connsiteX184" fmla="*/ 1270000 w 1412394"/>
                <a:gd name="connsiteY184" fmla="*/ 1025525 h 2009775"/>
                <a:gd name="connsiteX185" fmla="*/ 1298575 w 1412394"/>
                <a:gd name="connsiteY185" fmla="*/ 1038225 h 2009775"/>
                <a:gd name="connsiteX186" fmla="*/ 1317625 w 1412394"/>
                <a:gd name="connsiteY186" fmla="*/ 1047750 h 2009775"/>
                <a:gd name="connsiteX187" fmla="*/ 1323975 w 1412394"/>
                <a:gd name="connsiteY187" fmla="*/ 1057275 h 2009775"/>
                <a:gd name="connsiteX188" fmla="*/ 1352550 w 1412394"/>
                <a:gd name="connsiteY188" fmla="*/ 1044575 h 2009775"/>
                <a:gd name="connsiteX189" fmla="*/ 1365250 w 1412394"/>
                <a:gd name="connsiteY189" fmla="*/ 1003300 h 2009775"/>
                <a:gd name="connsiteX190" fmla="*/ 1374775 w 1412394"/>
                <a:gd name="connsiteY190" fmla="*/ 1000125 h 2009775"/>
                <a:gd name="connsiteX191" fmla="*/ 1387475 w 1412394"/>
                <a:gd name="connsiteY191" fmla="*/ 981075 h 2009775"/>
                <a:gd name="connsiteX192" fmla="*/ 1384300 w 1412394"/>
                <a:gd name="connsiteY192" fmla="*/ 971550 h 2009775"/>
                <a:gd name="connsiteX193" fmla="*/ 1381125 w 1412394"/>
                <a:gd name="connsiteY193" fmla="*/ 958850 h 2009775"/>
                <a:gd name="connsiteX194" fmla="*/ 1362075 w 1412394"/>
                <a:gd name="connsiteY194" fmla="*/ 946150 h 2009775"/>
                <a:gd name="connsiteX195" fmla="*/ 1352550 w 1412394"/>
                <a:gd name="connsiteY195" fmla="*/ 939800 h 2009775"/>
                <a:gd name="connsiteX196" fmla="*/ 1343025 w 1412394"/>
                <a:gd name="connsiteY196" fmla="*/ 933450 h 2009775"/>
                <a:gd name="connsiteX197" fmla="*/ 1333500 w 1412394"/>
                <a:gd name="connsiteY197" fmla="*/ 927100 h 2009775"/>
                <a:gd name="connsiteX198" fmla="*/ 1330325 w 1412394"/>
                <a:gd name="connsiteY198" fmla="*/ 917575 h 2009775"/>
                <a:gd name="connsiteX199" fmla="*/ 1352550 w 1412394"/>
                <a:gd name="connsiteY199" fmla="*/ 895350 h 2009775"/>
                <a:gd name="connsiteX200" fmla="*/ 1368425 w 1412394"/>
                <a:gd name="connsiteY200" fmla="*/ 876300 h 2009775"/>
                <a:gd name="connsiteX201" fmla="*/ 1371600 w 1412394"/>
                <a:gd name="connsiteY201" fmla="*/ 866775 h 2009775"/>
                <a:gd name="connsiteX202" fmla="*/ 1355725 w 1412394"/>
                <a:gd name="connsiteY202" fmla="*/ 850900 h 2009775"/>
                <a:gd name="connsiteX203" fmla="*/ 1336675 w 1412394"/>
                <a:gd name="connsiteY203" fmla="*/ 838200 h 2009775"/>
                <a:gd name="connsiteX204" fmla="*/ 1298575 w 1412394"/>
                <a:gd name="connsiteY204" fmla="*/ 835025 h 2009775"/>
                <a:gd name="connsiteX205" fmla="*/ 1285875 w 1412394"/>
                <a:gd name="connsiteY205" fmla="*/ 822325 h 2009775"/>
                <a:gd name="connsiteX206" fmla="*/ 1289050 w 1412394"/>
                <a:gd name="connsiteY206" fmla="*/ 692150 h 2009775"/>
                <a:gd name="connsiteX207" fmla="*/ 1308100 w 1412394"/>
                <a:gd name="connsiteY207" fmla="*/ 679450 h 2009775"/>
                <a:gd name="connsiteX208" fmla="*/ 1314450 w 1412394"/>
                <a:gd name="connsiteY208" fmla="*/ 669925 h 2009775"/>
                <a:gd name="connsiteX209" fmla="*/ 1333500 w 1412394"/>
                <a:gd name="connsiteY209" fmla="*/ 657225 h 2009775"/>
                <a:gd name="connsiteX210" fmla="*/ 1343025 w 1412394"/>
                <a:gd name="connsiteY210" fmla="*/ 647700 h 2009775"/>
                <a:gd name="connsiteX211" fmla="*/ 1346200 w 1412394"/>
                <a:gd name="connsiteY211" fmla="*/ 638175 h 2009775"/>
                <a:gd name="connsiteX212" fmla="*/ 1346200 w 1412394"/>
                <a:gd name="connsiteY212" fmla="*/ 498475 h 2009775"/>
                <a:gd name="connsiteX213" fmla="*/ 1333500 w 1412394"/>
                <a:gd name="connsiteY213" fmla="*/ 479425 h 2009775"/>
                <a:gd name="connsiteX214" fmla="*/ 1327150 w 1412394"/>
                <a:gd name="connsiteY214" fmla="*/ 460375 h 2009775"/>
                <a:gd name="connsiteX215" fmla="*/ 1330325 w 1412394"/>
                <a:gd name="connsiteY215" fmla="*/ 384175 h 2009775"/>
                <a:gd name="connsiteX216" fmla="*/ 1343025 w 1412394"/>
                <a:gd name="connsiteY216" fmla="*/ 365125 h 2009775"/>
                <a:gd name="connsiteX217" fmla="*/ 1349375 w 1412394"/>
                <a:gd name="connsiteY217" fmla="*/ 355600 h 2009775"/>
                <a:gd name="connsiteX218" fmla="*/ 1368425 w 1412394"/>
                <a:gd name="connsiteY218" fmla="*/ 342900 h 2009775"/>
                <a:gd name="connsiteX219" fmla="*/ 1390650 w 1412394"/>
                <a:gd name="connsiteY219" fmla="*/ 333375 h 2009775"/>
                <a:gd name="connsiteX220" fmla="*/ 1397000 w 1412394"/>
                <a:gd name="connsiteY220" fmla="*/ 323850 h 2009775"/>
                <a:gd name="connsiteX221" fmla="*/ 1409700 w 1412394"/>
                <a:gd name="connsiteY221" fmla="*/ 311150 h 2009775"/>
                <a:gd name="connsiteX222" fmla="*/ 1406525 w 1412394"/>
                <a:gd name="connsiteY222" fmla="*/ 301625 h 2009775"/>
                <a:gd name="connsiteX223" fmla="*/ 1323975 w 1412394"/>
                <a:gd name="connsiteY223" fmla="*/ 298450 h 2009775"/>
                <a:gd name="connsiteX224" fmla="*/ 1314450 w 1412394"/>
                <a:gd name="connsiteY224" fmla="*/ 292100 h 2009775"/>
                <a:gd name="connsiteX225" fmla="*/ 1304925 w 1412394"/>
                <a:gd name="connsiteY225" fmla="*/ 288925 h 2009775"/>
                <a:gd name="connsiteX226" fmla="*/ 1273175 w 1412394"/>
                <a:gd name="connsiteY226" fmla="*/ 285750 h 2009775"/>
                <a:gd name="connsiteX227" fmla="*/ 1263650 w 1412394"/>
                <a:gd name="connsiteY227" fmla="*/ 282575 h 2009775"/>
                <a:gd name="connsiteX228" fmla="*/ 1244600 w 1412394"/>
                <a:gd name="connsiteY228" fmla="*/ 273050 h 2009775"/>
                <a:gd name="connsiteX229" fmla="*/ 1247775 w 1412394"/>
                <a:gd name="connsiteY229" fmla="*/ 247650 h 2009775"/>
                <a:gd name="connsiteX230" fmla="*/ 1250950 w 1412394"/>
                <a:gd name="connsiteY230" fmla="*/ 234950 h 2009775"/>
                <a:gd name="connsiteX231" fmla="*/ 1260475 w 1412394"/>
                <a:gd name="connsiteY231" fmla="*/ 228600 h 2009775"/>
                <a:gd name="connsiteX232" fmla="*/ 1270000 w 1412394"/>
                <a:gd name="connsiteY232" fmla="*/ 219075 h 2009775"/>
                <a:gd name="connsiteX233" fmla="*/ 1276350 w 1412394"/>
                <a:gd name="connsiteY233" fmla="*/ 209550 h 2009775"/>
                <a:gd name="connsiteX234" fmla="*/ 1282700 w 1412394"/>
                <a:gd name="connsiteY234" fmla="*/ 187325 h 2009775"/>
                <a:gd name="connsiteX235" fmla="*/ 1279525 w 1412394"/>
                <a:gd name="connsiteY235" fmla="*/ 142875 h 2009775"/>
                <a:gd name="connsiteX236" fmla="*/ 1270000 w 1412394"/>
                <a:gd name="connsiteY236" fmla="*/ 130175 h 2009775"/>
                <a:gd name="connsiteX237" fmla="*/ 1238250 w 1412394"/>
                <a:gd name="connsiteY237" fmla="*/ 92075 h 2009775"/>
                <a:gd name="connsiteX238" fmla="*/ 1231900 w 1412394"/>
                <a:gd name="connsiteY238" fmla="*/ 82550 h 2009775"/>
                <a:gd name="connsiteX239" fmla="*/ 1225550 w 1412394"/>
                <a:gd name="connsiteY239" fmla="*/ 63500 h 2009775"/>
                <a:gd name="connsiteX240" fmla="*/ 1219200 w 1412394"/>
                <a:gd name="connsiteY240" fmla="*/ 38100 h 2009775"/>
                <a:gd name="connsiteX241" fmla="*/ 1206500 w 1412394"/>
                <a:gd name="connsiteY241" fmla="*/ 19050 h 2009775"/>
                <a:gd name="connsiteX242" fmla="*/ 1187450 w 1412394"/>
                <a:gd name="connsiteY242" fmla="*/ 0 h 200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Lst>
              <a:rect l="l" t="t" r="r" b="b"/>
              <a:pathLst>
                <a:path w="1412394" h="2009775">
                  <a:moveTo>
                    <a:pt x="0" y="114300"/>
                  </a:moveTo>
                  <a:cubicBezTo>
                    <a:pt x="2117" y="131233"/>
                    <a:pt x="3003" y="148366"/>
                    <a:pt x="6350" y="165100"/>
                  </a:cubicBezTo>
                  <a:cubicBezTo>
                    <a:pt x="7408" y="170392"/>
                    <a:pt x="8105" y="175769"/>
                    <a:pt x="9525" y="180975"/>
                  </a:cubicBezTo>
                  <a:cubicBezTo>
                    <a:pt x="11286" y="187433"/>
                    <a:pt x="15875" y="200025"/>
                    <a:pt x="15875" y="200025"/>
                  </a:cubicBezTo>
                  <a:cubicBezTo>
                    <a:pt x="17533" y="216603"/>
                    <a:pt x="13831" y="229731"/>
                    <a:pt x="25400" y="241300"/>
                  </a:cubicBezTo>
                  <a:cubicBezTo>
                    <a:pt x="28098" y="243998"/>
                    <a:pt x="31750" y="245533"/>
                    <a:pt x="34925" y="247650"/>
                  </a:cubicBezTo>
                  <a:cubicBezTo>
                    <a:pt x="39158" y="254000"/>
                    <a:pt x="45212" y="259460"/>
                    <a:pt x="47625" y="266700"/>
                  </a:cubicBezTo>
                  <a:cubicBezTo>
                    <a:pt x="53213" y="283465"/>
                    <a:pt x="48944" y="273440"/>
                    <a:pt x="63500" y="295275"/>
                  </a:cubicBezTo>
                  <a:cubicBezTo>
                    <a:pt x="65617" y="298450"/>
                    <a:pt x="67152" y="302102"/>
                    <a:pt x="69850" y="304800"/>
                  </a:cubicBezTo>
                  <a:cubicBezTo>
                    <a:pt x="76200" y="311150"/>
                    <a:pt x="83919" y="316378"/>
                    <a:pt x="88900" y="323850"/>
                  </a:cubicBezTo>
                  <a:cubicBezTo>
                    <a:pt x="91017" y="327025"/>
                    <a:pt x="92552" y="330677"/>
                    <a:pt x="95250" y="333375"/>
                  </a:cubicBezTo>
                  <a:cubicBezTo>
                    <a:pt x="103752" y="341877"/>
                    <a:pt x="116134" y="342970"/>
                    <a:pt x="127000" y="346075"/>
                  </a:cubicBezTo>
                  <a:cubicBezTo>
                    <a:pt x="138502" y="349361"/>
                    <a:pt x="135614" y="348643"/>
                    <a:pt x="146050" y="355600"/>
                  </a:cubicBezTo>
                  <a:cubicBezTo>
                    <a:pt x="154347" y="380492"/>
                    <a:pt x="154604" y="377365"/>
                    <a:pt x="146050" y="422275"/>
                  </a:cubicBezTo>
                  <a:cubicBezTo>
                    <a:pt x="145210" y="426686"/>
                    <a:pt x="139282" y="428256"/>
                    <a:pt x="136525" y="431800"/>
                  </a:cubicBezTo>
                  <a:cubicBezTo>
                    <a:pt x="131840" y="437824"/>
                    <a:pt x="126238" y="443610"/>
                    <a:pt x="123825" y="450850"/>
                  </a:cubicBezTo>
                  <a:cubicBezTo>
                    <a:pt x="119443" y="463995"/>
                    <a:pt x="123435" y="458519"/>
                    <a:pt x="111125" y="466725"/>
                  </a:cubicBezTo>
                  <a:cubicBezTo>
                    <a:pt x="79498" y="514165"/>
                    <a:pt x="101761" y="473512"/>
                    <a:pt x="95250" y="584200"/>
                  </a:cubicBezTo>
                  <a:cubicBezTo>
                    <a:pt x="95053" y="587541"/>
                    <a:pt x="94130" y="591083"/>
                    <a:pt x="92075" y="593725"/>
                  </a:cubicBezTo>
                  <a:cubicBezTo>
                    <a:pt x="86562" y="600814"/>
                    <a:pt x="73025" y="612775"/>
                    <a:pt x="73025" y="612775"/>
                  </a:cubicBezTo>
                  <a:lnTo>
                    <a:pt x="63500" y="641350"/>
                  </a:lnTo>
                  <a:lnTo>
                    <a:pt x="60325" y="650875"/>
                  </a:lnTo>
                  <a:cubicBezTo>
                    <a:pt x="61383" y="679450"/>
                    <a:pt x="61659" y="708065"/>
                    <a:pt x="63500" y="736600"/>
                  </a:cubicBezTo>
                  <a:cubicBezTo>
                    <a:pt x="63781" y="740955"/>
                    <a:pt x="64510" y="745511"/>
                    <a:pt x="66675" y="749300"/>
                  </a:cubicBezTo>
                  <a:cubicBezTo>
                    <a:pt x="70825" y="756563"/>
                    <a:pt x="77710" y="760855"/>
                    <a:pt x="85725" y="762000"/>
                  </a:cubicBezTo>
                  <a:cubicBezTo>
                    <a:pt x="97297" y="763653"/>
                    <a:pt x="109008" y="764117"/>
                    <a:pt x="120650" y="765175"/>
                  </a:cubicBezTo>
                  <a:cubicBezTo>
                    <a:pt x="119592" y="774700"/>
                    <a:pt x="119799" y="784453"/>
                    <a:pt x="117475" y="793750"/>
                  </a:cubicBezTo>
                  <a:cubicBezTo>
                    <a:pt x="115661" y="801007"/>
                    <a:pt x="107648" y="806601"/>
                    <a:pt x="101600" y="809625"/>
                  </a:cubicBezTo>
                  <a:cubicBezTo>
                    <a:pt x="98607" y="811122"/>
                    <a:pt x="95001" y="811175"/>
                    <a:pt x="92075" y="812800"/>
                  </a:cubicBezTo>
                  <a:cubicBezTo>
                    <a:pt x="59323" y="830996"/>
                    <a:pt x="85053" y="821491"/>
                    <a:pt x="63500" y="828675"/>
                  </a:cubicBezTo>
                  <a:cubicBezTo>
                    <a:pt x="60325" y="831850"/>
                    <a:pt x="57874" y="835972"/>
                    <a:pt x="53975" y="838200"/>
                  </a:cubicBezTo>
                  <a:cubicBezTo>
                    <a:pt x="48985" y="841051"/>
                    <a:pt x="19921" y="844426"/>
                    <a:pt x="19050" y="844550"/>
                  </a:cubicBezTo>
                  <a:cubicBezTo>
                    <a:pt x="15875" y="845608"/>
                    <a:pt x="11892" y="845358"/>
                    <a:pt x="9525" y="847725"/>
                  </a:cubicBezTo>
                  <a:cubicBezTo>
                    <a:pt x="3175" y="854075"/>
                    <a:pt x="7408" y="860425"/>
                    <a:pt x="9525" y="866775"/>
                  </a:cubicBezTo>
                  <a:cubicBezTo>
                    <a:pt x="10583" y="877358"/>
                    <a:pt x="10308" y="888161"/>
                    <a:pt x="12700" y="898525"/>
                  </a:cubicBezTo>
                  <a:cubicBezTo>
                    <a:pt x="13558" y="902243"/>
                    <a:pt x="17343" y="904637"/>
                    <a:pt x="19050" y="908050"/>
                  </a:cubicBezTo>
                  <a:cubicBezTo>
                    <a:pt x="20547" y="911043"/>
                    <a:pt x="21167" y="914400"/>
                    <a:pt x="22225" y="917575"/>
                  </a:cubicBezTo>
                  <a:cubicBezTo>
                    <a:pt x="23283" y="930275"/>
                    <a:pt x="23911" y="943018"/>
                    <a:pt x="25400" y="955675"/>
                  </a:cubicBezTo>
                  <a:cubicBezTo>
                    <a:pt x="26031" y="961034"/>
                    <a:pt x="25898" y="966865"/>
                    <a:pt x="28575" y="971550"/>
                  </a:cubicBezTo>
                  <a:cubicBezTo>
                    <a:pt x="30468" y="974863"/>
                    <a:pt x="34925" y="975783"/>
                    <a:pt x="38100" y="977900"/>
                  </a:cubicBezTo>
                  <a:cubicBezTo>
                    <a:pt x="43392" y="976842"/>
                    <a:pt x="48769" y="976145"/>
                    <a:pt x="53975" y="974725"/>
                  </a:cubicBezTo>
                  <a:cubicBezTo>
                    <a:pt x="60433" y="972964"/>
                    <a:pt x="73025" y="968375"/>
                    <a:pt x="73025" y="968375"/>
                  </a:cubicBezTo>
                  <a:cubicBezTo>
                    <a:pt x="81492" y="969433"/>
                    <a:pt x="90009" y="970147"/>
                    <a:pt x="98425" y="971550"/>
                  </a:cubicBezTo>
                  <a:cubicBezTo>
                    <a:pt x="102729" y="972267"/>
                    <a:pt x="106795" y="974184"/>
                    <a:pt x="111125" y="974725"/>
                  </a:cubicBezTo>
                  <a:cubicBezTo>
                    <a:pt x="123771" y="976306"/>
                    <a:pt x="136525" y="976842"/>
                    <a:pt x="149225" y="977900"/>
                  </a:cubicBezTo>
                  <a:cubicBezTo>
                    <a:pt x="155575" y="980017"/>
                    <a:pt x="164562" y="978681"/>
                    <a:pt x="168275" y="984250"/>
                  </a:cubicBezTo>
                  <a:cubicBezTo>
                    <a:pt x="176742" y="996950"/>
                    <a:pt x="171450" y="991658"/>
                    <a:pt x="184150" y="1000125"/>
                  </a:cubicBezTo>
                  <a:cubicBezTo>
                    <a:pt x="186267" y="1003300"/>
                    <a:pt x="188793" y="1006237"/>
                    <a:pt x="190500" y="1009650"/>
                  </a:cubicBezTo>
                  <a:cubicBezTo>
                    <a:pt x="194973" y="1018596"/>
                    <a:pt x="194362" y="1034221"/>
                    <a:pt x="206375" y="1038225"/>
                  </a:cubicBezTo>
                  <a:lnTo>
                    <a:pt x="215900" y="1041400"/>
                  </a:lnTo>
                  <a:cubicBezTo>
                    <a:pt x="220133" y="1044575"/>
                    <a:pt x="224582" y="1047481"/>
                    <a:pt x="228600" y="1050925"/>
                  </a:cubicBezTo>
                  <a:cubicBezTo>
                    <a:pt x="232009" y="1053847"/>
                    <a:pt x="234581" y="1057693"/>
                    <a:pt x="238125" y="1060450"/>
                  </a:cubicBezTo>
                  <a:cubicBezTo>
                    <a:pt x="244149" y="1065135"/>
                    <a:pt x="250825" y="1068917"/>
                    <a:pt x="257175" y="1073150"/>
                  </a:cubicBezTo>
                  <a:lnTo>
                    <a:pt x="266700" y="1079500"/>
                  </a:lnTo>
                  <a:cubicBezTo>
                    <a:pt x="268817" y="1082675"/>
                    <a:pt x="273050" y="1085209"/>
                    <a:pt x="273050" y="1089025"/>
                  </a:cubicBezTo>
                  <a:cubicBezTo>
                    <a:pt x="273050" y="1095718"/>
                    <a:pt x="266700" y="1108075"/>
                    <a:pt x="266700" y="1108075"/>
                  </a:cubicBezTo>
                  <a:cubicBezTo>
                    <a:pt x="265642" y="1122892"/>
                    <a:pt x="266927" y="1138065"/>
                    <a:pt x="263525" y="1152525"/>
                  </a:cubicBezTo>
                  <a:cubicBezTo>
                    <a:pt x="262497" y="1156896"/>
                    <a:pt x="256757" y="1158506"/>
                    <a:pt x="254000" y="1162050"/>
                  </a:cubicBezTo>
                  <a:cubicBezTo>
                    <a:pt x="241263" y="1178426"/>
                    <a:pt x="242915" y="1176254"/>
                    <a:pt x="238125" y="1190625"/>
                  </a:cubicBezTo>
                  <a:cubicBezTo>
                    <a:pt x="239183" y="1199092"/>
                    <a:pt x="239231" y="1207747"/>
                    <a:pt x="241300" y="1216025"/>
                  </a:cubicBezTo>
                  <a:cubicBezTo>
                    <a:pt x="242911" y="1222470"/>
                    <a:pt x="250221" y="1232581"/>
                    <a:pt x="254000" y="1238250"/>
                  </a:cubicBezTo>
                  <a:cubicBezTo>
                    <a:pt x="258233" y="1237192"/>
                    <a:pt x="262689" y="1236794"/>
                    <a:pt x="266700" y="1235075"/>
                  </a:cubicBezTo>
                  <a:cubicBezTo>
                    <a:pt x="270207" y="1233572"/>
                    <a:pt x="272425" y="1229070"/>
                    <a:pt x="276225" y="1228725"/>
                  </a:cubicBezTo>
                  <a:cubicBezTo>
                    <a:pt x="284723" y="1227952"/>
                    <a:pt x="293158" y="1230842"/>
                    <a:pt x="301625" y="1231900"/>
                  </a:cubicBezTo>
                  <a:cubicBezTo>
                    <a:pt x="304800" y="1232958"/>
                    <a:pt x="308537" y="1232984"/>
                    <a:pt x="311150" y="1235075"/>
                  </a:cubicBezTo>
                  <a:cubicBezTo>
                    <a:pt x="323307" y="1244801"/>
                    <a:pt x="318138" y="1264911"/>
                    <a:pt x="314325" y="1276350"/>
                  </a:cubicBezTo>
                  <a:cubicBezTo>
                    <a:pt x="313118" y="1279970"/>
                    <a:pt x="307975" y="1280583"/>
                    <a:pt x="304800" y="1282700"/>
                  </a:cubicBezTo>
                  <a:lnTo>
                    <a:pt x="292100" y="1301750"/>
                  </a:lnTo>
                  <a:cubicBezTo>
                    <a:pt x="289983" y="1304925"/>
                    <a:pt x="286957" y="1307655"/>
                    <a:pt x="285750" y="1311275"/>
                  </a:cubicBezTo>
                  <a:lnTo>
                    <a:pt x="282575" y="1320800"/>
                  </a:lnTo>
                  <a:cubicBezTo>
                    <a:pt x="281517" y="1335617"/>
                    <a:pt x="283003" y="1350839"/>
                    <a:pt x="279400" y="1365250"/>
                  </a:cubicBezTo>
                  <a:cubicBezTo>
                    <a:pt x="274593" y="1384476"/>
                    <a:pt x="267003" y="1383220"/>
                    <a:pt x="254000" y="1390650"/>
                  </a:cubicBezTo>
                  <a:cubicBezTo>
                    <a:pt x="250687" y="1392543"/>
                    <a:pt x="247650" y="1394883"/>
                    <a:pt x="244475" y="1397000"/>
                  </a:cubicBezTo>
                  <a:cubicBezTo>
                    <a:pt x="247650" y="1399117"/>
                    <a:pt x="250282" y="1402492"/>
                    <a:pt x="254000" y="1403350"/>
                  </a:cubicBezTo>
                  <a:cubicBezTo>
                    <a:pt x="264364" y="1405742"/>
                    <a:pt x="275238" y="1404908"/>
                    <a:pt x="285750" y="1406525"/>
                  </a:cubicBezTo>
                  <a:cubicBezTo>
                    <a:pt x="289058" y="1407034"/>
                    <a:pt x="292100" y="1408642"/>
                    <a:pt x="295275" y="1409700"/>
                  </a:cubicBezTo>
                  <a:cubicBezTo>
                    <a:pt x="302365" y="1430969"/>
                    <a:pt x="295549" y="1408303"/>
                    <a:pt x="301625" y="1447800"/>
                  </a:cubicBezTo>
                  <a:cubicBezTo>
                    <a:pt x="302289" y="1452113"/>
                    <a:pt x="303742" y="1456267"/>
                    <a:pt x="304800" y="1460500"/>
                  </a:cubicBezTo>
                  <a:cubicBezTo>
                    <a:pt x="305858" y="1470025"/>
                    <a:pt x="306399" y="1479622"/>
                    <a:pt x="307975" y="1489075"/>
                  </a:cubicBezTo>
                  <a:cubicBezTo>
                    <a:pt x="308525" y="1492376"/>
                    <a:pt x="311150" y="1495253"/>
                    <a:pt x="311150" y="1498600"/>
                  </a:cubicBezTo>
                  <a:cubicBezTo>
                    <a:pt x="311150" y="1512721"/>
                    <a:pt x="311859" y="1526466"/>
                    <a:pt x="301625" y="1536700"/>
                  </a:cubicBezTo>
                  <a:cubicBezTo>
                    <a:pt x="298927" y="1539398"/>
                    <a:pt x="295275" y="1540933"/>
                    <a:pt x="292100" y="1543050"/>
                  </a:cubicBezTo>
                  <a:cubicBezTo>
                    <a:pt x="291042" y="1546225"/>
                    <a:pt x="288925" y="1549228"/>
                    <a:pt x="288925" y="1552575"/>
                  </a:cubicBezTo>
                  <a:cubicBezTo>
                    <a:pt x="288925" y="1568022"/>
                    <a:pt x="292993" y="1569641"/>
                    <a:pt x="301625" y="1581150"/>
                  </a:cubicBezTo>
                  <a:cubicBezTo>
                    <a:pt x="302683" y="1584325"/>
                    <a:pt x="303175" y="1587749"/>
                    <a:pt x="304800" y="1590675"/>
                  </a:cubicBezTo>
                  <a:cubicBezTo>
                    <a:pt x="326948" y="1630541"/>
                    <a:pt x="325559" y="1610397"/>
                    <a:pt x="393700" y="1616075"/>
                  </a:cubicBezTo>
                  <a:cubicBezTo>
                    <a:pt x="396875" y="1618192"/>
                    <a:pt x="400527" y="1619727"/>
                    <a:pt x="403225" y="1622425"/>
                  </a:cubicBezTo>
                  <a:cubicBezTo>
                    <a:pt x="405923" y="1625123"/>
                    <a:pt x="406703" y="1629437"/>
                    <a:pt x="409575" y="1631950"/>
                  </a:cubicBezTo>
                  <a:cubicBezTo>
                    <a:pt x="423012" y="1643707"/>
                    <a:pt x="425068" y="1643464"/>
                    <a:pt x="438150" y="1647825"/>
                  </a:cubicBezTo>
                  <a:cubicBezTo>
                    <a:pt x="441325" y="1652058"/>
                    <a:pt x="443933" y="1656783"/>
                    <a:pt x="447675" y="1660525"/>
                  </a:cubicBezTo>
                  <a:cubicBezTo>
                    <a:pt x="462036" y="1674886"/>
                    <a:pt x="454194" y="1657857"/>
                    <a:pt x="460375" y="1676400"/>
                  </a:cubicBezTo>
                  <a:cubicBezTo>
                    <a:pt x="462799" y="1707915"/>
                    <a:pt x="460547" y="1708750"/>
                    <a:pt x="466725" y="1730375"/>
                  </a:cubicBezTo>
                  <a:cubicBezTo>
                    <a:pt x="468791" y="1737605"/>
                    <a:pt x="470684" y="1743859"/>
                    <a:pt x="476250" y="1749425"/>
                  </a:cubicBezTo>
                  <a:cubicBezTo>
                    <a:pt x="482405" y="1755580"/>
                    <a:pt x="487553" y="1756368"/>
                    <a:pt x="495300" y="1758950"/>
                  </a:cubicBezTo>
                  <a:cubicBezTo>
                    <a:pt x="497417" y="1762125"/>
                    <a:pt x="499943" y="1765062"/>
                    <a:pt x="501650" y="1768475"/>
                  </a:cubicBezTo>
                  <a:cubicBezTo>
                    <a:pt x="512274" y="1789724"/>
                    <a:pt x="502237" y="1837049"/>
                    <a:pt x="501650" y="1844675"/>
                  </a:cubicBezTo>
                  <a:cubicBezTo>
                    <a:pt x="500752" y="1856343"/>
                    <a:pt x="495728" y="1868790"/>
                    <a:pt x="492125" y="1879600"/>
                  </a:cubicBezTo>
                  <a:cubicBezTo>
                    <a:pt x="491067" y="1882775"/>
                    <a:pt x="490806" y="1886340"/>
                    <a:pt x="488950" y="1889125"/>
                  </a:cubicBezTo>
                  <a:lnTo>
                    <a:pt x="476250" y="1908175"/>
                  </a:lnTo>
                  <a:cubicBezTo>
                    <a:pt x="474133" y="1911350"/>
                    <a:pt x="473075" y="1915583"/>
                    <a:pt x="469900" y="1917700"/>
                  </a:cubicBezTo>
                  <a:cubicBezTo>
                    <a:pt x="466725" y="1919817"/>
                    <a:pt x="463227" y="1921515"/>
                    <a:pt x="460375" y="1924050"/>
                  </a:cubicBezTo>
                  <a:cubicBezTo>
                    <a:pt x="453663" y="1930016"/>
                    <a:pt x="446306" y="1935628"/>
                    <a:pt x="441325" y="1943100"/>
                  </a:cubicBezTo>
                  <a:cubicBezTo>
                    <a:pt x="439208" y="1946275"/>
                    <a:pt x="437673" y="1949927"/>
                    <a:pt x="434975" y="1952625"/>
                  </a:cubicBezTo>
                  <a:cubicBezTo>
                    <a:pt x="432277" y="1955323"/>
                    <a:pt x="428625" y="1956858"/>
                    <a:pt x="425450" y="1958975"/>
                  </a:cubicBezTo>
                  <a:cubicBezTo>
                    <a:pt x="423333" y="1965325"/>
                    <a:pt x="414337" y="1979612"/>
                    <a:pt x="422275" y="1987550"/>
                  </a:cubicBezTo>
                  <a:cubicBezTo>
                    <a:pt x="423790" y="1989065"/>
                    <a:pt x="444394" y="1993876"/>
                    <a:pt x="444500" y="1993900"/>
                  </a:cubicBezTo>
                  <a:cubicBezTo>
                    <a:pt x="449768" y="1995071"/>
                    <a:pt x="455169" y="1995655"/>
                    <a:pt x="460375" y="1997075"/>
                  </a:cubicBezTo>
                  <a:cubicBezTo>
                    <a:pt x="466833" y="1998836"/>
                    <a:pt x="472799" y="2002478"/>
                    <a:pt x="479425" y="2003425"/>
                  </a:cubicBezTo>
                  <a:cubicBezTo>
                    <a:pt x="505970" y="2007217"/>
                    <a:pt x="494390" y="2004785"/>
                    <a:pt x="514350" y="2009775"/>
                  </a:cubicBezTo>
                  <a:cubicBezTo>
                    <a:pt x="549275" y="2008717"/>
                    <a:pt x="584235" y="2008486"/>
                    <a:pt x="619125" y="2006600"/>
                  </a:cubicBezTo>
                  <a:cubicBezTo>
                    <a:pt x="623482" y="2006364"/>
                    <a:pt x="628036" y="2005590"/>
                    <a:pt x="631825" y="2003425"/>
                  </a:cubicBezTo>
                  <a:cubicBezTo>
                    <a:pt x="635724" y="2001197"/>
                    <a:pt x="637901" y="1996775"/>
                    <a:pt x="641350" y="1993900"/>
                  </a:cubicBezTo>
                  <a:cubicBezTo>
                    <a:pt x="644281" y="1991457"/>
                    <a:pt x="647700" y="1989667"/>
                    <a:pt x="650875" y="1987550"/>
                  </a:cubicBezTo>
                  <a:cubicBezTo>
                    <a:pt x="655108" y="1981200"/>
                    <a:pt x="661162" y="1975740"/>
                    <a:pt x="663575" y="1968500"/>
                  </a:cubicBezTo>
                  <a:lnTo>
                    <a:pt x="673100" y="1939925"/>
                  </a:lnTo>
                  <a:cubicBezTo>
                    <a:pt x="674158" y="1936750"/>
                    <a:pt x="674419" y="1933185"/>
                    <a:pt x="676275" y="1930400"/>
                  </a:cubicBezTo>
                  <a:cubicBezTo>
                    <a:pt x="678392" y="1927225"/>
                    <a:pt x="680918" y="1924288"/>
                    <a:pt x="682625" y="1920875"/>
                  </a:cubicBezTo>
                  <a:cubicBezTo>
                    <a:pt x="687790" y="1910546"/>
                    <a:pt x="683051" y="1910924"/>
                    <a:pt x="692150" y="1901825"/>
                  </a:cubicBezTo>
                  <a:cubicBezTo>
                    <a:pt x="694848" y="1899127"/>
                    <a:pt x="698500" y="1897592"/>
                    <a:pt x="701675" y="1895475"/>
                  </a:cubicBezTo>
                  <a:cubicBezTo>
                    <a:pt x="703792" y="1892300"/>
                    <a:pt x="705327" y="1888648"/>
                    <a:pt x="708025" y="1885950"/>
                  </a:cubicBezTo>
                  <a:cubicBezTo>
                    <a:pt x="720725" y="1873250"/>
                    <a:pt x="715433" y="1887008"/>
                    <a:pt x="723900" y="1870075"/>
                  </a:cubicBezTo>
                  <a:cubicBezTo>
                    <a:pt x="728442" y="1860991"/>
                    <a:pt x="727811" y="1851255"/>
                    <a:pt x="730250" y="1841500"/>
                  </a:cubicBezTo>
                  <a:cubicBezTo>
                    <a:pt x="732786" y="1831358"/>
                    <a:pt x="739988" y="1809608"/>
                    <a:pt x="749300" y="1803400"/>
                  </a:cubicBezTo>
                  <a:cubicBezTo>
                    <a:pt x="752475" y="1801283"/>
                    <a:pt x="755412" y="1798757"/>
                    <a:pt x="758825" y="1797050"/>
                  </a:cubicBezTo>
                  <a:cubicBezTo>
                    <a:pt x="761818" y="1795553"/>
                    <a:pt x="765009" y="1794077"/>
                    <a:pt x="768350" y="1793875"/>
                  </a:cubicBezTo>
                  <a:cubicBezTo>
                    <a:pt x="800059" y="1791953"/>
                    <a:pt x="831850" y="1791758"/>
                    <a:pt x="863600" y="1790700"/>
                  </a:cubicBezTo>
                  <a:cubicBezTo>
                    <a:pt x="869875" y="1788608"/>
                    <a:pt x="878174" y="1786770"/>
                    <a:pt x="882650" y="1781175"/>
                  </a:cubicBezTo>
                  <a:cubicBezTo>
                    <a:pt x="884741" y="1778562"/>
                    <a:pt x="884767" y="1774825"/>
                    <a:pt x="885825" y="1771650"/>
                  </a:cubicBezTo>
                  <a:cubicBezTo>
                    <a:pt x="884767" y="1766358"/>
                    <a:pt x="886105" y="1759921"/>
                    <a:pt x="882650" y="1755775"/>
                  </a:cubicBezTo>
                  <a:cubicBezTo>
                    <a:pt x="879856" y="1752423"/>
                    <a:pt x="873739" y="1754765"/>
                    <a:pt x="869950" y="1752600"/>
                  </a:cubicBezTo>
                  <a:cubicBezTo>
                    <a:pt x="866051" y="1750372"/>
                    <a:pt x="863874" y="1745950"/>
                    <a:pt x="860425" y="1743075"/>
                  </a:cubicBezTo>
                  <a:cubicBezTo>
                    <a:pt x="857494" y="1740632"/>
                    <a:pt x="854075" y="1738842"/>
                    <a:pt x="850900" y="1736725"/>
                  </a:cubicBezTo>
                  <a:cubicBezTo>
                    <a:pt x="848783" y="1733550"/>
                    <a:pt x="847248" y="1729898"/>
                    <a:pt x="844550" y="1727200"/>
                  </a:cubicBezTo>
                  <a:cubicBezTo>
                    <a:pt x="841852" y="1724502"/>
                    <a:pt x="837409" y="1723830"/>
                    <a:pt x="835025" y="1720850"/>
                  </a:cubicBezTo>
                  <a:cubicBezTo>
                    <a:pt x="832934" y="1718237"/>
                    <a:pt x="833706" y="1714110"/>
                    <a:pt x="831850" y="1711325"/>
                  </a:cubicBezTo>
                  <a:cubicBezTo>
                    <a:pt x="829359" y="1707589"/>
                    <a:pt x="825500" y="1704975"/>
                    <a:pt x="822325" y="1701800"/>
                  </a:cubicBezTo>
                  <a:cubicBezTo>
                    <a:pt x="814345" y="1677859"/>
                    <a:pt x="825110" y="1707369"/>
                    <a:pt x="812800" y="1682750"/>
                  </a:cubicBezTo>
                  <a:cubicBezTo>
                    <a:pt x="811303" y="1679757"/>
                    <a:pt x="810683" y="1676400"/>
                    <a:pt x="809625" y="1673225"/>
                  </a:cubicBezTo>
                  <a:lnTo>
                    <a:pt x="838200" y="1654175"/>
                  </a:lnTo>
                  <a:lnTo>
                    <a:pt x="847725" y="1647825"/>
                  </a:lnTo>
                  <a:lnTo>
                    <a:pt x="857250" y="1641475"/>
                  </a:lnTo>
                  <a:cubicBezTo>
                    <a:pt x="859367" y="1638300"/>
                    <a:pt x="860902" y="1634648"/>
                    <a:pt x="863600" y="1631950"/>
                  </a:cubicBezTo>
                  <a:cubicBezTo>
                    <a:pt x="866298" y="1629252"/>
                    <a:pt x="872780" y="1629400"/>
                    <a:pt x="873125" y="1625600"/>
                  </a:cubicBezTo>
                  <a:cubicBezTo>
                    <a:pt x="877150" y="1581320"/>
                    <a:pt x="874487" y="1536676"/>
                    <a:pt x="876300" y="1492250"/>
                  </a:cubicBezTo>
                  <a:cubicBezTo>
                    <a:pt x="876605" y="1484773"/>
                    <a:pt x="878136" y="1477388"/>
                    <a:pt x="879475" y="1470025"/>
                  </a:cubicBezTo>
                  <a:cubicBezTo>
                    <a:pt x="880256" y="1465732"/>
                    <a:pt x="879777" y="1460609"/>
                    <a:pt x="882650" y="1457325"/>
                  </a:cubicBezTo>
                  <a:cubicBezTo>
                    <a:pt x="887676" y="1451582"/>
                    <a:pt x="901700" y="1444625"/>
                    <a:pt x="901700" y="1444625"/>
                  </a:cubicBezTo>
                  <a:cubicBezTo>
                    <a:pt x="918633" y="1419225"/>
                    <a:pt x="896408" y="1449917"/>
                    <a:pt x="917575" y="1428750"/>
                  </a:cubicBezTo>
                  <a:cubicBezTo>
                    <a:pt x="938742" y="1407583"/>
                    <a:pt x="908050" y="1429808"/>
                    <a:pt x="933450" y="1412875"/>
                  </a:cubicBezTo>
                  <a:cubicBezTo>
                    <a:pt x="940955" y="1390361"/>
                    <a:pt x="938496" y="1401791"/>
                    <a:pt x="933450" y="1358900"/>
                  </a:cubicBezTo>
                  <a:cubicBezTo>
                    <a:pt x="933059" y="1355576"/>
                    <a:pt x="932131" y="1352160"/>
                    <a:pt x="930275" y="1349375"/>
                  </a:cubicBezTo>
                  <a:cubicBezTo>
                    <a:pt x="927784" y="1345639"/>
                    <a:pt x="923672" y="1343259"/>
                    <a:pt x="920750" y="1339850"/>
                  </a:cubicBezTo>
                  <a:cubicBezTo>
                    <a:pt x="917306" y="1335832"/>
                    <a:pt x="914400" y="1331383"/>
                    <a:pt x="911225" y="1327150"/>
                  </a:cubicBezTo>
                  <a:cubicBezTo>
                    <a:pt x="910167" y="1323975"/>
                    <a:pt x="909368" y="1320701"/>
                    <a:pt x="908050" y="1317625"/>
                  </a:cubicBezTo>
                  <a:cubicBezTo>
                    <a:pt x="906186" y="1313275"/>
                    <a:pt x="902093" y="1309642"/>
                    <a:pt x="901700" y="1304925"/>
                  </a:cubicBezTo>
                  <a:cubicBezTo>
                    <a:pt x="901231" y="1299296"/>
                    <a:pt x="903769" y="1278562"/>
                    <a:pt x="908050" y="1270000"/>
                  </a:cubicBezTo>
                  <a:cubicBezTo>
                    <a:pt x="909757" y="1266587"/>
                    <a:pt x="911420" y="1262859"/>
                    <a:pt x="914400" y="1260475"/>
                  </a:cubicBezTo>
                  <a:cubicBezTo>
                    <a:pt x="917013" y="1258384"/>
                    <a:pt x="920750" y="1258358"/>
                    <a:pt x="923925" y="1257300"/>
                  </a:cubicBezTo>
                  <a:cubicBezTo>
                    <a:pt x="929973" y="1239157"/>
                    <a:pt x="922111" y="1254276"/>
                    <a:pt x="936625" y="1244600"/>
                  </a:cubicBezTo>
                  <a:cubicBezTo>
                    <a:pt x="951579" y="1234631"/>
                    <a:pt x="940093" y="1235650"/>
                    <a:pt x="955675" y="1228725"/>
                  </a:cubicBezTo>
                  <a:cubicBezTo>
                    <a:pt x="974021" y="1220571"/>
                    <a:pt x="979944" y="1222752"/>
                    <a:pt x="1000125" y="1216025"/>
                  </a:cubicBezTo>
                  <a:cubicBezTo>
                    <a:pt x="1003300" y="1214967"/>
                    <a:pt x="1006724" y="1214475"/>
                    <a:pt x="1009650" y="1212850"/>
                  </a:cubicBezTo>
                  <a:cubicBezTo>
                    <a:pt x="1016321" y="1209144"/>
                    <a:pt x="1023304" y="1205546"/>
                    <a:pt x="1028700" y="1200150"/>
                  </a:cubicBezTo>
                  <a:lnTo>
                    <a:pt x="1047750" y="1181100"/>
                  </a:lnTo>
                  <a:cubicBezTo>
                    <a:pt x="1070398" y="1188649"/>
                    <a:pt x="1043017" y="1177945"/>
                    <a:pt x="1066800" y="1193800"/>
                  </a:cubicBezTo>
                  <a:cubicBezTo>
                    <a:pt x="1069585" y="1195656"/>
                    <a:pt x="1073150" y="1195917"/>
                    <a:pt x="1076325" y="1196975"/>
                  </a:cubicBezTo>
                  <a:cubicBezTo>
                    <a:pt x="1088946" y="1215906"/>
                    <a:pt x="1079856" y="1199111"/>
                    <a:pt x="1085850" y="1235075"/>
                  </a:cubicBezTo>
                  <a:cubicBezTo>
                    <a:pt x="1086400" y="1238376"/>
                    <a:pt x="1086240" y="1242744"/>
                    <a:pt x="1089025" y="1244600"/>
                  </a:cubicBezTo>
                  <a:cubicBezTo>
                    <a:pt x="1093515" y="1247593"/>
                    <a:pt x="1099608" y="1246717"/>
                    <a:pt x="1104900" y="1247775"/>
                  </a:cubicBezTo>
                  <a:cubicBezTo>
                    <a:pt x="1111250" y="1246717"/>
                    <a:pt x="1118067" y="1247215"/>
                    <a:pt x="1123950" y="1244600"/>
                  </a:cubicBezTo>
                  <a:cubicBezTo>
                    <a:pt x="1144808" y="1235330"/>
                    <a:pt x="1135704" y="1193262"/>
                    <a:pt x="1136650" y="1184275"/>
                  </a:cubicBezTo>
                  <a:cubicBezTo>
                    <a:pt x="1137714" y="1174166"/>
                    <a:pt x="1141751" y="1174073"/>
                    <a:pt x="1146175" y="1165225"/>
                  </a:cubicBezTo>
                  <a:cubicBezTo>
                    <a:pt x="1153843" y="1149889"/>
                    <a:pt x="1142818" y="1160054"/>
                    <a:pt x="1158875" y="1149350"/>
                  </a:cubicBezTo>
                  <a:cubicBezTo>
                    <a:pt x="1163108" y="1143000"/>
                    <a:pt x="1169162" y="1137540"/>
                    <a:pt x="1171575" y="1130300"/>
                  </a:cubicBezTo>
                  <a:cubicBezTo>
                    <a:pt x="1173692" y="1123950"/>
                    <a:pt x="1174212" y="1116819"/>
                    <a:pt x="1177925" y="1111250"/>
                  </a:cubicBezTo>
                  <a:cubicBezTo>
                    <a:pt x="1196123" y="1083953"/>
                    <a:pt x="1174305" y="1118490"/>
                    <a:pt x="1187450" y="1092200"/>
                  </a:cubicBezTo>
                  <a:cubicBezTo>
                    <a:pt x="1189157" y="1088787"/>
                    <a:pt x="1192093" y="1086088"/>
                    <a:pt x="1193800" y="1082675"/>
                  </a:cubicBezTo>
                  <a:cubicBezTo>
                    <a:pt x="1195297" y="1079682"/>
                    <a:pt x="1195478" y="1076143"/>
                    <a:pt x="1196975" y="1073150"/>
                  </a:cubicBezTo>
                  <a:cubicBezTo>
                    <a:pt x="1198682" y="1069737"/>
                    <a:pt x="1201775" y="1067112"/>
                    <a:pt x="1203325" y="1063625"/>
                  </a:cubicBezTo>
                  <a:cubicBezTo>
                    <a:pt x="1206043" y="1057508"/>
                    <a:pt x="1207558" y="1050925"/>
                    <a:pt x="1209675" y="1044575"/>
                  </a:cubicBezTo>
                  <a:lnTo>
                    <a:pt x="1212850" y="1035050"/>
                  </a:lnTo>
                  <a:cubicBezTo>
                    <a:pt x="1213908" y="1026583"/>
                    <a:pt x="1209992" y="1015683"/>
                    <a:pt x="1216025" y="1009650"/>
                  </a:cubicBezTo>
                  <a:cubicBezTo>
                    <a:pt x="1217651" y="1008024"/>
                    <a:pt x="1239742" y="1013571"/>
                    <a:pt x="1244600" y="1016000"/>
                  </a:cubicBezTo>
                  <a:cubicBezTo>
                    <a:pt x="1248013" y="1017707"/>
                    <a:pt x="1250552" y="1021010"/>
                    <a:pt x="1254125" y="1022350"/>
                  </a:cubicBezTo>
                  <a:cubicBezTo>
                    <a:pt x="1259178" y="1024245"/>
                    <a:pt x="1264794" y="1024105"/>
                    <a:pt x="1270000" y="1025525"/>
                  </a:cubicBezTo>
                  <a:cubicBezTo>
                    <a:pt x="1306041" y="1035354"/>
                    <a:pt x="1275858" y="1026866"/>
                    <a:pt x="1298575" y="1038225"/>
                  </a:cubicBezTo>
                  <a:cubicBezTo>
                    <a:pt x="1324865" y="1051370"/>
                    <a:pt x="1290328" y="1029552"/>
                    <a:pt x="1317625" y="1047750"/>
                  </a:cubicBezTo>
                  <a:cubicBezTo>
                    <a:pt x="1319742" y="1050925"/>
                    <a:pt x="1320250" y="1056447"/>
                    <a:pt x="1323975" y="1057275"/>
                  </a:cubicBezTo>
                  <a:cubicBezTo>
                    <a:pt x="1344465" y="1061828"/>
                    <a:pt x="1344859" y="1056111"/>
                    <a:pt x="1352550" y="1044575"/>
                  </a:cubicBezTo>
                  <a:cubicBezTo>
                    <a:pt x="1354730" y="1022778"/>
                    <a:pt x="1348813" y="1014258"/>
                    <a:pt x="1365250" y="1003300"/>
                  </a:cubicBezTo>
                  <a:cubicBezTo>
                    <a:pt x="1368035" y="1001444"/>
                    <a:pt x="1371600" y="1001183"/>
                    <a:pt x="1374775" y="1000125"/>
                  </a:cubicBezTo>
                  <a:cubicBezTo>
                    <a:pt x="1380502" y="994398"/>
                    <a:pt x="1387475" y="990265"/>
                    <a:pt x="1387475" y="981075"/>
                  </a:cubicBezTo>
                  <a:cubicBezTo>
                    <a:pt x="1387475" y="977728"/>
                    <a:pt x="1385219" y="974768"/>
                    <a:pt x="1384300" y="971550"/>
                  </a:cubicBezTo>
                  <a:cubicBezTo>
                    <a:pt x="1383101" y="967354"/>
                    <a:pt x="1383998" y="962134"/>
                    <a:pt x="1381125" y="958850"/>
                  </a:cubicBezTo>
                  <a:cubicBezTo>
                    <a:pt x="1376099" y="953107"/>
                    <a:pt x="1368425" y="950383"/>
                    <a:pt x="1362075" y="946150"/>
                  </a:cubicBezTo>
                  <a:lnTo>
                    <a:pt x="1352550" y="939800"/>
                  </a:lnTo>
                  <a:lnTo>
                    <a:pt x="1343025" y="933450"/>
                  </a:lnTo>
                  <a:lnTo>
                    <a:pt x="1333500" y="927100"/>
                  </a:lnTo>
                  <a:cubicBezTo>
                    <a:pt x="1332442" y="923925"/>
                    <a:pt x="1329267" y="920750"/>
                    <a:pt x="1330325" y="917575"/>
                  </a:cubicBezTo>
                  <a:cubicBezTo>
                    <a:pt x="1336693" y="898470"/>
                    <a:pt x="1339376" y="899741"/>
                    <a:pt x="1352550" y="895350"/>
                  </a:cubicBezTo>
                  <a:cubicBezTo>
                    <a:pt x="1359572" y="888328"/>
                    <a:pt x="1364005" y="885141"/>
                    <a:pt x="1368425" y="876300"/>
                  </a:cubicBezTo>
                  <a:cubicBezTo>
                    <a:pt x="1369922" y="873307"/>
                    <a:pt x="1370542" y="869950"/>
                    <a:pt x="1371600" y="866775"/>
                  </a:cubicBezTo>
                  <a:cubicBezTo>
                    <a:pt x="1359958" y="849312"/>
                    <a:pt x="1371600" y="864129"/>
                    <a:pt x="1355725" y="850900"/>
                  </a:cubicBezTo>
                  <a:cubicBezTo>
                    <a:pt x="1346286" y="843034"/>
                    <a:pt x="1348632" y="839794"/>
                    <a:pt x="1336675" y="838200"/>
                  </a:cubicBezTo>
                  <a:cubicBezTo>
                    <a:pt x="1324043" y="836516"/>
                    <a:pt x="1311275" y="836083"/>
                    <a:pt x="1298575" y="835025"/>
                  </a:cubicBezTo>
                  <a:cubicBezTo>
                    <a:pt x="1290108" y="832203"/>
                    <a:pt x="1285875" y="833614"/>
                    <a:pt x="1285875" y="822325"/>
                  </a:cubicBezTo>
                  <a:cubicBezTo>
                    <a:pt x="1285875" y="778920"/>
                    <a:pt x="1282378" y="735039"/>
                    <a:pt x="1289050" y="692150"/>
                  </a:cubicBezTo>
                  <a:cubicBezTo>
                    <a:pt x="1290223" y="684609"/>
                    <a:pt x="1308100" y="679450"/>
                    <a:pt x="1308100" y="679450"/>
                  </a:cubicBezTo>
                  <a:cubicBezTo>
                    <a:pt x="1310217" y="676275"/>
                    <a:pt x="1311578" y="672438"/>
                    <a:pt x="1314450" y="669925"/>
                  </a:cubicBezTo>
                  <a:cubicBezTo>
                    <a:pt x="1320193" y="664899"/>
                    <a:pt x="1328104" y="662621"/>
                    <a:pt x="1333500" y="657225"/>
                  </a:cubicBezTo>
                  <a:lnTo>
                    <a:pt x="1343025" y="647700"/>
                  </a:lnTo>
                  <a:cubicBezTo>
                    <a:pt x="1344083" y="644525"/>
                    <a:pt x="1345758" y="641492"/>
                    <a:pt x="1346200" y="638175"/>
                  </a:cubicBezTo>
                  <a:cubicBezTo>
                    <a:pt x="1351802" y="596160"/>
                    <a:pt x="1350802" y="533447"/>
                    <a:pt x="1346200" y="498475"/>
                  </a:cubicBezTo>
                  <a:cubicBezTo>
                    <a:pt x="1345204" y="490908"/>
                    <a:pt x="1335913" y="486665"/>
                    <a:pt x="1333500" y="479425"/>
                  </a:cubicBezTo>
                  <a:lnTo>
                    <a:pt x="1327150" y="460375"/>
                  </a:lnTo>
                  <a:cubicBezTo>
                    <a:pt x="1328208" y="434975"/>
                    <a:pt x="1326146" y="409251"/>
                    <a:pt x="1330325" y="384175"/>
                  </a:cubicBezTo>
                  <a:cubicBezTo>
                    <a:pt x="1331580" y="376647"/>
                    <a:pt x="1338792" y="371475"/>
                    <a:pt x="1343025" y="365125"/>
                  </a:cubicBezTo>
                  <a:cubicBezTo>
                    <a:pt x="1345142" y="361950"/>
                    <a:pt x="1346200" y="357717"/>
                    <a:pt x="1349375" y="355600"/>
                  </a:cubicBezTo>
                  <a:cubicBezTo>
                    <a:pt x="1355725" y="351367"/>
                    <a:pt x="1361185" y="345313"/>
                    <a:pt x="1368425" y="342900"/>
                  </a:cubicBezTo>
                  <a:cubicBezTo>
                    <a:pt x="1382440" y="338228"/>
                    <a:pt x="1374957" y="341222"/>
                    <a:pt x="1390650" y="333375"/>
                  </a:cubicBezTo>
                  <a:cubicBezTo>
                    <a:pt x="1392767" y="330200"/>
                    <a:pt x="1394020" y="326234"/>
                    <a:pt x="1397000" y="323850"/>
                  </a:cubicBezTo>
                  <a:cubicBezTo>
                    <a:pt x="1412394" y="311535"/>
                    <a:pt x="1402773" y="331932"/>
                    <a:pt x="1409700" y="311150"/>
                  </a:cubicBezTo>
                  <a:cubicBezTo>
                    <a:pt x="1408642" y="307975"/>
                    <a:pt x="1409836" y="302115"/>
                    <a:pt x="1406525" y="301625"/>
                  </a:cubicBezTo>
                  <a:cubicBezTo>
                    <a:pt x="1379285" y="297589"/>
                    <a:pt x="1351366" y="301284"/>
                    <a:pt x="1323975" y="298450"/>
                  </a:cubicBezTo>
                  <a:cubicBezTo>
                    <a:pt x="1320179" y="298057"/>
                    <a:pt x="1317863" y="293807"/>
                    <a:pt x="1314450" y="292100"/>
                  </a:cubicBezTo>
                  <a:cubicBezTo>
                    <a:pt x="1311457" y="290603"/>
                    <a:pt x="1308233" y="289434"/>
                    <a:pt x="1304925" y="288925"/>
                  </a:cubicBezTo>
                  <a:cubicBezTo>
                    <a:pt x="1294413" y="287308"/>
                    <a:pt x="1283758" y="286808"/>
                    <a:pt x="1273175" y="285750"/>
                  </a:cubicBezTo>
                  <a:cubicBezTo>
                    <a:pt x="1270000" y="284692"/>
                    <a:pt x="1266643" y="284072"/>
                    <a:pt x="1263650" y="282575"/>
                  </a:cubicBezTo>
                  <a:cubicBezTo>
                    <a:pt x="1239031" y="270265"/>
                    <a:pt x="1268541" y="281030"/>
                    <a:pt x="1244600" y="273050"/>
                  </a:cubicBezTo>
                  <a:cubicBezTo>
                    <a:pt x="1245658" y="264583"/>
                    <a:pt x="1246372" y="256066"/>
                    <a:pt x="1247775" y="247650"/>
                  </a:cubicBezTo>
                  <a:cubicBezTo>
                    <a:pt x="1248492" y="243346"/>
                    <a:pt x="1248529" y="238581"/>
                    <a:pt x="1250950" y="234950"/>
                  </a:cubicBezTo>
                  <a:cubicBezTo>
                    <a:pt x="1253067" y="231775"/>
                    <a:pt x="1257544" y="231043"/>
                    <a:pt x="1260475" y="228600"/>
                  </a:cubicBezTo>
                  <a:cubicBezTo>
                    <a:pt x="1263924" y="225725"/>
                    <a:pt x="1267125" y="222524"/>
                    <a:pt x="1270000" y="219075"/>
                  </a:cubicBezTo>
                  <a:cubicBezTo>
                    <a:pt x="1272443" y="216144"/>
                    <a:pt x="1274643" y="212963"/>
                    <a:pt x="1276350" y="209550"/>
                  </a:cubicBezTo>
                  <a:cubicBezTo>
                    <a:pt x="1278627" y="204995"/>
                    <a:pt x="1281683" y="191394"/>
                    <a:pt x="1282700" y="187325"/>
                  </a:cubicBezTo>
                  <a:cubicBezTo>
                    <a:pt x="1281642" y="172508"/>
                    <a:pt x="1282747" y="157376"/>
                    <a:pt x="1279525" y="142875"/>
                  </a:cubicBezTo>
                  <a:cubicBezTo>
                    <a:pt x="1278377" y="137709"/>
                    <a:pt x="1273540" y="134108"/>
                    <a:pt x="1270000" y="130175"/>
                  </a:cubicBezTo>
                  <a:cubicBezTo>
                    <a:pt x="1238569" y="95251"/>
                    <a:pt x="1261867" y="127501"/>
                    <a:pt x="1238250" y="92075"/>
                  </a:cubicBezTo>
                  <a:cubicBezTo>
                    <a:pt x="1236133" y="88900"/>
                    <a:pt x="1233107" y="86170"/>
                    <a:pt x="1231900" y="82550"/>
                  </a:cubicBezTo>
                  <a:cubicBezTo>
                    <a:pt x="1229783" y="76200"/>
                    <a:pt x="1226863" y="70064"/>
                    <a:pt x="1225550" y="63500"/>
                  </a:cubicBezTo>
                  <a:cubicBezTo>
                    <a:pt x="1224670" y="59102"/>
                    <a:pt x="1222251" y="43592"/>
                    <a:pt x="1219200" y="38100"/>
                  </a:cubicBezTo>
                  <a:cubicBezTo>
                    <a:pt x="1215494" y="31429"/>
                    <a:pt x="1212850" y="23283"/>
                    <a:pt x="1206500" y="19050"/>
                  </a:cubicBezTo>
                  <a:cubicBezTo>
                    <a:pt x="1185689" y="5176"/>
                    <a:pt x="1187450" y="13982"/>
                    <a:pt x="1187450" y="0"/>
                  </a:cubicBezTo>
                </a:path>
              </a:pathLst>
            </a:custGeom>
            <a:grpFill/>
            <a:ln w="12700">
              <a:solidFill>
                <a:schemeClr val="bg1"/>
              </a:solidFill>
              <a:round/>
              <a:headEnd/>
              <a:tailEnd/>
            </a:ln>
          </p:spPr>
          <p:txBody>
            <a:bodyPr/>
            <a:lstStyle/>
            <a:p>
              <a:pPr>
                <a:defRPr/>
              </a:pPr>
              <a:endParaRPr lang="en-GB"/>
            </a:p>
          </p:txBody>
        </p:sp>
      </p:grpSp>
      <p:grpSp>
        <p:nvGrpSpPr>
          <p:cNvPr id="33" name="Group 155"/>
          <p:cNvGrpSpPr/>
          <p:nvPr>
            <p:custDataLst>
              <p:tags r:id="rId4"/>
            </p:custDataLst>
          </p:nvPr>
        </p:nvGrpSpPr>
        <p:grpSpPr bwMode="auto">
          <a:xfrm>
            <a:off x="3050987" y="3227637"/>
            <a:ext cx="1360760" cy="1933491"/>
            <a:chOff x="3200400" y="3226594"/>
            <a:chExt cx="1550194" cy="2202656"/>
          </a:xfrm>
          <a:solidFill>
            <a:schemeClr val="accent3"/>
          </a:solidFill>
        </p:grpSpPr>
        <p:sp>
          <p:nvSpPr>
            <p:cNvPr id="13" name="Freeform 12"/>
            <p:cNvSpPr/>
            <p:nvPr/>
          </p:nvSpPr>
          <p:spPr bwMode="auto">
            <a:xfrm>
              <a:off x="3200400" y="3226594"/>
              <a:ext cx="1550194" cy="1509712"/>
            </a:xfrm>
            <a:custGeom>
              <a:avLst/>
              <a:gdLst>
                <a:gd name="connsiteX0" fmla="*/ 111919 w 1550194"/>
                <a:gd name="connsiteY0" fmla="*/ 1500187 h 1509712"/>
                <a:gd name="connsiteX1" fmla="*/ 109538 w 1550194"/>
                <a:gd name="connsiteY1" fmla="*/ 1469231 h 1509712"/>
                <a:gd name="connsiteX2" fmla="*/ 104775 w 1550194"/>
                <a:gd name="connsiteY2" fmla="*/ 1462087 h 1509712"/>
                <a:gd name="connsiteX3" fmla="*/ 97631 w 1550194"/>
                <a:gd name="connsiteY3" fmla="*/ 1447800 h 1509712"/>
                <a:gd name="connsiteX4" fmla="*/ 100013 w 1550194"/>
                <a:gd name="connsiteY4" fmla="*/ 1423987 h 1509712"/>
                <a:gd name="connsiteX5" fmla="*/ 102394 w 1550194"/>
                <a:gd name="connsiteY5" fmla="*/ 1416844 h 1509712"/>
                <a:gd name="connsiteX6" fmla="*/ 107156 w 1550194"/>
                <a:gd name="connsiteY6" fmla="*/ 1371600 h 1509712"/>
                <a:gd name="connsiteX7" fmla="*/ 111919 w 1550194"/>
                <a:gd name="connsiteY7" fmla="*/ 1364456 h 1509712"/>
                <a:gd name="connsiteX8" fmla="*/ 111919 w 1550194"/>
                <a:gd name="connsiteY8" fmla="*/ 1316831 h 1509712"/>
                <a:gd name="connsiteX9" fmla="*/ 107156 w 1550194"/>
                <a:gd name="connsiteY9" fmla="*/ 1300162 h 1509712"/>
                <a:gd name="connsiteX10" fmla="*/ 102394 w 1550194"/>
                <a:gd name="connsiteY10" fmla="*/ 1293019 h 1509712"/>
                <a:gd name="connsiteX11" fmla="*/ 92869 w 1550194"/>
                <a:gd name="connsiteY11" fmla="*/ 1281112 h 1509712"/>
                <a:gd name="connsiteX12" fmla="*/ 80963 w 1550194"/>
                <a:gd name="connsiteY12" fmla="*/ 1269206 h 1509712"/>
                <a:gd name="connsiteX13" fmla="*/ 66675 w 1550194"/>
                <a:gd name="connsiteY13" fmla="*/ 1257300 h 1509712"/>
                <a:gd name="connsiteX14" fmla="*/ 54769 w 1550194"/>
                <a:gd name="connsiteY14" fmla="*/ 1247775 h 1509712"/>
                <a:gd name="connsiteX15" fmla="*/ 42863 w 1550194"/>
                <a:gd name="connsiteY15" fmla="*/ 1233487 h 1509712"/>
                <a:gd name="connsiteX16" fmla="*/ 35719 w 1550194"/>
                <a:gd name="connsiteY16" fmla="*/ 1228725 h 1509712"/>
                <a:gd name="connsiteX17" fmla="*/ 21431 w 1550194"/>
                <a:gd name="connsiteY17" fmla="*/ 1214437 h 1509712"/>
                <a:gd name="connsiteX18" fmla="*/ 14288 w 1550194"/>
                <a:gd name="connsiteY18" fmla="*/ 1207294 h 1509712"/>
                <a:gd name="connsiteX19" fmla="*/ 7144 w 1550194"/>
                <a:gd name="connsiteY19" fmla="*/ 1202531 h 1509712"/>
                <a:gd name="connsiteX20" fmla="*/ 0 w 1550194"/>
                <a:gd name="connsiteY20" fmla="*/ 1188244 h 1509712"/>
                <a:gd name="connsiteX21" fmla="*/ 2381 w 1550194"/>
                <a:gd name="connsiteY21" fmla="*/ 1173956 h 1509712"/>
                <a:gd name="connsiteX22" fmla="*/ 4763 w 1550194"/>
                <a:gd name="connsiteY22" fmla="*/ 1164431 h 1509712"/>
                <a:gd name="connsiteX23" fmla="*/ 11906 w 1550194"/>
                <a:gd name="connsiteY23" fmla="*/ 1159669 h 1509712"/>
                <a:gd name="connsiteX24" fmla="*/ 16669 w 1550194"/>
                <a:gd name="connsiteY24" fmla="*/ 1150144 h 1509712"/>
                <a:gd name="connsiteX25" fmla="*/ 26194 w 1550194"/>
                <a:gd name="connsiteY25" fmla="*/ 1135856 h 1509712"/>
                <a:gd name="connsiteX26" fmla="*/ 28575 w 1550194"/>
                <a:gd name="connsiteY26" fmla="*/ 1047750 h 1509712"/>
                <a:gd name="connsiteX27" fmla="*/ 35719 w 1550194"/>
                <a:gd name="connsiteY27" fmla="*/ 1019175 h 1509712"/>
                <a:gd name="connsiteX28" fmla="*/ 38100 w 1550194"/>
                <a:gd name="connsiteY28" fmla="*/ 1012031 h 1509712"/>
                <a:gd name="connsiteX29" fmla="*/ 40481 w 1550194"/>
                <a:gd name="connsiteY29" fmla="*/ 1002506 h 1509712"/>
                <a:gd name="connsiteX30" fmla="*/ 47625 w 1550194"/>
                <a:gd name="connsiteY30" fmla="*/ 981075 h 1509712"/>
                <a:gd name="connsiteX31" fmla="*/ 52388 w 1550194"/>
                <a:gd name="connsiteY31" fmla="*/ 966787 h 1509712"/>
                <a:gd name="connsiteX32" fmla="*/ 66675 w 1550194"/>
                <a:gd name="connsiteY32" fmla="*/ 954881 h 1509712"/>
                <a:gd name="connsiteX33" fmla="*/ 69056 w 1550194"/>
                <a:gd name="connsiteY33" fmla="*/ 947737 h 1509712"/>
                <a:gd name="connsiteX34" fmla="*/ 76200 w 1550194"/>
                <a:gd name="connsiteY34" fmla="*/ 942975 h 1509712"/>
                <a:gd name="connsiteX35" fmla="*/ 83344 w 1550194"/>
                <a:gd name="connsiteY35" fmla="*/ 935831 h 1509712"/>
                <a:gd name="connsiteX36" fmla="*/ 92869 w 1550194"/>
                <a:gd name="connsiteY36" fmla="*/ 921544 h 1509712"/>
                <a:gd name="connsiteX37" fmla="*/ 100013 w 1550194"/>
                <a:gd name="connsiteY37" fmla="*/ 904875 h 1509712"/>
                <a:gd name="connsiteX38" fmla="*/ 104775 w 1550194"/>
                <a:gd name="connsiteY38" fmla="*/ 890587 h 1509712"/>
                <a:gd name="connsiteX39" fmla="*/ 107156 w 1550194"/>
                <a:gd name="connsiteY39" fmla="*/ 883444 h 1509712"/>
                <a:gd name="connsiteX40" fmla="*/ 121444 w 1550194"/>
                <a:gd name="connsiteY40" fmla="*/ 873919 h 1509712"/>
                <a:gd name="connsiteX41" fmla="*/ 133350 w 1550194"/>
                <a:gd name="connsiteY41" fmla="*/ 859631 h 1509712"/>
                <a:gd name="connsiteX42" fmla="*/ 142875 w 1550194"/>
                <a:gd name="connsiteY42" fmla="*/ 854869 h 1509712"/>
                <a:gd name="connsiteX43" fmla="*/ 150019 w 1550194"/>
                <a:gd name="connsiteY43" fmla="*/ 850106 h 1509712"/>
                <a:gd name="connsiteX44" fmla="*/ 159544 w 1550194"/>
                <a:gd name="connsiteY44" fmla="*/ 842962 h 1509712"/>
                <a:gd name="connsiteX45" fmla="*/ 169069 w 1550194"/>
                <a:gd name="connsiteY45" fmla="*/ 840581 h 1509712"/>
                <a:gd name="connsiteX46" fmla="*/ 235744 w 1550194"/>
                <a:gd name="connsiteY46" fmla="*/ 838200 h 1509712"/>
                <a:gd name="connsiteX47" fmla="*/ 250031 w 1550194"/>
                <a:gd name="connsiteY47" fmla="*/ 831056 h 1509712"/>
                <a:gd name="connsiteX48" fmla="*/ 257175 w 1550194"/>
                <a:gd name="connsiteY48" fmla="*/ 828675 h 1509712"/>
                <a:gd name="connsiteX49" fmla="*/ 271463 w 1550194"/>
                <a:gd name="connsiteY49" fmla="*/ 819150 h 1509712"/>
                <a:gd name="connsiteX50" fmla="*/ 290513 w 1550194"/>
                <a:gd name="connsiteY50" fmla="*/ 814387 h 1509712"/>
                <a:gd name="connsiteX51" fmla="*/ 304800 w 1550194"/>
                <a:gd name="connsiteY51" fmla="*/ 804862 h 1509712"/>
                <a:gd name="connsiteX52" fmla="*/ 311944 w 1550194"/>
                <a:gd name="connsiteY52" fmla="*/ 797719 h 1509712"/>
                <a:gd name="connsiteX53" fmla="*/ 319088 w 1550194"/>
                <a:gd name="connsiteY53" fmla="*/ 792956 h 1509712"/>
                <a:gd name="connsiteX54" fmla="*/ 330994 w 1550194"/>
                <a:gd name="connsiteY54" fmla="*/ 781050 h 1509712"/>
                <a:gd name="connsiteX55" fmla="*/ 345281 w 1550194"/>
                <a:gd name="connsiteY55" fmla="*/ 771525 h 1509712"/>
                <a:gd name="connsiteX56" fmla="*/ 359569 w 1550194"/>
                <a:gd name="connsiteY56" fmla="*/ 759619 h 1509712"/>
                <a:gd name="connsiteX57" fmla="*/ 366713 w 1550194"/>
                <a:gd name="connsiteY57" fmla="*/ 757237 h 1509712"/>
                <a:gd name="connsiteX58" fmla="*/ 371475 w 1550194"/>
                <a:gd name="connsiteY58" fmla="*/ 750094 h 1509712"/>
                <a:gd name="connsiteX59" fmla="*/ 388144 w 1550194"/>
                <a:gd name="connsiteY59" fmla="*/ 742950 h 1509712"/>
                <a:gd name="connsiteX60" fmla="*/ 402431 w 1550194"/>
                <a:gd name="connsiteY60" fmla="*/ 731044 h 1509712"/>
                <a:gd name="connsiteX61" fmla="*/ 419100 w 1550194"/>
                <a:gd name="connsiteY61" fmla="*/ 723900 h 1509712"/>
                <a:gd name="connsiteX62" fmla="*/ 440531 w 1550194"/>
                <a:gd name="connsiteY62" fmla="*/ 711994 h 1509712"/>
                <a:gd name="connsiteX63" fmla="*/ 461963 w 1550194"/>
                <a:gd name="connsiteY63" fmla="*/ 700087 h 1509712"/>
                <a:gd name="connsiteX64" fmla="*/ 471488 w 1550194"/>
                <a:gd name="connsiteY64" fmla="*/ 697706 h 1509712"/>
                <a:gd name="connsiteX65" fmla="*/ 478631 w 1550194"/>
                <a:gd name="connsiteY65" fmla="*/ 692944 h 1509712"/>
                <a:gd name="connsiteX66" fmla="*/ 495300 w 1550194"/>
                <a:gd name="connsiteY66" fmla="*/ 688181 h 1509712"/>
                <a:gd name="connsiteX67" fmla="*/ 509588 w 1550194"/>
                <a:gd name="connsiteY67" fmla="*/ 676275 h 1509712"/>
                <a:gd name="connsiteX68" fmla="*/ 531019 w 1550194"/>
                <a:gd name="connsiteY68" fmla="*/ 664369 h 1509712"/>
                <a:gd name="connsiteX69" fmla="*/ 535781 w 1550194"/>
                <a:gd name="connsiteY69" fmla="*/ 657225 h 1509712"/>
                <a:gd name="connsiteX70" fmla="*/ 550069 w 1550194"/>
                <a:gd name="connsiteY70" fmla="*/ 647700 h 1509712"/>
                <a:gd name="connsiteX71" fmla="*/ 552450 w 1550194"/>
                <a:gd name="connsiteY71" fmla="*/ 640556 h 1509712"/>
                <a:gd name="connsiteX72" fmla="*/ 566738 w 1550194"/>
                <a:gd name="connsiteY72" fmla="*/ 628650 h 1509712"/>
                <a:gd name="connsiteX73" fmla="*/ 576263 w 1550194"/>
                <a:gd name="connsiteY73" fmla="*/ 614362 h 1509712"/>
                <a:gd name="connsiteX74" fmla="*/ 581025 w 1550194"/>
                <a:gd name="connsiteY74" fmla="*/ 600075 h 1509712"/>
                <a:gd name="connsiteX75" fmla="*/ 578644 w 1550194"/>
                <a:gd name="connsiteY75" fmla="*/ 538162 h 1509712"/>
                <a:gd name="connsiteX76" fmla="*/ 576263 w 1550194"/>
                <a:gd name="connsiteY76" fmla="*/ 531019 h 1509712"/>
                <a:gd name="connsiteX77" fmla="*/ 590550 w 1550194"/>
                <a:gd name="connsiteY77" fmla="*/ 523875 h 1509712"/>
                <a:gd name="connsiteX78" fmla="*/ 595313 w 1550194"/>
                <a:gd name="connsiteY78" fmla="*/ 516731 h 1509712"/>
                <a:gd name="connsiteX79" fmla="*/ 602456 w 1550194"/>
                <a:gd name="connsiteY79" fmla="*/ 514350 h 1509712"/>
                <a:gd name="connsiteX80" fmla="*/ 611981 w 1550194"/>
                <a:gd name="connsiteY80" fmla="*/ 500062 h 1509712"/>
                <a:gd name="connsiteX81" fmla="*/ 609600 w 1550194"/>
                <a:gd name="connsiteY81" fmla="*/ 483394 h 1509712"/>
                <a:gd name="connsiteX82" fmla="*/ 604838 w 1550194"/>
                <a:gd name="connsiteY82" fmla="*/ 476250 h 1509712"/>
                <a:gd name="connsiteX83" fmla="*/ 602456 w 1550194"/>
                <a:gd name="connsiteY83" fmla="*/ 469106 h 1509712"/>
                <a:gd name="connsiteX84" fmla="*/ 595313 w 1550194"/>
                <a:gd name="connsiteY84" fmla="*/ 438150 h 1509712"/>
                <a:gd name="connsiteX85" fmla="*/ 607219 w 1550194"/>
                <a:gd name="connsiteY85" fmla="*/ 402431 h 1509712"/>
                <a:gd name="connsiteX86" fmla="*/ 621506 w 1550194"/>
                <a:gd name="connsiteY86" fmla="*/ 392906 h 1509712"/>
                <a:gd name="connsiteX87" fmla="*/ 626269 w 1550194"/>
                <a:gd name="connsiteY87" fmla="*/ 426244 h 1509712"/>
                <a:gd name="connsiteX88" fmla="*/ 631031 w 1550194"/>
                <a:gd name="connsiteY88" fmla="*/ 433387 h 1509712"/>
                <a:gd name="connsiteX89" fmla="*/ 642938 w 1550194"/>
                <a:gd name="connsiteY89" fmla="*/ 457200 h 1509712"/>
                <a:gd name="connsiteX90" fmla="*/ 647700 w 1550194"/>
                <a:gd name="connsiteY90" fmla="*/ 464344 h 1509712"/>
                <a:gd name="connsiteX91" fmla="*/ 654844 w 1550194"/>
                <a:gd name="connsiteY91" fmla="*/ 469106 h 1509712"/>
                <a:gd name="connsiteX92" fmla="*/ 659606 w 1550194"/>
                <a:gd name="connsiteY92" fmla="*/ 476250 h 1509712"/>
                <a:gd name="connsiteX93" fmla="*/ 652463 w 1550194"/>
                <a:gd name="connsiteY93" fmla="*/ 500062 h 1509712"/>
                <a:gd name="connsiteX94" fmla="*/ 657225 w 1550194"/>
                <a:gd name="connsiteY94" fmla="*/ 516731 h 1509712"/>
                <a:gd name="connsiteX95" fmla="*/ 678656 w 1550194"/>
                <a:gd name="connsiteY95" fmla="*/ 528637 h 1509712"/>
                <a:gd name="connsiteX96" fmla="*/ 697706 w 1550194"/>
                <a:gd name="connsiteY96" fmla="*/ 533400 h 1509712"/>
                <a:gd name="connsiteX97" fmla="*/ 711994 w 1550194"/>
                <a:gd name="connsiteY97" fmla="*/ 545306 h 1509712"/>
                <a:gd name="connsiteX98" fmla="*/ 714375 w 1550194"/>
                <a:gd name="connsiteY98" fmla="*/ 552450 h 1509712"/>
                <a:gd name="connsiteX99" fmla="*/ 719138 w 1550194"/>
                <a:gd name="connsiteY99" fmla="*/ 559594 h 1509712"/>
                <a:gd name="connsiteX100" fmla="*/ 721519 w 1550194"/>
                <a:gd name="connsiteY100" fmla="*/ 566737 h 1509712"/>
                <a:gd name="connsiteX101" fmla="*/ 735806 w 1550194"/>
                <a:gd name="connsiteY101" fmla="*/ 573881 h 1509712"/>
                <a:gd name="connsiteX102" fmla="*/ 752475 w 1550194"/>
                <a:gd name="connsiteY102" fmla="*/ 566737 h 1509712"/>
                <a:gd name="connsiteX103" fmla="*/ 757238 w 1550194"/>
                <a:gd name="connsiteY103" fmla="*/ 559594 h 1509712"/>
                <a:gd name="connsiteX104" fmla="*/ 766763 w 1550194"/>
                <a:gd name="connsiteY104" fmla="*/ 550069 h 1509712"/>
                <a:gd name="connsiteX105" fmla="*/ 778669 w 1550194"/>
                <a:gd name="connsiteY105" fmla="*/ 535781 h 1509712"/>
                <a:gd name="connsiteX106" fmla="*/ 776288 w 1550194"/>
                <a:gd name="connsiteY106" fmla="*/ 485775 h 1509712"/>
                <a:gd name="connsiteX107" fmla="*/ 771525 w 1550194"/>
                <a:gd name="connsiteY107" fmla="*/ 471487 h 1509712"/>
                <a:gd name="connsiteX108" fmla="*/ 769144 w 1550194"/>
                <a:gd name="connsiteY108" fmla="*/ 464344 h 1509712"/>
                <a:gd name="connsiteX109" fmla="*/ 766763 w 1550194"/>
                <a:gd name="connsiteY109" fmla="*/ 450056 h 1509712"/>
                <a:gd name="connsiteX110" fmla="*/ 764381 w 1550194"/>
                <a:gd name="connsiteY110" fmla="*/ 397669 h 1509712"/>
                <a:gd name="connsiteX111" fmla="*/ 735806 w 1550194"/>
                <a:gd name="connsiteY111" fmla="*/ 395287 h 1509712"/>
                <a:gd name="connsiteX112" fmla="*/ 719138 w 1550194"/>
                <a:gd name="connsiteY112" fmla="*/ 390525 h 1509712"/>
                <a:gd name="connsiteX113" fmla="*/ 704850 w 1550194"/>
                <a:gd name="connsiteY113" fmla="*/ 378619 h 1509712"/>
                <a:gd name="connsiteX114" fmla="*/ 702469 w 1550194"/>
                <a:gd name="connsiteY114" fmla="*/ 345281 h 1509712"/>
                <a:gd name="connsiteX115" fmla="*/ 707231 w 1550194"/>
                <a:gd name="connsiteY115" fmla="*/ 338137 h 1509712"/>
                <a:gd name="connsiteX116" fmla="*/ 714375 w 1550194"/>
                <a:gd name="connsiteY116" fmla="*/ 333375 h 1509712"/>
                <a:gd name="connsiteX117" fmla="*/ 728663 w 1550194"/>
                <a:gd name="connsiteY117" fmla="*/ 319087 h 1509712"/>
                <a:gd name="connsiteX118" fmla="*/ 742950 w 1550194"/>
                <a:gd name="connsiteY118" fmla="*/ 309562 h 1509712"/>
                <a:gd name="connsiteX119" fmla="*/ 757238 w 1550194"/>
                <a:gd name="connsiteY119" fmla="*/ 295275 h 1509712"/>
                <a:gd name="connsiteX120" fmla="*/ 762000 w 1550194"/>
                <a:gd name="connsiteY120" fmla="*/ 280987 h 1509712"/>
                <a:gd name="connsiteX121" fmla="*/ 766763 w 1550194"/>
                <a:gd name="connsiteY121" fmla="*/ 261937 h 1509712"/>
                <a:gd name="connsiteX122" fmla="*/ 776288 w 1550194"/>
                <a:gd name="connsiteY122" fmla="*/ 247650 h 1509712"/>
                <a:gd name="connsiteX123" fmla="*/ 781050 w 1550194"/>
                <a:gd name="connsiteY123" fmla="*/ 240506 h 1509712"/>
                <a:gd name="connsiteX124" fmla="*/ 778669 w 1550194"/>
                <a:gd name="connsiteY124" fmla="*/ 228600 h 1509712"/>
                <a:gd name="connsiteX125" fmla="*/ 766763 w 1550194"/>
                <a:gd name="connsiteY125" fmla="*/ 214312 h 1509712"/>
                <a:gd name="connsiteX126" fmla="*/ 769144 w 1550194"/>
                <a:gd name="connsiteY126" fmla="*/ 197644 h 1509712"/>
                <a:gd name="connsiteX127" fmla="*/ 776288 w 1550194"/>
                <a:gd name="connsiteY127" fmla="*/ 195262 h 1509712"/>
                <a:gd name="connsiteX128" fmla="*/ 790575 w 1550194"/>
                <a:gd name="connsiteY128" fmla="*/ 185737 h 1509712"/>
                <a:gd name="connsiteX129" fmla="*/ 797719 w 1550194"/>
                <a:gd name="connsiteY129" fmla="*/ 180975 h 1509712"/>
                <a:gd name="connsiteX130" fmla="*/ 807244 w 1550194"/>
                <a:gd name="connsiteY130" fmla="*/ 173831 h 1509712"/>
                <a:gd name="connsiteX131" fmla="*/ 838200 w 1550194"/>
                <a:gd name="connsiteY131" fmla="*/ 169069 h 1509712"/>
                <a:gd name="connsiteX132" fmla="*/ 854869 w 1550194"/>
                <a:gd name="connsiteY132" fmla="*/ 152400 h 1509712"/>
                <a:gd name="connsiteX133" fmla="*/ 869156 w 1550194"/>
                <a:gd name="connsiteY133" fmla="*/ 140494 h 1509712"/>
                <a:gd name="connsiteX134" fmla="*/ 873919 w 1550194"/>
                <a:gd name="connsiteY134" fmla="*/ 133350 h 1509712"/>
                <a:gd name="connsiteX135" fmla="*/ 881063 w 1550194"/>
                <a:gd name="connsiteY135" fmla="*/ 128587 h 1509712"/>
                <a:gd name="connsiteX136" fmla="*/ 883444 w 1550194"/>
                <a:gd name="connsiteY136" fmla="*/ 121444 h 1509712"/>
                <a:gd name="connsiteX137" fmla="*/ 888206 w 1550194"/>
                <a:gd name="connsiteY137" fmla="*/ 114300 h 1509712"/>
                <a:gd name="connsiteX138" fmla="*/ 897731 w 1550194"/>
                <a:gd name="connsiteY138" fmla="*/ 92869 h 1509712"/>
                <a:gd name="connsiteX139" fmla="*/ 900113 w 1550194"/>
                <a:gd name="connsiteY139" fmla="*/ 80962 h 1509712"/>
                <a:gd name="connsiteX140" fmla="*/ 907256 w 1550194"/>
                <a:gd name="connsiteY140" fmla="*/ 66675 h 1509712"/>
                <a:gd name="connsiteX141" fmla="*/ 909638 w 1550194"/>
                <a:gd name="connsiteY141" fmla="*/ 54769 h 1509712"/>
                <a:gd name="connsiteX142" fmla="*/ 914400 w 1550194"/>
                <a:gd name="connsiteY142" fmla="*/ 40481 h 1509712"/>
                <a:gd name="connsiteX143" fmla="*/ 916781 w 1550194"/>
                <a:gd name="connsiteY143" fmla="*/ 33337 h 1509712"/>
                <a:gd name="connsiteX144" fmla="*/ 919163 w 1550194"/>
                <a:gd name="connsiteY144" fmla="*/ 26194 h 1509712"/>
                <a:gd name="connsiteX145" fmla="*/ 921544 w 1550194"/>
                <a:gd name="connsiteY145" fmla="*/ 19050 h 1509712"/>
                <a:gd name="connsiteX146" fmla="*/ 938213 w 1550194"/>
                <a:gd name="connsiteY146" fmla="*/ 7144 h 1509712"/>
                <a:gd name="connsiteX147" fmla="*/ 954881 w 1550194"/>
                <a:gd name="connsiteY147" fmla="*/ 0 h 1509712"/>
                <a:gd name="connsiteX148" fmla="*/ 995363 w 1550194"/>
                <a:gd name="connsiteY148" fmla="*/ 2381 h 1509712"/>
                <a:gd name="connsiteX149" fmla="*/ 1009650 w 1550194"/>
                <a:gd name="connsiteY149" fmla="*/ 16669 h 1509712"/>
                <a:gd name="connsiteX150" fmla="*/ 1023938 w 1550194"/>
                <a:gd name="connsiteY150" fmla="*/ 21431 h 1509712"/>
                <a:gd name="connsiteX151" fmla="*/ 1045369 w 1550194"/>
                <a:gd name="connsiteY151" fmla="*/ 38100 h 1509712"/>
                <a:gd name="connsiteX152" fmla="*/ 1052513 w 1550194"/>
                <a:gd name="connsiteY152" fmla="*/ 78581 h 1509712"/>
                <a:gd name="connsiteX153" fmla="*/ 1045369 w 1550194"/>
                <a:gd name="connsiteY153" fmla="*/ 80962 h 1509712"/>
                <a:gd name="connsiteX154" fmla="*/ 1023938 w 1550194"/>
                <a:gd name="connsiteY154" fmla="*/ 85725 h 1509712"/>
                <a:gd name="connsiteX155" fmla="*/ 1012031 w 1550194"/>
                <a:gd name="connsiteY155" fmla="*/ 100012 h 1509712"/>
                <a:gd name="connsiteX156" fmla="*/ 1009650 w 1550194"/>
                <a:gd name="connsiteY156" fmla="*/ 107156 h 1509712"/>
                <a:gd name="connsiteX157" fmla="*/ 1000125 w 1550194"/>
                <a:gd name="connsiteY157" fmla="*/ 123825 h 1509712"/>
                <a:gd name="connsiteX158" fmla="*/ 992981 w 1550194"/>
                <a:gd name="connsiteY158" fmla="*/ 130969 h 1509712"/>
                <a:gd name="connsiteX159" fmla="*/ 990600 w 1550194"/>
                <a:gd name="connsiteY159" fmla="*/ 138112 h 1509712"/>
                <a:gd name="connsiteX160" fmla="*/ 978694 w 1550194"/>
                <a:gd name="connsiteY160" fmla="*/ 154781 h 1509712"/>
                <a:gd name="connsiteX161" fmla="*/ 973931 w 1550194"/>
                <a:gd name="connsiteY161" fmla="*/ 169069 h 1509712"/>
                <a:gd name="connsiteX162" fmla="*/ 964406 w 1550194"/>
                <a:gd name="connsiteY162" fmla="*/ 202406 h 1509712"/>
                <a:gd name="connsiteX163" fmla="*/ 962025 w 1550194"/>
                <a:gd name="connsiteY163" fmla="*/ 219075 h 1509712"/>
                <a:gd name="connsiteX164" fmla="*/ 964406 w 1550194"/>
                <a:gd name="connsiteY164" fmla="*/ 304800 h 1509712"/>
                <a:gd name="connsiteX165" fmla="*/ 959644 w 1550194"/>
                <a:gd name="connsiteY165" fmla="*/ 330994 h 1509712"/>
                <a:gd name="connsiteX166" fmla="*/ 952500 w 1550194"/>
                <a:gd name="connsiteY166" fmla="*/ 338137 h 1509712"/>
                <a:gd name="connsiteX167" fmla="*/ 942975 w 1550194"/>
                <a:gd name="connsiteY167" fmla="*/ 352425 h 1509712"/>
                <a:gd name="connsiteX168" fmla="*/ 931069 w 1550194"/>
                <a:gd name="connsiteY168" fmla="*/ 371475 h 1509712"/>
                <a:gd name="connsiteX169" fmla="*/ 926306 w 1550194"/>
                <a:gd name="connsiteY169" fmla="*/ 385762 h 1509712"/>
                <a:gd name="connsiteX170" fmla="*/ 921544 w 1550194"/>
                <a:gd name="connsiteY170" fmla="*/ 400050 h 1509712"/>
                <a:gd name="connsiteX171" fmla="*/ 919163 w 1550194"/>
                <a:gd name="connsiteY171" fmla="*/ 407194 h 1509712"/>
                <a:gd name="connsiteX172" fmla="*/ 916781 w 1550194"/>
                <a:gd name="connsiteY172" fmla="*/ 416719 h 1509712"/>
                <a:gd name="connsiteX173" fmla="*/ 914400 w 1550194"/>
                <a:gd name="connsiteY173" fmla="*/ 423862 h 1509712"/>
                <a:gd name="connsiteX174" fmla="*/ 909638 w 1550194"/>
                <a:gd name="connsiteY174" fmla="*/ 440531 h 1509712"/>
                <a:gd name="connsiteX175" fmla="*/ 900113 w 1550194"/>
                <a:gd name="connsiteY175" fmla="*/ 457200 h 1509712"/>
                <a:gd name="connsiteX176" fmla="*/ 895350 w 1550194"/>
                <a:gd name="connsiteY176" fmla="*/ 466725 h 1509712"/>
                <a:gd name="connsiteX177" fmla="*/ 890588 w 1550194"/>
                <a:gd name="connsiteY177" fmla="*/ 473869 h 1509712"/>
                <a:gd name="connsiteX178" fmla="*/ 885825 w 1550194"/>
                <a:gd name="connsiteY178" fmla="*/ 490537 h 1509712"/>
                <a:gd name="connsiteX179" fmla="*/ 883444 w 1550194"/>
                <a:gd name="connsiteY179" fmla="*/ 497681 h 1509712"/>
                <a:gd name="connsiteX180" fmla="*/ 885825 w 1550194"/>
                <a:gd name="connsiteY180" fmla="*/ 547687 h 1509712"/>
                <a:gd name="connsiteX181" fmla="*/ 888206 w 1550194"/>
                <a:gd name="connsiteY181" fmla="*/ 557212 h 1509712"/>
                <a:gd name="connsiteX182" fmla="*/ 890588 w 1550194"/>
                <a:gd name="connsiteY182" fmla="*/ 571500 h 1509712"/>
                <a:gd name="connsiteX183" fmla="*/ 892969 w 1550194"/>
                <a:gd name="connsiteY183" fmla="*/ 581025 h 1509712"/>
                <a:gd name="connsiteX184" fmla="*/ 895350 w 1550194"/>
                <a:gd name="connsiteY184" fmla="*/ 600075 h 1509712"/>
                <a:gd name="connsiteX185" fmla="*/ 892969 w 1550194"/>
                <a:gd name="connsiteY185" fmla="*/ 669131 h 1509712"/>
                <a:gd name="connsiteX186" fmla="*/ 888206 w 1550194"/>
                <a:gd name="connsiteY186" fmla="*/ 676275 h 1509712"/>
                <a:gd name="connsiteX187" fmla="*/ 881063 w 1550194"/>
                <a:gd name="connsiteY187" fmla="*/ 681037 h 1509712"/>
                <a:gd name="connsiteX188" fmla="*/ 876300 w 1550194"/>
                <a:gd name="connsiteY188" fmla="*/ 688181 h 1509712"/>
                <a:gd name="connsiteX189" fmla="*/ 873919 w 1550194"/>
                <a:gd name="connsiteY189" fmla="*/ 695325 h 1509712"/>
                <a:gd name="connsiteX190" fmla="*/ 866775 w 1550194"/>
                <a:gd name="connsiteY190" fmla="*/ 700087 h 1509712"/>
                <a:gd name="connsiteX191" fmla="*/ 847725 w 1550194"/>
                <a:gd name="connsiteY191" fmla="*/ 721519 h 1509712"/>
                <a:gd name="connsiteX192" fmla="*/ 833438 w 1550194"/>
                <a:gd name="connsiteY192" fmla="*/ 733425 h 1509712"/>
                <a:gd name="connsiteX193" fmla="*/ 821531 w 1550194"/>
                <a:gd name="connsiteY193" fmla="*/ 747712 h 1509712"/>
                <a:gd name="connsiteX194" fmla="*/ 816769 w 1550194"/>
                <a:gd name="connsiteY194" fmla="*/ 754856 h 1509712"/>
                <a:gd name="connsiteX195" fmla="*/ 802481 w 1550194"/>
                <a:gd name="connsiteY195" fmla="*/ 769144 h 1509712"/>
                <a:gd name="connsiteX196" fmla="*/ 790575 w 1550194"/>
                <a:gd name="connsiteY196" fmla="*/ 785812 h 1509712"/>
                <a:gd name="connsiteX197" fmla="*/ 785813 w 1550194"/>
                <a:gd name="connsiteY197" fmla="*/ 792956 h 1509712"/>
                <a:gd name="connsiteX198" fmla="*/ 778669 w 1550194"/>
                <a:gd name="connsiteY198" fmla="*/ 797719 h 1509712"/>
                <a:gd name="connsiteX199" fmla="*/ 771525 w 1550194"/>
                <a:gd name="connsiteY199" fmla="*/ 804862 h 1509712"/>
                <a:gd name="connsiteX200" fmla="*/ 764381 w 1550194"/>
                <a:gd name="connsiteY200" fmla="*/ 807244 h 1509712"/>
                <a:gd name="connsiteX201" fmla="*/ 754856 w 1550194"/>
                <a:gd name="connsiteY201" fmla="*/ 812006 h 1509712"/>
                <a:gd name="connsiteX202" fmla="*/ 742950 w 1550194"/>
                <a:gd name="connsiteY202" fmla="*/ 800100 h 1509712"/>
                <a:gd name="connsiteX203" fmla="*/ 735806 w 1550194"/>
                <a:gd name="connsiteY203" fmla="*/ 792956 h 1509712"/>
                <a:gd name="connsiteX204" fmla="*/ 731044 w 1550194"/>
                <a:gd name="connsiteY204" fmla="*/ 785812 h 1509712"/>
                <a:gd name="connsiteX205" fmla="*/ 723900 w 1550194"/>
                <a:gd name="connsiteY205" fmla="*/ 783431 h 1509712"/>
                <a:gd name="connsiteX206" fmla="*/ 714375 w 1550194"/>
                <a:gd name="connsiteY206" fmla="*/ 776287 h 1509712"/>
                <a:gd name="connsiteX207" fmla="*/ 697706 w 1550194"/>
                <a:gd name="connsiteY207" fmla="*/ 771525 h 1509712"/>
                <a:gd name="connsiteX208" fmla="*/ 690563 w 1550194"/>
                <a:gd name="connsiteY208" fmla="*/ 778669 h 1509712"/>
                <a:gd name="connsiteX209" fmla="*/ 688181 w 1550194"/>
                <a:gd name="connsiteY209" fmla="*/ 785812 h 1509712"/>
                <a:gd name="connsiteX210" fmla="*/ 692944 w 1550194"/>
                <a:gd name="connsiteY210" fmla="*/ 819150 h 1509712"/>
                <a:gd name="connsiteX211" fmla="*/ 697706 w 1550194"/>
                <a:gd name="connsiteY211" fmla="*/ 826294 h 1509712"/>
                <a:gd name="connsiteX212" fmla="*/ 704850 w 1550194"/>
                <a:gd name="connsiteY212" fmla="*/ 831056 h 1509712"/>
                <a:gd name="connsiteX213" fmla="*/ 709613 w 1550194"/>
                <a:gd name="connsiteY213" fmla="*/ 838200 h 1509712"/>
                <a:gd name="connsiteX214" fmla="*/ 733425 w 1550194"/>
                <a:gd name="connsiteY214" fmla="*/ 845344 h 1509712"/>
                <a:gd name="connsiteX215" fmla="*/ 740569 w 1550194"/>
                <a:gd name="connsiteY215" fmla="*/ 850106 h 1509712"/>
                <a:gd name="connsiteX216" fmla="*/ 747713 w 1550194"/>
                <a:gd name="connsiteY216" fmla="*/ 852487 h 1509712"/>
                <a:gd name="connsiteX217" fmla="*/ 759619 w 1550194"/>
                <a:gd name="connsiteY217" fmla="*/ 862012 h 1509712"/>
                <a:gd name="connsiteX218" fmla="*/ 781050 w 1550194"/>
                <a:gd name="connsiteY218" fmla="*/ 878681 h 1509712"/>
                <a:gd name="connsiteX219" fmla="*/ 788194 w 1550194"/>
                <a:gd name="connsiteY219" fmla="*/ 883444 h 1509712"/>
                <a:gd name="connsiteX220" fmla="*/ 809625 w 1550194"/>
                <a:gd name="connsiteY220" fmla="*/ 888206 h 1509712"/>
                <a:gd name="connsiteX221" fmla="*/ 816769 w 1550194"/>
                <a:gd name="connsiteY221" fmla="*/ 890587 h 1509712"/>
                <a:gd name="connsiteX222" fmla="*/ 831056 w 1550194"/>
                <a:gd name="connsiteY222" fmla="*/ 888206 h 1509712"/>
                <a:gd name="connsiteX223" fmla="*/ 845344 w 1550194"/>
                <a:gd name="connsiteY223" fmla="*/ 878681 h 1509712"/>
                <a:gd name="connsiteX224" fmla="*/ 852488 w 1550194"/>
                <a:gd name="connsiteY224" fmla="*/ 873919 h 1509712"/>
                <a:gd name="connsiteX225" fmla="*/ 859631 w 1550194"/>
                <a:gd name="connsiteY225" fmla="*/ 869156 h 1509712"/>
                <a:gd name="connsiteX226" fmla="*/ 866775 w 1550194"/>
                <a:gd name="connsiteY226" fmla="*/ 866775 h 1509712"/>
                <a:gd name="connsiteX227" fmla="*/ 873919 w 1550194"/>
                <a:gd name="connsiteY227" fmla="*/ 862012 h 1509712"/>
                <a:gd name="connsiteX228" fmla="*/ 897731 w 1550194"/>
                <a:gd name="connsiteY228" fmla="*/ 857250 h 1509712"/>
                <a:gd name="connsiteX229" fmla="*/ 907256 w 1550194"/>
                <a:gd name="connsiteY229" fmla="*/ 854869 h 1509712"/>
                <a:gd name="connsiteX230" fmla="*/ 928688 w 1550194"/>
                <a:gd name="connsiteY230" fmla="*/ 842962 h 1509712"/>
                <a:gd name="connsiteX231" fmla="*/ 935831 w 1550194"/>
                <a:gd name="connsiteY231" fmla="*/ 835819 h 1509712"/>
                <a:gd name="connsiteX232" fmla="*/ 942975 w 1550194"/>
                <a:gd name="connsiteY232" fmla="*/ 831056 h 1509712"/>
                <a:gd name="connsiteX233" fmla="*/ 947738 w 1550194"/>
                <a:gd name="connsiteY233" fmla="*/ 823912 h 1509712"/>
                <a:gd name="connsiteX234" fmla="*/ 954881 w 1550194"/>
                <a:gd name="connsiteY234" fmla="*/ 816769 h 1509712"/>
                <a:gd name="connsiteX235" fmla="*/ 964406 w 1550194"/>
                <a:gd name="connsiteY235" fmla="*/ 802481 h 1509712"/>
                <a:gd name="connsiteX236" fmla="*/ 969169 w 1550194"/>
                <a:gd name="connsiteY236" fmla="*/ 781050 h 1509712"/>
                <a:gd name="connsiteX237" fmla="*/ 976313 w 1550194"/>
                <a:gd name="connsiteY237" fmla="*/ 773906 h 1509712"/>
                <a:gd name="connsiteX238" fmla="*/ 988219 w 1550194"/>
                <a:gd name="connsiteY238" fmla="*/ 757237 h 1509712"/>
                <a:gd name="connsiteX239" fmla="*/ 992981 w 1550194"/>
                <a:gd name="connsiteY239" fmla="*/ 738187 h 1509712"/>
                <a:gd name="connsiteX240" fmla="*/ 997744 w 1550194"/>
                <a:gd name="connsiteY240" fmla="*/ 692944 h 1509712"/>
                <a:gd name="connsiteX241" fmla="*/ 1000125 w 1550194"/>
                <a:gd name="connsiteY241" fmla="*/ 685800 h 1509712"/>
                <a:gd name="connsiteX242" fmla="*/ 1004888 w 1550194"/>
                <a:gd name="connsiteY242" fmla="*/ 678656 h 1509712"/>
                <a:gd name="connsiteX243" fmla="*/ 1007269 w 1550194"/>
                <a:gd name="connsiteY243" fmla="*/ 671512 h 1509712"/>
                <a:gd name="connsiteX244" fmla="*/ 1012031 w 1550194"/>
                <a:gd name="connsiteY244" fmla="*/ 642937 h 1509712"/>
                <a:gd name="connsiteX245" fmla="*/ 1016794 w 1550194"/>
                <a:gd name="connsiteY245" fmla="*/ 635794 h 1509712"/>
                <a:gd name="connsiteX246" fmla="*/ 1023938 w 1550194"/>
                <a:gd name="connsiteY246" fmla="*/ 616744 h 1509712"/>
                <a:gd name="connsiteX247" fmla="*/ 1031081 w 1550194"/>
                <a:gd name="connsiteY247" fmla="*/ 614362 h 1509712"/>
                <a:gd name="connsiteX248" fmla="*/ 1038225 w 1550194"/>
                <a:gd name="connsiteY248" fmla="*/ 609600 h 1509712"/>
                <a:gd name="connsiteX249" fmla="*/ 1083469 w 1550194"/>
                <a:gd name="connsiteY249" fmla="*/ 604837 h 1509712"/>
                <a:gd name="connsiteX250" fmla="*/ 1114425 w 1550194"/>
                <a:gd name="connsiteY250" fmla="*/ 607219 h 1509712"/>
                <a:gd name="connsiteX251" fmla="*/ 1119188 w 1550194"/>
                <a:gd name="connsiteY251" fmla="*/ 621506 h 1509712"/>
                <a:gd name="connsiteX252" fmla="*/ 1121569 w 1550194"/>
                <a:gd name="connsiteY252" fmla="*/ 628650 h 1509712"/>
                <a:gd name="connsiteX253" fmla="*/ 1123950 w 1550194"/>
                <a:gd name="connsiteY253" fmla="*/ 635794 h 1509712"/>
                <a:gd name="connsiteX254" fmla="*/ 1131094 w 1550194"/>
                <a:gd name="connsiteY254" fmla="*/ 642937 h 1509712"/>
                <a:gd name="connsiteX255" fmla="*/ 1138238 w 1550194"/>
                <a:gd name="connsiteY255" fmla="*/ 647700 h 1509712"/>
                <a:gd name="connsiteX256" fmla="*/ 1140619 w 1550194"/>
                <a:gd name="connsiteY256" fmla="*/ 695325 h 1509712"/>
                <a:gd name="connsiteX257" fmla="*/ 1135856 w 1550194"/>
                <a:gd name="connsiteY257" fmla="*/ 709612 h 1509712"/>
                <a:gd name="connsiteX258" fmla="*/ 1128713 w 1550194"/>
                <a:gd name="connsiteY258" fmla="*/ 716756 h 1509712"/>
                <a:gd name="connsiteX259" fmla="*/ 1128713 w 1550194"/>
                <a:gd name="connsiteY259" fmla="*/ 742950 h 1509712"/>
                <a:gd name="connsiteX260" fmla="*/ 1135856 w 1550194"/>
                <a:gd name="connsiteY260" fmla="*/ 747712 h 1509712"/>
                <a:gd name="connsiteX261" fmla="*/ 1140619 w 1550194"/>
                <a:gd name="connsiteY261" fmla="*/ 754856 h 1509712"/>
                <a:gd name="connsiteX262" fmla="*/ 1147763 w 1550194"/>
                <a:gd name="connsiteY262" fmla="*/ 757237 h 1509712"/>
                <a:gd name="connsiteX263" fmla="*/ 1150144 w 1550194"/>
                <a:gd name="connsiteY263" fmla="*/ 766762 h 1509712"/>
                <a:gd name="connsiteX264" fmla="*/ 1154906 w 1550194"/>
                <a:gd name="connsiteY264" fmla="*/ 759619 h 1509712"/>
                <a:gd name="connsiteX265" fmla="*/ 1147763 w 1550194"/>
                <a:gd name="connsiteY265" fmla="*/ 733425 h 1509712"/>
                <a:gd name="connsiteX266" fmla="*/ 1147763 w 1550194"/>
                <a:gd name="connsiteY266" fmla="*/ 716756 h 1509712"/>
                <a:gd name="connsiteX267" fmla="*/ 1154906 w 1550194"/>
                <a:gd name="connsiteY267" fmla="*/ 711994 h 1509712"/>
                <a:gd name="connsiteX268" fmla="*/ 1164431 w 1550194"/>
                <a:gd name="connsiteY268" fmla="*/ 697706 h 1509712"/>
                <a:gd name="connsiteX269" fmla="*/ 1178719 w 1550194"/>
                <a:gd name="connsiteY269" fmla="*/ 688181 h 1509712"/>
                <a:gd name="connsiteX270" fmla="*/ 1181100 w 1550194"/>
                <a:gd name="connsiteY270" fmla="*/ 628650 h 1509712"/>
                <a:gd name="connsiteX271" fmla="*/ 1173956 w 1550194"/>
                <a:gd name="connsiteY271" fmla="*/ 619125 h 1509712"/>
                <a:gd name="connsiteX272" fmla="*/ 1169194 w 1550194"/>
                <a:gd name="connsiteY272" fmla="*/ 602456 h 1509712"/>
                <a:gd name="connsiteX273" fmla="*/ 1166813 w 1550194"/>
                <a:gd name="connsiteY273" fmla="*/ 588169 h 1509712"/>
                <a:gd name="connsiteX274" fmla="*/ 1164431 w 1550194"/>
                <a:gd name="connsiteY274" fmla="*/ 578644 h 1509712"/>
                <a:gd name="connsiteX275" fmla="*/ 1162050 w 1550194"/>
                <a:gd name="connsiteY275" fmla="*/ 571500 h 1509712"/>
                <a:gd name="connsiteX276" fmla="*/ 1154906 w 1550194"/>
                <a:gd name="connsiteY276" fmla="*/ 538162 h 1509712"/>
                <a:gd name="connsiteX277" fmla="*/ 1152525 w 1550194"/>
                <a:gd name="connsiteY277" fmla="*/ 531019 h 1509712"/>
                <a:gd name="connsiteX278" fmla="*/ 1145381 w 1550194"/>
                <a:gd name="connsiteY278" fmla="*/ 526256 h 1509712"/>
                <a:gd name="connsiteX279" fmla="*/ 1123950 w 1550194"/>
                <a:gd name="connsiteY279" fmla="*/ 521494 h 1509712"/>
                <a:gd name="connsiteX280" fmla="*/ 1116806 w 1550194"/>
                <a:gd name="connsiteY280" fmla="*/ 507206 h 1509712"/>
                <a:gd name="connsiteX281" fmla="*/ 1109663 w 1550194"/>
                <a:gd name="connsiteY281" fmla="*/ 504825 h 1509712"/>
                <a:gd name="connsiteX282" fmla="*/ 1102519 w 1550194"/>
                <a:gd name="connsiteY282" fmla="*/ 509587 h 1509712"/>
                <a:gd name="connsiteX283" fmla="*/ 1050131 w 1550194"/>
                <a:gd name="connsiteY283" fmla="*/ 516731 h 1509712"/>
                <a:gd name="connsiteX284" fmla="*/ 1035844 w 1550194"/>
                <a:gd name="connsiteY284" fmla="*/ 523875 h 1509712"/>
                <a:gd name="connsiteX285" fmla="*/ 1026319 w 1550194"/>
                <a:gd name="connsiteY285" fmla="*/ 538162 h 1509712"/>
                <a:gd name="connsiteX286" fmla="*/ 1019175 w 1550194"/>
                <a:gd name="connsiteY286" fmla="*/ 531019 h 1509712"/>
                <a:gd name="connsiteX287" fmla="*/ 1016794 w 1550194"/>
                <a:gd name="connsiteY287" fmla="*/ 521494 h 1509712"/>
                <a:gd name="connsiteX288" fmla="*/ 1023938 w 1550194"/>
                <a:gd name="connsiteY288" fmla="*/ 481012 h 1509712"/>
                <a:gd name="connsiteX289" fmla="*/ 1035844 w 1550194"/>
                <a:gd name="connsiteY289" fmla="*/ 464344 h 1509712"/>
                <a:gd name="connsiteX290" fmla="*/ 1042988 w 1550194"/>
                <a:gd name="connsiteY290" fmla="*/ 440531 h 1509712"/>
                <a:gd name="connsiteX291" fmla="*/ 1040606 w 1550194"/>
                <a:gd name="connsiteY291" fmla="*/ 423862 h 1509712"/>
                <a:gd name="connsiteX292" fmla="*/ 1038225 w 1550194"/>
                <a:gd name="connsiteY292" fmla="*/ 416719 h 1509712"/>
                <a:gd name="connsiteX293" fmla="*/ 1040606 w 1550194"/>
                <a:gd name="connsiteY293" fmla="*/ 390525 h 1509712"/>
                <a:gd name="connsiteX294" fmla="*/ 1042988 w 1550194"/>
                <a:gd name="connsiteY294" fmla="*/ 383381 h 1509712"/>
                <a:gd name="connsiteX295" fmla="*/ 1050131 w 1550194"/>
                <a:gd name="connsiteY295" fmla="*/ 378619 h 1509712"/>
                <a:gd name="connsiteX296" fmla="*/ 1062038 w 1550194"/>
                <a:gd name="connsiteY296" fmla="*/ 364331 h 1509712"/>
                <a:gd name="connsiteX297" fmla="*/ 1064419 w 1550194"/>
                <a:gd name="connsiteY297" fmla="*/ 357187 h 1509712"/>
                <a:gd name="connsiteX298" fmla="*/ 1071563 w 1550194"/>
                <a:gd name="connsiteY298" fmla="*/ 342900 h 1509712"/>
                <a:gd name="connsiteX299" fmla="*/ 1066800 w 1550194"/>
                <a:gd name="connsiteY299" fmla="*/ 309562 h 1509712"/>
                <a:gd name="connsiteX300" fmla="*/ 1057275 w 1550194"/>
                <a:gd name="connsiteY300" fmla="*/ 295275 h 1509712"/>
                <a:gd name="connsiteX301" fmla="*/ 1054894 w 1550194"/>
                <a:gd name="connsiteY301" fmla="*/ 283369 h 1509712"/>
                <a:gd name="connsiteX302" fmla="*/ 1052513 w 1550194"/>
                <a:gd name="connsiteY302" fmla="*/ 261937 h 1509712"/>
                <a:gd name="connsiteX303" fmla="*/ 1050131 w 1550194"/>
                <a:gd name="connsiteY303" fmla="*/ 242887 h 1509712"/>
                <a:gd name="connsiteX304" fmla="*/ 1052513 w 1550194"/>
                <a:gd name="connsiteY304" fmla="*/ 209550 h 1509712"/>
                <a:gd name="connsiteX305" fmla="*/ 1059656 w 1550194"/>
                <a:gd name="connsiteY305" fmla="*/ 204787 h 1509712"/>
                <a:gd name="connsiteX306" fmla="*/ 1073944 w 1550194"/>
                <a:gd name="connsiteY306" fmla="*/ 200025 h 1509712"/>
                <a:gd name="connsiteX307" fmla="*/ 1081088 w 1550194"/>
                <a:gd name="connsiteY307" fmla="*/ 197644 h 1509712"/>
                <a:gd name="connsiteX308" fmla="*/ 1088231 w 1550194"/>
                <a:gd name="connsiteY308" fmla="*/ 192881 h 1509712"/>
                <a:gd name="connsiteX309" fmla="*/ 1095375 w 1550194"/>
                <a:gd name="connsiteY309" fmla="*/ 190500 h 1509712"/>
                <a:gd name="connsiteX310" fmla="*/ 1119188 w 1550194"/>
                <a:gd name="connsiteY310" fmla="*/ 173831 h 1509712"/>
                <a:gd name="connsiteX311" fmla="*/ 1123950 w 1550194"/>
                <a:gd name="connsiteY311" fmla="*/ 164306 h 1509712"/>
                <a:gd name="connsiteX312" fmla="*/ 1128713 w 1550194"/>
                <a:gd name="connsiteY312" fmla="*/ 157162 h 1509712"/>
                <a:gd name="connsiteX313" fmla="*/ 1135856 w 1550194"/>
                <a:gd name="connsiteY313" fmla="*/ 133350 h 1509712"/>
                <a:gd name="connsiteX314" fmla="*/ 1138238 w 1550194"/>
                <a:gd name="connsiteY314" fmla="*/ 100012 h 1509712"/>
                <a:gd name="connsiteX315" fmla="*/ 1143000 w 1550194"/>
                <a:gd name="connsiteY315" fmla="*/ 85725 h 1509712"/>
                <a:gd name="connsiteX316" fmla="*/ 1145381 w 1550194"/>
                <a:gd name="connsiteY316" fmla="*/ 78581 h 1509712"/>
                <a:gd name="connsiteX317" fmla="*/ 1152525 w 1550194"/>
                <a:gd name="connsiteY317" fmla="*/ 76200 h 1509712"/>
                <a:gd name="connsiteX318" fmla="*/ 1164431 w 1550194"/>
                <a:gd name="connsiteY318" fmla="*/ 78581 h 1509712"/>
                <a:gd name="connsiteX319" fmla="*/ 1169194 w 1550194"/>
                <a:gd name="connsiteY319" fmla="*/ 88106 h 1509712"/>
                <a:gd name="connsiteX320" fmla="*/ 1162050 w 1550194"/>
                <a:gd name="connsiteY320" fmla="*/ 154781 h 1509712"/>
                <a:gd name="connsiteX321" fmla="*/ 1157288 w 1550194"/>
                <a:gd name="connsiteY321" fmla="*/ 164306 h 1509712"/>
                <a:gd name="connsiteX322" fmla="*/ 1152525 w 1550194"/>
                <a:gd name="connsiteY322" fmla="*/ 178594 h 1509712"/>
                <a:gd name="connsiteX323" fmla="*/ 1150144 w 1550194"/>
                <a:gd name="connsiteY323" fmla="*/ 214312 h 1509712"/>
                <a:gd name="connsiteX324" fmla="*/ 1128713 w 1550194"/>
                <a:gd name="connsiteY324" fmla="*/ 233362 h 1509712"/>
                <a:gd name="connsiteX325" fmla="*/ 1112044 w 1550194"/>
                <a:gd name="connsiteY325" fmla="*/ 247650 h 1509712"/>
                <a:gd name="connsiteX326" fmla="*/ 1107281 w 1550194"/>
                <a:gd name="connsiteY326" fmla="*/ 254794 h 1509712"/>
                <a:gd name="connsiteX327" fmla="*/ 1104900 w 1550194"/>
                <a:gd name="connsiteY327" fmla="*/ 261937 h 1509712"/>
                <a:gd name="connsiteX328" fmla="*/ 1112044 w 1550194"/>
                <a:gd name="connsiteY328" fmla="*/ 264319 h 1509712"/>
                <a:gd name="connsiteX329" fmla="*/ 1143000 w 1550194"/>
                <a:gd name="connsiteY329" fmla="*/ 271462 h 1509712"/>
                <a:gd name="connsiteX330" fmla="*/ 1162050 w 1550194"/>
                <a:gd name="connsiteY330" fmla="*/ 276225 h 1509712"/>
                <a:gd name="connsiteX331" fmla="*/ 1178719 w 1550194"/>
                <a:gd name="connsiteY331" fmla="*/ 290512 h 1509712"/>
                <a:gd name="connsiteX332" fmla="*/ 1188244 w 1550194"/>
                <a:gd name="connsiteY332" fmla="*/ 297656 h 1509712"/>
                <a:gd name="connsiteX333" fmla="*/ 1200150 w 1550194"/>
                <a:gd name="connsiteY333" fmla="*/ 311944 h 1509712"/>
                <a:gd name="connsiteX334" fmla="*/ 1214438 w 1550194"/>
                <a:gd name="connsiteY334" fmla="*/ 321469 h 1509712"/>
                <a:gd name="connsiteX335" fmla="*/ 1226344 w 1550194"/>
                <a:gd name="connsiteY335" fmla="*/ 333375 h 1509712"/>
                <a:gd name="connsiteX336" fmla="*/ 1240631 w 1550194"/>
                <a:gd name="connsiteY336" fmla="*/ 342900 h 1509712"/>
                <a:gd name="connsiteX337" fmla="*/ 1262063 w 1550194"/>
                <a:gd name="connsiteY337" fmla="*/ 359569 h 1509712"/>
                <a:gd name="connsiteX338" fmla="*/ 1269206 w 1550194"/>
                <a:gd name="connsiteY338" fmla="*/ 364331 h 1509712"/>
                <a:gd name="connsiteX339" fmla="*/ 1271588 w 1550194"/>
                <a:gd name="connsiteY339" fmla="*/ 338137 h 1509712"/>
                <a:gd name="connsiteX340" fmla="*/ 1262063 w 1550194"/>
                <a:gd name="connsiteY340" fmla="*/ 321469 h 1509712"/>
                <a:gd name="connsiteX341" fmla="*/ 1259681 w 1550194"/>
                <a:gd name="connsiteY341" fmla="*/ 314325 h 1509712"/>
                <a:gd name="connsiteX342" fmla="*/ 1264444 w 1550194"/>
                <a:gd name="connsiteY342" fmla="*/ 292894 h 1509712"/>
                <a:gd name="connsiteX343" fmla="*/ 1271588 w 1550194"/>
                <a:gd name="connsiteY343" fmla="*/ 285750 h 1509712"/>
                <a:gd name="connsiteX344" fmla="*/ 1276350 w 1550194"/>
                <a:gd name="connsiteY344" fmla="*/ 271462 h 1509712"/>
                <a:gd name="connsiteX345" fmla="*/ 1273969 w 1550194"/>
                <a:gd name="connsiteY345" fmla="*/ 259556 h 1509712"/>
                <a:gd name="connsiteX346" fmla="*/ 1271588 w 1550194"/>
                <a:gd name="connsiteY346" fmla="*/ 252412 h 1509712"/>
                <a:gd name="connsiteX347" fmla="*/ 1264444 w 1550194"/>
                <a:gd name="connsiteY347" fmla="*/ 250031 h 1509712"/>
                <a:gd name="connsiteX348" fmla="*/ 1207294 w 1550194"/>
                <a:gd name="connsiteY348" fmla="*/ 247650 h 1509712"/>
                <a:gd name="connsiteX349" fmla="*/ 1197769 w 1550194"/>
                <a:gd name="connsiteY349" fmla="*/ 245269 h 1509712"/>
                <a:gd name="connsiteX350" fmla="*/ 1190625 w 1550194"/>
                <a:gd name="connsiteY350" fmla="*/ 238125 h 1509712"/>
                <a:gd name="connsiteX351" fmla="*/ 1183481 w 1550194"/>
                <a:gd name="connsiteY351" fmla="*/ 223837 h 1509712"/>
                <a:gd name="connsiteX352" fmla="*/ 1185863 w 1550194"/>
                <a:gd name="connsiteY352" fmla="*/ 192881 h 1509712"/>
                <a:gd name="connsiteX353" fmla="*/ 1202531 w 1550194"/>
                <a:gd name="connsiteY353" fmla="*/ 195262 h 1509712"/>
                <a:gd name="connsiteX354" fmla="*/ 1216819 w 1550194"/>
                <a:gd name="connsiteY354" fmla="*/ 202406 h 1509712"/>
                <a:gd name="connsiteX355" fmla="*/ 1223963 w 1550194"/>
                <a:gd name="connsiteY355" fmla="*/ 209550 h 1509712"/>
                <a:gd name="connsiteX356" fmla="*/ 1226344 w 1550194"/>
                <a:gd name="connsiteY356" fmla="*/ 216694 h 1509712"/>
                <a:gd name="connsiteX357" fmla="*/ 1228725 w 1550194"/>
                <a:gd name="connsiteY357" fmla="*/ 228600 h 1509712"/>
                <a:gd name="connsiteX358" fmla="*/ 1235869 w 1550194"/>
                <a:gd name="connsiteY358" fmla="*/ 230981 h 1509712"/>
                <a:gd name="connsiteX359" fmla="*/ 1271588 w 1550194"/>
                <a:gd name="connsiteY359" fmla="*/ 228600 h 1509712"/>
                <a:gd name="connsiteX360" fmla="*/ 1283494 w 1550194"/>
                <a:gd name="connsiteY360" fmla="*/ 178594 h 1509712"/>
                <a:gd name="connsiteX361" fmla="*/ 1295400 w 1550194"/>
                <a:gd name="connsiteY361" fmla="*/ 180975 h 1509712"/>
                <a:gd name="connsiteX362" fmla="*/ 1297781 w 1550194"/>
                <a:gd name="connsiteY362" fmla="*/ 188119 h 1509712"/>
                <a:gd name="connsiteX363" fmla="*/ 1300163 w 1550194"/>
                <a:gd name="connsiteY363" fmla="*/ 200025 h 1509712"/>
                <a:gd name="connsiteX364" fmla="*/ 1307306 w 1550194"/>
                <a:gd name="connsiteY364" fmla="*/ 202406 h 1509712"/>
                <a:gd name="connsiteX365" fmla="*/ 1323975 w 1550194"/>
                <a:gd name="connsiteY365" fmla="*/ 204787 h 1509712"/>
                <a:gd name="connsiteX366" fmla="*/ 1333500 w 1550194"/>
                <a:gd name="connsiteY366" fmla="*/ 214312 h 1509712"/>
                <a:gd name="connsiteX367" fmla="*/ 1340644 w 1550194"/>
                <a:gd name="connsiteY367" fmla="*/ 219075 h 1509712"/>
                <a:gd name="connsiteX368" fmla="*/ 1343025 w 1550194"/>
                <a:gd name="connsiteY368" fmla="*/ 280987 h 1509712"/>
                <a:gd name="connsiteX369" fmla="*/ 1338263 w 1550194"/>
                <a:gd name="connsiteY369" fmla="*/ 288131 h 1509712"/>
                <a:gd name="connsiteX370" fmla="*/ 1326356 w 1550194"/>
                <a:gd name="connsiteY370" fmla="*/ 302419 h 1509712"/>
                <a:gd name="connsiteX371" fmla="*/ 1319213 w 1550194"/>
                <a:gd name="connsiteY371" fmla="*/ 473869 h 1509712"/>
                <a:gd name="connsiteX372" fmla="*/ 1312069 w 1550194"/>
                <a:gd name="connsiteY372" fmla="*/ 478631 h 1509712"/>
                <a:gd name="connsiteX373" fmla="*/ 1300163 w 1550194"/>
                <a:gd name="connsiteY373" fmla="*/ 481012 h 1509712"/>
                <a:gd name="connsiteX374" fmla="*/ 1293019 w 1550194"/>
                <a:gd name="connsiteY374" fmla="*/ 483394 h 1509712"/>
                <a:gd name="connsiteX375" fmla="*/ 1285875 w 1550194"/>
                <a:gd name="connsiteY375" fmla="*/ 490537 h 1509712"/>
                <a:gd name="connsiteX376" fmla="*/ 1281113 w 1550194"/>
                <a:gd name="connsiteY376" fmla="*/ 497681 h 1509712"/>
                <a:gd name="connsiteX377" fmla="*/ 1273969 w 1550194"/>
                <a:gd name="connsiteY377" fmla="*/ 502444 h 1509712"/>
                <a:gd name="connsiteX378" fmla="*/ 1266825 w 1550194"/>
                <a:gd name="connsiteY378" fmla="*/ 516731 h 1509712"/>
                <a:gd name="connsiteX379" fmla="*/ 1264444 w 1550194"/>
                <a:gd name="connsiteY379" fmla="*/ 523875 h 1509712"/>
                <a:gd name="connsiteX380" fmla="*/ 1266825 w 1550194"/>
                <a:gd name="connsiteY380" fmla="*/ 538162 h 1509712"/>
                <a:gd name="connsiteX381" fmla="*/ 1273969 w 1550194"/>
                <a:gd name="connsiteY381" fmla="*/ 545306 h 1509712"/>
                <a:gd name="connsiteX382" fmla="*/ 1283494 w 1550194"/>
                <a:gd name="connsiteY382" fmla="*/ 559594 h 1509712"/>
                <a:gd name="connsiteX383" fmla="*/ 1293019 w 1550194"/>
                <a:gd name="connsiteY383" fmla="*/ 573881 h 1509712"/>
                <a:gd name="connsiteX384" fmla="*/ 1295400 w 1550194"/>
                <a:gd name="connsiteY384" fmla="*/ 581025 h 1509712"/>
                <a:gd name="connsiteX385" fmla="*/ 1307306 w 1550194"/>
                <a:gd name="connsiteY385" fmla="*/ 595312 h 1509712"/>
                <a:gd name="connsiteX386" fmla="*/ 1309688 w 1550194"/>
                <a:gd name="connsiteY386" fmla="*/ 602456 h 1509712"/>
                <a:gd name="connsiteX387" fmla="*/ 1316831 w 1550194"/>
                <a:gd name="connsiteY387" fmla="*/ 604837 h 1509712"/>
                <a:gd name="connsiteX388" fmla="*/ 1323975 w 1550194"/>
                <a:gd name="connsiteY388" fmla="*/ 609600 h 1509712"/>
                <a:gd name="connsiteX389" fmla="*/ 1333500 w 1550194"/>
                <a:gd name="connsiteY389" fmla="*/ 616744 h 1509712"/>
                <a:gd name="connsiteX390" fmla="*/ 1340644 w 1550194"/>
                <a:gd name="connsiteY390" fmla="*/ 619125 h 1509712"/>
                <a:gd name="connsiteX391" fmla="*/ 1381125 w 1550194"/>
                <a:gd name="connsiteY391" fmla="*/ 621506 h 1509712"/>
                <a:gd name="connsiteX392" fmla="*/ 1390650 w 1550194"/>
                <a:gd name="connsiteY392" fmla="*/ 638175 h 1509712"/>
                <a:gd name="connsiteX393" fmla="*/ 1395413 w 1550194"/>
                <a:gd name="connsiteY393" fmla="*/ 652462 h 1509712"/>
                <a:gd name="connsiteX394" fmla="*/ 1400175 w 1550194"/>
                <a:gd name="connsiteY394" fmla="*/ 669131 h 1509712"/>
                <a:gd name="connsiteX395" fmla="*/ 1397794 w 1550194"/>
                <a:gd name="connsiteY395" fmla="*/ 742950 h 1509712"/>
                <a:gd name="connsiteX396" fmla="*/ 1390650 w 1550194"/>
                <a:gd name="connsiteY396" fmla="*/ 747712 h 1509712"/>
                <a:gd name="connsiteX397" fmla="*/ 1388269 w 1550194"/>
                <a:gd name="connsiteY397" fmla="*/ 759619 h 1509712"/>
                <a:gd name="connsiteX398" fmla="*/ 1390650 w 1550194"/>
                <a:gd name="connsiteY398" fmla="*/ 885825 h 1509712"/>
                <a:gd name="connsiteX399" fmla="*/ 1395413 w 1550194"/>
                <a:gd name="connsiteY399" fmla="*/ 907256 h 1509712"/>
                <a:gd name="connsiteX400" fmla="*/ 1400175 w 1550194"/>
                <a:gd name="connsiteY400" fmla="*/ 926306 h 1509712"/>
                <a:gd name="connsiteX401" fmla="*/ 1404938 w 1550194"/>
                <a:gd name="connsiteY401" fmla="*/ 933450 h 1509712"/>
                <a:gd name="connsiteX402" fmla="*/ 1407319 w 1550194"/>
                <a:gd name="connsiteY402" fmla="*/ 947737 h 1509712"/>
                <a:gd name="connsiteX403" fmla="*/ 1412081 w 1550194"/>
                <a:gd name="connsiteY403" fmla="*/ 962025 h 1509712"/>
                <a:gd name="connsiteX404" fmla="*/ 1414463 w 1550194"/>
                <a:gd name="connsiteY404" fmla="*/ 971550 h 1509712"/>
                <a:gd name="connsiteX405" fmla="*/ 1416844 w 1550194"/>
                <a:gd name="connsiteY405" fmla="*/ 978694 h 1509712"/>
                <a:gd name="connsiteX406" fmla="*/ 1423988 w 1550194"/>
                <a:gd name="connsiteY406" fmla="*/ 1004887 h 1509712"/>
                <a:gd name="connsiteX407" fmla="*/ 1426369 w 1550194"/>
                <a:gd name="connsiteY407" fmla="*/ 1021556 h 1509712"/>
                <a:gd name="connsiteX408" fmla="*/ 1428750 w 1550194"/>
                <a:gd name="connsiteY408" fmla="*/ 1031081 h 1509712"/>
                <a:gd name="connsiteX409" fmla="*/ 1431131 w 1550194"/>
                <a:gd name="connsiteY409" fmla="*/ 1042987 h 1509712"/>
                <a:gd name="connsiteX410" fmla="*/ 1435894 w 1550194"/>
                <a:gd name="connsiteY410" fmla="*/ 1073944 h 1509712"/>
                <a:gd name="connsiteX411" fmla="*/ 1440656 w 1550194"/>
                <a:gd name="connsiteY411" fmla="*/ 1092994 h 1509712"/>
                <a:gd name="connsiteX412" fmla="*/ 1445419 w 1550194"/>
                <a:gd name="connsiteY412" fmla="*/ 1102519 h 1509712"/>
                <a:gd name="connsiteX413" fmla="*/ 1452563 w 1550194"/>
                <a:gd name="connsiteY413" fmla="*/ 1121569 h 1509712"/>
                <a:gd name="connsiteX414" fmla="*/ 1459706 w 1550194"/>
                <a:gd name="connsiteY414" fmla="*/ 1145381 h 1509712"/>
                <a:gd name="connsiteX415" fmla="*/ 1469231 w 1550194"/>
                <a:gd name="connsiteY415" fmla="*/ 1154906 h 1509712"/>
                <a:gd name="connsiteX416" fmla="*/ 1476375 w 1550194"/>
                <a:gd name="connsiteY416" fmla="*/ 1164431 h 1509712"/>
                <a:gd name="connsiteX417" fmla="*/ 1481138 w 1550194"/>
                <a:gd name="connsiteY417" fmla="*/ 1171575 h 1509712"/>
                <a:gd name="connsiteX418" fmla="*/ 1488281 w 1550194"/>
                <a:gd name="connsiteY418" fmla="*/ 1176337 h 1509712"/>
                <a:gd name="connsiteX419" fmla="*/ 1493044 w 1550194"/>
                <a:gd name="connsiteY419" fmla="*/ 1183481 h 1509712"/>
                <a:gd name="connsiteX420" fmla="*/ 1500188 w 1550194"/>
                <a:gd name="connsiteY420" fmla="*/ 1188244 h 1509712"/>
                <a:gd name="connsiteX421" fmla="*/ 1516856 w 1550194"/>
                <a:gd name="connsiteY421" fmla="*/ 1195387 h 1509712"/>
                <a:gd name="connsiteX422" fmla="*/ 1538288 w 1550194"/>
                <a:gd name="connsiteY422" fmla="*/ 1197769 h 1509712"/>
                <a:gd name="connsiteX423" fmla="*/ 1545431 w 1550194"/>
                <a:gd name="connsiteY423" fmla="*/ 1200150 h 1509712"/>
                <a:gd name="connsiteX424" fmla="*/ 1547813 w 1550194"/>
                <a:gd name="connsiteY424" fmla="*/ 1214437 h 1509712"/>
                <a:gd name="connsiteX425" fmla="*/ 1550194 w 1550194"/>
                <a:gd name="connsiteY425" fmla="*/ 1221581 h 1509712"/>
                <a:gd name="connsiteX426" fmla="*/ 1547813 w 1550194"/>
                <a:gd name="connsiteY426" fmla="*/ 1266825 h 1509712"/>
                <a:gd name="connsiteX427" fmla="*/ 1545431 w 1550194"/>
                <a:gd name="connsiteY427" fmla="*/ 1273969 h 1509712"/>
                <a:gd name="connsiteX428" fmla="*/ 1538288 w 1550194"/>
                <a:gd name="connsiteY428" fmla="*/ 1278731 h 1509712"/>
                <a:gd name="connsiteX429" fmla="*/ 1531144 w 1550194"/>
                <a:gd name="connsiteY429" fmla="*/ 1293019 h 1509712"/>
                <a:gd name="connsiteX430" fmla="*/ 1524000 w 1550194"/>
                <a:gd name="connsiteY430" fmla="*/ 1300162 h 1509712"/>
                <a:gd name="connsiteX431" fmla="*/ 1514475 w 1550194"/>
                <a:gd name="connsiteY431" fmla="*/ 1314450 h 1509712"/>
                <a:gd name="connsiteX432" fmla="*/ 1502569 w 1550194"/>
                <a:gd name="connsiteY432" fmla="*/ 1331119 h 1509712"/>
                <a:gd name="connsiteX433" fmla="*/ 1502569 w 1550194"/>
                <a:gd name="connsiteY433" fmla="*/ 1431131 h 1509712"/>
                <a:gd name="connsiteX434" fmla="*/ 1490663 w 1550194"/>
                <a:gd name="connsiteY434" fmla="*/ 1443037 h 1509712"/>
                <a:gd name="connsiteX435" fmla="*/ 1478756 w 1550194"/>
                <a:gd name="connsiteY435" fmla="*/ 1457325 h 1509712"/>
                <a:gd name="connsiteX436" fmla="*/ 1473994 w 1550194"/>
                <a:gd name="connsiteY436" fmla="*/ 1473994 h 1509712"/>
                <a:gd name="connsiteX437" fmla="*/ 1471613 w 1550194"/>
                <a:gd name="connsiteY437" fmla="*/ 1500187 h 1509712"/>
                <a:gd name="connsiteX438" fmla="*/ 1464469 w 1550194"/>
                <a:gd name="connsiteY438" fmla="*/ 1507331 h 1509712"/>
                <a:gd name="connsiteX439" fmla="*/ 1462088 w 1550194"/>
                <a:gd name="connsiteY439" fmla="*/ 1509712 h 1509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Lst>
              <a:rect l="l" t="t" r="r" b="b"/>
              <a:pathLst>
                <a:path w="1550194" h="1509712">
                  <a:moveTo>
                    <a:pt x="111919" y="1500187"/>
                  </a:moveTo>
                  <a:cubicBezTo>
                    <a:pt x="111125" y="1489868"/>
                    <a:pt x="111445" y="1479403"/>
                    <a:pt x="109538" y="1469231"/>
                  </a:cubicBezTo>
                  <a:cubicBezTo>
                    <a:pt x="109011" y="1466418"/>
                    <a:pt x="106055" y="1464647"/>
                    <a:pt x="104775" y="1462087"/>
                  </a:cubicBezTo>
                  <a:cubicBezTo>
                    <a:pt x="94915" y="1442369"/>
                    <a:pt x="111282" y="1468276"/>
                    <a:pt x="97631" y="1447800"/>
                  </a:cubicBezTo>
                  <a:cubicBezTo>
                    <a:pt x="98425" y="1439862"/>
                    <a:pt x="98800" y="1431871"/>
                    <a:pt x="100013" y="1423987"/>
                  </a:cubicBezTo>
                  <a:cubicBezTo>
                    <a:pt x="100395" y="1421506"/>
                    <a:pt x="102131" y="1419340"/>
                    <a:pt x="102394" y="1416844"/>
                  </a:cubicBezTo>
                  <a:cubicBezTo>
                    <a:pt x="102801" y="1412981"/>
                    <a:pt x="101172" y="1383568"/>
                    <a:pt x="107156" y="1371600"/>
                  </a:cubicBezTo>
                  <a:cubicBezTo>
                    <a:pt x="108436" y="1369040"/>
                    <a:pt x="110331" y="1366837"/>
                    <a:pt x="111919" y="1364456"/>
                  </a:cubicBezTo>
                  <a:cubicBezTo>
                    <a:pt x="117101" y="1343726"/>
                    <a:pt x="115612" y="1353765"/>
                    <a:pt x="111919" y="1316831"/>
                  </a:cubicBezTo>
                  <a:cubicBezTo>
                    <a:pt x="111728" y="1314920"/>
                    <a:pt x="108427" y="1302703"/>
                    <a:pt x="107156" y="1300162"/>
                  </a:cubicBezTo>
                  <a:cubicBezTo>
                    <a:pt x="105876" y="1297603"/>
                    <a:pt x="103981" y="1295400"/>
                    <a:pt x="102394" y="1293019"/>
                  </a:cubicBezTo>
                  <a:cubicBezTo>
                    <a:pt x="97759" y="1279113"/>
                    <a:pt x="103639" y="1291881"/>
                    <a:pt x="92869" y="1281112"/>
                  </a:cubicBezTo>
                  <a:cubicBezTo>
                    <a:pt x="76990" y="1265235"/>
                    <a:pt x="100015" y="1281910"/>
                    <a:pt x="80963" y="1269206"/>
                  </a:cubicBezTo>
                  <a:cubicBezTo>
                    <a:pt x="69357" y="1251798"/>
                    <a:pt x="84805" y="1272408"/>
                    <a:pt x="66675" y="1257300"/>
                  </a:cubicBezTo>
                  <a:cubicBezTo>
                    <a:pt x="52314" y="1245332"/>
                    <a:pt x="71826" y="1253460"/>
                    <a:pt x="54769" y="1247775"/>
                  </a:cubicBezTo>
                  <a:cubicBezTo>
                    <a:pt x="50088" y="1240753"/>
                    <a:pt x="49736" y="1239214"/>
                    <a:pt x="42863" y="1233487"/>
                  </a:cubicBezTo>
                  <a:cubicBezTo>
                    <a:pt x="40664" y="1231655"/>
                    <a:pt x="37858" y="1230626"/>
                    <a:pt x="35719" y="1228725"/>
                  </a:cubicBezTo>
                  <a:cubicBezTo>
                    <a:pt x="30685" y="1224250"/>
                    <a:pt x="26194" y="1219200"/>
                    <a:pt x="21431" y="1214437"/>
                  </a:cubicBezTo>
                  <a:cubicBezTo>
                    <a:pt x="19050" y="1212056"/>
                    <a:pt x="17090" y="1209162"/>
                    <a:pt x="14288" y="1207294"/>
                  </a:cubicBezTo>
                  <a:lnTo>
                    <a:pt x="7144" y="1202531"/>
                  </a:lnTo>
                  <a:cubicBezTo>
                    <a:pt x="4736" y="1198919"/>
                    <a:pt x="0" y="1193173"/>
                    <a:pt x="0" y="1188244"/>
                  </a:cubicBezTo>
                  <a:cubicBezTo>
                    <a:pt x="0" y="1183416"/>
                    <a:pt x="1434" y="1178691"/>
                    <a:pt x="2381" y="1173956"/>
                  </a:cubicBezTo>
                  <a:cubicBezTo>
                    <a:pt x="3023" y="1170747"/>
                    <a:pt x="2948" y="1167154"/>
                    <a:pt x="4763" y="1164431"/>
                  </a:cubicBezTo>
                  <a:cubicBezTo>
                    <a:pt x="6350" y="1162050"/>
                    <a:pt x="9525" y="1161256"/>
                    <a:pt x="11906" y="1159669"/>
                  </a:cubicBezTo>
                  <a:cubicBezTo>
                    <a:pt x="13494" y="1156494"/>
                    <a:pt x="14606" y="1153033"/>
                    <a:pt x="16669" y="1150144"/>
                  </a:cubicBezTo>
                  <a:cubicBezTo>
                    <a:pt x="27817" y="1134538"/>
                    <a:pt x="21087" y="1151179"/>
                    <a:pt x="26194" y="1135856"/>
                  </a:cubicBezTo>
                  <a:cubicBezTo>
                    <a:pt x="26988" y="1106487"/>
                    <a:pt x="27210" y="1077098"/>
                    <a:pt x="28575" y="1047750"/>
                  </a:cubicBezTo>
                  <a:cubicBezTo>
                    <a:pt x="29095" y="1036566"/>
                    <a:pt x="32222" y="1029667"/>
                    <a:pt x="35719" y="1019175"/>
                  </a:cubicBezTo>
                  <a:cubicBezTo>
                    <a:pt x="36513" y="1016794"/>
                    <a:pt x="37491" y="1014466"/>
                    <a:pt x="38100" y="1012031"/>
                  </a:cubicBezTo>
                  <a:cubicBezTo>
                    <a:pt x="38894" y="1008856"/>
                    <a:pt x="39541" y="1005641"/>
                    <a:pt x="40481" y="1002506"/>
                  </a:cubicBezTo>
                  <a:cubicBezTo>
                    <a:pt x="42645" y="995293"/>
                    <a:pt x="45244" y="988219"/>
                    <a:pt x="47625" y="981075"/>
                  </a:cubicBezTo>
                  <a:lnTo>
                    <a:pt x="52388" y="966787"/>
                  </a:lnTo>
                  <a:cubicBezTo>
                    <a:pt x="61555" y="957620"/>
                    <a:pt x="56729" y="961512"/>
                    <a:pt x="66675" y="954881"/>
                  </a:cubicBezTo>
                  <a:cubicBezTo>
                    <a:pt x="67469" y="952500"/>
                    <a:pt x="67488" y="949697"/>
                    <a:pt x="69056" y="947737"/>
                  </a:cubicBezTo>
                  <a:cubicBezTo>
                    <a:pt x="70844" y="945502"/>
                    <a:pt x="74001" y="944807"/>
                    <a:pt x="76200" y="942975"/>
                  </a:cubicBezTo>
                  <a:cubicBezTo>
                    <a:pt x="78787" y="940819"/>
                    <a:pt x="81276" y="938489"/>
                    <a:pt x="83344" y="935831"/>
                  </a:cubicBezTo>
                  <a:cubicBezTo>
                    <a:pt x="86858" y="931313"/>
                    <a:pt x="92869" y="921544"/>
                    <a:pt x="92869" y="921544"/>
                  </a:cubicBezTo>
                  <a:cubicBezTo>
                    <a:pt x="100533" y="898548"/>
                    <a:pt x="88243" y="934301"/>
                    <a:pt x="100013" y="904875"/>
                  </a:cubicBezTo>
                  <a:cubicBezTo>
                    <a:pt x="101877" y="900214"/>
                    <a:pt x="103188" y="895350"/>
                    <a:pt x="104775" y="890587"/>
                  </a:cubicBezTo>
                  <a:cubicBezTo>
                    <a:pt x="105569" y="888206"/>
                    <a:pt x="105068" y="884836"/>
                    <a:pt x="107156" y="883444"/>
                  </a:cubicBezTo>
                  <a:lnTo>
                    <a:pt x="121444" y="873919"/>
                  </a:lnTo>
                  <a:cubicBezTo>
                    <a:pt x="125242" y="868222"/>
                    <a:pt x="127515" y="863798"/>
                    <a:pt x="133350" y="859631"/>
                  </a:cubicBezTo>
                  <a:cubicBezTo>
                    <a:pt x="136239" y="857568"/>
                    <a:pt x="139793" y="856630"/>
                    <a:pt x="142875" y="854869"/>
                  </a:cubicBezTo>
                  <a:cubicBezTo>
                    <a:pt x="145360" y="853449"/>
                    <a:pt x="147690" y="851770"/>
                    <a:pt x="150019" y="850106"/>
                  </a:cubicBezTo>
                  <a:cubicBezTo>
                    <a:pt x="153248" y="847799"/>
                    <a:pt x="155994" y="844737"/>
                    <a:pt x="159544" y="842962"/>
                  </a:cubicBezTo>
                  <a:cubicBezTo>
                    <a:pt x="162471" y="841498"/>
                    <a:pt x="165803" y="840785"/>
                    <a:pt x="169069" y="840581"/>
                  </a:cubicBezTo>
                  <a:cubicBezTo>
                    <a:pt x="191265" y="839194"/>
                    <a:pt x="213519" y="838994"/>
                    <a:pt x="235744" y="838200"/>
                  </a:cubicBezTo>
                  <a:cubicBezTo>
                    <a:pt x="253701" y="832215"/>
                    <a:pt x="231567" y="840289"/>
                    <a:pt x="250031" y="831056"/>
                  </a:cubicBezTo>
                  <a:cubicBezTo>
                    <a:pt x="252276" y="829933"/>
                    <a:pt x="254794" y="829469"/>
                    <a:pt x="257175" y="828675"/>
                  </a:cubicBezTo>
                  <a:cubicBezTo>
                    <a:pt x="261938" y="825500"/>
                    <a:pt x="265910" y="820538"/>
                    <a:pt x="271463" y="819150"/>
                  </a:cubicBezTo>
                  <a:lnTo>
                    <a:pt x="290513" y="814387"/>
                  </a:lnTo>
                  <a:cubicBezTo>
                    <a:pt x="313293" y="791607"/>
                    <a:pt x="284128" y="818643"/>
                    <a:pt x="304800" y="804862"/>
                  </a:cubicBezTo>
                  <a:cubicBezTo>
                    <a:pt x="307602" y="802994"/>
                    <a:pt x="309357" y="799875"/>
                    <a:pt x="311944" y="797719"/>
                  </a:cubicBezTo>
                  <a:cubicBezTo>
                    <a:pt x="314143" y="795887"/>
                    <a:pt x="316707" y="794544"/>
                    <a:pt x="319088" y="792956"/>
                  </a:cubicBezTo>
                  <a:cubicBezTo>
                    <a:pt x="327818" y="779859"/>
                    <a:pt x="319088" y="790971"/>
                    <a:pt x="330994" y="781050"/>
                  </a:cubicBezTo>
                  <a:cubicBezTo>
                    <a:pt x="342887" y="771140"/>
                    <a:pt x="332727" y="775710"/>
                    <a:pt x="345281" y="771525"/>
                  </a:cubicBezTo>
                  <a:cubicBezTo>
                    <a:pt x="350549" y="766257"/>
                    <a:pt x="352936" y="762935"/>
                    <a:pt x="359569" y="759619"/>
                  </a:cubicBezTo>
                  <a:cubicBezTo>
                    <a:pt x="361814" y="758496"/>
                    <a:pt x="364332" y="758031"/>
                    <a:pt x="366713" y="757237"/>
                  </a:cubicBezTo>
                  <a:cubicBezTo>
                    <a:pt x="368300" y="754856"/>
                    <a:pt x="369277" y="751926"/>
                    <a:pt x="371475" y="750094"/>
                  </a:cubicBezTo>
                  <a:cubicBezTo>
                    <a:pt x="375400" y="746823"/>
                    <a:pt x="383179" y="744605"/>
                    <a:pt x="388144" y="742950"/>
                  </a:cubicBezTo>
                  <a:cubicBezTo>
                    <a:pt x="393411" y="737683"/>
                    <a:pt x="395800" y="734359"/>
                    <a:pt x="402431" y="731044"/>
                  </a:cubicBezTo>
                  <a:cubicBezTo>
                    <a:pt x="422137" y="721191"/>
                    <a:pt x="394328" y="738762"/>
                    <a:pt x="419100" y="723900"/>
                  </a:cubicBezTo>
                  <a:cubicBezTo>
                    <a:pt x="439572" y="711618"/>
                    <a:pt x="426162" y="716784"/>
                    <a:pt x="440531" y="711994"/>
                  </a:cubicBezTo>
                  <a:cubicBezTo>
                    <a:pt x="453318" y="703470"/>
                    <a:pt x="450963" y="703230"/>
                    <a:pt x="461963" y="700087"/>
                  </a:cubicBezTo>
                  <a:cubicBezTo>
                    <a:pt x="465110" y="699188"/>
                    <a:pt x="468313" y="698500"/>
                    <a:pt x="471488" y="697706"/>
                  </a:cubicBezTo>
                  <a:cubicBezTo>
                    <a:pt x="473869" y="696119"/>
                    <a:pt x="476072" y="694224"/>
                    <a:pt x="478631" y="692944"/>
                  </a:cubicBezTo>
                  <a:cubicBezTo>
                    <a:pt x="482051" y="691234"/>
                    <a:pt x="492242" y="688945"/>
                    <a:pt x="495300" y="688181"/>
                  </a:cubicBezTo>
                  <a:cubicBezTo>
                    <a:pt x="520810" y="671177"/>
                    <a:pt x="482106" y="697651"/>
                    <a:pt x="509588" y="676275"/>
                  </a:cubicBezTo>
                  <a:cubicBezTo>
                    <a:pt x="521870" y="666722"/>
                    <a:pt x="520240" y="667961"/>
                    <a:pt x="531019" y="664369"/>
                  </a:cubicBezTo>
                  <a:cubicBezTo>
                    <a:pt x="532606" y="661988"/>
                    <a:pt x="533627" y="659110"/>
                    <a:pt x="535781" y="657225"/>
                  </a:cubicBezTo>
                  <a:cubicBezTo>
                    <a:pt x="540089" y="653456"/>
                    <a:pt x="550069" y="647700"/>
                    <a:pt x="550069" y="647700"/>
                  </a:cubicBezTo>
                  <a:cubicBezTo>
                    <a:pt x="550863" y="645319"/>
                    <a:pt x="551058" y="642645"/>
                    <a:pt x="552450" y="640556"/>
                  </a:cubicBezTo>
                  <a:cubicBezTo>
                    <a:pt x="556117" y="635055"/>
                    <a:pt x="561466" y="632164"/>
                    <a:pt x="566738" y="628650"/>
                  </a:cubicBezTo>
                  <a:cubicBezTo>
                    <a:pt x="569913" y="623887"/>
                    <a:pt x="574453" y="619792"/>
                    <a:pt x="576263" y="614362"/>
                  </a:cubicBezTo>
                  <a:lnTo>
                    <a:pt x="581025" y="600075"/>
                  </a:lnTo>
                  <a:cubicBezTo>
                    <a:pt x="580231" y="579437"/>
                    <a:pt x="580065" y="558766"/>
                    <a:pt x="578644" y="538162"/>
                  </a:cubicBezTo>
                  <a:cubicBezTo>
                    <a:pt x="578471" y="535658"/>
                    <a:pt x="575331" y="533349"/>
                    <a:pt x="576263" y="531019"/>
                  </a:cubicBezTo>
                  <a:cubicBezTo>
                    <a:pt x="577684" y="527467"/>
                    <a:pt x="587542" y="524878"/>
                    <a:pt x="590550" y="523875"/>
                  </a:cubicBezTo>
                  <a:cubicBezTo>
                    <a:pt x="592138" y="521494"/>
                    <a:pt x="593078" y="518519"/>
                    <a:pt x="595313" y="516731"/>
                  </a:cubicBezTo>
                  <a:cubicBezTo>
                    <a:pt x="597273" y="515163"/>
                    <a:pt x="600681" y="516125"/>
                    <a:pt x="602456" y="514350"/>
                  </a:cubicBezTo>
                  <a:cubicBezTo>
                    <a:pt x="606503" y="510302"/>
                    <a:pt x="611981" y="500062"/>
                    <a:pt x="611981" y="500062"/>
                  </a:cubicBezTo>
                  <a:cubicBezTo>
                    <a:pt x="611187" y="494506"/>
                    <a:pt x="611213" y="488770"/>
                    <a:pt x="609600" y="483394"/>
                  </a:cubicBezTo>
                  <a:cubicBezTo>
                    <a:pt x="608778" y="480653"/>
                    <a:pt x="606118" y="478810"/>
                    <a:pt x="604838" y="476250"/>
                  </a:cubicBezTo>
                  <a:cubicBezTo>
                    <a:pt x="603715" y="474005"/>
                    <a:pt x="603116" y="471528"/>
                    <a:pt x="602456" y="469106"/>
                  </a:cubicBezTo>
                  <a:cubicBezTo>
                    <a:pt x="598150" y="453318"/>
                    <a:pt x="598089" y="452030"/>
                    <a:pt x="595313" y="438150"/>
                  </a:cubicBezTo>
                  <a:cubicBezTo>
                    <a:pt x="596629" y="426301"/>
                    <a:pt x="595058" y="410538"/>
                    <a:pt x="607219" y="402431"/>
                  </a:cubicBezTo>
                  <a:lnTo>
                    <a:pt x="621506" y="392906"/>
                  </a:lnTo>
                  <a:cubicBezTo>
                    <a:pt x="621926" y="397101"/>
                    <a:pt x="622892" y="418364"/>
                    <a:pt x="626269" y="426244"/>
                  </a:cubicBezTo>
                  <a:cubicBezTo>
                    <a:pt x="627396" y="428874"/>
                    <a:pt x="629444" y="431006"/>
                    <a:pt x="631031" y="433387"/>
                  </a:cubicBezTo>
                  <a:cubicBezTo>
                    <a:pt x="634802" y="448465"/>
                    <a:pt x="631597" y="440188"/>
                    <a:pt x="642938" y="457200"/>
                  </a:cubicBezTo>
                  <a:cubicBezTo>
                    <a:pt x="644525" y="459581"/>
                    <a:pt x="645319" y="462757"/>
                    <a:pt x="647700" y="464344"/>
                  </a:cubicBezTo>
                  <a:lnTo>
                    <a:pt x="654844" y="469106"/>
                  </a:lnTo>
                  <a:cubicBezTo>
                    <a:pt x="656431" y="471487"/>
                    <a:pt x="659290" y="473406"/>
                    <a:pt x="659606" y="476250"/>
                  </a:cubicBezTo>
                  <a:cubicBezTo>
                    <a:pt x="660684" y="485953"/>
                    <a:pt x="656412" y="492164"/>
                    <a:pt x="652463" y="500062"/>
                  </a:cubicBezTo>
                  <a:cubicBezTo>
                    <a:pt x="652484" y="500144"/>
                    <a:pt x="656087" y="515593"/>
                    <a:pt x="657225" y="516731"/>
                  </a:cubicBezTo>
                  <a:cubicBezTo>
                    <a:pt x="663706" y="523212"/>
                    <a:pt x="670422" y="526391"/>
                    <a:pt x="678656" y="528637"/>
                  </a:cubicBezTo>
                  <a:cubicBezTo>
                    <a:pt x="684971" y="530359"/>
                    <a:pt x="697706" y="533400"/>
                    <a:pt x="697706" y="533400"/>
                  </a:cubicBezTo>
                  <a:cubicBezTo>
                    <a:pt x="702978" y="536914"/>
                    <a:pt x="708327" y="539805"/>
                    <a:pt x="711994" y="545306"/>
                  </a:cubicBezTo>
                  <a:cubicBezTo>
                    <a:pt x="713386" y="547395"/>
                    <a:pt x="713252" y="550205"/>
                    <a:pt x="714375" y="552450"/>
                  </a:cubicBezTo>
                  <a:cubicBezTo>
                    <a:pt x="715655" y="555010"/>
                    <a:pt x="717550" y="557213"/>
                    <a:pt x="719138" y="559594"/>
                  </a:cubicBezTo>
                  <a:cubicBezTo>
                    <a:pt x="719932" y="561975"/>
                    <a:pt x="719951" y="564777"/>
                    <a:pt x="721519" y="566737"/>
                  </a:cubicBezTo>
                  <a:cubicBezTo>
                    <a:pt x="724877" y="570934"/>
                    <a:pt x="731099" y="572312"/>
                    <a:pt x="735806" y="573881"/>
                  </a:cubicBezTo>
                  <a:cubicBezTo>
                    <a:pt x="743095" y="572059"/>
                    <a:pt x="746992" y="572220"/>
                    <a:pt x="752475" y="566737"/>
                  </a:cubicBezTo>
                  <a:cubicBezTo>
                    <a:pt x="754499" y="564713"/>
                    <a:pt x="755650" y="561975"/>
                    <a:pt x="757238" y="559594"/>
                  </a:cubicBezTo>
                  <a:cubicBezTo>
                    <a:pt x="761773" y="545986"/>
                    <a:pt x="755877" y="557327"/>
                    <a:pt x="766763" y="550069"/>
                  </a:cubicBezTo>
                  <a:cubicBezTo>
                    <a:pt x="772261" y="546403"/>
                    <a:pt x="775156" y="541050"/>
                    <a:pt x="778669" y="535781"/>
                  </a:cubicBezTo>
                  <a:cubicBezTo>
                    <a:pt x="777875" y="519112"/>
                    <a:pt x="778131" y="502360"/>
                    <a:pt x="776288" y="485775"/>
                  </a:cubicBezTo>
                  <a:cubicBezTo>
                    <a:pt x="775734" y="480785"/>
                    <a:pt x="773113" y="476250"/>
                    <a:pt x="771525" y="471487"/>
                  </a:cubicBezTo>
                  <a:lnTo>
                    <a:pt x="769144" y="464344"/>
                  </a:lnTo>
                  <a:cubicBezTo>
                    <a:pt x="768350" y="459581"/>
                    <a:pt x="767107" y="454872"/>
                    <a:pt x="766763" y="450056"/>
                  </a:cubicBezTo>
                  <a:cubicBezTo>
                    <a:pt x="765517" y="432620"/>
                    <a:pt x="772982" y="412887"/>
                    <a:pt x="764381" y="397669"/>
                  </a:cubicBezTo>
                  <a:cubicBezTo>
                    <a:pt x="759678" y="389348"/>
                    <a:pt x="745331" y="396081"/>
                    <a:pt x="735806" y="395287"/>
                  </a:cubicBezTo>
                  <a:cubicBezTo>
                    <a:pt x="732754" y="394524"/>
                    <a:pt x="722554" y="392233"/>
                    <a:pt x="719138" y="390525"/>
                  </a:cubicBezTo>
                  <a:cubicBezTo>
                    <a:pt x="712509" y="387210"/>
                    <a:pt x="710116" y="383884"/>
                    <a:pt x="704850" y="378619"/>
                  </a:cubicBezTo>
                  <a:cubicBezTo>
                    <a:pt x="699596" y="362855"/>
                    <a:pt x="697513" y="363455"/>
                    <a:pt x="702469" y="345281"/>
                  </a:cubicBezTo>
                  <a:cubicBezTo>
                    <a:pt x="703222" y="342520"/>
                    <a:pt x="705207" y="340161"/>
                    <a:pt x="707231" y="338137"/>
                  </a:cubicBezTo>
                  <a:cubicBezTo>
                    <a:pt x="709255" y="336113"/>
                    <a:pt x="712236" y="335276"/>
                    <a:pt x="714375" y="333375"/>
                  </a:cubicBezTo>
                  <a:cubicBezTo>
                    <a:pt x="719409" y="328900"/>
                    <a:pt x="723059" y="322823"/>
                    <a:pt x="728663" y="319087"/>
                  </a:cubicBezTo>
                  <a:cubicBezTo>
                    <a:pt x="733425" y="315912"/>
                    <a:pt x="738903" y="313609"/>
                    <a:pt x="742950" y="309562"/>
                  </a:cubicBezTo>
                  <a:lnTo>
                    <a:pt x="757238" y="295275"/>
                  </a:lnTo>
                  <a:cubicBezTo>
                    <a:pt x="758825" y="290512"/>
                    <a:pt x="760782" y="285857"/>
                    <a:pt x="762000" y="280987"/>
                  </a:cubicBezTo>
                  <a:cubicBezTo>
                    <a:pt x="763588" y="274637"/>
                    <a:pt x="763132" y="267383"/>
                    <a:pt x="766763" y="261937"/>
                  </a:cubicBezTo>
                  <a:lnTo>
                    <a:pt x="776288" y="247650"/>
                  </a:lnTo>
                  <a:lnTo>
                    <a:pt x="781050" y="240506"/>
                  </a:lnTo>
                  <a:cubicBezTo>
                    <a:pt x="780256" y="236537"/>
                    <a:pt x="780090" y="232390"/>
                    <a:pt x="778669" y="228600"/>
                  </a:cubicBezTo>
                  <a:cubicBezTo>
                    <a:pt x="776680" y="223297"/>
                    <a:pt x="770467" y="218017"/>
                    <a:pt x="766763" y="214312"/>
                  </a:cubicBezTo>
                  <a:cubicBezTo>
                    <a:pt x="767557" y="208756"/>
                    <a:pt x="766634" y="202664"/>
                    <a:pt x="769144" y="197644"/>
                  </a:cubicBezTo>
                  <a:cubicBezTo>
                    <a:pt x="770267" y="195399"/>
                    <a:pt x="774094" y="196481"/>
                    <a:pt x="776288" y="195262"/>
                  </a:cubicBezTo>
                  <a:cubicBezTo>
                    <a:pt x="781291" y="192482"/>
                    <a:pt x="785813" y="188912"/>
                    <a:pt x="790575" y="185737"/>
                  </a:cubicBezTo>
                  <a:cubicBezTo>
                    <a:pt x="792956" y="184150"/>
                    <a:pt x="795430" y="182692"/>
                    <a:pt x="797719" y="180975"/>
                  </a:cubicBezTo>
                  <a:cubicBezTo>
                    <a:pt x="800894" y="178594"/>
                    <a:pt x="803617" y="175443"/>
                    <a:pt x="807244" y="173831"/>
                  </a:cubicBezTo>
                  <a:cubicBezTo>
                    <a:pt x="811512" y="171934"/>
                    <a:pt x="837133" y="169202"/>
                    <a:pt x="838200" y="169069"/>
                  </a:cubicBezTo>
                  <a:cubicBezTo>
                    <a:pt x="854365" y="163679"/>
                    <a:pt x="835763" y="171506"/>
                    <a:pt x="854869" y="152400"/>
                  </a:cubicBezTo>
                  <a:cubicBezTo>
                    <a:pt x="864036" y="143233"/>
                    <a:pt x="859211" y="147124"/>
                    <a:pt x="869156" y="140494"/>
                  </a:cubicBezTo>
                  <a:cubicBezTo>
                    <a:pt x="870744" y="138113"/>
                    <a:pt x="871895" y="135374"/>
                    <a:pt x="873919" y="133350"/>
                  </a:cubicBezTo>
                  <a:cubicBezTo>
                    <a:pt x="875943" y="131326"/>
                    <a:pt x="879275" y="130822"/>
                    <a:pt x="881063" y="128587"/>
                  </a:cubicBezTo>
                  <a:cubicBezTo>
                    <a:pt x="882631" y="126627"/>
                    <a:pt x="882322" y="123689"/>
                    <a:pt x="883444" y="121444"/>
                  </a:cubicBezTo>
                  <a:cubicBezTo>
                    <a:pt x="884724" y="118884"/>
                    <a:pt x="887044" y="116915"/>
                    <a:pt x="888206" y="114300"/>
                  </a:cubicBezTo>
                  <a:cubicBezTo>
                    <a:pt x="899539" y="88799"/>
                    <a:pt x="886955" y="109033"/>
                    <a:pt x="897731" y="92869"/>
                  </a:cubicBezTo>
                  <a:cubicBezTo>
                    <a:pt x="898525" y="88900"/>
                    <a:pt x="898692" y="84752"/>
                    <a:pt x="900113" y="80962"/>
                  </a:cubicBezTo>
                  <a:cubicBezTo>
                    <a:pt x="908846" y="57676"/>
                    <a:pt x="901709" y="88862"/>
                    <a:pt x="907256" y="66675"/>
                  </a:cubicBezTo>
                  <a:cubicBezTo>
                    <a:pt x="908238" y="62749"/>
                    <a:pt x="908573" y="58674"/>
                    <a:pt x="909638" y="54769"/>
                  </a:cubicBezTo>
                  <a:cubicBezTo>
                    <a:pt x="910959" y="49926"/>
                    <a:pt x="912813" y="45244"/>
                    <a:pt x="914400" y="40481"/>
                  </a:cubicBezTo>
                  <a:lnTo>
                    <a:pt x="916781" y="33337"/>
                  </a:lnTo>
                  <a:lnTo>
                    <a:pt x="919163" y="26194"/>
                  </a:lnTo>
                  <a:cubicBezTo>
                    <a:pt x="919957" y="23813"/>
                    <a:pt x="919299" y="20173"/>
                    <a:pt x="921544" y="19050"/>
                  </a:cubicBezTo>
                  <a:cubicBezTo>
                    <a:pt x="947650" y="5996"/>
                    <a:pt x="915687" y="23234"/>
                    <a:pt x="938213" y="7144"/>
                  </a:cubicBezTo>
                  <a:cubicBezTo>
                    <a:pt x="943364" y="3465"/>
                    <a:pt x="949050" y="1944"/>
                    <a:pt x="954881" y="0"/>
                  </a:cubicBezTo>
                  <a:lnTo>
                    <a:pt x="995363" y="2381"/>
                  </a:lnTo>
                  <a:cubicBezTo>
                    <a:pt x="1001806" y="4342"/>
                    <a:pt x="1003260" y="14539"/>
                    <a:pt x="1009650" y="16669"/>
                  </a:cubicBezTo>
                  <a:lnTo>
                    <a:pt x="1023938" y="21431"/>
                  </a:lnTo>
                  <a:cubicBezTo>
                    <a:pt x="1040000" y="37494"/>
                    <a:pt x="1031835" y="33589"/>
                    <a:pt x="1045369" y="38100"/>
                  </a:cubicBezTo>
                  <a:cubicBezTo>
                    <a:pt x="1056392" y="54634"/>
                    <a:pt x="1060567" y="54419"/>
                    <a:pt x="1052513" y="78581"/>
                  </a:cubicBezTo>
                  <a:cubicBezTo>
                    <a:pt x="1051719" y="80962"/>
                    <a:pt x="1047819" y="80417"/>
                    <a:pt x="1045369" y="80962"/>
                  </a:cubicBezTo>
                  <a:cubicBezTo>
                    <a:pt x="1020227" y="86549"/>
                    <a:pt x="1040017" y="80365"/>
                    <a:pt x="1023938" y="85725"/>
                  </a:cubicBezTo>
                  <a:cubicBezTo>
                    <a:pt x="1018674" y="90989"/>
                    <a:pt x="1015345" y="93384"/>
                    <a:pt x="1012031" y="100012"/>
                  </a:cubicBezTo>
                  <a:cubicBezTo>
                    <a:pt x="1010908" y="102257"/>
                    <a:pt x="1010639" y="104849"/>
                    <a:pt x="1009650" y="107156"/>
                  </a:cubicBezTo>
                  <a:cubicBezTo>
                    <a:pt x="1007594" y="111954"/>
                    <a:pt x="1003643" y="119603"/>
                    <a:pt x="1000125" y="123825"/>
                  </a:cubicBezTo>
                  <a:cubicBezTo>
                    <a:pt x="997969" y="126412"/>
                    <a:pt x="995362" y="128588"/>
                    <a:pt x="992981" y="130969"/>
                  </a:cubicBezTo>
                  <a:cubicBezTo>
                    <a:pt x="992187" y="133350"/>
                    <a:pt x="991992" y="136024"/>
                    <a:pt x="990600" y="138112"/>
                  </a:cubicBezTo>
                  <a:cubicBezTo>
                    <a:pt x="979092" y="155373"/>
                    <a:pt x="986916" y="134225"/>
                    <a:pt x="978694" y="154781"/>
                  </a:cubicBezTo>
                  <a:cubicBezTo>
                    <a:pt x="976830" y="159442"/>
                    <a:pt x="975519" y="164306"/>
                    <a:pt x="973931" y="169069"/>
                  </a:cubicBezTo>
                  <a:cubicBezTo>
                    <a:pt x="970324" y="179891"/>
                    <a:pt x="966021" y="191101"/>
                    <a:pt x="964406" y="202406"/>
                  </a:cubicBezTo>
                  <a:lnTo>
                    <a:pt x="962025" y="219075"/>
                  </a:lnTo>
                  <a:cubicBezTo>
                    <a:pt x="962819" y="247650"/>
                    <a:pt x="964406" y="276214"/>
                    <a:pt x="964406" y="304800"/>
                  </a:cubicBezTo>
                  <a:cubicBezTo>
                    <a:pt x="964406" y="305289"/>
                    <a:pt x="961728" y="327347"/>
                    <a:pt x="959644" y="330994"/>
                  </a:cubicBezTo>
                  <a:cubicBezTo>
                    <a:pt x="957973" y="333918"/>
                    <a:pt x="954567" y="335479"/>
                    <a:pt x="952500" y="338137"/>
                  </a:cubicBezTo>
                  <a:cubicBezTo>
                    <a:pt x="948986" y="342655"/>
                    <a:pt x="946150" y="347662"/>
                    <a:pt x="942975" y="352425"/>
                  </a:cubicBezTo>
                  <a:cubicBezTo>
                    <a:pt x="939707" y="357327"/>
                    <a:pt x="933117" y="366969"/>
                    <a:pt x="931069" y="371475"/>
                  </a:cubicBezTo>
                  <a:cubicBezTo>
                    <a:pt x="928992" y="376045"/>
                    <a:pt x="927894" y="381000"/>
                    <a:pt x="926306" y="385762"/>
                  </a:cubicBezTo>
                  <a:lnTo>
                    <a:pt x="921544" y="400050"/>
                  </a:lnTo>
                  <a:cubicBezTo>
                    <a:pt x="920750" y="402431"/>
                    <a:pt x="919772" y="404759"/>
                    <a:pt x="919163" y="407194"/>
                  </a:cubicBezTo>
                  <a:cubicBezTo>
                    <a:pt x="918369" y="410369"/>
                    <a:pt x="917680" y="413572"/>
                    <a:pt x="916781" y="416719"/>
                  </a:cubicBezTo>
                  <a:cubicBezTo>
                    <a:pt x="916091" y="419132"/>
                    <a:pt x="915089" y="421449"/>
                    <a:pt x="914400" y="423862"/>
                  </a:cubicBezTo>
                  <a:cubicBezTo>
                    <a:pt x="912675" y="429901"/>
                    <a:pt x="912084" y="434824"/>
                    <a:pt x="909638" y="440531"/>
                  </a:cubicBezTo>
                  <a:cubicBezTo>
                    <a:pt x="903474" y="454913"/>
                    <a:pt x="906941" y="445251"/>
                    <a:pt x="900113" y="457200"/>
                  </a:cubicBezTo>
                  <a:cubicBezTo>
                    <a:pt x="898352" y="460282"/>
                    <a:pt x="897111" y="463643"/>
                    <a:pt x="895350" y="466725"/>
                  </a:cubicBezTo>
                  <a:cubicBezTo>
                    <a:pt x="893930" y="469210"/>
                    <a:pt x="891868" y="471309"/>
                    <a:pt x="890588" y="473869"/>
                  </a:cubicBezTo>
                  <a:cubicBezTo>
                    <a:pt x="888681" y="477682"/>
                    <a:pt x="886845" y="486968"/>
                    <a:pt x="885825" y="490537"/>
                  </a:cubicBezTo>
                  <a:cubicBezTo>
                    <a:pt x="885135" y="492951"/>
                    <a:pt x="884238" y="495300"/>
                    <a:pt x="883444" y="497681"/>
                  </a:cubicBezTo>
                  <a:cubicBezTo>
                    <a:pt x="884238" y="514350"/>
                    <a:pt x="884494" y="531053"/>
                    <a:pt x="885825" y="547687"/>
                  </a:cubicBezTo>
                  <a:cubicBezTo>
                    <a:pt x="886086" y="550949"/>
                    <a:pt x="887564" y="554003"/>
                    <a:pt x="888206" y="557212"/>
                  </a:cubicBezTo>
                  <a:cubicBezTo>
                    <a:pt x="889153" y="561947"/>
                    <a:pt x="889641" y="566765"/>
                    <a:pt x="890588" y="571500"/>
                  </a:cubicBezTo>
                  <a:cubicBezTo>
                    <a:pt x="891230" y="574709"/>
                    <a:pt x="892431" y="577797"/>
                    <a:pt x="892969" y="581025"/>
                  </a:cubicBezTo>
                  <a:cubicBezTo>
                    <a:pt x="894021" y="587337"/>
                    <a:pt x="894556" y="593725"/>
                    <a:pt x="895350" y="600075"/>
                  </a:cubicBezTo>
                  <a:cubicBezTo>
                    <a:pt x="894556" y="623094"/>
                    <a:pt x="895119" y="646199"/>
                    <a:pt x="892969" y="669131"/>
                  </a:cubicBezTo>
                  <a:cubicBezTo>
                    <a:pt x="892702" y="671981"/>
                    <a:pt x="890230" y="674251"/>
                    <a:pt x="888206" y="676275"/>
                  </a:cubicBezTo>
                  <a:cubicBezTo>
                    <a:pt x="886183" y="678298"/>
                    <a:pt x="883444" y="679450"/>
                    <a:pt x="881063" y="681037"/>
                  </a:cubicBezTo>
                  <a:cubicBezTo>
                    <a:pt x="879475" y="683418"/>
                    <a:pt x="877580" y="685621"/>
                    <a:pt x="876300" y="688181"/>
                  </a:cubicBezTo>
                  <a:cubicBezTo>
                    <a:pt x="875177" y="690426"/>
                    <a:pt x="875487" y="693365"/>
                    <a:pt x="873919" y="695325"/>
                  </a:cubicBezTo>
                  <a:cubicBezTo>
                    <a:pt x="872131" y="697560"/>
                    <a:pt x="869156" y="698500"/>
                    <a:pt x="866775" y="700087"/>
                  </a:cubicBezTo>
                  <a:cubicBezTo>
                    <a:pt x="858278" y="712834"/>
                    <a:pt x="864035" y="705210"/>
                    <a:pt x="847725" y="721519"/>
                  </a:cubicBezTo>
                  <a:cubicBezTo>
                    <a:pt x="838560" y="730684"/>
                    <a:pt x="843381" y="726795"/>
                    <a:pt x="833438" y="733425"/>
                  </a:cubicBezTo>
                  <a:cubicBezTo>
                    <a:pt x="821608" y="751169"/>
                    <a:pt x="836816" y="729370"/>
                    <a:pt x="821531" y="747712"/>
                  </a:cubicBezTo>
                  <a:cubicBezTo>
                    <a:pt x="819699" y="749911"/>
                    <a:pt x="818670" y="752717"/>
                    <a:pt x="816769" y="754856"/>
                  </a:cubicBezTo>
                  <a:cubicBezTo>
                    <a:pt x="812294" y="759890"/>
                    <a:pt x="806217" y="763540"/>
                    <a:pt x="802481" y="769144"/>
                  </a:cubicBezTo>
                  <a:cubicBezTo>
                    <a:pt x="791250" y="785991"/>
                    <a:pt x="805355" y="765119"/>
                    <a:pt x="790575" y="785812"/>
                  </a:cubicBezTo>
                  <a:cubicBezTo>
                    <a:pt x="788912" y="788141"/>
                    <a:pt x="787837" y="790932"/>
                    <a:pt x="785813" y="792956"/>
                  </a:cubicBezTo>
                  <a:cubicBezTo>
                    <a:pt x="783789" y="794980"/>
                    <a:pt x="780868" y="795887"/>
                    <a:pt x="778669" y="797719"/>
                  </a:cubicBezTo>
                  <a:cubicBezTo>
                    <a:pt x="776082" y="799875"/>
                    <a:pt x="774327" y="802994"/>
                    <a:pt x="771525" y="804862"/>
                  </a:cubicBezTo>
                  <a:cubicBezTo>
                    <a:pt x="769436" y="806254"/>
                    <a:pt x="766688" y="806255"/>
                    <a:pt x="764381" y="807244"/>
                  </a:cubicBezTo>
                  <a:cubicBezTo>
                    <a:pt x="761118" y="808642"/>
                    <a:pt x="758031" y="810419"/>
                    <a:pt x="754856" y="812006"/>
                  </a:cubicBezTo>
                  <a:cubicBezTo>
                    <a:pt x="741761" y="803276"/>
                    <a:pt x="752872" y="812006"/>
                    <a:pt x="742950" y="800100"/>
                  </a:cubicBezTo>
                  <a:cubicBezTo>
                    <a:pt x="740794" y="797513"/>
                    <a:pt x="737962" y="795543"/>
                    <a:pt x="735806" y="792956"/>
                  </a:cubicBezTo>
                  <a:cubicBezTo>
                    <a:pt x="733974" y="790757"/>
                    <a:pt x="733279" y="787600"/>
                    <a:pt x="731044" y="785812"/>
                  </a:cubicBezTo>
                  <a:cubicBezTo>
                    <a:pt x="729084" y="784244"/>
                    <a:pt x="726281" y="784225"/>
                    <a:pt x="723900" y="783431"/>
                  </a:cubicBezTo>
                  <a:cubicBezTo>
                    <a:pt x="720725" y="781050"/>
                    <a:pt x="717821" y="778256"/>
                    <a:pt x="714375" y="776287"/>
                  </a:cubicBezTo>
                  <a:cubicBezTo>
                    <a:pt x="711719" y="774769"/>
                    <a:pt x="699767" y="772040"/>
                    <a:pt x="697706" y="771525"/>
                  </a:cubicBezTo>
                  <a:cubicBezTo>
                    <a:pt x="695325" y="773906"/>
                    <a:pt x="692431" y="775867"/>
                    <a:pt x="690563" y="778669"/>
                  </a:cubicBezTo>
                  <a:cubicBezTo>
                    <a:pt x="689171" y="780757"/>
                    <a:pt x="688181" y="783302"/>
                    <a:pt x="688181" y="785812"/>
                  </a:cubicBezTo>
                  <a:cubicBezTo>
                    <a:pt x="688181" y="791285"/>
                    <a:pt x="688538" y="810337"/>
                    <a:pt x="692944" y="819150"/>
                  </a:cubicBezTo>
                  <a:cubicBezTo>
                    <a:pt x="694224" y="821710"/>
                    <a:pt x="695682" y="824270"/>
                    <a:pt x="697706" y="826294"/>
                  </a:cubicBezTo>
                  <a:cubicBezTo>
                    <a:pt x="699730" y="828318"/>
                    <a:pt x="702469" y="829469"/>
                    <a:pt x="704850" y="831056"/>
                  </a:cubicBezTo>
                  <a:cubicBezTo>
                    <a:pt x="706438" y="833437"/>
                    <a:pt x="707414" y="836368"/>
                    <a:pt x="709613" y="838200"/>
                  </a:cubicBezTo>
                  <a:cubicBezTo>
                    <a:pt x="716534" y="843967"/>
                    <a:pt x="725053" y="843948"/>
                    <a:pt x="733425" y="845344"/>
                  </a:cubicBezTo>
                  <a:cubicBezTo>
                    <a:pt x="735806" y="846931"/>
                    <a:pt x="738009" y="848826"/>
                    <a:pt x="740569" y="850106"/>
                  </a:cubicBezTo>
                  <a:cubicBezTo>
                    <a:pt x="742814" y="851228"/>
                    <a:pt x="745753" y="850919"/>
                    <a:pt x="747713" y="852487"/>
                  </a:cubicBezTo>
                  <a:cubicBezTo>
                    <a:pt x="763100" y="864797"/>
                    <a:pt x="741662" y="856027"/>
                    <a:pt x="759619" y="862012"/>
                  </a:cubicBezTo>
                  <a:cubicBezTo>
                    <a:pt x="770810" y="873203"/>
                    <a:pt x="763961" y="867287"/>
                    <a:pt x="781050" y="878681"/>
                  </a:cubicBezTo>
                  <a:cubicBezTo>
                    <a:pt x="783431" y="880269"/>
                    <a:pt x="785479" y="882539"/>
                    <a:pt x="788194" y="883444"/>
                  </a:cubicBezTo>
                  <a:cubicBezTo>
                    <a:pt x="804276" y="888804"/>
                    <a:pt x="784480" y="882619"/>
                    <a:pt x="809625" y="888206"/>
                  </a:cubicBezTo>
                  <a:cubicBezTo>
                    <a:pt x="812075" y="888750"/>
                    <a:pt x="814388" y="889793"/>
                    <a:pt x="816769" y="890587"/>
                  </a:cubicBezTo>
                  <a:cubicBezTo>
                    <a:pt x="821531" y="889793"/>
                    <a:pt x="826599" y="890063"/>
                    <a:pt x="831056" y="888206"/>
                  </a:cubicBezTo>
                  <a:cubicBezTo>
                    <a:pt x="836340" y="886005"/>
                    <a:pt x="840581" y="881856"/>
                    <a:pt x="845344" y="878681"/>
                  </a:cubicBezTo>
                  <a:lnTo>
                    <a:pt x="852488" y="873919"/>
                  </a:lnTo>
                  <a:cubicBezTo>
                    <a:pt x="854869" y="872332"/>
                    <a:pt x="856916" y="870061"/>
                    <a:pt x="859631" y="869156"/>
                  </a:cubicBezTo>
                  <a:lnTo>
                    <a:pt x="866775" y="866775"/>
                  </a:lnTo>
                  <a:cubicBezTo>
                    <a:pt x="869156" y="865187"/>
                    <a:pt x="871359" y="863292"/>
                    <a:pt x="873919" y="862012"/>
                  </a:cubicBezTo>
                  <a:cubicBezTo>
                    <a:pt x="880904" y="858520"/>
                    <a:pt x="890840" y="858503"/>
                    <a:pt x="897731" y="857250"/>
                  </a:cubicBezTo>
                  <a:cubicBezTo>
                    <a:pt x="900951" y="856665"/>
                    <a:pt x="904081" y="855663"/>
                    <a:pt x="907256" y="854869"/>
                  </a:cubicBezTo>
                  <a:cubicBezTo>
                    <a:pt x="923633" y="843952"/>
                    <a:pt x="916114" y="847155"/>
                    <a:pt x="928688" y="842962"/>
                  </a:cubicBezTo>
                  <a:cubicBezTo>
                    <a:pt x="931069" y="840581"/>
                    <a:pt x="933244" y="837975"/>
                    <a:pt x="935831" y="835819"/>
                  </a:cubicBezTo>
                  <a:cubicBezTo>
                    <a:pt x="938030" y="833987"/>
                    <a:pt x="940951" y="833080"/>
                    <a:pt x="942975" y="831056"/>
                  </a:cubicBezTo>
                  <a:cubicBezTo>
                    <a:pt x="944999" y="829032"/>
                    <a:pt x="945906" y="826111"/>
                    <a:pt x="947738" y="823912"/>
                  </a:cubicBezTo>
                  <a:cubicBezTo>
                    <a:pt x="949894" y="821325"/>
                    <a:pt x="952814" y="819427"/>
                    <a:pt x="954881" y="816769"/>
                  </a:cubicBezTo>
                  <a:cubicBezTo>
                    <a:pt x="958395" y="812251"/>
                    <a:pt x="964406" y="802481"/>
                    <a:pt x="964406" y="802481"/>
                  </a:cubicBezTo>
                  <a:cubicBezTo>
                    <a:pt x="964694" y="800756"/>
                    <a:pt x="966565" y="784956"/>
                    <a:pt x="969169" y="781050"/>
                  </a:cubicBezTo>
                  <a:cubicBezTo>
                    <a:pt x="971037" y="778248"/>
                    <a:pt x="974121" y="776463"/>
                    <a:pt x="976313" y="773906"/>
                  </a:cubicBezTo>
                  <a:cubicBezTo>
                    <a:pt x="980739" y="768742"/>
                    <a:pt x="984453" y="762886"/>
                    <a:pt x="988219" y="757237"/>
                  </a:cubicBezTo>
                  <a:cubicBezTo>
                    <a:pt x="990811" y="749460"/>
                    <a:pt x="991831" y="747385"/>
                    <a:pt x="992981" y="738187"/>
                  </a:cubicBezTo>
                  <a:cubicBezTo>
                    <a:pt x="994862" y="723140"/>
                    <a:pt x="992949" y="707330"/>
                    <a:pt x="997744" y="692944"/>
                  </a:cubicBezTo>
                  <a:cubicBezTo>
                    <a:pt x="998538" y="690563"/>
                    <a:pt x="999002" y="688045"/>
                    <a:pt x="1000125" y="685800"/>
                  </a:cubicBezTo>
                  <a:cubicBezTo>
                    <a:pt x="1001405" y="683240"/>
                    <a:pt x="1003300" y="681037"/>
                    <a:pt x="1004888" y="678656"/>
                  </a:cubicBezTo>
                  <a:cubicBezTo>
                    <a:pt x="1005682" y="676275"/>
                    <a:pt x="1006820" y="673982"/>
                    <a:pt x="1007269" y="671512"/>
                  </a:cubicBezTo>
                  <a:cubicBezTo>
                    <a:pt x="1008208" y="666349"/>
                    <a:pt x="1009043" y="649908"/>
                    <a:pt x="1012031" y="642937"/>
                  </a:cubicBezTo>
                  <a:cubicBezTo>
                    <a:pt x="1013158" y="640307"/>
                    <a:pt x="1015206" y="638175"/>
                    <a:pt x="1016794" y="635794"/>
                  </a:cubicBezTo>
                  <a:cubicBezTo>
                    <a:pt x="1018085" y="629337"/>
                    <a:pt x="1018097" y="621417"/>
                    <a:pt x="1023938" y="616744"/>
                  </a:cubicBezTo>
                  <a:cubicBezTo>
                    <a:pt x="1025898" y="615176"/>
                    <a:pt x="1028836" y="615485"/>
                    <a:pt x="1031081" y="614362"/>
                  </a:cubicBezTo>
                  <a:cubicBezTo>
                    <a:pt x="1033641" y="613082"/>
                    <a:pt x="1035665" y="610880"/>
                    <a:pt x="1038225" y="609600"/>
                  </a:cubicBezTo>
                  <a:cubicBezTo>
                    <a:pt x="1050120" y="603653"/>
                    <a:pt x="1079976" y="605055"/>
                    <a:pt x="1083469" y="604837"/>
                  </a:cubicBezTo>
                  <a:cubicBezTo>
                    <a:pt x="1093788" y="605631"/>
                    <a:pt x="1105047" y="602842"/>
                    <a:pt x="1114425" y="607219"/>
                  </a:cubicBezTo>
                  <a:cubicBezTo>
                    <a:pt x="1118974" y="609342"/>
                    <a:pt x="1117600" y="616744"/>
                    <a:pt x="1119188" y="621506"/>
                  </a:cubicBezTo>
                  <a:lnTo>
                    <a:pt x="1121569" y="628650"/>
                  </a:lnTo>
                  <a:cubicBezTo>
                    <a:pt x="1122363" y="631031"/>
                    <a:pt x="1122175" y="634019"/>
                    <a:pt x="1123950" y="635794"/>
                  </a:cubicBezTo>
                  <a:cubicBezTo>
                    <a:pt x="1126331" y="638175"/>
                    <a:pt x="1128507" y="640781"/>
                    <a:pt x="1131094" y="642937"/>
                  </a:cubicBezTo>
                  <a:cubicBezTo>
                    <a:pt x="1133293" y="644769"/>
                    <a:pt x="1135857" y="646112"/>
                    <a:pt x="1138238" y="647700"/>
                  </a:cubicBezTo>
                  <a:cubicBezTo>
                    <a:pt x="1149948" y="665267"/>
                    <a:pt x="1145764" y="655882"/>
                    <a:pt x="1140619" y="695325"/>
                  </a:cubicBezTo>
                  <a:cubicBezTo>
                    <a:pt x="1139970" y="700303"/>
                    <a:pt x="1139405" y="706062"/>
                    <a:pt x="1135856" y="709612"/>
                  </a:cubicBezTo>
                  <a:lnTo>
                    <a:pt x="1128713" y="716756"/>
                  </a:lnTo>
                  <a:cubicBezTo>
                    <a:pt x="1125363" y="726803"/>
                    <a:pt x="1123327" y="729485"/>
                    <a:pt x="1128713" y="742950"/>
                  </a:cubicBezTo>
                  <a:cubicBezTo>
                    <a:pt x="1129776" y="745607"/>
                    <a:pt x="1133475" y="746125"/>
                    <a:pt x="1135856" y="747712"/>
                  </a:cubicBezTo>
                  <a:cubicBezTo>
                    <a:pt x="1137444" y="750093"/>
                    <a:pt x="1138384" y="753068"/>
                    <a:pt x="1140619" y="754856"/>
                  </a:cubicBezTo>
                  <a:cubicBezTo>
                    <a:pt x="1142579" y="756424"/>
                    <a:pt x="1146195" y="755277"/>
                    <a:pt x="1147763" y="757237"/>
                  </a:cubicBezTo>
                  <a:cubicBezTo>
                    <a:pt x="1149807" y="759793"/>
                    <a:pt x="1149350" y="763587"/>
                    <a:pt x="1150144" y="766762"/>
                  </a:cubicBezTo>
                  <a:cubicBezTo>
                    <a:pt x="1151731" y="764381"/>
                    <a:pt x="1154647" y="762469"/>
                    <a:pt x="1154906" y="759619"/>
                  </a:cubicBezTo>
                  <a:cubicBezTo>
                    <a:pt x="1156329" y="743968"/>
                    <a:pt x="1154215" y="743104"/>
                    <a:pt x="1147763" y="733425"/>
                  </a:cubicBezTo>
                  <a:cubicBezTo>
                    <a:pt x="1146257" y="727402"/>
                    <a:pt x="1143207" y="722451"/>
                    <a:pt x="1147763" y="716756"/>
                  </a:cubicBezTo>
                  <a:cubicBezTo>
                    <a:pt x="1149551" y="714521"/>
                    <a:pt x="1152525" y="713581"/>
                    <a:pt x="1154906" y="711994"/>
                  </a:cubicBezTo>
                  <a:cubicBezTo>
                    <a:pt x="1157688" y="703651"/>
                    <a:pt x="1156406" y="703948"/>
                    <a:pt x="1164431" y="697706"/>
                  </a:cubicBezTo>
                  <a:cubicBezTo>
                    <a:pt x="1168949" y="694192"/>
                    <a:pt x="1178719" y="688181"/>
                    <a:pt x="1178719" y="688181"/>
                  </a:cubicBezTo>
                  <a:cubicBezTo>
                    <a:pt x="1192380" y="667687"/>
                    <a:pt x="1188476" y="676597"/>
                    <a:pt x="1181100" y="628650"/>
                  </a:cubicBezTo>
                  <a:cubicBezTo>
                    <a:pt x="1180497" y="624727"/>
                    <a:pt x="1176337" y="622300"/>
                    <a:pt x="1173956" y="619125"/>
                  </a:cubicBezTo>
                  <a:cubicBezTo>
                    <a:pt x="1171687" y="612316"/>
                    <a:pt x="1170689" y="609931"/>
                    <a:pt x="1169194" y="602456"/>
                  </a:cubicBezTo>
                  <a:cubicBezTo>
                    <a:pt x="1168247" y="597722"/>
                    <a:pt x="1167760" y="592903"/>
                    <a:pt x="1166813" y="588169"/>
                  </a:cubicBezTo>
                  <a:cubicBezTo>
                    <a:pt x="1166171" y="584960"/>
                    <a:pt x="1165330" y="581791"/>
                    <a:pt x="1164431" y="578644"/>
                  </a:cubicBezTo>
                  <a:cubicBezTo>
                    <a:pt x="1163741" y="576230"/>
                    <a:pt x="1162614" y="573946"/>
                    <a:pt x="1162050" y="571500"/>
                  </a:cubicBezTo>
                  <a:cubicBezTo>
                    <a:pt x="1158760" y="557241"/>
                    <a:pt x="1158397" y="550380"/>
                    <a:pt x="1154906" y="538162"/>
                  </a:cubicBezTo>
                  <a:cubicBezTo>
                    <a:pt x="1154216" y="535749"/>
                    <a:pt x="1154093" y="532979"/>
                    <a:pt x="1152525" y="531019"/>
                  </a:cubicBezTo>
                  <a:cubicBezTo>
                    <a:pt x="1150737" y="528784"/>
                    <a:pt x="1147941" y="527536"/>
                    <a:pt x="1145381" y="526256"/>
                  </a:cubicBezTo>
                  <a:cubicBezTo>
                    <a:pt x="1139519" y="523325"/>
                    <a:pt x="1129436" y="522408"/>
                    <a:pt x="1123950" y="521494"/>
                  </a:cubicBezTo>
                  <a:cubicBezTo>
                    <a:pt x="1122381" y="516787"/>
                    <a:pt x="1121004" y="510564"/>
                    <a:pt x="1116806" y="507206"/>
                  </a:cubicBezTo>
                  <a:cubicBezTo>
                    <a:pt x="1114846" y="505638"/>
                    <a:pt x="1112044" y="505619"/>
                    <a:pt x="1109663" y="504825"/>
                  </a:cubicBezTo>
                  <a:cubicBezTo>
                    <a:pt x="1107282" y="506412"/>
                    <a:pt x="1105134" y="508425"/>
                    <a:pt x="1102519" y="509587"/>
                  </a:cubicBezTo>
                  <a:cubicBezTo>
                    <a:pt x="1083825" y="517895"/>
                    <a:pt x="1073811" y="515251"/>
                    <a:pt x="1050131" y="516731"/>
                  </a:cubicBezTo>
                  <a:cubicBezTo>
                    <a:pt x="1045035" y="518430"/>
                    <a:pt x="1039646" y="519530"/>
                    <a:pt x="1035844" y="523875"/>
                  </a:cubicBezTo>
                  <a:cubicBezTo>
                    <a:pt x="1032075" y="528182"/>
                    <a:pt x="1026319" y="538162"/>
                    <a:pt x="1026319" y="538162"/>
                  </a:cubicBezTo>
                  <a:cubicBezTo>
                    <a:pt x="1023938" y="535781"/>
                    <a:pt x="1020846" y="533943"/>
                    <a:pt x="1019175" y="531019"/>
                  </a:cubicBezTo>
                  <a:cubicBezTo>
                    <a:pt x="1017551" y="528178"/>
                    <a:pt x="1016794" y="524767"/>
                    <a:pt x="1016794" y="521494"/>
                  </a:cubicBezTo>
                  <a:cubicBezTo>
                    <a:pt x="1016794" y="516010"/>
                    <a:pt x="1018026" y="488896"/>
                    <a:pt x="1023938" y="481012"/>
                  </a:cubicBezTo>
                  <a:cubicBezTo>
                    <a:pt x="1032798" y="469197"/>
                    <a:pt x="1028879" y="474789"/>
                    <a:pt x="1035844" y="464344"/>
                  </a:cubicBezTo>
                  <a:cubicBezTo>
                    <a:pt x="1041641" y="446951"/>
                    <a:pt x="1039388" y="454926"/>
                    <a:pt x="1042988" y="440531"/>
                  </a:cubicBezTo>
                  <a:cubicBezTo>
                    <a:pt x="1042194" y="434975"/>
                    <a:pt x="1041707" y="429366"/>
                    <a:pt x="1040606" y="423862"/>
                  </a:cubicBezTo>
                  <a:cubicBezTo>
                    <a:pt x="1040114" y="421401"/>
                    <a:pt x="1038225" y="419229"/>
                    <a:pt x="1038225" y="416719"/>
                  </a:cubicBezTo>
                  <a:cubicBezTo>
                    <a:pt x="1038225" y="407952"/>
                    <a:pt x="1039366" y="399204"/>
                    <a:pt x="1040606" y="390525"/>
                  </a:cubicBezTo>
                  <a:cubicBezTo>
                    <a:pt x="1040961" y="388040"/>
                    <a:pt x="1041420" y="385341"/>
                    <a:pt x="1042988" y="383381"/>
                  </a:cubicBezTo>
                  <a:cubicBezTo>
                    <a:pt x="1044776" y="381146"/>
                    <a:pt x="1047933" y="380451"/>
                    <a:pt x="1050131" y="378619"/>
                  </a:cubicBezTo>
                  <a:cubicBezTo>
                    <a:pt x="1057007" y="372889"/>
                    <a:pt x="1057355" y="371355"/>
                    <a:pt x="1062038" y="364331"/>
                  </a:cubicBezTo>
                  <a:cubicBezTo>
                    <a:pt x="1062832" y="361950"/>
                    <a:pt x="1063297" y="359432"/>
                    <a:pt x="1064419" y="357187"/>
                  </a:cubicBezTo>
                  <a:cubicBezTo>
                    <a:pt x="1073655" y="338715"/>
                    <a:pt x="1065573" y="360865"/>
                    <a:pt x="1071563" y="342900"/>
                  </a:cubicBezTo>
                  <a:cubicBezTo>
                    <a:pt x="1071487" y="342136"/>
                    <a:pt x="1070036" y="316034"/>
                    <a:pt x="1066800" y="309562"/>
                  </a:cubicBezTo>
                  <a:cubicBezTo>
                    <a:pt x="1064240" y="304443"/>
                    <a:pt x="1057275" y="295275"/>
                    <a:pt x="1057275" y="295275"/>
                  </a:cubicBezTo>
                  <a:cubicBezTo>
                    <a:pt x="1056481" y="291306"/>
                    <a:pt x="1055466" y="287376"/>
                    <a:pt x="1054894" y="283369"/>
                  </a:cubicBezTo>
                  <a:cubicBezTo>
                    <a:pt x="1053878" y="276253"/>
                    <a:pt x="1053353" y="269076"/>
                    <a:pt x="1052513" y="261937"/>
                  </a:cubicBezTo>
                  <a:cubicBezTo>
                    <a:pt x="1051765" y="255581"/>
                    <a:pt x="1050925" y="249237"/>
                    <a:pt x="1050131" y="242887"/>
                  </a:cubicBezTo>
                  <a:cubicBezTo>
                    <a:pt x="1050925" y="231775"/>
                    <a:pt x="1049811" y="220358"/>
                    <a:pt x="1052513" y="209550"/>
                  </a:cubicBezTo>
                  <a:cubicBezTo>
                    <a:pt x="1053207" y="206774"/>
                    <a:pt x="1057041" y="205949"/>
                    <a:pt x="1059656" y="204787"/>
                  </a:cubicBezTo>
                  <a:cubicBezTo>
                    <a:pt x="1064244" y="202748"/>
                    <a:pt x="1069181" y="201612"/>
                    <a:pt x="1073944" y="200025"/>
                  </a:cubicBezTo>
                  <a:lnTo>
                    <a:pt x="1081088" y="197644"/>
                  </a:lnTo>
                  <a:cubicBezTo>
                    <a:pt x="1083469" y="196056"/>
                    <a:pt x="1085671" y="194161"/>
                    <a:pt x="1088231" y="192881"/>
                  </a:cubicBezTo>
                  <a:cubicBezTo>
                    <a:pt x="1090476" y="191758"/>
                    <a:pt x="1093181" y="191719"/>
                    <a:pt x="1095375" y="190500"/>
                  </a:cubicBezTo>
                  <a:cubicBezTo>
                    <a:pt x="1102916" y="186311"/>
                    <a:pt x="1112052" y="179183"/>
                    <a:pt x="1119188" y="173831"/>
                  </a:cubicBezTo>
                  <a:cubicBezTo>
                    <a:pt x="1120775" y="170656"/>
                    <a:pt x="1122189" y="167388"/>
                    <a:pt x="1123950" y="164306"/>
                  </a:cubicBezTo>
                  <a:cubicBezTo>
                    <a:pt x="1125370" y="161821"/>
                    <a:pt x="1127551" y="159777"/>
                    <a:pt x="1128713" y="157162"/>
                  </a:cubicBezTo>
                  <a:cubicBezTo>
                    <a:pt x="1132025" y="149709"/>
                    <a:pt x="1133877" y="141265"/>
                    <a:pt x="1135856" y="133350"/>
                  </a:cubicBezTo>
                  <a:cubicBezTo>
                    <a:pt x="1136650" y="122237"/>
                    <a:pt x="1136585" y="111030"/>
                    <a:pt x="1138238" y="100012"/>
                  </a:cubicBezTo>
                  <a:cubicBezTo>
                    <a:pt x="1138983" y="95048"/>
                    <a:pt x="1141413" y="90487"/>
                    <a:pt x="1143000" y="85725"/>
                  </a:cubicBezTo>
                  <a:cubicBezTo>
                    <a:pt x="1143794" y="83344"/>
                    <a:pt x="1143000" y="79375"/>
                    <a:pt x="1145381" y="78581"/>
                  </a:cubicBezTo>
                  <a:lnTo>
                    <a:pt x="1152525" y="76200"/>
                  </a:lnTo>
                  <a:cubicBezTo>
                    <a:pt x="1156494" y="76994"/>
                    <a:pt x="1161138" y="76229"/>
                    <a:pt x="1164431" y="78581"/>
                  </a:cubicBezTo>
                  <a:cubicBezTo>
                    <a:pt x="1167320" y="80644"/>
                    <a:pt x="1169058" y="84559"/>
                    <a:pt x="1169194" y="88106"/>
                  </a:cubicBezTo>
                  <a:cubicBezTo>
                    <a:pt x="1169779" y="103306"/>
                    <a:pt x="1171424" y="136030"/>
                    <a:pt x="1162050" y="154781"/>
                  </a:cubicBezTo>
                  <a:cubicBezTo>
                    <a:pt x="1160463" y="157956"/>
                    <a:pt x="1158606" y="161010"/>
                    <a:pt x="1157288" y="164306"/>
                  </a:cubicBezTo>
                  <a:cubicBezTo>
                    <a:pt x="1155424" y="168967"/>
                    <a:pt x="1152525" y="178594"/>
                    <a:pt x="1152525" y="178594"/>
                  </a:cubicBezTo>
                  <a:cubicBezTo>
                    <a:pt x="1151731" y="190500"/>
                    <a:pt x="1153917" y="202992"/>
                    <a:pt x="1150144" y="214312"/>
                  </a:cubicBezTo>
                  <a:cubicBezTo>
                    <a:pt x="1147480" y="222304"/>
                    <a:pt x="1135662" y="228398"/>
                    <a:pt x="1128713" y="233362"/>
                  </a:cubicBezTo>
                  <a:cubicBezTo>
                    <a:pt x="1122221" y="237999"/>
                    <a:pt x="1117135" y="241541"/>
                    <a:pt x="1112044" y="247650"/>
                  </a:cubicBezTo>
                  <a:cubicBezTo>
                    <a:pt x="1110212" y="249849"/>
                    <a:pt x="1108869" y="252413"/>
                    <a:pt x="1107281" y="254794"/>
                  </a:cubicBezTo>
                  <a:cubicBezTo>
                    <a:pt x="1106487" y="257175"/>
                    <a:pt x="1103777" y="259692"/>
                    <a:pt x="1104900" y="261937"/>
                  </a:cubicBezTo>
                  <a:cubicBezTo>
                    <a:pt x="1106023" y="264182"/>
                    <a:pt x="1109622" y="263659"/>
                    <a:pt x="1112044" y="264319"/>
                  </a:cubicBezTo>
                  <a:cubicBezTo>
                    <a:pt x="1144308" y="273119"/>
                    <a:pt x="1118933" y="265908"/>
                    <a:pt x="1143000" y="271462"/>
                  </a:cubicBezTo>
                  <a:cubicBezTo>
                    <a:pt x="1149378" y="272934"/>
                    <a:pt x="1162050" y="276225"/>
                    <a:pt x="1162050" y="276225"/>
                  </a:cubicBezTo>
                  <a:cubicBezTo>
                    <a:pt x="1189905" y="297117"/>
                    <a:pt x="1155501" y="270612"/>
                    <a:pt x="1178719" y="290512"/>
                  </a:cubicBezTo>
                  <a:cubicBezTo>
                    <a:pt x="1181732" y="293095"/>
                    <a:pt x="1185069" y="295275"/>
                    <a:pt x="1188244" y="297656"/>
                  </a:cubicBezTo>
                  <a:cubicBezTo>
                    <a:pt x="1192477" y="304007"/>
                    <a:pt x="1193802" y="307007"/>
                    <a:pt x="1200150" y="311944"/>
                  </a:cubicBezTo>
                  <a:cubicBezTo>
                    <a:pt x="1204668" y="315458"/>
                    <a:pt x="1214438" y="321469"/>
                    <a:pt x="1214438" y="321469"/>
                  </a:cubicBezTo>
                  <a:cubicBezTo>
                    <a:pt x="1223168" y="334564"/>
                    <a:pt x="1214438" y="323453"/>
                    <a:pt x="1226344" y="333375"/>
                  </a:cubicBezTo>
                  <a:cubicBezTo>
                    <a:pt x="1238235" y="343284"/>
                    <a:pt x="1228078" y="338716"/>
                    <a:pt x="1240631" y="342900"/>
                  </a:cubicBezTo>
                  <a:cubicBezTo>
                    <a:pt x="1251823" y="354092"/>
                    <a:pt x="1244972" y="348176"/>
                    <a:pt x="1262063" y="359569"/>
                  </a:cubicBezTo>
                  <a:lnTo>
                    <a:pt x="1269206" y="364331"/>
                  </a:lnTo>
                  <a:cubicBezTo>
                    <a:pt x="1278968" y="378974"/>
                    <a:pt x="1278769" y="381224"/>
                    <a:pt x="1271588" y="338137"/>
                  </a:cubicBezTo>
                  <a:cubicBezTo>
                    <a:pt x="1270545" y="331877"/>
                    <a:pt x="1264764" y="326870"/>
                    <a:pt x="1262063" y="321469"/>
                  </a:cubicBezTo>
                  <a:cubicBezTo>
                    <a:pt x="1260940" y="319224"/>
                    <a:pt x="1260475" y="316706"/>
                    <a:pt x="1259681" y="314325"/>
                  </a:cubicBezTo>
                  <a:cubicBezTo>
                    <a:pt x="1259969" y="312599"/>
                    <a:pt x="1261839" y="296801"/>
                    <a:pt x="1264444" y="292894"/>
                  </a:cubicBezTo>
                  <a:cubicBezTo>
                    <a:pt x="1266312" y="290092"/>
                    <a:pt x="1269207" y="288131"/>
                    <a:pt x="1271588" y="285750"/>
                  </a:cubicBezTo>
                  <a:cubicBezTo>
                    <a:pt x="1273175" y="280987"/>
                    <a:pt x="1277334" y="276385"/>
                    <a:pt x="1276350" y="271462"/>
                  </a:cubicBezTo>
                  <a:cubicBezTo>
                    <a:pt x="1275556" y="267493"/>
                    <a:pt x="1274951" y="263482"/>
                    <a:pt x="1273969" y="259556"/>
                  </a:cubicBezTo>
                  <a:cubicBezTo>
                    <a:pt x="1273360" y="257121"/>
                    <a:pt x="1273363" y="254187"/>
                    <a:pt x="1271588" y="252412"/>
                  </a:cubicBezTo>
                  <a:cubicBezTo>
                    <a:pt x="1269813" y="250637"/>
                    <a:pt x="1266947" y="250216"/>
                    <a:pt x="1264444" y="250031"/>
                  </a:cubicBezTo>
                  <a:cubicBezTo>
                    <a:pt x="1245430" y="248623"/>
                    <a:pt x="1226344" y="248444"/>
                    <a:pt x="1207294" y="247650"/>
                  </a:cubicBezTo>
                  <a:cubicBezTo>
                    <a:pt x="1204119" y="246856"/>
                    <a:pt x="1200611" y="246893"/>
                    <a:pt x="1197769" y="245269"/>
                  </a:cubicBezTo>
                  <a:cubicBezTo>
                    <a:pt x="1194845" y="243598"/>
                    <a:pt x="1192781" y="240712"/>
                    <a:pt x="1190625" y="238125"/>
                  </a:cubicBezTo>
                  <a:cubicBezTo>
                    <a:pt x="1185497" y="231972"/>
                    <a:pt x="1185868" y="230995"/>
                    <a:pt x="1183481" y="223837"/>
                  </a:cubicBezTo>
                  <a:cubicBezTo>
                    <a:pt x="1184275" y="213518"/>
                    <a:pt x="1180122" y="201492"/>
                    <a:pt x="1185863" y="192881"/>
                  </a:cubicBezTo>
                  <a:cubicBezTo>
                    <a:pt x="1188976" y="188211"/>
                    <a:pt x="1197028" y="194161"/>
                    <a:pt x="1202531" y="195262"/>
                  </a:cubicBezTo>
                  <a:cubicBezTo>
                    <a:pt x="1208181" y="196392"/>
                    <a:pt x="1212385" y="198711"/>
                    <a:pt x="1216819" y="202406"/>
                  </a:cubicBezTo>
                  <a:cubicBezTo>
                    <a:pt x="1219406" y="204562"/>
                    <a:pt x="1221582" y="207169"/>
                    <a:pt x="1223963" y="209550"/>
                  </a:cubicBezTo>
                  <a:cubicBezTo>
                    <a:pt x="1224757" y="211931"/>
                    <a:pt x="1225735" y="214259"/>
                    <a:pt x="1226344" y="216694"/>
                  </a:cubicBezTo>
                  <a:cubicBezTo>
                    <a:pt x="1227326" y="220620"/>
                    <a:pt x="1226480" y="225233"/>
                    <a:pt x="1228725" y="228600"/>
                  </a:cubicBezTo>
                  <a:cubicBezTo>
                    <a:pt x="1230117" y="230689"/>
                    <a:pt x="1233488" y="230187"/>
                    <a:pt x="1235869" y="230981"/>
                  </a:cubicBezTo>
                  <a:cubicBezTo>
                    <a:pt x="1247775" y="230187"/>
                    <a:pt x="1264774" y="238396"/>
                    <a:pt x="1271588" y="228600"/>
                  </a:cubicBezTo>
                  <a:cubicBezTo>
                    <a:pt x="1307832" y="176499"/>
                    <a:pt x="1250698" y="171305"/>
                    <a:pt x="1283494" y="178594"/>
                  </a:cubicBezTo>
                  <a:cubicBezTo>
                    <a:pt x="1287445" y="179472"/>
                    <a:pt x="1291431" y="180181"/>
                    <a:pt x="1295400" y="180975"/>
                  </a:cubicBezTo>
                  <a:cubicBezTo>
                    <a:pt x="1296194" y="183356"/>
                    <a:pt x="1297172" y="185684"/>
                    <a:pt x="1297781" y="188119"/>
                  </a:cubicBezTo>
                  <a:cubicBezTo>
                    <a:pt x="1298763" y="192045"/>
                    <a:pt x="1297918" y="196657"/>
                    <a:pt x="1300163" y="200025"/>
                  </a:cubicBezTo>
                  <a:cubicBezTo>
                    <a:pt x="1301555" y="202113"/>
                    <a:pt x="1304845" y="201914"/>
                    <a:pt x="1307306" y="202406"/>
                  </a:cubicBezTo>
                  <a:cubicBezTo>
                    <a:pt x="1312810" y="203507"/>
                    <a:pt x="1318419" y="203993"/>
                    <a:pt x="1323975" y="204787"/>
                  </a:cubicBezTo>
                  <a:cubicBezTo>
                    <a:pt x="1339563" y="209984"/>
                    <a:pt x="1324263" y="202766"/>
                    <a:pt x="1333500" y="214312"/>
                  </a:cubicBezTo>
                  <a:cubicBezTo>
                    <a:pt x="1335288" y="216547"/>
                    <a:pt x="1338263" y="217487"/>
                    <a:pt x="1340644" y="219075"/>
                  </a:cubicBezTo>
                  <a:cubicBezTo>
                    <a:pt x="1349471" y="245558"/>
                    <a:pt x="1348700" y="237478"/>
                    <a:pt x="1343025" y="280987"/>
                  </a:cubicBezTo>
                  <a:cubicBezTo>
                    <a:pt x="1342655" y="283825"/>
                    <a:pt x="1340095" y="285932"/>
                    <a:pt x="1338263" y="288131"/>
                  </a:cubicBezTo>
                  <a:cubicBezTo>
                    <a:pt x="1322978" y="306474"/>
                    <a:pt x="1338186" y="284675"/>
                    <a:pt x="1326356" y="302419"/>
                  </a:cubicBezTo>
                  <a:cubicBezTo>
                    <a:pt x="1307360" y="359407"/>
                    <a:pt x="1323995" y="393777"/>
                    <a:pt x="1319213" y="473869"/>
                  </a:cubicBezTo>
                  <a:cubicBezTo>
                    <a:pt x="1319042" y="476726"/>
                    <a:pt x="1314749" y="477626"/>
                    <a:pt x="1312069" y="478631"/>
                  </a:cubicBezTo>
                  <a:cubicBezTo>
                    <a:pt x="1308279" y="480052"/>
                    <a:pt x="1304089" y="480030"/>
                    <a:pt x="1300163" y="481012"/>
                  </a:cubicBezTo>
                  <a:cubicBezTo>
                    <a:pt x="1297728" y="481621"/>
                    <a:pt x="1295400" y="482600"/>
                    <a:pt x="1293019" y="483394"/>
                  </a:cubicBezTo>
                  <a:cubicBezTo>
                    <a:pt x="1290638" y="485775"/>
                    <a:pt x="1288031" y="487950"/>
                    <a:pt x="1285875" y="490537"/>
                  </a:cubicBezTo>
                  <a:cubicBezTo>
                    <a:pt x="1284043" y="492736"/>
                    <a:pt x="1283137" y="495657"/>
                    <a:pt x="1281113" y="497681"/>
                  </a:cubicBezTo>
                  <a:cubicBezTo>
                    <a:pt x="1279089" y="499705"/>
                    <a:pt x="1276350" y="500856"/>
                    <a:pt x="1273969" y="502444"/>
                  </a:cubicBezTo>
                  <a:cubicBezTo>
                    <a:pt x="1267984" y="520400"/>
                    <a:pt x="1276059" y="498264"/>
                    <a:pt x="1266825" y="516731"/>
                  </a:cubicBezTo>
                  <a:cubicBezTo>
                    <a:pt x="1265702" y="518976"/>
                    <a:pt x="1265238" y="521494"/>
                    <a:pt x="1264444" y="523875"/>
                  </a:cubicBezTo>
                  <a:cubicBezTo>
                    <a:pt x="1265238" y="528637"/>
                    <a:pt x="1264864" y="533750"/>
                    <a:pt x="1266825" y="538162"/>
                  </a:cubicBezTo>
                  <a:cubicBezTo>
                    <a:pt x="1268193" y="541239"/>
                    <a:pt x="1272101" y="542504"/>
                    <a:pt x="1273969" y="545306"/>
                  </a:cubicBezTo>
                  <a:cubicBezTo>
                    <a:pt x="1287754" y="565984"/>
                    <a:pt x="1260704" y="536804"/>
                    <a:pt x="1283494" y="559594"/>
                  </a:cubicBezTo>
                  <a:cubicBezTo>
                    <a:pt x="1289156" y="576579"/>
                    <a:pt x="1281127" y="556042"/>
                    <a:pt x="1293019" y="573881"/>
                  </a:cubicBezTo>
                  <a:cubicBezTo>
                    <a:pt x="1294411" y="575970"/>
                    <a:pt x="1294277" y="578780"/>
                    <a:pt x="1295400" y="581025"/>
                  </a:cubicBezTo>
                  <a:cubicBezTo>
                    <a:pt x="1298715" y="587655"/>
                    <a:pt x="1302041" y="590047"/>
                    <a:pt x="1307306" y="595312"/>
                  </a:cubicBezTo>
                  <a:cubicBezTo>
                    <a:pt x="1308100" y="597693"/>
                    <a:pt x="1307913" y="600681"/>
                    <a:pt x="1309688" y="602456"/>
                  </a:cubicBezTo>
                  <a:cubicBezTo>
                    <a:pt x="1311463" y="604231"/>
                    <a:pt x="1314586" y="603715"/>
                    <a:pt x="1316831" y="604837"/>
                  </a:cubicBezTo>
                  <a:cubicBezTo>
                    <a:pt x="1319391" y="606117"/>
                    <a:pt x="1321646" y="607936"/>
                    <a:pt x="1323975" y="609600"/>
                  </a:cubicBezTo>
                  <a:cubicBezTo>
                    <a:pt x="1327204" y="611907"/>
                    <a:pt x="1330054" y="614775"/>
                    <a:pt x="1333500" y="616744"/>
                  </a:cubicBezTo>
                  <a:cubicBezTo>
                    <a:pt x="1335679" y="617989"/>
                    <a:pt x="1338146" y="618875"/>
                    <a:pt x="1340644" y="619125"/>
                  </a:cubicBezTo>
                  <a:cubicBezTo>
                    <a:pt x="1354094" y="620470"/>
                    <a:pt x="1367631" y="620712"/>
                    <a:pt x="1381125" y="621506"/>
                  </a:cubicBezTo>
                  <a:cubicBezTo>
                    <a:pt x="1385423" y="627952"/>
                    <a:pt x="1387627" y="630618"/>
                    <a:pt x="1390650" y="638175"/>
                  </a:cubicBezTo>
                  <a:cubicBezTo>
                    <a:pt x="1392514" y="642836"/>
                    <a:pt x="1393825" y="647700"/>
                    <a:pt x="1395413" y="652462"/>
                  </a:cubicBezTo>
                  <a:cubicBezTo>
                    <a:pt x="1398827" y="662703"/>
                    <a:pt x="1397188" y="657181"/>
                    <a:pt x="1400175" y="669131"/>
                  </a:cubicBezTo>
                  <a:cubicBezTo>
                    <a:pt x="1399381" y="693737"/>
                    <a:pt x="1400756" y="718510"/>
                    <a:pt x="1397794" y="742950"/>
                  </a:cubicBezTo>
                  <a:cubicBezTo>
                    <a:pt x="1397450" y="745791"/>
                    <a:pt x="1392070" y="745227"/>
                    <a:pt x="1390650" y="747712"/>
                  </a:cubicBezTo>
                  <a:cubicBezTo>
                    <a:pt x="1388642" y="751226"/>
                    <a:pt x="1389063" y="755650"/>
                    <a:pt x="1388269" y="759619"/>
                  </a:cubicBezTo>
                  <a:cubicBezTo>
                    <a:pt x="1389063" y="801688"/>
                    <a:pt x="1389200" y="843774"/>
                    <a:pt x="1390650" y="885825"/>
                  </a:cubicBezTo>
                  <a:cubicBezTo>
                    <a:pt x="1390797" y="890083"/>
                    <a:pt x="1394375" y="902584"/>
                    <a:pt x="1395413" y="907256"/>
                  </a:cubicBezTo>
                  <a:cubicBezTo>
                    <a:pt x="1396500" y="912145"/>
                    <a:pt x="1397622" y="921201"/>
                    <a:pt x="1400175" y="926306"/>
                  </a:cubicBezTo>
                  <a:cubicBezTo>
                    <a:pt x="1401455" y="928866"/>
                    <a:pt x="1403350" y="931069"/>
                    <a:pt x="1404938" y="933450"/>
                  </a:cubicBezTo>
                  <a:cubicBezTo>
                    <a:pt x="1405732" y="938212"/>
                    <a:pt x="1406148" y="943053"/>
                    <a:pt x="1407319" y="947737"/>
                  </a:cubicBezTo>
                  <a:cubicBezTo>
                    <a:pt x="1408536" y="952607"/>
                    <a:pt x="1410863" y="957155"/>
                    <a:pt x="1412081" y="962025"/>
                  </a:cubicBezTo>
                  <a:cubicBezTo>
                    <a:pt x="1412875" y="965200"/>
                    <a:pt x="1413564" y="968403"/>
                    <a:pt x="1414463" y="971550"/>
                  </a:cubicBezTo>
                  <a:cubicBezTo>
                    <a:pt x="1415153" y="973964"/>
                    <a:pt x="1416184" y="976272"/>
                    <a:pt x="1416844" y="978694"/>
                  </a:cubicBezTo>
                  <a:cubicBezTo>
                    <a:pt x="1424893" y="1008211"/>
                    <a:pt x="1418508" y="988455"/>
                    <a:pt x="1423988" y="1004887"/>
                  </a:cubicBezTo>
                  <a:cubicBezTo>
                    <a:pt x="1424782" y="1010443"/>
                    <a:pt x="1425365" y="1016034"/>
                    <a:pt x="1426369" y="1021556"/>
                  </a:cubicBezTo>
                  <a:cubicBezTo>
                    <a:pt x="1426954" y="1024776"/>
                    <a:pt x="1428040" y="1027886"/>
                    <a:pt x="1428750" y="1031081"/>
                  </a:cubicBezTo>
                  <a:cubicBezTo>
                    <a:pt x="1429628" y="1035032"/>
                    <a:pt x="1430466" y="1038995"/>
                    <a:pt x="1431131" y="1042987"/>
                  </a:cubicBezTo>
                  <a:cubicBezTo>
                    <a:pt x="1432649" y="1052094"/>
                    <a:pt x="1433921" y="1064737"/>
                    <a:pt x="1435894" y="1073944"/>
                  </a:cubicBezTo>
                  <a:cubicBezTo>
                    <a:pt x="1437265" y="1080344"/>
                    <a:pt x="1437729" y="1087140"/>
                    <a:pt x="1440656" y="1092994"/>
                  </a:cubicBezTo>
                  <a:lnTo>
                    <a:pt x="1445419" y="1102519"/>
                  </a:lnTo>
                  <a:cubicBezTo>
                    <a:pt x="1451458" y="1132716"/>
                    <a:pt x="1443365" y="1100108"/>
                    <a:pt x="1452563" y="1121569"/>
                  </a:cubicBezTo>
                  <a:cubicBezTo>
                    <a:pt x="1454991" y="1127235"/>
                    <a:pt x="1455704" y="1141379"/>
                    <a:pt x="1459706" y="1145381"/>
                  </a:cubicBezTo>
                  <a:cubicBezTo>
                    <a:pt x="1462881" y="1148556"/>
                    <a:pt x="1466274" y="1151527"/>
                    <a:pt x="1469231" y="1154906"/>
                  </a:cubicBezTo>
                  <a:cubicBezTo>
                    <a:pt x="1471844" y="1157893"/>
                    <a:pt x="1474068" y="1161202"/>
                    <a:pt x="1476375" y="1164431"/>
                  </a:cubicBezTo>
                  <a:cubicBezTo>
                    <a:pt x="1478039" y="1166760"/>
                    <a:pt x="1479114" y="1169551"/>
                    <a:pt x="1481138" y="1171575"/>
                  </a:cubicBezTo>
                  <a:cubicBezTo>
                    <a:pt x="1483161" y="1173598"/>
                    <a:pt x="1485900" y="1174750"/>
                    <a:pt x="1488281" y="1176337"/>
                  </a:cubicBezTo>
                  <a:cubicBezTo>
                    <a:pt x="1489869" y="1178718"/>
                    <a:pt x="1491020" y="1181457"/>
                    <a:pt x="1493044" y="1183481"/>
                  </a:cubicBezTo>
                  <a:cubicBezTo>
                    <a:pt x="1495068" y="1185505"/>
                    <a:pt x="1497703" y="1186824"/>
                    <a:pt x="1500188" y="1188244"/>
                  </a:cubicBezTo>
                  <a:cubicBezTo>
                    <a:pt x="1503759" y="1190284"/>
                    <a:pt x="1512143" y="1194601"/>
                    <a:pt x="1516856" y="1195387"/>
                  </a:cubicBezTo>
                  <a:cubicBezTo>
                    <a:pt x="1523946" y="1196569"/>
                    <a:pt x="1531144" y="1196975"/>
                    <a:pt x="1538288" y="1197769"/>
                  </a:cubicBezTo>
                  <a:cubicBezTo>
                    <a:pt x="1540669" y="1198563"/>
                    <a:pt x="1544186" y="1197971"/>
                    <a:pt x="1545431" y="1200150"/>
                  </a:cubicBezTo>
                  <a:cubicBezTo>
                    <a:pt x="1547826" y="1204342"/>
                    <a:pt x="1546766" y="1209724"/>
                    <a:pt x="1547813" y="1214437"/>
                  </a:cubicBezTo>
                  <a:cubicBezTo>
                    <a:pt x="1548358" y="1216887"/>
                    <a:pt x="1549400" y="1219200"/>
                    <a:pt x="1550194" y="1221581"/>
                  </a:cubicBezTo>
                  <a:cubicBezTo>
                    <a:pt x="1549400" y="1236662"/>
                    <a:pt x="1549180" y="1251785"/>
                    <a:pt x="1547813" y="1266825"/>
                  </a:cubicBezTo>
                  <a:cubicBezTo>
                    <a:pt x="1547586" y="1269325"/>
                    <a:pt x="1546999" y="1272009"/>
                    <a:pt x="1545431" y="1273969"/>
                  </a:cubicBezTo>
                  <a:cubicBezTo>
                    <a:pt x="1543643" y="1276204"/>
                    <a:pt x="1540669" y="1277144"/>
                    <a:pt x="1538288" y="1278731"/>
                  </a:cubicBezTo>
                  <a:cubicBezTo>
                    <a:pt x="1535902" y="1285888"/>
                    <a:pt x="1536271" y="1286866"/>
                    <a:pt x="1531144" y="1293019"/>
                  </a:cubicBezTo>
                  <a:cubicBezTo>
                    <a:pt x="1528988" y="1295606"/>
                    <a:pt x="1526067" y="1297504"/>
                    <a:pt x="1524000" y="1300162"/>
                  </a:cubicBezTo>
                  <a:cubicBezTo>
                    <a:pt x="1520486" y="1304680"/>
                    <a:pt x="1517650" y="1309687"/>
                    <a:pt x="1514475" y="1314450"/>
                  </a:cubicBezTo>
                  <a:cubicBezTo>
                    <a:pt x="1507507" y="1324902"/>
                    <a:pt x="1511436" y="1319296"/>
                    <a:pt x="1502569" y="1331119"/>
                  </a:cubicBezTo>
                  <a:cubicBezTo>
                    <a:pt x="1504320" y="1367901"/>
                    <a:pt x="1507167" y="1394349"/>
                    <a:pt x="1502569" y="1431131"/>
                  </a:cubicBezTo>
                  <a:cubicBezTo>
                    <a:pt x="1501757" y="1437628"/>
                    <a:pt x="1494650" y="1439714"/>
                    <a:pt x="1490663" y="1443037"/>
                  </a:cubicBezTo>
                  <a:cubicBezTo>
                    <a:pt x="1483787" y="1448767"/>
                    <a:pt x="1483439" y="1450301"/>
                    <a:pt x="1478756" y="1457325"/>
                  </a:cubicBezTo>
                  <a:cubicBezTo>
                    <a:pt x="1477124" y="1462222"/>
                    <a:pt x="1474658" y="1469011"/>
                    <a:pt x="1473994" y="1473994"/>
                  </a:cubicBezTo>
                  <a:cubicBezTo>
                    <a:pt x="1472835" y="1482684"/>
                    <a:pt x="1474022" y="1491757"/>
                    <a:pt x="1471613" y="1500187"/>
                  </a:cubicBezTo>
                  <a:cubicBezTo>
                    <a:pt x="1470688" y="1503425"/>
                    <a:pt x="1466850" y="1504950"/>
                    <a:pt x="1464469" y="1507331"/>
                  </a:cubicBezTo>
                  <a:lnTo>
                    <a:pt x="1462088" y="1509712"/>
                  </a:lnTo>
                </a:path>
              </a:pathLst>
            </a:custGeom>
            <a:grpFill/>
            <a:ln w="12700">
              <a:solidFill>
                <a:schemeClr val="bg1"/>
              </a:solidFill>
              <a:round/>
              <a:headEnd/>
              <a:tailEnd/>
            </a:ln>
          </p:spPr>
          <p:txBody>
            <a:bodyPr/>
            <a:lstStyle/>
            <a:p>
              <a:pPr>
                <a:defRPr/>
              </a:pPr>
              <a:endParaRPr lang="en-GB"/>
            </a:p>
          </p:txBody>
        </p:sp>
        <p:sp>
          <p:nvSpPr>
            <p:cNvPr id="14" name="Freeform 13"/>
            <p:cNvSpPr/>
            <p:nvPr/>
          </p:nvSpPr>
          <p:spPr bwMode="auto">
            <a:xfrm>
              <a:off x="3246876" y="4638675"/>
              <a:ext cx="1482287" cy="790575"/>
            </a:xfrm>
            <a:custGeom>
              <a:avLst/>
              <a:gdLst>
                <a:gd name="connsiteX0" fmla="*/ 65443 w 1482287"/>
                <a:gd name="connsiteY0" fmla="*/ 85725 h 790575"/>
                <a:gd name="connsiteX1" fmla="*/ 67824 w 1482287"/>
                <a:gd name="connsiteY1" fmla="*/ 111919 h 790575"/>
                <a:gd name="connsiteX2" fmla="*/ 70205 w 1482287"/>
                <a:gd name="connsiteY2" fmla="*/ 119063 h 790575"/>
                <a:gd name="connsiteX3" fmla="*/ 72587 w 1482287"/>
                <a:gd name="connsiteY3" fmla="*/ 128588 h 790575"/>
                <a:gd name="connsiteX4" fmla="*/ 77349 w 1482287"/>
                <a:gd name="connsiteY4" fmla="*/ 142875 h 790575"/>
                <a:gd name="connsiteX5" fmla="*/ 79730 w 1482287"/>
                <a:gd name="connsiteY5" fmla="*/ 154781 h 790575"/>
                <a:gd name="connsiteX6" fmla="*/ 86874 w 1482287"/>
                <a:gd name="connsiteY6" fmla="*/ 176213 h 790575"/>
                <a:gd name="connsiteX7" fmla="*/ 89255 w 1482287"/>
                <a:gd name="connsiteY7" fmla="*/ 183356 h 790575"/>
                <a:gd name="connsiteX8" fmla="*/ 91637 w 1482287"/>
                <a:gd name="connsiteY8" fmla="*/ 192881 h 790575"/>
                <a:gd name="connsiteX9" fmla="*/ 98780 w 1482287"/>
                <a:gd name="connsiteY9" fmla="*/ 207169 h 790575"/>
                <a:gd name="connsiteX10" fmla="*/ 103543 w 1482287"/>
                <a:gd name="connsiteY10" fmla="*/ 216694 h 790575"/>
                <a:gd name="connsiteX11" fmla="*/ 117830 w 1482287"/>
                <a:gd name="connsiteY11" fmla="*/ 230981 h 790575"/>
                <a:gd name="connsiteX12" fmla="*/ 120212 w 1482287"/>
                <a:gd name="connsiteY12" fmla="*/ 238125 h 790575"/>
                <a:gd name="connsiteX13" fmla="*/ 124974 w 1482287"/>
                <a:gd name="connsiteY13" fmla="*/ 245269 h 790575"/>
                <a:gd name="connsiteX14" fmla="*/ 129737 w 1482287"/>
                <a:gd name="connsiteY14" fmla="*/ 259556 h 790575"/>
                <a:gd name="connsiteX15" fmla="*/ 132118 w 1482287"/>
                <a:gd name="connsiteY15" fmla="*/ 266700 h 790575"/>
                <a:gd name="connsiteX16" fmla="*/ 129737 w 1482287"/>
                <a:gd name="connsiteY16" fmla="*/ 359569 h 790575"/>
                <a:gd name="connsiteX17" fmla="*/ 127355 w 1482287"/>
                <a:gd name="connsiteY17" fmla="*/ 366713 h 790575"/>
                <a:gd name="connsiteX18" fmla="*/ 113068 w 1482287"/>
                <a:gd name="connsiteY18" fmla="*/ 378619 h 790575"/>
                <a:gd name="connsiteX19" fmla="*/ 94018 w 1482287"/>
                <a:gd name="connsiteY19" fmla="*/ 400050 h 790575"/>
                <a:gd name="connsiteX20" fmla="*/ 86874 w 1482287"/>
                <a:gd name="connsiteY20" fmla="*/ 407194 h 790575"/>
                <a:gd name="connsiteX21" fmla="*/ 63062 w 1482287"/>
                <a:gd name="connsiteY21" fmla="*/ 414338 h 790575"/>
                <a:gd name="connsiteX22" fmla="*/ 46393 w 1482287"/>
                <a:gd name="connsiteY22" fmla="*/ 419100 h 790575"/>
                <a:gd name="connsiteX23" fmla="*/ 22580 w 1482287"/>
                <a:gd name="connsiteY23" fmla="*/ 442913 h 790575"/>
                <a:gd name="connsiteX24" fmla="*/ 17818 w 1482287"/>
                <a:gd name="connsiteY24" fmla="*/ 450056 h 790575"/>
                <a:gd name="connsiteX25" fmla="*/ 13055 w 1482287"/>
                <a:gd name="connsiteY25" fmla="*/ 457200 h 790575"/>
                <a:gd name="connsiteX26" fmla="*/ 10674 w 1482287"/>
                <a:gd name="connsiteY26" fmla="*/ 466725 h 790575"/>
                <a:gd name="connsiteX27" fmla="*/ 1149 w 1482287"/>
                <a:gd name="connsiteY27" fmla="*/ 476250 h 790575"/>
                <a:gd name="connsiteX28" fmla="*/ 3530 w 1482287"/>
                <a:gd name="connsiteY28" fmla="*/ 485775 h 790575"/>
                <a:gd name="connsiteX29" fmla="*/ 8293 w 1482287"/>
                <a:gd name="connsiteY29" fmla="*/ 502444 h 790575"/>
                <a:gd name="connsiteX30" fmla="*/ 10674 w 1482287"/>
                <a:gd name="connsiteY30" fmla="*/ 571500 h 790575"/>
                <a:gd name="connsiteX31" fmla="*/ 22580 w 1482287"/>
                <a:gd name="connsiteY31" fmla="*/ 592931 h 790575"/>
                <a:gd name="connsiteX32" fmla="*/ 32105 w 1482287"/>
                <a:gd name="connsiteY32" fmla="*/ 600075 h 790575"/>
                <a:gd name="connsiteX33" fmla="*/ 36868 w 1482287"/>
                <a:gd name="connsiteY33" fmla="*/ 607219 h 790575"/>
                <a:gd name="connsiteX34" fmla="*/ 60680 w 1482287"/>
                <a:gd name="connsiteY34" fmla="*/ 621506 h 790575"/>
                <a:gd name="connsiteX35" fmla="*/ 65443 w 1482287"/>
                <a:gd name="connsiteY35" fmla="*/ 628650 h 790575"/>
                <a:gd name="connsiteX36" fmla="*/ 86874 w 1482287"/>
                <a:gd name="connsiteY36" fmla="*/ 638175 h 790575"/>
                <a:gd name="connsiteX37" fmla="*/ 94018 w 1482287"/>
                <a:gd name="connsiteY37" fmla="*/ 640556 h 790575"/>
                <a:gd name="connsiteX38" fmla="*/ 101162 w 1482287"/>
                <a:gd name="connsiteY38" fmla="*/ 647700 h 790575"/>
                <a:gd name="connsiteX39" fmla="*/ 115449 w 1482287"/>
                <a:gd name="connsiteY39" fmla="*/ 657225 h 790575"/>
                <a:gd name="connsiteX40" fmla="*/ 129737 w 1482287"/>
                <a:gd name="connsiteY40" fmla="*/ 669131 h 790575"/>
                <a:gd name="connsiteX41" fmla="*/ 141643 w 1482287"/>
                <a:gd name="connsiteY41" fmla="*/ 683419 h 790575"/>
                <a:gd name="connsiteX42" fmla="*/ 144024 w 1482287"/>
                <a:gd name="connsiteY42" fmla="*/ 690563 h 790575"/>
                <a:gd name="connsiteX43" fmla="*/ 148787 w 1482287"/>
                <a:gd name="connsiteY43" fmla="*/ 709613 h 790575"/>
                <a:gd name="connsiteX44" fmla="*/ 153549 w 1482287"/>
                <a:gd name="connsiteY44" fmla="*/ 716756 h 790575"/>
                <a:gd name="connsiteX45" fmla="*/ 160693 w 1482287"/>
                <a:gd name="connsiteY45" fmla="*/ 726281 h 790575"/>
                <a:gd name="connsiteX46" fmla="*/ 174980 w 1482287"/>
                <a:gd name="connsiteY46" fmla="*/ 733425 h 790575"/>
                <a:gd name="connsiteX47" fmla="*/ 217843 w 1482287"/>
                <a:gd name="connsiteY47" fmla="*/ 735806 h 790575"/>
                <a:gd name="connsiteX48" fmla="*/ 267849 w 1482287"/>
                <a:gd name="connsiteY48" fmla="*/ 735806 h 790575"/>
                <a:gd name="connsiteX49" fmla="*/ 286899 w 1482287"/>
                <a:gd name="connsiteY49" fmla="*/ 740569 h 790575"/>
                <a:gd name="connsiteX50" fmla="*/ 301187 w 1482287"/>
                <a:gd name="connsiteY50" fmla="*/ 752475 h 790575"/>
                <a:gd name="connsiteX51" fmla="*/ 308330 w 1482287"/>
                <a:gd name="connsiteY51" fmla="*/ 757238 h 790575"/>
                <a:gd name="connsiteX52" fmla="*/ 322618 w 1482287"/>
                <a:gd name="connsiteY52" fmla="*/ 785813 h 790575"/>
                <a:gd name="connsiteX53" fmla="*/ 329762 w 1482287"/>
                <a:gd name="connsiteY53" fmla="*/ 790575 h 790575"/>
                <a:gd name="connsiteX54" fmla="*/ 334524 w 1482287"/>
                <a:gd name="connsiteY54" fmla="*/ 783431 h 790575"/>
                <a:gd name="connsiteX55" fmla="*/ 341668 w 1482287"/>
                <a:gd name="connsiteY55" fmla="*/ 776288 h 790575"/>
                <a:gd name="connsiteX56" fmla="*/ 348812 w 1482287"/>
                <a:gd name="connsiteY56" fmla="*/ 752475 h 790575"/>
                <a:gd name="connsiteX57" fmla="*/ 353574 w 1482287"/>
                <a:gd name="connsiteY57" fmla="*/ 738188 h 790575"/>
                <a:gd name="connsiteX58" fmla="*/ 365480 w 1482287"/>
                <a:gd name="connsiteY58" fmla="*/ 723900 h 790575"/>
                <a:gd name="connsiteX59" fmla="*/ 370243 w 1482287"/>
                <a:gd name="connsiteY59" fmla="*/ 716756 h 790575"/>
                <a:gd name="connsiteX60" fmla="*/ 384530 w 1482287"/>
                <a:gd name="connsiteY60" fmla="*/ 709613 h 790575"/>
                <a:gd name="connsiteX61" fmla="*/ 391674 w 1482287"/>
                <a:gd name="connsiteY61" fmla="*/ 702469 h 790575"/>
                <a:gd name="connsiteX62" fmla="*/ 398818 w 1482287"/>
                <a:gd name="connsiteY62" fmla="*/ 697706 h 790575"/>
                <a:gd name="connsiteX63" fmla="*/ 403580 w 1482287"/>
                <a:gd name="connsiteY63" fmla="*/ 690563 h 790575"/>
                <a:gd name="connsiteX64" fmla="*/ 413105 w 1482287"/>
                <a:gd name="connsiteY64" fmla="*/ 683419 h 790575"/>
                <a:gd name="connsiteX65" fmla="*/ 425012 w 1482287"/>
                <a:gd name="connsiteY65" fmla="*/ 669131 h 790575"/>
                <a:gd name="connsiteX66" fmla="*/ 436918 w 1482287"/>
                <a:gd name="connsiteY66" fmla="*/ 659606 h 790575"/>
                <a:gd name="connsiteX67" fmla="*/ 441680 w 1482287"/>
                <a:gd name="connsiteY67" fmla="*/ 652463 h 790575"/>
                <a:gd name="connsiteX68" fmla="*/ 448824 w 1482287"/>
                <a:gd name="connsiteY68" fmla="*/ 645319 h 790575"/>
                <a:gd name="connsiteX69" fmla="*/ 451205 w 1482287"/>
                <a:gd name="connsiteY69" fmla="*/ 638175 h 790575"/>
                <a:gd name="connsiteX70" fmla="*/ 448824 w 1482287"/>
                <a:gd name="connsiteY70" fmla="*/ 607219 h 790575"/>
                <a:gd name="connsiteX71" fmla="*/ 441680 w 1482287"/>
                <a:gd name="connsiteY71" fmla="*/ 602456 h 790575"/>
                <a:gd name="connsiteX72" fmla="*/ 422630 w 1482287"/>
                <a:gd name="connsiteY72" fmla="*/ 585788 h 790575"/>
                <a:gd name="connsiteX73" fmla="*/ 403580 w 1482287"/>
                <a:gd name="connsiteY73" fmla="*/ 573881 h 790575"/>
                <a:gd name="connsiteX74" fmla="*/ 389293 w 1482287"/>
                <a:gd name="connsiteY74" fmla="*/ 564356 h 790575"/>
                <a:gd name="connsiteX75" fmla="*/ 386912 w 1482287"/>
                <a:gd name="connsiteY75" fmla="*/ 557213 h 790575"/>
                <a:gd name="connsiteX76" fmla="*/ 401199 w 1482287"/>
                <a:gd name="connsiteY76" fmla="*/ 533400 h 790575"/>
                <a:gd name="connsiteX77" fmla="*/ 408343 w 1482287"/>
                <a:gd name="connsiteY77" fmla="*/ 528638 h 790575"/>
                <a:gd name="connsiteX78" fmla="*/ 413105 w 1482287"/>
                <a:gd name="connsiteY78" fmla="*/ 514350 h 790575"/>
                <a:gd name="connsiteX79" fmla="*/ 415487 w 1482287"/>
                <a:gd name="connsiteY79" fmla="*/ 495300 h 790575"/>
                <a:gd name="connsiteX80" fmla="*/ 417868 w 1482287"/>
                <a:gd name="connsiteY80" fmla="*/ 483394 h 790575"/>
                <a:gd name="connsiteX81" fmla="*/ 422630 w 1482287"/>
                <a:gd name="connsiteY81" fmla="*/ 457200 h 790575"/>
                <a:gd name="connsiteX82" fmla="*/ 425012 w 1482287"/>
                <a:gd name="connsiteY82" fmla="*/ 450056 h 790575"/>
                <a:gd name="connsiteX83" fmla="*/ 439299 w 1482287"/>
                <a:gd name="connsiteY83" fmla="*/ 440531 h 790575"/>
                <a:gd name="connsiteX84" fmla="*/ 475018 w 1482287"/>
                <a:gd name="connsiteY84" fmla="*/ 442913 h 790575"/>
                <a:gd name="connsiteX85" fmla="*/ 482162 w 1482287"/>
                <a:gd name="connsiteY85" fmla="*/ 447675 h 790575"/>
                <a:gd name="connsiteX86" fmla="*/ 484543 w 1482287"/>
                <a:gd name="connsiteY86" fmla="*/ 476250 h 790575"/>
                <a:gd name="connsiteX87" fmla="*/ 486924 w 1482287"/>
                <a:gd name="connsiteY87" fmla="*/ 483394 h 790575"/>
                <a:gd name="connsiteX88" fmla="*/ 501212 w 1482287"/>
                <a:gd name="connsiteY88" fmla="*/ 488156 h 790575"/>
                <a:gd name="connsiteX89" fmla="*/ 525024 w 1482287"/>
                <a:gd name="connsiteY89" fmla="*/ 492919 h 790575"/>
                <a:gd name="connsiteX90" fmla="*/ 563124 w 1482287"/>
                <a:gd name="connsiteY90" fmla="*/ 500063 h 790575"/>
                <a:gd name="connsiteX91" fmla="*/ 575030 w 1482287"/>
                <a:gd name="connsiteY91" fmla="*/ 502444 h 790575"/>
                <a:gd name="connsiteX92" fmla="*/ 620274 w 1482287"/>
                <a:gd name="connsiteY92" fmla="*/ 504825 h 790575"/>
                <a:gd name="connsiteX93" fmla="*/ 644087 w 1482287"/>
                <a:gd name="connsiteY93" fmla="*/ 511969 h 790575"/>
                <a:gd name="connsiteX94" fmla="*/ 663137 w 1482287"/>
                <a:gd name="connsiteY94" fmla="*/ 516731 h 790575"/>
                <a:gd name="connsiteX95" fmla="*/ 701237 w 1482287"/>
                <a:gd name="connsiteY95" fmla="*/ 519113 h 790575"/>
                <a:gd name="connsiteX96" fmla="*/ 727430 w 1482287"/>
                <a:gd name="connsiteY96" fmla="*/ 519113 h 790575"/>
                <a:gd name="connsiteX97" fmla="*/ 732193 w 1482287"/>
                <a:gd name="connsiteY97" fmla="*/ 511969 h 790575"/>
                <a:gd name="connsiteX98" fmla="*/ 739337 w 1482287"/>
                <a:gd name="connsiteY98" fmla="*/ 507206 h 790575"/>
                <a:gd name="connsiteX99" fmla="*/ 741718 w 1482287"/>
                <a:gd name="connsiteY99" fmla="*/ 500063 h 790575"/>
                <a:gd name="connsiteX100" fmla="*/ 748862 w 1482287"/>
                <a:gd name="connsiteY100" fmla="*/ 485775 h 790575"/>
                <a:gd name="connsiteX101" fmla="*/ 751243 w 1482287"/>
                <a:gd name="connsiteY101" fmla="*/ 464344 h 790575"/>
                <a:gd name="connsiteX102" fmla="*/ 758387 w 1482287"/>
                <a:gd name="connsiteY102" fmla="*/ 450056 h 790575"/>
                <a:gd name="connsiteX103" fmla="*/ 765530 w 1482287"/>
                <a:gd name="connsiteY103" fmla="*/ 442913 h 790575"/>
                <a:gd name="connsiteX104" fmla="*/ 770293 w 1482287"/>
                <a:gd name="connsiteY104" fmla="*/ 435769 h 790575"/>
                <a:gd name="connsiteX105" fmla="*/ 772674 w 1482287"/>
                <a:gd name="connsiteY105" fmla="*/ 428625 h 790575"/>
                <a:gd name="connsiteX106" fmla="*/ 779818 w 1482287"/>
                <a:gd name="connsiteY106" fmla="*/ 409575 h 790575"/>
                <a:gd name="connsiteX107" fmla="*/ 786962 w 1482287"/>
                <a:gd name="connsiteY107" fmla="*/ 407194 h 790575"/>
                <a:gd name="connsiteX108" fmla="*/ 803630 w 1482287"/>
                <a:gd name="connsiteY108" fmla="*/ 397669 h 790575"/>
                <a:gd name="connsiteX109" fmla="*/ 827443 w 1482287"/>
                <a:gd name="connsiteY109" fmla="*/ 383381 h 790575"/>
                <a:gd name="connsiteX110" fmla="*/ 856018 w 1482287"/>
                <a:gd name="connsiteY110" fmla="*/ 376238 h 790575"/>
                <a:gd name="connsiteX111" fmla="*/ 863162 w 1482287"/>
                <a:gd name="connsiteY111" fmla="*/ 373856 h 790575"/>
                <a:gd name="connsiteX112" fmla="*/ 867924 w 1482287"/>
                <a:gd name="connsiteY112" fmla="*/ 359569 h 790575"/>
                <a:gd name="connsiteX113" fmla="*/ 870305 w 1482287"/>
                <a:gd name="connsiteY113" fmla="*/ 323850 h 790575"/>
                <a:gd name="connsiteX114" fmla="*/ 884593 w 1482287"/>
                <a:gd name="connsiteY114" fmla="*/ 295275 h 790575"/>
                <a:gd name="connsiteX115" fmla="*/ 889355 w 1482287"/>
                <a:gd name="connsiteY115" fmla="*/ 288131 h 790575"/>
                <a:gd name="connsiteX116" fmla="*/ 896499 w 1482287"/>
                <a:gd name="connsiteY116" fmla="*/ 280988 h 790575"/>
                <a:gd name="connsiteX117" fmla="*/ 910787 w 1482287"/>
                <a:gd name="connsiteY117" fmla="*/ 264319 h 790575"/>
                <a:gd name="connsiteX118" fmla="*/ 925074 w 1482287"/>
                <a:gd name="connsiteY118" fmla="*/ 254794 h 790575"/>
                <a:gd name="connsiteX119" fmla="*/ 932218 w 1482287"/>
                <a:gd name="connsiteY119" fmla="*/ 250031 h 790575"/>
                <a:gd name="connsiteX120" fmla="*/ 936980 w 1482287"/>
                <a:gd name="connsiteY120" fmla="*/ 242888 h 790575"/>
                <a:gd name="connsiteX121" fmla="*/ 951268 w 1482287"/>
                <a:gd name="connsiteY121" fmla="*/ 233363 h 790575"/>
                <a:gd name="connsiteX122" fmla="*/ 1041755 w 1482287"/>
                <a:gd name="connsiteY122" fmla="*/ 235744 h 790575"/>
                <a:gd name="connsiteX123" fmla="*/ 1056043 w 1482287"/>
                <a:gd name="connsiteY123" fmla="*/ 245269 h 790575"/>
                <a:gd name="connsiteX124" fmla="*/ 1070330 w 1482287"/>
                <a:gd name="connsiteY124" fmla="*/ 254794 h 790575"/>
                <a:gd name="connsiteX125" fmla="*/ 1077474 w 1482287"/>
                <a:gd name="connsiteY125" fmla="*/ 259556 h 790575"/>
                <a:gd name="connsiteX126" fmla="*/ 1094143 w 1482287"/>
                <a:gd name="connsiteY126" fmla="*/ 264319 h 790575"/>
                <a:gd name="connsiteX127" fmla="*/ 1110812 w 1482287"/>
                <a:gd name="connsiteY127" fmla="*/ 266700 h 790575"/>
                <a:gd name="connsiteX128" fmla="*/ 1127480 w 1482287"/>
                <a:gd name="connsiteY128" fmla="*/ 271463 h 790575"/>
                <a:gd name="connsiteX129" fmla="*/ 1144149 w 1482287"/>
                <a:gd name="connsiteY129" fmla="*/ 273844 h 790575"/>
                <a:gd name="connsiteX130" fmla="*/ 1160818 w 1482287"/>
                <a:gd name="connsiteY130" fmla="*/ 278606 h 790575"/>
                <a:gd name="connsiteX131" fmla="*/ 1167962 w 1482287"/>
                <a:gd name="connsiteY131" fmla="*/ 283369 h 790575"/>
                <a:gd name="connsiteX132" fmla="*/ 1189393 w 1482287"/>
                <a:gd name="connsiteY132" fmla="*/ 288131 h 790575"/>
                <a:gd name="connsiteX133" fmla="*/ 1227493 w 1482287"/>
                <a:gd name="connsiteY133" fmla="*/ 292894 h 790575"/>
                <a:gd name="connsiteX134" fmla="*/ 1265593 w 1482287"/>
                <a:gd name="connsiteY134" fmla="*/ 290513 h 790575"/>
                <a:gd name="connsiteX135" fmla="*/ 1279880 w 1482287"/>
                <a:gd name="connsiteY135" fmla="*/ 285750 h 790575"/>
                <a:gd name="connsiteX136" fmla="*/ 1287024 w 1482287"/>
                <a:gd name="connsiteY136" fmla="*/ 283369 h 790575"/>
                <a:gd name="connsiteX137" fmla="*/ 1353699 w 1482287"/>
                <a:gd name="connsiteY137" fmla="*/ 280988 h 790575"/>
                <a:gd name="connsiteX138" fmla="*/ 1370368 w 1482287"/>
                <a:gd name="connsiteY138" fmla="*/ 276225 h 790575"/>
                <a:gd name="connsiteX139" fmla="*/ 1377512 w 1482287"/>
                <a:gd name="connsiteY139" fmla="*/ 271463 h 790575"/>
                <a:gd name="connsiteX140" fmla="*/ 1410849 w 1482287"/>
                <a:gd name="connsiteY140" fmla="*/ 261938 h 790575"/>
                <a:gd name="connsiteX141" fmla="*/ 1441805 w 1482287"/>
                <a:gd name="connsiteY141" fmla="*/ 254794 h 790575"/>
                <a:gd name="connsiteX142" fmla="*/ 1448949 w 1482287"/>
                <a:gd name="connsiteY142" fmla="*/ 247650 h 790575"/>
                <a:gd name="connsiteX143" fmla="*/ 1463237 w 1482287"/>
                <a:gd name="connsiteY143" fmla="*/ 238125 h 790575"/>
                <a:gd name="connsiteX144" fmla="*/ 1482287 w 1482287"/>
                <a:gd name="connsiteY144" fmla="*/ 216694 h 790575"/>
                <a:gd name="connsiteX145" fmla="*/ 1479905 w 1482287"/>
                <a:gd name="connsiteY145" fmla="*/ 200025 h 790575"/>
                <a:gd name="connsiteX146" fmla="*/ 1460855 w 1482287"/>
                <a:gd name="connsiteY146" fmla="*/ 190500 h 790575"/>
                <a:gd name="connsiteX147" fmla="*/ 1451330 w 1482287"/>
                <a:gd name="connsiteY147" fmla="*/ 183356 h 790575"/>
                <a:gd name="connsiteX148" fmla="*/ 1441805 w 1482287"/>
                <a:gd name="connsiteY148" fmla="*/ 180975 h 790575"/>
                <a:gd name="connsiteX149" fmla="*/ 1434662 w 1482287"/>
                <a:gd name="connsiteY149" fmla="*/ 178594 h 790575"/>
                <a:gd name="connsiteX150" fmla="*/ 1427518 w 1482287"/>
                <a:gd name="connsiteY150" fmla="*/ 145256 h 790575"/>
                <a:gd name="connsiteX151" fmla="*/ 1422755 w 1482287"/>
                <a:gd name="connsiteY151" fmla="*/ 130969 h 790575"/>
                <a:gd name="connsiteX152" fmla="*/ 1417993 w 1482287"/>
                <a:gd name="connsiteY152" fmla="*/ 114300 h 790575"/>
                <a:gd name="connsiteX153" fmla="*/ 1422755 w 1482287"/>
                <a:gd name="connsiteY153" fmla="*/ 57150 h 790575"/>
                <a:gd name="connsiteX154" fmla="*/ 1425137 w 1482287"/>
                <a:gd name="connsiteY154" fmla="*/ 45244 h 790575"/>
                <a:gd name="connsiteX155" fmla="*/ 1432280 w 1482287"/>
                <a:gd name="connsiteY155" fmla="*/ 40481 h 790575"/>
                <a:gd name="connsiteX156" fmla="*/ 1437043 w 1482287"/>
                <a:gd name="connsiteY156" fmla="*/ 33338 h 790575"/>
                <a:gd name="connsiteX157" fmla="*/ 1444187 w 1482287"/>
                <a:gd name="connsiteY157" fmla="*/ 28575 h 790575"/>
                <a:gd name="connsiteX158" fmla="*/ 1446568 w 1482287"/>
                <a:gd name="connsiteY158" fmla="*/ 21431 h 790575"/>
                <a:gd name="connsiteX159" fmla="*/ 1456093 w 1482287"/>
                <a:gd name="connsiteY159" fmla="*/ 7144 h 790575"/>
                <a:gd name="connsiteX160" fmla="*/ 1456093 w 1482287"/>
                <a:gd name="connsiteY160" fmla="*/ 7144 h 790575"/>
                <a:gd name="connsiteX161" fmla="*/ 1463237 w 1482287"/>
                <a:gd name="connsiteY161" fmla="*/ 0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482287" h="790575">
                  <a:moveTo>
                    <a:pt x="65443" y="85725"/>
                  </a:moveTo>
                  <a:cubicBezTo>
                    <a:pt x="66237" y="94456"/>
                    <a:pt x="66584" y="103240"/>
                    <a:pt x="67824" y="111919"/>
                  </a:cubicBezTo>
                  <a:cubicBezTo>
                    <a:pt x="68179" y="114404"/>
                    <a:pt x="69515" y="116649"/>
                    <a:pt x="70205" y="119063"/>
                  </a:cubicBezTo>
                  <a:cubicBezTo>
                    <a:pt x="71104" y="122210"/>
                    <a:pt x="71647" y="125453"/>
                    <a:pt x="72587" y="128588"/>
                  </a:cubicBezTo>
                  <a:cubicBezTo>
                    <a:pt x="74030" y="133396"/>
                    <a:pt x="76365" y="137953"/>
                    <a:pt x="77349" y="142875"/>
                  </a:cubicBezTo>
                  <a:cubicBezTo>
                    <a:pt x="78143" y="146844"/>
                    <a:pt x="78665" y="150876"/>
                    <a:pt x="79730" y="154781"/>
                  </a:cubicBezTo>
                  <a:cubicBezTo>
                    <a:pt x="81711" y="162046"/>
                    <a:pt x="84493" y="169069"/>
                    <a:pt x="86874" y="176213"/>
                  </a:cubicBezTo>
                  <a:cubicBezTo>
                    <a:pt x="87668" y="178594"/>
                    <a:pt x="88646" y="180921"/>
                    <a:pt x="89255" y="183356"/>
                  </a:cubicBezTo>
                  <a:cubicBezTo>
                    <a:pt x="90049" y="186531"/>
                    <a:pt x="90738" y="189734"/>
                    <a:pt x="91637" y="192881"/>
                  </a:cubicBezTo>
                  <a:cubicBezTo>
                    <a:pt x="94756" y="203796"/>
                    <a:pt x="92816" y="196732"/>
                    <a:pt x="98780" y="207169"/>
                  </a:cubicBezTo>
                  <a:cubicBezTo>
                    <a:pt x="100541" y="210251"/>
                    <a:pt x="101325" y="213922"/>
                    <a:pt x="103543" y="216694"/>
                  </a:cubicBezTo>
                  <a:cubicBezTo>
                    <a:pt x="107750" y="221953"/>
                    <a:pt x="117830" y="230981"/>
                    <a:pt x="117830" y="230981"/>
                  </a:cubicBezTo>
                  <a:cubicBezTo>
                    <a:pt x="118624" y="233362"/>
                    <a:pt x="119089" y="235880"/>
                    <a:pt x="120212" y="238125"/>
                  </a:cubicBezTo>
                  <a:cubicBezTo>
                    <a:pt x="121492" y="240685"/>
                    <a:pt x="123812" y="242654"/>
                    <a:pt x="124974" y="245269"/>
                  </a:cubicBezTo>
                  <a:cubicBezTo>
                    <a:pt x="127013" y="249856"/>
                    <a:pt x="128149" y="254794"/>
                    <a:pt x="129737" y="259556"/>
                  </a:cubicBezTo>
                  <a:lnTo>
                    <a:pt x="132118" y="266700"/>
                  </a:lnTo>
                  <a:cubicBezTo>
                    <a:pt x="131324" y="297656"/>
                    <a:pt x="131210" y="328638"/>
                    <a:pt x="129737" y="359569"/>
                  </a:cubicBezTo>
                  <a:cubicBezTo>
                    <a:pt x="129618" y="362076"/>
                    <a:pt x="128747" y="364624"/>
                    <a:pt x="127355" y="366713"/>
                  </a:cubicBezTo>
                  <a:cubicBezTo>
                    <a:pt x="123688" y="372213"/>
                    <a:pt x="118339" y="375105"/>
                    <a:pt x="113068" y="378619"/>
                  </a:cubicBezTo>
                  <a:cubicBezTo>
                    <a:pt x="104569" y="391367"/>
                    <a:pt x="110329" y="383739"/>
                    <a:pt x="94018" y="400050"/>
                  </a:cubicBezTo>
                  <a:cubicBezTo>
                    <a:pt x="91637" y="402431"/>
                    <a:pt x="90069" y="406129"/>
                    <a:pt x="86874" y="407194"/>
                  </a:cubicBezTo>
                  <a:cubicBezTo>
                    <a:pt x="52930" y="418508"/>
                    <a:pt x="88248" y="407141"/>
                    <a:pt x="63062" y="414338"/>
                  </a:cubicBezTo>
                  <a:cubicBezTo>
                    <a:pt x="39189" y="421160"/>
                    <a:pt x="76117" y="411670"/>
                    <a:pt x="46393" y="419100"/>
                  </a:cubicBezTo>
                  <a:cubicBezTo>
                    <a:pt x="27342" y="431800"/>
                    <a:pt x="35280" y="423862"/>
                    <a:pt x="22580" y="442913"/>
                  </a:cubicBezTo>
                  <a:lnTo>
                    <a:pt x="17818" y="450056"/>
                  </a:lnTo>
                  <a:lnTo>
                    <a:pt x="13055" y="457200"/>
                  </a:lnTo>
                  <a:cubicBezTo>
                    <a:pt x="12261" y="460375"/>
                    <a:pt x="12408" y="463950"/>
                    <a:pt x="10674" y="466725"/>
                  </a:cubicBezTo>
                  <a:cubicBezTo>
                    <a:pt x="8294" y="470533"/>
                    <a:pt x="2726" y="472046"/>
                    <a:pt x="1149" y="476250"/>
                  </a:cubicBezTo>
                  <a:cubicBezTo>
                    <a:pt x="0" y="479314"/>
                    <a:pt x="2631" y="482628"/>
                    <a:pt x="3530" y="485775"/>
                  </a:cubicBezTo>
                  <a:cubicBezTo>
                    <a:pt x="10363" y="509688"/>
                    <a:pt x="850" y="472669"/>
                    <a:pt x="8293" y="502444"/>
                  </a:cubicBezTo>
                  <a:cubicBezTo>
                    <a:pt x="9087" y="525463"/>
                    <a:pt x="8707" y="548552"/>
                    <a:pt x="10674" y="571500"/>
                  </a:cubicBezTo>
                  <a:cubicBezTo>
                    <a:pt x="11619" y="582519"/>
                    <a:pt x="15162" y="586573"/>
                    <a:pt x="22580" y="592931"/>
                  </a:cubicBezTo>
                  <a:cubicBezTo>
                    <a:pt x="25593" y="595514"/>
                    <a:pt x="29299" y="597269"/>
                    <a:pt x="32105" y="600075"/>
                  </a:cubicBezTo>
                  <a:cubicBezTo>
                    <a:pt x="34129" y="602099"/>
                    <a:pt x="34714" y="605334"/>
                    <a:pt x="36868" y="607219"/>
                  </a:cubicBezTo>
                  <a:cubicBezTo>
                    <a:pt x="44533" y="613926"/>
                    <a:pt x="51974" y="617154"/>
                    <a:pt x="60680" y="621506"/>
                  </a:cubicBezTo>
                  <a:cubicBezTo>
                    <a:pt x="62268" y="623887"/>
                    <a:pt x="63419" y="626626"/>
                    <a:pt x="65443" y="628650"/>
                  </a:cubicBezTo>
                  <a:cubicBezTo>
                    <a:pt x="71104" y="634311"/>
                    <a:pt x="79798" y="635817"/>
                    <a:pt x="86874" y="638175"/>
                  </a:cubicBezTo>
                  <a:lnTo>
                    <a:pt x="94018" y="640556"/>
                  </a:lnTo>
                  <a:cubicBezTo>
                    <a:pt x="96399" y="642937"/>
                    <a:pt x="98504" y="645632"/>
                    <a:pt x="101162" y="647700"/>
                  </a:cubicBezTo>
                  <a:cubicBezTo>
                    <a:pt x="105680" y="651214"/>
                    <a:pt x="111402" y="653178"/>
                    <a:pt x="115449" y="657225"/>
                  </a:cubicBezTo>
                  <a:cubicBezTo>
                    <a:pt x="136329" y="678105"/>
                    <a:pt x="109838" y="652548"/>
                    <a:pt x="129737" y="669131"/>
                  </a:cubicBezTo>
                  <a:cubicBezTo>
                    <a:pt x="136610" y="674858"/>
                    <a:pt x="136962" y="676397"/>
                    <a:pt x="141643" y="683419"/>
                  </a:cubicBezTo>
                  <a:cubicBezTo>
                    <a:pt x="142437" y="685800"/>
                    <a:pt x="143415" y="688128"/>
                    <a:pt x="144024" y="690563"/>
                  </a:cubicBezTo>
                  <a:cubicBezTo>
                    <a:pt x="145384" y="696004"/>
                    <a:pt x="146063" y="704166"/>
                    <a:pt x="148787" y="709613"/>
                  </a:cubicBezTo>
                  <a:cubicBezTo>
                    <a:pt x="150067" y="712172"/>
                    <a:pt x="151886" y="714427"/>
                    <a:pt x="153549" y="716756"/>
                  </a:cubicBezTo>
                  <a:cubicBezTo>
                    <a:pt x="155856" y="719986"/>
                    <a:pt x="157887" y="723475"/>
                    <a:pt x="160693" y="726281"/>
                  </a:cubicBezTo>
                  <a:cubicBezTo>
                    <a:pt x="163566" y="729154"/>
                    <a:pt x="170698" y="733017"/>
                    <a:pt x="174980" y="733425"/>
                  </a:cubicBezTo>
                  <a:cubicBezTo>
                    <a:pt x="189225" y="734782"/>
                    <a:pt x="203555" y="735012"/>
                    <a:pt x="217843" y="735806"/>
                  </a:cubicBezTo>
                  <a:cubicBezTo>
                    <a:pt x="249247" y="733391"/>
                    <a:pt x="242198" y="731859"/>
                    <a:pt x="267849" y="735806"/>
                  </a:cubicBezTo>
                  <a:cubicBezTo>
                    <a:pt x="271770" y="736409"/>
                    <a:pt x="282394" y="738317"/>
                    <a:pt x="286899" y="740569"/>
                  </a:cubicBezTo>
                  <a:cubicBezTo>
                    <a:pt x="295767" y="745002"/>
                    <a:pt x="293288" y="745892"/>
                    <a:pt x="301187" y="752475"/>
                  </a:cubicBezTo>
                  <a:cubicBezTo>
                    <a:pt x="303385" y="754307"/>
                    <a:pt x="305949" y="755650"/>
                    <a:pt x="308330" y="757238"/>
                  </a:cubicBezTo>
                  <a:cubicBezTo>
                    <a:pt x="311046" y="765386"/>
                    <a:pt x="314706" y="780539"/>
                    <a:pt x="322618" y="785813"/>
                  </a:cubicBezTo>
                  <a:lnTo>
                    <a:pt x="329762" y="790575"/>
                  </a:lnTo>
                  <a:cubicBezTo>
                    <a:pt x="331349" y="788194"/>
                    <a:pt x="332692" y="785630"/>
                    <a:pt x="334524" y="783431"/>
                  </a:cubicBezTo>
                  <a:cubicBezTo>
                    <a:pt x="336680" y="780844"/>
                    <a:pt x="340033" y="779232"/>
                    <a:pt x="341668" y="776288"/>
                  </a:cubicBezTo>
                  <a:cubicBezTo>
                    <a:pt x="345323" y="769708"/>
                    <a:pt x="346608" y="759821"/>
                    <a:pt x="348812" y="752475"/>
                  </a:cubicBezTo>
                  <a:cubicBezTo>
                    <a:pt x="350255" y="747667"/>
                    <a:pt x="350789" y="742365"/>
                    <a:pt x="353574" y="738188"/>
                  </a:cubicBezTo>
                  <a:cubicBezTo>
                    <a:pt x="365400" y="720450"/>
                    <a:pt x="350201" y="742236"/>
                    <a:pt x="365480" y="723900"/>
                  </a:cubicBezTo>
                  <a:cubicBezTo>
                    <a:pt x="367312" y="721701"/>
                    <a:pt x="368219" y="718780"/>
                    <a:pt x="370243" y="716756"/>
                  </a:cubicBezTo>
                  <a:cubicBezTo>
                    <a:pt x="374858" y="712141"/>
                    <a:pt x="378721" y="711549"/>
                    <a:pt x="384530" y="709613"/>
                  </a:cubicBezTo>
                  <a:cubicBezTo>
                    <a:pt x="386911" y="707232"/>
                    <a:pt x="389087" y="704625"/>
                    <a:pt x="391674" y="702469"/>
                  </a:cubicBezTo>
                  <a:cubicBezTo>
                    <a:pt x="393873" y="700637"/>
                    <a:pt x="396794" y="699730"/>
                    <a:pt x="398818" y="697706"/>
                  </a:cubicBezTo>
                  <a:cubicBezTo>
                    <a:pt x="400841" y="695683"/>
                    <a:pt x="401557" y="692586"/>
                    <a:pt x="403580" y="690563"/>
                  </a:cubicBezTo>
                  <a:cubicBezTo>
                    <a:pt x="406386" y="687757"/>
                    <a:pt x="409930" y="685800"/>
                    <a:pt x="413105" y="683419"/>
                  </a:cubicBezTo>
                  <a:cubicBezTo>
                    <a:pt x="423323" y="662985"/>
                    <a:pt x="411548" y="682595"/>
                    <a:pt x="425012" y="669131"/>
                  </a:cubicBezTo>
                  <a:cubicBezTo>
                    <a:pt x="435783" y="658360"/>
                    <a:pt x="423010" y="664243"/>
                    <a:pt x="436918" y="659606"/>
                  </a:cubicBezTo>
                  <a:cubicBezTo>
                    <a:pt x="438505" y="657225"/>
                    <a:pt x="439848" y="654661"/>
                    <a:pt x="441680" y="652463"/>
                  </a:cubicBezTo>
                  <a:cubicBezTo>
                    <a:pt x="443836" y="649876"/>
                    <a:pt x="446956" y="648121"/>
                    <a:pt x="448824" y="645319"/>
                  </a:cubicBezTo>
                  <a:cubicBezTo>
                    <a:pt x="450216" y="643230"/>
                    <a:pt x="450411" y="640556"/>
                    <a:pt x="451205" y="638175"/>
                  </a:cubicBezTo>
                  <a:cubicBezTo>
                    <a:pt x="450411" y="627856"/>
                    <a:pt x="451491" y="617219"/>
                    <a:pt x="448824" y="607219"/>
                  </a:cubicBezTo>
                  <a:cubicBezTo>
                    <a:pt x="448087" y="604454"/>
                    <a:pt x="443704" y="604480"/>
                    <a:pt x="441680" y="602456"/>
                  </a:cubicBezTo>
                  <a:cubicBezTo>
                    <a:pt x="428582" y="589358"/>
                    <a:pt x="449623" y="599286"/>
                    <a:pt x="422630" y="585788"/>
                  </a:cubicBezTo>
                  <a:cubicBezTo>
                    <a:pt x="406790" y="577867"/>
                    <a:pt x="419037" y="584701"/>
                    <a:pt x="403580" y="573881"/>
                  </a:cubicBezTo>
                  <a:cubicBezTo>
                    <a:pt x="398891" y="570599"/>
                    <a:pt x="389293" y="564356"/>
                    <a:pt x="389293" y="564356"/>
                  </a:cubicBezTo>
                  <a:cubicBezTo>
                    <a:pt x="388499" y="561975"/>
                    <a:pt x="386912" y="559723"/>
                    <a:pt x="386912" y="557213"/>
                  </a:cubicBezTo>
                  <a:cubicBezTo>
                    <a:pt x="386912" y="547705"/>
                    <a:pt x="394401" y="539065"/>
                    <a:pt x="401199" y="533400"/>
                  </a:cubicBezTo>
                  <a:cubicBezTo>
                    <a:pt x="403398" y="531568"/>
                    <a:pt x="405962" y="530225"/>
                    <a:pt x="408343" y="528638"/>
                  </a:cubicBezTo>
                  <a:cubicBezTo>
                    <a:pt x="409930" y="523875"/>
                    <a:pt x="412482" y="519331"/>
                    <a:pt x="413105" y="514350"/>
                  </a:cubicBezTo>
                  <a:cubicBezTo>
                    <a:pt x="413899" y="508000"/>
                    <a:pt x="414514" y="501625"/>
                    <a:pt x="415487" y="495300"/>
                  </a:cubicBezTo>
                  <a:cubicBezTo>
                    <a:pt x="416102" y="491300"/>
                    <a:pt x="417122" y="487372"/>
                    <a:pt x="417868" y="483394"/>
                  </a:cubicBezTo>
                  <a:cubicBezTo>
                    <a:pt x="419503" y="474672"/>
                    <a:pt x="420771" y="465877"/>
                    <a:pt x="422630" y="457200"/>
                  </a:cubicBezTo>
                  <a:cubicBezTo>
                    <a:pt x="423156" y="454746"/>
                    <a:pt x="423237" y="451831"/>
                    <a:pt x="425012" y="450056"/>
                  </a:cubicBezTo>
                  <a:cubicBezTo>
                    <a:pt x="429059" y="446009"/>
                    <a:pt x="439299" y="440531"/>
                    <a:pt x="439299" y="440531"/>
                  </a:cubicBezTo>
                  <a:cubicBezTo>
                    <a:pt x="451205" y="441325"/>
                    <a:pt x="463248" y="440951"/>
                    <a:pt x="475018" y="442913"/>
                  </a:cubicBezTo>
                  <a:cubicBezTo>
                    <a:pt x="477841" y="443384"/>
                    <a:pt x="481376" y="444923"/>
                    <a:pt x="482162" y="447675"/>
                  </a:cubicBezTo>
                  <a:cubicBezTo>
                    <a:pt x="484788" y="456865"/>
                    <a:pt x="483280" y="466776"/>
                    <a:pt x="484543" y="476250"/>
                  </a:cubicBezTo>
                  <a:cubicBezTo>
                    <a:pt x="484875" y="478738"/>
                    <a:pt x="484881" y="481935"/>
                    <a:pt x="486924" y="483394"/>
                  </a:cubicBezTo>
                  <a:cubicBezTo>
                    <a:pt x="491009" y="486312"/>
                    <a:pt x="496449" y="486568"/>
                    <a:pt x="501212" y="488156"/>
                  </a:cubicBezTo>
                  <a:cubicBezTo>
                    <a:pt x="513688" y="492315"/>
                    <a:pt x="505852" y="490180"/>
                    <a:pt x="525024" y="492919"/>
                  </a:cubicBezTo>
                  <a:cubicBezTo>
                    <a:pt x="549901" y="501210"/>
                    <a:pt x="529516" y="495581"/>
                    <a:pt x="563124" y="500063"/>
                  </a:cubicBezTo>
                  <a:cubicBezTo>
                    <a:pt x="567136" y="500598"/>
                    <a:pt x="570997" y="502108"/>
                    <a:pt x="575030" y="502444"/>
                  </a:cubicBezTo>
                  <a:cubicBezTo>
                    <a:pt x="590080" y="503698"/>
                    <a:pt x="605193" y="504031"/>
                    <a:pt x="620274" y="504825"/>
                  </a:cubicBezTo>
                  <a:cubicBezTo>
                    <a:pt x="634671" y="508424"/>
                    <a:pt x="626693" y="506171"/>
                    <a:pt x="644087" y="511969"/>
                  </a:cubicBezTo>
                  <a:cubicBezTo>
                    <a:pt x="651151" y="514324"/>
                    <a:pt x="655089" y="515964"/>
                    <a:pt x="663137" y="516731"/>
                  </a:cubicBezTo>
                  <a:cubicBezTo>
                    <a:pt x="675804" y="517938"/>
                    <a:pt x="688537" y="518319"/>
                    <a:pt x="701237" y="519113"/>
                  </a:cubicBezTo>
                  <a:cubicBezTo>
                    <a:pt x="707931" y="520069"/>
                    <a:pt x="720166" y="523956"/>
                    <a:pt x="727430" y="519113"/>
                  </a:cubicBezTo>
                  <a:cubicBezTo>
                    <a:pt x="729811" y="517525"/>
                    <a:pt x="730169" y="513993"/>
                    <a:pt x="732193" y="511969"/>
                  </a:cubicBezTo>
                  <a:cubicBezTo>
                    <a:pt x="734217" y="509945"/>
                    <a:pt x="736956" y="508794"/>
                    <a:pt x="739337" y="507206"/>
                  </a:cubicBezTo>
                  <a:cubicBezTo>
                    <a:pt x="740131" y="504825"/>
                    <a:pt x="740596" y="502308"/>
                    <a:pt x="741718" y="500063"/>
                  </a:cubicBezTo>
                  <a:cubicBezTo>
                    <a:pt x="750952" y="481594"/>
                    <a:pt x="742873" y="503736"/>
                    <a:pt x="748862" y="485775"/>
                  </a:cubicBezTo>
                  <a:cubicBezTo>
                    <a:pt x="749656" y="478631"/>
                    <a:pt x="750061" y="471434"/>
                    <a:pt x="751243" y="464344"/>
                  </a:cubicBezTo>
                  <a:cubicBezTo>
                    <a:pt x="752138" y="458973"/>
                    <a:pt x="754958" y="454171"/>
                    <a:pt x="758387" y="450056"/>
                  </a:cubicBezTo>
                  <a:cubicBezTo>
                    <a:pt x="760543" y="447469"/>
                    <a:pt x="763374" y="445500"/>
                    <a:pt x="765530" y="442913"/>
                  </a:cubicBezTo>
                  <a:cubicBezTo>
                    <a:pt x="767362" y="440714"/>
                    <a:pt x="768705" y="438150"/>
                    <a:pt x="770293" y="435769"/>
                  </a:cubicBezTo>
                  <a:cubicBezTo>
                    <a:pt x="771087" y="433388"/>
                    <a:pt x="772065" y="431060"/>
                    <a:pt x="772674" y="428625"/>
                  </a:cubicBezTo>
                  <a:cubicBezTo>
                    <a:pt x="774368" y="421847"/>
                    <a:pt x="773692" y="414475"/>
                    <a:pt x="779818" y="409575"/>
                  </a:cubicBezTo>
                  <a:cubicBezTo>
                    <a:pt x="781778" y="408007"/>
                    <a:pt x="784581" y="407988"/>
                    <a:pt x="786962" y="407194"/>
                  </a:cubicBezTo>
                  <a:cubicBezTo>
                    <a:pt x="811637" y="390740"/>
                    <a:pt x="773462" y="415769"/>
                    <a:pt x="803630" y="397669"/>
                  </a:cubicBezTo>
                  <a:cubicBezTo>
                    <a:pt x="814806" y="390964"/>
                    <a:pt x="816560" y="387734"/>
                    <a:pt x="827443" y="383381"/>
                  </a:cubicBezTo>
                  <a:cubicBezTo>
                    <a:pt x="840918" y="377991"/>
                    <a:pt x="841965" y="378580"/>
                    <a:pt x="856018" y="376238"/>
                  </a:cubicBezTo>
                  <a:cubicBezTo>
                    <a:pt x="858399" y="375444"/>
                    <a:pt x="861703" y="375899"/>
                    <a:pt x="863162" y="373856"/>
                  </a:cubicBezTo>
                  <a:cubicBezTo>
                    <a:pt x="866080" y="369771"/>
                    <a:pt x="867924" y="359569"/>
                    <a:pt x="867924" y="359569"/>
                  </a:cubicBezTo>
                  <a:cubicBezTo>
                    <a:pt x="868718" y="347663"/>
                    <a:pt x="868617" y="335663"/>
                    <a:pt x="870305" y="323850"/>
                  </a:cubicBezTo>
                  <a:cubicBezTo>
                    <a:pt x="872097" y="311304"/>
                    <a:pt x="877735" y="305563"/>
                    <a:pt x="884593" y="295275"/>
                  </a:cubicBezTo>
                  <a:cubicBezTo>
                    <a:pt x="886180" y="292894"/>
                    <a:pt x="887331" y="290155"/>
                    <a:pt x="889355" y="288131"/>
                  </a:cubicBezTo>
                  <a:cubicBezTo>
                    <a:pt x="891736" y="285750"/>
                    <a:pt x="894307" y="283545"/>
                    <a:pt x="896499" y="280988"/>
                  </a:cubicBezTo>
                  <a:cubicBezTo>
                    <a:pt x="902892" y="273531"/>
                    <a:pt x="903189" y="270229"/>
                    <a:pt x="910787" y="264319"/>
                  </a:cubicBezTo>
                  <a:cubicBezTo>
                    <a:pt x="915305" y="260805"/>
                    <a:pt x="920312" y="257969"/>
                    <a:pt x="925074" y="254794"/>
                  </a:cubicBezTo>
                  <a:lnTo>
                    <a:pt x="932218" y="250031"/>
                  </a:lnTo>
                  <a:cubicBezTo>
                    <a:pt x="933805" y="247650"/>
                    <a:pt x="934826" y="244772"/>
                    <a:pt x="936980" y="242888"/>
                  </a:cubicBezTo>
                  <a:cubicBezTo>
                    <a:pt x="941288" y="239119"/>
                    <a:pt x="951268" y="233363"/>
                    <a:pt x="951268" y="233363"/>
                  </a:cubicBezTo>
                  <a:lnTo>
                    <a:pt x="1041755" y="235744"/>
                  </a:lnTo>
                  <a:cubicBezTo>
                    <a:pt x="1047442" y="236390"/>
                    <a:pt x="1051280" y="242094"/>
                    <a:pt x="1056043" y="245269"/>
                  </a:cubicBezTo>
                  <a:lnTo>
                    <a:pt x="1070330" y="254794"/>
                  </a:lnTo>
                  <a:cubicBezTo>
                    <a:pt x="1072711" y="256382"/>
                    <a:pt x="1074759" y="258651"/>
                    <a:pt x="1077474" y="259556"/>
                  </a:cubicBezTo>
                  <a:cubicBezTo>
                    <a:pt x="1083598" y="261598"/>
                    <a:pt x="1087560" y="263122"/>
                    <a:pt x="1094143" y="264319"/>
                  </a:cubicBezTo>
                  <a:cubicBezTo>
                    <a:pt x="1099665" y="265323"/>
                    <a:pt x="1105256" y="265906"/>
                    <a:pt x="1110812" y="266700"/>
                  </a:cubicBezTo>
                  <a:cubicBezTo>
                    <a:pt x="1116928" y="268739"/>
                    <a:pt x="1120908" y="270268"/>
                    <a:pt x="1127480" y="271463"/>
                  </a:cubicBezTo>
                  <a:cubicBezTo>
                    <a:pt x="1133002" y="272467"/>
                    <a:pt x="1138627" y="272840"/>
                    <a:pt x="1144149" y="273844"/>
                  </a:cubicBezTo>
                  <a:cubicBezTo>
                    <a:pt x="1150727" y="275040"/>
                    <a:pt x="1154698" y="276566"/>
                    <a:pt x="1160818" y="278606"/>
                  </a:cubicBezTo>
                  <a:cubicBezTo>
                    <a:pt x="1163199" y="280194"/>
                    <a:pt x="1165402" y="282089"/>
                    <a:pt x="1167962" y="283369"/>
                  </a:cubicBezTo>
                  <a:cubicBezTo>
                    <a:pt x="1173507" y="286142"/>
                    <a:pt x="1184516" y="287521"/>
                    <a:pt x="1189393" y="288131"/>
                  </a:cubicBezTo>
                  <a:lnTo>
                    <a:pt x="1227493" y="292894"/>
                  </a:lnTo>
                  <a:cubicBezTo>
                    <a:pt x="1240193" y="292100"/>
                    <a:pt x="1252985" y="292232"/>
                    <a:pt x="1265593" y="290513"/>
                  </a:cubicBezTo>
                  <a:cubicBezTo>
                    <a:pt x="1270567" y="289835"/>
                    <a:pt x="1275118" y="287338"/>
                    <a:pt x="1279880" y="285750"/>
                  </a:cubicBezTo>
                  <a:cubicBezTo>
                    <a:pt x="1282261" y="284956"/>
                    <a:pt x="1284515" y="283459"/>
                    <a:pt x="1287024" y="283369"/>
                  </a:cubicBezTo>
                  <a:lnTo>
                    <a:pt x="1353699" y="280988"/>
                  </a:lnTo>
                  <a:cubicBezTo>
                    <a:pt x="1356746" y="280226"/>
                    <a:pt x="1366955" y="277931"/>
                    <a:pt x="1370368" y="276225"/>
                  </a:cubicBezTo>
                  <a:cubicBezTo>
                    <a:pt x="1372928" y="274945"/>
                    <a:pt x="1374897" y="272625"/>
                    <a:pt x="1377512" y="271463"/>
                  </a:cubicBezTo>
                  <a:cubicBezTo>
                    <a:pt x="1391286" y="265341"/>
                    <a:pt x="1395694" y="266990"/>
                    <a:pt x="1410849" y="261938"/>
                  </a:cubicBezTo>
                  <a:cubicBezTo>
                    <a:pt x="1430461" y="255400"/>
                    <a:pt x="1420167" y="257885"/>
                    <a:pt x="1441805" y="254794"/>
                  </a:cubicBezTo>
                  <a:cubicBezTo>
                    <a:pt x="1444186" y="252413"/>
                    <a:pt x="1446291" y="249718"/>
                    <a:pt x="1448949" y="247650"/>
                  </a:cubicBezTo>
                  <a:cubicBezTo>
                    <a:pt x="1453467" y="244136"/>
                    <a:pt x="1459190" y="242172"/>
                    <a:pt x="1463237" y="238125"/>
                  </a:cubicBezTo>
                  <a:cubicBezTo>
                    <a:pt x="1479548" y="221814"/>
                    <a:pt x="1473788" y="229442"/>
                    <a:pt x="1482287" y="216694"/>
                  </a:cubicBezTo>
                  <a:cubicBezTo>
                    <a:pt x="1481493" y="211138"/>
                    <a:pt x="1482185" y="205154"/>
                    <a:pt x="1479905" y="200025"/>
                  </a:cubicBezTo>
                  <a:cubicBezTo>
                    <a:pt x="1478308" y="196433"/>
                    <a:pt x="1461820" y="191036"/>
                    <a:pt x="1460855" y="190500"/>
                  </a:cubicBezTo>
                  <a:cubicBezTo>
                    <a:pt x="1457386" y="188573"/>
                    <a:pt x="1454880" y="185131"/>
                    <a:pt x="1451330" y="183356"/>
                  </a:cubicBezTo>
                  <a:cubicBezTo>
                    <a:pt x="1448403" y="181892"/>
                    <a:pt x="1444952" y="181874"/>
                    <a:pt x="1441805" y="180975"/>
                  </a:cubicBezTo>
                  <a:cubicBezTo>
                    <a:pt x="1439392" y="180286"/>
                    <a:pt x="1437043" y="179388"/>
                    <a:pt x="1434662" y="178594"/>
                  </a:cubicBezTo>
                  <a:cubicBezTo>
                    <a:pt x="1423161" y="144093"/>
                    <a:pt x="1436531" y="187314"/>
                    <a:pt x="1427518" y="145256"/>
                  </a:cubicBezTo>
                  <a:cubicBezTo>
                    <a:pt x="1426466" y="140347"/>
                    <a:pt x="1424343" y="135731"/>
                    <a:pt x="1422755" y="130969"/>
                  </a:cubicBezTo>
                  <a:cubicBezTo>
                    <a:pt x="1419341" y="120728"/>
                    <a:pt x="1420980" y="126250"/>
                    <a:pt x="1417993" y="114300"/>
                  </a:cubicBezTo>
                  <a:cubicBezTo>
                    <a:pt x="1421512" y="43906"/>
                    <a:pt x="1416319" y="86111"/>
                    <a:pt x="1422755" y="57150"/>
                  </a:cubicBezTo>
                  <a:cubicBezTo>
                    <a:pt x="1423633" y="53199"/>
                    <a:pt x="1423129" y="48758"/>
                    <a:pt x="1425137" y="45244"/>
                  </a:cubicBezTo>
                  <a:cubicBezTo>
                    <a:pt x="1426557" y="42759"/>
                    <a:pt x="1429899" y="42069"/>
                    <a:pt x="1432280" y="40481"/>
                  </a:cubicBezTo>
                  <a:cubicBezTo>
                    <a:pt x="1433868" y="38100"/>
                    <a:pt x="1435019" y="35362"/>
                    <a:pt x="1437043" y="33338"/>
                  </a:cubicBezTo>
                  <a:cubicBezTo>
                    <a:pt x="1439067" y="31314"/>
                    <a:pt x="1442399" y="30810"/>
                    <a:pt x="1444187" y="28575"/>
                  </a:cubicBezTo>
                  <a:cubicBezTo>
                    <a:pt x="1445755" y="26615"/>
                    <a:pt x="1445349" y="23625"/>
                    <a:pt x="1446568" y="21431"/>
                  </a:cubicBezTo>
                  <a:cubicBezTo>
                    <a:pt x="1449348" y="16428"/>
                    <a:pt x="1452918" y="11906"/>
                    <a:pt x="1456093" y="7144"/>
                  </a:cubicBezTo>
                  <a:lnTo>
                    <a:pt x="1456093" y="7144"/>
                  </a:lnTo>
                  <a:lnTo>
                    <a:pt x="1463237" y="0"/>
                  </a:lnTo>
                </a:path>
              </a:pathLst>
            </a:custGeom>
            <a:grpFill/>
            <a:ln w="12700">
              <a:solidFill>
                <a:schemeClr val="bg1"/>
              </a:solidFill>
              <a:round/>
              <a:headEnd/>
              <a:tailEnd/>
            </a:ln>
          </p:spPr>
          <p:txBody>
            <a:bodyPr/>
            <a:lstStyle/>
            <a:p>
              <a:pPr>
                <a:defRPr/>
              </a:pPr>
              <a:endParaRPr lang="en-GB"/>
            </a:p>
          </p:txBody>
        </p:sp>
      </p:grpSp>
      <p:sp>
        <p:nvSpPr>
          <p:cNvPr id="15" name="Freeform 280"/>
          <p:cNvSpPr>
            <a:spLocks/>
          </p:cNvSpPr>
          <p:nvPr>
            <p:custDataLst>
              <p:tags r:id="rId5"/>
            </p:custDataLst>
          </p:nvPr>
        </p:nvSpPr>
        <p:spPr bwMode="auto">
          <a:xfrm>
            <a:off x="716864" y="4881033"/>
            <a:ext cx="326081" cy="405510"/>
          </a:xfrm>
          <a:custGeom>
            <a:avLst/>
            <a:gdLst>
              <a:gd name="T0" fmla="*/ 2147483647 w 241"/>
              <a:gd name="T1" fmla="*/ 2147483647 h 309"/>
              <a:gd name="T2" fmla="*/ 2147483647 w 241"/>
              <a:gd name="T3" fmla="*/ 2147483647 h 309"/>
              <a:gd name="T4" fmla="*/ 2147483647 w 241"/>
              <a:gd name="T5" fmla="*/ 2147483647 h 309"/>
              <a:gd name="T6" fmla="*/ 2147483647 w 241"/>
              <a:gd name="T7" fmla="*/ 2147483647 h 309"/>
              <a:gd name="T8" fmla="*/ 2147483647 w 241"/>
              <a:gd name="T9" fmla="*/ 2147483647 h 309"/>
              <a:gd name="T10" fmla="*/ 2147483647 w 241"/>
              <a:gd name="T11" fmla="*/ 2147483647 h 309"/>
              <a:gd name="T12" fmla="*/ 2147483647 w 241"/>
              <a:gd name="T13" fmla="*/ 2147483647 h 309"/>
              <a:gd name="T14" fmla="*/ 2147483647 w 241"/>
              <a:gd name="T15" fmla="*/ 2147483647 h 309"/>
              <a:gd name="T16" fmla="*/ 2147483647 w 241"/>
              <a:gd name="T17" fmla="*/ 2147483647 h 309"/>
              <a:gd name="T18" fmla="*/ 2147483647 w 241"/>
              <a:gd name="T19" fmla="*/ 2147483647 h 309"/>
              <a:gd name="T20" fmla="*/ 0 w 241"/>
              <a:gd name="T21" fmla="*/ 2147483647 h 309"/>
              <a:gd name="T22" fmla="*/ 0 w 241"/>
              <a:gd name="T23" fmla="*/ 2147483647 h 309"/>
              <a:gd name="T24" fmla="*/ 2147483647 w 241"/>
              <a:gd name="T25" fmla="*/ 2147483647 h 309"/>
              <a:gd name="T26" fmla="*/ 2147483647 w 241"/>
              <a:gd name="T27" fmla="*/ 2147483647 h 309"/>
              <a:gd name="T28" fmla="*/ 2147483647 w 241"/>
              <a:gd name="T29" fmla="*/ 2147483647 h 309"/>
              <a:gd name="T30" fmla="*/ 2147483647 w 241"/>
              <a:gd name="T31" fmla="*/ 2147483647 h 309"/>
              <a:gd name="T32" fmla="*/ 2147483647 w 241"/>
              <a:gd name="T33" fmla="*/ 2147483647 h 309"/>
              <a:gd name="T34" fmla="*/ 2147483647 w 241"/>
              <a:gd name="T35" fmla="*/ 2147483647 h 309"/>
              <a:gd name="T36" fmla="*/ 2147483647 w 241"/>
              <a:gd name="T37" fmla="*/ 2147483647 h 309"/>
              <a:gd name="T38" fmla="*/ 2147483647 w 241"/>
              <a:gd name="T39" fmla="*/ 2147483647 h 309"/>
              <a:gd name="T40" fmla="*/ 2147483647 w 241"/>
              <a:gd name="T41" fmla="*/ 2147483647 h 309"/>
              <a:gd name="T42" fmla="*/ 2147483647 w 241"/>
              <a:gd name="T43" fmla="*/ 2147483647 h 309"/>
              <a:gd name="T44" fmla="*/ 2147483647 w 241"/>
              <a:gd name="T45" fmla="*/ 2147483647 h 309"/>
              <a:gd name="T46" fmla="*/ 2147483647 w 241"/>
              <a:gd name="T47" fmla="*/ 2147483647 h 309"/>
              <a:gd name="T48" fmla="*/ 2147483647 w 241"/>
              <a:gd name="T49" fmla="*/ 0 h 309"/>
              <a:gd name="T50" fmla="*/ 2147483647 w 241"/>
              <a:gd name="T51" fmla="*/ 2147483647 h 309"/>
              <a:gd name="T52" fmla="*/ 2147483647 w 241"/>
              <a:gd name="T53" fmla="*/ 2147483647 h 309"/>
              <a:gd name="T54" fmla="*/ 2147483647 w 241"/>
              <a:gd name="T55" fmla="*/ 2147483647 h 309"/>
              <a:gd name="T56" fmla="*/ 2147483647 w 241"/>
              <a:gd name="T57" fmla="*/ 2147483647 h 309"/>
              <a:gd name="T58" fmla="*/ 2147483647 w 241"/>
              <a:gd name="T59" fmla="*/ 2147483647 h 309"/>
              <a:gd name="T60" fmla="*/ 2147483647 w 241"/>
              <a:gd name="T61" fmla="*/ 2147483647 h 309"/>
              <a:gd name="T62" fmla="*/ 2147483647 w 241"/>
              <a:gd name="T63" fmla="*/ 2147483647 h 309"/>
              <a:gd name="T64" fmla="*/ 2147483647 w 241"/>
              <a:gd name="T65" fmla="*/ 2147483647 h 309"/>
              <a:gd name="T66" fmla="*/ 2147483647 w 241"/>
              <a:gd name="T67" fmla="*/ 2147483647 h 309"/>
              <a:gd name="T68" fmla="*/ 2147483647 w 241"/>
              <a:gd name="T69" fmla="*/ 2147483647 h 309"/>
              <a:gd name="T70" fmla="*/ 2147483647 w 241"/>
              <a:gd name="T71" fmla="*/ 2147483647 h 309"/>
              <a:gd name="T72" fmla="*/ 2147483647 w 241"/>
              <a:gd name="T73" fmla="*/ 2147483647 h 309"/>
              <a:gd name="T74" fmla="*/ 2147483647 w 241"/>
              <a:gd name="T75" fmla="*/ 2147483647 h 309"/>
              <a:gd name="T76" fmla="*/ 2147483647 w 241"/>
              <a:gd name="T77" fmla="*/ 2147483647 h 309"/>
              <a:gd name="T78" fmla="*/ 2147483647 w 241"/>
              <a:gd name="T79" fmla="*/ 2147483647 h 309"/>
              <a:gd name="T80" fmla="*/ 2147483647 w 241"/>
              <a:gd name="T81" fmla="*/ 2147483647 h 309"/>
              <a:gd name="T82" fmla="*/ 2147483647 w 241"/>
              <a:gd name="T83" fmla="*/ 2147483647 h 309"/>
              <a:gd name="T84" fmla="*/ 2147483647 w 241"/>
              <a:gd name="T85" fmla="*/ 2147483647 h 309"/>
              <a:gd name="T86" fmla="*/ 2147483647 w 241"/>
              <a:gd name="T87" fmla="*/ 2147483647 h 309"/>
              <a:gd name="T88" fmla="*/ 2147483647 w 241"/>
              <a:gd name="T89" fmla="*/ 2147483647 h 309"/>
              <a:gd name="T90" fmla="*/ 2147483647 w 241"/>
              <a:gd name="T91" fmla="*/ 2147483647 h 309"/>
              <a:gd name="T92" fmla="*/ 2147483647 w 241"/>
              <a:gd name="T93" fmla="*/ 2147483647 h 309"/>
              <a:gd name="T94" fmla="*/ 2147483647 w 241"/>
              <a:gd name="T95" fmla="*/ 2147483647 h 3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1"/>
              <a:gd name="T145" fmla="*/ 0 h 309"/>
              <a:gd name="T146" fmla="*/ 241 w 241"/>
              <a:gd name="T147" fmla="*/ 309 h 3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1" h="309">
                <a:moveTo>
                  <a:pt x="159" y="309"/>
                </a:moveTo>
                <a:lnTo>
                  <a:pt x="155" y="307"/>
                </a:lnTo>
                <a:lnTo>
                  <a:pt x="153" y="305"/>
                </a:lnTo>
                <a:lnTo>
                  <a:pt x="145" y="301"/>
                </a:lnTo>
                <a:lnTo>
                  <a:pt x="140" y="299"/>
                </a:lnTo>
                <a:lnTo>
                  <a:pt x="136" y="297"/>
                </a:lnTo>
                <a:lnTo>
                  <a:pt x="134" y="296"/>
                </a:lnTo>
                <a:lnTo>
                  <a:pt x="128" y="292"/>
                </a:lnTo>
                <a:lnTo>
                  <a:pt x="115" y="292"/>
                </a:lnTo>
                <a:lnTo>
                  <a:pt x="101" y="292"/>
                </a:lnTo>
                <a:lnTo>
                  <a:pt x="95" y="296"/>
                </a:lnTo>
                <a:lnTo>
                  <a:pt x="94" y="297"/>
                </a:lnTo>
                <a:lnTo>
                  <a:pt x="92" y="299"/>
                </a:lnTo>
                <a:lnTo>
                  <a:pt x="88" y="299"/>
                </a:lnTo>
                <a:lnTo>
                  <a:pt x="86" y="299"/>
                </a:lnTo>
                <a:lnTo>
                  <a:pt x="82" y="294"/>
                </a:lnTo>
                <a:lnTo>
                  <a:pt x="78" y="290"/>
                </a:lnTo>
                <a:lnTo>
                  <a:pt x="71" y="290"/>
                </a:lnTo>
                <a:lnTo>
                  <a:pt x="57" y="290"/>
                </a:lnTo>
                <a:lnTo>
                  <a:pt x="51" y="290"/>
                </a:lnTo>
                <a:lnTo>
                  <a:pt x="47" y="290"/>
                </a:lnTo>
                <a:lnTo>
                  <a:pt x="42" y="271"/>
                </a:lnTo>
                <a:lnTo>
                  <a:pt x="38" y="251"/>
                </a:lnTo>
                <a:lnTo>
                  <a:pt x="32" y="226"/>
                </a:lnTo>
                <a:lnTo>
                  <a:pt x="28" y="202"/>
                </a:lnTo>
                <a:lnTo>
                  <a:pt x="23" y="188"/>
                </a:lnTo>
                <a:lnTo>
                  <a:pt x="19" y="173"/>
                </a:lnTo>
                <a:lnTo>
                  <a:pt x="13" y="150"/>
                </a:lnTo>
                <a:lnTo>
                  <a:pt x="9" y="125"/>
                </a:lnTo>
                <a:lnTo>
                  <a:pt x="3" y="102"/>
                </a:lnTo>
                <a:lnTo>
                  <a:pt x="0" y="77"/>
                </a:lnTo>
                <a:lnTo>
                  <a:pt x="0" y="71"/>
                </a:lnTo>
                <a:lnTo>
                  <a:pt x="0" y="67"/>
                </a:lnTo>
                <a:lnTo>
                  <a:pt x="0" y="61"/>
                </a:lnTo>
                <a:lnTo>
                  <a:pt x="0" y="58"/>
                </a:lnTo>
                <a:lnTo>
                  <a:pt x="0" y="48"/>
                </a:lnTo>
                <a:lnTo>
                  <a:pt x="0" y="38"/>
                </a:lnTo>
                <a:lnTo>
                  <a:pt x="9" y="38"/>
                </a:lnTo>
                <a:lnTo>
                  <a:pt x="19" y="38"/>
                </a:lnTo>
                <a:lnTo>
                  <a:pt x="19" y="42"/>
                </a:lnTo>
                <a:lnTo>
                  <a:pt x="19" y="48"/>
                </a:lnTo>
                <a:lnTo>
                  <a:pt x="23" y="48"/>
                </a:lnTo>
                <a:lnTo>
                  <a:pt x="28" y="48"/>
                </a:lnTo>
                <a:lnTo>
                  <a:pt x="32" y="58"/>
                </a:lnTo>
                <a:lnTo>
                  <a:pt x="38" y="67"/>
                </a:lnTo>
                <a:lnTo>
                  <a:pt x="42" y="71"/>
                </a:lnTo>
                <a:lnTo>
                  <a:pt x="47" y="77"/>
                </a:lnTo>
                <a:lnTo>
                  <a:pt x="47" y="71"/>
                </a:lnTo>
                <a:lnTo>
                  <a:pt x="47" y="67"/>
                </a:lnTo>
                <a:lnTo>
                  <a:pt x="57" y="67"/>
                </a:lnTo>
                <a:lnTo>
                  <a:pt x="67" y="67"/>
                </a:lnTo>
                <a:lnTo>
                  <a:pt x="71" y="61"/>
                </a:lnTo>
                <a:lnTo>
                  <a:pt x="76" y="58"/>
                </a:lnTo>
                <a:lnTo>
                  <a:pt x="76" y="52"/>
                </a:lnTo>
                <a:lnTo>
                  <a:pt x="76" y="48"/>
                </a:lnTo>
                <a:lnTo>
                  <a:pt x="80" y="48"/>
                </a:lnTo>
                <a:lnTo>
                  <a:pt x="86" y="48"/>
                </a:lnTo>
                <a:lnTo>
                  <a:pt x="90" y="48"/>
                </a:lnTo>
                <a:lnTo>
                  <a:pt x="95" y="48"/>
                </a:lnTo>
                <a:lnTo>
                  <a:pt x="99" y="48"/>
                </a:lnTo>
                <a:lnTo>
                  <a:pt x="105" y="48"/>
                </a:lnTo>
                <a:lnTo>
                  <a:pt x="115" y="52"/>
                </a:lnTo>
                <a:lnTo>
                  <a:pt x="124" y="58"/>
                </a:lnTo>
                <a:lnTo>
                  <a:pt x="130" y="52"/>
                </a:lnTo>
                <a:lnTo>
                  <a:pt x="134" y="48"/>
                </a:lnTo>
                <a:lnTo>
                  <a:pt x="134" y="42"/>
                </a:lnTo>
                <a:lnTo>
                  <a:pt x="134" y="38"/>
                </a:lnTo>
                <a:lnTo>
                  <a:pt x="134" y="33"/>
                </a:lnTo>
                <a:lnTo>
                  <a:pt x="134" y="29"/>
                </a:lnTo>
                <a:lnTo>
                  <a:pt x="130" y="29"/>
                </a:lnTo>
                <a:lnTo>
                  <a:pt x="124" y="29"/>
                </a:lnTo>
                <a:lnTo>
                  <a:pt x="124" y="14"/>
                </a:lnTo>
                <a:lnTo>
                  <a:pt x="124" y="0"/>
                </a:lnTo>
                <a:lnTo>
                  <a:pt x="130" y="0"/>
                </a:lnTo>
                <a:lnTo>
                  <a:pt x="134" y="0"/>
                </a:lnTo>
                <a:lnTo>
                  <a:pt x="140" y="4"/>
                </a:lnTo>
                <a:lnTo>
                  <a:pt x="143" y="10"/>
                </a:lnTo>
                <a:lnTo>
                  <a:pt x="153" y="14"/>
                </a:lnTo>
                <a:lnTo>
                  <a:pt x="163" y="19"/>
                </a:lnTo>
                <a:lnTo>
                  <a:pt x="168" y="23"/>
                </a:lnTo>
                <a:lnTo>
                  <a:pt x="172" y="29"/>
                </a:lnTo>
                <a:lnTo>
                  <a:pt x="178" y="29"/>
                </a:lnTo>
                <a:lnTo>
                  <a:pt x="182" y="29"/>
                </a:lnTo>
                <a:lnTo>
                  <a:pt x="182" y="33"/>
                </a:lnTo>
                <a:lnTo>
                  <a:pt x="182" y="38"/>
                </a:lnTo>
                <a:lnTo>
                  <a:pt x="186" y="42"/>
                </a:lnTo>
                <a:lnTo>
                  <a:pt x="188" y="48"/>
                </a:lnTo>
                <a:lnTo>
                  <a:pt x="189" y="50"/>
                </a:lnTo>
                <a:lnTo>
                  <a:pt x="191" y="52"/>
                </a:lnTo>
                <a:lnTo>
                  <a:pt x="205" y="56"/>
                </a:lnTo>
                <a:lnTo>
                  <a:pt x="216" y="58"/>
                </a:lnTo>
                <a:lnTo>
                  <a:pt x="218" y="60"/>
                </a:lnTo>
                <a:lnTo>
                  <a:pt x="220" y="63"/>
                </a:lnTo>
                <a:lnTo>
                  <a:pt x="224" y="65"/>
                </a:lnTo>
                <a:lnTo>
                  <a:pt x="226" y="67"/>
                </a:lnTo>
                <a:lnTo>
                  <a:pt x="228" y="69"/>
                </a:lnTo>
                <a:lnTo>
                  <a:pt x="232" y="73"/>
                </a:lnTo>
                <a:lnTo>
                  <a:pt x="232" y="86"/>
                </a:lnTo>
                <a:lnTo>
                  <a:pt x="232" y="102"/>
                </a:lnTo>
                <a:lnTo>
                  <a:pt x="228" y="104"/>
                </a:lnTo>
                <a:lnTo>
                  <a:pt x="226" y="106"/>
                </a:lnTo>
                <a:lnTo>
                  <a:pt x="224" y="109"/>
                </a:lnTo>
                <a:lnTo>
                  <a:pt x="222" y="115"/>
                </a:lnTo>
                <a:lnTo>
                  <a:pt x="224" y="123"/>
                </a:lnTo>
                <a:lnTo>
                  <a:pt x="226" y="125"/>
                </a:lnTo>
                <a:lnTo>
                  <a:pt x="228" y="127"/>
                </a:lnTo>
                <a:lnTo>
                  <a:pt x="232" y="131"/>
                </a:lnTo>
                <a:lnTo>
                  <a:pt x="234" y="136"/>
                </a:lnTo>
                <a:lnTo>
                  <a:pt x="236" y="144"/>
                </a:lnTo>
                <a:lnTo>
                  <a:pt x="237" y="148"/>
                </a:lnTo>
                <a:lnTo>
                  <a:pt x="241" y="150"/>
                </a:lnTo>
                <a:lnTo>
                  <a:pt x="241" y="154"/>
                </a:lnTo>
                <a:lnTo>
                  <a:pt x="241" y="159"/>
                </a:lnTo>
                <a:lnTo>
                  <a:pt x="237" y="161"/>
                </a:lnTo>
                <a:lnTo>
                  <a:pt x="236" y="163"/>
                </a:lnTo>
                <a:lnTo>
                  <a:pt x="232" y="173"/>
                </a:lnTo>
                <a:lnTo>
                  <a:pt x="226" y="184"/>
                </a:lnTo>
                <a:lnTo>
                  <a:pt x="224" y="180"/>
                </a:lnTo>
                <a:lnTo>
                  <a:pt x="220" y="179"/>
                </a:lnTo>
                <a:lnTo>
                  <a:pt x="216" y="179"/>
                </a:lnTo>
                <a:lnTo>
                  <a:pt x="212" y="179"/>
                </a:lnTo>
                <a:lnTo>
                  <a:pt x="209" y="180"/>
                </a:lnTo>
                <a:lnTo>
                  <a:pt x="207" y="184"/>
                </a:lnTo>
                <a:lnTo>
                  <a:pt x="205" y="186"/>
                </a:lnTo>
                <a:lnTo>
                  <a:pt x="203" y="188"/>
                </a:lnTo>
                <a:lnTo>
                  <a:pt x="199" y="190"/>
                </a:lnTo>
                <a:lnTo>
                  <a:pt x="197" y="194"/>
                </a:lnTo>
                <a:lnTo>
                  <a:pt x="197" y="207"/>
                </a:lnTo>
                <a:lnTo>
                  <a:pt x="197" y="223"/>
                </a:lnTo>
                <a:lnTo>
                  <a:pt x="199" y="225"/>
                </a:lnTo>
                <a:lnTo>
                  <a:pt x="203" y="226"/>
                </a:lnTo>
                <a:lnTo>
                  <a:pt x="203" y="246"/>
                </a:lnTo>
                <a:lnTo>
                  <a:pt x="203" y="265"/>
                </a:lnTo>
                <a:lnTo>
                  <a:pt x="199" y="269"/>
                </a:lnTo>
                <a:lnTo>
                  <a:pt x="197" y="271"/>
                </a:lnTo>
                <a:lnTo>
                  <a:pt x="189" y="273"/>
                </a:lnTo>
                <a:lnTo>
                  <a:pt x="182" y="274"/>
                </a:lnTo>
                <a:lnTo>
                  <a:pt x="180" y="278"/>
                </a:lnTo>
                <a:lnTo>
                  <a:pt x="178" y="280"/>
                </a:lnTo>
                <a:lnTo>
                  <a:pt x="176" y="292"/>
                </a:lnTo>
                <a:lnTo>
                  <a:pt x="172" y="305"/>
                </a:lnTo>
                <a:lnTo>
                  <a:pt x="170" y="307"/>
                </a:lnTo>
                <a:lnTo>
                  <a:pt x="168" y="309"/>
                </a:lnTo>
                <a:lnTo>
                  <a:pt x="163" y="309"/>
                </a:lnTo>
                <a:lnTo>
                  <a:pt x="159" y="309"/>
                </a:lnTo>
              </a:path>
            </a:pathLst>
          </a:custGeom>
          <a:solidFill>
            <a:schemeClr val="accent3"/>
          </a:solidFill>
          <a:ln w="12700">
            <a:solidFill>
              <a:schemeClr val="bg1"/>
            </a:solidFill>
            <a:round/>
            <a:headEnd/>
            <a:tailEnd/>
          </a:ln>
        </p:spPr>
        <p:txBody>
          <a:bodyPr/>
          <a:lstStyle/>
          <a:p>
            <a:endParaRPr lang="en-GB"/>
          </a:p>
        </p:txBody>
      </p:sp>
      <p:sp>
        <p:nvSpPr>
          <p:cNvPr id="16" name="Freeform 287"/>
          <p:cNvSpPr>
            <a:spLocks/>
          </p:cNvSpPr>
          <p:nvPr>
            <p:custDataLst>
              <p:tags r:id="rId6"/>
            </p:custDataLst>
          </p:nvPr>
        </p:nvSpPr>
        <p:spPr bwMode="auto">
          <a:xfrm>
            <a:off x="4472365" y="5338104"/>
            <a:ext cx="263373" cy="447315"/>
          </a:xfrm>
          <a:custGeom>
            <a:avLst/>
            <a:gdLst>
              <a:gd name="T0" fmla="*/ 0 w 193"/>
              <a:gd name="T1" fmla="*/ 2147483647 h 340"/>
              <a:gd name="T2" fmla="*/ 2147483647 w 193"/>
              <a:gd name="T3" fmla="*/ 2147483647 h 340"/>
              <a:gd name="T4" fmla="*/ 2147483647 w 193"/>
              <a:gd name="T5" fmla="*/ 2147483647 h 340"/>
              <a:gd name="T6" fmla="*/ 2147483647 w 193"/>
              <a:gd name="T7" fmla="*/ 2147483647 h 340"/>
              <a:gd name="T8" fmla="*/ 2147483647 w 193"/>
              <a:gd name="T9" fmla="*/ 2147483647 h 340"/>
              <a:gd name="T10" fmla="*/ 2147483647 w 193"/>
              <a:gd name="T11" fmla="*/ 2147483647 h 340"/>
              <a:gd name="T12" fmla="*/ 2147483647 w 193"/>
              <a:gd name="T13" fmla="*/ 2147483647 h 340"/>
              <a:gd name="T14" fmla="*/ 2147483647 w 193"/>
              <a:gd name="T15" fmla="*/ 2147483647 h 340"/>
              <a:gd name="T16" fmla="*/ 2147483647 w 193"/>
              <a:gd name="T17" fmla="*/ 2147483647 h 340"/>
              <a:gd name="T18" fmla="*/ 2147483647 w 193"/>
              <a:gd name="T19" fmla="*/ 2147483647 h 340"/>
              <a:gd name="T20" fmla="*/ 2147483647 w 193"/>
              <a:gd name="T21" fmla="*/ 2147483647 h 340"/>
              <a:gd name="T22" fmla="*/ 2147483647 w 193"/>
              <a:gd name="T23" fmla="*/ 2147483647 h 340"/>
              <a:gd name="T24" fmla="*/ 2147483647 w 193"/>
              <a:gd name="T25" fmla="*/ 2147483647 h 340"/>
              <a:gd name="T26" fmla="*/ 2147483647 w 193"/>
              <a:gd name="T27" fmla="*/ 2147483647 h 340"/>
              <a:gd name="T28" fmla="*/ 2147483647 w 193"/>
              <a:gd name="T29" fmla="*/ 2147483647 h 340"/>
              <a:gd name="T30" fmla="*/ 2147483647 w 193"/>
              <a:gd name="T31" fmla="*/ 2147483647 h 340"/>
              <a:gd name="T32" fmla="*/ 2147483647 w 193"/>
              <a:gd name="T33" fmla="*/ 2147483647 h 340"/>
              <a:gd name="T34" fmla="*/ 2147483647 w 193"/>
              <a:gd name="T35" fmla="*/ 2147483647 h 340"/>
              <a:gd name="T36" fmla="*/ 2147483647 w 193"/>
              <a:gd name="T37" fmla="*/ 2147483647 h 340"/>
              <a:gd name="T38" fmla="*/ 2147483647 w 193"/>
              <a:gd name="T39" fmla="*/ 2147483647 h 340"/>
              <a:gd name="T40" fmla="*/ 2147483647 w 193"/>
              <a:gd name="T41" fmla="*/ 2147483647 h 340"/>
              <a:gd name="T42" fmla="*/ 2147483647 w 193"/>
              <a:gd name="T43" fmla="*/ 2147483647 h 340"/>
              <a:gd name="T44" fmla="*/ 2147483647 w 193"/>
              <a:gd name="T45" fmla="*/ 2147483647 h 340"/>
              <a:gd name="T46" fmla="*/ 2147483647 w 193"/>
              <a:gd name="T47" fmla="*/ 2147483647 h 340"/>
              <a:gd name="T48" fmla="*/ 2147483647 w 193"/>
              <a:gd name="T49" fmla="*/ 2147483647 h 340"/>
              <a:gd name="T50" fmla="*/ 2147483647 w 193"/>
              <a:gd name="T51" fmla="*/ 2147483647 h 340"/>
              <a:gd name="T52" fmla="*/ 2147483647 w 193"/>
              <a:gd name="T53" fmla="*/ 2147483647 h 340"/>
              <a:gd name="T54" fmla="*/ 2147483647 w 193"/>
              <a:gd name="T55" fmla="*/ 2147483647 h 340"/>
              <a:gd name="T56" fmla="*/ 2147483647 w 193"/>
              <a:gd name="T57" fmla="*/ 2147483647 h 340"/>
              <a:gd name="T58" fmla="*/ 2147483647 w 193"/>
              <a:gd name="T59" fmla="*/ 2147483647 h 340"/>
              <a:gd name="T60" fmla="*/ 2147483647 w 193"/>
              <a:gd name="T61" fmla="*/ 2147483647 h 340"/>
              <a:gd name="T62" fmla="*/ 2147483647 w 193"/>
              <a:gd name="T63" fmla="*/ 2147483647 h 340"/>
              <a:gd name="T64" fmla="*/ 2147483647 w 193"/>
              <a:gd name="T65" fmla="*/ 2147483647 h 340"/>
              <a:gd name="T66" fmla="*/ 2147483647 w 193"/>
              <a:gd name="T67" fmla="*/ 2147483647 h 340"/>
              <a:gd name="T68" fmla="*/ 2147483647 w 193"/>
              <a:gd name="T69" fmla="*/ 2147483647 h 340"/>
              <a:gd name="T70" fmla="*/ 2147483647 w 193"/>
              <a:gd name="T71" fmla="*/ 2147483647 h 340"/>
              <a:gd name="T72" fmla="*/ 2147483647 w 193"/>
              <a:gd name="T73" fmla="*/ 2147483647 h 340"/>
              <a:gd name="T74" fmla="*/ 2147483647 w 193"/>
              <a:gd name="T75" fmla="*/ 2147483647 h 340"/>
              <a:gd name="T76" fmla="*/ 2147483647 w 193"/>
              <a:gd name="T77" fmla="*/ 2147483647 h 340"/>
              <a:gd name="T78" fmla="*/ 2147483647 w 193"/>
              <a:gd name="T79" fmla="*/ 2147483647 h 340"/>
              <a:gd name="T80" fmla="*/ 2147483647 w 193"/>
              <a:gd name="T81" fmla="*/ 2147483647 h 340"/>
              <a:gd name="T82" fmla="*/ 2147483647 w 193"/>
              <a:gd name="T83" fmla="*/ 2147483647 h 340"/>
              <a:gd name="T84" fmla="*/ 2147483647 w 193"/>
              <a:gd name="T85" fmla="*/ 2147483647 h 340"/>
              <a:gd name="T86" fmla="*/ 2147483647 w 193"/>
              <a:gd name="T87" fmla="*/ 2147483647 h 340"/>
              <a:gd name="T88" fmla="*/ 2147483647 w 193"/>
              <a:gd name="T89" fmla="*/ 2147483647 h 340"/>
              <a:gd name="T90" fmla="*/ 2147483647 w 193"/>
              <a:gd name="T91" fmla="*/ 2147483647 h 340"/>
              <a:gd name="T92" fmla="*/ 2147483647 w 193"/>
              <a:gd name="T93" fmla="*/ 2147483647 h 340"/>
              <a:gd name="T94" fmla="*/ 2147483647 w 193"/>
              <a:gd name="T95" fmla="*/ 2147483647 h 340"/>
              <a:gd name="T96" fmla="*/ 2147483647 w 193"/>
              <a:gd name="T97" fmla="*/ 2147483647 h 3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3"/>
              <a:gd name="T148" fmla="*/ 0 h 340"/>
              <a:gd name="T149" fmla="*/ 193 w 193"/>
              <a:gd name="T150" fmla="*/ 340 h 3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3" h="340">
                <a:moveTo>
                  <a:pt x="2" y="321"/>
                </a:moveTo>
                <a:lnTo>
                  <a:pt x="2" y="309"/>
                </a:lnTo>
                <a:lnTo>
                  <a:pt x="0" y="296"/>
                </a:lnTo>
                <a:lnTo>
                  <a:pt x="2" y="294"/>
                </a:lnTo>
                <a:lnTo>
                  <a:pt x="5" y="290"/>
                </a:lnTo>
                <a:lnTo>
                  <a:pt x="7" y="288"/>
                </a:lnTo>
                <a:lnTo>
                  <a:pt x="9" y="286"/>
                </a:lnTo>
                <a:lnTo>
                  <a:pt x="11" y="282"/>
                </a:lnTo>
                <a:lnTo>
                  <a:pt x="15" y="281"/>
                </a:lnTo>
                <a:lnTo>
                  <a:pt x="17" y="279"/>
                </a:lnTo>
                <a:lnTo>
                  <a:pt x="19" y="277"/>
                </a:lnTo>
                <a:lnTo>
                  <a:pt x="23" y="275"/>
                </a:lnTo>
                <a:lnTo>
                  <a:pt x="25" y="271"/>
                </a:lnTo>
                <a:lnTo>
                  <a:pt x="32" y="269"/>
                </a:lnTo>
                <a:lnTo>
                  <a:pt x="38" y="267"/>
                </a:lnTo>
                <a:lnTo>
                  <a:pt x="40" y="265"/>
                </a:lnTo>
                <a:lnTo>
                  <a:pt x="44" y="261"/>
                </a:lnTo>
                <a:lnTo>
                  <a:pt x="46" y="259"/>
                </a:lnTo>
                <a:lnTo>
                  <a:pt x="50" y="257"/>
                </a:lnTo>
                <a:lnTo>
                  <a:pt x="51" y="254"/>
                </a:lnTo>
                <a:lnTo>
                  <a:pt x="53" y="252"/>
                </a:lnTo>
                <a:lnTo>
                  <a:pt x="55" y="244"/>
                </a:lnTo>
                <a:lnTo>
                  <a:pt x="57" y="238"/>
                </a:lnTo>
                <a:lnTo>
                  <a:pt x="61" y="234"/>
                </a:lnTo>
                <a:lnTo>
                  <a:pt x="63" y="233"/>
                </a:lnTo>
                <a:lnTo>
                  <a:pt x="63" y="223"/>
                </a:lnTo>
                <a:lnTo>
                  <a:pt x="63" y="213"/>
                </a:lnTo>
                <a:lnTo>
                  <a:pt x="61" y="211"/>
                </a:lnTo>
                <a:lnTo>
                  <a:pt x="57" y="210"/>
                </a:lnTo>
                <a:lnTo>
                  <a:pt x="55" y="192"/>
                </a:lnTo>
                <a:lnTo>
                  <a:pt x="53" y="175"/>
                </a:lnTo>
                <a:lnTo>
                  <a:pt x="51" y="171"/>
                </a:lnTo>
                <a:lnTo>
                  <a:pt x="50" y="169"/>
                </a:lnTo>
                <a:lnTo>
                  <a:pt x="50" y="165"/>
                </a:lnTo>
                <a:lnTo>
                  <a:pt x="50" y="160"/>
                </a:lnTo>
                <a:lnTo>
                  <a:pt x="51" y="158"/>
                </a:lnTo>
                <a:lnTo>
                  <a:pt x="53" y="156"/>
                </a:lnTo>
                <a:lnTo>
                  <a:pt x="55" y="154"/>
                </a:lnTo>
                <a:lnTo>
                  <a:pt x="57" y="150"/>
                </a:lnTo>
                <a:lnTo>
                  <a:pt x="61" y="148"/>
                </a:lnTo>
                <a:lnTo>
                  <a:pt x="63" y="146"/>
                </a:lnTo>
                <a:lnTo>
                  <a:pt x="65" y="142"/>
                </a:lnTo>
                <a:lnTo>
                  <a:pt x="67" y="140"/>
                </a:lnTo>
                <a:lnTo>
                  <a:pt x="71" y="139"/>
                </a:lnTo>
                <a:lnTo>
                  <a:pt x="73" y="137"/>
                </a:lnTo>
                <a:lnTo>
                  <a:pt x="73" y="121"/>
                </a:lnTo>
                <a:lnTo>
                  <a:pt x="73" y="108"/>
                </a:lnTo>
                <a:lnTo>
                  <a:pt x="71" y="104"/>
                </a:lnTo>
                <a:lnTo>
                  <a:pt x="67" y="102"/>
                </a:lnTo>
                <a:lnTo>
                  <a:pt x="61" y="100"/>
                </a:lnTo>
                <a:lnTo>
                  <a:pt x="53" y="98"/>
                </a:lnTo>
                <a:lnTo>
                  <a:pt x="51" y="94"/>
                </a:lnTo>
                <a:lnTo>
                  <a:pt x="50" y="92"/>
                </a:lnTo>
                <a:lnTo>
                  <a:pt x="44" y="73"/>
                </a:lnTo>
                <a:lnTo>
                  <a:pt x="38" y="54"/>
                </a:lnTo>
                <a:lnTo>
                  <a:pt x="40" y="52"/>
                </a:lnTo>
                <a:lnTo>
                  <a:pt x="44" y="48"/>
                </a:lnTo>
                <a:lnTo>
                  <a:pt x="46" y="46"/>
                </a:lnTo>
                <a:lnTo>
                  <a:pt x="48" y="39"/>
                </a:lnTo>
                <a:lnTo>
                  <a:pt x="46" y="33"/>
                </a:lnTo>
                <a:lnTo>
                  <a:pt x="44" y="29"/>
                </a:lnTo>
                <a:lnTo>
                  <a:pt x="40" y="27"/>
                </a:lnTo>
                <a:lnTo>
                  <a:pt x="38" y="25"/>
                </a:lnTo>
                <a:lnTo>
                  <a:pt x="38" y="16"/>
                </a:lnTo>
                <a:lnTo>
                  <a:pt x="38" y="6"/>
                </a:lnTo>
                <a:lnTo>
                  <a:pt x="40" y="2"/>
                </a:lnTo>
                <a:lnTo>
                  <a:pt x="44" y="0"/>
                </a:lnTo>
                <a:lnTo>
                  <a:pt x="46" y="2"/>
                </a:lnTo>
                <a:lnTo>
                  <a:pt x="50" y="6"/>
                </a:lnTo>
                <a:lnTo>
                  <a:pt x="51" y="12"/>
                </a:lnTo>
                <a:lnTo>
                  <a:pt x="53" y="20"/>
                </a:lnTo>
                <a:lnTo>
                  <a:pt x="55" y="21"/>
                </a:lnTo>
                <a:lnTo>
                  <a:pt x="57" y="25"/>
                </a:lnTo>
                <a:lnTo>
                  <a:pt x="61" y="27"/>
                </a:lnTo>
                <a:lnTo>
                  <a:pt x="63" y="29"/>
                </a:lnTo>
                <a:lnTo>
                  <a:pt x="65" y="33"/>
                </a:lnTo>
                <a:lnTo>
                  <a:pt x="67" y="35"/>
                </a:lnTo>
                <a:lnTo>
                  <a:pt x="94" y="37"/>
                </a:lnTo>
                <a:lnTo>
                  <a:pt x="121" y="39"/>
                </a:lnTo>
                <a:lnTo>
                  <a:pt x="122" y="43"/>
                </a:lnTo>
                <a:lnTo>
                  <a:pt x="126" y="45"/>
                </a:lnTo>
                <a:lnTo>
                  <a:pt x="128" y="46"/>
                </a:lnTo>
                <a:lnTo>
                  <a:pt x="130" y="48"/>
                </a:lnTo>
                <a:lnTo>
                  <a:pt x="132" y="52"/>
                </a:lnTo>
                <a:lnTo>
                  <a:pt x="136" y="54"/>
                </a:lnTo>
                <a:lnTo>
                  <a:pt x="138" y="56"/>
                </a:lnTo>
                <a:lnTo>
                  <a:pt x="140" y="58"/>
                </a:lnTo>
                <a:lnTo>
                  <a:pt x="144" y="62"/>
                </a:lnTo>
                <a:lnTo>
                  <a:pt x="146" y="64"/>
                </a:lnTo>
                <a:lnTo>
                  <a:pt x="147" y="66"/>
                </a:lnTo>
                <a:lnTo>
                  <a:pt x="149" y="69"/>
                </a:lnTo>
                <a:lnTo>
                  <a:pt x="151" y="71"/>
                </a:lnTo>
                <a:lnTo>
                  <a:pt x="155" y="73"/>
                </a:lnTo>
                <a:lnTo>
                  <a:pt x="157" y="91"/>
                </a:lnTo>
                <a:lnTo>
                  <a:pt x="159" y="108"/>
                </a:lnTo>
                <a:lnTo>
                  <a:pt x="163" y="110"/>
                </a:lnTo>
                <a:lnTo>
                  <a:pt x="165" y="112"/>
                </a:lnTo>
                <a:lnTo>
                  <a:pt x="167" y="114"/>
                </a:lnTo>
                <a:lnTo>
                  <a:pt x="169" y="117"/>
                </a:lnTo>
                <a:lnTo>
                  <a:pt x="172" y="119"/>
                </a:lnTo>
                <a:lnTo>
                  <a:pt x="174" y="121"/>
                </a:lnTo>
                <a:lnTo>
                  <a:pt x="176" y="133"/>
                </a:lnTo>
                <a:lnTo>
                  <a:pt x="178" y="146"/>
                </a:lnTo>
                <a:lnTo>
                  <a:pt x="182" y="148"/>
                </a:lnTo>
                <a:lnTo>
                  <a:pt x="184" y="150"/>
                </a:lnTo>
                <a:lnTo>
                  <a:pt x="186" y="158"/>
                </a:lnTo>
                <a:lnTo>
                  <a:pt x="188" y="165"/>
                </a:lnTo>
                <a:lnTo>
                  <a:pt x="192" y="167"/>
                </a:lnTo>
                <a:lnTo>
                  <a:pt x="193" y="169"/>
                </a:lnTo>
                <a:lnTo>
                  <a:pt x="192" y="171"/>
                </a:lnTo>
                <a:lnTo>
                  <a:pt x="188" y="175"/>
                </a:lnTo>
                <a:lnTo>
                  <a:pt x="184" y="179"/>
                </a:lnTo>
                <a:lnTo>
                  <a:pt x="182" y="186"/>
                </a:lnTo>
                <a:lnTo>
                  <a:pt x="178" y="202"/>
                </a:lnTo>
                <a:lnTo>
                  <a:pt x="174" y="229"/>
                </a:lnTo>
                <a:lnTo>
                  <a:pt x="172" y="231"/>
                </a:lnTo>
                <a:lnTo>
                  <a:pt x="169" y="233"/>
                </a:lnTo>
                <a:lnTo>
                  <a:pt x="167" y="234"/>
                </a:lnTo>
                <a:lnTo>
                  <a:pt x="165" y="238"/>
                </a:lnTo>
                <a:lnTo>
                  <a:pt x="163" y="240"/>
                </a:lnTo>
                <a:lnTo>
                  <a:pt x="159" y="242"/>
                </a:lnTo>
                <a:lnTo>
                  <a:pt x="153" y="244"/>
                </a:lnTo>
                <a:lnTo>
                  <a:pt x="146" y="248"/>
                </a:lnTo>
                <a:lnTo>
                  <a:pt x="144" y="250"/>
                </a:lnTo>
                <a:lnTo>
                  <a:pt x="140" y="252"/>
                </a:lnTo>
                <a:lnTo>
                  <a:pt x="138" y="259"/>
                </a:lnTo>
                <a:lnTo>
                  <a:pt x="136" y="267"/>
                </a:lnTo>
                <a:lnTo>
                  <a:pt x="132" y="269"/>
                </a:lnTo>
                <a:lnTo>
                  <a:pt x="130" y="271"/>
                </a:lnTo>
                <a:lnTo>
                  <a:pt x="119" y="271"/>
                </a:lnTo>
                <a:lnTo>
                  <a:pt x="107" y="271"/>
                </a:lnTo>
                <a:lnTo>
                  <a:pt x="107" y="279"/>
                </a:lnTo>
                <a:lnTo>
                  <a:pt x="107" y="286"/>
                </a:lnTo>
                <a:lnTo>
                  <a:pt x="103" y="288"/>
                </a:lnTo>
                <a:lnTo>
                  <a:pt x="101" y="290"/>
                </a:lnTo>
                <a:lnTo>
                  <a:pt x="94" y="304"/>
                </a:lnTo>
                <a:lnTo>
                  <a:pt x="88" y="315"/>
                </a:lnTo>
                <a:lnTo>
                  <a:pt x="84" y="317"/>
                </a:lnTo>
                <a:lnTo>
                  <a:pt x="82" y="319"/>
                </a:lnTo>
                <a:lnTo>
                  <a:pt x="53" y="325"/>
                </a:lnTo>
                <a:lnTo>
                  <a:pt x="40" y="328"/>
                </a:lnTo>
                <a:lnTo>
                  <a:pt x="32" y="330"/>
                </a:lnTo>
                <a:lnTo>
                  <a:pt x="28" y="334"/>
                </a:lnTo>
                <a:lnTo>
                  <a:pt x="27" y="336"/>
                </a:lnTo>
                <a:lnTo>
                  <a:pt x="25" y="340"/>
                </a:lnTo>
                <a:lnTo>
                  <a:pt x="7" y="327"/>
                </a:lnTo>
                <a:lnTo>
                  <a:pt x="2" y="321"/>
                </a:lnTo>
              </a:path>
            </a:pathLst>
          </a:custGeom>
          <a:solidFill>
            <a:schemeClr val="accent3"/>
          </a:solidFill>
          <a:ln w="12700">
            <a:solidFill>
              <a:schemeClr val="bg1"/>
            </a:solidFill>
            <a:round/>
            <a:headEnd/>
            <a:tailEnd/>
          </a:ln>
        </p:spPr>
        <p:txBody>
          <a:bodyPr/>
          <a:lstStyle/>
          <a:p>
            <a:endParaRPr lang="en-GB"/>
          </a:p>
        </p:txBody>
      </p:sp>
      <p:sp>
        <p:nvSpPr>
          <p:cNvPr id="17" name="Freeform 288"/>
          <p:cNvSpPr>
            <a:spLocks/>
          </p:cNvSpPr>
          <p:nvPr>
            <p:custDataLst>
              <p:tags r:id="rId7"/>
            </p:custDataLst>
          </p:nvPr>
        </p:nvSpPr>
        <p:spPr bwMode="auto">
          <a:xfrm>
            <a:off x="4208992" y="5641888"/>
            <a:ext cx="383214" cy="342803"/>
          </a:xfrm>
          <a:custGeom>
            <a:avLst/>
            <a:gdLst>
              <a:gd name="T0" fmla="*/ 2147483647 w 282"/>
              <a:gd name="T1" fmla="*/ 2147483647 h 260"/>
              <a:gd name="T2" fmla="*/ 2147483647 w 282"/>
              <a:gd name="T3" fmla="*/ 2147483647 h 260"/>
              <a:gd name="T4" fmla="*/ 2147483647 w 282"/>
              <a:gd name="T5" fmla="*/ 2147483647 h 260"/>
              <a:gd name="T6" fmla="*/ 2147483647 w 282"/>
              <a:gd name="T7" fmla="*/ 2147483647 h 260"/>
              <a:gd name="T8" fmla="*/ 2147483647 w 282"/>
              <a:gd name="T9" fmla="*/ 2147483647 h 260"/>
              <a:gd name="T10" fmla="*/ 2147483647 w 282"/>
              <a:gd name="T11" fmla="*/ 2147483647 h 260"/>
              <a:gd name="T12" fmla="*/ 2147483647 w 282"/>
              <a:gd name="T13" fmla="*/ 2147483647 h 260"/>
              <a:gd name="T14" fmla="*/ 2147483647 w 282"/>
              <a:gd name="T15" fmla="*/ 2147483647 h 260"/>
              <a:gd name="T16" fmla="*/ 2147483647 w 282"/>
              <a:gd name="T17" fmla="*/ 2147483647 h 260"/>
              <a:gd name="T18" fmla="*/ 2147483647 w 282"/>
              <a:gd name="T19" fmla="*/ 2147483647 h 260"/>
              <a:gd name="T20" fmla="*/ 2147483647 w 282"/>
              <a:gd name="T21" fmla="*/ 2147483647 h 260"/>
              <a:gd name="T22" fmla="*/ 2147483647 w 282"/>
              <a:gd name="T23" fmla="*/ 2147483647 h 260"/>
              <a:gd name="T24" fmla="*/ 2147483647 w 282"/>
              <a:gd name="T25" fmla="*/ 2147483647 h 260"/>
              <a:gd name="T26" fmla="*/ 2147483647 w 282"/>
              <a:gd name="T27" fmla="*/ 2147483647 h 260"/>
              <a:gd name="T28" fmla="*/ 2147483647 w 282"/>
              <a:gd name="T29" fmla="*/ 2147483647 h 260"/>
              <a:gd name="T30" fmla="*/ 2147483647 w 282"/>
              <a:gd name="T31" fmla="*/ 2147483647 h 260"/>
              <a:gd name="T32" fmla="*/ 2147483647 w 282"/>
              <a:gd name="T33" fmla="*/ 2147483647 h 260"/>
              <a:gd name="T34" fmla="*/ 2147483647 w 282"/>
              <a:gd name="T35" fmla="*/ 2147483647 h 260"/>
              <a:gd name="T36" fmla="*/ 2147483647 w 282"/>
              <a:gd name="T37" fmla="*/ 2147483647 h 260"/>
              <a:gd name="T38" fmla="*/ 2147483647 w 282"/>
              <a:gd name="T39" fmla="*/ 2147483647 h 260"/>
              <a:gd name="T40" fmla="*/ 2147483647 w 282"/>
              <a:gd name="T41" fmla="*/ 2147483647 h 260"/>
              <a:gd name="T42" fmla="*/ 2147483647 w 282"/>
              <a:gd name="T43" fmla="*/ 2147483647 h 260"/>
              <a:gd name="T44" fmla="*/ 2147483647 w 282"/>
              <a:gd name="T45" fmla="*/ 2147483647 h 260"/>
              <a:gd name="T46" fmla="*/ 2147483647 w 282"/>
              <a:gd name="T47" fmla="*/ 2147483647 h 260"/>
              <a:gd name="T48" fmla="*/ 2147483647 w 282"/>
              <a:gd name="T49" fmla="*/ 2147483647 h 260"/>
              <a:gd name="T50" fmla="*/ 2147483647 w 282"/>
              <a:gd name="T51" fmla="*/ 2147483647 h 260"/>
              <a:gd name="T52" fmla="*/ 2147483647 w 282"/>
              <a:gd name="T53" fmla="*/ 2147483647 h 260"/>
              <a:gd name="T54" fmla="*/ 0 w 282"/>
              <a:gd name="T55" fmla="*/ 2147483647 h 260"/>
              <a:gd name="T56" fmla="*/ 2147483647 w 282"/>
              <a:gd name="T57" fmla="*/ 2147483647 h 260"/>
              <a:gd name="T58" fmla="*/ 2147483647 w 282"/>
              <a:gd name="T59" fmla="*/ 2147483647 h 260"/>
              <a:gd name="T60" fmla="*/ 2147483647 w 282"/>
              <a:gd name="T61" fmla="*/ 2147483647 h 260"/>
              <a:gd name="T62" fmla="*/ 2147483647 w 282"/>
              <a:gd name="T63" fmla="*/ 2147483647 h 260"/>
              <a:gd name="T64" fmla="*/ 2147483647 w 282"/>
              <a:gd name="T65" fmla="*/ 2147483647 h 260"/>
              <a:gd name="T66" fmla="*/ 2147483647 w 282"/>
              <a:gd name="T67" fmla="*/ 2147483647 h 260"/>
              <a:gd name="T68" fmla="*/ 2147483647 w 282"/>
              <a:gd name="T69" fmla="*/ 2147483647 h 260"/>
              <a:gd name="T70" fmla="*/ 2147483647 w 282"/>
              <a:gd name="T71" fmla="*/ 2147483647 h 260"/>
              <a:gd name="T72" fmla="*/ 2147483647 w 282"/>
              <a:gd name="T73" fmla="*/ 2147483647 h 260"/>
              <a:gd name="T74" fmla="*/ 2147483647 w 282"/>
              <a:gd name="T75" fmla="*/ 2147483647 h 260"/>
              <a:gd name="T76" fmla="*/ 2147483647 w 282"/>
              <a:gd name="T77" fmla="*/ 2147483647 h 260"/>
              <a:gd name="T78" fmla="*/ 2147483647 w 282"/>
              <a:gd name="T79" fmla="*/ 2147483647 h 260"/>
              <a:gd name="T80" fmla="*/ 2147483647 w 282"/>
              <a:gd name="T81" fmla="*/ 2147483647 h 260"/>
              <a:gd name="T82" fmla="*/ 2147483647 w 282"/>
              <a:gd name="T83" fmla="*/ 2147483647 h 260"/>
              <a:gd name="T84" fmla="*/ 2147483647 w 282"/>
              <a:gd name="T85" fmla="*/ 2147483647 h 260"/>
              <a:gd name="T86" fmla="*/ 2147483647 w 282"/>
              <a:gd name="T87" fmla="*/ 2147483647 h 260"/>
              <a:gd name="T88" fmla="*/ 2147483647 w 282"/>
              <a:gd name="T89" fmla="*/ 2147483647 h 260"/>
              <a:gd name="T90" fmla="*/ 2147483647 w 282"/>
              <a:gd name="T91" fmla="*/ 2147483647 h 260"/>
              <a:gd name="T92" fmla="*/ 2147483647 w 282"/>
              <a:gd name="T93" fmla="*/ 2147483647 h 260"/>
              <a:gd name="T94" fmla="*/ 2147483647 w 282"/>
              <a:gd name="T95" fmla="*/ 2147483647 h 260"/>
              <a:gd name="T96" fmla="*/ 2147483647 w 282"/>
              <a:gd name="T97" fmla="*/ 2147483647 h 260"/>
              <a:gd name="T98" fmla="*/ 2147483647 w 282"/>
              <a:gd name="T99" fmla="*/ 2147483647 h 260"/>
              <a:gd name="T100" fmla="*/ 2147483647 w 282"/>
              <a:gd name="T101" fmla="*/ 2147483647 h 260"/>
              <a:gd name="T102" fmla="*/ 2147483647 w 282"/>
              <a:gd name="T103" fmla="*/ 2147483647 h 260"/>
              <a:gd name="T104" fmla="*/ 2147483647 w 282"/>
              <a:gd name="T105" fmla="*/ 2147483647 h 260"/>
              <a:gd name="T106" fmla="*/ 2147483647 w 282"/>
              <a:gd name="T107" fmla="*/ 2147483647 h 260"/>
              <a:gd name="T108" fmla="*/ 2147483647 w 282"/>
              <a:gd name="T109" fmla="*/ 2147483647 h 260"/>
              <a:gd name="T110" fmla="*/ 2147483647 w 282"/>
              <a:gd name="T111" fmla="*/ 2147483647 h 260"/>
              <a:gd name="T112" fmla="*/ 2147483647 w 282"/>
              <a:gd name="T113" fmla="*/ 2147483647 h 260"/>
              <a:gd name="T114" fmla="*/ 2147483647 w 282"/>
              <a:gd name="T115" fmla="*/ 2147483647 h 260"/>
              <a:gd name="T116" fmla="*/ 2147483647 w 282"/>
              <a:gd name="T117" fmla="*/ 2147483647 h 260"/>
              <a:gd name="T118" fmla="*/ 2147483647 w 282"/>
              <a:gd name="T119" fmla="*/ 2147483647 h 260"/>
              <a:gd name="T120" fmla="*/ 2147483647 w 282"/>
              <a:gd name="T121" fmla="*/ 2147483647 h 2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82"/>
              <a:gd name="T184" fmla="*/ 0 h 260"/>
              <a:gd name="T185" fmla="*/ 282 w 282"/>
              <a:gd name="T186" fmla="*/ 260 h 2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82" h="260">
                <a:moveTo>
                  <a:pt x="194" y="103"/>
                </a:moveTo>
                <a:lnTo>
                  <a:pt x="199" y="105"/>
                </a:lnTo>
                <a:lnTo>
                  <a:pt x="207" y="109"/>
                </a:lnTo>
                <a:lnTo>
                  <a:pt x="217" y="111"/>
                </a:lnTo>
                <a:lnTo>
                  <a:pt x="222" y="111"/>
                </a:lnTo>
                <a:lnTo>
                  <a:pt x="224" y="109"/>
                </a:lnTo>
                <a:lnTo>
                  <a:pt x="228" y="107"/>
                </a:lnTo>
                <a:lnTo>
                  <a:pt x="232" y="111"/>
                </a:lnTo>
                <a:lnTo>
                  <a:pt x="238" y="117"/>
                </a:lnTo>
                <a:lnTo>
                  <a:pt x="240" y="119"/>
                </a:lnTo>
                <a:lnTo>
                  <a:pt x="244" y="120"/>
                </a:lnTo>
                <a:lnTo>
                  <a:pt x="245" y="132"/>
                </a:lnTo>
                <a:lnTo>
                  <a:pt x="247" y="145"/>
                </a:lnTo>
                <a:lnTo>
                  <a:pt x="249" y="147"/>
                </a:lnTo>
                <a:lnTo>
                  <a:pt x="251" y="149"/>
                </a:lnTo>
                <a:lnTo>
                  <a:pt x="255" y="153"/>
                </a:lnTo>
                <a:lnTo>
                  <a:pt x="257" y="155"/>
                </a:lnTo>
                <a:lnTo>
                  <a:pt x="259" y="157"/>
                </a:lnTo>
                <a:lnTo>
                  <a:pt x="261" y="159"/>
                </a:lnTo>
                <a:lnTo>
                  <a:pt x="265" y="163"/>
                </a:lnTo>
                <a:lnTo>
                  <a:pt x="267" y="165"/>
                </a:lnTo>
                <a:lnTo>
                  <a:pt x="269" y="166"/>
                </a:lnTo>
                <a:lnTo>
                  <a:pt x="272" y="168"/>
                </a:lnTo>
                <a:lnTo>
                  <a:pt x="274" y="176"/>
                </a:lnTo>
                <a:lnTo>
                  <a:pt x="276" y="184"/>
                </a:lnTo>
                <a:lnTo>
                  <a:pt x="278" y="186"/>
                </a:lnTo>
                <a:lnTo>
                  <a:pt x="282" y="189"/>
                </a:lnTo>
                <a:lnTo>
                  <a:pt x="276" y="195"/>
                </a:lnTo>
                <a:lnTo>
                  <a:pt x="272" y="203"/>
                </a:lnTo>
                <a:lnTo>
                  <a:pt x="267" y="203"/>
                </a:lnTo>
                <a:lnTo>
                  <a:pt x="261" y="203"/>
                </a:lnTo>
                <a:lnTo>
                  <a:pt x="257" y="213"/>
                </a:lnTo>
                <a:lnTo>
                  <a:pt x="251" y="222"/>
                </a:lnTo>
                <a:lnTo>
                  <a:pt x="242" y="226"/>
                </a:lnTo>
                <a:lnTo>
                  <a:pt x="232" y="232"/>
                </a:lnTo>
                <a:lnTo>
                  <a:pt x="205" y="236"/>
                </a:lnTo>
                <a:lnTo>
                  <a:pt x="182" y="241"/>
                </a:lnTo>
                <a:lnTo>
                  <a:pt x="161" y="249"/>
                </a:lnTo>
                <a:lnTo>
                  <a:pt x="136" y="260"/>
                </a:lnTo>
                <a:lnTo>
                  <a:pt x="130" y="251"/>
                </a:lnTo>
                <a:lnTo>
                  <a:pt x="127" y="241"/>
                </a:lnTo>
                <a:lnTo>
                  <a:pt x="121" y="237"/>
                </a:lnTo>
                <a:lnTo>
                  <a:pt x="117" y="232"/>
                </a:lnTo>
                <a:lnTo>
                  <a:pt x="98" y="230"/>
                </a:lnTo>
                <a:lnTo>
                  <a:pt x="79" y="226"/>
                </a:lnTo>
                <a:lnTo>
                  <a:pt x="57" y="224"/>
                </a:lnTo>
                <a:lnTo>
                  <a:pt x="40" y="222"/>
                </a:lnTo>
                <a:lnTo>
                  <a:pt x="38" y="211"/>
                </a:lnTo>
                <a:lnTo>
                  <a:pt x="38" y="205"/>
                </a:lnTo>
                <a:lnTo>
                  <a:pt x="34" y="203"/>
                </a:lnTo>
                <a:lnTo>
                  <a:pt x="29" y="203"/>
                </a:lnTo>
                <a:lnTo>
                  <a:pt x="29" y="188"/>
                </a:lnTo>
                <a:lnTo>
                  <a:pt x="29" y="174"/>
                </a:lnTo>
                <a:lnTo>
                  <a:pt x="15" y="174"/>
                </a:lnTo>
                <a:lnTo>
                  <a:pt x="0" y="174"/>
                </a:lnTo>
                <a:lnTo>
                  <a:pt x="0" y="170"/>
                </a:lnTo>
                <a:lnTo>
                  <a:pt x="0" y="168"/>
                </a:lnTo>
                <a:lnTo>
                  <a:pt x="4" y="166"/>
                </a:lnTo>
                <a:lnTo>
                  <a:pt x="6" y="165"/>
                </a:lnTo>
                <a:lnTo>
                  <a:pt x="8" y="159"/>
                </a:lnTo>
                <a:lnTo>
                  <a:pt x="9" y="145"/>
                </a:lnTo>
                <a:lnTo>
                  <a:pt x="8" y="132"/>
                </a:lnTo>
                <a:lnTo>
                  <a:pt x="6" y="126"/>
                </a:lnTo>
                <a:lnTo>
                  <a:pt x="4" y="122"/>
                </a:lnTo>
                <a:lnTo>
                  <a:pt x="0" y="120"/>
                </a:lnTo>
                <a:lnTo>
                  <a:pt x="4" y="119"/>
                </a:lnTo>
                <a:lnTo>
                  <a:pt x="6" y="117"/>
                </a:lnTo>
                <a:lnTo>
                  <a:pt x="11" y="113"/>
                </a:lnTo>
                <a:lnTo>
                  <a:pt x="19" y="111"/>
                </a:lnTo>
                <a:lnTo>
                  <a:pt x="23" y="109"/>
                </a:lnTo>
                <a:lnTo>
                  <a:pt x="25" y="107"/>
                </a:lnTo>
                <a:lnTo>
                  <a:pt x="27" y="103"/>
                </a:lnTo>
                <a:lnTo>
                  <a:pt x="29" y="101"/>
                </a:lnTo>
                <a:lnTo>
                  <a:pt x="33" y="99"/>
                </a:lnTo>
                <a:lnTo>
                  <a:pt x="34" y="97"/>
                </a:lnTo>
                <a:lnTo>
                  <a:pt x="46" y="94"/>
                </a:lnTo>
                <a:lnTo>
                  <a:pt x="59" y="92"/>
                </a:lnTo>
                <a:lnTo>
                  <a:pt x="61" y="90"/>
                </a:lnTo>
                <a:lnTo>
                  <a:pt x="63" y="86"/>
                </a:lnTo>
                <a:lnTo>
                  <a:pt x="65" y="84"/>
                </a:lnTo>
                <a:lnTo>
                  <a:pt x="69" y="82"/>
                </a:lnTo>
                <a:lnTo>
                  <a:pt x="71" y="80"/>
                </a:lnTo>
                <a:lnTo>
                  <a:pt x="73" y="76"/>
                </a:lnTo>
                <a:lnTo>
                  <a:pt x="100" y="74"/>
                </a:lnTo>
                <a:lnTo>
                  <a:pt x="127" y="72"/>
                </a:lnTo>
                <a:lnTo>
                  <a:pt x="128" y="71"/>
                </a:lnTo>
                <a:lnTo>
                  <a:pt x="132" y="69"/>
                </a:lnTo>
                <a:lnTo>
                  <a:pt x="132" y="44"/>
                </a:lnTo>
                <a:lnTo>
                  <a:pt x="132" y="19"/>
                </a:lnTo>
                <a:lnTo>
                  <a:pt x="128" y="17"/>
                </a:lnTo>
                <a:lnTo>
                  <a:pt x="127" y="15"/>
                </a:lnTo>
                <a:lnTo>
                  <a:pt x="128" y="11"/>
                </a:lnTo>
                <a:lnTo>
                  <a:pt x="132" y="9"/>
                </a:lnTo>
                <a:lnTo>
                  <a:pt x="138" y="7"/>
                </a:lnTo>
                <a:lnTo>
                  <a:pt x="146" y="5"/>
                </a:lnTo>
                <a:lnTo>
                  <a:pt x="148" y="1"/>
                </a:lnTo>
                <a:lnTo>
                  <a:pt x="150" y="0"/>
                </a:lnTo>
                <a:lnTo>
                  <a:pt x="153" y="1"/>
                </a:lnTo>
                <a:lnTo>
                  <a:pt x="155" y="5"/>
                </a:lnTo>
                <a:lnTo>
                  <a:pt x="155" y="11"/>
                </a:lnTo>
                <a:lnTo>
                  <a:pt x="155" y="19"/>
                </a:lnTo>
                <a:lnTo>
                  <a:pt x="176" y="19"/>
                </a:lnTo>
                <a:lnTo>
                  <a:pt x="199" y="19"/>
                </a:lnTo>
                <a:lnTo>
                  <a:pt x="201" y="21"/>
                </a:lnTo>
                <a:lnTo>
                  <a:pt x="203" y="24"/>
                </a:lnTo>
                <a:lnTo>
                  <a:pt x="205" y="26"/>
                </a:lnTo>
                <a:lnTo>
                  <a:pt x="209" y="28"/>
                </a:lnTo>
                <a:lnTo>
                  <a:pt x="211" y="32"/>
                </a:lnTo>
                <a:lnTo>
                  <a:pt x="213" y="34"/>
                </a:lnTo>
                <a:lnTo>
                  <a:pt x="211" y="36"/>
                </a:lnTo>
                <a:lnTo>
                  <a:pt x="209" y="38"/>
                </a:lnTo>
                <a:lnTo>
                  <a:pt x="205" y="42"/>
                </a:lnTo>
                <a:lnTo>
                  <a:pt x="203" y="44"/>
                </a:lnTo>
                <a:lnTo>
                  <a:pt x="201" y="46"/>
                </a:lnTo>
                <a:lnTo>
                  <a:pt x="199" y="48"/>
                </a:lnTo>
                <a:lnTo>
                  <a:pt x="196" y="49"/>
                </a:lnTo>
                <a:lnTo>
                  <a:pt x="194" y="53"/>
                </a:lnTo>
                <a:lnTo>
                  <a:pt x="192" y="55"/>
                </a:lnTo>
                <a:lnTo>
                  <a:pt x="190" y="57"/>
                </a:lnTo>
                <a:lnTo>
                  <a:pt x="186" y="67"/>
                </a:lnTo>
                <a:lnTo>
                  <a:pt x="184" y="76"/>
                </a:lnTo>
                <a:lnTo>
                  <a:pt x="190" y="90"/>
                </a:lnTo>
                <a:lnTo>
                  <a:pt x="194" y="103"/>
                </a:lnTo>
              </a:path>
            </a:pathLst>
          </a:custGeom>
          <a:solidFill>
            <a:schemeClr val="accent3"/>
          </a:solidFill>
          <a:ln w="12700">
            <a:solidFill>
              <a:schemeClr val="bg1"/>
            </a:solidFill>
            <a:round/>
            <a:headEnd/>
            <a:tailEnd/>
          </a:ln>
        </p:spPr>
        <p:txBody>
          <a:bodyPr/>
          <a:lstStyle/>
          <a:p>
            <a:endParaRPr lang="en-GB"/>
          </a:p>
        </p:txBody>
      </p:sp>
      <p:sp>
        <p:nvSpPr>
          <p:cNvPr id="18" name="Freeform 289"/>
          <p:cNvSpPr>
            <a:spLocks/>
          </p:cNvSpPr>
          <p:nvPr>
            <p:custDataLst>
              <p:tags r:id="rId8"/>
            </p:custDataLst>
          </p:nvPr>
        </p:nvSpPr>
        <p:spPr bwMode="auto">
          <a:xfrm>
            <a:off x="4543434" y="5517866"/>
            <a:ext cx="681425" cy="377641"/>
          </a:xfrm>
          <a:custGeom>
            <a:avLst/>
            <a:gdLst>
              <a:gd name="T0" fmla="*/ 2147483647 w 502"/>
              <a:gd name="T1" fmla="*/ 2147483647 h 289"/>
              <a:gd name="T2" fmla="*/ 2147483647 w 502"/>
              <a:gd name="T3" fmla="*/ 2147483647 h 289"/>
              <a:gd name="T4" fmla="*/ 2147483647 w 502"/>
              <a:gd name="T5" fmla="*/ 2147483647 h 289"/>
              <a:gd name="T6" fmla="*/ 2147483647 w 502"/>
              <a:gd name="T7" fmla="*/ 2147483647 h 289"/>
              <a:gd name="T8" fmla="*/ 2147483647 w 502"/>
              <a:gd name="T9" fmla="*/ 2147483647 h 289"/>
              <a:gd name="T10" fmla="*/ 2147483647 w 502"/>
              <a:gd name="T11" fmla="*/ 2147483647 h 289"/>
              <a:gd name="T12" fmla="*/ 2147483647 w 502"/>
              <a:gd name="T13" fmla="*/ 2147483647 h 289"/>
              <a:gd name="T14" fmla="*/ 2147483647 w 502"/>
              <a:gd name="T15" fmla="*/ 2147483647 h 289"/>
              <a:gd name="T16" fmla="*/ 2147483647 w 502"/>
              <a:gd name="T17" fmla="*/ 2147483647 h 289"/>
              <a:gd name="T18" fmla="*/ 2147483647 w 502"/>
              <a:gd name="T19" fmla="*/ 2147483647 h 289"/>
              <a:gd name="T20" fmla="*/ 2147483647 w 502"/>
              <a:gd name="T21" fmla="*/ 2147483647 h 289"/>
              <a:gd name="T22" fmla="*/ 0 w 502"/>
              <a:gd name="T23" fmla="*/ 2147483647 h 289"/>
              <a:gd name="T24" fmla="*/ 2147483647 w 502"/>
              <a:gd name="T25" fmla="*/ 2147483647 h 289"/>
              <a:gd name="T26" fmla="*/ 2147483647 w 502"/>
              <a:gd name="T27" fmla="*/ 2147483647 h 289"/>
              <a:gd name="T28" fmla="*/ 2147483647 w 502"/>
              <a:gd name="T29" fmla="*/ 2147483647 h 289"/>
              <a:gd name="T30" fmla="*/ 2147483647 w 502"/>
              <a:gd name="T31" fmla="*/ 2147483647 h 289"/>
              <a:gd name="T32" fmla="*/ 2147483647 w 502"/>
              <a:gd name="T33" fmla="*/ 2147483647 h 289"/>
              <a:gd name="T34" fmla="*/ 2147483647 w 502"/>
              <a:gd name="T35" fmla="*/ 2147483647 h 289"/>
              <a:gd name="T36" fmla="*/ 2147483647 w 502"/>
              <a:gd name="T37" fmla="*/ 2147483647 h 289"/>
              <a:gd name="T38" fmla="*/ 2147483647 w 502"/>
              <a:gd name="T39" fmla="*/ 2147483647 h 289"/>
              <a:gd name="T40" fmla="*/ 2147483647 w 502"/>
              <a:gd name="T41" fmla="*/ 2147483647 h 289"/>
              <a:gd name="T42" fmla="*/ 2147483647 w 502"/>
              <a:gd name="T43" fmla="*/ 2147483647 h 289"/>
              <a:gd name="T44" fmla="*/ 2147483647 w 502"/>
              <a:gd name="T45" fmla="*/ 2147483647 h 289"/>
              <a:gd name="T46" fmla="*/ 2147483647 w 502"/>
              <a:gd name="T47" fmla="*/ 2147483647 h 289"/>
              <a:gd name="T48" fmla="*/ 2147483647 w 502"/>
              <a:gd name="T49" fmla="*/ 2147483647 h 289"/>
              <a:gd name="T50" fmla="*/ 2147483647 w 502"/>
              <a:gd name="T51" fmla="*/ 2147483647 h 289"/>
              <a:gd name="T52" fmla="*/ 2147483647 w 502"/>
              <a:gd name="T53" fmla="*/ 2147483647 h 289"/>
              <a:gd name="T54" fmla="*/ 2147483647 w 502"/>
              <a:gd name="T55" fmla="*/ 2147483647 h 289"/>
              <a:gd name="T56" fmla="*/ 2147483647 w 502"/>
              <a:gd name="T57" fmla="*/ 2147483647 h 289"/>
              <a:gd name="T58" fmla="*/ 2147483647 w 502"/>
              <a:gd name="T59" fmla="*/ 2147483647 h 289"/>
              <a:gd name="T60" fmla="*/ 2147483647 w 502"/>
              <a:gd name="T61" fmla="*/ 2147483647 h 289"/>
              <a:gd name="T62" fmla="*/ 2147483647 w 502"/>
              <a:gd name="T63" fmla="*/ 2147483647 h 289"/>
              <a:gd name="T64" fmla="*/ 2147483647 w 502"/>
              <a:gd name="T65" fmla="*/ 2147483647 h 289"/>
              <a:gd name="T66" fmla="*/ 2147483647 w 502"/>
              <a:gd name="T67" fmla="*/ 2147483647 h 289"/>
              <a:gd name="T68" fmla="*/ 2147483647 w 502"/>
              <a:gd name="T69" fmla="*/ 0 h 289"/>
              <a:gd name="T70" fmla="*/ 2147483647 w 502"/>
              <a:gd name="T71" fmla="*/ 2147483647 h 289"/>
              <a:gd name="T72" fmla="*/ 2147483647 w 502"/>
              <a:gd name="T73" fmla="*/ 2147483647 h 289"/>
              <a:gd name="T74" fmla="*/ 2147483647 w 502"/>
              <a:gd name="T75" fmla="*/ 2147483647 h 289"/>
              <a:gd name="T76" fmla="*/ 2147483647 w 502"/>
              <a:gd name="T77" fmla="*/ 2147483647 h 289"/>
              <a:gd name="T78" fmla="*/ 2147483647 w 502"/>
              <a:gd name="T79" fmla="*/ 2147483647 h 289"/>
              <a:gd name="T80" fmla="*/ 2147483647 w 502"/>
              <a:gd name="T81" fmla="*/ 2147483647 h 289"/>
              <a:gd name="T82" fmla="*/ 2147483647 w 502"/>
              <a:gd name="T83" fmla="*/ 2147483647 h 289"/>
              <a:gd name="T84" fmla="*/ 2147483647 w 502"/>
              <a:gd name="T85" fmla="*/ 2147483647 h 289"/>
              <a:gd name="T86" fmla="*/ 2147483647 w 502"/>
              <a:gd name="T87" fmla="*/ 2147483647 h 289"/>
              <a:gd name="T88" fmla="*/ 2147483647 w 502"/>
              <a:gd name="T89" fmla="*/ 2147483647 h 289"/>
              <a:gd name="T90" fmla="*/ 2147483647 w 502"/>
              <a:gd name="T91" fmla="*/ 2147483647 h 289"/>
              <a:gd name="T92" fmla="*/ 2147483647 w 502"/>
              <a:gd name="T93" fmla="*/ 2147483647 h 289"/>
              <a:gd name="T94" fmla="*/ 2147483647 w 502"/>
              <a:gd name="T95" fmla="*/ 2147483647 h 289"/>
              <a:gd name="T96" fmla="*/ 2147483647 w 502"/>
              <a:gd name="T97" fmla="*/ 2147483647 h 289"/>
              <a:gd name="T98" fmla="*/ 2147483647 w 502"/>
              <a:gd name="T99" fmla="*/ 2147483647 h 289"/>
              <a:gd name="T100" fmla="*/ 2147483647 w 502"/>
              <a:gd name="T101" fmla="*/ 2147483647 h 2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02"/>
              <a:gd name="T154" fmla="*/ 0 h 289"/>
              <a:gd name="T155" fmla="*/ 502 w 502"/>
              <a:gd name="T156" fmla="*/ 289 h 2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02" h="289">
                <a:moveTo>
                  <a:pt x="289" y="280"/>
                </a:moveTo>
                <a:lnTo>
                  <a:pt x="293" y="272"/>
                </a:lnTo>
                <a:lnTo>
                  <a:pt x="299" y="264"/>
                </a:lnTo>
                <a:lnTo>
                  <a:pt x="285" y="253"/>
                </a:lnTo>
                <a:lnTo>
                  <a:pt x="270" y="243"/>
                </a:lnTo>
                <a:lnTo>
                  <a:pt x="257" y="236"/>
                </a:lnTo>
                <a:lnTo>
                  <a:pt x="239" y="230"/>
                </a:lnTo>
                <a:lnTo>
                  <a:pt x="224" y="228"/>
                </a:lnTo>
                <a:lnTo>
                  <a:pt x="209" y="226"/>
                </a:lnTo>
                <a:lnTo>
                  <a:pt x="191" y="228"/>
                </a:lnTo>
                <a:lnTo>
                  <a:pt x="174" y="230"/>
                </a:lnTo>
                <a:lnTo>
                  <a:pt x="142" y="238"/>
                </a:lnTo>
                <a:lnTo>
                  <a:pt x="109" y="251"/>
                </a:lnTo>
                <a:lnTo>
                  <a:pt x="76" y="264"/>
                </a:lnTo>
                <a:lnTo>
                  <a:pt x="48" y="280"/>
                </a:lnTo>
                <a:lnTo>
                  <a:pt x="44" y="280"/>
                </a:lnTo>
                <a:lnTo>
                  <a:pt x="42" y="280"/>
                </a:lnTo>
                <a:lnTo>
                  <a:pt x="40" y="278"/>
                </a:lnTo>
                <a:lnTo>
                  <a:pt x="38" y="274"/>
                </a:lnTo>
                <a:lnTo>
                  <a:pt x="34" y="268"/>
                </a:lnTo>
                <a:lnTo>
                  <a:pt x="32" y="261"/>
                </a:lnTo>
                <a:lnTo>
                  <a:pt x="30" y="259"/>
                </a:lnTo>
                <a:lnTo>
                  <a:pt x="28" y="255"/>
                </a:lnTo>
                <a:lnTo>
                  <a:pt x="25" y="253"/>
                </a:lnTo>
                <a:lnTo>
                  <a:pt x="23" y="251"/>
                </a:lnTo>
                <a:lnTo>
                  <a:pt x="21" y="249"/>
                </a:lnTo>
                <a:lnTo>
                  <a:pt x="17" y="245"/>
                </a:lnTo>
                <a:lnTo>
                  <a:pt x="15" y="243"/>
                </a:lnTo>
                <a:lnTo>
                  <a:pt x="13" y="241"/>
                </a:lnTo>
                <a:lnTo>
                  <a:pt x="11" y="238"/>
                </a:lnTo>
                <a:lnTo>
                  <a:pt x="7" y="236"/>
                </a:lnTo>
                <a:lnTo>
                  <a:pt x="5" y="224"/>
                </a:lnTo>
                <a:lnTo>
                  <a:pt x="3" y="213"/>
                </a:lnTo>
                <a:lnTo>
                  <a:pt x="1" y="209"/>
                </a:lnTo>
                <a:lnTo>
                  <a:pt x="0" y="207"/>
                </a:lnTo>
                <a:lnTo>
                  <a:pt x="0" y="199"/>
                </a:lnTo>
                <a:lnTo>
                  <a:pt x="0" y="193"/>
                </a:lnTo>
                <a:lnTo>
                  <a:pt x="17" y="190"/>
                </a:lnTo>
                <a:lnTo>
                  <a:pt x="38" y="188"/>
                </a:lnTo>
                <a:lnTo>
                  <a:pt x="40" y="186"/>
                </a:lnTo>
                <a:lnTo>
                  <a:pt x="42" y="182"/>
                </a:lnTo>
                <a:lnTo>
                  <a:pt x="49" y="182"/>
                </a:lnTo>
                <a:lnTo>
                  <a:pt x="57" y="182"/>
                </a:lnTo>
                <a:lnTo>
                  <a:pt x="57" y="170"/>
                </a:lnTo>
                <a:lnTo>
                  <a:pt x="57" y="159"/>
                </a:lnTo>
                <a:lnTo>
                  <a:pt x="59" y="157"/>
                </a:lnTo>
                <a:lnTo>
                  <a:pt x="61" y="153"/>
                </a:lnTo>
                <a:lnTo>
                  <a:pt x="71" y="149"/>
                </a:lnTo>
                <a:lnTo>
                  <a:pt x="80" y="144"/>
                </a:lnTo>
                <a:lnTo>
                  <a:pt x="82" y="145"/>
                </a:lnTo>
                <a:lnTo>
                  <a:pt x="86" y="149"/>
                </a:lnTo>
                <a:lnTo>
                  <a:pt x="88" y="151"/>
                </a:lnTo>
                <a:lnTo>
                  <a:pt x="90" y="153"/>
                </a:lnTo>
                <a:lnTo>
                  <a:pt x="94" y="157"/>
                </a:lnTo>
                <a:lnTo>
                  <a:pt x="96" y="159"/>
                </a:lnTo>
                <a:lnTo>
                  <a:pt x="113" y="161"/>
                </a:lnTo>
                <a:lnTo>
                  <a:pt x="128" y="165"/>
                </a:lnTo>
                <a:lnTo>
                  <a:pt x="132" y="167"/>
                </a:lnTo>
                <a:lnTo>
                  <a:pt x="134" y="168"/>
                </a:lnTo>
                <a:lnTo>
                  <a:pt x="151" y="168"/>
                </a:lnTo>
                <a:lnTo>
                  <a:pt x="168" y="168"/>
                </a:lnTo>
                <a:lnTo>
                  <a:pt x="184" y="168"/>
                </a:lnTo>
                <a:lnTo>
                  <a:pt x="201" y="168"/>
                </a:lnTo>
                <a:lnTo>
                  <a:pt x="205" y="167"/>
                </a:lnTo>
                <a:lnTo>
                  <a:pt x="207" y="165"/>
                </a:lnTo>
                <a:lnTo>
                  <a:pt x="209" y="161"/>
                </a:lnTo>
                <a:lnTo>
                  <a:pt x="211" y="159"/>
                </a:lnTo>
                <a:lnTo>
                  <a:pt x="213" y="157"/>
                </a:lnTo>
                <a:lnTo>
                  <a:pt x="216" y="153"/>
                </a:lnTo>
                <a:lnTo>
                  <a:pt x="218" y="151"/>
                </a:lnTo>
                <a:lnTo>
                  <a:pt x="220" y="149"/>
                </a:lnTo>
                <a:lnTo>
                  <a:pt x="222" y="145"/>
                </a:lnTo>
                <a:lnTo>
                  <a:pt x="226" y="144"/>
                </a:lnTo>
                <a:lnTo>
                  <a:pt x="228" y="142"/>
                </a:lnTo>
                <a:lnTo>
                  <a:pt x="230" y="140"/>
                </a:lnTo>
                <a:lnTo>
                  <a:pt x="234" y="138"/>
                </a:lnTo>
                <a:lnTo>
                  <a:pt x="236" y="134"/>
                </a:lnTo>
                <a:lnTo>
                  <a:pt x="237" y="126"/>
                </a:lnTo>
                <a:lnTo>
                  <a:pt x="239" y="120"/>
                </a:lnTo>
                <a:lnTo>
                  <a:pt x="243" y="117"/>
                </a:lnTo>
                <a:lnTo>
                  <a:pt x="245" y="115"/>
                </a:lnTo>
                <a:lnTo>
                  <a:pt x="247" y="107"/>
                </a:lnTo>
                <a:lnTo>
                  <a:pt x="249" y="101"/>
                </a:lnTo>
                <a:lnTo>
                  <a:pt x="253" y="97"/>
                </a:lnTo>
                <a:lnTo>
                  <a:pt x="255" y="96"/>
                </a:lnTo>
                <a:lnTo>
                  <a:pt x="262" y="88"/>
                </a:lnTo>
                <a:lnTo>
                  <a:pt x="270" y="82"/>
                </a:lnTo>
                <a:lnTo>
                  <a:pt x="272" y="78"/>
                </a:lnTo>
                <a:lnTo>
                  <a:pt x="274" y="76"/>
                </a:lnTo>
                <a:lnTo>
                  <a:pt x="276" y="65"/>
                </a:lnTo>
                <a:lnTo>
                  <a:pt x="280" y="53"/>
                </a:lnTo>
                <a:lnTo>
                  <a:pt x="282" y="49"/>
                </a:lnTo>
                <a:lnTo>
                  <a:pt x="284" y="48"/>
                </a:lnTo>
                <a:lnTo>
                  <a:pt x="285" y="40"/>
                </a:lnTo>
                <a:lnTo>
                  <a:pt x="289" y="32"/>
                </a:lnTo>
                <a:lnTo>
                  <a:pt x="291" y="30"/>
                </a:lnTo>
                <a:lnTo>
                  <a:pt x="293" y="28"/>
                </a:lnTo>
                <a:lnTo>
                  <a:pt x="310" y="26"/>
                </a:lnTo>
                <a:lnTo>
                  <a:pt x="328" y="23"/>
                </a:lnTo>
                <a:lnTo>
                  <a:pt x="330" y="21"/>
                </a:lnTo>
                <a:lnTo>
                  <a:pt x="331" y="19"/>
                </a:lnTo>
                <a:lnTo>
                  <a:pt x="355" y="19"/>
                </a:lnTo>
                <a:lnTo>
                  <a:pt x="376" y="19"/>
                </a:lnTo>
                <a:lnTo>
                  <a:pt x="376" y="9"/>
                </a:lnTo>
                <a:lnTo>
                  <a:pt x="376" y="0"/>
                </a:lnTo>
                <a:lnTo>
                  <a:pt x="383" y="0"/>
                </a:lnTo>
                <a:lnTo>
                  <a:pt x="391" y="0"/>
                </a:lnTo>
                <a:lnTo>
                  <a:pt x="393" y="2"/>
                </a:lnTo>
                <a:lnTo>
                  <a:pt x="395" y="3"/>
                </a:lnTo>
                <a:lnTo>
                  <a:pt x="402" y="5"/>
                </a:lnTo>
                <a:lnTo>
                  <a:pt x="410" y="9"/>
                </a:lnTo>
                <a:lnTo>
                  <a:pt x="412" y="11"/>
                </a:lnTo>
                <a:lnTo>
                  <a:pt x="414" y="13"/>
                </a:lnTo>
                <a:lnTo>
                  <a:pt x="416" y="17"/>
                </a:lnTo>
                <a:lnTo>
                  <a:pt x="420" y="19"/>
                </a:lnTo>
                <a:lnTo>
                  <a:pt x="422" y="21"/>
                </a:lnTo>
                <a:lnTo>
                  <a:pt x="424" y="23"/>
                </a:lnTo>
                <a:lnTo>
                  <a:pt x="431" y="26"/>
                </a:lnTo>
                <a:lnTo>
                  <a:pt x="439" y="28"/>
                </a:lnTo>
                <a:lnTo>
                  <a:pt x="441" y="30"/>
                </a:lnTo>
                <a:lnTo>
                  <a:pt x="443" y="32"/>
                </a:lnTo>
                <a:lnTo>
                  <a:pt x="470" y="34"/>
                </a:lnTo>
                <a:lnTo>
                  <a:pt x="496" y="38"/>
                </a:lnTo>
                <a:lnTo>
                  <a:pt x="498" y="40"/>
                </a:lnTo>
                <a:lnTo>
                  <a:pt x="502" y="44"/>
                </a:lnTo>
                <a:lnTo>
                  <a:pt x="496" y="57"/>
                </a:lnTo>
                <a:lnTo>
                  <a:pt x="491" y="73"/>
                </a:lnTo>
                <a:lnTo>
                  <a:pt x="489" y="74"/>
                </a:lnTo>
                <a:lnTo>
                  <a:pt x="487" y="76"/>
                </a:lnTo>
                <a:lnTo>
                  <a:pt x="485" y="86"/>
                </a:lnTo>
                <a:lnTo>
                  <a:pt x="481" y="96"/>
                </a:lnTo>
                <a:lnTo>
                  <a:pt x="470" y="111"/>
                </a:lnTo>
                <a:lnTo>
                  <a:pt x="458" y="126"/>
                </a:lnTo>
                <a:lnTo>
                  <a:pt x="449" y="144"/>
                </a:lnTo>
                <a:lnTo>
                  <a:pt x="441" y="161"/>
                </a:lnTo>
                <a:lnTo>
                  <a:pt x="439" y="168"/>
                </a:lnTo>
                <a:lnTo>
                  <a:pt x="437" y="178"/>
                </a:lnTo>
                <a:lnTo>
                  <a:pt x="437" y="188"/>
                </a:lnTo>
                <a:lnTo>
                  <a:pt x="437" y="195"/>
                </a:lnTo>
                <a:lnTo>
                  <a:pt x="439" y="205"/>
                </a:lnTo>
                <a:lnTo>
                  <a:pt x="443" y="215"/>
                </a:lnTo>
                <a:lnTo>
                  <a:pt x="447" y="222"/>
                </a:lnTo>
                <a:lnTo>
                  <a:pt x="452" y="232"/>
                </a:lnTo>
                <a:lnTo>
                  <a:pt x="458" y="236"/>
                </a:lnTo>
                <a:lnTo>
                  <a:pt x="462" y="241"/>
                </a:lnTo>
                <a:lnTo>
                  <a:pt x="458" y="261"/>
                </a:lnTo>
                <a:lnTo>
                  <a:pt x="452" y="280"/>
                </a:lnTo>
                <a:lnTo>
                  <a:pt x="429" y="284"/>
                </a:lnTo>
                <a:lnTo>
                  <a:pt x="404" y="289"/>
                </a:lnTo>
                <a:lnTo>
                  <a:pt x="376" y="287"/>
                </a:lnTo>
                <a:lnTo>
                  <a:pt x="347" y="284"/>
                </a:lnTo>
                <a:lnTo>
                  <a:pt x="318" y="282"/>
                </a:lnTo>
                <a:lnTo>
                  <a:pt x="289" y="280"/>
                </a:lnTo>
              </a:path>
            </a:pathLst>
          </a:custGeom>
          <a:solidFill>
            <a:schemeClr val="accent3"/>
          </a:solidFill>
          <a:ln w="12700">
            <a:solidFill>
              <a:schemeClr val="bg1"/>
            </a:solidFill>
            <a:round/>
            <a:headEnd/>
            <a:tailEnd/>
          </a:ln>
        </p:spPr>
        <p:txBody>
          <a:bodyPr/>
          <a:lstStyle/>
          <a:p>
            <a:endParaRPr lang="en-GB"/>
          </a:p>
        </p:txBody>
      </p:sp>
      <p:sp>
        <p:nvSpPr>
          <p:cNvPr id="19" name="Freeform 290"/>
          <p:cNvSpPr>
            <a:spLocks/>
          </p:cNvSpPr>
          <p:nvPr>
            <p:custDataLst>
              <p:tags r:id="rId9"/>
            </p:custDataLst>
          </p:nvPr>
        </p:nvSpPr>
        <p:spPr bwMode="auto">
          <a:xfrm>
            <a:off x="5209530" y="4867098"/>
            <a:ext cx="1095297" cy="928076"/>
          </a:xfrm>
          <a:custGeom>
            <a:avLst/>
            <a:gdLst>
              <a:gd name="T0" fmla="*/ 2147483647 w 804"/>
              <a:gd name="T1" fmla="*/ 2147483647 h 707"/>
              <a:gd name="T2" fmla="*/ 2147483647 w 804"/>
              <a:gd name="T3" fmla="*/ 2147483647 h 707"/>
              <a:gd name="T4" fmla="*/ 2147483647 w 804"/>
              <a:gd name="T5" fmla="*/ 2147483647 h 707"/>
              <a:gd name="T6" fmla="*/ 2147483647 w 804"/>
              <a:gd name="T7" fmla="*/ 2147483647 h 707"/>
              <a:gd name="T8" fmla="*/ 2147483647 w 804"/>
              <a:gd name="T9" fmla="*/ 2147483647 h 707"/>
              <a:gd name="T10" fmla="*/ 2147483647 w 804"/>
              <a:gd name="T11" fmla="*/ 2147483647 h 707"/>
              <a:gd name="T12" fmla="*/ 2147483647 w 804"/>
              <a:gd name="T13" fmla="*/ 2147483647 h 707"/>
              <a:gd name="T14" fmla="*/ 2147483647 w 804"/>
              <a:gd name="T15" fmla="*/ 2147483647 h 707"/>
              <a:gd name="T16" fmla="*/ 2147483647 w 804"/>
              <a:gd name="T17" fmla="*/ 2147483647 h 707"/>
              <a:gd name="T18" fmla="*/ 2147483647 w 804"/>
              <a:gd name="T19" fmla="*/ 2147483647 h 707"/>
              <a:gd name="T20" fmla="*/ 2147483647 w 804"/>
              <a:gd name="T21" fmla="*/ 2147483647 h 707"/>
              <a:gd name="T22" fmla="*/ 2147483647 w 804"/>
              <a:gd name="T23" fmla="*/ 2147483647 h 707"/>
              <a:gd name="T24" fmla="*/ 2147483647 w 804"/>
              <a:gd name="T25" fmla="*/ 2147483647 h 707"/>
              <a:gd name="T26" fmla="*/ 2147483647 w 804"/>
              <a:gd name="T27" fmla="*/ 2147483647 h 707"/>
              <a:gd name="T28" fmla="*/ 2147483647 w 804"/>
              <a:gd name="T29" fmla="*/ 2147483647 h 707"/>
              <a:gd name="T30" fmla="*/ 2147483647 w 804"/>
              <a:gd name="T31" fmla="*/ 2147483647 h 707"/>
              <a:gd name="T32" fmla="*/ 2147483647 w 804"/>
              <a:gd name="T33" fmla="*/ 2147483647 h 707"/>
              <a:gd name="T34" fmla="*/ 2147483647 w 804"/>
              <a:gd name="T35" fmla="*/ 2147483647 h 707"/>
              <a:gd name="T36" fmla="*/ 2147483647 w 804"/>
              <a:gd name="T37" fmla="*/ 2147483647 h 707"/>
              <a:gd name="T38" fmla="*/ 2147483647 w 804"/>
              <a:gd name="T39" fmla="*/ 2147483647 h 707"/>
              <a:gd name="T40" fmla="*/ 2147483647 w 804"/>
              <a:gd name="T41" fmla="*/ 2147483647 h 707"/>
              <a:gd name="T42" fmla="*/ 2147483647 w 804"/>
              <a:gd name="T43" fmla="*/ 2147483647 h 707"/>
              <a:gd name="T44" fmla="*/ 2147483647 w 804"/>
              <a:gd name="T45" fmla="*/ 2147483647 h 707"/>
              <a:gd name="T46" fmla="*/ 2147483647 w 804"/>
              <a:gd name="T47" fmla="*/ 2147483647 h 707"/>
              <a:gd name="T48" fmla="*/ 2147483647 w 804"/>
              <a:gd name="T49" fmla="*/ 2147483647 h 707"/>
              <a:gd name="T50" fmla="*/ 2147483647 w 804"/>
              <a:gd name="T51" fmla="*/ 2147483647 h 707"/>
              <a:gd name="T52" fmla="*/ 2147483647 w 804"/>
              <a:gd name="T53" fmla="*/ 2147483647 h 707"/>
              <a:gd name="T54" fmla="*/ 2147483647 w 804"/>
              <a:gd name="T55" fmla="*/ 2147483647 h 707"/>
              <a:gd name="T56" fmla="*/ 2147483647 w 804"/>
              <a:gd name="T57" fmla="*/ 2147483647 h 707"/>
              <a:gd name="T58" fmla="*/ 2147483647 w 804"/>
              <a:gd name="T59" fmla="*/ 2147483647 h 707"/>
              <a:gd name="T60" fmla="*/ 2147483647 w 804"/>
              <a:gd name="T61" fmla="*/ 2147483647 h 707"/>
              <a:gd name="T62" fmla="*/ 2147483647 w 804"/>
              <a:gd name="T63" fmla="*/ 2147483647 h 707"/>
              <a:gd name="T64" fmla="*/ 2147483647 w 804"/>
              <a:gd name="T65" fmla="*/ 2147483647 h 707"/>
              <a:gd name="T66" fmla="*/ 2147483647 w 804"/>
              <a:gd name="T67" fmla="*/ 2147483647 h 707"/>
              <a:gd name="T68" fmla="*/ 2147483647 w 804"/>
              <a:gd name="T69" fmla="*/ 2147483647 h 707"/>
              <a:gd name="T70" fmla="*/ 2147483647 w 804"/>
              <a:gd name="T71" fmla="*/ 2147483647 h 707"/>
              <a:gd name="T72" fmla="*/ 2147483647 w 804"/>
              <a:gd name="T73" fmla="*/ 2147483647 h 707"/>
              <a:gd name="T74" fmla="*/ 2147483647 w 804"/>
              <a:gd name="T75" fmla="*/ 2147483647 h 707"/>
              <a:gd name="T76" fmla="*/ 2147483647 w 804"/>
              <a:gd name="T77" fmla="*/ 2147483647 h 707"/>
              <a:gd name="T78" fmla="*/ 2147483647 w 804"/>
              <a:gd name="T79" fmla="*/ 2147483647 h 707"/>
              <a:gd name="T80" fmla="*/ 2147483647 w 804"/>
              <a:gd name="T81" fmla="*/ 2147483647 h 707"/>
              <a:gd name="T82" fmla="*/ 2147483647 w 804"/>
              <a:gd name="T83" fmla="*/ 2147483647 h 707"/>
              <a:gd name="T84" fmla="*/ 2147483647 w 804"/>
              <a:gd name="T85" fmla="*/ 2147483647 h 707"/>
              <a:gd name="T86" fmla="*/ 2147483647 w 804"/>
              <a:gd name="T87" fmla="*/ 2147483647 h 707"/>
              <a:gd name="T88" fmla="*/ 2147483647 w 804"/>
              <a:gd name="T89" fmla="*/ 2147483647 h 707"/>
              <a:gd name="T90" fmla="*/ 2147483647 w 804"/>
              <a:gd name="T91" fmla="*/ 2147483647 h 707"/>
              <a:gd name="T92" fmla="*/ 2147483647 w 804"/>
              <a:gd name="T93" fmla="*/ 2147483647 h 707"/>
              <a:gd name="T94" fmla="*/ 2147483647 w 804"/>
              <a:gd name="T95" fmla="*/ 2147483647 h 707"/>
              <a:gd name="T96" fmla="*/ 2147483647 w 804"/>
              <a:gd name="T97" fmla="*/ 2147483647 h 707"/>
              <a:gd name="T98" fmla="*/ 2147483647 w 804"/>
              <a:gd name="T99" fmla="*/ 2147483647 h 707"/>
              <a:gd name="T100" fmla="*/ 2147483647 w 804"/>
              <a:gd name="T101" fmla="*/ 2147483647 h 707"/>
              <a:gd name="T102" fmla="*/ 2147483647 w 804"/>
              <a:gd name="T103" fmla="*/ 2147483647 h 707"/>
              <a:gd name="T104" fmla="*/ 2147483647 w 804"/>
              <a:gd name="T105" fmla="*/ 2147483647 h 707"/>
              <a:gd name="T106" fmla="*/ 2147483647 w 804"/>
              <a:gd name="T107" fmla="*/ 2147483647 h 707"/>
              <a:gd name="T108" fmla="*/ 2147483647 w 804"/>
              <a:gd name="T109" fmla="*/ 2147483647 h 707"/>
              <a:gd name="T110" fmla="*/ 2147483647 w 804"/>
              <a:gd name="T111" fmla="*/ 2147483647 h 70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04"/>
              <a:gd name="T169" fmla="*/ 0 h 707"/>
              <a:gd name="T170" fmla="*/ 804 w 804"/>
              <a:gd name="T171" fmla="*/ 707 h 70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04" h="707">
                <a:moveTo>
                  <a:pt x="222" y="707"/>
                </a:moveTo>
                <a:lnTo>
                  <a:pt x="218" y="682"/>
                </a:lnTo>
                <a:lnTo>
                  <a:pt x="213" y="659"/>
                </a:lnTo>
                <a:lnTo>
                  <a:pt x="213" y="651"/>
                </a:lnTo>
                <a:lnTo>
                  <a:pt x="213" y="643"/>
                </a:lnTo>
                <a:lnTo>
                  <a:pt x="192" y="630"/>
                </a:lnTo>
                <a:lnTo>
                  <a:pt x="167" y="620"/>
                </a:lnTo>
                <a:lnTo>
                  <a:pt x="142" y="613"/>
                </a:lnTo>
                <a:lnTo>
                  <a:pt x="115" y="607"/>
                </a:lnTo>
                <a:lnTo>
                  <a:pt x="61" y="597"/>
                </a:lnTo>
                <a:lnTo>
                  <a:pt x="11" y="590"/>
                </a:lnTo>
                <a:lnTo>
                  <a:pt x="5" y="590"/>
                </a:lnTo>
                <a:lnTo>
                  <a:pt x="0" y="590"/>
                </a:lnTo>
                <a:lnTo>
                  <a:pt x="0" y="582"/>
                </a:lnTo>
                <a:lnTo>
                  <a:pt x="0" y="576"/>
                </a:lnTo>
                <a:lnTo>
                  <a:pt x="4" y="572"/>
                </a:lnTo>
                <a:lnTo>
                  <a:pt x="5" y="570"/>
                </a:lnTo>
                <a:lnTo>
                  <a:pt x="13" y="553"/>
                </a:lnTo>
                <a:lnTo>
                  <a:pt x="21" y="538"/>
                </a:lnTo>
                <a:lnTo>
                  <a:pt x="23" y="534"/>
                </a:lnTo>
                <a:lnTo>
                  <a:pt x="25" y="532"/>
                </a:lnTo>
                <a:lnTo>
                  <a:pt x="32" y="532"/>
                </a:lnTo>
                <a:lnTo>
                  <a:pt x="40" y="532"/>
                </a:lnTo>
                <a:lnTo>
                  <a:pt x="40" y="524"/>
                </a:lnTo>
                <a:lnTo>
                  <a:pt x="40" y="517"/>
                </a:lnTo>
                <a:lnTo>
                  <a:pt x="42" y="515"/>
                </a:lnTo>
                <a:lnTo>
                  <a:pt x="44" y="513"/>
                </a:lnTo>
                <a:lnTo>
                  <a:pt x="53" y="513"/>
                </a:lnTo>
                <a:lnTo>
                  <a:pt x="63" y="513"/>
                </a:lnTo>
                <a:lnTo>
                  <a:pt x="65" y="515"/>
                </a:lnTo>
                <a:lnTo>
                  <a:pt x="69" y="517"/>
                </a:lnTo>
                <a:lnTo>
                  <a:pt x="71" y="520"/>
                </a:lnTo>
                <a:lnTo>
                  <a:pt x="73" y="522"/>
                </a:lnTo>
                <a:lnTo>
                  <a:pt x="75" y="524"/>
                </a:lnTo>
                <a:lnTo>
                  <a:pt x="78" y="526"/>
                </a:lnTo>
                <a:lnTo>
                  <a:pt x="80" y="528"/>
                </a:lnTo>
                <a:lnTo>
                  <a:pt x="82" y="532"/>
                </a:lnTo>
                <a:lnTo>
                  <a:pt x="84" y="534"/>
                </a:lnTo>
                <a:lnTo>
                  <a:pt x="88" y="538"/>
                </a:lnTo>
                <a:lnTo>
                  <a:pt x="94" y="540"/>
                </a:lnTo>
                <a:lnTo>
                  <a:pt x="101" y="542"/>
                </a:lnTo>
                <a:lnTo>
                  <a:pt x="105" y="543"/>
                </a:lnTo>
                <a:lnTo>
                  <a:pt x="107" y="547"/>
                </a:lnTo>
                <a:lnTo>
                  <a:pt x="115" y="549"/>
                </a:lnTo>
                <a:lnTo>
                  <a:pt x="123" y="551"/>
                </a:lnTo>
                <a:lnTo>
                  <a:pt x="124" y="553"/>
                </a:lnTo>
                <a:lnTo>
                  <a:pt x="126" y="555"/>
                </a:lnTo>
                <a:lnTo>
                  <a:pt x="128" y="559"/>
                </a:lnTo>
                <a:lnTo>
                  <a:pt x="132" y="561"/>
                </a:lnTo>
                <a:lnTo>
                  <a:pt x="134" y="563"/>
                </a:lnTo>
                <a:lnTo>
                  <a:pt x="136" y="567"/>
                </a:lnTo>
                <a:lnTo>
                  <a:pt x="153" y="568"/>
                </a:lnTo>
                <a:lnTo>
                  <a:pt x="170" y="570"/>
                </a:lnTo>
                <a:lnTo>
                  <a:pt x="172" y="572"/>
                </a:lnTo>
                <a:lnTo>
                  <a:pt x="174" y="576"/>
                </a:lnTo>
                <a:lnTo>
                  <a:pt x="182" y="578"/>
                </a:lnTo>
                <a:lnTo>
                  <a:pt x="190" y="580"/>
                </a:lnTo>
                <a:lnTo>
                  <a:pt x="192" y="582"/>
                </a:lnTo>
                <a:lnTo>
                  <a:pt x="194" y="586"/>
                </a:lnTo>
                <a:lnTo>
                  <a:pt x="201" y="588"/>
                </a:lnTo>
                <a:lnTo>
                  <a:pt x="209" y="590"/>
                </a:lnTo>
                <a:lnTo>
                  <a:pt x="211" y="591"/>
                </a:lnTo>
                <a:lnTo>
                  <a:pt x="213" y="595"/>
                </a:lnTo>
                <a:lnTo>
                  <a:pt x="217" y="597"/>
                </a:lnTo>
                <a:lnTo>
                  <a:pt x="218" y="599"/>
                </a:lnTo>
                <a:lnTo>
                  <a:pt x="220" y="601"/>
                </a:lnTo>
                <a:lnTo>
                  <a:pt x="222" y="605"/>
                </a:lnTo>
                <a:lnTo>
                  <a:pt x="226" y="607"/>
                </a:lnTo>
                <a:lnTo>
                  <a:pt x="228" y="609"/>
                </a:lnTo>
                <a:lnTo>
                  <a:pt x="230" y="611"/>
                </a:lnTo>
                <a:lnTo>
                  <a:pt x="232" y="614"/>
                </a:lnTo>
                <a:lnTo>
                  <a:pt x="232" y="620"/>
                </a:lnTo>
                <a:lnTo>
                  <a:pt x="232" y="628"/>
                </a:lnTo>
                <a:lnTo>
                  <a:pt x="240" y="628"/>
                </a:lnTo>
                <a:lnTo>
                  <a:pt x="247" y="628"/>
                </a:lnTo>
                <a:lnTo>
                  <a:pt x="249" y="632"/>
                </a:lnTo>
                <a:lnTo>
                  <a:pt x="253" y="634"/>
                </a:lnTo>
                <a:lnTo>
                  <a:pt x="259" y="636"/>
                </a:lnTo>
                <a:lnTo>
                  <a:pt x="266" y="638"/>
                </a:lnTo>
                <a:lnTo>
                  <a:pt x="268" y="639"/>
                </a:lnTo>
                <a:lnTo>
                  <a:pt x="272" y="643"/>
                </a:lnTo>
                <a:lnTo>
                  <a:pt x="272" y="651"/>
                </a:lnTo>
                <a:lnTo>
                  <a:pt x="272" y="659"/>
                </a:lnTo>
                <a:lnTo>
                  <a:pt x="282" y="659"/>
                </a:lnTo>
                <a:lnTo>
                  <a:pt x="288" y="657"/>
                </a:lnTo>
                <a:lnTo>
                  <a:pt x="291" y="655"/>
                </a:lnTo>
                <a:lnTo>
                  <a:pt x="291" y="653"/>
                </a:lnTo>
                <a:lnTo>
                  <a:pt x="293" y="651"/>
                </a:lnTo>
                <a:lnTo>
                  <a:pt x="295" y="647"/>
                </a:lnTo>
                <a:lnTo>
                  <a:pt x="297" y="645"/>
                </a:lnTo>
                <a:lnTo>
                  <a:pt x="301" y="643"/>
                </a:lnTo>
                <a:lnTo>
                  <a:pt x="303" y="639"/>
                </a:lnTo>
                <a:lnTo>
                  <a:pt x="305" y="638"/>
                </a:lnTo>
                <a:lnTo>
                  <a:pt x="307" y="636"/>
                </a:lnTo>
                <a:lnTo>
                  <a:pt x="311" y="634"/>
                </a:lnTo>
                <a:lnTo>
                  <a:pt x="312" y="632"/>
                </a:lnTo>
                <a:lnTo>
                  <a:pt x="314" y="628"/>
                </a:lnTo>
                <a:lnTo>
                  <a:pt x="316" y="624"/>
                </a:lnTo>
                <a:lnTo>
                  <a:pt x="320" y="618"/>
                </a:lnTo>
                <a:lnTo>
                  <a:pt x="324" y="614"/>
                </a:lnTo>
                <a:lnTo>
                  <a:pt x="330" y="609"/>
                </a:lnTo>
                <a:lnTo>
                  <a:pt x="339" y="605"/>
                </a:lnTo>
                <a:lnTo>
                  <a:pt x="349" y="599"/>
                </a:lnTo>
                <a:lnTo>
                  <a:pt x="353" y="595"/>
                </a:lnTo>
                <a:lnTo>
                  <a:pt x="359" y="590"/>
                </a:lnTo>
                <a:lnTo>
                  <a:pt x="362" y="584"/>
                </a:lnTo>
                <a:lnTo>
                  <a:pt x="368" y="580"/>
                </a:lnTo>
                <a:lnTo>
                  <a:pt x="372" y="565"/>
                </a:lnTo>
                <a:lnTo>
                  <a:pt x="378" y="551"/>
                </a:lnTo>
                <a:lnTo>
                  <a:pt x="383" y="536"/>
                </a:lnTo>
                <a:lnTo>
                  <a:pt x="387" y="522"/>
                </a:lnTo>
                <a:lnTo>
                  <a:pt x="391" y="517"/>
                </a:lnTo>
                <a:lnTo>
                  <a:pt x="397" y="513"/>
                </a:lnTo>
                <a:lnTo>
                  <a:pt x="401" y="507"/>
                </a:lnTo>
                <a:lnTo>
                  <a:pt x="406" y="503"/>
                </a:lnTo>
                <a:lnTo>
                  <a:pt x="422" y="494"/>
                </a:lnTo>
                <a:lnTo>
                  <a:pt x="435" y="484"/>
                </a:lnTo>
                <a:lnTo>
                  <a:pt x="441" y="478"/>
                </a:lnTo>
                <a:lnTo>
                  <a:pt x="445" y="474"/>
                </a:lnTo>
                <a:lnTo>
                  <a:pt x="451" y="469"/>
                </a:lnTo>
                <a:lnTo>
                  <a:pt x="454" y="465"/>
                </a:lnTo>
                <a:lnTo>
                  <a:pt x="460" y="446"/>
                </a:lnTo>
                <a:lnTo>
                  <a:pt x="464" y="426"/>
                </a:lnTo>
                <a:lnTo>
                  <a:pt x="470" y="421"/>
                </a:lnTo>
                <a:lnTo>
                  <a:pt x="476" y="415"/>
                </a:lnTo>
                <a:lnTo>
                  <a:pt x="479" y="411"/>
                </a:lnTo>
                <a:lnTo>
                  <a:pt x="483" y="405"/>
                </a:lnTo>
                <a:lnTo>
                  <a:pt x="489" y="405"/>
                </a:lnTo>
                <a:lnTo>
                  <a:pt x="493" y="403"/>
                </a:lnTo>
                <a:lnTo>
                  <a:pt x="493" y="398"/>
                </a:lnTo>
                <a:lnTo>
                  <a:pt x="493" y="386"/>
                </a:lnTo>
                <a:lnTo>
                  <a:pt x="483" y="384"/>
                </a:lnTo>
                <a:lnTo>
                  <a:pt x="476" y="382"/>
                </a:lnTo>
                <a:lnTo>
                  <a:pt x="479" y="375"/>
                </a:lnTo>
                <a:lnTo>
                  <a:pt x="483" y="367"/>
                </a:lnTo>
                <a:lnTo>
                  <a:pt x="489" y="357"/>
                </a:lnTo>
                <a:lnTo>
                  <a:pt x="493" y="348"/>
                </a:lnTo>
                <a:lnTo>
                  <a:pt x="499" y="348"/>
                </a:lnTo>
                <a:lnTo>
                  <a:pt x="504" y="348"/>
                </a:lnTo>
                <a:lnTo>
                  <a:pt x="504" y="332"/>
                </a:lnTo>
                <a:lnTo>
                  <a:pt x="504" y="319"/>
                </a:lnTo>
                <a:lnTo>
                  <a:pt x="499" y="319"/>
                </a:lnTo>
                <a:lnTo>
                  <a:pt x="493" y="319"/>
                </a:lnTo>
                <a:lnTo>
                  <a:pt x="489" y="309"/>
                </a:lnTo>
                <a:lnTo>
                  <a:pt x="483" y="300"/>
                </a:lnTo>
                <a:lnTo>
                  <a:pt x="481" y="281"/>
                </a:lnTo>
                <a:lnTo>
                  <a:pt x="479" y="261"/>
                </a:lnTo>
                <a:lnTo>
                  <a:pt x="477" y="242"/>
                </a:lnTo>
                <a:lnTo>
                  <a:pt x="476" y="223"/>
                </a:lnTo>
                <a:lnTo>
                  <a:pt x="470" y="213"/>
                </a:lnTo>
                <a:lnTo>
                  <a:pt x="464" y="204"/>
                </a:lnTo>
                <a:lnTo>
                  <a:pt x="460" y="200"/>
                </a:lnTo>
                <a:lnTo>
                  <a:pt x="458" y="200"/>
                </a:lnTo>
                <a:lnTo>
                  <a:pt x="456" y="200"/>
                </a:lnTo>
                <a:lnTo>
                  <a:pt x="454" y="204"/>
                </a:lnTo>
                <a:lnTo>
                  <a:pt x="451" y="213"/>
                </a:lnTo>
                <a:lnTo>
                  <a:pt x="445" y="223"/>
                </a:lnTo>
                <a:lnTo>
                  <a:pt x="439" y="223"/>
                </a:lnTo>
                <a:lnTo>
                  <a:pt x="437" y="225"/>
                </a:lnTo>
                <a:lnTo>
                  <a:pt x="435" y="231"/>
                </a:lnTo>
                <a:lnTo>
                  <a:pt x="435" y="242"/>
                </a:lnTo>
                <a:lnTo>
                  <a:pt x="441" y="242"/>
                </a:lnTo>
                <a:lnTo>
                  <a:pt x="445" y="242"/>
                </a:lnTo>
                <a:lnTo>
                  <a:pt x="445" y="252"/>
                </a:lnTo>
                <a:lnTo>
                  <a:pt x="445" y="261"/>
                </a:lnTo>
                <a:lnTo>
                  <a:pt x="441" y="261"/>
                </a:lnTo>
                <a:lnTo>
                  <a:pt x="435" y="261"/>
                </a:lnTo>
                <a:lnTo>
                  <a:pt x="433" y="256"/>
                </a:lnTo>
                <a:lnTo>
                  <a:pt x="431" y="252"/>
                </a:lnTo>
                <a:lnTo>
                  <a:pt x="428" y="248"/>
                </a:lnTo>
                <a:lnTo>
                  <a:pt x="426" y="246"/>
                </a:lnTo>
                <a:lnTo>
                  <a:pt x="426" y="227"/>
                </a:lnTo>
                <a:lnTo>
                  <a:pt x="426" y="208"/>
                </a:lnTo>
                <a:lnTo>
                  <a:pt x="428" y="206"/>
                </a:lnTo>
                <a:lnTo>
                  <a:pt x="431" y="204"/>
                </a:lnTo>
                <a:lnTo>
                  <a:pt x="433" y="204"/>
                </a:lnTo>
                <a:lnTo>
                  <a:pt x="435" y="200"/>
                </a:lnTo>
                <a:lnTo>
                  <a:pt x="435" y="194"/>
                </a:lnTo>
                <a:lnTo>
                  <a:pt x="435" y="183"/>
                </a:lnTo>
                <a:lnTo>
                  <a:pt x="428" y="183"/>
                </a:lnTo>
                <a:lnTo>
                  <a:pt x="422" y="183"/>
                </a:lnTo>
                <a:lnTo>
                  <a:pt x="418" y="181"/>
                </a:lnTo>
                <a:lnTo>
                  <a:pt x="416" y="179"/>
                </a:lnTo>
                <a:lnTo>
                  <a:pt x="414" y="171"/>
                </a:lnTo>
                <a:lnTo>
                  <a:pt x="412" y="164"/>
                </a:lnTo>
                <a:lnTo>
                  <a:pt x="408" y="162"/>
                </a:lnTo>
                <a:lnTo>
                  <a:pt x="406" y="160"/>
                </a:lnTo>
                <a:lnTo>
                  <a:pt x="406" y="154"/>
                </a:lnTo>
                <a:lnTo>
                  <a:pt x="406" y="150"/>
                </a:lnTo>
                <a:lnTo>
                  <a:pt x="408" y="146"/>
                </a:lnTo>
                <a:lnTo>
                  <a:pt x="412" y="144"/>
                </a:lnTo>
                <a:lnTo>
                  <a:pt x="414" y="142"/>
                </a:lnTo>
                <a:lnTo>
                  <a:pt x="416" y="141"/>
                </a:lnTo>
                <a:lnTo>
                  <a:pt x="418" y="137"/>
                </a:lnTo>
                <a:lnTo>
                  <a:pt x="422" y="135"/>
                </a:lnTo>
                <a:lnTo>
                  <a:pt x="428" y="133"/>
                </a:lnTo>
                <a:lnTo>
                  <a:pt x="435" y="131"/>
                </a:lnTo>
                <a:lnTo>
                  <a:pt x="439" y="129"/>
                </a:lnTo>
                <a:lnTo>
                  <a:pt x="441" y="125"/>
                </a:lnTo>
                <a:lnTo>
                  <a:pt x="443" y="114"/>
                </a:lnTo>
                <a:lnTo>
                  <a:pt x="445" y="102"/>
                </a:lnTo>
                <a:lnTo>
                  <a:pt x="449" y="98"/>
                </a:lnTo>
                <a:lnTo>
                  <a:pt x="451" y="96"/>
                </a:lnTo>
                <a:lnTo>
                  <a:pt x="477" y="95"/>
                </a:lnTo>
                <a:lnTo>
                  <a:pt x="504" y="91"/>
                </a:lnTo>
                <a:lnTo>
                  <a:pt x="506" y="89"/>
                </a:lnTo>
                <a:lnTo>
                  <a:pt x="508" y="87"/>
                </a:lnTo>
                <a:lnTo>
                  <a:pt x="512" y="81"/>
                </a:lnTo>
                <a:lnTo>
                  <a:pt x="518" y="77"/>
                </a:lnTo>
                <a:lnTo>
                  <a:pt x="520" y="79"/>
                </a:lnTo>
                <a:lnTo>
                  <a:pt x="524" y="83"/>
                </a:lnTo>
                <a:lnTo>
                  <a:pt x="537" y="83"/>
                </a:lnTo>
                <a:lnTo>
                  <a:pt x="552" y="83"/>
                </a:lnTo>
                <a:lnTo>
                  <a:pt x="554" y="79"/>
                </a:lnTo>
                <a:lnTo>
                  <a:pt x="556" y="77"/>
                </a:lnTo>
                <a:lnTo>
                  <a:pt x="560" y="75"/>
                </a:lnTo>
                <a:lnTo>
                  <a:pt x="562" y="73"/>
                </a:lnTo>
                <a:lnTo>
                  <a:pt x="564" y="70"/>
                </a:lnTo>
                <a:lnTo>
                  <a:pt x="566" y="68"/>
                </a:lnTo>
                <a:lnTo>
                  <a:pt x="570" y="70"/>
                </a:lnTo>
                <a:lnTo>
                  <a:pt x="571" y="73"/>
                </a:lnTo>
                <a:lnTo>
                  <a:pt x="589" y="75"/>
                </a:lnTo>
                <a:lnTo>
                  <a:pt x="604" y="77"/>
                </a:lnTo>
                <a:lnTo>
                  <a:pt x="608" y="79"/>
                </a:lnTo>
                <a:lnTo>
                  <a:pt x="610" y="83"/>
                </a:lnTo>
                <a:lnTo>
                  <a:pt x="619" y="83"/>
                </a:lnTo>
                <a:lnTo>
                  <a:pt x="629" y="83"/>
                </a:lnTo>
                <a:lnTo>
                  <a:pt x="631" y="79"/>
                </a:lnTo>
                <a:lnTo>
                  <a:pt x="635" y="77"/>
                </a:lnTo>
                <a:lnTo>
                  <a:pt x="637" y="70"/>
                </a:lnTo>
                <a:lnTo>
                  <a:pt x="639" y="62"/>
                </a:lnTo>
                <a:lnTo>
                  <a:pt x="641" y="60"/>
                </a:lnTo>
                <a:lnTo>
                  <a:pt x="644" y="58"/>
                </a:lnTo>
                <a:lnTo>
                  <a:pt x="646" y="50"/>
                </a:lnTo>
                <a:lnTo>
                  <a:pt x="648" y="43"/>
                </a:lnTo>
                <a:lnTo>
                  <a:pt x="650" y="41"/>
                </a:lnTo>
                <a:lnTo>
                  <a:pt x="654" y="39"/>
                </a:lnTo>
                <a:lnTo>
                  <a:pt x="656" y="37"/>
                </a:lnTo>
                <a:lnTo>
                  <a:pt x="658" y="33"/>
                </a:lnTo>
                <a:lnTo>
                  <a:pt x="660" y="31"/>
                </a:lnTo>
                <a:lnTo>
                  <a:pt x="664" y="29"/>
                </a:lnTo>
                <a:lnTo>
                  <a:pt x="666" y="22"/>
                </a:lnTo>
                <a:lnTo>
                  <a:pt x="667" y="14"/>
                </a:lnTo>
                <a:lnTo>
                  <a:pt x="669" y="12"/>
                </a:lnTo>
                <a:lnTo>
                  <a:pt x="673" y="10"/>
                </a:lnTo>
                <a:lnTo>
                  <a:pt x="675" y="6"/>
                </a:lnTo>
                <a:lnTo>
                  <a:pt x="677" y="4"/>
                </a:lnTo>
                <a:lnTo>
                  <a:pt x="681" y="2"/>
                </a:lnTo>
                <a:lnTo>
                  <a:pt x="683" y="0"/>
                </a:lnTo>
                <a:lnTo>
                  <a:pt x="690" y="0"/>
                </a:lnTo>
                <a:lnTo>
                  <a:pt x="696" y="0"/>
                </a:lnTo>
                <a:lnTo>
                  <a:pt x="696" y="6"/>
                </a:lnTo>
                <a:lnTo>
                  <a:pt x="696" y="14"/>
                </a:lnTo>
                <a:lnTo>
                  <a:pt x="694" y="16"/>
                </a:lnTo>
                <a:lnTo>
                  <a:pt x="692" y="20"/>
                </a:lnTo>
                <a:lnTo>
                  <a:pt x="692" y="29"/>
                </a:lnTo>
                <a:lnTo>
                  <a:pt x="692" y="39"/>
                </a:lnTo>
                <a:lnTo>
                  <a:pt x="694" y="41"/>
                </a:lnTo>
                <a:lnTo>
                  <a:pt x="696" y="43"/>
                </a:lnTo>
                <a:lnTo>
                  <a:pt x="698" y="50"/>
                </a:lnTo>
                <a:lnTo>
                  <a:pt x="702" y="58"/>
                </a:lnTo>
                <a:lnTo>
                  <a:pt x="704" y="60"/>
                </a:lnTo>
                <a:lnTo>
                  <a:pt x="708" y="62"/>
                </a:lnTo>
                <a:lnTo>
                  <a:pt x="708" y="70"/>
                </a:lnTo>
                <a:lnTo>
                  <a:pt x="708" y="77"/>
                </a:lnTo>
                <a:lnTo>
                  <a:pt x="713" y="77"/>
                </a:lnTo>
                <a:lnTo>
                  <a:pt x="721" y="77"/>
                </a:lnTo>
                <a:lnTo>
                  <a:pt x="723" y="79"/>
                </a:lnTo>
                <a:lnTo>
                  <a:pt x="725" y="83"/>
                </a:lnTo>
                <a:lnTo>
                  <a:pt x="729" y="98"/>
                </a:lnTo>
                <a:lnTo>
                  <a:pt x="731" y="116"/>
                </a:lnTo>
                <a:lnTo>
                  <a:pt x="733" y="118"/>
                </a:lnTo>
                <a:lnTo>
                  <a:pt x="736" y="121"/>
                </a:lnTo>
                <a:lnTo>
                  <a:pt x="736" y="127"/>
                </a:lnTo>
                <a:lnTo>
                  <a:pt x="736" y="135"/>
                </a:lnTo>
                <a:lnTo>
                  <a:pt x="742" y="135"/>
                </a:lnTo>
                <a:lnTo>
                  <a:pt x="750" y="135"/>
                </a:lnTo>
                <a:lnTo>
                  <a:pt x="752" y="137"/>
                </a:lnTo>
                <a:lnTo>
                  <a:pt x="756" y="141"/>
                </a:lnTo>
                <a:lnTo>
                  <a:pt x="767" y="142"/>
                </a:lnTo>
                <a:lnTo>
                  <a:pt x="779" y="144"/>
                </a:lnTo>
                <a:lnTo>
                  <a:pt x="781" y="146"/>
                </a:lnTo>
                <a:lnTo>
                  <a:pt x="784" y="150"/>
                </a:lnTo>
                <a:lnTo>
                  <a:pt x="786" y="152"/>
                </a:lnTo>
                <a:lnTo>
                  <a:pt x="788" y="154"/>
                </a:lnTo>
                <a:lnTo>
                  <a:pt x="790" y="158"/>
                </a:lnTo>
                <a:lnTo>
                  <a:pt x="794" y="160"/>
                </a:lnTo>
                <a:lnTo>
                  <a:pt x="796" y="162"/>
                </a:lnTo>
                <a:lnTo>
                  <a:pt x="798" y="164"/>
                </a:lnTo>
                <a:lnTo>
                  <a:pt x="802" y="167"/>
                </a:lnTo>
                <a:lnTo>
                  <a:pt x="804" y="169"/>
                </a:lnTo>
                <a:lnTo>
                  <a:pt x="804" y="173"/>
                </a:lnTo>
                <a:lnTo>
                  <a:pt x="804" y="179"/>
                </a:lnTo>
                <a:lnTo>
                  <a:pt x="802" y="181"/>
                </a:lnTo>
                <a:lnTo>
                  <a:pt x="798" y="183"/>
                </a:lnTo>
                <a:lnTo>
                  <a:pt x="796" y="187"/>
                </a:lnTo>
                <a:lnTo>
                  <a:pt x="794" y="189"/>
                </a:lnTo>
                <a:lnTo>
                  <a:pt x="790" y="190"/>
                </a:lnTo>
                <a:lnTo>
                  <a:pt x="788" y="194"/>
                </a:lnTo>
                <a:lnTo>
                  <a:pt x="786" y="196"/>
                </a:lnTo>
                <a:lnTo>
                  <a:pt x="784" y="198"/>
                </a:lnTo>
                <a:lnTo>
                  <a:pt x="781" y="200"/>
                </a:lnTo>
                <a:lnTo>
                  <a:pt x="779" y="204"/>
                </a:lnTo>
                <a:lnTo>
                  <a:pt x="771" y="204"/>
                </a:lnTo>
                <a:lnTo>
                  <a:pt x="765" y="204"/>
                </a:lnTo>
                <a:lnTo>
                  <a:pt x="765" y="210"/>
                </a:lnTo>
                <a:lnTo>
                  <a:pt x="765" y="217"/>
                </a:lnTo>
                <a:lnTo>
                  <a:pt x="761" y="219"/>
                </a:lnTo>
                <a:lnTo>
                  <a:pt x="760" y="223"/>
                </a:lnTo>
                <a:lnTo>
                  <a:pt x="758" y="229"/>
                </a:lnTo>
                <a:lnTo>
                  <a:pt x="756" y="236"/>
                </a:lnTo>
                <a:lnTo>
                  <a:pt x="752" y="238"/>
                </a:lnTo>
                <a:lnTo>
                  <a:pt x="750" y="242"/>
                </a:lnTo>
                <a:lnTo>
                  <a:pt x="748" y="248"/>
                </a:lnTo>
                <a:lnTo>
                  <a:pt x="746" y="256"/>
                </a:lnTo>
                <a:lnTo>
                  <a:pt x="742" y="258"/>
                </a:lnTo>
                <a:lnTo>
                  <a:pt x="740" y="261"/>
                </a:lnTo>
                <a:lnTo>
                  <a:pt x="738" y="267"/>
                </a:lnTo>
                <a:lnTo>
                  <a:pt x="736" y="275"/>
                </a:lnTo>
                <a:lnTo>
                  <a:pt x="733" y="279"/>
                </a:lnTo>
                <a:lnTo>
                  <a:pt x="731" y="281"/>
                </a:lnTo>
                <a:lnTo>
                  <a:pt x="723" y="288"/>
                </a:lnTo>
                <a:lnTo>
                  <a:pt x="715" y="294"/>
                </a:lnTo>
                <a:lnTo>
                  <a:pt x="713" y="298"/>
                </a:lnTo>
                <a:lnTo>
                  <a:pt x="712" y="300"/>
                </a:lnTo>
                <a:lnTo>
                  <a:pt x="710" y="319"/>
                </a:lnTo>
                <a:lnTo>
                  <a:pt x="708" y="338"/>
                </a:lnTo>
                <a:lnTo>
                  <a:pt x="713" y="338"/>
                </a:lnTo>
                <a:lnTo>
                  <a:pt x="721" y="338"/>
                </a:lnTo>
                <a:lnTo>
                  <a:pt x="723" y="340"/>
                </a:lnTo>
                <a:lnTo>
                  <a:pt x="725" y="344"/>
                </a:lnTo>
                <a:lnTo>
                  <a:pt x="729" y="346"/>
                </a:lnTo>
                <a:lnTo>
                  <a:pt x="731" y="348"/>
                </a:lnTo>
                <a:lnTo>
                  <a:pt x="733" y="350"/>
                </a:lnTo>
                <a:lnTo>
                  <a:pt x="736" y="354"/>
                </a:lnTo>
                <a:lnTo>
                  <a:pt x="736" y="367"/>
                </a:lnTo>
                <a:lnTo>
                  <a:pt x="736" y="382"/>
                </a:lnTo>
                <a:lnTo>
                  <a:pt x="733" y="384"/>
                </a:lnTo>
                <a:lnTo>
                  <a:pt x="731" y="386"/>
                </a:lnTo>
                <a:lnTo>
                  <a:pt x="729" y="394"/>
                </a:lnTo>
                <a:lnTo>
                  <a:pt x="725" y="402"/>
                </a:lnTo>
                <a:lnTo>
                  <a:pt x="723" y="403"/>
                </a:lnTo>
                <a:lnTo>
                  <a:pt x="721" y="405"/>
                </a:lnTo>
                <a:lnTo>
                  <a:pt x="713" y="409"/>
                </a:lnTo>
                <a:lnTo>
                  <a:pt x="708" y="411"/>
                </a:lnTo>
                <a:lnTo>
                  <a:pt x="704" y="413"/>
                </a:lnTo>
                <a:lnTo>
                  <a:pt x="702" y="415"/>
                </a:lnTo>
                <a:lnTo>
                  <a:pt x="698" y="419"/>
                </a:lnTo>
                <a:lnTo>
                  <a:pt x="696" y="421"/>
                </a:lnTo>
                <a:lnTo>
                  <a:pt x="694" y="423"/>
                </a:lnTo>
                <a:lnTo>
                  <a:pt x="692" y="426"/>
                </a:lnTo>
                <a:lnTo>
                  <a:pt x="689" y="428"/>
                </a:lnTo>
                <a:lnTo>
                  <a:pt x="687" y="430"/>
                </a:lnTo>
                <a:lnTo>
                  <a:pt x="685" y="432"/>
                </a:lnTo>
                <a:lnTo>
                  <a:pt x="683" y="434"/>
                </a:lnTo>
                <a:lnTo>
                  <a:pt x="675" y="438"/>
                </a:lnTo>
                <a:lnTo>
                  <a:pt x="667" y="440"/>
                </a:lnTo>
                <a:lnTo>
                  <a:pt x="666" y="442"/>
                </a:lnTo>
                <a:lnTo>
                  <a:pt x="664" y="444"/>
                </a:lnTo>
                <a:lnTo>
                  <a:pt x="660" y="448"/>
                </a:lnTo>
                <a:lnTo>
                  <a:pt x="658" y="449"/>
                </a:lnTo>
                <a:lnTo>
                  <a:pt x="656" y="451"/>
                </a:lnTo>
                <a:lnTo>
                  <a:pt x="654" y="455"/>
                </a:lnTo>
                <a:lnTo>
                  <a:pt x="650" y="461"/>
                </a:lnTo>
                <a:lnTo>
                  <a:pt x="648" y="469"/>
                </a:lnTo>
                <a:lnTo>
                  <a:pt x="646" y="471"/>
                </a:lnTo>
                <a:lnTo>
                  <a:pt x="644" y="474"/>
                </a:lnTo>
                <a:lnTo>
                  <a:pt x="641" y="480"/>
                </a:lnTo>
                <a:lnTo>
                  <a:pt x="639" y="488"/>
                </a:lnTo>
                <a:lnTo>
                  <a:pt x="637" y="490"/>
                </a:lnTo>
                <a:lnTo>
                  <a:pt x="635" y="494"/>
                </a:lnTo>
                <a:lnTo>
                  <a:pt x="627" y="494"/>
                </a:lnTo>
                <a:lnTo>
                  <a:pt x="619" y="494"/>
                </a:lnTo>
                <a:lnTo>
                  <a:pt x="619" y="499"/>
                </a:lnTo>
                <a:lnTo>
                  <a:pt x="619" y="507"/>
                </a:lnTo>
                <a:lnTo>
                  <a:pt x="618" y="511"/>
                </a:lnTo>
                <a:lnTo>
                  <a:pt x="614" y="513"/>
                </a:lnTo>
                <a:lnTo>
                  <a:pt x="612" y="520"/>
                </a:lnTo>
                <a:lnTo>
                  <a:pt x="610" y="526"/>
                </a:lnTo>
                <a:lnTo>
                  <a:pt x="608" y="528"/>
                </a:lnTo>
                <a:lnTo>
                  <a:pt x="604" y="532"/>
                </a:lnTo>
                <a:lnTo>
                  <a:pt x="589" y="534"/>
                </a:lnTo>
                <a:lnTo>
                  <a:pt x="571" y="538"/>
                </a:lnTo>
                <a:lnTo>
                  <a:pt x="570" y="540"/>
                </a:lnTo>
                <a:lnTo>
                  <a:pt x="566" y="542"/>
                </a:lnTo>
                <a:lnTo>
                  <a:pt x="564" y="543"/>
                </a:lnTo>
                <a:lnTo>
                  <a:pt x="562" y="547"/>
                </a:lnTo>
                <a:lnTo>
                  <a:pt x="560" y="549"/>
                </a:lnTo>
                <a:lnTo>
                  <a:pt x="556" y="551"/>
                </a:lnTo>
                <a:lnTo>
                  <a:pt x="554" y="553"/>
                </a:lnTo>
                <a:lnTo>
                  <a:pt x="552" y="555"/>
                </a:lnTo>
                <a:lnTo>
                  <a:pt x="548" y="559"/>
                </a:lnTo>
                <a:lnTo>
                  <a:pt x="547" y="561"/>
                </a:lnTo>
                <a:lnTo>
                  <a:pt x="525" y="563"/>
                </a:lnTo>
                <a:lnTo>
                  <a:pt x="504" y="567"/>
                </a:lnTo>
                <a:lnTo>
                  <a:pt x="501" y="568"/>
                </a:lnTo>
                <a:lnTo>
                  <a:pt x="499" y="570"/>
                </a:lnTo>
                <a:lnTo>
                  <a:pt x="499" y="576"/>
                </a:lnTo>
                <a:lnTo>
                  <a:pt x="499" y="580"/>
                </a:lnTo>
                <a:lnTo>
                  <a:pt x="501" y="582"/>
                </a:lnTo>
                <a:lnTo>
                  <a:pt x="504" y="586"/>
                </a:lnTo>
                <a:lnTo>
                  <a:pt x="506" y="588"/>
                </a:lnTo>
                <a:lnTo>
                  <a:pt x="508" y="590"/>
                </a:lnTo>
                <a:lnTo>
                  <a:pt x="510" y="591"/>
                </a:lnTo>
                <a:lnTo>
                  <a:pt x="514" y="595"/>
                </a:lnTo>
                <a:lnTo>
                  <a:pt x="510" y="597"/>
                </a:lnTo>
                <a:lnTo>
                  <a:pt x="508" y="599"/>
                </a:lnTo>
                <a:lnTo>
                  <a:pt x="506" y="601"/>
                </a:lnTo>
                <a:lnTo>
                  <a:pt x="504" y="605"/>
                </a:lnTo>
                <a:lnTo>
                  <a:pt x="501" y="607"/>
                </a:lnTo>
                <a:lnTo>
                  <a:pt x="499" y="609"/>
                </a:lnTo>
                <a:lnTo>
                  <a:pt x="497" y="614"/>
                </a:lnTo>
                <a:lnTo>
                  <a:pt x="495" y="624"/>
                </a:lnTo>
                <a:lnTo>
                  <a:pt x="497" y="634"/>
                </a:lnTo>
                <a:lnTo>
                  <a:pt x="499" y="638"/>
                </a:lnTo>
                <a:lnTo>
                  <a:pt x="501" y="639"/>
                </a:lnTo>
                <a:lnTo>
                  <a:pt x="504" y="643"/>
                </a:lnTo>
                <a:lnTo>
                  <a:pt x="510" y="645"/>
                </a:lnTo>
                <a:lnTo>
                  <a:pt x="518" y="647"/>
                </a:lnTo>
                <a:lnTo>
                  <a:pt x="520" y="651"/>
                </a:lnTo>
                <a:lnTo>
                  <a:pt x="524" y="653"/>
                </a:lnTo>
                <a:lnTo>
                  <a:pt x="520" y="655"/>
                </a:lnTo>
                <a:lnTo>
                  <a:pt x="518" y="659"/>
                </a:lnTo>
                <a:lnTo>
                  <a:pt x="516" y="661"/>
                </a:lnTo>
                <a:lnTo>
                  <a:pt x="514" y="662"/>
                </a:lnTo>
                <a:lnTo>
                  <a:pt x="510" y="664"/>
                </a:lnTo>
                <a:lnTo>
                  <a:pt x="508" y="666"/>
                </a:lnTo>
                <a:lnTo>
                  <a:pt x="506" y="666"/>
                </a:lnTo>
                <a:lnTo>
                  <a:pt x="504" y="666"/>
                </a:lnTo>
                <a:lnTo>
                  <a:pt x="499" y="672"/>
                </a:lnTo>
                <a:lnTo>
                  <a:pt x="493" y="676"/>
                </a:lnTo>
                <a:lnTo>
                  <a:pt x="489" y="676"/>
                </a:lnTo>
                <a:lnTo>
                  <a:pt x="483" y="676"/>
                </a:lnTo>
                <a:lnTo>
                  <a:pt x="466" y="668"/>
                </a:lnTo>
                <a:lnTo>
                  <a:pt x="449" y="662"/>
                </a:lnTo>
                <a:lnTo>
                  <a:pt x="433" y="659"/>
                </a:lnTo>
                <a:lnTo>
                  <a:pt x="416" y="657"/>
                </a:lnTo>
                <a:lnTo>
                  <a:pt x="401" y="657"/>
                </a:lnTo>
                <a:lnTo>
                  <a:pt x="383" y="657"/>
                </a:lnTo>
                <a:lnTo>
                  <a:pt x="366" y="661"/>
                </a:lnTo>
                <a:lnTo>
                  <a:pt x="349" y="666"/>
                </a:lnTo>
                <a:lnTo>
                  <a:pt x="336" y="664"/>
                </a:lnTo>
                <a:lnTo>
                  <a:pt x="322" y="666"/>
                </a:lnTo>
                <a:lnTo>
                  <a:pt x="307" y="672"/>
                </a:lnTo>
                <a:lnTo>
                  <a:pt x="289" y="678"/>
                </a:lnTo>
                <a:lnTo>
                  <a:pt x="259" y="693"/>
                </a:lnTo>
                <a:lnTo>
                  <a:pt x="232" y="707"/>
                </a:lnTo>
                <a:lnTo>
                  <a:pt x="228" y="707"/>
                </a:lnTo>
                <a:lnTo>
                  <a:pt x="222" y="707"/>
                </a:lnTo>
              </a:path>
            </a:pathLst>
          </a:custGeom>
          <a:solidFill>
            <a:schemeClr val="accent3"/>
          </a:solidFill>
          <a:ln w="12700">
            <a:solidFill>
              <a:schemeClr val="bg1"/>
            </a:solidFill>
            <a:round/>
            <a:headEnd/>
            <a:tailEnd/>
          </a:ln>
        </p:spPr>
        <p:txBody>
          <a:bodyPr/>
          <a:lstStyle/>
          <a:p>
            <a:endParaRPr lang="en-GB"/>
          </a:p>
        </p:txBody>
      </p:sp>
      <p:sp>
        <p:nvSpPr>
          <p:cNvPr id="20" name="Freeform 10"/>
          <p:cNvSpPr>
            <a:spLocks/>
          </p:cNvSpPr>
          <p:nvPr>
            <p:custDataLst>
              <p:tags r:id="rId10"/>
            </p:custDataLst>
          </p:nvPr>
        </p:nvSpPr>
        <p:spPr bwMode="auto">
          <a:xfrm>
            <a:off x="4989356" y="4256742"/>
            <a:ext cx="1288994" cy="1460395"/>
          </a:xfrm>
          <a:custGeom>
            <a:avLst/>
            <a:gdLst>
              <a:gd name="T0" fmla="*/ 2147483647 w 947"/>
              <a:gd name="T1" fmla="*/ 2147483647 h 1111"/>
              <a:gd name="T2" fmla="*/ 2147483647 w 947"/>
              <a:gd name="T3" fmla="*/ 2147483647 h 1111"/>
              <a:gd name="T4" fmla="*/ 2147483647 w 947"/>
              <a:gd name="T5" fmla="*/ 2147483647 h 1111"/>
              <a:gd name="T6" fmla="*/ 2147483647 w 947"/>
              <a:gd name="T7" fmla="*/ 2147483647 h 1111"/>
              <a:gd name="T8" fmla="*/ 2147483647 w 947"/>
              <a:gd name="T9" fmla="*/ 2147483647 h 1111"/>
              <a:gd name="T10" fmla="*/ 2147483647 w 947"/>
              <a:gd name="T11" fmla="*/ 2147483647 h 1111"/>
              <a:gd name="T12" fmla="*/ 2147483647 w 947"/>
              <a:gd name="T13" fmla="*/ 2147483647 h 1111"/>
              <a:gd name="T14" fmla="*/ 2147483647 w 947"/>
              <a:gd name="T15" fmla="*/ 2147483647 h 1111"/>
              <a:gd name="T16" fmla="*/ 2147483647 w 947"/>
              <a:gd name="T17" fmla="*/ 2147483647 h 1111"/>
              <a:gd name="T18" fmla="*/ 2147483647 w 947"/>
              <a:gd name="T19" fmla="*/ 2147483647 h 1111"/>
              <a:gd name="T20" fmla="*/ 2147483647 w 947"/>
              <a:gd name="T21" fmla="*/ 2147483647 h 1111"/>
              <a:gd name="T22" fmla="*/ 2147483647 w 947"/>
              <a:gd name="T23" fmla="*/ 2147483647 h 1111"/>
              <a:gd name="T24" fmla="*/ 2147483647 w 947"/>
              <a:gd name="T25" fmla="*/ 2147483647 h 1111"/>
              <a:gd name="T26" fmla="*/ 2147483647 w 947"/>
              <a:gd name="T27" fmla="*/ 2147483647 h 1111"/>
              <a:gd name="T28" fmla="*/ 2147483647 w 947"/>
              <a:gd name="T29" fmla="*/ 2147483647 h 1111"/>
              <a:gd name="T30" fmla="*/ 2147483647 w 947"/>
              <a:gd name="T31" fmla="*/ 2147483647 h 1111"/>
              <a:gd name="T32" fmla="*/ 2147483647 w 947"/>
              <a:gd name="T33" fmla="*/ 2147483647 h 1111"/>
              <a:gd name="T34" fmla="*/ 2147483647 w 947"/>
              <a:gd name="T35" fmla="*/ 2147483647 h 1111"/>
              <a:gd name="T36" fmla="*/ 2147483647 w 947"/>
              <a:gd name="T37" fmla="*/ 2147483647 h 1111"/>
              <a:gd name="T38" fmla="*/ 2147483647 w 947"/>
              <a:gd name="T39" fmla="*/ 2147483647 h 1111"/>
              <a:gd name="T40" fmla="*/ 2147483647 w 947"/>
              <a:gd name="T41" fmla="*/ 2147483647 h 1111"/>
              <a:gd name="T42" fmla="*/ 2147483647 w 947"/>
              <a:gd name="T43" fmla="*/ 2147483647 h 1111"/>
              <a:gd name="T44" fmla="*/ 2147483647 w 947"/>
              <a:gd name="T45" fmla="*/ 2147483647 h 1111"/>
              <a:gd name="T46" fmla="*/ 2147483647 w 947"/>
              <a:gd name="T47" fmla="*/ 2147483647 h 1111"/>
              <a:gd name="T48" fmla="*/ 2147483647 w 947"/>
              <a:gd name="T49" fmla="*/ 2147483647 h 1111"/>
              <a:gd name="T50" fmla="*/ 2147483647 w 947"/>
              <a:gd name="T51" fmla="*/ 2147483647 h 1111"/>
              <a:gd name="T52" fmla="*/ 2147483647 w 947"/>
              <a:gd name="T53" fmla="*/ 2147483647 h 1111"/>
              <a:gd name="T54" fmla="*/ 2147483647 w 947"/>
              <a:gd name="T55" fmla="*/ 2147483647 h 1111"/>
              <a:gd name="T56" fmla="*/ 2147483647 w 947"/>
              <a:gd name="T57" fmla="*/ 2147483647 h 1111"/>
              <a:gd name="T58" fmla="*/ 2147483647 w 947"/>
              <a:gd name="T59" fmla="*/ 2147483647 h 1111"/>
              <a:gd name="T60" fmla="*/ 2147483647 w 947"/>
              <a:gd name="T61" fmla="*/ 2147483647 h 1111"/>
              <a:gd name="T62" fmla="*/ 2147483647 w 947"/>
              <a:gd name="T63" fmla="*/ 2147483647 h 1111"/>
              <a:gd name="T64" fmla="*/ 2147483647 w 947"/>
              <a:gd name="T65" fmla="*/ 2147483647 h 1111"/>
              <a:gd name="T66" fmla="*/ 2147483647 w 947"/>
              <a:gd name="T67" fmla="*/ 2147483647 h 1111"/>
              <a:gd name="T68" fmla="*/ 2147483647 w 947"/>
              <a:gd name="T69" fmla="*/ 2147483647 h 1111"/>
              <a:gd name="T70" fmla="*/ 2147483647 w 947"/>
              <a:gd name="T71" fmla="*/ 2147483647 h 1111"/>
              <a:gd name="T72" fmla="*/ 2147483647 w 947"/>
              <a:gd name="T73" fmla="*/ 2147483647 h 1111"/>
              <a:gd name="T74" fmla="*/ 2147483647 w 947"/>
              <a:gd name="T75" fmla="*/ 2147483647 h 1111"/>
              <a:gd name="T76" fmla="*/ 2147483647 w 947"/>
              <a:gd name="T77" fmla="*/ 2147483647 h 1111"/>
              <a:gd name="T78" fmla="*/ 2147483647 w 947"/>
              <a:gd name="T79" fmla="*/ 2147483647 h 1111"/>
              <a:gd name="T80" fmla="*/ 2147483647 w 947"/>
              <a:gd name="T81" fmla="*/ 2147483647 h 1111"/>
              <a:gd name="T82" fmla="*/ 2147483647 w 947"/>
              <a:gd name="T83" fmla="*/ 2147483647 h 1111"/>
              <a:gd name="T84" fmla="*/ 2147483647 w 947"/>
              <a:gd name="T85" fmla="*/ 2147483647 h 1111"/>
              <a:gd name="T86" fmla="*/ 2147483647 w 947"/>
              <a:gd name="T87" fmla="*/ 2147483647 h 1111"/>
              <a:gd name="T88" fmla="*/ 2147483647 w 947"/>
              <a:gd name="T89" fmla="*/ 2147483647 h 1111"/>
              <a:gd name="T90" fmla="*/ 2147483647 w 947"/>
              <a:gd name="T91" fmla="*/ 2147483647 h 1111"/>
              <a:gd name="T92" fmla="*/ 2147483647 w 947"/>
              <a:gd name="T93" fmla="*/ 2147483647 h 1111"/>
              <a:gd name="T94" fmla="*/ 2147483647 w 947"/>
              <a:gd name="T95" fmla="*/ 2147483647 h 1111"/>
              <a:gd name="T96" fmla="*/ 2147483647 w 947"/>
              <a:gd name="T97" fmla="*/ 2147483647 h 1111"/>
              <a:gd name="T98" fmla="*/ 2147483647 w 947"/>
              <a:gd name="T99" fmla="*/ 2147483647 h 1111"/>
              <a:gd name="T100" fmla="*/ 2147483647 w 947"/>
              <a:gd name="T101" fmla="*/ 2147483647 h 1111"/>
              <a:gd name="T102" fmla="*/ 2147483647 w 947"/>
              <a:gd name="T103" fmla="*/ 2147483647 h 1111"/>
              <a:gd name="T104" fmla="*/ 2147483647 w 947"/>
              <a:gd name="T105" fmla="*/ 2147483647 h 1111"/>
              <a:gd name="T106" fmla="*/ 2147483647 w 947"/>
              <a:gd name="T107" fmla="*/ 2147483647 h 1111"/>
              <a:gd name="T108" fmla="*/ 2147483647 w 947"/>
              <a:gd name="T109" fmla="*/ 2147483647 h 1111"/>
              <a:gd name="T110" fmla="*/ 2147483647 w 947"/>
              <a:gd name="T111" fmla="*/ 2147483647 h 1111"/>
              <a:gd name="T112" fmla="*/ 2147483647 w 947"/>
              <a:gd name="T113" fmla="*/ 2147483647 h 1111"/>
              <a:gd name="T114" fmla="*/ 2147483647 w 947"/>
              <a:gd name="T115" fmla="*/ 2147483647 h 1111"/>
              <a:gd name="T116" fmla="*/ 2147483647 w 947"/>
              <a:gd name="T117" fmla="*/ 2147483647 h 1111"/>
              <a:gd name="T118" fmla="*/ 2147483647 w 947"/>
              <a:gd name="T119" fmla="*/ 2147483647 h 1111"/>
              <a:gd name="T120" fmla="*/ 2147483647 w 947"/>
              <a:gd name="T121" fmla="*/ 2147483647 h 1111"/>
              <a:gd name="T122" fmla="*/ 2147483647 w 947"/>
              <a:gd name="T123" fmla="*/ 2147483647 h 111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47"/>
              <a:gd name="T187" fmla="*/ 0 h 1111"/>
              <a:gd name="T188" fmla="*/ 947 w 947"/>
              <a:gd name="T189" fmla="*/ 1111 h 111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47" h="1111">
                <a:moveTo>
                  <a:pt x="439" y="1102"/>
                </a:moveTo>
                <a:lnTo>
                  <a:pt x="437" y="1100"/>
                </a:lnTo>
                <a:lnTo>
                  <a:pt x="435" y="1098"/>
                </a:lnTo>
                <a:lnTo>
                  <a:pt x="428" y="1096"/>
                </a:lnTo>
                <a:lnTo>
                  <a:pt x="420" y="1092"/>
                </a:lnTo>
                <a:lnTo>
                  <a:pt x="418" y="1090"/>
                </a:lnTo>
                <a:lnTo>
                  <a:pt x="416" y="1088"/>
                </a:lnTo>
                <a:lnTo>
                  <a:pt x="408" y="1080"/>
                </a:lnTo>
                <a:lnTo>
                  <a:pt x="401" y="1073"/>
                </a:lnTo>
                <a:lnTo>
                  <a:pt x="399" y="1071"/>
                </a:lnTo>
                <a:lnTo>
                  <a:pt x="395" y="1069"/>
                </a:lnTo>
                <a:lnTo>
                  <a:pt x="393" y="1065"/>
                </a:lnTo>
                <a:lnTo>
                  <a:pt x="391" y="1063"/>
                </a:lnTo>
                <a:lnTo>
                  <a:pt x="389" y="1061"/>
                </a:lnTo>
                <a:lnTo>
                  <a:pt x="385" y="1059"/>
                </a:lnTo>
                <a:lnTo>
                  <a:pt x="383" y="1055"/>
                </a:lnTo>
                <a:lnTo>
                  <a:pt x="381" y="1054"/>
                </a:lnTo>
                <a:lnTo>
                  <a:pt x="380" y="1052"/>
                </a:lnTo>
                <a:lnTo>
                  <a:pt x="376" y="1050"/>
                </a:lnTo>
                <a:lnTo>
                  <a:pt x="368" y="1046"/>
                </a:lnTo>
                <a:lnTo>
                  <a:pt x="362" y="1044"/>
                </a:lnTo>
                <a:lnTo>
                  <a:pt x="358" y="1042"/>
                </a:lnTo>
                <a:lnTo>
                  <a:pt x="357" y="1040"/>
                </a:lnTo>
                <a:lnTo>
                  <a:pt x="349" y="1036"/>
                </a:lnTo>
                <a:lnTo>
                  <a:pt x="343" y="1034"/>
                </a:lnTo>
                <a:lnTo>
                  <a:pt x="339" y="1032"/>
                </a:lnTo>
                <a:lnTo>
                  <a:pt x="337" y="1031"/>
                </a:lnTo>
                <a:lnTo>
                  <a:pt x="320" y="1027"/>
                </a:lnTo>
                <a:lnTo>
                  <a:pt x="303" y="1025"/>
                </a:lnTo>
                <a:lnTo>
                  <a:pt x="301" y="1023"/>
                </a:lnTo>
                <a:lnTo>
                  <a:pt x="299" y="1019"/>
                </a:lnTo>
                <a:lnTo>
                  <a:pt x="297" y="1017"/>
                </a:lnTo>
                <a:lnTo>
                  <a:pt x="295" y="1015"/>
                </a:lnTo>
                <a:lnTo>
                  <a:pt x="291" y="1013"/>
                </a:lnTo>
                <a:lnTo>
                  <a:pt x="289" y="1011"/>
                </a:lnTo>
                <a:lnTo>
                  <a:pt x="282" y="1007"/>
                </a:lnTo>
                <a:lnTo>
                  <a:pt x="274" y="1006"/>
                </a:lnTo>
                <a:lnTo>
                  <a:pt x="272" y="1004"/>
                </a:lnTo>
                <a:lnTo>
                  <a:pt x="270" y="1002"/>
                </a:lnTo>
                <a:lnTo>
                  <a:pt x="263" y="998"/>
                </a:lnTo>
                <a:lnTo>
                  <a:pt x="255" y="996"/>
                </a:lnTo>
                <a:lnTo>
                  <a:pt x="253" y="992"/>
                </a:lnTo>
                <a:lnTo>
                  <a:pt x="251" y="990"/>
                </a:lnTo>
                <a:lnTo>
                  <a:pt x="247" y="988"/>
                </a:lnTo>
                <a:lnTo>
                  <a:pt x="245" y="986"/>
                </a:lnTo>
                <a:lnTo>
                  <a:pt x="243" y="984"/>
                </a:lnTo>
                <a:lnTo>
                  <a:pt x="241" y="981"/>
                </a:lnTo>
                <a:lnTo>
                  <a:pt x="238" y="979"/>
                </a:lnTo>
                <a:lnTo>
                  <a:pt x="236" y="977"/>
                </a:lnTo>
                <a:lnTo>
                  <a:pt x="234" y="975"/>
                </a:lnTo>
                <a:lnTo>
                  <a:pt x="232" y="971"/>
                </a:lnTo>
                <a:lnTo>
                  <a:pt x="216" y="971"/>
                </a:lnTo>
                <a:lnTo>
                  <a:pt x="203" y="971"/>
                </a:lnTo>
                <a:lnTo>
                  <a:pt x="199" y="975"/>
                </a:lnTo>
                <a:lnTo>
                  <a:pt x="197" y="977"/>
                </a:lnTo>
                <a:lnTo>
                  <a:pt x="190" y="984"/>
                </a:lnTo>
                <a:lnTo>
                  <a:pt x="184" y="990"/>
                </a:lnTo>
                <a:lnTo>
                  <a:pt x="180" y="992"/>
                </a:lnTo>
                <a:lnTo>
                  <a:pt x="178" y="996"/>
                </a:lnTo>
                <a:lnTo>
                  <a:pt x="176" y="992"/>
                </a:lnTo>
                <a:lnTo>
                  <a:pt x="174" y="990"/>
                </a:lnTo>
                <a:lnTo>
                  <a:pt x="147" y="988"/>
                </a:lnTo>
                <a:lnTo>
                  <a:pt x="121" y="986"/>
                </a:lnTo>
                <a:lnTo>
                  <a:pt x="117" y="984"/>
                </a:lnTo>
                <a:lnTo>
                  <a:pt x="115" y="981"/>
                </a:lnTo>
                <a:lnTo>
                  <a:pt x="107" y="979"/>
                </a:lnTo>
                <a:lnTo>
                  <a:pt x="101" y="977"/>
                </a:lnTo>
                <a:lnTo>
                  <a:pt x="98" y="975"/>
                </a:lnTo>
                <a:lnTo>
                  <a:pt x="96" y="971"/>
                </a:lnTo>
                <a:lnTo>
                  <a:pt x="94" y="969"/>
                </a:lnTo>
                <a:lnTo>
                  <a:pt x="92" y="967"/>
                </a:lnTo>
                <a:lnTo>
                  <a:pt x="88" y="963"/>
                </a:lnTo>
                <a:lnTo>
                  <a:pt x="86" y="961"/>
                </a:lnTo>
                <a:lnTo>
                  <a:pt x="78" y="960"/>
                </a:lnTo>
                <a:lnTo>
                  <a:pt x="71" y="958"/>
                </a:lnTo>
                <a:lnTo>
                  <a:pt x="69" y="954"/>
                </a:lnTo>
                <a:lnTo>
                  <a:pt x="67" y="952"/>
                </a:lnTo>
                <a:lnTo>
                  <a:pt x="50" y="950"/>
                </a:lnTo>
                <a:lnTo>
                  <a:pt x="32" y="948"/>
                </a:lnTo>
                <a:lnTo>
                  <a:pt x="30" y="944"/>
                </a:lnTo>
                <a:lnTo>
                  <a:pt x="28" y="942"/>
                </a:lnTo>
                <a:lnTo>
                  <a:pt x="27" y="935"/>
                </a:lnTo>
                <a:lnTo>
                  <a:pt x="23" y="929"/>
                </a:lnTo>
                <a:lnTo>
                  <a:pt x="21" y="925"/>
                </a:lnTo>
                <a:lnTo>
                  <a:pt x="19" y="923"/>
                </a:lnTo>
                <a:lnTo>
                  <a:pt x="17" y="921"/>
                </a:lnTo>
                <a:lnTo>
                  <a:pt x="13" y="919"/>
                </a:lnTo>
                <a:lnTo>
                  <a:pt x="11" y="915"/>
                </a:lnTo>
                <a:lnTo>
                  <a:pt x="9" y="913"/>
                </a:lnTo>
                <a:lnTo>
                  <a:pt x="5" y="912"/>
                </a:lnTo>
                <a:lnTo>
                  <a:pt x="3" y="908"/>
                </a:lnTo>
                <a:lnTo>
                  <a:pt x="2" y="906"/>
                </a:lnTo>
                <a:lnTo>
                  <a:pt x="0" y="904"/>
                </a:lnTo>
                <a:lnTo>
                  <a:pt x="2" y="902"/>
                </a:lnTo>
                <a:lnTo>
                  <a:pt x="3" y="898"/>
                </a:lnTo>
                <a:lnTo>
                  <a:pt x="11" y="896"/>
                </a:lnTo>
                <a:lnTo>
                  <a:pt x="19" y="894"/>
                </a:lnTo>
                <a:lnTo>
                  <a:pt x="21" y="892"/>
                </a:lnTo>
                <a:lnTo>
                  <a:pt x="23" y="890"/>
                </a:lnTo>
                <a:lnTo>
                  <a:pt x="30" y="887"/>
                </a:lnTo>
                <a:lnTo>
                  <a:pt x="38" y="885"/>
                </a:lnTo>
                <a:lnTo>
                  <a:pt x="40" y="883"/>
                </a:lnTo>
                <a:lnTo>
                  <a:pt x="42" y="879"/>
                </a:lnTo>
                <a:lnTo>
                  <a:pt x="44" y="850"/>
                </a:lnTo>
                <a:lnTo>
                  <a:pt x="46" y="819"/>
                </a:lnTo>
                <a:lnTo>
                  <a:pt x="46" y="789"/>
                </a:lnTo>
                <a:lnTo>
                  <a:pt x="48" y="758"/>
                </a:lnTo>
                <a:lnTo>
                  <a:pt x="50" y="756"/>
                </a:lnTo>
                <a:lnTo>
                  <a:pt x="53" y="754"/>
                </a:lnTo>
                <a:lnTo>
                  <a:pt x="55" y="752"/>
                </a:lnTo>
                <a:lnTo>
                  <a:pt x="57" y="748"/>
                </a:lnTo>
                <a:lnTo>
                  <a:pt x="59" y="747"/>
                </a:lnTo>
                <a:lnTo>
                  <a:pt x="63" y="745"/>
                </a:lnTo>
                <a:lnTo>
                  <a:pt x="65" y="743"/>
                </a:lnTo>
                <a:lnTo>
                  <a:pt x="67" y="739"/>
                </a:lnTo>
                <a:lnTo>
                  <a:pt x="69" y="737"/>
                </a:lnTo>
                <a:lnTo>
                  <a:pt x="71" y="735"/>
                </a:lnTo>
                <a:lnTo>
                  <a:pt x="74" y="727"/>
                </a:lnTo>
                <a:lnTo>
                  <a:pt x="76" y="720"/>
                </a:lnTo>
                <a:lnTo>
                  <a:pt x="78" y="718"/>
                </a:lnTo>
                <a:lnTo>
                  <a:pt x="82" y="716"/>
                </a:lnTo>
                <a:lnTo>
                  <a:pt x="84" y="710"/>
                </a:lnTo>
                <a:lnTo>
                  <a:pt x="86" y="700"/>
                </a:lnTo>
                <a:lnTo>
                  <a:pt x="84" y="691"/>
                </a:lnTo>
                <a:lnTo>
                  <a:pt x="82" y="687"/>
                </a:lnTo>
                <a:lnTo>
                  <a:pt x="78" y="683"/>
                </a:lnTo>
                <a:lnTo>
                  <a:pt x="76" y="681"/>
                </a:lnTo>
                <a:lnTo>
                  <a:pt x="74" y="674"/>
                </a:lnTo>
                <a:lnTo>
                  <a:pt x="71" y="668"/>
                </a:lnTo>
                <a:lnTo>
                  <a:pt x="69" y="664"/>
                </a:lnTo>
                <a:lnTo>
                  <a:pt x="67" y="662"/>
                </a:lnTo>
                <a:lnTo>
                  <a:pt x="67" y="643"/>
                </a:lnTo>
                <a:lnTo>
                  <a:pt x="67" y="624"/>
                </a:lnTo>
                <a:lnTo>
                  <a:pt x="69" y="622"/>
                </a:lnTo>
                <a:lnTo>
                  <a:pt x="71" y="618"/>
                </a:lnTo>
                <a:lnTo>
                  <a:pt x="74" y="616"/>
                </a:lnTo>
                <a:lnTo>
                  <a:pt x="76" y="614"/>
                </a:lnTo>
                <a:lnTo>
                  <a:pt x="78" y="610"/>
                </a:lnTo>
                <a:lnTo>
                  <a:pt x="82" y="608"/>
                </a:lnTo>
                <a:lnTo>
                  <a:pt x="84" y="606"/>
                </a:lnTo>
                <a:lnTo>
                  <a:pt x="86" y="605"/>
                </a:lnTo>
                <a:lnTo>
                  <a:pt x="88" y="601"/>
                </a:lnTo>
                <a:lnTo>
                  <a:pt x="92" y="599"/>
                </a:lnTo>
                <a:lnTo>
                  <a:pt x="113" y="597"/>
                </a:lnTo>
                <a:lnTo>
                  <a:pt x="134" y="595"/>
                </a:lnTo>
                <a:lnTo>
                  <a:pt x="138" y="593"/>
                </a:lnTo>
                <a:lnTo>
                  <a:pt x="140" y="589"/>
                </a:lnTo>
                <a:lnTo>
                  <a:pt x="142" y="587"/>
                </a:lnTo>
                <a:lnTo>
                  <a:pt x="144" y="585"/>
                </a:lnTo>
                <a:lnTo>
                  <a:pt x="147" y="582"/>
                </a:lnTo>
                <a:lnTo>
                  <a:pt x="149" y="580"/>
                </a:lnTo>
                <a:lnTo>
                  <a:pt x="151" y="578"/>
                </a:lnTo>
                <a:lnTo>
                  <a:pt x="153" y="576"/>
                </a:lnTo>
                <a:lnTo>
                  <a:pt x="157" y="572"/>
                </a:lnTo>
                <a:lnTo>
                  <a:pt x="159" y="570"/>
                </a:lnTo>
                <a:lnTo>
                  <a:pt x="161" y="572"/>
                </a:lnTo>
                <a:lnTo>
                  <a:pt x="163" y="576"/>
                </a:lnTo>
                <a:lnTo>
                  <a:pt x="167" y="578"/>
                </a:lnTo>
                <a:lnTo>
                  <a:pt x="168" y="580"/>
                </a:lnTo>
                <a:lnTo>
                  <a:pt x="170" y="582"/>
                </a:lnTo>
                <a:lnTo>
                  <a:pt x="174" y="585"/>
                </a:lnTo>
                <a:lnTo>
                  <a:pt x="176" y="597"/>
                </a:lnTo>
                <a:lnTo>
                  <a:pt x="178" y="608"/>
                </a:lnTo>
                <a:lnTo>
                  <a:pt x="180" y="610"/>
                </a:lnTo>
                <a:lnTo>
                  <a:pt x="184" y="614"/>
                </a:lnTo>
                <a:lnTo>
                  <a:pt x="186" y="616"/>
                </a:lnTo>
                <a:lnTo>
                  <a:pt x="193" y="618"/>
                </a:lnTo>
                <a:lnTo>
                  <a:pt x="199" y="616"/>
                </a:lnTo>
                <a:lnTo>
                  <a:pt x="203" y="614"/>
                </a:lnTo>
                <a:lnTo>
                  <a:pt x="205" y="610"/>
                </a:lnTo>
                <a:lnTo>
                  <a:pt x="207" y="608"/>
                </a:lnTo>
                <a:lnTo>
                  <a:pt x="211" y="593"/>
                </a:lnTo>
                <a:lnTo>
                  <a:pt x="215" y="578"/>
                </a:lnTo>
                <a:lnTo>
                  <a:pt x="218" y="562"/>
                </a:lnTo>
                <a:lnTo>
                  <a:pt x="222" y="547"/>
                </a:lnTo>
                <a:lnTo>
                  <a:pt x="224" y="543"/>
                </a:lnTo>
                <a:lnTo>
                  <a:pt x="226" y="541"/>
                </a:lnTo>
                <a:lnTo>
                  <a:pt x="228" y="534"/>
                </a:lnTo>
                <a:lnTo>
                  <a:pt x="232" y="526"/>
                </a:lnTo>
                <a:lnTo>
                  <a:pt x="234" y="524"/>
                </a:lnTo>
                <a:lnTo>
                  <a:pt x="236" y="522"/>
                </a:lnTo>
                <a:lnTo>
                  <a:pt x="238" y="520"/>
                </a:lnTo>
                <a:lnTo>
                  <a:pt x="241" y="516"/>
                </a:lnTo>
                <a:lnTo>
                  <a:pt x="243" y="514"/>
                </a:lnTo>
                <a:lnTo>
                  <a:pt x="245" y="512"/>
                </a:lnTo>
                <a:lnTo>
                  <a:pt x="247" y="505"/>
                </a:lnTo>
                <a:lnTo>
                  <a:pt x="251" y="497"/>
                </a:lnTo>
                <a:lnTo>
                  <a:pt x="253" y="495"/>
                </a:lnTo>
                <a:lnTo>
                  <a:pt x="255" y="493"/>
                </a:lnTo>
                <a:lnTo>
                  <a:pt x="259" y="491"/>
                </a:lnTo>
                <a:lnTo>
                  <a:pt x="261" y="488"/>
                </a:lnTo>
                <a:lnTo>
                  <a:pt x="261" y="476"/>
                </a:lnTo>
                <a:lnTo>
                  <a:pt x="261" y="455"/>
                </a:lnTo>
                <a:lnTo>
                  <a:pt x="268" y="455"/>
                </a:lnTo>
                <a:lnTo>
                  <a:pt x="274" y="455"/>
                </a:lnTo>
                <a:lnTo>
                  <a:pt x="276" y="457"/>
                </a:lnTo>
                <a:lnTo>
                  <a:pt x="280" y="459"/>
                </a:lnTo>
                <a:lnTo>
                  <a:pt x="282" y="461"/>
                </a:lnTo>
                <a:lnTo>
                  <a:pt x="286" y="464"/>
                </a:lnTo>
                <a:lnTo>
                  <a:pt x="287" y="466"/>
                </a:lnTo>
                <a:lnTo>
                  <a:pt x="289" y="468"/>
                </a:lnTo>
                <a:lnTo>
                  <a:pt x="297" y="470"/>
                </a:lnTo>
                <a:lnTo>
                  <a:pt x="303" y="474"/>
                </a:lnTo>
                <a:lnTo>
                  <a:pt x="307" y="476"/>
                </a:lnTo>
                <a:lnTo>
                  <a:pt x="309" y="478"/>
                </a:lnTo>
                <a:lnTo>
                  <a:pt x="316" y="480"/>
                </a:lnTo>
                <a:lnTo>
                  <a:pt x="324" y="484"/>
                </a:lnTo>
                <a:lnTo>
                  <a:pt x="326" y="486"/>
                </a:lnTo>
                <a:lnTo>
                  <a:pt x="328" y="488"/>
                </a:lnTo>
                <a:lnTo>
                  <a:pt x="337" y="488"/>
                </a:lnTo>
                <a:lnTo>
                  <a:pt x="347" y="488"/>
                </a:lnTo>
                <a:lnTo>
                  <a:pt x="349" y="486"/>
                </a:lnTo>
                <a:lnTo>
                  <a:pt x="353" y="484"/>
                </a:lnTo>
                <a:lnTo>
                  <a:pt x="355" y="470"/>
                </a:lnTo>
                <a:lnTo>
                  <a:pt x="357" y="459"/>
                </a:lnTo>
                <a:lnTo>
                  <a:pt x="358" y="457"/>
                </a:lnTo>
                <a:lnTo>
                  <a:pt x="362" y="455"/>
                </a:lnTo>
                <a:lnTo>
                  <a:pt x="364" y="451"/>
                </a:lnTo>
                <a:lnTo>
                  <a:pt x="366" y="449"/>
                </a:lnTo>
                <a:lnTo>
                  <a:pt x="370" y="447"/>
                </a:lnTo>
                <a:lnTo>
                  <a:pt x="372" y="445"/>
                </a:lnTo>
                <a:lnTo>
                  <a:pt x="372" y="436"/>
                </a:lnTo>
                <a:lnTo>
                  <a:pt x="372" y="426"/>
                </a:lnTo>
                <a:lnTo>
                  <a:pt x="370" y="422"/>
                </a:lnTo>
                <a:lnTo>
                  <a:pt x="366" y="420"/>
                </a:lnTo>
                <a:lnTo>
                  <a:pt x="364" y="418"/>
                </a:lnTo>
                <a:lnTo>
                  <a:pt x="362" y="415"/>
                </a:lnTo>
                <a:lnTo>
                  <a:pt x="358" y="413"/>
                </a:lnTo>
                <a:lnTo>
                  <a:pt x="357" y="411"/>
                </a:lnTo>
                <a:lnTo>
                  <a:pt x="349" y="409"/>
                </a:lnTo>
                <a:lnTo>
                  <a:pt x="343" y="405"/>
                </a:lnTo>
                <a:lnTo>
                  <a:pt x="339" y="403"/>
                </a:lnTo>
                <a:lnTo>
                  <a:pt x="337" y="401"/>
                </a:lnTo>
                <a:lnTo>
                  <a:pt x="339" y="399"/>
                </a:lnTo>
                <a:lnTo>
                  <a:pt x="343" y="395"/>
                </a:lnTo>
                <a:lnTo>
                  <a:pt x="345" y="388"/>
                </a:lnTo>
                <a:lnTo>
                  <a:pt x="347" y="382"/>
                </a:lnTo>
                <a:lnTo>
                  <a:pt x="349" y="378"/>
                </a:lnTo>
                <a:lnTo>
                  <a:pt x="353" y="376"/>
                </a:lnTo>
                <a:lnTo>
                  <a:pt x="355" y="374"/>
                </a:lnTo>
                <a:lnTo>
                  <a:pt x="357" y="372"/>
                </a:lnTo>
                <a:lnTo>
                  <a:pt x="358" y="369"/>
                </a:lnTo>
                <a:lnTo>
                  <a:pt x="362" y="367"/>
                </a:lnTo>
                <a:lnTo>
                  <a:pt x="364" y="365"/>
                </a:lnTo>
                <a:lnTo>
                  <a:pt x="366" y="357"/>
                </a:lnTo>
                <a:lnTo>
                  <a:pt x="364" y="351"/>
                </a:lnTo>
                <a:lnTo>
                  <a:pt x="362" y="347"/>
                </a:lnTo>
                <a:lnTo>
                  <a:pt x="358" y="346"/>
                </a:lnTo>
                <a:lnTo>
                  <a:pt x="357" y="344"/>
                </a:lnTo>
                <a:lnTo>
                  <a:pt x="339" y="340"/>
                </a:lnTo>
                <a:lnTo>
                  <a:pt x="324" y="338"/>
                </a:lnTo>
                <a:lnTo>
                  <a:pt x="320" y="336"/>
                </a:lnTo>
                <a:lnTo>
                  <a:pt x="318" y="334"/>
                </a:lnTo>
                <a:lnTo>
                  <a:pt x="316" y="321"/>
                </a:lnTo>
                <a:lnTo>
                  <a:pt x="314" y="309"/>
                </a:lnTo>
                <a:lnTo>
                  <a:pt x="310" y="307"/>
                </a:lnTo>
                <a:lnTo>
                  <a:pt x="309" y="305"/>
                </a:lnTo>
                <a:lnTo>
                  <a:pt x="310" y="290"/>
                </a:lnTo>
                <a:lnTo>
                  <a:pt x="314" y="275"/>
                </a:lnTo>
                <a:lnTo>
                  <a:pt x="316" y="261"/>
                </a:lnTo>
                <a:lnTo>
                  <a:pt x="318" y="246"/>
                </a:lnTo>
                <a:lnTo>
                  <a:pt x="320" y="244"/>
                </a:lnTo>
                <a:lnTo>
                  <a:pt x="324" y="242"/>
                </a:lnTo>
                <a:lnTo>
                  <a:pt x="326" y="238"/>
                </a:lnTo>
                <a:lnTo>
                  <a:pt x="328" y="236"/>
                </a:lnTo>
                <a:lnTo>
                  <a:pt x="330" y="234"/>
                </a:lnTo>
                <a:lnTo>
                  <a:pt x="333" y="232"/>
                </a:lnTo>
                <a:lnTo>
                  <a:pt x="335" y="225"/>
                </a:lnTo>
                <a:lnTo>
                  <a:pt x="337" y="217"/>
                </a:lnTo>
                <a:lnTo>
                  <a:pt x="339" y="215"/>
                </a:lnTo>
                <a:lnTo>
                  <a:pt x="343" y="213"/>
                </a:lnTo>
                <a:lnTo>
                  <a:pt x="345" y="209"/>
                </a:lnTo>
                <a:lnTo>
                  <a:pt x="347" y="207"/>
                </a:lnTo>
                <a:lnTo>
                  <a:pt x="349" y="205"/>
                </a:lnTo>
                <a:lnTo>
                  <a:pt x="353" y="204"/>
                </a:lnTo>
                <a:lnTo>
                  <a:pt x="355" y="190"/>
                </a:lnTo>
                <a:lnTo>
                  <a:pt x="357" y="163"/>
                </a:lnTo>
                <a:lnTo>
                  <a:pt x="355" y="138"/>
                </a:lnTo>
                <a:lnTo>
                  <a:pt x="353" y="125"/>
                </a:lnTo>
                <a:lnTo>
                  <a:pt x="349" y="123"/>
                </a:lnTo>
                <a:lnTo>
                  <a:pt x="347" y="121"/>
                </a:lnTo>
                <a:lnTo>
                  <a:pt x="345" y="113"/>
                </a:lnTo>
                <a:lnTo>
                  <a:pt x="343" y="106"/>
                </a:lnTo>
                <a:lnTo>
                  <a:pt x="339" y="104"/>
                </a:lnTo>
                <a:lnTo>
                  <a:pt x="337" y="102"/>
                </a:lnTo>
                <a:lnTo>
                  <a:pt x="337" y="86"/>
                </a:lnTo>
                <a:lnTo>
                  <a:pt x="337" y="73"/>
                </a:lnTo>
                <a:lnTo>
                  <a:pt x="339" y="69"/>
                </a:lnTo>
                <a:lnTo>
                  <a:pt x="343" y="67"/>
                </a:lnTo>
                <a:lnTo>
                  <a:pt x="343" y="62"/>
                </a:lnTo>
                <a:lnTo>
                  <a:pt x="343" y="58"/>
                </a:lnTo>
                <a:lnTo>
                  <a:pt x="339" y="56"/>
                </a:lnTo>
                <a:lnTo>
                  <a:pt x="337" y="52"/>
                </a:lnTo>
                <a:lnTo>
                  <a:pt x="341" y="39"/>
                </a:lnTo>
                <a:lnTo>
                  <a:pt x="343" y="29"/>
                </a:lnTo>
                <a:lnTo>
                  <a:pt x="349" y="23"/>
                </a:lnTo>
                <a:lnTo>
                  <a:pt x="357" y="14"/>
                </a:lnTo>
                <a:lnTo>
                  <a:pt x="358" y="12"/>
                </a:lnTo>
                <a:lnTo>
                  <a:pt x="362" y="10"/>
                </a:lnTo>
                <a:lnTo>
                  <a:pt x="368" y="6"/>
                </a:lnTo>
                <a:lnTo>
                  <a:pt x="376" y="4"/>
                </a:lnTo>
                <a:lnTo>
                  <a:pt x="380" y="2"/>
                </a:lnTo>
                <a:lnTo>
                  <a:pt x="381" y="0"/>
                </a:lnTo>
                <a:lnTo>
                  <a:pt x="385" y="0"/>
                </a:lnTo>
                <a:lnTo>
                  <a:pt x="391" y="0"/>
                </a:lnTo>
                <a:lnTo>
                  <a:pt x="393" y="2"/>
                </a:lnTo>
                <a:lnTo>
                  <a:pt x="395" y="4"/>
                </a:lnTo>
                <a:lnTo>
                  <a:pt x="393" y="6"/>
                </a:lnTo>
                <a:lnTo>
                  <a:pt x="391" y="10"/>
                </a:lnTo>
                <a:lnTo>
                  <a:pt x="389" y="12"/>
                </a:lnTo>
                <a:lnTo>
                  <a:pt x="387" y="19"/>
                </a:lnTo>
                <a:lnTo>
                  <a:pt x="389" y="25"/>
                </a:lnTo>
                <a:lnTo>
                  <a:pt x="391" y="29"/>
                </a:lnTo>
                <a:lnTo>
                  <a:pt x="393" y="31"/>
                </a:lnTo>
                <a:lnTo>
                  <a:pt x="395" y="33"/>
                </a:lnTo>
                <a:lnTo>
                  <a:pt x="408" y="37"/>
                </a:lnTo>
                <a:lnTo>
                  <a:pt x="420" y="39"/>
                </a:lnTo>
                <a:lnTo>
                  <a:pt x="422" y="40"/>
                </a:lnTo>
                <a:lnTo>
                  <a:pt x="424" y="42"/>
                </a:lnTo>
                <a:lnTo>
                  <a:pt x="428" y="46"/>
                </a:lnTo>
                <a:lnTo>
                  <a:pt x="429" y="48"/>
                </a:lnTo>
                <a:lnTo>
                  <a:pt x="431" y="50"/>
                </a:lnTo>
                <a:lnTo>
                  <a:pt x="435" y="52"/>
                </a:lnTo>
                <a:lnTo>
                  <a:pt x="437" y="60"/>
                </a:lnTo>
                <a:lnTo>
                  <a:pt x="439" y="67"/>
                </a:lnTo>
                <a:lnTo>
                  <a:pt x="441" y="69"/>
                </a:lnTo>
                <a:lnTo>
                  <a:pt x="445" y="73"/>
                </a:lnTo>
                <a:lnTo>
                  <a:pt x="447" y="85"/>
                </a:lnTo>
                <a:lnTo>
                  <a:pt x="449" y="96"/>
                </a:lnTo>
                <a:lnTo>
                  <a:pt x="451" y="98"/>
                </a:lnTo>
                <a:lnTo>
                  <a:pt x="454" y="102"/>
                </a:lnTo>
                <a:lnTo>
                  <a:pt x="456" y="108"/>
                </a:lnTo>
                <a:lnTo>
                  <a:pt x="458" y="115"/>
                </a:lnTo>
                <a:lnTo>
                  <a:pt x="460" y="117"/>
                </a:lnTo>
                <a:lnTo>
                  <a:pt x="464" y="121"/>
                </a:lnTo>
                <a:lnTo>
                  <a:pt x="470" y="123"/>
                </a:lnTo>
                <a:lnTo>
                  <a:pt x="477" y="125"/>
                </a:lnTo>
                <a:lnTo>
                  <a:pt x="479" y="129"/>
                </a:lnTo>
                <a:lnTo>
                  <a:pt x="483" y="131"/>
                </a:lnTo>
                <a:lnTo>
                  <a:pt x="485" y="157"/>
                </a:lnTo>
                <a:lnTo>
                  <a:pt x="487" y="184"/>
                </a:lnTo>
                <a:lnTo>
                  <a:pt x="491" y="186"/>
                </a:lnTo>
                <a:lnTo>
                  <a:pt x="493" y="188"/>
                </a:lnTo>
                <a:lnTo>
                  <a:pt x="495" y="190"/>
                </a:lnTo>
                <a:lnTo>
                  <a:pt x="497" y="194"/>
                </a:lnTo>
                <a:lnTo>
                  <a:pt x="500" y="196"/>
                </a:lnTo>
                <a:lnTo>
                  <a:pt x="502" y="198"/>
                </a:lnTo>
                <a:lnTo>
                  <a:pt x="504" y="200"/>
                </a:lnTo>
                <a:lnTo>
                  <a:pt x="506" y="204"/>
                </a:lnTo>
                <a:lnTo>
                  <a:pt x="508" y="205"/>
                </a:lnTo>
                <a:lnTo>
                  <a:pt x="512" y="207"/>
                </a:lnTo>
                <a:lnTo>
                  <a:pt x="520" y="209"/>
                </a:lnTo>
                <a:lnTo>
                  <a:pt x="527" y="213"/>
                </a:lnTo>
                <a:lnTo>
                  <a:pt x="529" y="215"/>
                </a:lnTo>
                <a:lnTo>
                  <a:pt x="531" y="217"/>
                </a:lnTo>
                <a:lnTo>
                  <a:pt x="531" y="232"/>
                </a:lnTo>
                <a:lnTo>
                  <a:pt x="531" y="246"/>
                </a:lnTo>
                <a:lnTo>
                  <a:pt x="529" y="248"/>
                </a:lnTo>
                <a:lnTo>
                  <a:pt x="527" y="252"/>
                </a:lnTo>
                <a:lnTo>
                  <a:pt x="523" y="273"/>
                </a:lnTo>
                <a:lnTo>
                  <a:pt x="523" y="319"/>
                </a:lnTo>
                <a:lnTo>
                  <a:pt x="523" y="365"/>
                </a:lnTo>
                <a:lnTo>
                  <a:pt x="527" y="386"/>
                </a:lnTo>
                <a:lnTo>
                  <a:pt x="529" y="390"/>
                </a:lnTo>
                <a:lnTo>
                  <a:pt x="531" y="392"/>
                </a:lnTo>
                <a:lnTo>
                  <a:pt x="533" y="393"/>
                </a:lnTo>
                <a:lnTo>
                  <a:pt x="535" y="395"/>
                </a:lnTo>
                <a:lnTo>
                  <a:pt x="539" y="399"/>
                </a:lnTo>
                <a:lnTo>
                  <a:pt x="541" y="401"/>
                </a:lnTo>
                <a:lnTo>
                  <a:pt x="550" y="401"/>
                </a:lnTo>
                <a:lnTo>
                  <a:pt x="560" y="401"/>
                </a:lnTo>
                <a:lnTo>
                  <a:pt x="562" y="399"/>
                </a:lnTo>
                <a:lnTo>
                  <a:pt x="566" y="395"/>
                </a:lnTo>
                <a:lnTo>
                  <a:pt x="571" y="393"/>
                </a:lnTo>
                <a:lnTo>
                  <a:pt x="579" y="392"/>
                </a:lnTo>
                <a:lnTo>
                  <a:pt x="581" y="390"/>
                </a:lnTo>
                <a:lnTo>
                  <a:pt x="585" y="386"/>
                </a:lnTo>
                <a:lnTo>
                  <a:pt x="587" y="384"/>
                </a:lnTo>
                <a:lnTo>
                  <a:pt x="589" y="382"/>
                </a:lnTo>
                <a:lnTo>
                  <a:pt x="591" y="378"/>
                </a:lnTo>
                <a:lnTo>
                  <a:pt x="594" y="376"/>
                </a:lnTo>
                <a:lnTo>
                  <a:pt x="596" y="374"/>
                </a:lnTo>
                <a:lnTo>
                  <a:pt x="598" y="372"/>
                </a:lnTo>
                <a:lnTo>
                  <a:pt x="602" y="369"/>
                </a:lnTo>
                <a:lnTo>
                  <a:pt x="604" y="367"/>
                </a:lnTo>
                <a:lnTo>
                  <a:pt x="606" y="365"/>
                </a:lnTo>
                <a:lnTo>
                  <a:pt x="608" y="363"/>
                </a:lnTo>
                <a:lnTo>
                  <a:pt x="612" y="361"/>
                </a:lnTo>
                <a:lnTo>
                  <a:pt x="614" y="357"/>
                </a:lnTo>
                <a:lnTo>
                  <a:pt x="616" y="355"/>
                </a:lnTo>
                <a:lnTo>
                  <a:pt x="617" y="353"/>
                </a:lnTo>
                <a:lnTo>
                  <a:pt x="621" y="349"/>
                </a:lnTo>
                <a:lnTo>
                  <a:pt x="623" y="347"/>
                </a:lnTo>
                <a:lnTo>
                  <a:pt x="631" y="346"/>
                </a:lnTo>
                <a:lnTo>
                  <a:pt x="639" y="344"/>
                </a:lnTo>
                <a:lnTo>
                  <a:pt x="640" y="340"/>
                </a:lnTo>
                <a:lnTo>
                  <a:pt x="642" y="338"/>
                </a:lnTo>
                <a:lnTo>
                  <a:pt x="644" y="340"/>
                </a:lnTo>
                <a:lnTo>
                  <a:pt x="646" y="344"/>
                </a:lnTo>
                <a:lnTo>
                  <a:pt x="650" y="346"/>
                </a:lnTo>
                <a:lnTo>
                  <a:pt x="652" y="347"/>
                </a:lnTo>
                <a:lnTo>
                  <a:pt x="654" y="349"/>
                </a:lnTo>
                <a:lnTo>
                  <a:pt x="656" y="353"/>
                </a:lnTo>
                <a:lnTo>
                  <a:pt x="665" y="353"/>
                </a:lnTo>
                <a:lnTo>
                  <a:pt x="677" y="353"/>
                </a:lnTo>
                <a:lnTo>
                  <a:pt x="679" y="349"/>
                </a:lnTo>
                <a:lnTo>
                  <a:pt x="681" y="347"/>
                </a:lnTo>
                <a:lnTo>
                  <a:pt x="683" y="346"/>
                </a:lnTo>
                <a:lnTo>
                  <a:pt x="687" y="344"/>
                </a:lnTo>
                <a:lnTo>
                  <a:pt x="688" y="340"/>
                </a:lnTo>
                <a:lnTo>
                  <a:pt x="690" y="338"/>
                </a:lnTo>
                <a:lnTo>
                  <a:pt x="692" y="330"/>
                </a:lnTo>
                <a:lnTo>
                  <a:pt x="696" y="322"/>
                </a:lnTo>
                <a:lnTo>
                  <a:pt x="698" y="321"/>
                </a:lnTo>
                <a:lnTo>
                  <a:pt x="700" y="319"/>
                </a:lnTo>
                <a:lnTo>
                  <a:pt x="702" y="311"/>
                </a:lnTo>
                <a:lnTo>
                  <a:pt x="706" y="305"/>
                </a:lnTo>
                <a:lnTo>
                  <a:pt x="708" y="301"/>
                </a:lnTo>
                <a:lnTo>
                  <a:pt x="710" y="299"/>
                </a:lnTo>
                <a:lnTo>
                  <a:pt x="711" y="292"/>
                </a:lnTo>
                <a:lnTo>
                  <a:pt x="715" y="284"/>
                </a:lnTo>
                <a:lnTo>
                  <a:pt x="717" y="282"/>
                </a:lnTo>
                <a:lnTo>
                  <a:pt x="719" y="280"/>
                </a:lnTo>
                <a:lnTo>
                  <a:pt x="723" y="257"/>
                </a:lnTo>
                <a:lnTo>
                  <a:pt x="725" y="236"/>
                </a:lnTo>
                <a:lnTo>
                  <a:pt x="727" y="234"/>
                </a:lnTo>
                <a:lnTo>
                  <a:pt x="729" y="232"/>
                </a:lnTo>
                <a:lnTo>
                  <a:pt x="733" y="219"/>
                </a:lnTo>
                <a:lnTo>
                  <a:pt x="734" y="207"/>
                </a:lnTo>
                <a:lnTo>
                  <a:pt x="736" y="205"/>
                </a:lnTo>
                <a:lnTo>
                  <a:pt x="738" y="204"/>
                </a:lnTo>
                <a:lnTo>
                  <a:pt x="752" y="200"/>
                </a:lnTo>
                <a:lnTo>
                  <a:pt x="763" y="198"/>
                </a:lnTo>
                <a:lnTo>
                  <a:pt x="765" y="196"/>
                </a:lnTo>
                <a:lnTo>
                  <a:pt x="767" y="194"/>
                </a:lnTo>
                <a:lnTo>
                  <a:pt x="773" y="194"/>
                </a:lnTo>
                <a:lnTo>
                  <a:pt x="777" y="194"/>
                </a:lnTo>
                <a:lnTo>
                  <a:pt x="781" y="196"/>
                </a:lnTo>
                <a:lnTo>
                  <a:pt x="782" y="198"/>
                </a:lnTo>
                <a:lnTo>
                  <a:pt x="790" y="200"/>
                </a:lnTo>
                <a:lnTo>
                  <a:pt x="798" y="204"/>
                </a:lnTo>
                <a:lnTo>
                  <a:pt x="800" y="205"/>
                </a:lnTo>
                <a:lnTo>
                  <a:pt x="802" y="207"/>
                </a:lnTo>
                <a:lnTo>
                  <a:pt x="804" y="209"/>
                </a:lnTo>
                <a:lnTo>
                  <a:pt x="807" y="213"/>
                </a:lnTo>
                <a:lnTo>
                  <a:pt x="809" y="215"/>
                </a:lnTo>
                <a:lnTo>
                  <a:pt x="811" y="217"/>
                </a:lnTo>
                <a:lnTo>
                  <a:pt x="813" y="219"/>
                </a:lnTo>
                <a:lnTo>
                  <a:pt x="817" y="223"/>
                </a:lnTo>
                <a:lnTo>
                  <a:pt x="819" y="225"/>
                </a:lnTo>
                <a:lnTo>
                  <a:pt x="821" y="227"/>
                </a:lnTo>
                <a:lnTo>
                  <a:pt x="823" y="234"/>
                </a:lnTo>
                <a:lnTo>
                  <a:pt x="827" y="242"/>
                </a:lnTo>
                <a:lnTo>
                  <a:pt x="829" y="244"/>
                </a:lnTo>
                <a:lnTo>
                  <a:pt x="830" y="246"/>
                </a:lnTo>
                <a:lnTo>
                  <a:pt x="832" y="248"/>
                </a:lnTo>
                <a:lnTo>
                  <a:pt x="836" y="252"/>
                </a:lnTo>
                <a:lnTo>
                  <a:pt x="838" y="253"/>
                </a:lnTo>
                <a:lnTo>
                  <a:pt x="840" y="255"/>
                </a:lnTo>
                <a:lnTo>
                  <a:pt x="850" y="255"/>
                </a:lnTo>
                <a:lnTo>
                  <a:pt x="859" y="255"/>
                </a:lnTo>
                <a:lnTo>
                  <a:pt x="861" y="253"/>
                </a:lnTo>
                <a:lnTo>
                  <a:pt x="865" y="252"/>
                </a:lnTo>
                <a:lnTo>
                  <a:pt x="867" y="248"/>
                </a:lnTo>
                <a:lnTo>
                  <a:pt x="871" y="246"/>
                </a:lnTo>
                <a:lnTo>
                  <a:pt x="873" y="244"/>
                </a:lnTo>
                <a:lnTo>
                  <a:pt x="875" y="242"/>
                </a:lnTo>
                <a:lnTo>
                  <a:pt x="876" y="238"/>
                </a:lnTo>
                <a:lnTo>
                  <a:pt x="878" y="236"/>
                </a:lnTo>
                <a:lnTo>
                  <a:pt x="882" y="234"/>
                </a:lnTo>
                <a:lnTo>
                  <a:pt x="884" y="232"/>
                </a:lnTo>
                <a:lnTo>
                  <a:pt x="886" y="234"/>
                </a:lnTo>
                <a:lnTo>
                  <a:pt x="888" y="236"/>
                </a:lnTo>
                <a:lnTo>
                  <a:pt x="892" y="248"/>
                </a:lnTo>
                <a:lnTo>
                  <a:pt x="894" y="261"/>
                </a:lnTo>
                <a:lnTo>
                  <a:pt x="896" y="263"/>
                </a:lnTo>
                <a:lnTo>
                  <a:pt x="899" y="265"/>
                </a:lnTo>
                <a:lnTo>
                  <a:pt x="901" y="269"/>
                </a:lnTo>
                <a:lnTo>
                  <a:pt x="903" y="271"/>
                </a:lnTo>
                <a:lnTo>
                  <a:pt x="905" y="273"/>
                </a:lnTo>
                <a:lnTo>
                  <a:pt x="909" y="275"/>
                </a:lnTo>
                <a:lnTo>
                  <a:pt x="911" y="278"/>
                </a:lnTo>
                <a:lnTo>
                  <a:pt x="913" y="280"/>
                </a:lnTo>
                <a:lnTo>
                  <a:pt x="915" y="282"/>
                </a:lnTo>
                <a:lnTo>
                  <a:pt x="919" y="284"/>
                </a:lnTo>
                <a:lnTo>
                  <a:pt x="921" y="288"/>
                </a:lnTo>
                <a:lnTo>
                  <a:pt x="923" y="290"/>
                </a:lnTo>
                <a:lnTo>
                  <a:pt x="924" y="292"/>
                </a:lnTo>
                <a:lnTo>
                  <a:pt x="928" y="294"/>
                </a:lnTo>
                <a:lnTo>
                  <a:pt x="928" y="301"/>
                </a:lnTo>
                <a:lnTo>
                  <a:pt x="928" y="309"/>
                </a:lnTo>
                <a:lnTo>
                  <a:pt x="934" y="309"/>
                </a:lnTo>
                <a:lnTo>
                  <a:pt x="942" y="309"/>
                </a:lnTo>
                <a:lnTo>
                  <a:pt x="944" y="311"/>
                </a:lnTo>
                <a:lnTo>
                  <a:pt x="947" y="315"/>
                </a:lnTo>
                <a:lnTo>
                  <a:pt x="944" y="317"/>
                </a:lnTo>
                <a:lnTo>
                  <a:pt x="942" y="319"/>
                </a:lnTo>
                <a:lnTo>
                  <a:pt x="921" y="321"/>
                </a:lnTo>
                <a:lnTo>
                  <a:pt x="899" y="322"/>
                </a:lnTo>
                <a:lnTo>
                  <a:pt x="896" y="326"/>
                </a:lnTo>
                <a:lnTo>
                  <a:pt x="894" y="328"/>
                </a:lnTo>
                <a:lnTo>
                  <a:pt x="892" y="340"/>
                </a:lnTo>
                <a:lnTo>
                  <a:pt x="890" y="363"/>
                </a:lnTo>
                <a:lnTo>
                  <a:pt x="892" y="386"/>
                </a:lnTo>
                <a:lnTo>
                  <a:pt x="894" y="395"/>
                </a:lnTo>
                <a:lnTo>
                  <a:pt x="896" y="399"/>
                </a:lnTo>
                <a:lnTo>
                  <a:pt x="899" y="401"/>
                </a:lnTo>
                <a:lnTo>
                  <a:pt x="899" y="409"/>
                </a:lnTo>
                <a:lnTo>
                  <a:pt x="899" y="415"/>
                </a:lnTo>
                <a:lnTo>
                  <a:pt x="905" y="415"/>
                </a:lnTo>
                <a:lnTo>
                  <a:pt x="913" y="415"/>
                </a:lnTo>
                <a:lnTo>
                  <a:pt x="915" y="418"/>
                </a:lnTo>
                <a:lnTo>
                  <a:pt x="919" y="420"/>
                </a:lnTo>
                <a:lnTo>
                  <a:pt x="921" y="428"/>
                </a:lnTo>
                <a:lnTo>
                  <a:pt x="923" y="436"/>
                </a:lnTo>
                <a:lnTo>
                  <a:pt x="924" y="438"/>
                </a:lnTo>
                <a:lnTo>
                  <a:pt x="928" y="440"/>
                </a:lnTo>
                <a:lnTo>
                  <a:pt x="928" y="445"/>
                </a:lnTo>
                <a:lnTo>
                  <a:pt x="928" y="449"/>
                </a:lnTo>
                <a:lnTo>
                  <a:pt x="924" y="451"/>
                </a:lnTo>
                <a:lnTo>
                  <a:pt x="923" y="455"/>
                </a:lnTo>
                <a:lnTo>
                  <a:pt x="921" y="457"/>
                </a:lnTo>
                <a:lnTo>
                  <a:pt x="919" y="459"/>
                </a:lnTo>
                <a:lnTo>
                  <a:pt x="915" y="461"/>
                </a:lnTo>
                <a:lnTo>
                  <a:pt x="913" y="464"/>
                </a:lnTo>
                <a:lnTo>
                  <a:pt x="911" y="466"/>
                </a:lnTo>
                <a:lnTo>
                  <a:pt x="909" y="468"/>
                </a:lnTo>
                <a:lnTo>
                  <a:pt x="905" y="470"/>
                </a:lnTo>
                <a:lnTo>
                  <a:pt x="903" y="474"/>
                </a:lnTo>
                <a:lnTo>
                  <a:pt x="901" y="476"/>
                </a:lnTo>
                <a:lnTo>
                  <a:pt x="899" y="478"/>
                </a:lnTo>
                <a:lnTo>
                  <a:pt x="896" y="480"/>
                </a:lnTo>
                <a:lnTo>
                  <a:pt x="894" y="484"/>
                </a:lnTo>
                <a:lnTo>
                  <a:pt x="884" y="484"/>
                </a:lnTo>
                <a:lnTo>
                  <a:pt x="875" y="484"/>
                </a:lnTo>
                <a:lnTo>
                  <a:pt x="873" y="480"/>
                </a:lnTo>
                <a:lnTo>
                  <a:pt x="871" y="478"/>
                </a:lnTo>
                <a:lnTo>
                  <a:pt x="871" y="466"/>
                </a:lnTo>
                <a:lnTo>
                  <a:pt x="871" y="455"/>
                </a:lnTo>
                <a:lnTo>
                  <a:pt x="853" y="455"/>
                </a:lnTo>
                <a:lnTo>
                  <a:pt x="844" y="455"/>
                </a:lnTo>
                <a:lnTo>
                  <a:pt x="840" y="457"/>
                </a:lnTo>
                <a:lnTo>
                  <a:pt x="840" y="459"/>
                </a:lnTo>
                <a:lnTo>
                  <a:pt x="838" y="461"/>
                </a:lnTo>
                <a:lnTo>
                  <a:pt x="836" y="464"/>
                </a:lnTo>
                <a:lnTo>
                  <a:pt x="832" y="466"/>
                </a:lnTo>
                <a:lnTo>
                  <a:pt x="830" y="468"/>
                </a:lnTo>
                <a:lnTo>
                  <a:pt x="829" y="470"/>
                </a:lnTo>
                <a:lnTo>
                  <a:pt x="827" y="474"/>
                </a:lnTo>
                <a:lnTo>
                  <a:pt x="823" y="480"/>
                </a:lnTo>
                <a:lnTo>
                  <a:pt x="821" y="488"/>
                </a:lnTo>
                <a:lnTo>
                  <a:pt x="819" y="489"/>
                </a:lnTo>
                <a:lnTo>
                  <a:pt x="817" y="493"/>
                </a:lnTo>
                <a:lnTo>
                  <a:pt x="813" y="495"/>
                </a:lnTo>
                <a:lnTo>
                  <a:pt x="811" y="497"/>
                </a:lnTo>
                <a:lnTo>
                  <a:pt x="809" y="501"/>
                </a:lnTo>
                <a:lnTo>
                  <a:pt x="807" y="503"/>
                </a:lnTo>
                <a:lnTo>
                  <a:pt x="804" y="509"/>
                </a:lnTo>
                <a:lnTo>
                  <a:pt x="802" y="516"/>
                </a:lnTo>
                <a:lnTo>
                  <a:pt x="800" y="520"/>
                </a:lnTo>
                <a:lnTo>
                  <a:pt x="798" y="522"/>
                </a:lnTo>
                <a:lnTo>
                  <a:pt x="794" y="530"/>
                </a:lnTo>
                <a:lnTo>
                  <a:pt x="792" y="537"/>
                </a:lnTo>
                <a:lnTo>
                  <a:pt x="790" y="539"/>
                </a:lnTo>
                <a:lnTo>
                  <a:pt x="788" y="541"/>
                </a:lnTo>
                <a:lnTo>
                  <a:pt x="782" y="541"/>
                </a:lnTo>
                <a:lnTo>
                  <a:pt x="777" y="541"/>
                </a:lnTo>
                <a:lnTo>
                  <a:pt x="775" y="539"/>
                </a:lnTo>
                <a:lnTo>
                  <a:pt x="773" y="537"/>
                </a:lnTo>
                <a:lnTo>
                  <a:pt x="756" y="534"/>
                </a:lnTo>
                <a:lnTo>
                  <a:pt x="738" y="532"/>
                </a:lnTo>
                <a:lnTo>
                  <a:pt x="736" y="530"/>
                </a:lnTo>
                <a:lnTo>
                  <a:pt x="734" y="526"/>
                </a:lnTo>
                <a:lnTo>
                  <a:pt x="729" y="526"/>
                </a:lnTo>
                <a:lnTo>
                  <a:pt x="725" y="526"/>
                </a:lnTo>
                <a:lnTo>
                  <a:pt x="723" y="530"/>
                </a:lnTo>
                <a:lnTo>
                  <a:pt x="719" y="532"/>
                </a:lnTo>
                <a:lnTo>
                  <a:pt x="717" y="534"/>
                </a:lnTo>
                <a:lnTo>
                  <a:pt x="715" y="537"/>
                </a:lnTo>
                <a:lnTo>
                  <a:pt x="711" y="539"/>
                </a:lnTo>
                <a:lnTo>
                  <a:pt x="710" y="541"/>
                </a:lnTo>
                <a:lnTo>
                  <a:pt x="700" y="541"/>
                </a:lnTo>
                <a:lnTo>
                  <a:pt x="690" y="541"/>
                </a:lnTo>
                <a:lnTo>
                  <a:pt x="688" y="539"/>
                </a:lnTo>
                <a:lnTo>
                  <a:pt x="687" y="537"/>
                </a:lnTo>
                <a:lnTo>
                  <a:pt x="687" y="534"/>
                </a:lnTo>
                <a:lnTo>
                  <a:pt x="683" y="532"/>
                </a:lnTo>
                <a:lnTo>
                  <a:pt x="677" y="532"/>
                </a:lnTo>
                <a:lnTo>
                  <a:pt x="667" y="532"/>
                </a:lnTo>
                <a:lnTo>
                  <a:pt x="667" y="539"/>
                </a:lnTo>
                <a:lnTo>
                  <a:pt x="667" y="547"/>
                </a:lnTo>
                <a:lnTo>
                  <a:pt x="664" y="549"/>
                </a:lnTo>
                <a:lnTo>
                  <a:pt x="662" y="551"/>
                </a:lnTo>
                <a:lnTo>
                  <a:pt x="635" y="553"/>
                </a:lnTo>
                <a:lnTo>
                  <a:pt x="608" y="555"/>
                </a:lnTo>
                <a:lnTo>
                  <a:pt x="606" y="559"/>
                </a:lnTo>
                <a:lnTo>
                  <a:pt x="604" y="560"/>
                </a:lnTo>
                <a:lnTo>
                  <a:pt x="602" y="572"/>
                </a:lnTo>
                <a:lnTo>
                  <a:pt x="598" y="585"/>
                </a:lnTo>
                <a:lnTo>
                  <a:pt x="596" y="587"/>
                </a:lnTo>
                <a:lnTo>
                  <a:pt x="594" y="589"/>
                </a:lnTo>
                <a:lnTo>
                  <a:pt x="587" y="593"/>
                </a:lnTo>
                <a:lnTo>
                  <a:pt x="579" y="595"/>
                </a:lnTo>
                <a:lnTo>
                  <a:pt x="577" y="597"/>
                </a:lnTo>
                <a:lnTo>
                  <a:pt x="575" y="599"/>
                </a:lnTo>
                <a:lnTo>
                  <a:pt x="571" y="601"/>
                </a:lnTo>
                <a:lnTo>
                  <a:pt x="569" y="605"/>
                </a:lnTo>
                <a:lnTo>
                  <a:pt x="568" y="606"/>
                </a:lnTo>
                <a:lnTo>
                  <a:pt x="566" y="608"/>
                </a:lnTo>
                <a:lnTo>
                  <a:pt x="562" y="612"/>
                </a:lnTo>
                <a:lnTo>
                  <a:pt x="562" y="618"/>
                </a:lnTo>
                <a:lnTo>
                  <a:pt x="562" y="626"/>
                </a:lnTo>
                <a:lnTo>
                  <a:pt x="566" y="628"/>
                </a:lnTo>
                <a:lnTo>
                  <a:pt x="568" y="631"/>
                </a:lnTo>
                <a:lnTo>
                  <a:pt x="569" y="633"/>
                </a:lnTo>
                <a:lnTo>
                  <a:pt x="571" y="641"/>
                </a:lnTo>
                <a:lnTo>
                  <a:pt x="575" y="647"/>
                </a:lnTo>
                <a:lnTo>
                  <a:pt x="577" y="651"/>
                </a:lnTo>
                <a:lnTo>
                  <a:pt x="579" y="653"/>
                </a:lnTo>
                <a:lnTo>
                  <a:pt x="585" y="656"/>
                </a:lnTo>
                <a:lnTo>
                  <a:pt x="589" y="662"/>
                </a:lnTo>
                <a:lnTo>
                  <a:pt x="587" y="664"/>
                </a:lnTo>
                <a:lnTo>
                  <a:pt x="585" y="668"/>
                </a:lnTo>
                <a:lnTo>
                  <a:pt x="585" y="691"/>
                </a:lnTo>
                <a:lnTo>
                  <a:pt x="585" y="716"/>
                </a:lnTo>
                <a:lnTo>
                  <a:pt x="587" y="718"/>
                </a:lnTo>
                <a:lnTo>
                  <a:pt x="589" y="720"/>
                </a:lnTo>
                <a:lnTo>
                  <a:pt x="594" y="722"/>
                </a:lnTo>
                <a:lnTo>
                  <a:pt x="598" y="725"/>
                </a:lnTo>
                <a:lnTo>
                  <a:pt x="598" y="750"/>
                </a:lnTo>
                <a:lnTo>
                  <a:pt x="598" y="777"/>
                </a:lnTo>
                <a:lnTo>
                  <a:pt x="598" y="804"/>
                </a:lnTo>
                <a:lnTo>
                  <a:pt x="598" y="831"/>
                </a:lnTo>
                <a:lnTo>
                  <a:pt x="594" y="837"/>
                </a:lnTo>
                <a:lnTo>
                  <a:pt x="589" y="841"/>
                </a:lnTo>
                <a:lnTo>
                  <a:pt x="585" y="846"/>
                </a:lnTo>
                <a:lnTo>
                  <a:pt x="579" y="850"/>
                </a:lnTo>
                <a:lnTo>
                  <a:pt x="575" y="869"/>
                </a:lnTo>
                <a:lnTo>
                  <a:pt x="569" y="890"/>
                </a:lnTo>
                <a:lnTo>
                  <a:pt x="564" y="894"/>
                </a:lnTo>
                <a:lnTo>
                  <a:pt x="560" y="898"/>
                </a:lnTo>
                <a:lnTo>
                  <a:pt x="554" y="904"/>
                </a:lnTo>
                <a:lnTo>
                  <a:pt x="550" y="908"/>
                </a:lnTo>
                <a:lnTo>
                  <a:pt x="546" y="927"/>
                </a:lnTo>
                <a:lnTo>
                  <a:pt x="541" y="948"/>
                </a:lnTo>
                <a:lnTo>
                  <a:pt x="535" y="952"/>
                </a:lnTo>
                <a:lnTo>
                  <a:pt x="531" y="958"/>
                </a:lnTo>
                <a:lnTo>
                  <a:pt x="525" y="961"/>
                </a:lnTo>
                <a:lnTo>
                  <a:pt x="522" y="967"/>
                </a:lnTo>
                <a:lnTo>
                  <a:pt x="516" y="977"/>
                </a:lnTo>
                <a:lnTo>
                  <a:pt x="512" y="986"/>
                </a:lnTo>
                <a:lnTo>
                  <a:pt x="506" y="990"/>
                </a:lnTo>
                <a:lnTo>
                  <a:pt x="502" y="996"/>
                </a:lnTo>
                <a:lnTo>
                  <a:pt x="497" y="1000"/>
                </a:lnTo>
                <a:lnTo>
                  <a:pt x="493" y="1006"/>
                </a:lnTo>
                <a:lnTo>
                  <a:pt x="487" y="1009"/>
                </a:lnTo>
                <a:lnTo>
                  <a:pt x="483" y="1015"/>
                </a:lnTo>
                <a:lnTo>
                  <a:pt x="477" y="1025"/>
                </a:lnTo>
                <a:lnTo>
                  <a:pt x="474" y="1034"/>
                </a:lnTo>
                <a:lnTo>
                  <a:pt x="468" y="1040"/>
                </a:lnTo>
                <a:lnTo>
                  <a:pt x="464" y="1044"/>
                </a:lnTo>
                <a:lnTo>
                  <a:pt x="458" y="1048"/>
                </a:lnTo>
                <a:lnTo>
                  <a:pt x="454" y="1054"/>
                </a:lnTo>
                <a:lnTo>
                  <a:pt x="445" y="1059"/>
                </a:lnTo>
                <a:lnTo>
                  <a:pt x="435" y="1063"/>
                </a:lnTo>
                <a:lnTo>
                  <a:pt x="429" y="1063"/>
                </a:lnTo>
                <a:lnTo>
                  <a:pt x="426" y="1067"/>
                </a:lnTo>
                <a:lnTo>
                  <a:pt x="426" y="1073"/>
                </a:lnTo>
                <a:lnTo>
                  <a:pt x="424" y="1082"/>
                </a:lnTo>
                <a:lnTo>
                  <a:pt x="449" y="1082"/>
                </a:lnTo>
                <a:lnTo>
                  <a:pt x="474" y="1082"/>
                </a:lnTo>
                <a:lnTo>
                  <a:pt x="474" y="1086"/>
                </a:lnTo>
                <a:lnTo>
                  <a:pt x="474" y="1088"/>
                </a:lnTo>
                <a:lnTo>
                  <a:pt x="470" y="1090"/>
                </a:lnTo>
                <a:lnTo>
                  <a:pt x="468" y="1092"/>
                </a:lnTo>
                <a:lnTo>
                  <a:pt x="466" y="1096"/>
                </a:lnTo>
                <a:lnTo>
                  <a:pt x="464" y="1098"/>
                </a:lnTo>
                <a:lnTo>
                  <a:pt x="460" y="1100"/>
                </a:lnTo>
                <a:lnTo>
                  <a:pt x="458" y="1102"/>
                </a:lnTo>
                <a:lnTo>
                  <a:pt x="456" y="1103"/>
                </a:lnTo>
                <a:lnTo>
                  <a:pt x="454" y="1107"/>
                </a:lnTo>
                <a:lnTo>
                  <a:pt x="451" y="1109"/>
                </a:lnTo>
                <a:lnTo>
                  <a:pt x="449" y="1111"/>
                </a:lnTo>
                <a:lnTo>
                  <a:pt x="443" y="1107"/>
                </a:lnTo>
                <a:lnTo>
                  <a:pt x="439" y="1102"/>
                </a:lnTo>
              </a:path>
            </a:pathLst>
          </a:custGeom>
          <a:solidFill>
            <a:schemeClr val="accent3"/>
          </a:solidFill>
          <a:ln w="12700">
            <a:solidFill>
              <a:schemeClr val="bg1"/>
            </a:solidFill>
            <a:round/>
            <a:headEnd/>
            <a:tailEnd/>
          </a:ln>
        </p:spPr>
        <p:txBody>
          <a:bodyPr/>
          <a:lstStyle/>
          <a:p>
            <a:endParaRPr lang="en-GB"/>
          </a:p>
        </p:txBody>
      </p:sp>
      <p:sp>
        <p:nvSpPr>
          <p:cNvPr id="21" name="Freeform 11"/>
          <p:cNvSpPr>
            <a:spLocks/>
          </p:cNvSpPr>
          <p:nvPr>
            <p:custDataLst>
              <p:tags r:id="rId11"/>
            </p:custDataLst>
          </p:nvPr>
        </p:nvSpPr>
        <p:spPr bwMode="auto">
          <a:xfrm>
            <a:off x="4275880" y="5197359"/>
            <a:ext cx="287062" cy="483547"/>
          </a:xfrm>
          <a:custGeom>
            <a:avLst/>
            <a:gdLst>
              <a:gd name="T0" fmla="*/ 2147483647 w 211"/>
              <a:gd name="T1" fmla="*/ 2147483647 h 366"/>
              <a:gd name="T2" fmla="*/ 2147483647 w 211"/>
              <a:gd name="T3" fmla="*/ 2147483647 h 366"/>
              <a:gd name="T4" fmla="*/ 2147483647 w 211"/>
              <a:gd name="T5" fmla="*/ 2147483647 h 366"/>
              <a:gd name="T6" fmla="*/ 2147483647 w 211"/>
              <a:gd name="T7" fmla="*/ 2147483647 h 366"/>
              <a:gd name="T8" fmla="*/ 2147483647 w 211"/>
              <a:gd name="T9" fmla="*/ 2147483647 h 366"/>
              <a:gd name="T10" fmla="*/ 2147483647 w 211"/>
              <a:gd name="T11" fmla="*/ 2147483647 h 366"/>
              <a:gd name="T12" fmla="*/ 2147483647 w 211"/>
              <a:gd name="T13" fmla="*/ 2147483647 h 366"/>
              <a:gd name="T14" fmla="*/ 2147483647 w 211"/>
              <a:gd name="T15" fmla="*/ 2147483647 h 366"/>
              <a:gd name="T16" fmla="*/ 2147483647 w 211"/>
              <a:gd name="T17" fmla="*/ 2147483647 h 366"/>
              <a:gd name="T18" fmla="*/ 2147483647 w 211"/>
              <a:gd name="T19" fmla="*/ 2147483647 h 366"/>
              <a:gd name="T20" fmla="*/ 2147483647 w 211"/>
              <a:gd name="T21" fmla="*/ 2147483647 h 366"/>
              <a:gd name="T22" fmla="*/ 2147483647 w 211"/>
              <a:gd name="T23" fmla="*/ 2147483647 h 366"/>
              <a:gd name="T24" fmla="*/ 2147483647 w 211"/>
              <a:gd name="T25" fmla="*/ 2147483647 h 366"/>
              <a:gd name="T26" fmla="*/ 2147483647 w 211"/>
              <a:gd name="T27" fmla="*/ 2147483647 h 366"/>
              <a:gd name="T28" fmla="*/ 2147483647 w 211"/>
              <a:gd name="T29" fmla="*/ 2147483647 h 366"/>
              <a:gd name="T30" fmla="*/ 2147483647 w 211"/>
              <a:gd name="T31" fmla="*/ 2147483647 h 366"/>
              <a:gd name="T32" fmla="*/ 2147483647 w 211"/>
              <a:gd name="T33" fmla="*/ 2147483647 h 366"/>
              <a:gd name="T34" fmla="*/ 2147483647 w 211"/>
              <a:gd name="T35" fmla="*/ 2147483647 h 366"/>
              <a:gd name="T36" fmla="*/ 2147483647 w 211"/>
              <a:gd name="T37" fmla="*/ 2147483647 h 366"/>
              <a:gd name="T38" fmla="*/ 2147483647 w 211"/>
              <a:gd name="T39" fmla="*/ 2147483647 h 366"/>
              <a:gd name="T40" fmla="*/ 2147483647 w 211"/>
              <a:gd name="T41" fmla="*/ 2147483647 h 366"/>
              <a:gd name="T42" fmla="*/ 2147483647 w 211"/>
              <a:gd name="T43" fmla="*/ 2147483647 h 366"/>
              <a:gd name="T44" fmla="*/ 0 w 211"/>
              <a:gd name="T45" fmla="*/ 2147483647 h 366"/>
              <a:gd name="T46" fmla="*/ 2147483647 w 211"/>
              <a:gd name="T47" fmla="*/ 2147483647 h 366"/>
              <a:gd name="T48" fmla="*/ 2147483647 w 211"/>
              <a:gd name="T49" fmla="*/ 2147483647 h 366"/>
              <a:gd name="T50" fmla="*/ 2147483647 w 211"/>
              <a:gd name="T51" fmla="*/ 2147483647 h 366"/>
              <a:gd name="T52" fmla="*/ 2147483647 w 211"/>
              <a:gd name="T53" fmla="*/ 2147483647 h 366"/>
              <a:gd name="T54" fmla="*/ 2147483647 w 211"/>
              <a:gd name="T55" fmla="*/ 2147483647 h 366"/>
              <a:gd name="T56" fmla="*/ 2147483647 w 211"/>
              <a:gd name="T57" fmla="*/ 2147483647 h 366"/>
              <a:gd name="T58" fmla="*/ 2147483647 w 211"/>
              <a:gd name="T59" fmla="*/ 2147483647 h 366"/>
              <a:gd name="T60" fmla="*/ 2147483647 w 211"/>
              <a:gd name="T61" fmla="*/ 0 h 366"/>
              <a:gd name="T62" fmla="*/ 2147483647 w 211"/>
              <a:gd name="T63" fmla="*/ 2147483647 h 366"/>
              <a:gd name="T64" fmla="*/ 2147483647 w 211"/>
              <a:gd name="T65" fmla="*/ 0 h 366"/>
              <a:gd name="T66" fmla="*/ 2147483647 w 211"/>
              <a:gd name="T67" fmla="*/ 2147483647 h 366"/>
              <a:gd name="T68" fmla="*/ 2147483647 w 211"/>
              <a:gd name="T69" fmla="*/ 2147483647 h 366"/>
              <a:gd name="T70" fmla="*/ 2147483647 w 211"/>
              <a:gd name="T71" fmla="*/ 2147483647 h 366"/>
              <a:gd name="T72" fmla="*/ 2147483647 w 211"/>
              <a:gd name="T73" fmla="*/ 2147483647 h 366"/>
              <a:gd name="T74" fmla="*/ 2147483647 w 211"/>
              <a:gd name="T75" fmla="*/ 2147483647 h 366"/>
              <a:gd name="T76" fmla="*/ 2147483647 w 211"/>
              <a:gd name="T77" fmla="*/ 2147483647 h 366"/>
              <a:gd name="T78" fmla="*/ 2147483647 w 211"/>
              <a:gd name="T79" fmla="*/ 2147483647 h 366"/>
              <a:gd name="T80" fmla="*/ 2147483647 w 211"/>
              <a:gd name="T81" fmla="*/ 2147483647 h 366"/>
              <a:gd name="T82" fmla="*/ 2147483647 w 211"/>
              <a:gd name="T83" fmla="*/ 2147483647 h 366"/>
              <a:gd name="T84" fmla="*/ 2147483647 w 211"/>
              <a:gd name="T85" fmla="*/ 2147483647 h 366"/>
              <a:gd name="T86" fmla="*/ 2147483647 w 211"/>
              <a:gd name="T87" fmla="*/ 2147483647 h 366"/>
              <a:gd name="T88" fmla="*/ 2147483647 w 211"/>
              <a:gd name="T89" fmla="*/ 2147483647 h 366"/>
              <a:gd name="T90" fmla="*/ 2147483647 w 211"/>
              <a:gd name="T91" fmla="*/ 2147483647 h 366"/>
              <a:gd name="T92" fmla="*/ 2147483647 w 211"/>
              <a:gd name="T93" fmla="*/ 2147483647 h 366"/>
              <a:gd name="T94" fmla="*/ 2147483647 w 211"/>
              <a:gd name="T95" fmla="*/ 2147483647 h 366"/>
              <a:gd name="T96" fmla="*/ 2147483647 w 211"/>
              <a:gd name="T97" fmla="*/ 2147483647 h 366"/>
              <a:gd name="T98" fmla="*/ 2147483647 w 211"/>
              <a:gd name="T99" fmla="*/ 2147483647 h 366"/>
              <a:gd name="T100" fmla="*/ 2147483647 w 211"/>
              <a:gd name="T101" fmla="*/ 2147483647 h 366"/>
              <a:gd name="T102" fmla="*/ 2147483647 w 211"/>
              <a:gd name="T103" fmla="*/ 2147483647 h 366"/>
              <a:gd name="T104" fmla="*/ 2147483647 w 211"/>
              <a:gd name="T105" fmla="*/ 2147483647 h 366"/>
              <a:gd name="T106" fmla="*/ 2147483647 w 211"/>
              <a:gd name="T107" fmla="*/ 2147483647 h 366"/>
              <a:gd name="T108" fmla="*/ 2147483647 w 211"/>
              <a:gd name="T109" fmla="*/ 2147483647 h 366"/>
              <a:gd name="T110" fmla="*/ 2147483647 w 211"/>
              <a:gd name="T111" fmla="*/ 2147483647 h 366"/>
              <a:gd name="T112" fmla="*/ 2147483647 w 211"/>
              <a:gd name="T113" fmla="*/ 2147483647 h 366"/>
              <a:gd name="T114" fmla="*/ 2147483647 w 211"/>
              <a:gd name="T115" fmla="*/ 2147483647 h 366"/>
              <a:gd name="T116" fmla="*/ 2147483647 w 211"/>
              <a:gd name="T117" fmla="*/ 2147483647 h 3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1"/>
              <a:gd name="T178" fmla="*/ 0 h 366"/>
              <a:gd name="T179" fmla="*/ 211 w 211"/>
              <a:gd name="T180" fmla="*/ 366 h 36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1" h="366">
                <a:moveTo>
                  <a:pt x="169" y="366"/>
                </a:moveTo>
                <a:lnTo>
                  <a:pt x="167" y="364"/>
                </a:lnTo>
                <a:lnTo>
                  <a:pt x="163" y="362"/>
                </a:lnTo>
                <a:lnTo>
                  <a:pt x="161" y="359"/>
                </a:lnTo>
                <a:lnTo>
                  <a:pt x="159" y="357"/>
                </a:lnTo>
                <a:lnTo>
                  <a:pt x="155" y="355"/>
                </a:lnTo>
                <a:lnTo>
                  <a:pt x="153" y="353"/>
                </a:lnTo>
                <a:lnTo>
                  <a:pt x="132" y="345"/>
                </a:lnTo>
                <a:lnTo>
                  <a:pt x="111" y="338"/>
                </a:lnTo>
                <a:lnTo>
                  <a:pt x="107" y="336"/>
                </a:lnTo>
                <a:lnTo>
                  <a:pt x="105" y="334"/>
                </a:lnTo>
                <a:lnTo>
                  <a:pt x="103" y="330"/>
                </a:lnTo>
                <a:lnTo>
                  <a:pt x="100" y="328"/>
                </a:lnTo>
                <a:lnTo>
                  <a:pt x="98" y="326"/>
                </a:lnTo>
                <a:lnTo>
                  <a:pt x="96" y="324"/>
                </a:lnTo>
                <a:lnTo>
                  <a:pt x="98" y="320"/>
                </a:lnTo>
                <a:lnTo>
                  <a:pt x="100" y="318"/>
                </a:lnTo>
                <a:lnTo>
                  <a:pt x="100" y="309"/>
                </a:lnTo>
                <a:lnTo>
                  <a:pt x="100" y="299"/>
                </a:lnTo>
                <a:lnTo>
                  <a:pt x="98" y="297"/>
                </a:lnTo>
                <a:lnTo>
                  <a:pt x="96" y="295"/>
                </a:lnTo>
                <a:lnTo>
                  <a:pt x="96" y="278"/>
                </a:lnTo>
                <a:lnTo>
                  <a:pt x="96" y="261"/>
                </a:lnTo>
                <a:lnTo>
                  <a:pt x="88" y="261"/>
                </a:lnTo>
                <a:lnTo>
                  <a:pt x="82" y="261"/>
                </a:lnTo>
                <a:lnTo>
                  <a:pt x="78" y="259"/>
                </a:lnTo>
                <a:lnTo>
                  <a:pt x="77" y="255"/>
                </a:lnTo>
                <a:lnTo>
                  <a:pt x="75" y="247"/>
                </a:lnTo>
                <a:lnTo>
                  <a:pt x="71" y="242"/>
                </a:lnTo>
                <a:lnTo>
                  <a:pt x="69" y="238"/>
                </a:lnTo>
                <a:lnTo>
                  <a:pt x="67" y="236"/>
                </a:lnTo>
                <a:lnTo>
                  <a:pt x="63" y="234"/>
                </a:lnTo>
                <a:lnTo>
                  <a:pt x="61" y="232"/>
                </a:lnTo>
                <a:lnTo>
                  <a:pt x="59" y="228"/>
                </a:lnTo>
                <a:lnTo>
                  <a:pt x="57" y="226"/>
                </a:lnTo>
                <a:lnTo>
                  <a:pt x="55" y="224"/>
                </a:lnTo>
                <a:lnTo>
                  <a:pt x="52" y="222"/>
                </a:lnTo>
                <a:lnTo>
                  <a:pt x="50" y="219"/>
                </a:lnTo>
                <a:lnTo>
                  <a:pt x="48" y="217"/>
                </a:lnTo>
                <a:lnTo>
                  <a:pt x="46" y="215"/>
                </a:lnTo>
                <a:lnTo>
                  <a:pt x="42" y="213"/>
                </a:lnTo>
                <a:lnTo>
                  <a:pt x="40" y="209"/>
                </a:lnTo>
                <a:lnTo>
                  <a:pt x="38" y="207"/>
                </a:lnTo>
                <a:lnTo>
                  <a:pt x="34" y="205"/>
                </a:lnTo>
                <a:lnTo>
                  <a:pt x="32" y="203"/>
                </a:lnTo>
                <a:lnTo>
                  <a:pt x="30" y="199"/>
                </a:lnTo>
                <a:lnTo>
                  <a:pt x="29" y="197"/>
                </a:lnTo>
                <a:lnTo>
                  <a:pt x="25" y="196"/>
                </a:lnTo>
                <a:lnTo>
                  <a:pt x="23" y="192"/>
                </a:lnTo>
                <a:lnTo>
                  <a:pt x="21" y="190"/>
                </a:lnTo>
                <a:lnTo>
                  <a:pt x="19" y="188"/>
                </a:lnTo>
                <a:lnTo>
                  <a:pt x="15" y="186"/>
                </a:lnTo>
                <a:lnTo>
                  <a:pt x="13" y="182"/>
                </a:lnTo>
                <a:lnTo>
                  <a:pt x="11" y="180"/>
                </a:lnTo>
                <a:lnTo>
                  <a:pt x="9" y="178"/>
                </a:lnTo>
                <a:lnTo>
                  <a:pt x="9" y="163"/>
                </a:lnTo>
                <a:lnTo>
                  <a:pt x="9" y="150"/>
                </a:lnTo>
                <a:lnTo>
                  <a:pt x="11" y="148"/>
                </a:lnTo>
                <a:lnTo>
                  <a:pt x="13" y="144"/>
                </a:lnTo>
                <a:lnTo>
                  <a:pt x="13" y="134"/>
                </a:lnTo>
                <a:lnTo>
                  <a:pt x="13" y="125"/>
                </a:lnTo>
                <a:lnTo>
                  <a:pt x="11" y="123"/>
                </a:lnTo>
                <a:lnTo>
                  <a:pt x="9" y="121"/>
                </a:lnTo>
                <a:lnTo>
                  <a:pt x="6" y="113"/>
                </a:lnTo>
                <a:lnTo>
                  <a:pt x="4" y="105"/>
                </a:lnTo>
                <a:lnTo>
                  <a:pt x="2" y="103"/>
                </a:lnTo>
                <a:lnTo>
                  <a:pt x="0" y="102"/>
                </a:lnTo>
                <a:lnTo>
                  <a:pt x="0" y="86"/>
                </a:lnTo>
                <a:lnTo>
                  <a:pt x="0" y="71"/>
                </a:lnTo>
                <a:lnTo>
                  <a:pt x="0" y="57"/>
                </a:lnTo>
                <a:lnTo>
                  <a:pt x="0" y="42"/>
                </a:lnTo>
                <a:lnTo>
                  <a:pt x="2" y="40"/>
                </a:lnTo>
                <a:lnTo>
                  <a:pt x="4" y="38"/>
                </a:lnTo>
                <a:lnTo>
                  <a:pt x="15" y="36"/>
                </a:lnTo>
                <a:lnTo>
                  <a:pt x="29" y="32"/>
                </a:lnTo>
                <a:lnTo>
                  <a:pt x="30" y="31"/>
                </a:lnTo>
                <a:lnTo>
                  <a:pt x="32" y="29"/>
                </a:lnTo>
                <a:lnTo>
                  <a:pt x="40" y="27"/>
                </a:lnTo>
                <a:lnTo>
                  <a:pt x="48" y="23"/>
                </a:lnTo>
                <a:lnTo>
                  <a:pt x="50" y="21"/>
                </a:lnTo>
                <a:lnTo>
                  <a:pt x="52" y="19"/>
                </a:lnTo>
                <a:lnTo>
                  <a:pt x="55" y="17"/>
                </a:lnTo>
                <a:lnTo>
                  <a:pt x="57" y="13"/>
                </a:lnTo>
                <a:lnTo>
                  <a:pt x="59" y="11"/>
                </a:lnTo>
                <a:lnTo>
                  <a:pt x="61" y="9"/>
                </a:lnTo>
                <a:lnTo>
                  <a:pt x="75" y="6"/>
                </a:lnTo>
                <a:lnTo>
                  <a:pt x="86" y="4"/>
                </a:lnTo>
                <a:lnTo>
                  <a:pt x="88" y="2"/>
                </a:lnTo>
                <a:lnTo>
                  <a:pt x="90" y="0"/>
                </a:lnTo>
                <a:lnTo>
                  <a:pt x="94" y="2"/>
                </a:lnTo>
                <a:lnTo>
                  <a:pt x="96" y="4"/>
                </a:lnTo>
                <a:lnTo>
                  <a:pt x="113" y="2"/>
                </a:lnTo>
                <a:lnTo>
                  <a:pt x="128" y="0"/>
                </a:lnTo>
                <a:lnTo>
                  <a:pt x="132" y="2"/>
                </a:lnTo>
                <a:lnTo>
                  <a:pt x="134" y="4"/>
                </a:lnTo>
                <a:lnTo>
                  <a:pt x="144" y="4"/>
                </a:lnTo>
                <a:lnTo>
                  <a:pt x="153" y="4"/>
                </a:lnTo>
                <a:lnTo>
                  <a:pt x="155" y="2"/>
                </a:lnTo>
                <a:lnTo>
                  <a:pt x="159" y="0"/>
                </a:lnTo>
                <a:lnTo>
                  <a:pt x="172" y="4"/>
                </a:lnTo>
                <a:lnTo>
                  <a:pt x="188" y="9"/>
                </a:lnTo>
                <a:lnTo>
                  <a:pt x="190" y="11"/>
                </a:lnTo>
                <a:lnTo>
                  <a:pt x="194" y="13"/>
                </a:lnTo>
                <a:lnTo>
                  <a:pt x="195" y="31"/>
                </a:lnTo>
                <a:lnTo>
                  <a:pt x="197" y="48"/>
                </a:lnTo>
                <a:lnTo>
                  <a:pt x="199" y="50"/>
                </a:lnTo>
                <a:lnTo>
                  <a:pt x="201" y="54"/>
                </a:lnTo>
                <a:lnTo>
                  <a:pt x="205" y="59"/>
                </a:lnTo>
                <a:lnTo>
                  <a:pt x="207" y="67"/>
                </a:lnTo>
                <a:lnTo>
                  <a:pt x="209" y="69"/>
                </a:lnTo>
                <a:lnTo>
                  <a:pt x="211" y="71"/>
                </a:lnTo>
                <a:lnTo>
                  <a:pt x="209" y="75"/>
                </a:lnTo>
                <a:lnTo>
                  <a:pt x="207" y="77"/>
                </a:lnTo>
                <a:lnTo>
                  <a:pt x="205" y="79"/>
                </a:lnTo>
                <a:lnTo>
                  <a:pt x="201" y="82"/>
                </a:lnTo>
                <a:lnTo>
                  <a:pt x="199" y="84"/>
                </a:lnTo>
                <a:lnTo>
                  <a:pt x="197" y="86"/>
                </a:lnTo>
                <a:lnTo>
                  <a:pt x="195" y="88"/>
                </a:lnTo>
                <a:lnTo>
                  <a:pt x="194" y="92"/>
                </a:lnTo>
                <a:lnTo>
                  <a:pt x="190" y="94"/>
                </a:lnTo>
                <a:lnTo>
                  <a:pt x="188" y="96"/>
                </a:lnTo>
                <a:lnTo>
                  <a:pt x="184" y="98"/>
                </a:lnTo>
                <a:lnTo>
                  <a:pt x="182" y="102"/>
                </a:lnTo>
                <a:lnTo>
                  <a:pt x="180" y="103"/>
                </a:lnTo>
                <a:lnTo>
                  <a:pt x="178" y="105"/>
                </a:lnTo>
                <a:lnTo>
                  <a:pt x="178" y="121"/>
                </a:lnTo>
                <a:lnTo>
                  <a:pt x="178" y="134"/>
                </a:lnTo>
                <a:lnTo>
                  <a:pt x="180" y="138"/>
                </a:lnTo>
                <a:lnTo>
                  <a:pt x="182" y="140"/>
                </a:lnTo>
                <a:lnTo>
                  <a:pt x="182" y="144"/>
                </a:lnTo>
                <a:lnTo>
                  <a:pt x="182" y="150"/>
                </a:lnTo>
                <a:lnTo>
                  <a:pt x="180" y="151"/>
                </a:lnTo>
                <a:lnTo>
                  <a:pt x="178" y="153"/>
                </a:lnTo>
                <a:lnTo>
                  <a:pt x="174" y="178"/>
                </a:lnTo>
                <a:lnTo>
                  <a:pt x="172" y="203"/>
                </a:lnTo>
                <a:lnTo>
                  <a:pt x="180" y="203"/>
                </a:lnTo>
                <a:lnTo>
                  <a:pt x="188" y="203"/>
                </a:lnTo>
                <a:lnTo>
                  <a:pt x="190" y="205"/>
                </a:lnTo>
                <a:lnTo>
                  <a:pt x="194" y="207"/>
                </a:lnTo>
                <a:lnTo>
                  <a:pt x="199" y="209"/>
                </a:lnTo>
                <a:lnTo>
                  <a:pt x="207" y="213"/>
                </a:lnTo>
                <a:lnTo>
                  <a:pt x="209" y="215"/>
                </a:lnTo>
                <a:lnTo>
                  <a:pt x="211" y="217"/>
                </a:lnTo>
                <a:lnTo>
                  <a:pt x="211" y="226"/>
                </a:lnTo>
                <a:lnTo>
                  <a:pt x="211" y="236"/>
                </a:lnTo>
                <a:lnTo>
                  <a:pt x="209" y="238"/>
                </a:lnTo>
                <a:lnTo>
                  <a:pt x="207" y="242"/>
                </a:lnTo>
                <a:lnTo>
                  <a:pt x="205" y="244"/>
                </a:lnTo>
                <a:lnTo>
                  <a:pt x="201" y="245"/>
                </a:lnTo>
                <a:lnTo>
                  <a:pt x="199" y="247"/>
                </a:lnTo>
                <a:lnTo>
                  <a:pt x="197" y="251"/>
                </a:lnTo>
                <a:lnTo>
                  <a:pt x="195" y="253"/>
                </a:lnTo>
                <a:lnTo>
                  <a:pt x="194" y="255"/>
                </a:lnTo>
                <a:lnTo>
                  <a:pt x="190" y="259"/>
                </a:lnTo>
                <a:lnTo>
                  <a:pt x="188" y="261"/>
                </a:lnTo>
                <a:lnTo>
                  <a:pt x="188" y="270"/>
                </a:lnTo>
                <a:lnTo>
                  <a:pt x="188" y="280"/>
                </a:lnTo>
                <a:lnTo>
                  <a:pt x="190" y="282"/>
                </a:lnTo>
                <a:lnTo>
                  <a:pt x="194" y="286"/>
                </a:lnTo>
                <a:lnTo>
                  <a:pt x="195" y="301"/>
                </a:lnTo>
                <a:lnTo>
                  <a:pt x="197" y="318"/>
                </a:lnTo>
                <a:lnTo>
                  <a:pt x="199" y="320"/>
                </a:lnTo>
                <a:lnTo>
                  <a:pt x="201" y="324"/>
                </a:lnTo>
                <a:lnTo>
                  <a:pt x="201" y="328"/>
                </a:lnTo>
                <a:lnTo>
                  <a:pt x="201" y="334"/>
                </a:lnTo>
                <a:lnTo>
                  <a:pt x="199" y="336"/>
                </a:lnTo>
                <a:lnTo>
                  <a:pt x="197" y="338"/>
                </a:lnTo>
                <a:lnTo>
                  <a:pt x="195" y="345"/>
                </a:lnTo>
                <a:lnTo>
                  <a:pt x="194" y="353"/>
                </a:lnTo>
                <a:lnTo>
                  <a:pt x="190" y="355"/>
                </a:lnTo>
                <a:lnTo>
                  <a:pt x="188" y="357"/>
                </a:lnTo>
                <a:lnTo>
                  <a:pt x="184" y="359"/>
                </a:lnTo>
                <a:lnTo>
                  <a:pt x="182" y="362"/>
                </a:lnTo>
                <a:lnTo>
                  <a:pt x="180" y="364"/>
                </a:lnTo>
                <a:lnTo>
                  <a:pt x="178" y="366"/>
                </a:lnTo>
                <a:lnTo>
                  <a:pt x="172" y="366"/>
                </a:lnTo>
                <a:lnTo>
                  <a:pt x="169" y="366"/>
                </a:lnTo>
              </a:path>
            </a:pathLst>
          </a:custGeom>
          <a:solidFill>
            <a:schemeClr val="accent3"/>
          </a:solidFill>
          <a:ln w="12700">
            <a:solidFill>
              <a:schemeClr val="bg1"/>
            </a:solidFill>
            <a:round/>
            <a:headEnd/>
            <a:tailEnd/>
          </a:ln>
        </p:spPr>
        <p:txBody>
          <a:bodyPr/>
          <a:lstStyle/>
          <a:p>
            <a:endParaRPr lang="en-GB"/>
          </a:p>
        </p:txBody>
      </p:sp>
      <p:sp>
        <p:nvSpPr>
          <p:cNvPr id="22" name="Freeform 293"/>
          <p:cNvSpPr>
            <a:spLocks/>
          </p:cNvSpPr>
          <p:nvPr>
            <p:custDataLst>
              <p:tags r:id="rId12"/>
            </p:custDataLst>
          </p:nvPr>
        </p:nvSpPr>
        <p:spPr bwMode="auto">
          <a:xfrm>
            <a:off x="3802088" y="5437042"/>
            <a:ext cx="606175" cy="372067"/>
          </a:xfrm>
          <a:custGeom>
            <a:avLst/>
            <a:gdLst>
              <a:gd name="T0" fmla="*/ 2147483647 w 445"/>
              <a:gd name="T1" fmla="*/ 2147483647 h 282"/>
              <a:gd name="T2" fmla="*/ 2147483647 w 445"/>
              <a:gd name="T3" fmla="*/ 2147483647 h 282"/>
              <a:gd name="T4" fmla="*/ 2147483647 w 445"/>
              <a:gd name="T5" fmla="*/ 2147483647 h 282"/>
              <a:gd name="T6" fmla="*/ 2147483647 w 445"/>
              <a:gd name="T7" fmla="*/ 2147483647 h 282"/>
              <a:gd name="T8" fmla="*/ 2147483647 w 445"/>
              <a:gd name="T9" fmla="*/ 2147483647 h 282"/>
              <a:gd name="T10" fmla="*/ 2147483647 w 445"/>
              <a:gd name="T11" fmla="*/ 2147483647 h 282"/>
              <a:gd name="T12" fmla="*/ 0 w 445"/>
              <a:gd name="T13" fmla="*/ 2147483647 h 282"/>
              <a:gd name="T14" fmla="*/ 2147483647 w 445"/>
              <a:gd name="T15" fmla="*/ 2147483647 h 282"/>
              <a:gd name="T16" fmla="*/ 2147483647 w 445"/>
              <a:gd name="T17" fmla="*/ 2147483647 h 282"/>
              <a:gd name="T18" fmla="*/ 2147483647 w 445"/>
              <a:gd name="T19" fmla="*/ 2147483647 h 282"/>
              <a:gd name="T20" fmla="*/ 2147483647 w 445"/>
              <a:gd name="T21" fmla="*/ 2147483647 h 282"/>
              <a:gd name="T22" fmla="*/ 2147483647 w 445"/>
              <a:gd name="T23" fmla="*/ 2147483647 h 282"/>
              <a:gd name="T24" fmla="*/ 2147483647 w 445"/>
              <a:gd name="T25" fmla="*/ 2147483647 h 282"/>
              <a:gd name="T26" fmla="*/ 2147483647 w 445"/>
              <a:gd name="T27" fmla="*/ 2147483647 h 282"/>
              <a:gd name="T28" fmla="*/ 2147483647 w 445"/>
              <a:gd name="T29" fmla="*/ 0 h 282"/>
              <a:gd name="T30" fmla="*/ 2147483647 w 445"/>
              <a:gd name="T31" fmla="*/ 2147483647 h 282"/>
              <a:gd name="T32" fmla="*/ 2147483647 w 445"/>
              <a:gd name="T33" fmla="*/ 2147483647 h 282"/>
              <a:gd name="T34" fmla="*/ 2147483647 w 445"/>
              <a:gd name="T35" fmla="*/ 2147483647 h 282"/>
              <a:gd name="T36" fmla="*/ 2147483647 w 445"/>
              <a:gd name="T37" fmla="*/ 2147483647 h 282"/>
              <a:gd name="T38" fmla="*/ 2147483647 w 445"/>
              <a:gd name="T39" fmla="*/ 2147483647 h 282"/>
              <a:gd name="T40" fmla="*/ 2147483647 w 445"/>
              <a:gd name="T41" fmla="*/ 2147483647 h 282"/>
              <a:gd name="T42" fmla="*/ 2147483647 w 445"/>
              <a:gd name="T43" fmla="*/ 2147483647 h 282"/>
              <a:gd name="T44" fmla="*/ 2147483647 w 445"/>
              <a:gd name="T45" fmla="*/ 2147483647 h 282"/>
              <a:gd name="T46" fmla="*/ 2147483647 w 445"/>
              <a:gd name="T47" fmla="*/ 2147483647 h 282"/>
              <a:gd name="T48" fmla="*/ 2147483647 w 445"/>
              <a:gd name="T49" fmla="*/ 2147483647 h 282"/>
              <a:gd name="T50" fmla="*/ 2147483647 w 445"/>
              <a:gd name="T51" fmla="*/ 2147483647 h 282"/>
              <a:gd name="T52" fmla="*/ 2147483647 w 445"/>
              <a:gd name="T53" fmla="*/ 2147483647 h 282"/>
              <a:gd name="T54" fmla="*/ 2147483647 w 445"/>
              <a:gd name="T55" fmla="*/ 2147483647 h 282"/>
              <a:gd name="T56" fmla="*/ 2147483647 w 445"/>
              <a:gd name="T57" fmla="*/ 0 h 282"/>
              <a:gd name="T58" fmla="*/ 2147483647 w 445"/>
              <a:gd name="T59" fmla="*/ 2147483647 h 282"/>
              <a:gd name="T60" fmla="*/ 2147483647 w 445"/>
              <a:gd name="T61" fmla="*/ 2147483647 h 282"/>
              <a:gd name="T62" fmla="*/ 2147483647 w 445"/>
              <a:gd name="T63" fmla="*/ 2147483647 h 282"/>
              <a:gd name="T64" fmla="*/ 2147483647 w 445"/>
              <a:gd name="T65" fmla="*/ 2147483647 h 282"/>
              <a:gd name="T66" fmla="*/ 2147483647 w 445"/>
              <a:gd name="T67" fmla="*/ 2147483647 h 282"/>
              <a:gd name="T68" fmla="*/ 2147483647 w 445"/>
              <a:gd name="T69" fmla="*/ 2147483647 h 282"/>
              <a:gd name="T70" fmla="*/ 2147483647 w 445"/>
              <a:gd name="T71" fmla="*/ 2147483647 h 282"/>
              <a:gd name="T72" fmla="*/ 2147483647 w 445"/>
              <a:gd name="T73" fmla="*/ 2147483647 h 282"/>
              <a:gd name="T74" fmla="*/ 2147483647 w 445"/>
              <a:gd name="T75" fmla="*/ 2147483647 h 282"/>
              <a:gd name="T76" fmla="*/ 2147483647 w 445"/>
              <a:gd name="T77" fmla="*/ 2147483647 h 282"/>
              <a:gd name="T78" fmla="*/ 2147483647 w 445"/>
              <a:gd name="T79" fmla="*/ 2147483647 h 282"/>
              <a:gd name="T80" fmla="*/ 2147483647 w 445"/>
              <a:gd name="T81" fmla="*/ 2147483647 h 282"/>
              <a:gd name="T82" fmla="*/ 2147483647 w 445"/>
              <a:gd name="T83" fmla="*/ 2147483647 h 282"/>
              <a:gd name="T84" fmla="*/ 2147483647 w 445"/>
              <a:gd name="T85" fmla="*/ 2147483647 h 282"/>
              <a:gd name="T86" fmla="*/ 2147483647 w 445"/>
              <a:gd name="T87" fmla="*/ 2147483647 h 282"/>
              <a:gd name="T88" fmla="*/ 2147483647 w 445"/>
              <a:gd name="T89" fmla="*/ 2147483647 h 282"/>
              <a:gd name="T90" fmla="*/ 2147483647 w 445"/>
              <a:gd name="T91" fmla="*/ 2147483647 h 282"/>
              <a:gd name="T92" fmla="*/ 2147483647 w 445"/>
              <a:gd name="T93" fmla="*/ 2147483647 h 282"/>
              <a:gd name="T94" fmla="*/ 2147483647 w 445"/>
              <a:gd name="T95" fmla="*/ 2147483647 h 282"/>
              <a:gd name="T96" fmla="*/ 2147483647 w 445"/>
              <a:gd name="T97" fmla="*/ 2147483647 h 282"/>
              <a:gd name="T98" fmla="*/ 2147483647 w 445"/>
              <a:gd name="T99" fmla="*/ 2147483647 h 282"/>
              <a:gd name="T100" fmla="*/ 2147483647 w 445"/>
              <a:gd name="T101" fmla="*/ 2147483647 h 282"/>
              <a:gd name="T102" fmla="*/ 2147483647 w 445"/>
              <a:gd name="T103" fmla="*/ 2147483647 h 282"/>
              <a:gd name="T104" fmla="*/ 2147483647 w 445"/>
              <a:gd name="T105" fmla="*/ 2147483647 h 282"/>
              <a:gd name="T106" fmla="*/ 2147483647 w 445"/>
              <a:gd name="T107" fmla="*/ 2147483647 h 282"/>
              <a:gd name="T108" fmla="*/ 2147483647 w 445"/>
              <a:gd name="T109" fmla="*/ 2147483647 h 282"/>
              <a:gd name="T110" fmla="*/ 2147483647 w 445"/>
              <a:gd name="T111" fmla="*/ 2147483647 h 282"/>
              <a:gd name="T112" fmla="*/ 2147483647 w 445"/>
              <a:gd name="T113" fmla="*/ 2147483647 h 2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45"/>
              <a:gd name="T172" fmla="*/ 0 h 282"/>
              <a:gd name="T173" fmla="*/ 445 w 445"/>
              <a:gd name="T174" fmla="*/ 282 h 2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45" h="282">
                <a:moveTo>
                  <a:pt x="145" y="263"/>
                </a:moveTo>
                <a:lnTo>
                  <a:pt x="140" y="263"/>
                </a:lnTo>
                <a:lnTo>
                  <a:pt x="136" y="263"/>
                </a:lnTo>
                <a:lnTo>
                  <a:pt x="136" y="257"/>
                </a:lnTo>
                <a:lnTo>
                  <a:pt x="136" y="253"/>
                </a:lnTo>
                <a:lnTo>
                  <a:pt x="136" y="248"/>
                </a:lnTo>
                <a:lnTo>
                  <a:pt x="136" y="242"/>
                </a:lnTo>
                <a:lnTo>
                  <a:pt x="136" y="234"/>
                </a:lnTo>
                <a:lnTo>
                  <a:pt x="136" y="225"/>
                </a:lnTo>
                <a:lnTo>
                  <a:pt x="115" y="221"/>
                </a:lnTo>
                <a:lnTo>
                  <a:pt x="99" y="221"/>
                </a:lnTo>
                <a:lnTo>
                  <a:pt x="92" y="223"/>
                </a:lnTo>
                <a:lnTo>
                  <a:pt x="84" y="225"/>
                </a:lnTo>
                <a:lnTo>
                  <a:pt x="76" y="228"/>
                </a:lnTo>
                <a:lnTo>
                  <a:pt x="67" y="232"/>
                </a:lnTo>
                <a:lnTo>
                  <a:pt x="57" y="228"/>
                </a:lnTo>
                <a:lnTo>
                  <a:pt x="48" y="225"/>
                </a:lnTo>
                <a:lnTo>
                  <a:pt x="36" y="179"/>
                </a:lnTo>
                <a:lnTo>
                  <a:pt x="25" y="133"/>
                </a:lnTo>
                <a:lnTo>
                  <a:pt x="11" y="86"/>
                </a:lnTo>
                <a:lnTo>
                  <a:pt x="0" y="40"/>
                </a:lnTo>
                <a:lnTo>
                  <a:pt x="7" y="40"/>
                </a:lnTo>
                <a:lnTo>
                  <a:pt x="15" y="40"/>
                </a:lnTo>
                <a:lnTo>
                  <a:pt x="17" y="42"/>
                </a:lnTo>
                <a:lnTo>
                  <a:pt x="19" y="44"/>
                </a:lnTo>
                <a:lnTo>
                  <a:pt x="28" y="44"/>
                </a:lnTo>
                <a:lnTo>
                  <a:pt x="38" y="44"/>
                </a:lnTo>
                <a:lnTo>
                  <a:pt x="40" y="42"/>
                </a:lnTo>
                <a:lnTo>
                  <a:pt x="44" y="40"/>
                </a:lnTo>
                <a:lnTo>
                  <a:pt x="46" y="37"/>
                </a:lnTo>
                <a:lnTo>
                  <a:pt x="48" y="35"/>
                </a:lnTo>
                <a:lnTo>
                  <a:pt x="51" y="33"/>
                </a:lnTo>
                <a:lnTo>
                  <a:pt x="53" y="31"/>
                </a:lnTo>
                <a:lnTo>
                  <a:pt x="80" y="27"/>
                </a:lnTo>
                <a:lnTo>
                  <a:pt x="107" y="25"/>
                </a:lnTo>
                <a:lnTo>
                  <a:pt x="109" y="23"/>
                </a:lnTo>
                <a:lnTo>
                  <a:pt x="111" y="21"/>
                </a:lnTo>
                <a:lnTo>
                  <a:pt x="119" y="17"/>
                </a:lnTo>
                <a:lnTo>
                  <a:pt x="126" y="15"/>
                </a:lnTo>
                <a:lnTo>
                  <a:pt x="128" y="14"/>
                </a:lnTo>
                <a:lnTo>
                  <a:pt x="130" y="10"/>
                </a:lnTo>
                <a:lnTo>
                  <a:pt x="138" y="8"/>
                </a:lnTo>
                <a:lnTo>
                  <a:pt x="145" y="6"/>
                </a:lnTo>
                <a:lnTo>
                  <a:pt x="147" y="4"/>
                </a:lnTo>
                <a:lnTo>
                  <a:pt x="149" y="0"/>
                </a:lnTo>
                <a:lnTo>
                  <a:pt x="155" y="0"/>
                </a:lnTo>
                <a:lnTo>
                  <a:pt x="159" y="0"/>
                </a:lnTo>
                <a:lnTo>
                  <a:pt x="163" y="4"/>
                </a:lnTo>
                <a:lnTo>
                  <a:pt x="165" y="6"/>
                </a:lnTo>
                <a:lnTo>
                  <a:pt x="172" y="8"/>
                </a:lnTo>
                <a:lnTo>
                  <a:pt x="178" y="10"/>
                </a:lnTo>
                <a:lnTo>
                  <a:pt x="180" y="14"/>
                </a:lnTo>
                <a:lnTo>
                  <a:pt x="184" y="15"/>
                </a:lnTo>
                <a:lnTo>
                  <a:pt x="186" y="17"/>
                </a:lnTo>
                <a:lnTo>
                  <a:pt x="188" y="21"/>
                </a:lnTo>
                <a:lnTo>
                  <a:pt x="191" y="23"/>
                </a:lnTo>
                <a:lnTo>
                  <a:pt x="193" y="25"/>
                </a:lnTo>
                <a:lnTo>
                  <a:pt x="195" y="37"/>
                </a:lnTo>
                <a:lnTo>
                  <a:pt x="199" y="50"/>
                </a:lnTo>
                <a:lnTo>
                  <a:pt x="201" y="52"/>
                </a:lnTo>
                <a:lnTo>
                  <a:pt x="203" y="54"/>
                </a:lnTo>
                <a:lnTo>
                  <a:pt x="205" y="56"/>
                </a:lnTo>
                <a:lnTo>
                  <a:pt x="207" y="60"/>
                </a:lnTo>
                <a:lnTo>
                  <a:pt x="211" y="62"/>
                </a:lnTo>
                <a:lnTo>
                  <a:pt x="213" y="63"/>
                </a:lnTo>
                <a:lnTo>
                  <a:pt x="222" y="63"/>
                </a:lnTo>
                <a:lnTo>
                  <a:pt x="232" y="63"/>
                </a:lnTo>
                <a:lnTo>
                  <a:pt x="234" y="62"/>
                </a:lnTo>
                <a:lnTo>
                  <a:pt x="238" y="60"/>
                </a:lnTo>
                <a:lnTo>
                  <a:pt x="239" y="56"/>
                </a:lnTo>
                <a:lnTo>
                  <a:pt x="241" y="54"/>
                </a:lnTo>
                <a:lnTo>
                  <a:pt x="243" y="52"/>
                </a:lnTo>
                <a:lnTo>
                  <a:pt x="247" y="50"/>
                </a:lnTo>
                <a:lnTo>
                  <a:pt x="249" y="46"/>
                </a:lnTo>
                <a:lnTo>
                  <a:pt x="251" y="44"/>
                </a:lnTo>
                <a:lnTo>
                  <a:pt x="253" y="42"/>
                </a:lnTo>
                <a:lnTo>
                  <a:pt x="257" y="40"/>
                </a:lnTo>
                <a:lnTo>
                  <a:pt x="272" y="33"/>
                </a:lnTo>
                <a:lnTo>
                  <a:pt x="289" y="25"/>
                </a:lnTo>
                <a:lnTo>
                  <a:pt x="291" y="23"/>
                </a:lnTo>
                <a:lnTo>
                  <a:pt x="295" y="21"/>
                </a:lnTo>
                <a:lnTo>
                  <a:pt x="316" y="21"/>
                </a:lnTo>
                <a:lnTo>
                  <a:pt x="339" y="21"/>
                </a:lnTo>
                <a:lnTo>
                  <a:pt x="339" y="14"/>
                </a:lnTo>
                <a:lnTo>
                  <a:pt x="339" y="6"/>
                </a:lnTo>
                <a:lnTo>
                  <a:pt x="341" y="4"/>
                </a:lnTo>
                <a:lnTo>
                  <a:pt x="343" y="0"/>
                </a:lnTo>
                <a:lnTo>
                  <a:pt x="347" y="0"/>
                </a:lnTo>
                <a:lnTo>
                  <a:pt x="353" y="0"/>
                </a:lnTo>
                <a:lnTo>
                  <a:pt x="355" y="4"/>
                </a:lnTo>
                <a:lnTo>
                  <a:pt x="358" y="6"/>
                </a:lnTo>
                <a:lnTo>
                  <a:pt x="360" y="8"/>
                </a:lnTo>
                <a:lnTo>
                  <a:pt x="362" y="10"/>
                </a:lnTo>
                <a:lnTo>
                  <a:pt x="364" y="14"/>
                </a:lnTo>
                <a:lnTo>
                  <a:pt x="368" y="15"/>
                </a:lnTo>
                <a:lnTo>
                  <a:pt x="370" y="17"/>
                </a:lnTo>
                <a:lnTo>
                  <a:pt x="372" y="21"/>
                </a:lnTo>
                <a:lnTo>
                  <a:pt x="374" y="23"/>
                </a:lnTo>
                <a:lnTo>
                  <a:pt x="378" y="25"/>
                </a:lnTo>
                <a:lnTo>
                  <a:pt x="379" y="27"/>
                </a:lnTo>
                <a:lnTo>
                  <a:pt x="381" y="31"/>
                </a:lnTo>
                <a:lnTo>
                  <a:pt x="383" y="33"/>
                </a:lnTo>
                <a:lnTo>
                  <a:pt x="387" y="35"/>
                </a:lnTo>
                <a:lnTo>
                  <a:pt x="389" y="37"/>
                </a:lnTo>
                <a:lnTo>
                  <a:pt x="391" y="40"/>
                </a:lnTo>
                <a:lnTo>
                  <a:pt x="395" y="42"/>
                </a:lnTo>
                <a:lnTo>
                  <a:pt x="397" y="44"/>
                </a:lnTo>
                <a:lnTo>
                  <a:pt x="399" y="46"/>
                </a:lnTo>
                <a:lnTo>
                  <a:pt x="401" y="50"/>
                </a:lnTo>
                <a:lnTo>
                  <a:pt x="404" y="52"/>
                </a:lnTo>
                <a:lnTo>
                  <a:pt x="406" y="54"/>
                </a:lnTo>
                <a:lnTo>
                  <a:pt x="408" y="56"/>
                </a:lnTo>
                <a:lnTo>
                  <a:pt x="410" y="60"/>
                </a:lnTo>
                <a:lnTo>
                  <a:pt x="412" y="62"/>
                </a:lnTo>
                <a:lnTo>
                  <a:pt x="416" y="63"/>
                </a:lnTo>
                <a:lnTo>
                  <a:pt x="418" y="71"/>
                </a:lnTo>
                <a:lnTo>
                  <a:pt x="420" y="79"/>
                </a:lnTo>
                <a:lnTo>
                  <a:pt x="424" y="81"/>
                </a:lnTo>
                <a:lnTo>
                  <a:pt x="426" y="83"/>
                </a:lnTo>
                <a:lnTo>
                  <a:pt x="433" y="100"/>
                </a:lnTo>
                <a:lnTo>
                  <a:pt x="439" y="117"/>
                </a:lnTo>
                <a:lnTo>
                  <a:pt x="443" y="119"/>
                </a:lnTo>
                <a:lnTo>
                  <a:pt x="445" y="121"/>
                </a:lnTo>
                <a:lnTo>
                  <a:pt x="445" y="127"/>
                </a:lnTo>
                <a:lnTo>
                  <a:pt x="445" y="133"/>
                </a:lnTo>
                <a:lnTo>
                  <a:pt x="443" y="134"/>
                </a:lnTo>
                <a:lnTo>
                  <a:pt x="439" y="136"/>
                </a:lnTo>
                <a:lnTo>
                  <a:pt x="439" y="142"/>
                </a:lnTo>
                <a:lnTo>
                  <a:pt x="439" y="146"/>
                </a:lnTo>
                <a:lnTo>
                  <a:pt x="443" y="148"/>
                </a:lnTo>
                <a:lnTo>
                  <a:pt x="445" y="152"/>
                </a:lnTo>
                <a:lnTo>
                  <a:pt x="443" y="154"/>
                </a:lnTo>
                <a:lnTo>
                  <a:pt x="439" y="156"/>
                </a:lnTo>
                <a:lnTo>
                  <a:pt x="433" y="157"/>
                </a:lnTo>
                <a:lnTo>
                  <a:pt x="426" y="161"/>
                </a:lnTo>
                <a:lnTo>
                  <a:pt x="424" y="163"/>
                </a:lnTo>
                <a:lnTo>
                  <a:pt x="420" y="165"/>
                </a:lnTo>
                <a:lnTo>
                  <a:pt x="420" y="171"/>
                </a:lnTo>
                <a:lnTo>
                  <a:pt x="420" y="175"/>
                </a:lnTo>
                <a:lnTo>
                  <a:pt x="424" y="177"/>
                </a:lnTo>
                <a:lnTo>
                  <a:pt x="426" y="180"/>
                </a:lnTo>
                <a:lnTo>
                  <a:pt x="426" y="200"/>
                </a:lnTo>
                <a:lnTo>
                  <a:pt x="426" y="219"/>
                </a:lnTo>
                <a:lnTo>
                  <a:pt x="424" y="221"/>
                </a:lnTo>
                <a:lnTo>
                  <a:pt x="420" y="225"/>
                </a:lnTo>
                <a:lnTo>
                  <a:pt x="395" y="227"/>
                </a:lnTo>
                <a:lnTo>
                  <a:pt x="368" y="228"/>
                </a:lnTo>
                <a:lnTo>
                  <a:pt x="364" y="230"/>
                </a:lnTo>
                <a:lnTo>
                  <a:pt x="362" y="232"/>
                </a:lnTo>
                <a:lnTo>
                  <a:pt x="360" y="236"/>
                </a:lnTo>
                <a:lnTo>
                  <a:pt x="358" y="238"/>
                </a:lnTo>
                <a:lnTo>
                  <a:pt x="355" y="240"/>
                </a:lnTo>
                <a:lnTo>
                  <a:pt x="353" y="242"/>
                </a:lnTo>
                <a:lnTo>
                  <a:pt x="341" y="246"/>
                </a:lnTo>
                <a:lnTo>
                  <a:pt x="328" y="248"/>
                </a:lnTo>
                <a:lnTo>
                  <a:pt x="326" y="250"/>
                </a:lnTo>
                <a:lnTo>
                  <a:pt x="324" y="253"/>
                </a:lnTo>
                <a:lnTo>
                  <a:pt x="322" y="255"/>
                </a:lnTo>
                <a:lnTo>
                  <a:pt x="318" y="257"/>
                </a:lnTo>
                <a:lnTo>
                  <a:pt x="316" y="259"/>
                </a:lnTo>
                <a:lnTo>
                  <a:pt x="314" y="263"/>
                </a:lnTo>
                <a:lnTo>
                  <a:pt x="307" y="265"/>
                </a:lnTo>
                <a:lnTo>
                  <a:pt x="299" y="267"/>
                </a:lnTo>
                <a:lnTo>
                  <a:pt x="297" y="269"/>
                </a:lnTo>
                <a:lnTo>
                  <a:pt x="295" y="273"/>
                </a:lnTo>
                <a:lnTo>
                  <a:pt x="291" y="276"/>
                </a:lnTo>
                <a:lnTo>
                  <a:pt x="289" y="282"/>
                </a:lnTo>
                <a:lnTo>
                  <a:pt x="274" y="271"/>
                </a:lnTo>
                <a:lnTo>
                  <a:pt x="257" y="265"/>
                </a:lnTo>
                <a:lnTo>
                  <a:pt x="239" y="261"/>
                </a:lnTo>
                <a:lnTo>
                  <a:pt x="220" y="259"/>
                </a:lnTo>
                <a:lnTo>
                  <a:pt x="182" y="259"/>
                </a:lnTo>
                <a:lnTo>
                  <a:pt x="145" y="263"/>
                </a:lnTo>
              </a:path>
            </a:pathLst>
          </a:custGeom>
          <a:solidFill>
            <a:schemeClr val="accent3"/>
          </a:solidFill>
          <a:ln w="12700">
            <a:solidFill>
              <a:schemeClr val="bg1"/>
            </a:solidFill>
            <a:round/>
            <a:headEnd/>
            <a:tailEnd/>
          </a:ln>
        </p:spPr>
        <p:txBody>
          <a:bodyPr/>
          <a:lstStyle/>
          <a:p>
            <a:endParaRPr lang="en-GB"/>
          </a:p>
        </p:txBody>
      </p:sp>
      <p:sp>
        <p:nvSpPr>
          <p:cNvPr id="23" name="Freeform 294"/>
          <p:cNvSpPr>
            <a:spLocks/>
          </p:cNvSpPr>
          <p:nvPr>
            <p:custDataLst>
              <p:tags r:id="rId13"/>
            </p:custDataLst>
          </p:nvPr>
        </p:nvSpPr>
        <p:spPr bwMode="auto">
          <a:xfrm>
            <a:off x="3671098" y="5070550"/>
            <a:ext cx="617323" cy="447315"/>
          </a:xfrm>
          <a:custGeom>
            <a:avLst/>
            <a:gdLst>
              <a:gd name="T0" fmla="*/ 2147483647 w 454"/>
              <a:gd name="T1" fmla="*/ 2147483647 h 340"/>
              <a:gd name="T2" fmla="*/ 2147483647 w 454"/>
              <a:gd name="T3" fmla="*/ 2147483647 h 340"/>
              <a:gd name="T4" fmla="*/ 2147483647 w 454"/>
              <a:gd name="T5" fmla="*/ 2147483647 h 340"/>
              <a:gd name="T6" fmla="*/ 2147483647 w 454"/>
              <a:gd name="T7" fmla="*/ 2147483647 h 340"/>
              <a:gd name="T8" fmla="*/ 2147483647 w 454"/>
              <a:gd name="T9" fmla="*/ 2147483647 h 340"/>
              <a:gd name="T10" fmla="*/ 2147483647 w 454"/>
              <a:gd name="T11" fmla="*/ 2147483647 h 340"/>
              <a:gd name="T12" fmla="*/ 2147483647 w 454"/>
              <a:gd name="T13" fmla="*/ 2147483647 h 340"/>
              <a:gd name="T14" fmla="*/ 2147483647 w 454"/>
              <a:gd name="T15" fmla="*/ 2147483647 h 340"/>
              <a:gd name="T16" fmla="*/ 2147483647 w 454"/>
              <a:gd name="T17" fmla="*/ 2147483647 h 340"/>
              <a:gd name="T18" fmla="*/ 2147483647 w 454"/>
              <a:gd name="T19" fmla="*/ 2147483647 h 340"/>
              <a:gd name="T20" fmla="*/ 2147483647 w 454"/>
              <a:gd name="T21" fmla="*/ 2147483647 h 340"/>
              <a:gd name="T22" fmla="*/ 2147483647 w 454"/>
              <a:gd name="T23" fmla="*/ 2147483647 h 340"/>
              <a:gd name="T24" fmla="*/ 2147483647 w 454"/>
              <a:gd name="T25" fmla="*/ 2147483647 h 340"/>
              <a:gd name="T26" fmla="*/ 2147483647 w 454"/>
              <a:gd name="T27" fmla="*/ 2147483647 h 340"/>
              <a:gd name="T28" fmla="*/ 2147483647 w 454"/>
              <a:gd name="T29" fmla="*/ 2147483647 h 340"/>
              <a:gd name="T30" fmla="*/ 2147483647 w 454"/>
              <a:gd name="T31" fmla="*/ 2147483647 h 340"/>
              <a:gd name="T32" fmla="*/ 2147483647 w 454"/>
              <a:gd name="T33" fmla="*/ 2147483647 h 340"/>
              <a:gd name="T34" fmla="*/ 2147483647 w 454"/>
              <a:gd name="T35" fmla="*/ 2147483647 h 340"/>
              <a:gd name="T36" fmla="*/ 2147483647 w 454"/>
              <a:gd name="T37" fmla="*/ 2147483647 h 340"/>
              <a:gd name="T38" fmla="*/ 2147483647 w 454"/>
              <a:gd name="T39" fmla="*/ 2147483647 h 340"/>
              <a:gd name="T40" fmla="*/ 2147483647 w 454"/>
              <a:gd name="T41" fmla="*/ 2147483647 h 340"/>
              <a:gd name="T42" fmla="*/ 2147483647 w 454"/>
              <a:gd name="T43" fmla="*/ 2147483647 h 340"/>
              <a:gd name="T44" fmla="*/ 0 w 454"/>
              <a:gd name="T45" fmla="*/ 2147483647 h 340"/>
              <a:gd name="T46" fmla="*/ 2147483647 w 454"/>
              <a:gd name="T47" fmla="*/ 2147483647 h 340"/>
              <a:gd name="T48" fmla="*/ 2147483647 w 454"/>
              <a:gd name="T49" fmla="*/ 2147483647 h 340"/>
              <a:gd name="T50" fmla="*/ 2147483647 w 454"/>
              <a:gd name="T51" fmla="*/ 2147483647 h 340"/>
              <a:gd name="T52" fmla="*/ 2147483647 w 454"/>
              <a:gd name="T53" fmla="*/ 2147483647 h 340"/>
              <a:gd name="T54" fmla="*/ 2147483647 w 454"/>
              <a:gd name="T55" fmla="*/ 2147483647 h 340"/>
              <a:gd name="T56" fmla="*/ 2147483647 w 454"/>
              <a:gd name="T57" fmla="*/ 2147483647 h 340"/>
              <a:gd name="T58" fmla="*/ 2147483647 w 454"/>
              <a:gd name="T59" fmla="*/ 2147483647 h 340"/>
              <a:gd name="T60" fmla="*/ 2147483647 w 454"/>
              <a:gd name="T61" fmla="*/ 2147483647 h 340"/>
              <a:gd name="T62" fmla="*/ 2147483647 w 454"/>
              <a:gd name="T63" fmla="*/ 2147483647 h 340"/>
              <a:gd name="T64" fmla="*/ 2147483647 w 454"/>
              <a:gd name="T65" fmla="*/ 2147483647 h 340"/>
              <a:gd name="T66" fmla="*/ 2147483647 w 454"/>
              <a:gd name="T67" fmla="*/ 2147483647 h 340"/>
              <a:gd name="T68" fmla="*/ 2147483647 w 454"/>
              <a:gd name="T69" fmla="*/ 2147483647 h 340"/>
              <a:gd name="T70" fmla="*/ 2147483647 w 454"/>
              <a:gd name="T71" fmla="*/ 2147483647 h 340"/>
              <a:gd name="T72" fmla="*/ 2147483647 w 454"/>
              <a:gd name="T73" fmla="*/ 2147483647 h 340"/>
              <a:gd name="T74" fmla="*/ 2147483647 w 454"/>
              <a:gd name="T75" fmla="*/ 2147483647 h 340"/>
              <a:gd name="T76" fmla="*/ 2147483647 w 454"/>
              <a:gd name="T77" fmla="*/ 2147483647 h 340"/>
              <a:gd name="T78" fmla="*/ 2147483647 w 454"/>
              <a:gd name="T79" fmla="*/ 2147483647 h 340"/>
              <a:gd name="T80" fmla="*/ 2147483647 w 454"/>
              <a:gd name="T81" fmla="*/ 2147483647 h 340"/>
              <a:gd name="T82" fmla="*/ 2147483647 w 454"/>
              <a:gd name="T83" fmla="*/ 2147483647 h 340"/>
              <a:gd name="T84" fmla="*/ 2147483647 w 454"/>
              <a:gd name="T85" fmla="*/ 2147483647 h 340"/>
              <a:gd name="T86" fmla="*/ 2147483647 w 454"/>
              <a:gd name="T87" fmla="*/ 2147483647 h 340"/>
              <a:gd name="T88" fmla="*/ 2147483647 w 454"/>
              <a:gd name="T89" fmla="*/ 2147483647 h 340"/>
              <a:gd name="T90" fmla="*/ 2147483647 w 454"/>
              <a:gd name="T91" fmla="*/ 2147483647 h 340"/>
              <a:gd name="T92" fmla="*/ 2147483647 w 454"/>
              <a:gd name="T93" fmla="*/ 2147483647 h 340"/>
              <a:gd name="T94" fmla="*/ 2147483647 w 454"/>
              <a:gd name="T95" fmla="*/ 2147483647 h 340"/>
              <a:gd name="T96" fmla="*/ 2147483647 w 454"/>
              <a:gd name="T97" fmla="*/ 2147483647 h 340"/>
              <a:gd name="T98" fmla="*/ 2147483647 w 454"/>
              <a:gd name="T99" fmla="*/ 2147483647 h 340"/>
              <a:gd name="T100" fmla="*/ 2147483647 w 454"/>
              <a:gd name="T101" fmla="*/ 2147483647 h 340"/>
              <a:gd name="T102" fmla="*/ 2147483647 w 454"/>
              <a:gd name="T103" fmla="*/ 2147483647 h 340"/>
              <a:gd name="T104" fmla="*/ 2147483647 w 454"/>
              <a:gd name="T105" fmla="*/ 2147483647 h 340"/>
              <a:gd name="T106" fmla="*/ 2147483647 w 454"/>
              <a:gd name="T107" fmla="*/ 2147483647 h 340"/>
              <a:gd name="T108" fmla="*/ 2147483647 w 454"/>
              <a:gd name="T109" fmla="*/ 2147483647 h 340"/>
              <a:gd name="T110" fmla="*/ 2147483647 w 454"/>
              <a:gd name="T111" fmla="*/ 2147483647 h 340"/>
              <a:gd name="T112" fmla="*/ 2147483647 w 454"/>
              <a:gd name="T113" fmla="*/ 2147483647 h 340"/>
              <a:gd name="T114" fmla="*/ 2147483647 w 454"/>
              <a:gd name="T115" fmla="*/ 2147483647 h 340"/>
              <a:gd name="T116" fmla="*/ 2147483647 w 454"/>
              <a:gd name="T117" fmla="*/ 2147483647 h 340"/>
              <a:gd name="T118" fmla="*/ 2147483647 w 454"/>
              <a:gd name="T119" fmla="*/ 2147483647 h 340"/>
              <a:gd name="T120" fmla="*/ 2147483647 w 454"/>
              <a:gd name="T121" fmla="*/ 2147483647 h 34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54"/>
              <a:gd name="T184" fmla="*/ 0 h 340"/>
              <a:gd name="T185" fmla="*/ 454 w 454"/>
              <a:gd name="T186" fmla="*/ 340 h 34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54" h="340">
                <a:moveTo>
                  <a:pt x="312" y="340"/>
                </a:moveTo>
                <a:lnTo>
                  <a:pt x="310" y="336"/>
                </a:lnTo>
                <a:lnTo>
                  <a:pt x="309" y="334"/>
                </a:lnTo>
                <a:lnTo>
                  <a:pt x="307" y="332"/>
                </a:lnTo>
                <a:lnTo>
                  <a:pt x="303" y="330"/>
                </a:lnTo>
                <a:lnTo>
                  <a:pt x="301" y="326"/>
                </a:lnTo>
                <a:lnTo>
                  <a:pt x="299" y="324"/>
                </a:lnTo>
                <a:lnTo>
                  <a:pt x="297" y="313"/>
                </a:lnTo>
                <a:lnTo>
                  <a:pt x="295" y="301"/>
                </a:lnTo>
                <a:lnTo>
                  <a:pt x="291" y="297"/>
                </a:lnTo>
                <a:lnTo>
                  <a:pt x="289" y="295"/>
                </a:lnTo>
                <a:lnTo>
                  <a:pt x="287" y="294"/>
                </a:lnTo>
                <a:lnTo>
                  <a:pt x="284" y="290"/>
                </a:lnTo>
                <a:lnTo>
                  <a:pt x="282" y="288"/>
                </a:lnTo>
                <a:lnTo>
                  <a:pt x="280" y="286"/>
                </a:lnTo>
                <a:lnTo>
                  <a:pt x="272" y="284"/>
                </a:lnTo>
                <a:lnTo>
                  <a:pt x="264" y="280"/>
                </a:lnTo>
                <a:lnTo>
                  <a:pt x="263" y="278"/>
                </a:lnTo>
                <a:lnTo>
                  <a:pt x="261" y="276"/>
                </a:lnTo>
                <a:lnTo>
                  <a:pt x="251" y="276"/>
                </a:lnTo>
                <a:lnTo>
                  <a:pt x="241" y="276"/>
                </a:lnTo>
                <a:lnTo>
                  <a:pt x="238" y="278"/>
                </a:lnTo>
                <a:lnTo>
                  <a:pt x="236" y="280"/>
                </a:lnTo>
                <a:lnTo>
                  <a:pt x="228" y="284"/>
                </a:lnTo>
                <a:lnTo>
                  <a:pt x="222" y="286"/>
                </a:lnTo>
                <a:lnTo>
                  <a:pt x="218" y="288"/>
                </a:lnTo>
                <a:lnTo>
                  <a:pt x="216" y="290"/>
                </a:lnTo>
                <a:lnTo>
                  <a:pt x="209" y="294"/>
                </a:lnTo>
                <a:lnTo>
                  <a:pt x="203" y="295"/>
                </a:lnTo>
                <a:lnTo>
                  <a:pt x="199" y="297"/>
                </a:lnTo>
                <a:lnTo>
                  <a:pt x="197" y="301"/>
                </a:lnTo>
                <a:lnTo>
                  <a:pt x="170" y="303"/>
                </a:lnTo>
                <a:lnTo>
                  <a:pt x="144" y="305"/>
                </a:lnTo>
                <a:lnTo>
                  <a:pt x="142" y="307"/>
                </a:lnTo>
                <a:lnTo>
                  <a:pt x="140" y="311"/>
                </a:lnTo>
                <a:lnTo>
                  <a:pt x="136" y="313"/>
                </a:lnTo>
                <a:lnTo>
                  <a:pt x="134" y="315"/>
                </a:lnTo>
                <a:lnTo>
                  <a:pt x="132" y="317"/>
                </a:lnTo>
                <a:lnTo>
                  <a:pt x="130" y="320"/>
                </a:lnTo>
                <a:lnTo>
                  <a:pt x="124" y="320"/>
                </a:lnTo>
                <a:lnTo>
                  <a:pt x="121" y="320"/>
                </a:lnTo>
                <a:lnTo>
                  <a:pt x="117" y="317"/>
                </a:lnTo>
                <a:lnTo>
                  <a:pt x="115" y="315"/>
                </a:lnTo>
                <a:lnTo>
                  <a:pt x="105" y="313"/>
                </a:lnTo>
                <a:lnTo>
                  <a:pt x="96" y="311"/>
                </a:lnTo>
                <a:lnTo>
                  <a:pt x="92" y="311"/>
                </a:lnTo>
                <a:lnTo>
                  <a:pt x="86" y="311"/>
                </a:lnTo>
                <a:lnTo>
                  <a:pt x="84" y="295"/>
                </a:lnTo>
                <a:lnTo>
                  <a:pt x="82" y="280"/>
                </a:lnTo>
                <a:lnTo>
                  <a:pt x="65" y="271"/>
                </a:lnTo>
                <a:lnTo>
                  <a:pt x="48" y="261"/>
                </a:lnTo>
                <a:lnTo>
                  <a:pt x="48" y="257"/>
                </a:lnTo>
                <a:lnTo>
                  <a:pt x="48" y="251"/>
                </a:lnTo>
                <a:lnTo>
                  <a:pt x="57" y="232"/>
                </a:lnTo>
                <a:lnTo>
                  <a:pt x="67" y="213"/>
                </a:lnTo>
                <a:lnTo>
                  <a:pt x="51" y="213"/>
                </a:lnTo>
                <a:lnTo>
                  <a:pt x="38" y="213"/>
                </a:lnTo>
                <a:lnTo>
                  <a:pt x="28" y="209"/>
                </a:lnTo>
                <a:lnTo>
                  <a:pt x="19" y="203"/>
                </a:lnTo>
                <a:lnTo>
                  <a:pt x="15" y="194"/>
                </a:lnTo>
                <a:lnTo>
                  <a:pt x="13" y="184"/>
                </a:lnTo>
                <a:lnTo>
                  <a:pt x="11" y="182"/>
                </a:lnTo>
                <a:lnTo>
                  <a:pt x="9" y="180"/>
                </a:lnTo>
                <a:lnTo>
                  <a:pt x="5" y="163"/>
                </a:lnTo>
                <a:lnTo>
                  <a:pt x="3" y="146"/>
                </a:lnTo>
                <a:lnTo>
                  <a:pt x="2" y="144"/>
                </a:lnTo>
                <a:lnTo>
                  <a:pt x="0" y="140"/>
                </a:lnTo>
                <a:lnTo>
                  <a:pt x="0" y="130"/>
                </a:lnTo>
                <a:lnTo>
                  <a:pt x="0" y="121"/>
                </a:lnTo>
                <a:lnTo>
                  <a:pt x="2" y="119"/>
                </a:lnTo>
                <a:lnTo>
                  <a:pt x="3" y="117"/>
                </a:lnTo>
                <a:lnTo>
                  <a:pt x="5" y="115"/>
                </a:lnTo>
                <a:lnTo>
                  <a:pt x="9" y="111"/>
                </a:lnTo>
                <a:lnTo>
                  <a:pt x="11" y="109"/>
                </a:lnTo>
                <a:lnTo>
                  <a:pt x="13" y="107"/>
                </a:lnTo>
                <a:lnTo>
                  <a:pt x="15" y="94"/>
                </a:lnTo>
                <a:lnTo>
                  <a:pt x="19" y="82"/>
                </a:lnTo>
                <a:lnTo>
                  <a:pt x="21" y="81"/>
                </a:lnTo>
                <a:lnTo>
                  <a:pt x="23" y="79"/>
                </a:lnTo>
                <a:lnTo>
                  <a:pt x="40" y="75"/>
                </a:lnTo>
                <a:lnTo>
                  <a:pt x="57" y="73"/>
                </a:lnTo>
                <a:lnTo>
                  <a:pt x="59" y="71"/>
                </a:lnTo>
                <a:lnTo>
                  <a:pt x="63" y="69"/>
                </a:lnTo>
                <a:lnTo>
                  <a:pt x="65" y="42"/>
                </a:lnTo>
                <a:lnTo>
                  <a:pt x="67" y="15"/>
                </a:lnTo>
                <a:lnTo>
                  <a:pt x="69" y="13"/>
                </a:lnTo>
                <a:lnTo>
                  <a:pt x="71" y="10"/>
                </a:lnTo>
                <a:lnTo>
                  <a:pt x="86" y="8"/>
                </a:lnTo>
                <a:lnTo>
                  <a:pt x="99" y="6"/>
                </a:lnTo>
                <a:lnTo>
                  <a:pt x="115" y="4"/>
                </a:lnTo>
                <a:lnTo>
                  <a:pt x="130" y="0"/>
                </a:lnTo>
                <a:lnTo>
                  <a:pt x="132" y="4"/>
                </a:lnTo>
                <a:lnTo>
                  <a:pt x="134" y="6"/>
                </a:lnTo>
                <a:lnTo>
                  <a:pt x="142" y="8"/>
                </a:lnTo>
                <a:lnTo>
                  <a:pt x="149" y="10"/>
                </a:lnTo>
                <a:lnTo>
                  <a:pt x="151" y="13"/>
                </a:lnTo>
                <a:lnTo>
                  <a:pt x="153" y="15"/>
                </a:lnTo>
                <a:lnTo>
                  <a:pt x="167" y="17"/>
                </a:lnTo>
                <a:lnTo>
                  <a:pt x="178" y="19"/>
                </a:lnTo>
                <a:lnTo>
                  <a:pt x="180" y="23"/>
                </a:lnTo>
                <a:lnTo>
                  <a:pt x="182" y="25"/>
                </a:lnTo>
                <a:lnTo>
                  <a:pt x="190" y="27"/>
                </a:lnTo>
                <a:lnTo>
                  <a:pt x="197" y="29"/>
                </a:lnTo>
                <a:lnTo>
                  <a:pt x="199" y="33"/>
                </a:lnTo>
                <a:lnTo>
                  <a:pt x="203" y="35"/>
                </a:lnTo>
                <a:lnTo>
                  <a:pt x="209" y="36"/>
                </a:lnTo>
                <a:lnTo>
                  <a:pt x="216" y="40"/>
                </a:lnTo>
                <a:lnTo>
                  <a:pt x="218" y="42"/>
                </a:lnTo>
                <a:lnTo>
                  <a:pt x="222" y="44"/>
                </a:lnTo>
                <a:lnTo>
                  <a:pt x="228" y="61"/>
                </a:lnTo>
                <a:lnTo>
                  <a:pt x="236" y="79"/>
                </a:lnTo>
                <a:lnTo>
                  <a:pt x="238" y="81"/>
                </a:lnTo>
                <a:lnTo>
                  <a:pt x="241" y="82"/>
                </a:lnTo>
                <a:lnTo>
                  <a:pt x="263" y="84"/>
                </a:lnTo>
                <a:lnTo>
                  <a:pt x="284" y="88"/>
                </a:lnTo>
                <a:lnTo>
                  <a:pt x="287" y="90"/>
                </a:lnTo>
                <a:lnTo>
                  <a:pt x="289" y="92"/>
                </a:lnTo>
                <a:lnTo>
                  <a:pt x="297" y="94"/>
                </a:lnTo>
                <a:lnTo>
                  <a:pt x="303" y="98"/>
                </a:lnTo>
                <a:lnTo>
                  <a:pt x="307" y="100"/>
                </a:lnTo>
                <a:lnTo>
                  <a:pt x="309" y="102"/>
                </a:lnTo>
                <a:lnTo>
                  <a:pt x="324" y="104"/>
                </a:lnTo>
                <a:lnTo>
                  <a:pt x="339" y="104"/>
                </a:lnTo>
                <a:lnTo>
                  <a:pt x="357" y="106"/>
                </a:lnTo>
                <a:lnTo>
                  <a:pt x="372" y="107"/>
                </a:lnTo>
                <a:lnTo>
                  <a:pt x="374" y="109"/>
                </a:lnTo>
                <a:lnTo>
                  <a:pt x="376" y="111"/>
                </a:lnTo>
                <a:lnTo>
                  <a:pt x="374" y="115"/>
                </a:lnTo>
                <a:lnTo>
                  <a:pt x="372" y="117"/>
                </a:lnTo>
                <a:lnTo>
                  <a:pt x="372" y="121"/>
                </a:lnTo>
                <a:lnTo>
                  <a:pt x="372" y="127"/>
                </a:lnTo>
                <a:lnTo>
                  <a:pt x="374" y="129"/>
                </a:lnTo>
                <a:lnTo>
                  <a:pt x="376" y="130"/>
                </a:lnTo>
                <a:lnTo>
                  <a:pt x="376" y="153"/>
                </a:lnTo>
                <a:lnTo>
                  <a:pt x="376" y="175"/>
                </a:lnTo>
                <a:lnTo>
                  <a:pt x="387" y="175"/>
                </a:lnTo>
                <a:lnTo>
                  <a:pt x="393" y="175"/>
                </a:lnTo>
                <a:lnTo>
                  <a:pt x="395" y="173"/>
                </a:lnTo>
                <a:lnTo>
                  <a:pt x="395" y="169"/>
                </a:lnTo>
                <a:lnTo>
                  <a:pt x="399" y="167"/>
                </a:lnTo>
                <a:lnTo>
                  <a:pt x="401" y="165"/>
                </a:lnTo>
                <a:lnTo>
                  <a:pt x="403" y="157"/>
                </a:lnTo>
                <a:lnTo>
                  <a:pt x="406" y="152"/>
                </a:lnTo>
                <a:lnTo>
                  <a:pt x="408" y="148"/>
                </a:lnTo>
                <a:lnTo>
                  <a:pt x="410" y="146"/>
                </a:lnTo>
                <a:lnTo>
                  <a:pt x="422" y="146"/>
                </a:lnTo>
                <a:lnTo>
                  <a:pt x="435" y="146"/>
                </a:lnTo>
                <a:lnTo>
                  <a:pt x="435" y="159"/>
                </a:lnTo>
                <a:lnTo>
                  <a:pt x="437" y="175"/>
                </a:lnTo>
                <a:lnTo>
                  <a:pt x="437" y="188"/>
                </a:lnTo>
                <a:lnTo>
                  <a:pt x="439" y="203"/>
                </a:lnTo>
                <a:lnTo>
                  <a:pt x="441" y="205"/>
                </a:lnTo>
                <a:lnTo>
                  <a:pt x="445" y="209"/>
                </a:lnTo>
                <a:lnTo>
                  <a:pt x="447" y="215"/>
                </a:lnTo>
                <a:lnTo>
                  <a:pt x="449" y="223"/>
                </a:lnTo>
                <a:lnTo>
                  <a:pt x="451" y="224"/>
                </a:lnTo>
                <a:lnTo>
                  <a:pt x="454" y="228"/>
                </a:lnTo>
                <a:lnTo>
                  <a:pt x="454" y="232"/>
                </a:lnTo>
                <a:lnTo>
                  <a:pt x="454" y="238"/>
                </a:lnTo>
                <a:lnTo>
                  <a:pt x="451" y="240"/>
                </a:lnTo>
                <a:lnTo>
                  <a:pt x="449" y="242"/>
                </a:lnTo>
                <a:lnTo>
                  <a:pt x="441" y="259"/>
                </a:lnTo>
                <a:lnTo>
                  <a:pt x="435" y="276"/>
                </a:lnTo>
                <a:lnTo>
                  <a:pt x="431" y="278"/>
                </a:lnTo>
                <a:lnTo>
                  <a:pt x="429" y="280"/>
                </a:lnTo>
                <a:lnTo>
                  <a:pt x="408" y="288"/>
                </a:lnTo>
                <a:lnTo>
                  <a:pt x="385" y="295"/>
                </a:lnTo>
                <a:lnTo>
                  <a:pt x="383" y="297"/>
                </a:lnTo>
                <a:lnTo>
                  <a:pt x="381" y="301"/>
                </a:lnTo>
                <a:lnTo>
                  <a:pt x="364" y="301"/>
                </a:lnTo>
                <a:lnTo>
                  <a:pt x="347" y="301"/>
                </a:lnTo>
                <a:lnTo>
                  <a:pt x="347" y="307"/>
                </a:lnTo>
                <a:lnTo>
                  <a:pt x="347" y="315"/>
                </a:lnTo>
                <a:lnTo>
                  <a:pt x="345" y="317"/>
                </a:lnTo>
                <a:lnTo>
                  <a:pt x="343" y="320"/>
                </a:lnTo>
                <a:lnTo>
                  <a:pt x="339" y="322"/>
                </a:lnTo>
                <a:lnTo>
                  <a:pt x="337" y="324"/>
                </a:lnTo>
                <a:lnTo>
                  <a:pt x="335" y="326"/>
                </a:lnTo>
                <a:lnTo>
                  <a:pt x="334" y="330"/>
                </a:lnTo>
                <a:lnTo>
                  <a:pt x="330" y="332"/>
                </a:lnTo>
                <a:lnTo>
                  <a:pt x="328" y="334"/>
                </a:lnTo>
                <a:lnTo>
                  <a:pt x="326" y="336"/>
                </a:lnTo>
                <a:lnTo>
                  <a:pt x="324" y="340"/>
                </a:lnTo>
                <a:lnTo>
                  <a:pt x="318" y="340"/>
                </a:lnTo>
                <a:lnTo>
                  <a:pt x="312" y="340"/>
                </a:lnTo>
              </a:path>
            </a:pathLst>
          </a:custGeom>
          <a:solidFill>
            <a:schemeClr val="accent3"/>
          </a:solidFill>
          <a:ln w="12700">
            <a:solidFill>
              <a:schemeClr val="bg1"/>
            </a:solidFill>
            <a:round/>
            <a:headEnd/>
            <a:tailEnd/>
          </a:ln>
        </p:spPr>
        <p:txBody>
          <a:bodyPr/>
          <a:lstStyle/>
          <a:p>
            <a:endParaRPr lang="en-GB"/>
          </a:p>
        </p:txBody>
      </p:sp>
      <p:sp>
        <p:nvSpPr>
          <p:cNvPr id="24" name="Freeform 295"/>
          <p:cNvSpPr>
            <a:spLocks/>
          </p:cNvSpPr>
          <p:nvPr>
            <p:custDataLst>
              <p:tags r:id="rId14"/>
            </p:custDataLst>
          </p:nvPr>
        </p:nvSpPr>
        <p:spPr bwMode="auto">
          <a:xfrm>
            <a:off x="3379855" y="4855950"/>
            <a:ext cx="381821" cy="518385"/>
          </a:xfrm>
          <a:custGeom>
            <a:avLst/>
            <a:gdLst>
              <a:gd name="T0" fmla="*/ 2147483647 w 280"/>
              <a:gd name="T1" fmla="*/ 2147483647 h 395"/>
              <a:gd name="T2" fmla="*/ 2147483647 w 280"/>
              <a:gd name="T3" fmla="*/ 2147483647 h 395"/>
              <a:gd name="T4" fmla="*/ 2147483647 w 280"/>
              <a:gd name="T5" fmla="*/ 2147483647 h 395"/>
              <a:gd name="T6" fmla="*/ 2147483647 w 280"/>
              <a:gd name="T7" fmla="*/ 2147483647 h 395"/>
              <a:gd name="T8" fmla="*/ 0 w 280"/>
              <a:gd name="T9" fmla="*/ 2147483647 h 395"/>
              <a:gd name="T10" fmla="*/ 2147483647 w 280"/>
              <a:gd name="T11" fmla="*/ 2147483647 h 395"/>
              <a:gd name="T12" fmla="*/ 2147483647 w 280"/>
              <a:gd name="T13" fmla="*/ 2147483647 h 395"/>
              <a:gd name="T14" fmla="*/ 2147483647 w 280"/>
              <a:gd name="T15" fmla="*/ 2147483647 h 395"/>
              <a:gd name="T16" fmla="*/ 2147483647 w 280"/>
              <a:gd name="T17" fmla="*/ 2147483647 h 395"/>
              <a:gd name="T18" fmla="*/ 2147483647 w 280"/>
              <a:gd name="T19" fmla="*/ 2147483647 h 395"/>
              <a:gd name="T20" fmla="*/ 2147483647 w 280"/>
              <a:gd name="T21" fmla="*/ 2147483647 h 395"/>
              <a:gd name="T22" fmla="*/ 2147483647 w 280"/>
              <a:gd name="T23" fmla="*/ 2147483647 h 395"/>
              <a:gd name="T24" fmla="*/ 2147483647 w 280"/>
              <a:gd name="T25" fmla="*/ 2147483647 h 395"/>
              <a:gd name="T26" fmla="*/ 2147483647 w 280"/>
              <a:gd name="T27" fmla="*/ 2147483647 h 395"/>
              <a:gd name="T28" fmla="*/ 2147483647 w 280"/>
              <a:gd name="T29" fmla="*/ 2147483647 h 395"/>
              <a:gd name="T30" fmla="*/ 2147483647 w 280"/>
              <a:gd name="T31" fmla="*/ 2147483647 h 395"/>
              <a:gd name="T32" fmla="*/ 2147483647 w 280"/>
              <a:gd name="T33" fmla="*/ 2147483647 h 395"/>
              <a:gd name="T34" fmla="*/ 2147483647 w 280"/>
              <a:gd name="T35" fmla="*/ 2147483647 h 395"/>
              <a:gd name="T36" fmla="*/ 2147483647 w 280"/>
              <a:gd name="T37" fmla="*/ 2147483647 h 395"/>
              <a:gd name="T38" fmla="*/ 2147483647 w 280"/>
              <a:gd name="T39" fmla="*/ 2147483647 h 395"/>
              <a:gd name="T40" fmla="*/ 2147483647 w 280"/>
              <a:gd name="T41" fmla="*/ 2147483647 h 395"/>
              <a:gd name="T42" fmla="*/ 2147483647 w 280"/>
              <a:gd name="T43" fmla="*/ 2147483647 h 395"/>
              <a:gd name="T44" fmla="*/ 2147483647 w 280"/>
              <a:gd name="T45" fmla="*/ 2147483647 h 395"/>
              <a:gd name="T46" fmla="*/ 2147483647 w 280"/>
              <a:gd name="T47" fmla="*/ 2147483647 h 395"/>
              <a:gd name="T48" fmla="*/ 2147483647 w 280"/>
              <a:gd name="T49" fmla="*/ 2147483647 h 395"/>
              <a:gd name="T50" fmla="*/ 2147483647 w 280"/>
              <a:gd name="T51" fmla="*/ 2147483647 h 395"/>
              <a:gd name="T52" fmla="*/ 2147483647 w 280"/>
              <a:gd name="T53" fmla="*/ 2147483647 h 395"/>
              <a:gd name="T54" fmla="*/ 2147483647 w 280"/>
              <a:gd name="T55" fmla="*/ 2147483647 h 395"/>
              <a:gd name="T56" fmla="*/ 2147483647 w 280"/>
              <a:gd name="T57" fmla="*/ 0 h 395"/>
              <a:gd name="T58" fmla="*/ 2147483647 w 280"/>
              <a:gd name="T59" fmla="*/ 2147483647 h 395"/>
              <a:gd name="T60" fmla="*/ 2147483647 w 280"/>
              <a:gd name="T61" fmla="*/ 2147483647 h 395"/>
              <a:gd name="T62" fmla="*/ 2147483647 w 280"/>
              <a:gd name="T63" fmla="*/ 2147483647 h 395"/>
              <a:gd name="T64" fmla="*/ 2147483647 w 280"/>
              <a:gd name="T65" fmla="*/ 2147483647 h 395"/>
              <a:gd name="T66" fmla="*/ 2147483647 w 280"/>
              <a:gd name="T67" fmla="*/ 2147483647 h 395"/>
              <a:gd name="T68" fmla="*/ 2147483647 w 280"/>
              <a:gd name="T69" fmla="*/ 2147483647 h 395"/>
              <a:gd name="T70" fmla="*/ 2147483647 w 280"/>
              <a:gd name="T71" fmla="*/ 2147483647 h 395"/>
              <a:gd name="T72" fmla="*/ 2147483647 w 280"/>
              <a:gd name="T73" fmla="*/ 2147483647 h 395"/>
              <a:gd name="T74" fmla="*/ 2147483647 w 280"/>
              <a:gd name="T75" fmla="*/ 2147483647 h 395"/>
              <a:gd name="T76" fmla="*/ 2147483647 w 280"/>
              <a:gd name="T77" fmla="*/ 2147483647 h 395"/>
              <a:gd name="T78" fmla="*/ 2147483647 w 280"/>
              <a:gd name="T79" fmla="*/ 2147483647 h 395"/>
              <a:gd name="T80" fmla="*/ 2147483647 w 280"/>
              <a:gd name="T81" fmla="*/ 2147483647 h 395"/>
              <a:gd name="T82" fmla="*/ 2147483647 w 280"/>
              <a:gd name="T83" fmla="*/ 2147483647 h 395"/>
              <a:gd name="T84" fmla="*/ 2147483647 w 280"/>
              <a:gd name="T85" fmla="*/ 2147483647 h 395"/>
              <a:gd name="T86" fmla="*/ 2147483647 w 280"/>
              <a:gd name="T87" fmla="*/ 2147483647 h 395"/>
              <a:gd name="T88" fmla="*/ 2147483647 w 280"/>
              <a:gd name="T89" fmla="*/ 2147483647 h 395"/>
              <a:gd name="T90" fmla="*/ 2147483647 w 280"/>
              <a:gd name="T91" fmla="*/ 2147483647 h 395"/>
              <a:gd name="T92" fmla="*/ 2147483647 w 280"/>
              <a:gd name="T93" fmla="*/ 2147483647 h 395"/>
              <a:gd name="T94" fmla="*/ 2147483647 w 280"/>
              <a:gd name="T95" fmla="*/ 2147483647 h 395"/>
              <a:gd name="T96" fmla="*/ 2147483647 w 280"/>
              <a:gd name="T97" fmla="*/ 2147483647 h 395"/>
              <a:gd name="T98" fmla="*/ 2147483647 w 280"/>
              <a:gd name="T99" fmla="*/ 2147483647 h 395"/>
              <a:gd name="T100" fmla="*/ 2147483647 w 280"/>
              <a:gd name="T101" fmla="*/ 2147483647 h 395"/>
              <a:gd name="T102" fmla="*/ 2147483647 w 280"/>
              <a:gd name="T103" fmla="*/ 2147483647 h 395"/>
              <a:gd name="T104" fmla="*/ 2147483647 w 280"/>
              <a:gd name="T105" fmla="*/ 2147483647 h 395"/>
              <a:gd name="T106" fmla="*/ 2147483647 w 280"/>
              <a:gd name="T107" fmla="*/ 2147483647 h 395"/>
              <a:gd name="T108" fmla="*/ 2147483647 w 280"/>
              <a:gd name="T109" fmla="*/ 2147483647 h 395"/>
              <a:gd name="T110" fmla="*/ 2147483647 w 280"/>
              <a:gd name="T111" fmla="*/ 2147483647 h 395"/>
              <a:gd name="T112" fmla="*/ 2147483647 w 280"/>
              <a:gd name="T113" fmla="*/ 2147483647 h 395"/>
              <a:gd name="T114" fmla="*/ 2147483647 w 280"/>
              <a:gd name="T115" fmla="*/ 2147483647 h 395"/>
              <a:gd name="T116" fmla="*/ 2147483647 w 280"/>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0"/>
              <a:gd name="T178" fmla="*/ 0 h 395"/>
              <a:gd name="T179" fmla="*/ 280 w 280"/>
              <a:gd name="T180" fmla="*/ 395 h 39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0" h="395">
                <a:moveTo>
                  <a:pt x="115" y="395"/>
                </a:moveTo>
                <a:lnTo>
                  <a:pt x="115" y="386"/>
                </a:lnTo>
                <a:lnTo>
                  <a:pt x="115" y="376"/>
                </a:lnTo>
                <a:lnTo>
                  <a:pt x="105" y="376"/>
                </a:lnTo>
                <a:lnTo>
                  <a:pt x="96" y="376"/>
                </a:lnTo>
                <a:lnTo>
                  <a:pt x="96" y="363"/>
                </a:lnTo>
                <a:lnTo>
                  <a:pt x="96" y="347"/>
                </a:lnTo>
                <a:lnTo>
                  <a:pt x="69" y="336"/>
                </a:lnTo>
                <a:lnTo>
                  <a:pt x="42" y="322"/>
                </a:lnTo>
                <a:lnTo>
                  <a:pt x="30" y="330"/>
                </a:lnTo>
                <a:lnTo>
                  <a:pt x="19" y="338"/>
                </a:lnTo>
                <a:lnTo>
                  <a:pt x="13" y="338"/>
                </a:lnTo>
                <a:lnTo>
                  <a:pt x="9" y="338"/>
                </a:lnTo>
                <a:lnTo>
                  <a:pt x="4" y="338"/>
                </a:lnTo>
                <a:lnTo>
                  <a:pt x="0" y="338"/>
                </a:lnTo>
                <a:lnTo>
                  <a:pt x="4" y="328"/>
                </a:lnTo>
                <a:lnTo>
                  <a:pt x="9" y="318"/>
                </a:lnTo>
                <a:lnTo>
                  <a:pt x="9" y="313"/>
                </a:lnTo>
                <a:lnTo>
                  <a:pt x="9" y="309"/>
                </a:lnTo>
                <a:lnTo>
                  <a:pt x="15" y="309"/>
                </a:lnTo>
                <a:lnTo>
                  <a:pt x="17" y="307"/>
                </a:lnTo>
                <a:lnTo>
                  <a:pt x="19" y="301"/>
                </a:lnTo>
                <a:lnTo>
                  <a:pt x="19" y="290"/>
                </a:lnTo>
                <a:lnTo>
                  <a:pt x="13" y="290"/>
                </a:lnTo>
                <a:lnTo>
                  <a:pt x="9" y="290"/>
                </a:lnTo>
                <a:lnTo>
                  <a:pt x="9" y="280"/>
                </a:lnTo>
                <a:lnTo>
                  <a:pt x="9" y="270"/>
                </a:lnTo>
                <a:lnTo>
                  <a:pt x="9" y="265"/>
                </a:lnTo>
                <a:lnTo>
                  <a:pt x="9" y="261"/>
                </a:lnTo>
                <a:lnTo>
                  <a:pt x="9" y="255"/>
                </a:lnTo>
                <a:lnTo>
                  <a:pt x="9" y="251"/>
                </a:lnTo>
                <a:lnTo>
                  <a:pt x="9" y="245"/>
                </a:lnTo>
                <a:lnTo>
                  <a:pt x="9" y="242"/>
                </a:lnTo>
                <a:lnTo>
                  <a:pt x="9" y="234"/>
                </a:lnTo>
                <a:lnTo>
                  <a:pt x="9" y="226"/>
                </a:lnTo>
                <a:lnTo>
                  <a:pt x="11" y="224"/>
                </a:lnTo>
                <a:lnTo>
                  <a:pt x="13" y="221"/>
                </a:lnTo>
                <a:lnTo>
                  <a:pt x="17" y="209"/>
                </a:lnTo>
                <a:lnTo>
                  <a:pt x="19" y="198"/>
                </a:lnTo>
                <a:lnTo>
                  <a:pt x="21" y="196"/>
                </a:lnTo>
                <a:lnTo>
                  <a:pt x="23" y="192"/>
                </a:lnTo>
                <a:lnTo>
                  <a:pt x="27" y="190"/>
                </a:lnTo>
                <a:lnTo>
                  <a:pt x="28" y="188"/>
                </a:lnTo>
                <a:lnTo>
                  <a:pt x="30" y="186"/>
                </a:lnTo>
                <a:lnTo>
                  <a:pt x="34" y="182"/>
                </a:lnTo>
                <a:lnTo>
                  <a:pt x="40" y="171"/>
                </a:lnTo>
                <a:lnTo>
                  <a:pt x="48" y="159"/>
                </a:lnTo>
                <a:lnTo>
                  <a:pt x="50" y="155"/>
                </a:lnTo>
                <a:lnTo>
                  <a:pt x="51" y="153"/>
                </a:lnTo>
                <a:lnTo>
                  <a:pt x="55" y="151"/>
                </a:lnTo>
                <a:lnTo>
                  <a:pt x="57" y="150"/>
                </a:lnTo>
                <a:lnTo>
                  <a:pt x="59" y="146"/>
                </a:lnTo>
                <a:lnTo>
                  <a:pt x="63" y="144"/>
                </a:lnTo>
                <a:lnTo>
                  <a:pt x="69" y="142"/>
                </a:lnTo>
                <a:lnTo>
                  <a:pt x="76" y="140"/>
                </a:lnTo>
                <a:lnTo>
                  <a:pt x="78" y="138"/>
                </a:lnTo>
                <a:lnTo>
                  <a:pt x="82" y="134"/>
                </a:lnTo>
                <a:lnTo>
                  <a:pt x="82" y="121"/>
                </a:lnTo>
                <a:lnTo>
                  <a:pt x="82" y="105"/>
                </a:lnTo>
                <a:lnTo>
                  <a:pt x="78" y="104"/>
                </a:lnTo>
                <a:lnTo>
                  <a:pt x="76" y="100"/>
                </a:lnTo>
                <a:lnTo>
                  <a:pt x="75" y="98"/>
                </a:lnTo>
                <a:lnTo>
                  <a:pt x="73" y="96"/>
                </a:lnTo>
                <a:lnTo>
                  <a:pt x="69" y="94"/>
                </a:lnTo>
                <a:lnTo>
                  <a:pt x="67" y="92"/>
                </a:lnTo>
                <a:lnTo>
                  <a:pt x="55" y="88"/>
                </a:lnTo>
                <a:lnTo>
                  <a:pt x="44" y="86"/>
                </a:lnTo>
                <a:lnTo>
                  <a:pt x="40" y="84"/>
                </a:lnTo>
                <a:lnTo>
                  <a:pt x="38" y="82"/>
                </a:lnTo>
                <a:lnTo>
                  <a:pt x="38" y="77"/>
                </a:lnTo>
                <a:lnTo>
                  <a:pt x="38" y="71"/>
                </a:lnTo>
                <a:lnTo>
                  <a:pt x="40" y="69"/>
                </a:lnTo>
                <a:lnTo>
                  <a:pt x="44" y="67"/>
                </a:lnTo>
                <a:lnTo>
                  <a:pt x="46" y="65"/>
                </a:lnTo>
                <a:lnTo>
                  <a:pt x="48" y="61"/>
                </a:lnTo>
                <a:lnTo>
                  <a:pt x="50" y="59"/>
                </a:lnTo>
                <a:lnTo>
                  <a:pt x="51" y="57"/>
                </a:lnTo>
                <a:lnTo>
                  <a:pt x="55" y="40"/>
                </a:lnTo>
                <a:lnTo>
                  <a:pt x="57" y="23"/>
                </a:lnTo>
                <a:lnTo>
                  <a:pt x="59" y="21"/>
                </a:lnTo>
                <a:lnTo>
                  <a:pt x="63" y="19"/>
                </a:lnTo>
                <a:lnTo>
                  <a:pt x="65" y="15"/>
                </a:lnTo>
                <a:lnTo>
                  <a:pt x="67" y="13"/>
                </a:lnTo>
                <a:lnTo>
                  <a:pt x="69" y="11"/>
                </a:lnTo>
                <a:lnTo>
                  <a:pt x="73" y="9"/>
                </a:lnTo>
                <a:lnTo>
                  <a:pt x="82" y="4"/>
                </a:lnTo>
                <a:lnTo>
                  <a:pt x="92" y="0"/>
                </a:lnTo>
                <a:lnTo>
                  <a:pt x="94" y="2"/>
                </a:lnTo>
                <a:lnTo>
                  <a:pt x="96" y="4"/>
                </a:lnTo>
                <a:lnTo>
                  <a:pt x="94" y="6"/>
                </a:lnTo>
                <a:lnTo>
                  <a:pt x="92" y="9"/>
                </a:lnTo>
                <a:lnTo>
                  <a:pt x="92" y="13"/>
                </a:lnTo>
                <a:lnTo>
                  <a:pt x="92" y="19"/>
                </a:lnTo>
                <a:lnTo>
                  <a:pt x="94" y="21"/>
                </a:lnTo>
                <a:lnTo>
                  <a:pt x="96" y="23"/>
                </a:lnTo>
                <a:lnTo>
                  <a:pt x="98" y="25"/>
                </a:lnTo>
                <a:lnTo>
                  <a:pt x="101" y="29"/>
                </a:lnTo>
                <a:lnTo>
                  <a:pt x="103" y="31"/>
                </a:lnTo>
                <a:lnTo>
                  <a:pt x="105" y="33"/>
                </a:lnTo>
                <a:lnTo>
                  <a:pt x="119" y="34"/>
                </a:lnTo>
                <a:lnTo>
                  <a:pt x="130" y="38"/>
                </a:lnTo>
                <a:lnTo>
                  <a:pt x="132" y="40"/>
                </a:lnTo>
                <a:lnTo>
                  <a:pt x="134" y="42"/>
                </a:lnTo>
                <a:lnTo>
                  <a:pt x="136" y="46"/>
                </a:lnTo>
                <a:lnTo>
                  <a:pt x="140" y="48"/>
                </a:lnTo>
                <a:lnTo>
                  <a:pt x="142" y="50"/>
                </a:lnTo>
                <a:lnTo>
                  <a:pt x="144" y="52"/>
                </a:lnTo>
                <a:lnTo>
                  <a:pt x="149" y="56"/>
                </a:lnTo>
                <a:lnTo>
                  <a:pt x="159" y="56"/>
                </a:lnTo>
                <a:lnTo>
                  <a:pt x="169" y="56"/>
                </a:lnTo>
                <a:lnTo>
                  <a:pt x="172" y="52"/>
                </a:lnTo>
                <a:lnTo>
                  <a:pt x="176" y="50"/>
                </a:lnTo>
                <a:lnTo>
                  <a:pt x="178" y="48"/>
                </a:lnTo>
                <a:lnTo>
                  <a:pt x="182" y="48"/>
                </a:lnTo>
                <a:lnTo>
                  <a:pt x="188" y="48"/>
                </a:lnTo>
                <a:lnTo>
                  <a:pt x="190" y="50"/>
                </a:lnTo>
                <a:lnTo>
                  <a:pt x="193" y="52"/>
                </a:lnTo>
                <a:lnTo>
                  <a:pt x="201" y="56"/>
                </a:lnTo>
                <a:lnTo>
                  <a:pt x="216" y="56"/>
                </a:lnTo>
                <a:lnTo>
                  <a:pt x="234" y="56"/>
                </a:lnTo>
                <a:lnTo>
                  <a:pt x="241" y="52"/>
                </a:lnTo>
                <a:lnTo>
                  <a:pt x="243" y="50"/>
                </a:lnTo>
                <a:lnTo>
                  <a:pt x="245" y="48"/>
                </a:lnTo>
                <a:lnTo>
                  <a:pt x="249" y="50"/>
                </a:lnTo>
                <a:lnTo>
                  <a:pt x="251" y="52"/>
                </a:lnTo>
                <a:lnTo>
                  <a:pt x="253" y="59"/>
                </a:lnTo>
                <a:lnTo>
                  <a:pt x="255" y="67"/>
                </a:lnTo>
                <a:lnTo>
                  <a:pt x="257" y="69"/>
                </a:lnTo>
                <a:lnTo>
                  <a:pt x="261" y="71"/>
                </a:lnTo>
                <a:lnTo>
                  <a:pt x="263" y="79"/>
                </a:lnTo>
                <a:lnTo>
                  <a:pt x="266" y="86"/>
                </a:lnTo>
                <a:lnTo>
                  <a:pt x="268" y="88"/>
                </a:lnTo>
                <a:lnTo>
                  <a:pt x="270" y="92"/>
                </a:lnTo>
                <a:lnTo>
                  <a:pt x="272" y="117"/>
                </a:lnTo>
                <a:lnTo>
                  <a:pt x="276" y="144"/>
                </a:lnTo>
                <a:lnTo>
                  <a:pt x="278" y="146"/>
                </a:lnTo>
                <a:lnTo>
                  <a:pt x="280" y="150"/>
                </a:lnTo>
                <a:lnTo>
                  <a:pt x="280" y="159"/>
                </a:lnTo>
                <a:lnTo>
                  <a:pt x="280" y="169"/>
                </a:lnTo>
                <a:lnTo>
                  <a:pt x="278" y="171"/>
                </a:lnTo>
                <a:lnTo>
                  <a:pt x="276" y="173"/>
                </a:lnTo>
                <a:lnTo>
                  <a:pt x="272" y="199"/>
                </a:lnTo>
                <a:lnTo>
                  <a:pt x="270" y="226"/>
                </a:lnTo>
                <a:lnTo>
                  <a:pt x="268" y="228"/>
                </a:lnTo>
                <a:lnTo>
                  <a:pt x="266" y="232"/>
                </a:lnTo>
                <a:lnTo>
                  <a:pt x="249" y="234"/>
                </a:lnTo>
                <a:lnTo>
                  <a:pt x="232" y="236"/>
                </a:lnTo>
                <a:lnTo>
                  <a:pt x="228" y="238"/>
                </a:lnTo>
                <a:lnTo>
                  <a:pt x="226" y="242"/>
                </a:lnTo>
                <a:lnTo>
                  <a:pt x="224" y="253"/>
                </a:lnTo>
                <a:lnTo>
                  <a:pt x="222" y="265"/>
                </a:lnTo>
                <a:lnTo>
                  <a:pt x="218" y="267"/>
                </a:lnTo>
                <a:lnTo>
                  <a:pt x="216" y="270"/>
                </a:lnTo>
                <a:lnTo>
                  <a:pt x="215" y="272"/>
                </a:lnTo>
                <a:lnTo>
                  <a:pt x="213" y="274"/>
                </a:lnTo>
                <a:lnTo>
                  <a:pt x="209" y="278"/>
                </a:lnTo>
                <a:lnTo>
                  <a:pt x="207" y="280"/>
                </a:lnTo>
                <a:lnTo>
                  <a:pt x="207" y="293"/>
                </a:lnTo>
                <a:lnTo>
                  <a:pt x="207" y="309"/>
                </a:lnTo>
                <a:lnTo>
                  <a:pt x="209" y="311"/>
                </a:lnTo>
                <a:lnTo>
                  <a:pt x="213" y="315"/>
                </a:lnTo>
                <a:lnTo>
                  <a:pt x="215" y="330"/>
                </a:lnTo>
                <a:lnTo>
                  <a:pt x="216" y="347"/>
                </a:lnTo>
                <a:lnTo>
                  <a:pt x="218" y="349"/>
                </a:lnTo>
                <a:lnTo>
                  <a:pt x="222" y="353"/>
                </a:lnTo>
                <a:lnTo>
                  <a:pt x="222" y="359"/>
                </a:lnTo>
                <a:lnTo>
                  <a:pt x="222" y="366"/>
                </a:lnTo>
                <a:lnTo>
                  <a:pt x="216" y="366"/>
                </a:lnTo>
                <a:lnTo>
                  <a:pt x="213" y="366"/>
                </a:lnTo>
                <a:lnTo>
                  <a:pt x="207" y="372"/>
                </a:lnTo>
                <a:lnTo>
                  <a:pt x="203" y="376"/>
                </a:lnTo>
                <a:lnTo>
                  <a:pt x="180" y="380"/>
                </a:lnTo>
                <a:lnTo>
                  <a:pt x="167" y="382"/>
                </a:lnTo>
                <a:lnTo>
                  <a:pt x="157" y="387"/>
                </a:lnTo>
                <a:lnTo>
                  <a:pt x="144" y="395"/>
                </a:lnTo>
                <a:lnTo>
                  <a:pt x="130" y="395"/>
                </a:lnTo>
                <a:lnTo>
                  <a:pt x="115" y="395"/>
                </a:lnTo>
              </a:path>
            </a:pathLst>
          </a:custGeom>
          <a:solidFill>
            <a:schemeClr val="accent3"/>
          </a:solidFill>
          <a:ln w="12700">
            <a:solidFill>
              <a:schemeClr val="bg1"/>
            </a:solidFill>
            <a:round/>
            <a:headEnd/>
            <a:tailEnd/>
          </a:ln>
        </p:spPr>
        <p:txBody>
          <a:bodyPr/>
          <a:lstStyle/>
          <a:p>
            <a:endParaRPr lang="en-GB"/>
          </a:p>
        </p:txBody>
      </p:sp>
      <p:sp>
        <p:nvSpPr>
          <p:cNvPr id="25" name="Freeform 296"/>
          <p:cNvSpPr>
            <a:spLocks/>
          </p:cNvSpPr>
          <p:nvPr>
            <p:custDataLst>
              <p:tags r:id="rId15"/>
            </p:custDataLst>
          </p:nvPr>
        </p:nvSpPr>
        <p:spPr bwMode="auto">
          <a:xfrm>
            <a:off x="2535390" y="4844802"/>
            <a:ext cx="356738" cy="377640"/>
          </a:xfrm>
          <a:custGeom>
            <a:avLst/>
            <a:gdLst>
              <a:gd name="T0" fmla="*/ 2147483647 w 261"/>
              <a:gd name="T1" fmla="*/ 2147483647 h 290"/>
              <a:gd name="T2" fmla="*/ 2147483647 w 261"/>
              <a:gd name="T3" fmla="*/ 2147483647 h 290"/>
              <a:gd name="T4" fmla="*/ 2147483647 w 261"/>
              <a:gd name="T5" fmla="*/ 2147483647 h 290"/>
              <a:gd name="T6" fmla="*/ 2147483647 w 261"/>
              <a:gd name="T7" fmla="*/ 2147483647 h 290"/>
              <a:gd name="T8" fmla="*/ 2147483647 w 261"/>
              <a:gd name="T9" fmla="*/ 2147483647 h 290"/>
              <a:gd name="T10" fmla="*/ 2147483647 w 261"/>
              <a:gd name="T11" fmla="*/ 2147483647 h 290"/>
              <a:gd name="T12" fmla="*/ 2147483647 w 261"/>
              <a:gd name="T13" fmla="*/ 2147483647 h 290"/>
              <a:gd name="T14" fmla="*/ 2147483647 w 261"/>
              <a:gd name="T15" fmla="*/ 2147483647 h 290"/>
              <a:gd name="T16" fmla="*/ 2147483647 w 261"/>
              <a:gd name="T17" fmla="*/ 2147483647 h 290"/>
              <a:gd name="T18" fmla="*/ 2147483647 w 261"/>
              <a:gd name="T19" fmla="*/ 2147483647 h 290"/>
              <a:gd name="T20" fmla="*/ 2147483647 w 261"/>
              <a:gd name="T21" fmla="*/ 2147483647 h 290"/>
              <a:gd name="T22" fmla="*/ 2147483647 w 261"/>
              <a:gd name="T23" fmla="*/ 2147483647 h 290"/>
              <a:gd name="T24" fmla="*/ 2147483647 w 261"/>
              <a:gd name="T25" fmla="*/ 2147483647 h 290"/>
              <a:gd name="T26" fmla="*/ 2147483647 w 261"/>
              <a:gd name="T27" fmla="*/ 2147483647 h 290"/>
              <a:gd name="T28" fmla="*/ 2147483647 w 261"/>
              <a:gd name="T29" fmla="*/ 2147483647 h 290"/>
              <a:gd name="T30" fmla="*/ 2147483647 w 261"/>
              <a:gd name="T31" fmla="*/ 2147483647 h 290"/>
              <a:gd name="T32" fmla="*/ 2147483647 w 261"/>
              <a:gd name="T33" fmla="*/ 2147483647 h 290"/>
              <a:gd name="T34" fmla="*/ 2147483647 w 261"/>
              <a:gd name="T35" fmla="*/ 2147483647 h 290"/>
              <a:gd name="T36" fmla="*/ 2147483647 w 261"/>
              <a:gd name="T37" fmla="*/ 2147483647 h 290"/>
              <a:gd name="T38" fmla="*/ 2147483647 w 261"/>
              <a:gd name="T39" fmla="*/ 2147483647 h 290"/>
              <a:gd name="T40" fmla="*/ 2147483647 w 261"/>
              <a:gd name="T41" fmla="*/ 0 h 290"/>
              <a:gd name="T42" fmla="*/ 2147483647 w 261"/>
              <a:gd name="T43" fmla="*/ 2147483647 h 290"/>
              <a:gd name="T44" fmla="*/ 2147483647 w 261"/>
              <a:gd name="T45" fmla="*/ 2147483647 h 290"/>
              <a:gd name="T46" fmla="*/ 2147483647 w 261"/>
              <a:gd name="T47" fmla="*/ 2147483647 h 290"/>
              <a:gd name="T48" fmla="*/ 2147483647 w 261"/>
              <a:gd name="T49" fmla="*/ 2147483647 h 290"/>
              <a:gd name="T50" fmla="*/ 2147483647 w 261"/>
              <a:gd name="T51" fmla="*/ 2147483647 h 290"/>
              <a:gd name="T52" fmla="*/ 2147483647 w 261"/>
              <a:gd name="T53" fmla="*/ 2147483647 h 290"/>
              <a:gd name="T54" fmla="*/ 2147483647 w 261"/>
              <a:gd name="T55" fmla="*/ 2147483647 h 290"/>
              <a:gd name="T56" fmla="*/ 2147483647 w 261"/>
              <a:gd name="T57" fmla="*/ 2147483647 h 290"/>
              <a:gd name="T58" fmla="*/ 2147483647 w 261"/>
              <a:gd name="T59" fmla="*/ 2147483647 h 290"/>
              <a:gd name="T60" fmla="*/ 2147483647 w 261"/>
              <a:gd name="T61" fmla="*/ 2147483647 h 290"/>
              <a:gd name="T62" fmla="*/ 2147483647 w 261"/>
              <a:gd name="T63" fmla="*/ 2147483647 h 290"/>
              <a:gd name="T64" fmla="*/ 2147483647 w 261"/>
              <a:gd name="T65" fmla="*/ 2147483647 h 290"/>
              <a:gd name="T66" fmla="*/ 2147483647 w 261"/>
              <a:gd name="T67" fmla="*/ 2147483647 h 290"/>
              <a:gd name="T68" fmla="*/ 2147483647 w 261"/>
              <a:gd name="T69" fmla="*/ 2147483647 h 290"/>
              <a:gd name="T70" fmla="*/ 2147483647 w 261"/>
              <a:gd name="T71" fmla="*/ 2147483647 h 290"/>
              <a:gd name="T72" fmla="*/ 2147483647 w 261"/>
              <a:gd name="T73" fmla="*/ 2147483647 h 290"/>
              <a:gd name="T74" fmla="*/ 2147483647 w 261"/>
              <a:gd name="T75" fmla="*/ 2147483647 h 290"/>
              <a:gd name="T76" fmla="*/ 2147483647 w 261"/>
              <a:gd name="T77" fmla="*/ 2147483647 h 290"/>
              <a:gd name="T78" fmla="*/ 2147483647 w 261"/>
              <a:gd name="T79" fmla="*/ 2147483647 h 290"/>
              <a:gd name="T80" fmla="*/ 2147483647 w 261"/>
              <a:gd name="T81" fmla="*/ 2147483647 h 290"/>
              <a:gd name="T82" fmla="*/ 2147483647 w 261"/>
              <a:gd name="T83" fmla="*/ 2147483647 h 290"/>
              <a:gd name="T84" fmla="*/ 2147483647 w 261"/>
              <a:gd name="T85" fmla="*/ 2147483647 h 290"/>
              <a:gd name="T86" fmla="*/ 2147483647 w 261"/>
              <a:gd name="T87" fmla="*/ 2147483647 h 290"/>
              <a:gd name="T88" fmla="*/ 2147483647 w 261"/>
              <a:gd name="T89" fmla="*/ 2147483647 h 290"/>
              <a:gd name="T90" fmla="*/ 2147483647 w 261"/>
              <a:gd name="T91" fmla="*/ 2147483647 h 290"/>
              <a:gd name="T92" fmla="*/ 0 w 261"/>
              <a:gd name="T93" fmla="*/ 2147483647 h 290"/>
              <a:gd name="T94" fmla="*/ 2147483647 w 261"/>
              <a:gd name="T95" fmla="*/ 2147483647 h 290"/>
              <a:gd name="T96" fmla="*/ 2147483647 w 261"/>
              <a:gd name="T97" fmla="*/ 2147483647 h 290"/>
              <a:gd name="T98" fmla="*/ 2147483647 w 261"/>
              <a:gd name="T99" fmla="*/ 2147483647 h 290"/>
              <a:gd name="T100" fmla="*/ 2147483647 w 261"/>
              <a:gd name="T101" fmla="*/ 2147483647 h 290"/>
              <a:gd name="T102" fmla="*/ 2147483647 w 261"/>
              <a:gd name="T103" fmla="*/ 2147483647 h 290"/>
              <a:gd name="T104" fmla="*/ 2147483647 w 261"/>
              <a:gd name="T105" fmla="*/ 2147483647 h 290"/>
              <a:gd name="T106" fmla="*/ 2147483647 w 261"/>
              <a:gd name="T107" fmla="*/ 2147483647 h 29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61"/>
              <a:gd name="T163" fmla="*/ 0 h 290"/>
              <a:gd name="T164" fmla="*/ 261 w 261"/>
              <a:gd name="T165" fmla="*/ 290 h 29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61" h="290">
                <a:moveTo>
                  <a:pt x="54" y="183"/>
                </a:moveTo>
                <a:lnTo>
                  <a:pt x="58" y="179"/>
                </a:lnTo>
                <a:lnTo>
                  <a:pt x="67" y="169"/>
                </a:lnTo>
                <a:lnTo>
                  <a:pt x="75" y="167"/>
                </a:lnTo>
                <a:lnTo>
                  <a:pt x="79" y="169"/>
                </a:lnTo>
                <a:lnTo>
                  <a:pt x="82" y="163"/>
                </a:lnTo>
                <a:lnTo>
                  <a:pt x="94" y="163"/>
                </a:lnTo>
                <a:lnTo>
                  <a:pt x="107" y="163"/>
                </a:lnTo>
                <a:lnTo>
                  <a:pt x="107" y="158"/>
                </a:lnTo>
                <a:lnTo>
                  <a:pt x="107" y="150"/>
                </a:lnTo>
                <a:lnTo>
                  <a:pt x="109" y="148"/>
                </a:lnTo>
                <a:lnTo>
                  <a:pt x="111" y="144"/>
                </a:lnTo>
                <a:lnTo>
                  <a:pt x="113" y="142"/>
                </a:lnTo>
                <a:lnTo>
                  <a:pt x="117" y="140"/>
                </a:lnTo>
                <a:lnTo>
                  <a:pt x="119" y="137"/>
                </a:lnTo>
                <a:lnTo>
                  <a:pt x="121" y="135"/>
                </a:lnTo>
                <a:lnTo>
                  <a:pt x="127" y="119"/>
                </a:lnTo>
                <a:lnTo>
                  <a:pt x="132" y="104"/>
                </a:lnTo>
                <a:lnTo>
                  <a:pt x="113" y="104"/>
                </a:lnTo>
                <a:lnTo>
                  <a:pt x="94" y="104"/>
                </a:lnTo>
                <a:lnTo>
                  <a:pt x="73" y="106"/>
                </a:lnTo>
                <a:lnTo>
                  <a:pt x="54" y="106"/>
                </a:lnTo>
                <a:lnTo>
                  <a:pt x="52" y="104"/>
                </a:lnTo>
                <a:lnTo>
                  <a:pt x="48" y="102"/>
                </a:lnTo>
                <a:lnTo>
                  <a:pt x="40" y="98"/>
                </a:lnTo>
                <a:lnTo>
                  <a:pt x="35" y="96"/>
                </a:lnTo>
                <a:lnTo>
                  <a:pt x="31" y="94"/>
                </a:lnTo>
                <a:lnTo>
                  <a:pt x="29" y="92"/>
                </a:lnTo>
                <a:lnTo>
                  <a:pt x="27" y="79"/>
                </a:lnTo>
                <a:lnTo>
                  <a:pt x="25" y="67"/>
                </a:lnTo>
                <a:lnTo>
                  <a:pt x="21" y="66"/>
                </a:lnTo>
                <a:lnTo>
                  <a:pt x="19" y="62"/>
                </a:lnTo>
                <a:lnTo>
                  <a:pt x="19" y="52"/>
                </a:lnTo>
                <a:lnTo>
                  <a:pt x="19" y="43"/>
                </a:lnTo>
                <a:lnTo>
                  <a:pt x="21" y="41"/>
                </a:lnTo>
                <a:lnTo>
                  <a:pt x="25" y="39"/>
                </a:lnTo>
                <a:lnTo>
                  <a:pt x="38" y="39"/>
                </a:lnTo>
                <a:lnTo>
                  <a:pt x="54" y="39"/>
                </a:lnTo>
                <a:lnTo>
                  <a:pt x="56" y="41"/>
                </a:lnTo>
                <a:lnTo>
                  <a:pt x="58" y="43"/>
                </a:lnTo>
                <a:lnTo>
                  <a:pt x="56" y="44"/>
                </a:lnTo>
                <a:lnTo>
                  <a:pt x="54" y="48"/>
                </a:lnTo>
                <a:lnTo>
                  <a:pt x="54" y="52"/>
                </a:lnTo>
                <a:lnTo>
                  <a:pt x="54" y="58"/>
                </a:lnTo>
                <a:lnTo>
                  <a:pt x="56" y="60"/>
                </a:lnTo>
                <a:lnTo>
                  <a:pt x="58" y="62"/>
                </a:lnTo>
                <a:lnTo>
                  <a:pt x="65" y="69"/>
                </a:lnTo>
                <a:lnTo>
                  <a:pt x="73" y="77"/>
                </a:lnTo>
                <a:lnTo>
                  <a:pt x="75" y="79"/>
                </a:lnTo>
                <a:lnTo>
                  <a:pt x="79" y="81"/>
                </a:lnTo>
                <a:lnTo>
                  <a:pt x="82" y="81"/>
                </a:lnTo>
                <a:lnTo>
                  <a:pt x="86" y="81"/>
                </a:lnTo>
                <a:lnTo>
                  <a:pt x="90" y="79"/>
                </a:lnTo>
                <a:lnTo>
                  <a:pt x="92" y="77"/>
                </a:lnTo>
                <a:lnTo>
                  <a:pt x="113" y="69"/>
                </a:lnTo>
                <a:lnTo>
                  <a:pt x="136" y="62"/>
                </a:lnTo>
                <a:lnTo>
                  <a:pt x="138" y="60"/>
                </a:lnTo>
                <a:lnTo>
                  <a:pt x="140" y="58"/>
                </a:lnTo>
                <a:lnTo>
                  <a:pt x="142" y="43"/>
                </a:lnTo>
                <a:lnTo>
                  <a:pt x="142" y="29"/>
                </a:lnTo>
                <a:lnTo>
                  <a:pt x="144" y="14"/>
                </a:lnTo>
                <a:lnTo>
                  <a:pt x="146" y="0"/>
                </a:lnTo>
                <a:lnTo>
                  <a:pt x="157" y="0"/>
                </a:lnTo>
                <a:lnTo>
                  <a:pt x="169" y="0"/>
                </a:lnTo>
                <a:lnTo>
                  <a:pt x="173" y="2"/>
                </a:lnTo>
                <a:lnTo>
                  <a:pt x="175" y="4"/>
                </a:lnTo>
                <a:lnTo>
                  <a:pt x="176" y="6"/>
                </a:lnTo>
                <a:lnTo>
                  <a:pt x="178" y="10"/>
                </a:lnTo>
                <a:lnTo>
                  <a:pt x="182" y="12"/>
                </a:lnTo>
                <a:lnTo>
                  <a:pt x="184" y="14"/>
                </a:lnTo>
                <a:lnTo>
                  <a:pt x="186" y="16"/>
                </a:lnTo>
                <a:lnTo>
                  <a:pt x="190" y="19"/>
                </a:lnTo>
                <a:lnTo>
                  <a:pt x="192" y="21"/>
                </a:lnTo>
                <a:lnTo>
                  <a:pt x="194" y="23"/>
                </a:lnTo>
                <a:lnTo>
                  <a:pt x="221" y="25"/>
                </a:lnTo>
                <a:lnTo>
                  <a:pt x="247" y="29"/>
                </a:lnTo>
                <a:lnTo>
                  <a:pt x="249" y="31"/>
                </a:lnTo>
                <a:lnTo>
                  <a:pt x="251" y="33"/>
                </a:lnTo>
                <a:lnTo>
                  <a:pt x="253" y="35"/>
                </a:lnTo>
                <a:lnTo>
                  <a:pt x="257" y="39"/>
                </a:lnTo>
                <a:lnTo>
                  <a:pt x="259" y="41"/>
                </a:lnTo>
                <a:lnTo>
                  <a:pt x="261" y="43"/>
                </a:lnTo>
                <a:lnTo>
                  <a:pt x="261" y="60"/>
                </a:lnTo>
                <a:lnTo>
                  <a:pt x="261" y="77"/>
                </a:lnTo>
                <a:lnTo>
                  <a:pt x="261" y="94"/>
                </a:lnTo>
                <a:lnTo>
                  <a:pt x="261" y="110"/>
                </a:lnTo>
                <a:lnTo>
                  <a:pt x="259" y="114"/>
                </a:lnTo>
                <a:lnTo>
                  <a:pt x="257" y="115"/>
                </a:lnTo>
                <a:lnTo>
                  <a:pt x="253" y="117"/>
                </a:lnTo>
                <a:lnTo>
                  <a:pt x="251" y="121"/>
                </a:lnTo>
                <a:lnTo>
                  <a:pt x="249" y="123"/>
                </a:lnTo>
                <a:lnTo>
                  <a:pt x="247" y="125"/>
                </a:lnTo>
                <a:lnTo>
                  <a:pt x="246" y="127"/>
                </a:lnTo>
                <a:lnTo>
                  <a:pt x="242" y="131"/>
                </a:lnTo>
                <a:lnTo>
                  <a:pt x="240" y="133"/>
                </a:lnTo>
                <a:lnTo>
                  <a:pt x="238" y="135"/>
                </a:lnTo>
                <a:lnTo>
                  <a:pt x="234" y="142"/>
                </a:lnTo>
                <a:lnTo>
                  <a:pt x="232" y="150"/>
                </a:lnTo>
                <a:lnTo>
                  <a:pt x="230" y="152"/>
                </a:lnTo>
                <a:lnTo>
                  <a:pt x="228" y="154"/>
                </a:lnTo>
                <a:lnTo>
                  <a:pt x="224" y="156"/>
                </a:lnTo>
                <a:lnTo>
                  <a:pt x="223" y="160"/>
                </a:lnTo>
                <a:lnTo>
                  <a:pt x="221" y="161"/>
                </a:lnTo>
                <a:lnTo>
                  <a:pt x="219" y="163"/>
                </a:lnTo>
                <a:lnTo>
                  <a:pt x="219" y="169"/>
                </a:lnTo>
                <a:lnTo>
                  <a:pt x="219" y="173"/>
                </a:lnTo>
                <a:lnTo>
                  <a:pt x="221" y="177"/>
                </a:lnTo>
                <a:lnTo>
                  <a:pt x="223" y="179"/>
                </a:lnTo>
                <a:lnTo>
                  <a:pt x="236" y="181"/>
                </a:lnTo>
                <a:lnTo>
                  <a:pt x="247" y="183"/>
                </a:lnTo>
                <a:lnTo>
                  <a:pt x="249" y="186"/>
                </a:lnTo>
                <a:lnTo>
                  <a:pt x="251" y="188"/>
                </a:lnTo>
                <a:lnTo>
                  <a:pt x="257" y="196"/>
                </a:lnTo>
                <a:lnTo>
                  <a:pt x="261" y="202"/>
                </a:lnTo>
                <a:lnTo>
                  <a:pt x="257" y="202"/>
                </a:lnTo>
                <a:lnTo>
                  <a:pt x="251" y="202"/>
                </a:lnTo>
                <a:lnTo>
                  <a:pt x="192" y="194"/>
                </a:lnTo>
                <a:lnTo>
                  <a:pt x="159" y="190"/>
                </a:lnTo>
                <a:lnTo>
                  <a:pt x="142" y="190"/>
                </a:lnTo>
                <a:lnTo>
                  <a:pt x="127" y="192"/>
                </a:lnTo>
                <a:lnTo>
                  <a:pt x="123" y="209"/>
                </a:lnTo>
                <a:lnTo>
                  <a:pt x="119" y="227"/>
                </a:lnTo>
                <a:lnTo>
                  <a:pt x="115" y="244"/>
                </a:lnTo>
                <a:lnTo>
                  <a:pt x="111" y="261"/>
                </a:lnTo>
                <a:lnTo>
                  <a:pt x="105" y="257"/>
                </a:lnTo>
                <a:lnTo>
                  <a:pt x="100" y="254"/>
                </a:lnTo>
                <a:lnTo>
                  <a:pt x="79" y="271"/>
                </a:lnTo>
                <a:lnTo>
                  <a:pt x="58" y="290"/>
                </a:lnTo>
                <a:lnTo>
                  <a:pt x="56" y="290"/>
                </a:lnTo>
                <a:lnTo>
                  <a:pt x="54" y="290"/>
                </a:lnTo>
                <a:lnTo>
                  <a:pt x="52" y="288"/>
                </a:lnTo>
                <a:lnTo>
                  <a:pt x="48" y="284"/>
                </a:lnTo>
                <a:lnTo>
                  <a:pt x="46" y="282"/>
                </a:lnTo>
                <a:lnTo>
                  <a:pt x="44" y="280"/>
                </a:lnTo>
                <a:lnTo>
                  <a:pt x="42" y="277"/>
                </a:lnTo>
                <a:lnTo>
                  <a:pt x="40" y="275"/>
                </a:lnTo>
                <a:lnTo>
                  <a:pt x="23" y="273"/>
                </a:lnTo>
                <a:lnTo>
                  <a:pt x="6" y="271"/>
                </a:lnTo>
                <a:lnTo>
                  <a:pt x="2" y="267"/>
                </a:lnTo>
                <a:lnTo>
                  <a:pt x="0" y="265"/>
                </a:lnTo>
                <a:lnTo>
                  <a:pt x="2" y="263"/>
                </a:lnTo>
                <a:lnTo>
                  <a:pt x="6" y="261"/>
                </a:lnTo>
                <a:lnTo>
                  <a:pt x="8" y="257"/>
                </a:lnTo>
                <a:lnTo>
                  <a:pt x="10" y="255"/>
                </a:lnTo>
                <a:lnTo>
                  <a:pt x="13" y="254"/>
                </a:lnTo>
                <a:lnTo>
                  <a:pt x="15" y="252"/>
                </a:lnTo>
                <a:lnTo>
                  <a:pt x="17" y="244"/>
                </a:lnTo>
                <a:lnTo>
                  <a:pt x="19" y="236"/>
                </a:lnTo>
                <a:lnTo>
                  <a:pt x="21" y="234"/>
                </a:lnTo>
                <a:lnTo>
                  <a:pt x="25" y="231"/>
                </a:lnTo>
                <a:lnTo>
                  <a:pt x="27" y="229"/>
                </a:lnTo>
                <a:lnTo>
                  <a:pt x="29" y="227"/>
                </a:lnTo>
                <a:lnTo>
                  <a:pt x="31" y="225"/>
                </a:lnTo>
                <a:lnTo>
                  <a:pt x="35" y="223"/>
                </a:lnTo>
                <a:lnTo>
                  <a:pt x="36" y="209"/>
                </a:lnTo>
                <a:lnTo>
                  <a:pt x="40" y="198"/>
                </a:lnTo>
                <a:lnTo>
                  <a:pt x="42" y="196"/>
                </a:lnTo>
                <a:lnTo>
                  <a:pt x="44" y="192"/>
                </a:lnTo>
                <a:lnTo>
                  <a:pt x="46" y="190"/>
                </a:lnTo>
                <a:lnTo>
                  <a:pt x="48" y="188"/>
                </a:lnTo>
                <a:lnTo>
                  <a:pt x="52" y="184"/>
                </a:lnTo>
                <a:lnTo>
                  <a:pt x="54" y="183"/>
                </a:lnTo>
              </a:path>
            </a:pathLst>
          </a:custGeom>
          <a:solidFill>
            <a:schemeClr val="accent3"/>
          </a:solidFill>
          <a:ln w="12700">
            <a:solidFill>
              <a:schemeClr val="bg1"/>
            </a:solidFill>
            <a:round/>
            <a:headEnd/>
            <a:tailEnd/>
          </a:ln>
        </p:spPr>
        <p:txBody>
          <a:bodyPr/>
          <a:lstStyle/>
          <a:p>
            <a:endParaRPr lang="en-GB"/>
          </a:p>
        </p:txBody>
      </p:sp>
      <p:sp>
        <p:nvSpPr>
          <p:cNvPr id="26" name="Freeform 297"/>
          <p:cNvSpPr>
            <a:spLocks/>
          </p:cNvSpPr>
          <p:nvPr>
            <p:custDataLst>
              <p:tags r:id="rId16"/>
            </p:custDataLst>
          </p:nvPr>
        </p:nvSpPr>
        <p:spPr bwMode="auto">
          <a:xfrm>
            <a:off x="2294313" y="4676188"/>
            <a:ext cx="426413" cy="572732"/>
          </a:xfrm>
          <a:custGeom>
            <a:avLst/>
            <a:gdLst>
              <a:gd name="T0" fmla="*/ 2147483647 w 311"/>
              <a:gd name="T1" fmla="*/ 2147483647 h 435"/>
              <a:gd name="T2" fmla="*/ 2147483647 w 311"/>
              <a:gd name="T3" fmla="*/ 2147483647 h 435"/>
              <a:gd name="T4" fmla="*/ 2147483647 w 311"/>
              <a:gd name="T5" fmla="*/ 2147483647 h 435"/>
              <a:gd name="T6" fmla="*/ 2147483647 w 311"/>
              <a:gd name="T7" fmla="*/ 2147483647 h 435"/>
              <a:gd name="T8" fmla="*/ 2147483647 w 311"/>
              <a:gd name="T9" fmla="*/ 2147483647 h 435"/>
              <a:gd name="T10" fmla="*/ 2147483647 w 311"/>
              <a:gd name="T11" fmla="*/ 2147483647 h 435"/>
              <a:gd name="T12" fmla="*/ 2147483647 w 311"/>
              <a:gd name="T13" fmla="*/ 2147483647 h 435"/>
              <a:gd name="T14" fmla="*/ 2147483647 w 311"/>
              <a:gd name="T15" fmla="*/ 2147483647 h 435"/>
              <a:gd name="T16" fmla="*/ 2147483647 w 311"/>
              <a:gd name="T17" fmla="*/ 2147483647 h 435"/>
              <a:gd name="T18" fmla="*/ 2147483647 w 311"/>
              <a:gd name="T19" fmla="*/ 2147483647 h 435"/>
              <a:gd name="T20" fmla="*/ 2147483647 w 311"/>
              <a:gd name="T21" fmla="*/ 2147483647 h 435"/>
              <a:gd name="T22" fmla="*/ 2147483647 w 311"/>
              <a:gd name="T23" fmla="*/ 2147483647 h 435"/>
              <a:gd name="T24" fmla="*/ 2147483647 w 311"/>
              <a:gd name="T25" fmla="*/ 2147483647 h 435"/>
              <a:gd name="T26" fmla="*/ 2147483647 w 311"/>
              <a:gd name="T27" fmla="*/ 2147483647 h 435"/>
              <a:gd name="T28" fmla="*/ 2147483647 w 311"/>
              <a:gd name="T29" fmla="*/ 2147483647 h 435"/>
              <a:gd name="T30" fmla="*/ 2147483647 w 311"/>
              <a:gd name="T31" fmla="*/ 2147483647 h 435"/>
              <a:gd name="T32" fmla="*/ 2147483647 w 311"/>
              <a:gd name="T33" fmla="*/ 2147483647 h 435"/>
              <a:gd name="T34" fmla="*/ 2147483647 w 311"/>
              <a:gd name="T35" fmla="*/ 2147483647 h 435"/>
              <a:gd name="T36" fmla="*/ 2147483647 w 311"/>
              <a:gd name="T37" fmla="*/ 2147483647 h 435"/>
              <a:gd name="T38" fmla="*/ 2147483647 w 311"/>
              <a:gd name="T39" fmla="*/ 2147483647 h 435"/>
              <a:gd name="T40" fmla="*/ 2147483647 w 311"/>
              <a:gd name="T41" fmla="*/ 2147483647 h 435"/>
              <a:gd name="T42" fmla="*/ 2147483647 w 311"/>
              <a:gd name="T43" fmla="*/ 2147483647 h 435"/>
              <a:gd name="T44" fmla="*/ 2147483647 w 311"/>
              <a:gd name="T45" fmla="*/ 2147483647 h 435"/>
              <a:gd name="T46" fmla="*/ 2147483647 w 311"/>
              <a:gd name="T47" fmla="*/ 2147483647 h 435"/>
              <a:gd name="T48" fmla="*/ 2147483647 w 311"/>
              <a:gd name="T49" fmla="*/ 2147483647 h 435"/>
              <a:gd name="T50" fmla="*/ 2147483647 w 311"/>
              <a:gd name="T51" fmla="*/ 2147483647 h 435"/>
              <a:gd name="T52" fmla="*/ 2147483647 w 311"/>
              <a:gd name="T53" fmla="*/ 2147483647 h 435"/>
              <a:gd name="T54" fmla="*/ 2147483647 w 311"/>
              <a:gd name="T55" fmla="*/ 2147483647 h 435"/>
              <a:gd name="T56" fmla="*/ 2147483647 w 311"/>
              <a:gd name="T57" fmla="*/ 2147483647 h 435"/>
              <a:gd name="T58" fmla="*/ 2147483647 w 311"/>
              <a:gd name="T59" fmla="*/ 2147483647 h 435"/>
              <a:gd name="T60" fmla="*/ 2147483647 w 311"/>
              <a:gd name="T61" fmla="*/ 2147483647 h 435"/>
              <a:gd name="T62" fmla="*/ 2147483647 w 311"/>
              <a:gd name="T63" fmla="*/ 0 h 435"/>
              <a:gd name="T64" fmla="*/ 2147483647 w 311"/>
              <a:gd name="T65" fmla="*/ 2147483647 h 435"/>
              <a:gd name="T66" fmla="*/ 2147483647 w 311"/>
              <a:gd name="T67" fmla="*/ 2147483647 h 435"/>
              <a:gd name="T68" fmla="*/ 2147483647 w 311"/>
              <a:gd name="T69" fmla="*/ 2147483647 h 435"/>
              <a:gd name="T70" fmla="*/ 2147483647 w 311"/>
              <a:gd name="T71" fmla="*/ 2147483647 h 435"/>
              <a:gd name="T72" fmla="*/ 2147483647 w 311"/>
              <a:gd name="T73" fmla="*/ 2147483647 h 435"/>
              <a:gd name="T74" fmla="*/ 2147483647 w 311"/>
              <a:gd name="T75" fmla="*/ 2147483647 h 435"/>
              <a:gd name="T76" fmla="*/ 2147483647 w 311"/>
              <a:gd name="T77" fmla="*/ 2147483647 h 435"/>
              <a:gd name="T78" fmla="*/ 2147483647 w 311"/>
              <a:gd name="T79" fmla="*/ 2147483647 h 435"/>
              <a:gd name="T80" fmla="*/ 2147483647 w 311"/>
              <a:gd name="T81" fmla="*/ 2147483647 h 435"/>
              <a:gd name="T82" fmla="*/ 2147483647 w 311"/>
              <a:gd name="T83" fmla="*/ 2147483647 h 435"/>
              <a:gd name="T84" fmla="*/ 2147483647 w 311"/>
              <a:gd name="T85" fmla="*/ 2147483647 h 435"/>
              <a:gd name="T86" fmla="*/ 2147483647 w 311"/>
              <a:gd name="T87" fmla="*/ 2147483647 h 435"/>
              <a:gd name="T88" fmla="*/ 2147483647 w 311"/>
              <a:gd name="T89" fmla="*/ 2147483647 h 435"/>
              <a:gd name="T90" fmla="*/ 2147483647 w 311"/>
              <a:gd name="T91" fmla="*/ 2147483647 h 435"/>
              <a:gd name="T92" fmla="*/ 2147483647 w 311"/>
              <a:gd name="T93" fmla="*/ 2147483647 h 435"/>
              <a:gd name="T94" fmla="*/ 2147483647 w 311"/>
              <a:gd name="T95" fmla="*/ 2147483647 h 435"/>
              <a:gd name="T96" fmla="*/ 2147483647 w 311"/>
              <a:gd name="T97" fmla="*/ 2147483647 h 435"/>
              <a:gd name="T98" fmla="*/ 2147483647 w 311"/>
              <a:gd name="T99" fmla="*/ 2147483647 h 435"/>
              <a:gd name="T100" fmla="*/ 2147483647 w 311"/>
              <a:gd name="T101" fmla="*/ 2147483647 h 435"/>
              <a:gd name="T102" fmla="*/ 2147483647 w 311"/>
              <a:gd name="T103" fmla="*/ 2147483647 h 435"/>
              <a:gd name="T104" fmla="*/ 2147483647 w 311"/>
              <a:gd name="T105" fmla="*/ 2147483647 h 435"/>
              <a:gd name="T106" fmla="*/ 2147483647 w 311"/>
              <a:gd name="T107" fmla="*/ 2147483647 h 435"/>
              <a:gd name="T108" fmla="*/ 2147483647 w 311"/>
              <a:gd name="T109" fmla="*/ 2147483647 h 435"/>
              <a:gd name="T110" fmla="*/ 2147483647 w 311"/>
              <a:gd name="T111" fmla="*/ 2147483647 h 435"/>
              <a:gd name="T112" fmla="*/ 2147483647 w 311"/>
              <a:gd name="T113" fmla="*/ 2147483647 h 435"/>
              <a:gd name="T114" fmla="*/ 2147483647 w 311"/>
              <a:gd name="T115" fmla="*/ 2147483647 h 43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1"/>
              <a:gd name="T175" fmla="*/ 0 h 435"/>
              <a:gd name="T176" fmla="*/ 311 w 311"/>
              <a:gd name="T177" fmla="*/ 435 h 43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1" h="435">
                <a:moveTo>
                  <a:pt x="238" y="291"/>
                </a:moveTo>
                <a:lnTo>
                  <a:pt x="233" y="297"/>
                </a:lnTo>
                <a:lnTo>
                  <a:pt x="223" y="305"/>
                </a:lnTo>
                <a:lnTo>
                  <a:pt x="221" y="307"/>
                </a:lnTo>
                <a:lnTo>
                  <a:pt x="219" y="309"/>
                </a:lnTo>
                <a:lnTo>
                  <a:pt x="217" y="312"/>
                </a:lnTo>
                <a:lnTo>
                  <a:pt x="215" y="314"/>
                </a:lnTo>
                <a:lnTo>
                  <a:pt x="211" y="316"/>
                </a:lnTo>
                <a:lnTo>
                  <a:pt x="210" y="318"/>
                </a:lnTo>
                <a:lnTo>
                  <a:pt x="206" y="332"/>
                </a:lnTo>
                <a:lnTo>
                  <a:pt x="204" y="343"/>
                </a:lnTo>
                <a:lnTo>
                  <a:pt x="202" y="345"/>
                </a:lnTo>
                <a:lnTo>
                  <a:pt x="200" y="349"/>
                </a:lnTo>
                <a:lnTo>
                  <a:pt x="196" y="351"/>
                </a:lnTo>
                <a:lnTo>
                  <a:pt x="194" y="353"/>
                </a:lnTo>
                <a:lnTo>
                  <a:pt x="192" y="355"/>
                </a:lnTo>
                <a:lnTo>
                  <a:pt x="190" y="357"/>
                </a:lnTo>
                <a:lnTo>
                  <a:pt x="188" y="364"/>
                </a:lnTo>
                <a:lnTo>
                  <a:pt x="185" y="372"/>
                </a:lnTo>
                <a:lnTo>
                  <a:pt x="183" y="374"/>
                </a:lnTo>
                <a:lnTo>
                  <a:pt x="181" y="378"/>
                </a:lnTo>
                <a:lnTo>
                  <a:pt x="177" y="380"/>
                </a:lnTo>
                <a:lnTo>
                  <a:pt x="175" y="381"/>
                </a:lnTo>
                <a:lnTo>
                  <a:pt x="173" y="383"/>
                </a:lnTo>
                <a:lnTo>
                  <a:pt x="171" y="387"/>
                </a:lnTo>
                <a:lnTo>
                  <a:pt x="171" y="391"/>
                </a:lnTo>
                <a:lnTo>
                  <a:pt x="171" y="397"/>
                </a:lnTo>
                <a:lnTo>
                  <a:pt x="173" y="399"/>
                </a:lnTo>
                <a:lnTo>
                  <a:pt x="175" y="401"/>
                </a:lnTo>
                <a:lnTo>
                  <a:pt x="173" y="403"/>
                </a:lnTo>
                <a:lnTo>
                  <a:pt x="171" y="406"/>
                </a:lnTo>
                <a:lnTo>
                  <a:pt x="167" y="408"/>
                </a:lnTo>
                <a:lnTo>
                  <a:pt x="165" y="410"/>
                </a:lnTo>
                <a:lnTo>
                  <a:pt x="163" y="414"/>
                </a:lnTo>
                <a:lnTo>
                  <a:pt x="162" y="416"/>
                </a:lnTo>
                <a:lnTo>
                  <a:pt x="158" y="418"/>
                </a:lnTo>
                <a:lnTo>
                  <a:pt x="156" y="420"/>
                </a:lnTo>
                <a:lnTo>
                  <a:pt x="154" y="424"/>
                </a:lnTo>
                <a:lnTo>
                  <a:pt x="150" y="426"/>
                </a:lnTo>
                <a:lnTo>
                  <a:pt x="148" y="428"/>
                </a:lnTo>
                <a:lnTo>
                  <a:pt x="146" y="429"/>
                </a:lnTo>
                <a:lnTo>
                  <a:pt x="144" y="433"/>
                </a:lnTo>
                <a:lnTo>
                  <a:pt x="142" y="435"/>
                </a:lnTo>
                <a:lnTo>
                  <a:pt x="137" y="435"/>
                </a:lnTo>
                <a:lnTo>
                  <a:pt x="133" y="435"/>
                </a:lnTo>
                <a:lnTo>
                  <a:pt x="129" y="433"/>
                </a:lnTo>
                <a:lnTo>
                  <a:pt x="127" y="429"/>
                </a:lnTo>
                <a:lnTo>
                  <a:pt x="119" y="428"/>
                </a:lnTo>
                <a:lnTo>
                  <a:pt x="112" y="426"/>
                </a:lnTo>
                <a:lnTo>
                  <a:pt x="110" y="424"/>
                </a:lnTo>
                <a:lnTo>
                  <a:pt x="108" y="420"/>
                </a:lnTo>
                <a:lnTo>
                  <a:pt x="85" y="418"/>
                </a:lnTo>
                <a:lnTo>
                  <a:pt x="64" y="416"/>
                </a:lnTo>
                <a:lnTo>
                  <a:pt x="62" y="414"/>
                </a:lnTo>
                <a:lnTo>
                  <a:pt x="60" y="410"/>
                </a:lnTo>
                <a:lnTo>
                  <a:pt x="60" y="406"/>
                </a:lnTo>
                <a:lnTo>
                  <a:pt x="60" y="401"/>
                </a:lnTo>
                <a:lnTo>
                  <a:pt x="62" y="399"/>
                </a:lnTo>
                <a:lnTo>
                  <a:pt x="64" y="397"/>
                </a:lnTo>
                <a:lnTo>
                  <a:pt x="68" y="391"/>
                </a:lnTo>
                <a:lnTo>
                  <a:pt x="68" y="381"/>
                </a:lnTo>
                <a:lnTo>
                  <a:pt x="68" y="372"/>
                </a:lnTo>
                <a:lnTo>
                  <a:pt x="64" y="368"/>
                </a:lnTo>
                <a:lnTo>
                  <a:pt x="62" y="364"/>
                </a:lnTo>
                <a:lnTo>
                  <a:pt x="60" y="362"/>
                </a:lnTo>
                <a:lnTo>
                  <a:pt x="64" y="358"/>
                </a:lnTo>
                <a:lnTo>
                  <a:pt x="69" y="353"/>
                </a:lnTo>
                <a:lnTo>
                  <a:pt x="71" y="351"/>
                </a:lnTo>
                <a:lnTo>
                  <a:pt x="73" y="349"/>
                </a:lnTo>
                <a:lnTo>
                  <a:pt x="73" y="337"/>
                </a:lnTo>
                <a:lnTo>
                  <a:pt x="73" y="328"/>
                </a:lnTo>
                <a:lnTo>
                  <a:pt x="71" y="326"/>
                </a:lnTo>
                <a:lnTo>
                  <a:pt x="69" y="324"/>
                </a:lnTo>
                <a:lnTo>
                  <a:pt x="58" y="322"/>
                </a:lnTo>
                <a:lnTo>
                  <a:pt x="45" y="318"/>
                </a:lnTo>
                <a:lnTo>
                  <a:pt x="43" y="316"/>
                </a:lnTo>
                <a:lnTo>
                  <a:pt x="41" y="314"/>
                </a:lnTo>
                <a:lnTo>
                  <a:pt x="37" y="297"/>
                </a:lnTo>
                <a:lnTo>
                  <a:pt x="35" y="280"/>
                </a:lnTo>
                <a:lnTo>
                  <a:pt x="33" y="278"/>
                </a:lnTo>
                <a:lnTo>
                  <a:pt x="31" y="276"/>
                </a:lnTo>
                <a:lnTo>
                  <a:pt x="27" y="264"/>
                </a:lnTo>
                <a:lnTo>
                  <a:pt x="25" y="251"/>
                </a:lnTo>
                <a:lnTo>
                  <a:pt x="23" y="249"/>
                </a:lnTo>
                <a:lnTo>
                  <a:pt x="21" y="247"/>
                </a:lnTo>
                <a:lnTo>
                  <a:pt x="18" y="234"/>
                </a:lnTo>
                <a:lnTo>
                  <a:pt x="16" y="222"/>
                </a:lnTo>
                <a:lnTo>
                  <a:pt x="14" y="220"/>
                </a:lnTo>
                <a:lnTo>
                  <a:pt x="12" y="218"/>
                </a:lnTo>
                <a:lnTo>
                  <a:pt x="8" y="192"/>
                </a:lnTo>
                <a:lnTo>
                  <a:pt x="6" y="165"/>
                </a:lnTo>
                <a:lnTo>
                  <a:pt x="4" y="161"/>
                </a:lnTo>
                <a:lnTo>
                  <a:pt x="0" y="159"/>
                </a:lnTo>
                <a:lnTo>
                  <a:pt x="6" y="149"/>
                </a:lnTo>
                <a:lnTo>
                  <a:pt x="12" y="140"/>
                </a:lnTo>
                <a:lnTo>
                  <a:pt x="14" y="138"/>
                </a:lnTo>
                <a:lnTo>
                  <a:pt x="16" y="136"/>
                </a:lnTo>
                <a:lnTo>
                  <a:pt x="18" y="132"/>
                </a:lnTo>
                <a:lnTo>
                  <a:pt x="21" y="130"/>
                </a:lnTo>
                <a:lnTo>
                  <a:pt x="23" y="128"/>
                </a:lnTo>
                <a:lnTo>
                  <a:pt x="25" y="126"/>
                </a:lnTo>
                <a:lnTo>
                  <a:pt x="27" y="119"/>
                </a:lnTo>
                <a:lnTo>
                  <a:pt x="31" y="111"/>
                </a:lnTo>
                <a:lnTo>
                  <a:pt x="33" y="109"/>
                </a:lnTo>
                <a:lnTo>
                  <a:pt x="35" y="107"/>
                </a:lnTo>
                <a:lnTo>
                  <a:pt x="37" y="86"/>
                </a:lnTo>
                <a:lnTo>
                  <a:pt x="41" y="67"/>
                </a:lnTo>
                <a:lnTo>
                  <a:pt x="68" y="67"/>
                </a:lnTo>
                <a:lnTo>
                  <a:pt x="83" y="67"/>
                </a:lnTo>
                <a:lnTo>
                  <a:pt x="85" y="67"/>
                </a:lnTo>
                <a:lnTo>
                  <a:pt x="87" y="65"/>
                </a:lnTo>
                <a:lnTo>
                  <a:pt x="89" y="65"/>
                </a:lnTo>
                <a:lnTo>
                  <a:pt x="89" y="63"/>
                </a:lnTo>
                <a:lnTo>
                  <a:pt x="91" y="59"/>
                </a:lnTo>
                <a:lnTo>
                  <a:pt x="92" y="57"/>
                </a:lnTo>
                <a:lnTo>
                  <a:pt x="96" y="38"/>
                </a:lnTo>
                <a:lnTo>
                  <a:pt x="98" y="19"/>
                </a:lnTo>
                <a:lnTo>
                  <a:pt x="110" y="19"/>
                </a:lnTo>
                <a:lnTo>
                  <a:pt x="115" y="19"/>
                </a:lnTo>
                <a:lnTo>
                  <a:pt x="117" y="17"/>
                </a:lnTo>
                <a:lnTo>
                  <a:pt x="117" y="15"/>
                </a:lnTo>
                <a:lnTo>
                  <a:pt x="119" y="11"/>
                </a:lnTo>
                <a:lnTo>
                  <a:pt x="121" y="9"/>
                </a:lnTo>
                <a:lnTo>
                  <a:pt x="129" y="7"/>
                </a:lnTo>
                <a:lnTo>
                  <a:pt x="137" y="3"/>
                </a:lnTo>
                <a:lnTo>
                  <a:pt x="139" y="2"/>
                </a:lnTo>
                <a:lnTo>
                  <a:pt x="142" y="0"/>
                </a:lnTo>
                <a:lnTo>
                  <a:pt x="146" y="0"/>
                </a:lnTo>
                <a:lnTo>
                  <a:pt x="150" y="0"/>
                </a:lnTo>
                <a:lnTo>
                  <a:pt x="154" y="2"/>
                </a:lnTo>
                <a:lnTo>
                  <a:pt x="156" y="3"/>
                </a:lnTo>
                <a:lnTo>
                  <a:pt x="158" y="11"/>
                </a:lnTo>
                <a:lnTo>
                  <a:pt x="162" y="19"/>
                </a:lnTo>
                <a:lnTo>
                  <a:pt x="163" y="21"/>
                </a:lnTo>
                <a:lnTo>
                  <a:pt x="165" y="25"/>
                </a:lnTo>
                <a:lnTo>
                  <a:pt x="173" y="27"/>
                </a:lnTo>
                <a:lnTo>
                  <a:pt x="181" y="28"/>
                </a:lnTo>
                <a:lnTo>
                  <a:pt x="183" y="30"/>
                </a:lnTo>
                <a:lnTo>
                  <a:pt x="185" y="34"/>
                </a:lnTo>
                <a:lnTo>
                  <a:pt x="192" y="36"/>
                </a:lnTo>
                <a:lnTo>
                  <a:pt x="200" y="38"/>
                </a:lnTo>
                <a:lnTo>
                  <a:pt x="202" y="42"/>
                </a:lnTo>
                <a:lnTo>
                  <a:pt x="204" y="44"/>
                </a:lnTo>
                <a:lnTo>
                  <a:pt x="211" y="51"/>
                </a:lnTo>
                <a:lnTo>
                  <a:pt x="219" y="57"/>
                </a:lnTo>
                <a:lnTo>
                  <a:pt x="221" y="59"/>
                </a:lnTo>
                <a:lnTo>
                  <a:pt x="223" y="63"/>
                </a:lnTo>
                <a:lnTo>
                  <a:pt x="227" y="69"/>
                </a:lnTo>
                <a:lnTo>
                  <a:pt x="229" y="76"/>
                </a:lnTo>
                <a:lnTo>
                  <a:pt x="231" y="80"/>
                </a:lnTo>
                <a:lnTo>
                  <a:pt x="233" y="82"/>
                </a:lnTo>
                <a:lnTo>
                  <a:pt x="238" y="82"/>
                </a:lnTo>
                <a:lnTo>
                  <a:pt x="244" y="82"/>
                </a:lnTo>
                <a:lnTo>
                  <a:pt x="246" y="80"/>
                </a:lnTo>
                <a:lnTo>
                  <a:pt x="248" y="76"/>
                </a:lnTo>
                <a:lnTo>
                  <a:pt x="250" y="80"/>
                </a:lnTo>
                <a:lnTo>
                  <a:pt x="254" y="82"/>
                </a:lnTo>
                <a:lnTo>
                  <a:pt x="256" y="84"/>
                </a:lnTo>
                <a:lnTo>
                  <a:pt x="257" y="86"/>
                </a:lnTo>
                <a:lnTo>
                  <a:pt x="259" y="90"/>
                </a:lnTo>
                <a:lnTo>
                  <a:pt x="261" y="92"/>
                </a:lnTo>
                <a:lnTo>
                  <a:pt x="265" y="94"/>
                </a:lnTo>
                <a:lnTo>
                  <a:pt x="267" y="96"/>
                </a:lnTo>
                <a:lnTo>
                  <a:pt x="269" y="99"/>
                </a:lnTo>
                <a:lnTo>
                  <a:pt x="273" y="101"/>
                </a:lnTo>
                <a:lnTo>
                  <a:pt x="275" y="103"/>
                </a:lnTo>
                <a:lnTo>
                  <a:pt x="277" y="107"/>
                </a:lnTo>
                <a:lnTo>
                  <a:pt x="279" y="109"/>
                </a:lnTo>
                <a:lnTo>
                  <a:pt x="282" y="111"/>
                </a:lnTo>
                <a:lnTo>
                  <a:pt x="288" y="113"/>
                </a:lnTo>
                <a:lnTo>
                  <a:pt x="296" y="117"/>
                </a:lnTo>
                <a:lnTo>
                  <a:pt x="298" y="119"/>
                </a:lnTo>
                <a:lnTo>
                  <a:pt x="302" y="121"/>
                </a:lnTo>
                <a:lnTo>
                  <a:pt x="304" y="136"/>
                </a:lnTo>
                <a:lnTo>
                  <a:pt x="305" y="149"/>
                </a:lnTo>
                <a:lnTo>
                  <a:pt x="307" y="165"/>
                </a:lnTo>
                <a:lnTo>
                  <a:pt x="311" y="178"/>
                </a:lnTo>
                <a:lnTo>
                  <a:pt x="307" y="182"/>
                </a:lnTo>
                <a:lnTo>
                  <a:pt x="305" y="184"/>
                </a:lnTo>
                <a:lnTo>
                  <a:pt x="284" y="184"/>
                </a:lnTo>
                <a:lnTo>
                  <a:pt x="261" y="184"/>
                </a:lnTo>
                <a:lnTo>
                  <a:pt x="261" y="190"/>
                </a:lnTo>
                <a:lnTo>
                  <a:pt x="261" y="197"/>
                </a:lnTo>
                <a:lnTo>
                  <a:pt x="259" y="201"/>
                </a:lnTo>
                <a:lnTo>
                  <a:pt x="257" y="203"/>
                </a:lnTo>
                <a:lnTo>
                  <a:pt x="256" y="201"/>
                </a:lnTo>
                <a:lnTo>
                  <a:pt x="254" y="197"/>
                </a:lnTo>
                <a:lnTo>
                  <a:pt x="254" y="190"/>
                </a:lnTo>
                <a:lnTo>
                  <a:pt x="254" y="184"/>
                </a:lnTo>
                <a:lnTo>
                  <a:pt x="246" y="184"/>
                </a:lnTo>
                <a:lnTo>
                  <a:pt x="238" y="184"/>
                </a:lnTo>
                <a:lnTo>
                  <a:pt x="236" y="182"/>
                </a:lnTo>
                <a:lnTo>
                  <a:pt x="233" y="178"/>
                </a:lnTo>
                <a:lnTo>
                  <a:pt x="236" y="176"/>
                </a:lnTo>
                <a:lnTo>
                  <a:pt x="238" y="174"/>
                </a:lnTo>
                <a:lnTo>
                  <a:pt x="238" y="169"/>
                </a:lnTo>
                <a:lnTo>
                  <a:pt x="238" y="165"/>
                </a:lnTo>
                <a:lnTo>
                  <a:pt x="236" y="161"/>
                </a:lnTo>
                <a:lnTo>
                  <a:pt x="233" y="159"/>
                </a:lnTo>
                <a:lnTo>
                  <a:pt x="213" y="159"/>
                </a:lnTo>
                <a:lnTo>
                  <a:pt x="194" y="159"/>
                </a:lnTo>
                <a:lnTo>
                  <a:pt x="192" y="161"/>
                </a:lnTo>
                <a:lnTo>
                  <a:pt x="190" y="165"/>
                </a:lnTo>
                <a:lnTo>
                  <a:pt x="186" y="169"/>
                </a:lnTo>
                <a:lnTo>
                  <a:pt x="186" y="178"/>
                </a:lnTo>
                <a:lnTo>
                  <a:pt x="186" y="190"/>
                </a:lnTo>
                <a:lnTo>
                  <a:pt x="190" y="193"/>
                </a:lnTo>
                <a:lnTo>
                  <a:pt x="192" y="195"/>
                </a:lnTo>
                <a:lnTo>
                  <a:pt x="194" y="197"/>
                </a:lnTo>
                <a:lnTo>
                  <a:pt x="196" y="211"/>
                </a:lnTo>
                <a:lnTo>
                  <a:pt x="200" y="222"/>
                </a:lnTo>
                <a:lnTo>
                  <a:pt x="202" y="224"/>
                </a:lnTo>
                <a:lnTo>
                  <a:pt x="204" y="228"/>
                </a:lnTo>
                <a:lnTo>
                  <a:pt x="211" y="230"/>
                </a:lnTo>
                <a:lnTo>
                  <a:pt x="219" y="232"/>
                </a:lnTo>
                <a:lnTo>
                  <a:pt x="221" y="234"/>
                </a:lnTo>
                <a:lnTo>
                  <a:pt x="223" y="236"/>
                </a:lnTo>
                <a:lnTo>
                  <a:pt x="231" y="238"/>
                </a:lnTo>
                <a:lnTo>
                  <a:pt x="275" y="236"/>
                </a:lnTo>
                <a:lnTo>
                  <a:pt x="286" y="236"/>
                </a:lnTo>
                <a:lnTo>
                  <a:pt x="300" y="236"/>
                </a:lnTo>
                <a:lnTo>
                  <a:pt x="296" y="245"/>
                </a:lnTo>
                <a:lnTo>
                  <a:pt x="292" y="257"/>
                </a:lnTo>
                <a:lnTo>
                  <a:pt x="288" y="259"/>
                </a:lnTo>
                <a:lnTo>
                  <a:pt x="286" y="261"/>
                </a:lnTo>
                <a:lnTo>
                  <a:pt x="284" y="263"/>
                </a:lnTo>
                <a:lnTo>
                  <a:pt x="282" y="266"/>
                </a:lnTo>
                <a:lnTo>
                  <a:pt x="279" y="268"/>
                </a:lnTo>
                <a:lnTo>
                  <a:pt x="277" y="270"/>
                </a:lnTo>
                <a:lnTo>
                  <a:pt x="275" y="276"/>
                </a:lnTo>
                <a:lnTo>
                  <a:pt x="275" y="284"/>
                </a:lnTo>
                <a:lnTo>
                  <a:pt x="263" y="284"/>
                </a:lnTo>
                <a:lnTo>
                  <a:pt x="254" y="286"/>
                </a:lnTo>
                <a:lnTo>
                  <a:pt x="246" y="287"/>
                </a:lnTo>
                <a:lnTo>
                  <a:pt x="238" y="291"/>
                </a:lnTo>
              </a:path>
            </a:pathLst>
          </a:custGeom>
          <a:solidFill>
            <a:schemeClr val="accent3"/>
          </a:solidFill>
          <a:ln w="12700">
            <a:solidFill>
              <a:schemeClr val="bg1"/>
            </a:solidFill>
            <a:round/>
            <a:headEnd/>
            <a:tailEnd/>
          </a:ln>
        </p:spPr>
        <p:txBody>
          <a:bodyPr/>
          <a:lstStyle/>
          <a:p>
            <a:endParaRPr lang="en-GB"/>
          </a:p>
        </p:txBody>
      </p:sp>
      <p:sp>
        <p:nvSpPr>
          <p:cNvPr id="27" name="Freeform 298"/>
          <p:cNvSpPr>
            <a:spLocks/>
          </p:cNvSpPr>
          <p:nvPr>
            <p:custDataLst>
              <p:tags r:id="rId17"/>
            </p:custDataLst>
          </p:nvPr>
        </p:nvSpPr>
        <p:spPr bwMode="auto">
          <a:xfrm>
            <a:off x="2839174" y="4892182"/>
            <a:ext cx="390182" cy="213206"/>
          </a:xfrm>
          <a:custGeom>
            <a:avLst/>
            <a:gdLst>
              <a:gd name="T0" fmla="*/ 2147483647 w 289"/>
              <a:gd name="T1" fmla="*/ 2147483647 h 163"/>
              <a:gd name="T2" fmla="*/ 2147483647 w 289"/>
              <a:gd name="T3" fmla="*/ 2147483647 h 163"/>
              <a:gd name="T4" fmla="*/ 2147483647 w 289"/>
              <a:gd name="T5" fmla="*/ 2147483647 h 163"/>
              <a:gd name="T6" fmla="*/ 2147483647 w 289"/>
              <a:gd name="T7" fmla="*/ 2147483647 h 163"/>
              <a:gd name="T8" fmla="*/ 2147483647 w 289"/>
              <a:gd name="T9" fmla="*/ 2147483647 h 163"/>
              <a:gd name="T10" fmla="*/ 2147483647 w 289"/>
              <a:gd name="T11" fmla="*/ 2147483647 h 163"/>
              <a:gd name="T12" fmla="*/ 2147483647 w 289"/>
              <a:gd name="T13" fmla="*/ 2147483647 h 163"/>
              <a:gd name="T14" fmla="*/ 2147483647 w 289"/>
              <a:gd name="T15" fmla="*/ 2147483647 h 163"/>
              <a:gd name="T16" fmla="*/ 2147483647 w 289"/>
              <a:gd name="T17" fmla="*/ 2147483647 h 163"/>
              <a:gd name="T18" fmla="*/ 2147483647 w 289"/>
              <a:gd name="T19" fmla="*/ 2147483647 h 163"/>
              <a:gd name="T20" fmla="*/ 2147483647 w 289"/>
              <a:gd name="T21" fmla="*/ 2147483647 h 163"/>
              <a:gd name="T22" fmla="*/ 2147483647 w 289"/>
              <a:gd name="T23" fmla="*/ 2147483647 h 163"/>
              <a:gd name="T24" fmla="*/ 2147483647 w 289"/>
              <a:gd name="T25" fmla="*/ 2147483647 h 163"/>
              <a:gd name="T26" fmla="*/ 2147483647 w 289"/>
              <a:gd name="T27" fmla="*/ 2147483647 h 163"/>
              <a:gd name="T28" fmla="*/ 2147483647 w 289"/>
              <a:gd name="T29" fmla="*/ 2147483647 h 163"/>
              <a:gd name="T30" fmla="*/ 2147483647 w 289"/>
              <a:gd name="T31" fmla="*/ 2147483647 h 163"/>
              <a:gd name="T32" fmla="*/ 2147483647 w 289"/>
              <a:gd name="T33" fmla="*/ 2147483647 h 163"/>
              <a:gd name="T34" fmla="*/ 2147483647 w 289"/>
              <a:gd name="T35" fmla="*/ 2147483647 h 163"/>
              <a:gd name="T36" fmla="*/ 2147483647 w 289"/>
              <a:gd name="T37" fmla="*/ 2147483647 h 163"/>
              <a:gd name="T38" fmla="*/ 2147483647 w 289"/>
              <a:gd name="T39" fmla="*/ 2147483647 h 163"/>
              <a:gd name="T40" fmla="*/ 2147483647 w 289"/>
              <a:gd name="T41" fmla="*/ 2147483647 h 163"/>
              <a:gd name="T42" fmla="*/ 2147483647 w 289"/>
              <a:gd name="T43" fmla="*/ 2147483647 h 163"/>
              <a:gd name="T44" fmla="*/ 2147483647 w 289"/>
              <a:gd name="T45" fmla="*/ 2147483647 h 163"/>
              <a:gd name="T46" fmla="*/ 2147483647 w 289"/>
              <a:gd name="T47" fmla="*/ 2147483647 h 163"/>
              <a:gd name="T48" fmla="*/ 2147483647 w 289"/>
              <a:gd name="T49" fmla="*/ 2147483647 h 163"/>
              <a:gd name="T50" fmla="*/ 2147483647 w 289"/>
              <a:gd name="T51" fmla="*/ 2147483647 h 163"/>
              <a:gd name="T52" fmla="*/ 2147483647 w 289"/>
              <a:gd name="T53" fmla="*/ 2147483647 h 163"/>
              <a:gd name="T54" fmla="*/ 2147483647 w 289"/>
              <a:gd name="T55" fmla="*/ 2147483647 h 163"/>
              <a:gd name="T56" fmla="*/ 2147483647 w 289"/>
              <a:gd name="T57" fmla="*/ 2147483647 h 163"/>
              <a:gd name="T58" fmla="*/ 2147483647 w 289"/>
              <a:gd name="T59" fmla="*/ 2147483647 h 163"/>
              <a:gd name="T60" fmla="*/ 2147483647 w 289"/>
              <a:gd name="T61" fmla="*/ 2147483647 h 163"/>
              <a:gd name="T62" fmla="*/ 2147483647 w 289"/>
              <a:gd name="T63" fmla="*/ 2147483647 h 163"/>
              <a:gd name="T64" fmla="*/ 2147483647 w 289"/>
              <a:gd name="T65" fmla="*/ 2147483647 h 163"/>
              <a:gd name="T66" fmla="*/ 2147483647 w 289"/>
              <a:gd name="T67" fmla="*/ 2147483647 h 163"/>
              <a:gd name="T68" fmla="*/ 2147483647 w 289"/>
              <a:gd name="T69" fmla="*/ 2147483647 h 163"/>
              <a:gd name="T70" fmla="*/ 2147483647 w 289"/>
              <a:gd name="T71" fmla="*/ 2147483647 h 163"/>
              <a:gd name="T72" fmla="*/ 2147483647 w 289"/>
              <a:gd name="T73" fmla="*/ 2147483647 h 163"/>
              <a:gd name="T74" fmla="*/ 2147483647 w 289"/>
              <a:gd name="T75" fmla="*/ 2147483647 h 163"/>
              <a:gd name="T76" fmla="*/ 2147483647 w 289"/>
              <a:gd name="T77" fmla="*/ 2147483647 h 163"/>
              <a:gd name="T78" fmla="*/ 2147483647 w 289"/>
              <a:gd name="T79" fmla="*/ 2147483647 h 163"/>
              <a:gd name="T80" fmla="*/ 2147483647 w 289"/>
              <a:gd name="T81" fmla="*/ 2147483647 h 163"/>
              <a:gd name="T82" fmla="*/ 2147483647 w 289"/>
              <a:gd name="T83" fmla="*/ 2147483647 h 163"/>
              <a:gd name="T84" fmla="*/ 2147483647 w 289"/>
              <a:gd name="T85" fmla="*/ 2147483647 h 163"/>
              <a:gd name="T86" fmla="*/ 2147483647 w 289"/>
              <a:gd name="T87" fmla="*/ 2147483647 h 163"/>
              <a:gd name="T88" fmla="*/ 2147483647 w 289"/>
              <a:gd name="T89" fmla="*/ 2147483647 h 163"/>
              <a:gd name="T90" fmla="*/ 2147483647 w 289"/>
              <a:gd name="T91" fmla="*/ 2147483647 h 163"/>
              <a:gd name="T92" fmla="*/ 2147483647 w 289"/>
              <a:gd name="T93" fmla="*/ 2147483647 h 163"/>
              <a:gd name="T94" fmla="*/ 2147483647 w 289"/>
              <a:gd name="T95" fmla="*/ 2147483647 h 163"/>
              <a:gd name="T96" fmla="*/ 2147483647 w 289"/>
              <a:gd name="T97" fmla="*/ 2147483647 h 16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89"/>
              <a:gd name="T148" fmla="*/ 0 h 163"/>
              <a:gd name="T149" fmla="*/ 289 w 289"/>
              <a:gd name="T150" fmla="*/ 163 h 16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89" h="163">
                <a:moveTo>
                  <a:pt x="47" y="163"/>
                </a:moveTo>
                <a:lnTo>
                  <a:pt x="47" y="153"/>
                </a:lnTo>
                <a:lnTo>
                  <a:pt x="47" y="144"/>
                </a:lnTo>
                <a:lnTo>
                  <a:pt x="40" y="144"/>
                </a:lnTo>
                <a:lnTo>
                  <a:pt x="34" y="144"/>
                </a:lnTo>
                <a:lnTo>
                  <a:pt x="30" y="142"/>
                </a:lnTo>
                <a:lnTo>
                  <a:pt x="28" y="140"/>
                </a:lnTo>
                <a:lnTo>
                  <a:pt x="17" y="138"/>
                </a:lnTo>
                <a:lnTo>
                  <a:pt x="5" y="134"/>
                </a:lnTo>
                <a:lnTo>
                  <a:pt x="1" y="132"/>
                </a:lnTo>
                <a:lnTo>
                  <a:pt x="0" y="130"/>
                </a:lnTo>
                <a:lnTo>
                  <a:pt x="1" y="126"/>
                </a:lnTo>
                <a:lnTo>
                  <a:pt x="5" y="124"/>
                </a:lnTo>
                <a:lnTo>
                  <a:pt x="7" y="122"/>
                </a:lnTo>
                <a:lnTo>
                  <a:pt x="9" y="121"/>
                </a:lnTo>
                <a:lnTo>
                  <a:pt x="11" y="117"/>
                </a:lnTo>
                <a:lnTo>
                  <a:pt x="15" y="115"/>
                </a:lnTo>
                <a:lnTo>
                  <a:pt x="17" y="107"/>
                </a:lnTo>
                <a:lnTo>
                  <a:pt x="19" y="101"/>
                </a:lnTo>
                <a:lnTo>
                  <a:pt x="23" y="98"/>
                </a:lnTo>
                <a:lnTo>
                  <a:pt x="24" y="96"/>
                </a:lnTo>
                <a:lnTo>
                  <a:pt x="26" y="94"/>
                </a:lnTo>
                <a:lnTo>
                  <a:pt x="28" y="92"/>
                </a:lnTo>
                <a:lnTo>
                  <a:pt x="30" y="88"/>
                </a:lnTo>
                <a:lnTo>
                  <a:pt x="34" y="86"/>
                </a:lnTo>
                <a:lnTo>
                  <a:pt x="36" y="84"/>
                </a:lnTo>
                <a:lnTo>
                  <a:pt x="38" y="82"/>
                </a:lnTo>
                <a:lnTo>
                  <a:pt x="40" y="78"/>
                </a:lnTo>
                <a:lnTo>
                  <a:pt x="44" y="76"/>
                </a:lnTo>
                <a:lnTo>
                  <a:pt x="46" y="76"/>
                </a:lnTo>
                <a:lnTo>
                  <a:pt x="47" y="73"/>
                </a:lnTo>
                <a:lnTo>
                  <a:pt x="47" y="69"/>
                </a:lnTo>
                <a:lnTo>
                  <a:pt x="47" y="48"/>
                </a:lnTo>
                <a:lnTo>
                  <a:pt x="47" y="9"/>
                </a:lnTo>
                <a:lnTo>
                  <a:pt x="63" y="5"/>
                </a:lnTo>
                <a:lnTo>
                  <a:pt x="78" y="4"/>
                </a:lnTo>
                <a:lnTo>
                  <a:pt x="80" y="2"/>
                </a:lnTo>
                <a:lnTo>
                  <a:pt x="82" y="0"/>
                </a:lnTo>
                <a:lnTo>
                  <a:pt x="84" y="2"/>
                </a:lnTo>
                <a:lnTo>
                  <a:pt x="88" y="4"/>
                </a:lnTo>
                <a:lnTo>
                  <a:pt x="99" y="5"/>
                </a:lnTo>
                <a:lnTo>
                  <a:pt x="111" y="9"/>
                </a:lnTo>
                <a:lnTo>
                  <a:pt x="113" y="11"/>
                </a:lnTo>
                <a:lnTo>
                  <a:pt x="117" y="13"/>
                </a:lnTo>
                <a:lnTo>
                  <a:pt x="118" y="17"/>
                </a:lnTo>
                <a:lnTo>
                  <a:pt x="120" y="19"/>
                </a:lnTo>
                <a:lnTo>
                  <a:pt x="122" y="21"/>
                </a:lnTo>
                <a:lnTo>
                  <a:pt x="126" y="23"/>
                </a:lnTo>
                <a:lnTo>
                  <a:pt x="130" y="27"/>
                </a:lnTo>
                <a:lnTo>
                  <a:pt x="140" y="27"/>
                </a:lnTo>
                <a:lnTo>
                  <a:pt x="149" y="27"/>
                </a:lnTo>
                <a:lnTo>
                  <a:pt x="155" y="23"/>
                </a:lnTo>
                <a:lnTo>
                  <a:pt x="157" y="21"/>
                </a:lnTo>
                <a:lnTo>
                  <a:pt x="159" y="19"/>
                </a:lnTo>
                <a:lnTo>
                  <a:pt x="172" y="19"/>
                </a:lnTo>
                <a:lnTo>
                  <a:pt x="184" y="19"/>
                </a:lnTo>
                <a:lnTo>
                  <a:pt x="186" y="32"/>
                </a:lnTo>
                <a:lnTo>
                  <a:pt x="188" y="48"/>
                </a:lnTo>
                <a:lnTo>
                  <a:pt x="191" y="50"/>
                </a:lnTo>
                <a:lnTo>
                  <a:pt x="193" y="53"/>
                </a:lnTo>
                <a:lnTo>
                  <a:pt x="195" y="59"/>
                </a:lnTo>
                <a:lnTo>
                  <a:pt x="199" y="67"/>
                </a:lnTo>
                <a:lnTo>
                  <a:pt x="201" y="69"/>
                </a:lnTo>
                <a:lnTo>
                  <a:pt x="203" y="71"/>
                </a:lnTo>
                <a:lnTo>
                  <a:pt x="205" y="78"/>
                </a:lnTo>
                <a:lnTo>
                  <a:pt x="209" y="86"/>
                </a:lnTo>
                <a:lnTo>
                  <a:pt x="211" y="88"/>
                </a:lnTo>
                <a:lnTo>
                  <a:pt x="213" y="92"/>
                </a:lnTo>
                <a:lnTo>
                  <a:pt x="214" y="94"/>
                </a:lnTo>
                <a:lnTo>
                  <a:pt x="216" y="96"/>
                </a:lnTo>
                <a:lnTo>
                  <a:pt x="220" y="98"/>
                </a:lnTo>
                <a:lnTo>
                  <a:pt x="222" y="101"/>
                </a:lnTo>
                <a:lnTo>
                  <a:pt x="234" y="103"/>
                </a:lnTo>
                <a:lnTo>
                  <a:pt x="247" y="105"/>
                </a:lnTo>
                <a:lnTo>
                  <a:pt x="249" y="109"/>
                </a:lnTo>
                <a:lnTo>
                  <a:pt x="251" y="111"/>
                </a:lnTo>
                <a:lnTo>
                  <a:pt x="255" y="113"/>
                </a:lnTo>
                <a:lnTo>
                  <a:pt x="257" y="115"/>
                </a:lnTo>
                <a:lnTo>
                  <a:pt x="259" y="117"/>
                </a:lnTo>
                <a:lnTo>
                  <a:pt x="260" y="121"/>
                </a:lnTo>
                <a:lnTo>
                  <a:pt x="262" y="126"/>
                </a:lnTo>
                <a:lnTo>
                  <a:pt x="266" y="134"/>
                </a:lnTo>
                <a:lnTo>
                  <a:pt x="268" y="138"/>
                </a:lnTo>
                <a:lnTo>
                  <a:pt x="270" y="140"/>
                </a:lnTo>
                <a:lnTo>
                  <a:pt x="272" y="142"/>
                </a:lnTo>
                <a:lnTo>
                  <a:pt x="276" y="144"/>
                </a:lnTo>
                <a:lnTo>
                  <a:pt x="278" y="147"/>
                </a:lnTo>
                <a:lnTo>
                  <a:pt x="280" y="149"/>
                </a:lnTo>
                <a:lnTo>
                  <a:pt x="283" y="151"/>
                </a:lnTo>
                <a:lnTo>
                  <a:pt x="285" y="153"/>
                </a:lnTo>
                <a:lnTo>
                  <a:pt x="287" y="157"/>
                </a:lnTo>
                <a:lnTo>
                  <a:pt x="289" y="159"/>
                </a:lnTo>
                <a:lnTo>
                  <a:pt x="289" y="161"/>
                </a:lnTo>
                <a:lnTo>
                  <a:pt x="289" y="163"/>
                </a:lnTo>
                <a:lnTo>
                  <a:pt x="230" y="163"/>
                </a:lnTo>
                <a:lnTo>
                  <a:pt x="168" y="163"/>
                </a:lnTo>
                <a:lnTo>
                  <a:pt x="109" y="163"/>
                </a:lnTo>
                <a:lnTo>
                  <a:pt x="47" y="163"/>
                </a:lnTo>
              </a:path>
            </a:pathLst>
          </a:custGeom>
          <a:solidFill>
            <a:schemeClr val="accent3"/>
          </a:solidFill>
          <a:ln w="12700">
            <a:solidFill>
              <a:schemeClr val="bg1"/>
            </a:solidFill>
            <a:round/>
            <a:headEnd/>
            <a:tailEnd/>
          </a:ln>
        </p:spPr>
        <p:txBody>
          <a:bodyPr/>
          <a:lstStyle/>
          <a:p>
            <a:endParaRPr lang="en-GB"/>
          </a:p>
        </p:txBody>
      </p:sp>
      <p:sp>
        <p:nvSpPr>
          <p:cNvPr id="28" name="Freeform 299"/>
          <p:cNvSpPr>
            <a:spLocks/>
          </p:cNvSpPr>
          <p:nvPr>
            <p:custDataLst>
              <p:tags r:id="rId18"/>
            </p:custDataLst>
          </p:nvPr>
        </p:nvSpPr>
        <p:spPr bwMode="auto">
          <a:xfrm>
            <a:off x="2033727" y="4829473"/>
            <a:ext cx="579699" cy="565764"/>
          </a:xfrm>
          <a:custGeom>
            <a:avLst/>
            <a:gdLst>
              <a:gd name="T0" fmla="*/ 2147483647 w 424"/>
              <a:gd name="T1" fmla="*/ 2147483647 h 430"/>
              <a:gd name="T2" fmla="*/ 2147483647 w 424"/>
              <a:gd name="T3" fmla="*/ 2147483647 h 430"/>
              <a:gd name="T4" fmla="*/ 2147483647 w 424"/>
              <a:gd name="T5" fmla="*/ 2147483647 h 430"/>
              <a:gd name="T6" fmla="*/ 2147483647 w 424"/>
              <a:gd name="T7" fmla="*/ 2147483647 h 430"/>
              <a:gd name="T8" fmla="*/ 2147483647 w 424"/>
              <a:gd name="T9" fmla="*/ 2147483647 h 430"/>
              <a:gd name="T10" fmla="*/ 2147483647 w 424"/>
              <a:gd name="T11" fmla="*/ 2147483647 h 430"/>
              <a:gd name="T12" fmla="*/ 2147483647 w 424"/>
              <a:gd name="T13" fmla="*/ 2147483647 h 430"/>
              <a:gd name="T14" fmla="*/ 2147483647 w 424"/>
              <a:gd name="T15" fmla="*/ 2147483647 h 430"/>
              <a:gd name="T16" fmla="*/ 2147483647 w 424"/>
              <a:gd name="T17" fmla="*/ 2147483647 h 430"/>
              <a:gd name="T18" fmla="*/ 2147483647 w 424"/>
              <a:gd name="T19" fmla="*/ 2147483647 h 430"/>
              <a:gd name="T20" fmla="*/ 2147483647 w 424"/>
              <a:gd name="T21" fmla="*/ 2147483647 h 430"/>
              <a:gd name="T22" fmla="*/ 0 w 424"/>
              <a:gd name="T23" fmla="*/ 2147483647 h 430"/>
              <a:gd name="T24" fmla="*/ 0 w 424"/>
              <a:gd name="T25" fmla="*/ 2147483647 h 430"/>
              <a:gd name="T26" fmla="*/ 2147483647 w 424"/>
              <a:gd name="T27" fmla="*/ 2147483647 h 430"/>
              <a:gd name="T28" fmla="*/ 2147483647 w 424"/>
              <a:gd name="T29" fmla="*/ 2147483647 h 430"/>
              <a:gd name="T30" fmla="*/ 2147483647 w 424"/>
              <a:gd name="T31" fmla="*/ 2147483647 h 430"/>
              <a:gd name="T32" fmla="*/ 2147483647 w 424"/>
              <a:gd name="T33" fmla="*/ 2147483647 h 430"/>
              <a:gd name="T34" fmla="*/ 2147483647 w 424"/>
              <a:gd name="T35" fmla="*/ 2147483647 h 430"/>
              <a:gd name="T36" fmla="*/ 2147483647 w 424"/>
              <a:gd name="T37" fmla="*/ 2147483647 h 430"/>
              <a:gd name="T38" fmla="*/ 2147483647 w 424"/>
              <a:gd name="T39" fmla="*/ 2147483647 h 430"/>
              <a:gd name="T40" fmla="*/ 2147483647 w 424"/>
              <a:gd name="T41" fmla="*/ 2147483647 h 430"/>
              <a:gd name="T42" fmla="*/ 2147483647 w 424"/>
              <a:gd name="T43" fmla="*/ 2147483647 h 430"/>
              <a:gd name="T44" fmla="*/ 2147483647 w 424"/>
              <a:gd name="T45" fmla="*/ 2147483647 h 430"/>
              <a:gd name="T46" fmla="*/ 2147483647 w 424"/>
              <a:gd name="T47" fmla="*/ 2147483647 h 430"/>
              <a:gd name="T48" fmla="*/ 2147483647 w 424"/>
              <a:gd name="T49" fmla="*/ 2147483647 h 430"/>
              <a:gd name="T50" fmla="*/ 2147483647 w 424"/>
              <a:gd name="T51" fmla="*/ 2147483647 h 430"/>
              <a:gd name="T52" fmla="*/ 2147483647 w 424"/>
              <a:gd name="T53" fmla="*/ 0 h 430"/>
              <a:gd name="T54" fmla="*/ 2147483647 w 424"/>
              <a:gd name="T55" fmla="*/ 2147483647 h 430"/>
              <a:gd name="T56" fmla="*/ 2147483647 w 424"/>
              <a:gd name="T57" fmla="*/ 2147483647 h 430"/>
              <a:gd name="T58" fmla="*/ 2147483647 w 424"/>
              <a:gd name="T59" fmla="*/ 2147483647 h 430"/>
              <a:gd name="T60" fmla="*/ 2147483647 w 424"/>
              <a:gd name="T61" fmla="*/ 2147483647 h 430"/>
              <a:gd name="T62" fmla="*/ 2147483647 w 424"/>
              <a:gd name="T63" fmla="*/ 2147483647 h 430"/>
              <a:gd name="T64" fmla="*/ 2147483647 w 424"/>
              <a:gd name="T65" fmla="*/ 2147483647 h 430"/>
              <a:gd name="T66" fmla="*/ 2147483647 w 424"/>
              <a:gd name="T67" fmla="*/ 2147483647 h 430"/>
              <a:gd name="T68" fmla="*/ 2147483647 w 424"/>
              <a:gd name="T69" fmla="*/ 2147483647 h 430"/>
              <a:gd name="T70" fmla="*/ 2147483647 w 424"/>
              <a:gd name="T71" fmla="*/ 2147483647 h 430"/>
              <a:gd name="T72" fmla="*/ 2147483647 w 424"/>
              <a:gd name="T73" fmla="*/ 2147483647 h 430"/>
              <a:gd name="T74" fmla="*/ 2147483647 w 424"/>
              <a:gd name="T75" fmla="*/ 2147483647 h 430"/>
              <a:gd name="T76" fmla="*/ 2147483647 w 424"/>
              <a:gd name="T77" fmla="*/ 2147483647 h 430"/>
              <a:gd name="T78" fmla="*/ 2147483647 w 424"/>
              <a:gd name="T79" fmla="*/ 2147483647 h 430"/>
              <a:gd name="T80" fmla="*/ 2147483647 w 424"/>
              <a:gd name="T81" fmla="*/ 2147483647 h 430"/>
              <a:gd name="T82" fmla="*/ 2147483647 w 424"/>
              <a:gd name="T83" fmla="*/ 2147483647 h 430"/>
              <a:gd name="T84" fmla="*/ 2147483647 w 424"/>
              <a:gd name="T85" fmla="*/ 2147483647 h 430"/>
              <a:gd name="T86" fmla="*/ 2147483647 w 424"/>
              <a:gd name="T87" fmla="*/ 2147483647 h 430"/>
              <a:gd name="T88" fmla="*/ 2147483647 w 424"/>
              <a:gd name="T89" fmla="*/ 2147483647 h 430"/>
              <a:gd name="T90" fmla="*/ 2147483647 w 424"/>
              <a:gd name="T91" fmla="*/ 2147483647 h 430"/>
              <a:gd name="T92" fmla="*/ 2147483647 w 424"/>
              <a:gd name="T93" fmla="*/ 2147483647 h 430"/>
              <a:gd name="T94" fmla="*/ 2147483647 w 424"/>
              <a:gd name="T95" fmla="*/ 2147483647 h 430"/>
              <a:gd name="T96" fmla="*/ 2147483647 w 424"/>
              <a:gd name="T97" fmla="*/ 2147483647 h 430"/>
              <a:gd name="T98" fmla="*/ 2147483647 w 424"/>
              <a:gd name="T99" fmla="*/ 2147483647 h 430"/>
              <a:gd name="T100" fmla="*/ 2147483647 w 424"/>
              <a:gd name="T101" fmla="*/ 2147483647 h 430"/>
              <a:gd name="T102" fmla="*/ 2147483647 w 424"/>
              <a:gd name="T103" fmla="*/ 2147483647 h 430"/>
              <a:gd name="T104" fmla="*/ 2147483647 w 424"/>
              <a:gd name="T105" fmla="*/ 2147483647 h 430"/>
              <a:gd name="T106" fmla="*/ 2147483647 w 424"/>
              <a:gd name="T107" fmla="*/ 2147483647 h 430"/>
              <a:gd name="T108" fmla="*/ 2147483647 w 424"/>
              <a:gd name="T109" fmla="*/ 2147483647 h 430"/>
              <a:gd name="T110" fmla="*/ 2147483647 w 424"/>
              <a:gd name="T111" fmla="*/ 2147483647 h 430"/>
              <a:gd name="T112" fmla="*/ 2147483647 w 424"/>
              <a:gd name="T113" fmla="*/ 2147483647 h 430"/>
              <a:gd name="T114" fmla="*/ 2147483647 w 424"/>
              <a:gd name="T115" fmla="*/ 2147483647 h 430"/>
              <a:gd name="T116" fmla="*/ 2147483647 w 424"/>
              <a:gd name="T117" fmla="*/ 2147483647 h 430"/>
              <a:gd name="T118" fmla="*/ 2147483647 w 424"/>
              <a:gd name="T119" fmla="*/ 2147483647 h 430"/>
              <a:gd name="T120" fmla="*/ 2147483647 w 424"/>
              <a:gd name="T121" fmla="*/ 2147483647 h 43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4"/>
              <a:gd name="T184" fmla="*/ 0 h 430"/>
              <a:gd name="T185" fmla="*/ 424 w 424"/>
              <a:gd name="T186" fmla="*/ 430 h 43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4" h="430">
                <a:moveTo>
                  <a:pt x="356" y="424"/>
                </a:moveTo>
                <a:lnTo>
                  <a:pt x="333" y="420"/>
                </a:lnTo>
                <a:lnTo>
                  <a:pt x="308" y="414"/>
                </a:lnTo>
                <a:lnTo>
                  <a:pt x="303" y="395"/>
                </a:lnTo>
                <a:lnTo>
                  <a:pt x="299" y="376"/>
                </a:lnTo>
                <a:lnTo>
                  <a:pt x="299" y="360"/>
                </a:lnTo>
                <a:lnTo>
                  <a:pt x="299" y="347"/>
                </a:lnTo>
                <a:lnTo>
                  <a:pt x="255" y="334"/>
                </a:lnTo>
                <a:lnTo>
                  <a:pt x="218" y="322"/>
                </a:lnTo>
                <a:lnTo>
                  <a:pt x="199" y="320"/>
                </a:lnTo>
                <a:lnTo>
                  <a:pt x="180" y="318"/>
                </a:lnTo>
                <a:lnTo>
                  <a:pt x="159" y="318"/>
                </a:lnTo>
                <a:lnTo>
                  <a:pt x="134" y="318"/>
                </a:lnTo>
                <a:lnTo>
                  <a:pt x="134" y="312"/>
                </a:lnTo>
                <a:lnTo>
                  <a:pt x="134" y="309"/>
                </a:lnTo>
                <a:lnTo>
                  <a:pt x="130" y="293"/>
                </a:lnTo>
                <a:lnTo>
                  <a:pt x="128" y="276"/>
                </a:lnTo>
                <a:lnTo>
                  <a:pt x="117" y="274"/>
                </a:lnTo>
                <a:lnTo>
                  <a:pt x="105" y="270"/>
                </a:lnTo>
                <a:lnTo>
                  <a:pt x="97" y="259"/>
                </a:lnTo>
                <a:lnTo>
                  <a:pt x="92" y="247"/>
                </a:lnTo>
                <a:lnTo>
                  <a:pt x="88" y="234"/>
                </a:lnTo>
                <a:lnTo>
                  <a:pt x="86" y="211"/>
                </a:lnTo>
                <a:lnTo>
                  <a:pt x="82" y="205"/>
                </a:lnTo>
                <a:lnTo>
                  <a:pt x="76" y="199"/>
                </a:lnTo>
                <a:lnTo>
                  <a:pt x="65" y="192"/>
                </a:lnTo>
                <a:lnTo>
                  <a:pt x="47" y="182"/>
                </a:lnTo>
                <a:lnTo>
                  <a:pt x="47" y="178"/>
                </a:lnTo>
                <a:lnTo>
                  <a:pt x="47" y="172"/>
                </a:lnTo>
                <a:lnTo>
                  <a:pt x="47" y="169"/>
                </a:lnTo>
                <a:lnTo>
                  <a:pt x="47" y="163"/>
                </a:lnTo>
                <a:lnTo>
                  <a:pt x="44" y="157"/>
                </a:lnTo>
                <a:lnTo>
                  <a:pt x="40" y="151"/>
                </a:lnTo>
                <a:lnTo>
                  <a:pt x="19" y="147"/>
                </a:lnTo>
                <a:lnTo>
                  <a:pt x="0" y="144"/>
                </a:lnTo>
                <a:lnTo>
                  <a:pt x="0" y="140"/>
                </a:lnTo>
                <a:lnTo>
                  <a:pt x="0" y="134"/>
                </a:lnTo>
                <a:lnTo>
                  <a:pt x="0" y="132"/>
                </a:lnTo>
                <a:lnTo>
                  <a:pt x="0" y="130"/>
                </a:lnTo>
                <a:lnTo>
                  <a:pt x="1" y="126"/>
                </a:lnTo>
                <a:lnTo>
                  <a:pt x="3" y="124"/>
                </a:lnTo>
                <a:lnTo>
                  <a:pt x="17" y="123"/>
                </a:lnTo>
                <a:lnTo>
                  <a:pt x="28" y="119"/>
                </a:lnTo>
                <a:lnTo>
                  <a:pt x="30" y="117"/>
                </a:lnTo>
                <a:lnTo>
                  <a:pt x="32" y="115"/>
                </a:lnTo>
                <a:lnTo>
                  <a:pt x="34" y="113"/>
                </a:lnTo>
                <a:lnTo>
                  <a:pt x="38" y="111"/>
                </a:lnTo>
                <a:lnTo>
                  <a:pt x="40" y="107"/>
                </a:lnTo>
                <a:lnTo>
                  <a:pt x="42" y="105"/>
                </a:lnTo>
                <a:lnTo>
                  <a:pt x="44" y="103"/>
                </a:lnTo>
                <a:lnTo>
                  <a:pt x="47" y="101"/>
                </a:lnTo>
                <a:lnTo>
                  <a:pt x="49" y="98"/>
                </a:lnTo>
                <a:lnTo>
                  <a:pt x="51" y="96"/>
                </a:lnTo>
                <a:lnTo>
                  <a:pt x="65" y="94"/>
                </a:lnTo>
                <a:lnTo>
                  <a:pt x="76" y="90"/>
                </a:lnTo>
                <a:lnTo>
                  <a:pt x="78" y="88"/>
                </a:lnTo>
                <a:lnTo>
                  <a:pt x="82" y="86"/>
                </a:lnTo>
                <a:lnTo>
                  <a:pt x="84" y="84"/>
                </a:lnTo>
                <a:lnTo>
                  <a:pt x="86" y="80"/>
                </a:lnTo>
                <a:lnTo>
                  <a:pt x="88" y="78"/>
                </a:lnTo>
                <a:lnTo>
                  <a:pt x="92" y="76"/>
                </a:lnTo>
                <a:lnTo>
                  <a:pt x="94" y="75"/>
                </a:lnTo>
                <a:lnTo>
                  <a:pt x="95" y="71"/>
                </a:lnTo>
                <a:lnTo>
                  <a:pt x="97" y="69"/>
                </a:lnTo>
                <a:lnTo>
                  <a:pt x="101" y="67"/>
                </a:lnTo>
                <a:lnTo>
                  <a:pt x="103" y="65"/>
                </a:lnTo>
                <a:lnTo>
                  <a:pt x="105" y="61"/>
                </a:lnTo>
                <a:lnTo>
                  <a:pt x="107" y="59"/>
                </a:lnTo>
                <a:lnTo>
                  <a:pt x="111" y="57"/>
                </a:lnTo>
                <a:lnTo>
                  <a:pt x="113" y="50"/>
                </a:lnTo>
                <a:lnTo>
                  <a:pt x="115" y="42"/>
                </a:lnTo>
                <a:lnTo>
                  <a:pt x="117" y="40"/>
                </a:lnTo>
                <a:lnTo>
                  <a:pt x="120" y="38"/>
                </a:lnTo>
                <a:lnTo>
                  <a:pt x="132" y="34"/>
                </a:lnTo>
                <a:lnTo>
                  <a:pt x="143" y="32"/>
                </a:lnTo>
                <a:lnTo>
                  <a:pt x="147" y="30"/>
                </a:lnTo>
                <a:lnTo>
                  <a:pt x="149" y="28"/>
                </a:lnTo>
                <a:lnTo>
                  <a:pt x="151" y="13"/>
                </a:lnTo>
                <a:lnTo>
                  <a:pt x="153" y="0"/>
                </a:lnTo>
                <a:lnTo>
                  <a:pt x="161" y="0"/>
                </a:lnTo>
                <a:lnTo>
                  <a:pt x="168" y="0"/>
                </a:lnTo>
                <a:lnTo>
                  <a:pt x="170" y="2"/>
                </a:lnTo>
                <a:lnTo>
                  <a:pt x="174" y="4"/>
                </a:lnTo>
                <a:lnTo>
                  <a:pt x="176" y="15"/>
                </a:lnTo>
                <a:lnTo>
                  <a:pt x="178" y="28"/>
                </a:lnTo>
                <a:lnTo>
                  <a:pt x="180" y="30"/>
                </a:lnTo>
                <a:lnTo>
                  <a:pt x="182" y="32"/>
                </a:lnTo>
                <a:lnTo>
                  <a:pt x="186" y="40"/>
                </a:lnTo>
                <a:lnTo>
                  <a:pt x="188" y="48"/>
                </a:lnTo>
                <a:lnTo>
                  <a:pt x="189" y="50"/>
                </a:lnTo>
                <a:lnTo>
                  <a:pt x="191" y="52"/>
                </a:lnTo>
                <a:lnTo>
                  <a:pt x="195" y="78"/>
                </a:lnTo>
                <a:lnTo>
                  <a:pt x="197" y="105"/>
                </a:lnTo>
                <a:lnTo>
                  <a:pt x="199" y="107"/>
                </a:lnTo>
                <a:lnTo>
                  <a:pt x="203" y="111"/>
                </a:lnTo>
                <a:lnTo>
                  <a:pt x="205" y="123"/>
                </a:lnTo>
                <a:lnTo>
                  <a:pt x="207" y="134"/>
                </a:lnTo>
                <a:lnTo>
                  <a:pt x="209" y="136"/>
                </a:lnTo>
                <a:lnTo>
                  <a:pt x="212" y="140"/>
                </a:lnTo>
                <a:lnTo>
                  <a:pt x="214" y="151"/>
                </a:lnTo>
                <a:lnTo>
                  <a:pt x="216" y="163"/>
                </a:lnTo>
                <a:lnTo>
                  <a:pt x="218" y="165"/>
                </a:lnTo>
                <a:lnTo>
                  <a:pt x="222" y="169"/>
                </a:lnTo>
                <a:lnTo>
                  <a:pt x="224" y="184"/>
                </a:lnTo>
                <a:lnTo>
                  <a:pt x="226" y="201"/>
                </a:lnTo>
                <a:lnTo>
                  <a:pt x="228" y="205"/>
                </a:lnTo>
                <a:lnTo>
                  <a:pt x="232" y="207"/>
                </a:lnTo>
                <a:lnTo>
                  <a:pt x="243" y="209"/>
                </a:lnTo>
                <a:lnTo>
                  <a:pt x="255" y="211"/>
                </a:lnTo>
                <a:lnTo>
                  <a:pt x="259" y="215"/>
                </a:lnTo>
                <a:lnTo>
                  <a:pt x="260" y="217"/>
                </a:lnTo>
                <a:lnTo>
                  <a:pt x="260" y="220"/>
                </a:lnTo>
                <a:lnTo>
                  <a:pt x="260" y="226"/>
                </a:lnTo>
                <a:lnTo>
                  <a:pt x="259" y="228"/>
                </a:lnTo>
                <a:lnTo>
                  <a:pt x="255" y="232"/>
                </a:lnTo>
                <a:lnTo>
                  <a:pt x="247" y="232"/>
                </a:lnTo>
                <a:lnTo>
                  <a:pt x="241" y="232"/>
                </a:lnTo>
                <a:lnTo>
                  <a:pt x="243" y="241"/>
                </a:lnTo>
                <a:lnTo>
                  <a:pt x="245" y="251"/>
                </a:lnTo>
                <a:lnTo>
                  <a:pt x="247" y="253"/>
                </a:lnTo>
                <a:lnTo>
                  <a:pt x="251" y="255"/>
                </a:lnTo>
                <a:lnTo>
                  <a:pt x="251" y="264"/>
                </a:lnTo>
                <a:lnTo>
                  <a:pt x="251" y="274"/>
                </a:lnTo>
                <a:lnTo>
                  <a:pt x="247" y="276"/>
                </a:lnTo>
                <a:lnTo>
                  <a:pt x="245" y="280"/>
                </a:lnTo>
                <a:lnTo>
                  <a:pt x="245" y="289"/>
                </a:lnTo>
                <a:lnTo>
                  <a:pt x="245" y="299"/>
                </a:lnTo>
                <a:lnTo>
                  <a:pt x="247" y="301"/>
                </a:lnTo>
                <a:lnTo>
                  <a:pt x="251" y="303"/>
                </a:lnTo>
                <a:lnTo>
                  <a:pt x="272" y="307"/>
                </a:lnTo>
                <a:lnTo>
                  <a:pt x="293" y="309"/>
                </a:lnTo>
                <a:lnTo>
                  <a:pt x="297" y="311"/>
                </a:lnTo>
                <a:lnTo>
                  <a:pt x="299" y="312"/>
                </a:lnTo>
                <a:lnTo>
                  <a:pt x="306" y="316"/>
                </a:lnTo>
                <a:lnTo>
                  <a:pt x="312" y="318"/>
                </a:lnTo>
                <a:lnTo>
                  <a:pt x="316" y="320"/>
                </a:lnTo>
                <a:lnTo>
                  <a:pt x="318" y="322"/>
                </a:lnTo>
                <a:lnTo>
                  <a:pt x="328" y="322"/>
                </a:lnTo>
                <a:lnTo>
                  <a:pt x="337" y="322"/>
                </a:lnTo>
                <a:lnTo>
                  <a:pt x="339" y="320"/>
                </a:lnTo>
                <a:lnTo>
                  <a:pt x="341" y="318"/>
                </a:lnTo>
                <a:lnTo>
                  <a:pt x="345" y="316"/>
                </a:lnTo>
                <a:lnTo>
                  <a:pt x="347" y="312"/>
                </a:lnTo>
                <a:lnTo>
                  <a:pt x="349" y="311"/>
                </a:lnTo>
                <a:lnTo>
                  <a:pt x="353" y="309"/>
                </a:lnTo>
                <a:lnTo>
                  <a:pt x="354" y="307"/>
                </a:lnTo>
                <a:lnTo>
                  <a:pt x="356" y="303"/>
                </a:lnTo>
                <a:lnTo>
                  <a:pt x="358" y="301"/>
                </a:lnTo>
                <a:lnTo>
                  <a:pt x="362" y="299"/>
                </a:lnTo>
                <a:lnTo>
                  <a:pt x="364" y="297"/>
                </a:lnTo>
                <a:lnTo>
                  <a:pt x="366" y="293"/>
                </a:lnTo>
                <a:lnTo>
                  <a:pt x="368" y="291"/>
                </a:lnTo>
                <a:lnTo>
                  <a:pt x="372" y="289"/>
                </a:lnTo>
                <a:lnTo>
                  <a:pt x="385" y="289"/>
                </a:lnTo>
                <a:lnTo>
                  <a:pt x="401" y="289"/>
                </a:lnTo>
                <a:lnTo>
                  <a:pt x="402" y="291"/>
                </a:lnTo>
                <a:lnTo>
                  <a:pt x="406" y="293"/>
                </a:lnTo>
                <a:lnTo>
                  <a:pt x="408" y="297"/>
                </a:lnTo>
                <a:lnTo>
                  <a:pt x="410" y="299"/>
                </a:lnTo>
                <a:lnTo>
                  <a:pt x="412" y="301"/>
                </a:lnTo>
                <a:lnTo>
                  <a:pt x="414" y="303"/>
                </a:lnTo>
                <a:lnTo>
                  <a:pt x="414" y="307"/>
                </a:lnTo>
                <a:lnTo>
                  <a:pt x="414" y="309"/>
                </a:lnTo>
                <a:lnTo>
                  <a:pt x="414" y="312"/>
                </a:lnTo>
                <a:lnTo>
                  <a:pt x="414" y="318"/>
                </a:lnTo>
                <a:lnTo>
                  <a:pt x="410" y="322"/>
                </a:lnTo>
                <a:lnTo>
                  <a:pt x="406" y="328"/>
                </a:lnTo>
                <a:lnTo>
                  <a:pt x="401" y="332"/>
                </a:lnTo>
                <a:lnTo>
                  <a:pt x="395" y="337"/>
                </a:lnTo>
                <a:lnTo>
                  <a:pt x="393" y="337"/>
                </a:lnTo>
                <a:lnTo>
                  <a:pt x="391" y="343"/>
                </a:lnTo>
                <a:lnTo>
                  <a:pt x="391" y="355"/>
                </a:lnTo>
                <a:lnTo>
                  <a:pt x="393" y="378"/>
                </a:lnTo>
                <a:lnTo>
                  <a:pt x="402" y="382"/>
                </a:lnTo>
                <a:lnTo>
                  <a:pt x="414" y="385"/>
                </a:lnTo>
                <a:lnTo>
                  <a:pt x="420" y="401"/>
                </a:lnTo>
                <a:lnTo>
                  <a:pt x="424" y="414"/>
                </a:lnTo>
                <a:lnTo>
                  <a:pt x="420" y="422"/>
                </a:lnTo>
                <a:lnTo>
                  <a:pt x="414" y="430"/>
                </a:lnTo>
                <a:lnTo>
                  <a:pt x="389" y="424"/>
                </a:lnTo>
                <a:lnTo>
                  <a:pt x="374" y="422"/>
                </a:lnTo>
                <a:lnTo>
                  <a:pt x="366" y="422"/>
                </a:lnTo>
                <a:lnTo>
                  <a:pt x="356" y="424"/>
                </a:lnTo>
              </a:path>
            </a:pathLst>
          </a:custGeom>
          <a:solidFill>
            <a:schemeClr val="accent3"/>
          </a:solidFill>
          <a:ln w="12700">
            <a:solidFill>
              <a:schemeClr val="bg1"/>
            </a:solidFill>
            <a:round/>
            <a:headEnd/>
            <a:tailEnd/>
          </a:ln>
        </p:spPr>
        <p:txBody>
          <a:bodyPr/>
          <a:lstStyle/>
          <a:p>
            <a:endParaRPr lang="en-GB"/>
          </a:p>
        </p:txBody>
      </p:sp>
      <p:sp>
        <p:nvSpPr>
          <p:cNvPr id="29" name="Freeform 300"/>
          <p:cNvSpPr>
            <a:spLocks/>
          </p:cNvSpPr>
          <p:nvPr>
            <p:custDataLst>
              <p:tags r:id="rId19"/>
            </p:custDataLst>
          </p:nvPr>
        </p:nvSpPr>
        <p:spPr bwMode="auto">
          <a:xfrm>
            <a:off x="3735200" y="4676188"/>
            <a:ext cx="827743" cy="610356"/>
          </a:xfrm>
          <a:custGeom>
            <a:avLst/>
            <a:gdLst>
              <a:gd name="T0" fmla="*/ 2147483647 w 608"/>
              <a:gd name="T1" fmla="*/ 2147483647 h 464"/>
              <a:gd name="T2" fmla="*/ 2147483647 w 608"/>
              <a:gd name="T3" fmla="*/ 2147483647 h 464"/>
              <a:gd name="T4" fmla="*/ 2147483647 w 608"/>
              <a:gd name="T5" fmla="*/ 2147483647 h 464"/>
              <a:gd name="T6" fmla="*/ 2147483647 w 608"/>
              <a:gd name="T7" fmla="*/ 2147483647 h 464"/>
              <a:gd name="T8" fmla="*/ 2147483647 w 608"/>
              <a:gd name="T9" fmla="*/ 2147483647 h 464"/>
              <a:gd name="T10" fmla="*/ 2147483647 w 608"/>
              <a:gd name="T11" fmla="*/ 2147483647 h 464"/>
              <a:gd name="T12" fmla="*/ 2147483647 w 608"/>
              <a:gd name="T13" fmla="*/ 2147483647 h 464"/>
              <a:gd name="T14" fmla="*/ 2147483647 w 608"/>
              <a:gd name="T15" fmla="*/ 2147483647 h 464"/>
              <a:gd name="T16" fmla="*/ 2147483647 w 608"/>
              <a:gd name="T17" fmla="*/ 2147483647 h 464"/>
              <a:gd name="T18" fmla="*/ 2147483647 w 608"/>
              <a:gd name="T19" fmla="*/ 2147483647 h 464"/>
              <a:gd name="T20" fmla="*/ 2147483647 w 608"/>
              <a:gd name="T21" fmla="*/ 2147483647 h 464"/>
              <a:gd name="T22" fmla="*/ 2147483647 w 608"/>
              <a:gd name="T23" fmla="*/ 2147483647 h 464"/>
              <a:gd name="T24" fmla="*/ 2147483647 w 608"/>
              <a:gd name="T25" fmla="*/ 2147483647 h 464"/>
              <a:gd name="T26" fmla="*/ 2147483647 w 608"/>
              <a:gd name="T27" fmla="*/ 2147483647 h 464"/>
              <a:gd name="T28" fmla="*/ 2147483647 w 608"/>
              <a:gd name="T29" fmla="*/ 2147483647 h 464"/>
              <a:gd name="T30" fmla="*/ 2147483647 w 608"/>
              <a:gd name="T31" fmla="*/ 2147483647 h 464"/>
              <a:gd name="T32" fmla="*/ 2147483647 w 608"/>
              <a:gd name="T33" fmla="*/ 2147483647 h 464"/>
              <a:gd name="T34" fmla="*/ 2147483647 w 608"/>
              <a:gd name="T35" fmla="*/ 2147483647 h 464"/>
              <a:gd name="T36" fmla="*/ 2147483647 w 608"/>
              <a:gd name="T37" fmla="*/ 2147483647 h 464"/>
              <a:gd name="T38" fmla="*/ 2147483647 w 608"/>
              <a:gd name="T39" fmla="*/ 2147483647 h 464"/>
              <a:gd name="T40" fmla="*/ 2147483647 w 608"/>
              <a:gd name="T41" fmla="*/ 2147483647 h 464"/>
              <a:gd name="T42" fmla="*/ 2147483647 w 608"/>
              <a:gd name="T43" fmla="*/ 2147483647 h 464"/>
              <a:gd name="T44" fmla="*/ 2147483647 w 608"/>
              <a:gd name="T45" fmla="*/ 2147483647 h 464"/>
              <a:gd name="T46" fmla="*/ 2147483647 w 608"/>
              <a:gd name="T47" fmla="*/ 2147483647 h 464"/>
              <a:gd name="T48" fmla="*/ 2147483647 w 608"/>
              <a:gd name="T49" fmla="*/ 2147483647 h 464"/>
              <a:gd name="T50" fmla="*/ 2147483647 w 608"/>
              <a:gd name="T51" fmla="*/ 2147483647 h 464"/>
              <a:gd name="T52" fmla="*/ 2147483647 w 608"/>
              <a:gd name="T53" fmla="*/ 2147483647 h 464"/>
              <a:gd name="T54" fmla="*/ 2147483647 w 608"/>
              <a:gd name="T55" fmla="*/ 2147483647 h 464"/>
              <a:gd name="T56" fmla="*/ 2147483647 w 608"/>
              <a:gd name="T57" fmla="*/ 2147483647 h 464"/>
              <a:gd name="T58" fmla="*/ 2147483647 w 608"/>
              <a:gd name="T59" fmla="*/ 2147483647 h 464"/>
              <a:gd name="T60" fmla="*/ 2147483647 w 608"/>
              <a:gd name="T61" fmla="*/ 2147483647 h 464"/>
              <a:gd name="T62" fmla="*/ 2147483647 w 608"/>
              <a:gd name="T63" fmla="*/ 2147483647 h 464"/>
              <a:gd name="T64" fmla="*/ 2147483647 w 608"/>
              <a:gd name="T65" fmla="*/ 2147483647 h 464"/>
              <a:gd name="T66" fmla="*/ 2147483647 w 608"/>
              <a:gd name="T67" fmla="*/ 2147483647 h 464"/>
              <a:gd name="T68" fmla="*/ 2147483647 w 608"/>
              <a:gd name="T69" fmla="*/ 2147483647 h 464"/>
              <a:gd name="T70" fmla="*/ 2147483647 w 608"/>
              <a:gd name="T71" fmla="*/ 2147483647 h 464"/>
              <a:gd name="T72" fmla="*/ 2147483647 w 608"/>
              <a:gd name="T73" fmla="*/ 2147483647 h 464"/>
              <a:gd name="T74" fmla="*/ 2147483647 w 608"/>
              <a:gd name="T75" fmla="*/ 2147483647 h 464"/>
              <a:gd name="T76" fmla="*/ 2147483647 w 608"/>
              <a:gd name="T77" fmla="*/ 2147483647 h 464"/>
              <a:gd name="T78" fmla="*/ 2147483647 w 608"/>
              <a:gd name="T79" fmla="*/ 2147483647 h 464"/>
              <a:gd name="T80" fmla="*/ 2147483647 w 608"/>
              <a:gd name="T81" fmla="*/ 2147483647 h 464"/>
              <a:gd name="T82" fmla="*/ 2147483647 w 608"/>
              <a:gd name="T83" fmla="*/ 2147483647 h 464"/>
              <a:gd name="T84" fmla="*/ 2147483647 w 608"/>
              <a:gd name="T85" fmla="*/ 2147483647 h 464"/>
              <a:gd name="T86" fmla="*/ 2147483647 w 608"/>
              <a:gd name="T87" fmla="*/ 2147483647 h 464"/>
              <a:gd name="T88" fmla="*/ 2147483647 w 608"/>
              <a:gd name="T89" fmla="*/ 2147483647 h 464"/>
              <a:gd name="T90" fmla="*/ 2147483647 w 608"/>
              <a:gd name="T91" fmla="*/ 2147483647 h 464"/>
              <a:gd name="T92" fmla="*/ 2147483647 w 608"/>
              <a:gd name="T93" fmla="*/ 2147483647 h 464"/>
              <a:gd name="T94" fmla="*/ 2147483647 w 608"/>
              <a:gd name="T95" fmla="*/ 2147483647 h 464"/>
              <a:gd name="T96" fmla="*/ 2147483647 w 608"/>
              <a:gd name="T97" fmla="*/ 2147483647 h 464"/>
              <a:gd name="T98" fmla="*/ 0 w 608"/>
              <a:gd name="T99" fmla="*/ 2147483647 h 464"/>
              <a:gd name="T100" fmla="*/ 2147483647 w 608"/>
              <a:gd name="T101" fmla="*/ 2147483647 h 464"/>
              <a:gd name="T102" fmla="*/ 2147483647 w 608"/>
              <a:gd name="T103" fmla="*/ 2147483647 h 464"/>
              <a:gd name="T104" fmla="*/ 2147483647 w 608"/>
              <a:gd name="T105" fmla="*/ 2147483647 h 464"/>
              <a:gd name="T106" fmla="*/ 2147483647 w 608"/>
              <a:gd name="T107" fmla="*/ 2147483647 h 464"/>
              <a:gd name="T108" fmla="*/ 2147483647 w 608"/>
              <a:gd name="T109" fmla="*/ 2147483647 h 464"/>
              <a:gd name="T110" fmla="*/ 2147483647 w 608"/>
              <a:gd name="T111" fmla="*/ 2147483647 h 464"/>
              <a:gd name="T112" fmla="*/ 2147483647 w 608"/>
              <a:gd name="T113" fmla="*/ 2147483647 h 464"/>
              <a:gd name="T114" fmla="*/ 2147483647 w 608"/>
              <a:gd name="T115" fmla="*/ 2147483647 h 464"/>
              <a:gd name="T116" fmla="*/ 2147483647 w 608"/>
              <a:gd name="T117" fmla="*/ 2147483647 h 464"/>
              <a:gd name="T118" fmla="*/ 2147483647 w 608"/>
              <a:gd name="T119" fmla="*/ 2147483647 h 464"/>
              <a:gd name="T120" fmla="*/ 2147483647 w 608"/>
              <a:gd name="T121" fmla="*/ 0 h 464"/>
              <a:gd name="T122" fmla="*/ 2147483647 w 608"/>
              <a:gd name="T123" fmla="*/ 2147483647 h 4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8"/>
              <a:gd name="T187" fmla="*/ 0 h 464"/>
              <a:gd name="T188" fmla="*/ 608 w 608"/>
              <a:gd name="T189" fmla="*/ 464 h 4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8" h="464">
                <a:moveTo>
                  <a:pt x="213" y="9"/>
                </a:moveTo>
                <a:lnTo>
                  <a:pt x="228" y="21"/>
                </a:lnTo>
                <a:lnTo>
                  <a:pt x="241" y="25"/>
                </a:lnTo>
                <a:lnTo>
                  <a:pt x="257" y="28"/>
                </a:lnTo>
                <a:lnTo>
                  <a:pt x="276" y="28"/>
                </a:lnTo>
                <a:lnTo>
                  <a:pt x="278" y="30"/>
                </a:lnTo>
                <a:lnTo>
                  <a:pt x="280" y="34"/>
                </a:lnTo>
                <a:lnTo>
                  <a:pt x="282" y="36"/>
                </a:lnTo>
                <a:lnTo>
                  <a:pt x="286" y="38"/>
                </a:lnTo>
                <a:lnTo>
                  <a:pt x="287" y="42"/>
                </a:lnTo>
                <a:lnTo>
                  <a:pt x="289" y="44"/>
                </a:lnTo>
                <a:lnTo>
                  <a:pt x="309" y="44"/>
                </a:lnTo>
                <a:lnTo>
                  <a:pt x="328" y="44"/>
                </a:lnTo>
                <a:lnTo>
                  <a:pt x="332" y="42"/>
                </a:lnTo>
                <a:lnTo>
                  <a:pt x="333" y="38"/>
                </a:lnTo>
                <a:lnTo>
                  <a:pt x="335" y="36"/>
                </a:lnTo>
                <a:lnTo>
                  <a:pt x="337" y="34"/>
                </a:lnTo>
                <a:lnTo>
                  <a:pt x="339" y="30"/>
                </a:lnTo>
                <a:lnTo>
                  <a:pt x="343" y="28"/>
                </a:lnTo>
                <a:lnTo>
                  <a:pt x="351" y="27"/>
                </a:lnTo>
                <a:lnTo>
                  <a:pt x="358" y="25"/>
                </a:lnTo>
                <a:lnTo>
                  <a:pt x="360" y="21"/>
                </a:lnTo>
                <a:lnTo>
                  <a:pt x="362" y="19"/>
                </a:lnTo>
                <a:lnTo>
                  <a:pt x="372" y="19"/>
                </a:lnTo>
                <a:lnTo>
                  <a:pt x="381" y="19"/>
                </a:lnTo>
                <a:lnTo>
                  <a:pt x="383" y="21"/>
                </a:lnTo>
                <a:lnTo>
                  <a:pt x="387" y="25"/>
                </a:lnTo>
                <a:lnTo>
                  <a:pt x="397" y="27"/>
                </a:lnTo>
                <a:lnTo>
                  <a:pt x="406" y="28"/>
                </a:lnTo>
                <a:lnTo>
                  <a:pt x="408" y="44"/>
                </a:lnTo>
                <a:lnTo>
                  <a:pt x="410" y="57"/>
                </a:lnTo>
                <a:lnTo>
                  <a:pt x="412" y="59"/>
                </a:lnTo>
                <a:lnTo>
                  <a:pt x="416" y="63"/>
                </a:lnTo>
                <a:lnTo>
                  <a:pt x="418" y="84"/>
                </a:lnTo>
                <a:lnTo>
                  <a:pt x="420" y="107"/>
                </a:lnTo>
                <a:lnTo>
                  <a:pt x="422" y="109"/>
                </a:lnTo>
                <a:lnTo>
                  <a:pt x="426" y="111"/>
                </a:lnTo>
                <a:lnTo>
                  <a:pt x="443" y="113"/>
                </a:lnTo>
                <a:lnTo>
                  <a:pt x="462" y="113"/>
                </a:lnTo>
                <a:lnTo>
                  <a:pt x="479" y="115"/>
                </a:lnTo>
                <a:lnTo>
                  <a:pt x="497" y="117"/>
                </a:lnTo>
                <a:lnTo>
                  <a:pt x="500" y="119"/>
                </a:lnTo>
                <a:lnTo>
                  <a:pt x="502" y="121"/>
                </a:lnTo>
                <a:lnTo>
                  <a:pt x="510" y="122"/>
                </a:lnTo>
                <a:lnTo>
                  <a:pt x="518" y="126"/>
                </a:lnTo>
                <a:lnTo>
                  <a:pt x="520" y="128"/>
                </a:lnTo>
                <a:lnTo>
                  <a:pt x="521" y="130"/>
                </a:lnTo>
                <a:lnTo>
                  <a:pt x="529" y="144"/>
                </a:lnTo>
                <a:lnTo>
                  <a:pt x="537" y="155"/>
                </a:lnTo>
                <a:lnTo>
                  <a:pt x="539" y="157"/>
                </a:lnTo>
                <a:lnTo>
                  <a:pt x="541" y="159"/>
                </a:lnTo>
                <a:lnTo>
                  <a:pt x="543" y="161"/>
                </a:lnTo>
                <a:lnTo>
                  <a:pt x="546" y="165"/>
                </a:lnTo>
                <a:lnTo>
                  <a:pt x="548" y="167"/>
                </a:lnTo>
                <a:lnTo>
                  <a:pt x="550" y="169"/>
                </a:lnTo>
                <a:lnTo>
                  <a:pt x="552" y="170"/>
                </a:lnTo>
                <a:lnTo>
                  <a:pt x="556" y="174"/>
                </a:lnTo>
                <a:lnTo>
                  <a:pt x="558" y="176"/>
                </a:lnTo>
                <a:lnTo>
                  <a:pt x="560" y="178"/>
                </a:lnTo>
                <a:lnTo>
                  <a:pt x="568" y="182"/>
                </a:lnTo>
                <a:lnTo>
                  <a:pt x="575" y="184"/>
                </a:lnTo>
                <a:lnTo>
                  <a:pt x="577" y="186"/>
                </a:lnTo>
                <a:lnTo>
                  <a:pt x="579" y="188"/>
                </a:lnTo>
                <a:lnTo>
                  <a:pt x="577" y="192"/>
                </a:lnTo>
                <a:lnTo>
                  <a:pt x="575" y="193"/>
                </a:lnTo>
                <a:lnTo>
                  <a:pt x="571" y="205"/>
                </a:lnTo>
                <a:lnTo>
                  <a:pt x="569" y="218"/>
                </a:lnTo>
                <a:lnTo>
                  <a:pt x="568" y="220"/>
                </a:lnTo>
                <a:lnTo>
                  <a:pt x="566" y="222"/>
                </a:lnTo>
                <a:lnTo>
                  <a:pt x="564" y="230"/>
                </a:lnTo>
                <a:lnTo>
                  <a:pt x="560" y="236"/>
                </a:lnTo>
                <a:lnTo>
                  <a:pt x="558" y="240"/>
                </a:lnTo>
                <a:lnTo>
                  <a:pt x="556" y="241"/>
                </a:lnTo>
                <a:lnTo>
                  <a:pt x="552" y="245"/>
                </a:lnTo>
                <a:lnTo>
                  <a:pt x="552" y="251"/>
                </a:lnTo>
                <a:lnTo>
                  <a:pt x="552" y="259"/>
                </a:lnTo>
                <a:lnTo>
                  <a:pt x="556" y="261"/>
                </a:lnTo>
                <a:lnTo>
                  <a:pt x="558" y="263"/>
                </a:lnTo>
                <a:lnTo>
                  <a:pt x="560" y="266"/>
                </a:lnTo>
                <a:lnTo>
                  <a:pt x="560" y="272"/>
                </a:lnTo>
                <a:lnTo>
                  <a:pt x="560" y="280"/>
                </a:lnTo>
                <a:lnTo>
                  <a:pt x="571" y="280"/>
                </a:lnTo>
                <a:lnTo>
                  <a:pt x="585" y="280"/>
                </a:lnTo>
                <a:lnTo>
                  <a:pt x="587" y="282"/>
                </a:lnTo>
                <a:lnTo>
                  <a:pt x="591" y="286"/>
                </a:lnTo>
                <a:lnTo>
                  <a:pt x="596" y="287"/>
                </a:lnTo>
                <a:lnTo>
                  <a:pt x="604" y="289"/>
                </a:lnTo>
                <a:lnTo>
                  <a:pt x="606" y="291"/>
                </a:lnTo>
                <a:lnTo>
                  <a:pt x="608" y="295"/>
                </a:lnTo>
                <a:lnTo>
                  <a:pt x="608" y="305"/>
                </a:lnTo>
                <a:lnTo>
                  <a:pt x="608" y="314"/>
                </a:lnTo>
                <a:lnTo>
                  <a:pt x="606" y="316"/>
                </a:lnTo>
                <a:lnTo>
                  <a:pt x="604" y="318"/>
                </a:lnTo>
                <a:lnTo>
                  <a:pt x="596" y="322"/>
                </a:lnTo>
                <a:lnTo>
                  <a:pt x="591" y="324"/>
                </a:lnTo>
                <a:lnTo>
                  <a:pt x="587" y="326"/>
                </a:lnTo>
                <a:lnTo>
                  <a:pt x="585" y="328"/>
                </a:lnTo>
                <a:lnTo>
                  <a:pt x="583" y="343"/>
                </a:lnTo>
                <a:lnTo>
                  <a:pt x="581" y="358"/>
                </a:lnTo>
                <a:lnTo>
                  <a:pt x="581" y="372"/>
                </a:lnTo>
                <a:lnTo>
                  <a:pt x="579" y="387"/>
                </a:lnTo>
                <a:lnTo>
                  <a:pt x="566" y="389"/>
                </a:lnTo>
                <a:lnTo>
                  <a:pt x="550" y="391"/>
                </a:lnTo>
                <a:lnTo>
                  <a:pt x="548" y="393"/>
                </a:lnTo>
                <a:lnTo>
                  <a:pt x="546" y="397"/>
                </a:lnTo>
                <a:lnTo>
                  <a:pt x="541" y="397"/>
                </a:lnTo>
                <a:lnTo>
                  <a:pt x="537" y="397"/>
                </a:lnTo>
                <a:lnTo>
                  <a:pt x="533" y="393"/>
                </a:lnTo>
                <a:lnTo>
                  <a:pt x="531" y="391"/>
                </a:lnTo>
                <a:lnTo>
                  <a:pt x="514" y="393"/>
                </a:lnTo>
                <a:lnTo>
                  <a:pt x="497" y="397"/>
                </a:lnTo>
                <a:lnTo>
                  <a:pt x="495" y="393"/>
                </a:lnTo>
                <a:lnTo>
                  <a:pt x="493" y="391"/>
                </a:lnTo>
                <a:lnTo>
                  <a:pt x="487" y="391"/>
                </a:lnTo>
                <a:lnTo>
                  <a:pt x="483" y="391"/>
                </a:lnTo>
                <a:lnTo>
                  <a:pt x="481" y="393"/>
                </a:lnTo>
                <a:lnTo>
                  <a:pt x="479" y="397"/>
                </a:lnTo>
                <a:lnTo>
                  <a:pt x="466" y="399"/>
                </a:lnTo>
                <a:lnTo>
                  <a:pt x="454" y="401"/>
                </a:lnTo>
                <a:lnTo>
                  <a:pt x="452" y="403"/>
                </a:lnTo>
                <a:lnTo>
                  <a:pt x="449" y="406"/>
                </a:lnTo>
                <a:lnTo>
                  <a:pt x="447" y="408"/>
                </a:lnTo>
                <a:lnTo>
                  <a:pt x="445" y="410"/>
                </a:lnTo>
                <a:lnTo>
                  <a:pt x="443" y="414"/>
                </a:lnTo>
                <a:lnTo>
                  <a:pt x="439" y="416"/>
                </a:lnTo>
                <a:lnTo>
                  <a:pt x="431" y="418"/>
                </a:lnTo>
                <a:lnTo>
                  <a:pt x="426" y="420"/>
                </a:lnTo>
                <a:lnTo>
                  <a:pt x="422" y="424"/>
                </a:lnTo>
                <a:lnTo>
                  <a:pt x="420" y="426"/>
                </a:lnTo>
                <a:lnTo>
                  <a:pt x="408" y="428"/>
                </a:lnTo>
                <a:lnTo>
                  <a:pt x="397" y="429"/>
                </a:lnTo>
                <a:lnTo>
                  <a:pt x="393" y="433"/>
                </a:lnTo>
                <a:lnTo>
                  <a:pt x="391" y="435"/>
                </a:lnTo>
                <a:lnTo>
                  <a:pt x="374" y="437"/>
                </a:lnTo>
                <a:lnTo>
                  <a:pt x="358" y="439"/>
                </a:lnTo>
                <a:lnTo>
                  <a:pt x="355" y="443"/>
                </a:lnTo>
                <a:lnTo>
                  <a:pt x="353" y="445"/>
                </a:lnTo>
                <a:lnTo>
                  <a:pt x="351" y="452"/>
                </a:lnTo>
                <a:lnTo>
                  <a:pt x="347" y="460"/>
                </a:lnTo>
                <a:lnTo>
                  <a:pt x="345" y="462"/>
                </a:lnTo>
                <a:lnTo>
                  <a:pt x="343" y="464"/>
                </a:lnTo>
                <a:lnTo>
                  <a:pt x="337" y="445"/>
                </a:lnTo>
                <a:lnTo>
                  <a:pt x="333" y="426"/>
                </a:lnTo>
                <a:lnTo>
                  <a:pt x="332" y="424"/>
                </a:lnTo>
                <a:lnTo>
                  <a:pt x="328" y="420"/>
                </a:lnTo>
                <a:lnTo>
                  <a:pt x="332" y="418"/>
                </a:lnTo>
                <a:lnTo>
                  <a:pt x="333" y="416"/>
                </a:lnTo>
                <a:lnTo>
                  <a:pt x="333" y="410"/>
                </a:lnTo>
                <a:lnTo>
                  <a:pt x="333" y="406"/>
                </a:lnTo>
                <a:lnTo>
                  <a:pt x="332" y="403"/>
                </a:lnTo>
                <a:lnTo>
                  <a:pt x="328" y="401"/>
                </a:lnTo>
                <a:lnTo>
                  <a:pt x="312" y="401"/>
                </a:lnTo>
                <a:lnTo>
                  <a:pt x="297" y="399"/>
                </a:lnTo>
                <a:lnTo>
                  <a:pt x="282" y="397"/>
                </a:lnTo>
                <a:lnTo>
                  <a:pt x="264" y="397"/>
                </a:lnTo>
                <a:lnTo>
                  <a:pt x="262" y="393"/>
                </a:lnTo>
                <a:lnTo>
                  <a:pt x="261" y="391"/>
                </a:lnTo>
                <a:lnTo>
                  <a:pt x="253" y="389"/>
                </a:lnTo>
                <a:lnTo>
                  <a:pt x="247" y="387"/>
                </a:lnTo>
                <a:lnTo>
                  <a:pt x="243" y="383"/>
                </a:lnTo>
                <a:lnTo>
                  <a:pt x="241" y="381"/>
                </a:lnTo>
                <a:lnTo>
                  <a:pt x="220" y="380"/>
                </a:lnTo>
                <a:lnTo>
                  <a:pt x="197" y="378"/>
                </a:lnTo>
                <a:lnTo>
                  <a:pt x="195" y="374"/>
                </a:lnTo>
                <a:lnTo>
                  <a:pt x="193" y="372"/>
                </a:lnTo>
                <a:lnTo>
                  <a:pt x="186" y="355"/>
                </a:lnTo>
                <a:lnTo>
                  <a:pt x="178" y="339"/>
                </a:lnTo>
                <a:lnTo>
                  <a:pt x="176" y="335"/>
                </a:lnTo>
                <a:lnTo>
                  <a:pt x="174" y="334"/>
                </a:lnTo>
                <a:lnTo>
                  <a:pt x="167" y="332"/>
                </a:lnTo>
                <a:lnTo>
                  <a:pt x="159" y="328"/>
                </a:lnTo>
                <a:lnTo>
                  <a:pt x="157" y="326"/>
                </a:lnTo>
                <a:lnTo>
                  <a:pt x="155" y="324"/>
                </a:lnTo>
                <a:lnTo>
                  <a:pt x="147" y="322"/>
                </a:lnTo>
                <a:lnTo>
                  <a:pt x="140" y="318"/>
                </a:lnTo>
                <a:lnTo>
                  <a:pt x="138" y="316"/>
                </a:lnTo>
                <a:lnTo>
                  <a:pt x="134" y="314"/>
                </a:lnTo>
                <a:lnTo>
                  <a:pt x="122" y="312"/>
                </a:lnTo>
                <a:lnTo>
                  <a:pt x="111" y="309"/>
                </a:lnTo>
                <a:lnTo>
                  <a:pt x="107" y="307"/>
                </a:lnTo>
                <a:lnTo>
                  <a:pt x="105" y="305"/>
                </a:lnTo>
                <a:lnTo>
                  <a:pt x="97" y="303"/>
                </a:lnTo>
                <a:lnTo>
                  <a:pt x="92" y="299"/>
                </a:lnTo>
                <a:lnTo>
                  <a:pt x="88" y="297"/>
                </a:lnTo>
                <a:lnTo>
                  <a:pt x="86" y="295"/>
                </a:lnTo>
                <a:lnTo>
                  <a:pt x="71" y="291"/>
                </a:lnTo>
                <a:lnTo>
                  <a:pt x="55" y="287"/>
                </a:lnTo>
                <a:lnTo>
                  <a:pt x="40" y="284"/>
                </a:lnTo>
                <a:lnTo>
                  <a:pt x="23" y="280"/>
                </a:lnTo>
                <a:lnTo>
                  <a:pt x="21" y="278"/>
                </a:lnTo>
                <a:lnTo>
                  <a:pt x="19" y="276"/>
                </a:lnTo>
                <a:lnTo>
                  <a:pt x="17" y="249"/>
                </a:lnTo>
                <a:lnTo>
                  <a:pt x="15" y="222"/>
                </a:lnTo>
                <a:lnTo>
                  <a:pt x="11" y="220"/>
                </a:lnTo>
                <a:lnTo>
                  <a:pt x="9" y="218"/>
                </a:lnTo>
                <a:lnTo>
                  <a:pt x="7" y="211"/>
                </a:lnTo>
                <a:lnTo>
                  <a:pt x="5" y="203"/>
                </a:lnTo>
                <a:lnTo>
                  <a:pt x="2" y="201"/>
                </a:lnTo>
                <a:lnTo>
                  <a:pt x="0" y="197"/>
                </a:lnTo>
                <a:lnTo>
                  <a:pt x="0" y="193"/>
                </a:lnTo>
                <a:lnTo>
                  <a:pt x="0" y="188"/>
                </a:lnTo>
                <a:lnTo>
                  <a:pt x="2" y="186"/>
                </a:lnTo>
                <a:lnTo>
                  <a:pt x="5" y="184"/>
                </a:lnTo>
                <a:lnTo>
                  <a:pt x="7" y="172"/>
                </a:lnTo>
                <a:lnTo>
                  <a:pt x="9" y="159"/>
                </a:lnTo>
                <a:lnTo>
                  <a:pt x="11" y="157"/>
                </a:lnTo>
                <a:lnTo>
                  <a:pt x="15" y="155"/>
                </a:lnTo>
                <a:lnTo>
                  <a:pt x="17" y="151"/>
                </a:lnTo>
                <a:lnTo>
                  <a:pt x="19" y="149"/>
                </a:lnTo>
                <a:lnTo>
                  <a:pt x="21" y="147"/>
                </a:lnTo>
                <a:lnTo>
                  <a:pt x="23" y="145"/>
                </a:lnTo>
                <a:lnTo>
                  <a:pt x="26" y="132"/>
                </a:lnTo>
                <a:lnTo>
                  <a:pt x="28" y="121"/>
                </a:lnTo>
                <a:lnTo>
                  <a:pt x="30" y="119"/>
                </a:lnTo>
                <a:lnTo>
                  <a:pt x="34" y="117"/>
                </a:lnTo>
                <a:lnTo>
                  <a:pt x="40" y="113"/>
                </a:lnTo>
                <a:lnTo>
                  <a:pt x="48" y="111"/>
                </a:lnTo>
                <a:lnTo>
                  <a:pt x="50" y="109"/>
                </a:lnTo>
                <a:lnTo>
                  <a:pt x="53" y="107"/>
                </a:lnTo>
                <a:lnTo>
                  <a:pt x="59" y="103"/>
                </a:lnTo>
                <a:lnTo>
                  <a:pt x="67" y="101"/>
                </a:lnTo>
                <a:lnTo>
                  <a:pt x="69" y="99"/>
                </a:lnTo>
                <a:lnTo>
                  <a:pt x="73" y="96"/>
                </a:lnTo>
                <a:lnTo>
                  <a:pt x="74" y="94"/>
                </a:lnTo>
                <a:lnTo>
                  <a:pt x="76" y="92"/>
                </a:lnTo>
                <a:lnTo>
                  <a:pt x="78" y="90"/>
                </a:lnTo>
                <a:lnTo>
                  <a:pt x="82" y="86"/>
                </a:lnTo>
                <a:lnTo>
                  <a:pt x="84" y="74"/>
                </a:lnTo>
                <a:lnTo>
                  <a:pt x="86" y="63"/>
                </a:lnTo>
                <a:lnTo>
                  <a:pt x="88" y="59"/>
                </a:lnTo>
                <a:lnTo>
                  <a:pt x="92" y="57"/>
                </a:lnTo>
                <a:lnTo>
                  <a:pt x="94" y="51"/>
                </a:lnTo>
                <a:lnTo>
                  <a:pt x="96" y="44"/>
                </a:lnTo>
                <a:lnTo>
                  <a:pt x="99" y="42"/>
                </a:lnTo>
                <a:lnTo>
                  <a:pt x="101" y="38"/>
                </a:lnTo>
                <a:lnTo>
                  <a:pt x="103" y="27"/>
                </a:lnTo>
                <a:lnTo>
                  <a:pt x="105" y="15"/>
                </a:lnTo>
                <a:lnTo>
                  <a:pt x="107" y="11"/>
                </a:lnTo>
                <a:lnTo>
                  <a:pt x="111" y="9"/>
                </a:lnTo>
                <a:lnTo>
                  <a:pt x="119" y="7"/>
                </a:lnTo>
                <a:lnTo>
                  <a:pt x="126" y="3"/>
                </a:lnTo>
                <a:lnTo>
                  <a:pt x="128" y="2"/>
                </a:lnTo>
                <a:lnTo>
                  <a:pt x="130" y="0"/>
                </a:lnTo>
                <a:lnTo>
                  <a:pt x="140" y="0"/>
                </a:lnTo>
                <a:lnTo>
                  <a:pt x="149" y="0"/>
                </a:lnTo>
                <a:lnTo>
                  <a:pt x="151" y="2"/>
                </a:lnTo>
                <a:lnTo>
                  <a:pt x="155" y="3"/>
                </a:lnTo>
                <a:lnTo>
                  <a:pt x="168" y="5"/>
                </a:lnTo>
                <a:lnTo>
                  <a:pt x="184" y="7"/>
                </a:lnTo>
                <a:lnTo>
                  <a:pt x="197" y="7"/>
                </a:lnTo>
                <a:lnTo>
                  <a:pt x="213" y="9"/>
                </a:lnTo>
              </a:path>
            </a:pathLst>
          </a:custGeom>
          <a:solidFill>
            <a:schemeClr val="accent3"/>
          </a:solidFill>
          <a:ln w="12700">
            <a:solidFill>
              <a:schemeClr val="bg1"/>
            </a:solidFill>
            <a:round/>
            <a:headEnd/>
            <a:tailEnd/>
          </a:ln>
        </p:spPr>
        <p:txBody>
          <a:bodyPr/>
          <a:lstStyle/>
          <a:p>
            <a:endParaRPr lang="en-GB"/>
          </a:p>
        </p:txBody>
      </p:sp>
      <p:sp>
        <p:nvSpPr>
          <p:cNvPr id="30" name="Freeform 301"/>
          <p:cNvSpPr>
            <a:spLocks/>
          </p:cNvSpPr>
          <p:nvPr>
            <p:custDataLst>
              <p:tags r:id="rId20"/>
            </p:custDataLst>
          </p:nvPr>
        </p:nvSpPr>
        <p:spPr bwMode="auto">
          <a:xfrm>
            <a:off x="2641296" y="4269283"/>
            <a:ext cx="564371" cy="647981"/>
          </a:xfrm>
          <a:custGeom>
            <a:avLst/>
            <a:gdLst>
              <a:gd name="T0" fmla="*/ 2147483647 w 414"/>
              <a:gd name="T1" fmla="*/ 2147483647 h 493"/>
              <a:gd name="T2" fmla="*/ 2147483647 w 414"/>
              <a:gd name="T3" fmla="*/ 2147483647 h 493"/>
              <a:gd name="T4" fmla="*/ 2147483647 w 414"/>
              <a:gd name="T5" fmla="*/ 2147483647 h 493"/>
              <a:gd name="T6" fmla="*/ 2147483647 w 414"/>
              <a:gd name="T7" fmla="*/ 2147483647 h 493"/>
              <a:gd name="T8" fmla="*/ 2147483647 w 414"/>
              <a:gd name="T9" fmla="*/ 2147483647 h 493"/>
              <a:gd name="T10" fmla="*/ 2147483647 w 414"/>
              <a:gd name="T11" fmla="*/ 2147483647 h 493"/>
              <a:gd name="T12" fmla="*/ 2147483647 w 414"/>
              <a:gd name="T13" fmla="*/ 2147483647 h 493"/>
              <a:gd name="T14" fmla="*/ 2147483647 w 414"/>
              <a:gd name="T15" fmla="*/ 2147483647 h 493"/>
              <a:gd name="T16" fmla="*/ 2147483647 w 414"/>
              <a:gd name="T17" fmla="*/ 2147483647 h 493"/>
              <a:gd name="T18" fmla="*/ 2147483647 w 414"/>
              <a:gd name="T19" fmla="*/ 2147483647 h 493"/>
              <a:gd name="T20" fmla="*/ 2147483647 w 414"/>
              <a:gd name="T21" fmla="*/ 2147483647 h 493"/>
              <a:gd name="T22" fmla="*/ 2147483647 w 414"/>
              <a:gd name="T23" fmla="*/ 2147483647 h 493"/>
              <a:gd name="T24" fmla="*/ 2147483647 w 414"/>
              <a:gd name="T25" fmla="*/ 2147483647 h 493"/>
              <a:gd name="T26" fmla="*/ 2147483647 w 414"/>
              <a:gd name="T27" fmla="*/ 2147483647 h 493"/>
              <a:gd name="T28" fmla="*/ 2147483647 w 414"/>
              <a:gd name="T29" fmla="*/ 2147483647 h 493"/>
              <a:gd name="T30" fmla="*/ 2147483647 w 414"/>
              <a:gd name="T31" fmla="*/ 2147483647 h 493"/>
              <a:gd name="T32" fmla="*/ 2147483647 w 414"/>
              <a:gd name="T33" fmla="*/ 2147483647 h 493"/>
              <a:gd name="T34" fmla="*/ 2147483647 w 414"/>
              <a:gd name="T35" fmla="*/ 2147483647 h 493"/>
              <a:gd name="T36" fmla="*/ 2147483647 w 414"/>
              <a:gd name="T37" fmla="*/ 2147483647 h 493"/>
              <a:gd name="T38" fmla="*/ 2147483647 w 414"/>
              <a:gd name="T39" fmla="*/ 2147483647 h 493"/>
              <a:gd name="T40" fmla="*/ 2147483647 w 414"/>
              <a:gd name="T41" fmla="*/ 2147483647 h 493"/>
              <a:gd name="T42" fmla="*/ 2147483647 w 414"/>
              <a:gd name="T43" fmla="*/ 2147483647 h 493"/>
              <a:gd name="T44" fmla="*/ 2147483647 w 414"/>
              <a:gd name="T45" fmla="*/ 2147483647 h 493"/>
              <a:gd name="T46" fmla="*/ 2147483647 w 414"/>
              <a:gd name="T47" fmla="*/ 2147483647 h 493"/>
              <a:gd name="T48" fmla="*/ 2147483647 w 414"/>
              <a:gd name="T49" fmla="*/ 2147483647 h 493"/>
              <a:gd name="T50" fmla="*/ 2147483647 w 414"/>
              <a:gd name="T51" fmla="*/ 2147483647 h 493"/>
              <a:gd name="T52" fmla="*/ 2147483647 w 414"/>
              <a:gd name="T53" fmla="*/ 2147483647 h 493"/>
              <a:gd name="T54" fmla="*/ 2147483647 w 414"/>
              <a:gd name="T55" fmla="*/ 2147483647 h 493"/>
              <a:gd name="T56" fmla="*/ 2147483647 w 414"/>
              <a:gd name="T57" fmla="*/ 2147483647 h 493"/>
              <a:gd name="T58" fmla="*/ 2147483647 w 414"/>
              <a:gd name="T59" fmla="*/ 2147483647 h 493"/>
              <a:gd name="T60" fmla="*/ 2147483647 w 414"/>
              <a:gd name="T61" fmla="*/ 2147483647 h 493"/>
              <a:gd name="T62" fmla="*/ 2147483647 w 414"/>
              <a:gd name="T63" fmla="*/ 2147483647 h 493"/>
              <a:gd name="T64" fmla="*/ 2147483647 w 414"/>
              <a:gd name="T65" fmla="*/ 2147483647 h 493"/>
              <a:gd name="T66" fmla="*/ 2147483647 w 414"/>
              <a:gd name="T67" fmla="*/ 2147483647 h 493"/>
              <a:gd name="T68" fmla="*/ 2147483647 w 414"/>
              <a:gd name="T69" fmla="*/ 2147483647 h 493"/>
              <a:gd name="T70" fmla="*/ 2147483647 w 414"/>
              <a:gd name="T71" fmla="*/ 2147483647 h 493"/>
              <a:gd name="T72" fmla="*/ 2147483647 w 414"/>
              <a:gd name="T73" fmla="*/ 2147483647 h 493"/>
              <a:gd name="T74" fmla="*/ 2147483647 w 414"/>
              <a:gd name="T75" fmla="*/ 2147483647 h 493"/>
              <a:gd name="T76" fmla="*/ 2147483647 w 414"/>
              <a:gd name="T77" fmla="*/ 2147483647 h 493"/>
              <a:gd name="T78" fmla="*/ 2147483647 w 414"/>
              <a:gd name="T79" fmla="*/ 0 h 493"/>
              <a:gd name="T80" fmla="*/ 2147483647 w 414"/>
              <a:gd name="T81" fmla="*/ 2147483647 h 493"/>
              <a:gd name="T82" fmla="*/ 2147483647 w 414"/>
              <a:gd name="T83" fmla="*/ 2147483647 h 493"/>
              <a:gd name="T84" fmla="*/ 2147483647 w 414"/>
              <a:gd name="T85" fmla="*/ 2147483647 h 493"/>
              <a:gd name="T86" fmla="*/ 2147483647 w 414"/>
              <a:gd name="T87" fmla="*/ 2147483647 h 493"/>
              <a:gd name="T88" fmla="*/ 2147483647 w 414"/>
              <a:gd name="T89" fmla="*/ 2147483647 h 493"/>
              <a:gd name="T90" fmla="*/ 2147483647 w 414"/>
              <a:gd name="T91" fmla="*/ 2147483647 h 493"/>
              <a:gd name="T92" fmla="*/ 2147483647 w 414"/>
              <a:gd name="T93" fmla="*/ 2147483647 h 493"/>
              <a:gd name="T94" fmla="*/ 2147483647 w 414"/>
              <a:gd name="T95" fmla="*/ 2147483647 h 493"/>
              <a:gd name="T96" fmla="*/ 2147483647 w 414"/>
              <a:gd name="T97" fmla="*/ 2147483647 h 493"/>
              <a:gd name="T98" fmla="*/ 2147483647 w 414"/>
              <a:gd name="T99" fmla="*/ 2147483647 h 493"/>
              <a:gd name="T100" fmla="*/ 2147483647 w 414"/>
              <a:gd name="T101" fmla="*/ 2147483647 h 493"/>
              <a:gd name="T102" fmla="*/ 2147483647 w 414"/>
              <a:gd name="T103" fmla="*/ 2147483647 h 493"/>
              <a:gd name="T104" fmla="*/ 2147483647 w 414"/>
              <a:gd name="T105" fmla="*/ 2147483647 h 493"/>
              <a:gd name="T106" fmla="*/ 2147483647 w 414"/>
              <a:gd name="T107" fmla="*/ 2147483647 h 493"/>
              <a:gd name="T108" fmla="*/ 2147483647 w 414"/>
              <a:gd name="T109" fmla="*/ 2147483647 h 493"/>
              <a:gd name="T110" fmla="*/ 2147483647 w 414"/>
              <a:gd name="T111" fmla="*/ 2147483647 h 493"/>
              <a:gd name="T112" fmla="*/ 2147483647 w 414"/>
              <a:gd name="T113" fmla="*/ 2147483647 h 493"/>
              <a:gd name="T114" fmla="*/ 2147483647 w 414"/>
              <a:gd name="T115" fmla="*/ 2147483647 h 493"/>
              <a:gd name="T116" fmla="*/ 2147483647 w 414"/>
              <a:gd name="T117" fmla="*/ 2147483647 h 493"/>
              <a:gd name="T118" fmla="*/ 2147483647 w 414"/>
              <a:gd name="T119" fmla="*/ 2147483647 h 493"/>
              <a:gd name="T120" fmla="*/ 2147483647 w 414"/>
              <a:gd name="T121" fmla="*/ 2147483647 h 493"/>
              <a:gd name="T122" fmla="*/ 2147483647 w 414"/>
              <a:gd name="T123" fmla="*/ 2147483647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4"/>
              <a:gd name="T187" fmla="*/ 0 h 493"/>
              <a:gd name="T188" fmla="*/ 414 w 414"/>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4" h="493">
                <a:moveTo>
                  <a:pt x="274" y="493"/>
                </a:moveTo>
                <a:lnTo>
                  <a:pt x="272" y="491"/>
                </a:lnTo>
                <a:lnTo>
                  <a:pt x="270" y="487"/>
                </a:lnTo>
                <a:lnTo>
                  <a:pt x="266" y="485"/>
                </a:lnTo>
                <a:lnTo>
                  <a:pt x="264" y="483"/>
                </a:lnTo>
                <a:lnTo>
                  <a:pt x="262" y="479"/>
                </a:lnTo>
                <a:lnTo>
                  <a:pt x="261" y="478"/>
                </a:lnTo>
                <a:lnTo>
                  <a:pt x="247" y="476"/>
                </a:lnTo>
                <a:lnTo>
                  <a:pt x="236" y="474"/>
                </a:lnTo>
                <a:lnTo>
                  <a:pt x="234" y="470"/>
                </a:lnTo>
                <a:lnTo>
                  <a:pt x="232" y="468"/>
                </a:lnTo>
                <a:lnTo>
                  <a:pt x="226" y="468"/>
                </a:lnTo>
                <a:lnTo>
                  <a:pt x="222" y="468"/>
                </a:lnTo>
                <a:lnTo>
                  <a:pt x="218" y="470"/>
                </a:lnTo>
                <a:lnTo>
                  <a:pt x="216" y="474"/>
                </a:lnTo>
                <a:lnTo>
                  <a:pt x="201" y="474"/>
                </a:lnTo>
                <a:lnTo>
                  <a:pt x="188" y="474"/>
                </a:lnTo>
                <a:lnTo>
                  <a:pt x="184" y="470"/>
                </a:lnTo>
                <a:lnTo>
                  <a:pt x="182" y="468"/>
                </a:lnTo>
                <a:lnTo>
                  <a:pt x="180" y="466"/>
                </a:lnTo>
                <a:lnTo>
                  <a:pt x="178" y="464"/>
                </a:lnTo>
                <a:lnTo>
                  <a:pt x="174" y="460"/>
                </a:lnTo>
                <a:lnTo>
                  <a:pt x="172" y="458"/>
                </a:lnTo>
                <a:lnTo>
                  <a:pt x="145" y="456"/>
                </a:lnTo>
                <a:lnTo>
                  <a:pt x="121" y="454"/>
                </a:lnTo>
                <a:lnTo>
                  <a:pt x="117" y="451"/>
                </a:lnTo>
                <a:lnTo>
                  <a:pt x="115" y="449"/>
                </a:lnTo>
                <a:lnTo>
                  <a:pt x="113" y="447"/>
                </a:lnTo>
                <a:lnTo>
                  <a:pt x="111" y="445"/>
                </a:lnTo>
                <a:lnTo>
                  <a:pt x="107" y="441"/>
                </a:lnTo>
                <a:lnTo>
                  <a:pt x="105" y="439"/>
                </a:lnTo>
                <a:lnTo>
                  <a:pt x="103" y="437"/>
                </a:lnTo>
                <a:lnTo>
                  <a:pt x="99" y="435"/>
                </a:lnTo>
                <a:lnTo>
                  <a:pt x="97" y="431"/>
                </a:lnTo>
                <a:lnTo>
                  <a:pt x="96" y="430"/>
                </a:lnTo>
                <a:lnTo>
                  <a:pt x="74" y="428"/>
                </a:lnTo>
                <a:lnTo>
                  <a:pt x="51" y="426"/>
                </a:lnTo>
                <a:lnTo>
                  <a:pt x="50" y="422"/>
                </a:lnTo>
                <a:lnTo>
                  <a:pt x="48" y="420"/>
                </a:lnTo>
                <a:lnTo>
                  <a:pt x="40" y="418"/>
                </a:lnTo>
                <a:lnTo>
                  <a:pt x="32" y="416"/>
                </a:lnTo>
                <a:lnTo>
                  <a:pt x="30" y="412"/>
                </a:lnTo>
                <a:lnTo>
                  <a:pt x="28" y="410"/>
                </a:lnTo>
                <a:lnTo>
                  <a:pt x="25" y="408"/>
                </a:lnTo>
                <a:lnTo>
                  <a:pt x="23" y="405"/>
                </a:lnTo>
                <a:lnTo>
                  <a:pt x="21" y="403"/>
                </a:lnTo>
                <a:lnTo>
                  <a:pt x="19" y="401"/>
                </a:lnTo>
                <a:lnTo>
                  <a:pt x="15" y="399"/>
                </a:lnTo>
                <a:lnTo>
                  <a:pt x="13" y="395"/>
                </a:lnTo>
                <a:lnTo>
                  <a:pt x="11" y="393"/>
                </a:lnTo>
                <a:lnTo>
                  <a:pt x="7" y="391"/>
                </a:lnTo>
                <a:lnTo>
                  <a:pt x="5" y="389"/>
                </a:lnTo>
                <a:lnTo>
                  <a:pt x="3" y="385"/>
                </a:lnTo>
                <a:lnTo>
                  <a:pt x="2" y="383"/>
                </a:lnTo>
                <a:lnTo>
                  <a:pt x="0" y="382"/>
                </a:lnTo>
                <a:lnTo>
                  <a:pt x="2" y="380"/>
                </a:lnTo>
                <a:lnTo>
                  <a:pt x="3" y="376"/>
                </a:lnTo>
                <a:lnTo>
                  <a:pt x="5" y="368"/>
                </a:lnTo>
                <a:lnTo>
                  <a:pt x="7" y="362"/>
                </a:lnTo>
                <a:lnTo>
                  <a:pt x="11" y="359"/>
                </a:lnTo>
                <a:lnTo>
                  <a:pt x="13" y="357"/>
                </a:lnTo>
                <a:lnTo>
                  <a:pt x="15" y="355"/>
                </a:lnTo>
                <a:lnTo>
                  <a:pt x="19" y="353"/>
                </a:lnTo>
                <a:lnTo>
                  <a:pt x="21" y="351"/>
                </a:lnTo>
                <a:lnTo>
                  <a:pt x="23" y="347"/>
                </a:lnTo>
                <a:lnTo>
                  <a:pt x="25" y="345"/>
                </a:lnTo>
                <a:lnTo>
                  <a:pt x="28" y="343"/>
                </a:lnTo>
                <a:lnTo>
                  <a:pt x="30" y="339"/>
                </a:lnTo>
                <a:lnTo>
                  <a:pt x="32" y="337"/>
                </a:lnTo>
                <a:lnTo>
                  <a:pt x="40" y="336"/>
                </a:lnTo>
                <a:lnTo>
                  <a:pt x="48" y="334"/>
                </a:lnTo>
                <a:lnTo>
                  <a:pt x="50" y="330"/>
                </a:lnTo>
                <a:lnTo>
                  <a:pt x="51" y="328"/>
                </a:lnTo>
                <a:lnTo>
                  <a:pt x="59" y="320"/>
                </a:lnTo>
                <a:lnTo>
                  <a:pt x="67" y="312"/>
                </a:lnTo>
                <a:lnTo>
                  <a:pt x="69" y="311"/>
                </a:lnTo>
                <a:lnTo>
                  <a:pt x="71" y="309"/>
                </a:lnTo>
                <a:lnTo>
                  <a:pt x="74" y="307"/>
                </a:lnTo>
                <a:lnTo>
                  <a:pt x="76" y="305"/>
                </a:lnTo>
                <a:lnTo>
                  <a:pt x="78" y="301"/>
                </a:lnTo>
                <a:lnTo>
                  <a:pt x="80" y="299"/>
                </a:lnTo>
                <a:lnTo>
                  <a:pt x="84" y="301"/>
                </a:lnTo>
                <a:lnTo>
                  <a:pt x="86" y="305"/>
                </a:lnTo>
                <a:lnTo>
                  <a:pt x="96" y="305"/>
                </a:lnTo>
                <a:lnTo>
                  <a:pt x="105" y="305"/>
                </a:lnTo>
                <a:lnTo>
                  <a:pt x="107" y="301"/>
                </a:lnTo>
                <a:lnTo>
                  <a:pt x="111" y="299"/>
                </a:lnTo>
                <a:lnTo>
                  <a:pt x="113" y="291"/>
                </a:lnTo>
                <a:lnTo>
                  <a:pt x="115" y="284"/>
                </a:lnTo>
                <a:lnTo>
                  <a:pt x="117" y="282"/>
                </a:lnTo>
                <a:lnTo>
                  <a:pt x="121" y="280"/>
                </a:lnTo>
                <a:lnTo>
                  <a:pt x="132" y="278"/>
                </a:lnTo>
                <a:lnTo>
                  <a:pt x="144" y="274"/>
                </a:lnTo>
                <a:lnTo>
                  <a:pt x="145" y="272"/>
                </a:lnTo>
                <a:lnTo>
                  <a:pt x="149" y="270"/>
                </a:lnTo>
                <a:lnTo>
                  <a:pt x="151" y="268"/>
                </a:lnTo>
                <a:lnTo>
                  <a:pt x="153" y="265"/>
                </a:lnTo>
                <a:lnTo>
                  <a:pt x="155" y="263"/>
                </a:lnTo>
                <a:lnTo>
                  <a:pt x="159" y="261"/>
                </a:lnTo>
                <a:lnTo>
                  <a:pt x="159" y="245"/>
                </a:lnTo>
                <a:lnTo>
                  <a:pt x="159" y="232"/>
                </a:lnTo>
                <a:lnTo>
                  <a:pt x="155" y="228"/>
                </a:lnTo>
                <a:lnTo>
                  <a:pt x="153" y="226"/>
                </a:lnTo>
                <a:lnTo>
                  <a:pt x="155" y="224"/>
                </a:lnTo>
                <a:lnTo>
                  <a:pt x="159" y="222"/>
                </a:lnTo>
                <a:lnTo>
                  <a:pt x="161" y="215"/>
                </a:lnTo>
                <a:lnTo>
                  <a:pt x="163" y="207"/>
                </a:lnTo>
                <a:lnTo>
                  <a:pt x="167" y="205"/>
                </a:lnTo>
                <a:lnTo>
                  <a:pt x="168" y="203"/>
                </a:lnTo>
                <a:lnTo>
                  <a:pt x="168" y="194"/>
                </a:lnTo>
                <a:lnTo>
                  <a:pt x="168" y="184"/>
                </a:lnTo>
                <a:lnTo>
                  <a:pt x="167" y="180"/>
                </a:lnTo>
                <a:lnTo>
                  <a:pt x="163" y="178"/>
                </a:lnTo>
                <a:lnTo>
                  <a:pt x="163" y="169"/>
                </a:lnTo>
                <a:lnTo>
                  <a:pt x="163" y="159"/>
                </a:lnTo>
                <a:lnTo>
                  <a:pt x="167" y="157"/>
                </a:lnTo>
                <a:lnTo>
                  <a:pt x="168" y="153"/>
                </a:lnTo>
                <a:lnTo>
                  <a:pt x="176" y="151"/>
                </a:lnTo>
                <a:lnTo>
                  <a:pt x="182" y="149"/>
                </a:lnTo>
                <a:lnTo>
                  <a:pt x="184" y="147"/>
                </a:lnTo>
                <a:lnTo>
                  <a:pt x="188" y="146"/>
                </a:lnTo>
                <a:lnTo>
                  <a:pt x="190" y="142"/>
                </a:lnTo>
                <a:lnTo>
                  <a:pt x="191" y="140"/>
                </a:lnTo>
                <a:lnTo>
                  <a:pt x="195" y="136"/>
                </a:lnTo>
                <a:lnTo>
                  <a:pt x="197" y="134"/>
                </a:lnTo>
                <a:lnTo>
                  <a:pt x="199" y="132"/>
                </a:lnTo>
                <a:lnTo>
                  <a:pt x="201" y="130"/>
                </a:lnTo>
                <a:lnTo>
                  <a:pt x="205" y="126"/>
                </a:lnTo>
                <a:lnTo>
                  <a:pt x="207" y="124"/>
                </a:lnTo>
                <a:lnTo>
                  <a:pt x="209" y="123"/>
                </a:lnTo>
                <a:lnTo>
                  <a:pt x="211" y="121"/>
                </a:lnTo>
                <a:lnTo>
                  <a:pt x="213" y="119"/>
                </a:lnTo>
                <a:lnTo>
                  <a:pt x="216" y="115"/>
                </a:lnTo>
                <a:lnTo>
                  <a:pt x="218" y="113"/>
                </a:lnTo>
                <a:lnTo>
                  <a:pt x="222" y="111"/>
                </a:lnTo>
                <a:lnTo>
                  <a:pt x="224" y="107"/>
                </a:lnTo>
                <a:lnTo>
                  <a:pt x="226" y="105"/>
                </a:lnTo>
                <a:lnTo>
                  <a:pt x="228" y="103"/>
                </a:lnTo>
                <a:lnTo>
                  <a:pt x="232" y="101"/>
                </a:lnTo>
                <a:lnTo>
                  <a:pt x="234" y="98"/>
                </a:lnTo>
                <a:lnTo>
                  <a:pt x="236" y="96"/>
                </a:lnTo>
                <a:lnTo>
                  <a:pt x="238" y="88"/>
                </a:lnTo>
                <a:lnTo>
                  <a:pt x="239" y="80"/>
                </a:lnTo>
                <a:lnTo>
                  <a:pt x="243" y="78"/>
                </a:lnTo>
                <a:lnTo>
                  <a:pt x="245" y="76"/>
                </a:lnTo>
                <a:lnTo>
                  <a:pt x="247" y="69"/>
                </a:lnTo>
                <a:lnTo>
                  <a:pt x="251" y="63"/>
                </a:lnTo>
                <a:lnTo>
                  <a:pt x="253" y="59"/>
                </a:lnTo>
                <a:lnTo>
                  <a:pt x="255" y="57"/>
                </a:lnTo>
                <a:lnTo>
                  <a:pt x="257" y="50"/>
                </a:lnTo>
                <a:lnTo>
                  <a:pt x="261" y="42"/>
                </a:lnTo>
                <a:lnTo>
                  <a:pt x="262" y="40"/>
                </a:lnTo>
                <a:lnTo>
                  <a:pt x="264" y="38"/>
                </a:lnTo>
                <a:lnTo>
                  <a:pt x="270" y="25"/>
                </a:lnTo>
                <a:lnTo>
                  <a:pt x="272" y="15"/>
                </a:lnTo>
                <a:lnTo>
                  <a:pt x="272" y="9"/>
                </a:lnTo>
                <a:lnTo>
                  <a:pt x="270" y="4"/>
                </a:lnTo>
                <a:lnTo>
                  <a:pt x="272" y="2"/>
                </a:lnTo>
                <a:lnTo>
                  <a:pt x="274" y="0"/>
                </a:lnTo>
                <a:lnTo>
                  <a:pt x="284" y="0"/>
                </a:lnTo>
                <a:lnTo>
                  <a:pt x="293" y="0"/>
                </a:lnTo>
                <a:lnTo>
                  <a:pt x="295" y="2"/>
                </a:lnTo>
                <a:lnTo>
                  <a:pt x="299" y="4"/>
                </a:lnTo>
                <a:lnTo>
                  <a:pt x="301" y="11"/>
                </a:lnTo>
                <a:lnTo>
                  <a:pt x="303" y="19"/>
                </a:lnTo>
                <a:lnTo>
                  <a:pt x="307" y="21"/>
                </a:lnTo>
                <a:lnTo>
                  <a:pt x="309" y="23"/>
                </a:lnTo>
                <a:lnTo>
                  <a:pt x="310" y="27"/>
                </a:lnTo>
                <a:lnTo>
                  <a:pt x="312" y="29"/>
                </a:lnTo>
                <a:lnTo>
                  <a:pt x="316" y="30"/>
                </a:lnTo>
                <a:lnTo>
                  <a:pt x="318" y="32"/>
                </a:lnTo>
                <a:lnTo>
                  <a:pt x="320" y="36"/>
                </a:lnTo>
                <a:lnTo>
                  <a:pt x="322" y="38"/>
                </a:lnTo>
                <a:lnTo>
                  <a:pt x="326" y="40"/>
                </a:lnTo>
                <a:lnTo>
                  <a:pt x="328" y="42"/>
                </a:lnTo>
                <a:lnTo>
                  <a:pt x="330" y="46"/>
                </a:lnTo>
                <a:lnTo>
                  <a:pt x="332" y="48"/>
                </a:lnTo>
                <a:lnTo>
                  <a:pt x="335" y="50"/>
                </a:lnTo>
                <a:lnTo>
                  <a:pt x="337" y="52"/>
                </a:lnTo>
                <a:lnTo>
                  <a:pt x="339" y="55"/>
                </a:lnTo>
                <a:lnTo>
                  <a:pt x="343" y="57"/>
                </a:lnTo>
                <a:lnTo>
                  <a:pt x="345" y="59"/>
                </a:lnTo>
                <a:lnTo>
                  <a:pt x="347" y="63"/>
                </a:lnTo>
                <a:lnTo>
                  <a:pt x="349" y="65"/>
                </a:lnTo>
                <a:lnTo>
                  <a:pt x="353" y="67"/>
                </a:lnTo>
                <a:lnTo>
                  <a:pt x="355" y="69"/>
                </a:lnTo>
                <a:lnTo>
                  <a:pt x="357" y="73"/>
                </a:lnTo>
                <a:lnTo>
                  <a:pt x="358" y="84"/>
                </a:lnTo>
                <a:lnTo>
                  <a:pt x="360" y="96"/>
                </a:lnTo>
                <a:lnTo>
                  <a:pt x="364" y="98"/>
                </a:lnTo>
                <a:lnTo>
                  <a:pt x="366" y="101"/>
                </a:lnTo>
                <a:lnTo>
                  <a:pt x="366" y="111"/>
                </a:lnTo>
                <a:lnTo>
                  <a:pt x="366" y="121"/>
                </a:lnTo>
                <a:lnTo>
                  <a:pt x="364" y="123"/>
                </a:lnTo>
                <a:lnTo>
                  <a:pt x="360" y="124"/>
                </a:lnTo>
                <a:lnTo>
                  <a:pt x="360" y="149"/>
                </a:lnTo>
                <a:lnTo>
                  <a:pt x="360" y="174"/>
                </a:lnTo>
                <a:lnTo>
                  <a:pt x="364" y="176"/>
                </a:lnTo>
                <a:lnTo>
                  <a:pt x="366" y="178"/>
                </a:lnTo>
                <a:lnTo>
                  <a:pt x="366" y="203"/>
                </a:lnTo>
                <a:lnTo>
                  <a:pt x="366" y="228"/>
                </a:lnTo>
                <a:lnTo>
                  <a:pt x="366" y="255"/>
                </a:lnTo>
                <a:lnTo>
                  <a:pt x="366" y="280"/>
                </a:lnTo>
                <a:lnTo>
                  <a:pt x="374" y="280"/>
                </a:lnTo>
                <a:lnTo>
                  <a:pt x="381" y="280"/>
                </a:lnTo>
                <a:lnTo>
                  <a:pt x="383" y="282"/>
                </a:lnTo>
                <a:lnTo>
                  <a:pt x="385" y="284"/>
                </a:lnTo>
                <a:lnTo>
                  <a:pt x="393" y="291"/>
                </a:lnTo>
                <a:lnTo>
                  <a:pt x="401" y="299"/>
                </a:lnTo>
                <a:lnTo>
                  <a:pt x="403" y="301"/>
                </a:lnTo>
                <a:lnTo>
                  <a:pt x="404" y="305"/>
                </a:lnTo>
                <a:lnTo>
                  <a:pt x="406" y="316"/>
                </a:lnTo>
                <a:lnTo>
                  <a:pt x="410" y="328"/>
                </a:lnTo>
                <a:lnTo>
                  <a:pt x="412" y="330"/>
                </a:lnTo>
                <a:lnTo>
                  <a:pt x="414" y="334"/>
                </a:lnTo>
                <a:lnTo>
                  <a:pt x="414" y="357"/>
                </a:lnTo>
                <a:lnTo>
                  <a:pt x="414" y="382"/>
                </a:lnTo>
                <a:lnTo>
                  <a:pt x="412" y="383"/>
                </a:lnTo>
                <a:lnTo>
                  <a:pt x="410" y="385"/>
                </a:lnTo>
                <a:lnTo>
                  <a:pt x="406" y="399"/>
                </a:lnTo>
                <a:lnTo>
                  <a:pt x="404" y="410"/>
                </a:lnTo>
                <a:lnTo>
                  <a:pt x="403" y="412"/>
                </a:lnTo>
                <a:lnTo>
                  <a:pt x="401" y="416"/>
                </a:lnTo>
                <a:lnTo>
                  <a:pt x="378" y="418"/>
                </a:lnTo>
                <a:lnTo>
                  <a:pt x="357" y="420"/>
                </a:lnTo>
                <a:lnTo>
                  <a:pt x="355" y="422"/>
                </a:lnTo>
                <a:lnTo>
                  <a:pt x="353" y="426"/>
                </a:lnTo>
                <a:lnTo>
                  <a:pt x="349" y="428"/>
                </a:lnTo>
                <a:lnTo>
                  <a:pt x="347" y="430"/>
                </a:lnTo>
                <a:lnTo>
                  <a:pt x="345" y="431"/>
                </a:lnTo>
                <a:lnTo>
                  <a:pt x="343" y="435"/>
                </a:lnTo>
                <a:lnTo>
                  <a:pt x="339" y="437"/>
                </a:lnTo>
                <a:lnTo>
                  <a:pt x="337" y="439"/>
                </a:lnTo>
                <a:lnTo>
                  <a:pt x="335" y="441"/>
                </a:lnTo>
                <a:lnTo>
                  <a:pt x="332" y="445"/>
                </a:lnTo>
                <a:lnTo>
                  <a:pt x="332" y="449"/>
                </a:lnTo>
                <a:lnTo>
                  <a:pt x="332" y="454"/>
                </a:lnTo>
                <a:lnTo>
                  <a:pt x="335" y="456"/>
                </a:lnTo>
                <a:lnTo>
                  <a:pt x="337" y="458"/>
                </a:lnTo>
                <a:lnTo>
                  <a:pt x="337" y="468"/>
                </a:lnTo>
                <a:lnTo>
                  <a:pt x="337" y="478"/>
                </a:lnTo>
                <a:lnTo>
                  <a:pt x="335" y="479"/>
                </a:lnTo>
                <a:lnTo>
                  <a:pt x="332" y="483"/>
                </a:lnTo>
                <a:lnTo>
                  <a:pt x="314" y="485"/>
                </a:lnTo>
                <a:lnTo>
                  <a:pt x="299" y="487"/>
                </a:lnTo>
                <a:lnTo>
                  <a:pt x="295" y="491"/>
                </a:lnTo>
                <a:lnTo>
                  <a:pt x="293" y="493"/>
                </a:lnTo>
                <a:lnTo>
                  <a:pt x="284" y="493"/>
                </a:lnTo>
                <a:lnTo>
                  <a:pt x="274" y="493"/>
                </a:lnTo>
              </a:path>
            </a:pathLst>
          </a:custGeom>
          <a:solidFill>
            <a:schemeClr val="accent3"/>
          </a:solidFill>
          <a:ln w="12700">
            <a:solidFill>
              <a:schemeClr val="bg1"/>
            </a:solidFill>
            <a:round/>
            <a:headEnd/>
            <a:tailEnd/>
          </a:ln>
        </p:spPr>
        <p:txBody>
          <a:bodyPr/>
          <a:lstStyle/>
          <a:p>
            <a:endParaRPr lang="en-GB"/>
          </a:p>
        </p:txBody>
      </p:sp>
      <p:sp>
        <p:nvSpPr>
          <p:cNvPr id="31" name="Freeform 302"/>
          <p:cNvSpPr>
            <a:spLocks/>
          </p:cNvSpPr>
          <p:nvPr>
            <p:custDataLst>
              <p:tags r:id="rId21"/>
            </p:custDataLst>
          </p:nvPr>
        </p:nvSpPr>
        <p:spPr bwMode="auto">
          <a:xfrm>
            <a:off x="2481043" y="4246987"/>
            <a:ext cx="516991" cy="529533"/>
          </a:xfrm>
          <a:custGeom>
            <a:avLst/>
            <a:gdLst>
              <a:gd name="T0" fmla="*/ 2147483647 w 378"/>
              <a:gd name="T1" fmla="*/ 2147483647 h 404"/>
              <a:gd name="T2" fmla="*/ 2147483647 w 378"/>
              <a:gd name="T3" fmla="*/ 2147483647 h 404"/>
              <a:gd name="T4" fmla="*/ 2147483647 w 378"/>
              <a:gd name="T5" fmla="*/ 2147483647 h 404"/>
              <a:gd name="T6" fmla="*/ 2147483647 w 378"/>
              <a:gd name="T7" fmla="*/ 2147483647 h 404"/>
              <a:gd name="T8" fmla="*/ 2147483647 w 378"/>
              <a:gd name="T9" fmla="*/ 2147483647 h 404"/>
              <a:gd name="T10" fmla="*/ 2147483647 w 378"/>
              <a:gd name="T11" fmla="*/ 2147483647 h 404"/>
              <a:gd name="T12" fmla="*/ 2147483647 w 378"/>
              <a:gd name="T13" fmla="*/ 2147483647 h 404"/>
              <a:gd name="T14" fmla="*/ 2147483647 w 378"/>
              <a:gd name="T15" fmla="*/ 2147483647 h 404"/>
              <a:gd name="T16" fmla="*/ 2147483647 w 378"/>
              <a:gd name="T17" fmla="*/ 2147483647 h 404"/>
              <a:gd name="T18" fmla="*/ 2147483647 w 378"/>
              <a:gd name="T19" fmla="*/ 2147483647 h 404"/>
              <a:gd name="T20" fmla="*/ 2147483647 w 378"/>
              <a:gd name="T21" fmla="*/ 2147483647 h 404"/>
              <a:gd name="T22" fmla="*/ 2147483647 w 378"/>
              <a:gd name="T23" fmla="*/ 2147483647 h 404"/>
              <a:gd name="T24" fmla="*/ 2147483647 w 378"/>
              <a:gd name="T25" fmla="*/ 2147483647 h 404"/>
              <a:gd name="T26" fmla="*/ 2147483647 w 378"/>
              <a:gd name="T27" fmla="*/ 2147483647 h 404"/>
              <a:gd name="T28" fmla="*/ 2147483647 w 378"/>
              <a:gd name="T29" fmla="*/ 2147483647 h 404"/>
              <a:gd name="T30" fmla="*/ 2147483647 w 378"/>
              <a:gd name="T31" fmla="*/ 2147483647 h 404"/>
              <a:gd name="T32" fmla="*/ 2147483647 w 378"/>
              <a:gd name="T33" fmla="*/ 2147483647 h 404"/>
              <a:gd name="T34" fmla="*/ 2147483647 w 378"/>
              <a:gd name="T35" fmla="*/ 2147483647 h 404"/>
              <a:gd name="T36" fmla="*/ 2147483647 w 378"/>
              <a:gd name="T37" fmla="*/ 2147483647 h 404"/>
              <a:gd name="T38" fmla="*/ 2147483647 w 378"/>
              <a:gd name="T39" fmla="*/ 2147483647 h 404"/>
              <a:gd name="T40" fmla="*/ 2147483647 w 378"/>
              <a:gd name="T41" fmla="*/ 2147483647 h 404"/>
              <a:gd name="T42" fmla="*/ 2147483647 w 378"/>
              <a:gd name="T43" fmla="*/ 2147483647 h 404"/>
              <a:gd name="T44" fmla="*/ 2147483647 w 378"/>
              <a:gd name="T45" fmla="*/ 2147483647 h 404"/>
              <a:gd name="T46" fmla="*/ 2147483647 w 378"/>
              <a:gd name="T47" fmla="*/ 2147483647 h 404"/>
              <a:gd name="T48" fmla="*/ 2147483647 w 378"/>
              <a:gd name="T49" fmla="*/ 2147483647 h 404"/>
              <a:gd name="T50" fmla="*/ 2147483647 w 378"/>
              <a:gd name="T51" fmla="*/ 2147483647 h 404"/>
              <a:gd name="T52" fmla="*/ 2147483647 w 378"/>
              <a:gd name="T53" fmla="*/ 2147483647 h 404"/>
              <a:gd name="T54" fmla="*/ 2147483647 w 378"/>
              <a:gd name="T55" fmla="*/ 2147483647 h 404"/>
              <a:gd name="T56" fmla="*/ 2147483647 w 378"/>
              <a:gd name="T57" fmla="*/ 2147483647 h 404"/>
              <a:gd name="T58" fmla="*/ 2147483647 w 378"/>
              <a:gd name="T59" fmla="*/ 2147483647 h 404"/>
              <a:gd name="T60" fmla="*/ 2147483647 w 378"/>
              <a:gd name="T61" fmla="*/ 2147483647 h 404"/>
              <a:gd name="T62" fmla="*/ 2147483647 w 378"/>
              <a:gd name="T63" fmla="*/ 2147483647 h 404"/>
              <a:gd name="T64" fmla="*/ 2147483647 w 378"/>
              <a:gd name="T65" fmla="*/ 2147483647 h 404"/>
              <a:gd name="T66" fmla="*/ 2147483647 w 378"/>
              <a:gd name="T67" fmla="*/ 2147483647 h 404"/>
              <a:gd name="T68" fmla="*/ 2147483647 w 378"/>
              <a:gd name="T69" fmla="*/ 2147483647 h 404"/>
              <a:gd name="T70" fmla="*/ 2147483647 w 378"/>
              <a:gd name="T71" fmla="*/ 2147483647 h 404"/>
              <a:gd name="T72" fmla="*/ 2147483647 w 378"/>
              <a:gd name="T73" fmla="*/ 2147483647 h 404"/>
              <a:gd name="T74" fmla="*/ 2147483647 w 378"/>
              <a:gd name="T75" fmla="*/ 2147483647 h 404"/>
              <a:gd name="T76" fmla="*/ 2147483647 w 378"/>
              <a:gd name="T77" fmla="*/ 2147483647 h 404"/>
              <a:gd name="T78" fmla="*/ 2147483647 w 378"/>
              <a:gd name="T79" fmla="*/ 2147483647 h 404"/>
              <a:gd name="T80" fmla="*/ 2147483647 w 378"/>
              <a:gd name="T81" fmla="*/ 2147483647 h 404"/>
              <a:gd name="T82" fmla="*/ 2147483647 w 378"/>
              <a:gd name="T83" fmla="*/ 2147483647 h 404"/>
              <a:gd name="T84" fmla="*/ 2147483647 w 378"/>
              <a:gd name="T85" fmla="*/ 2147483647 h 404"/>
              <a:gd name="T86" fmla="*/ 2147483647 w 378"/>
              <a:gd name="T87" fmla="*/ 2147483647 h 404"/>
              <a:gd name="T88" fmla="*/ 2147483647 w 378"/>
              <a:gd name="T89" fmla="*/ 2147483647 h 404"/>
              <a:gd name="T90" fmla="*/ 2147483647 w 378"/>
              <a:gd name="T91" fmla="*/ 2147483647 h 404"/>
              <a:gd name="T92" fmla="*/ 2147483647 w 378"/>
              <a:gd name="T93" fmla="*/ 2147483647 h 404"/>
              <a:gd name="T94" fmla="*/ 2147483647 w 378"/>
              <a:gd name="T95" fmla="*/ 2147483647 h 404"/>
              <a:gd name="T96" fmla="*/ 2147483647 w 378"/>
              <a:gd name="T97" fmla="*/ 2147483647 h 404"/>
              <a:gd name="T98" fmla="*/ 2147483647 w 378"/>
              <a:gd name="T99" fmla="*/ 2147483647 h 404"/>
              <a:gd name="T100" fmla="*/ 2147483647 w 378"/>
              <a:gd name="T101" fmla="*/ 2147483647 h 404"/>
              <a:gd name="T102" fmla="*/ 2147483647 w 378"/>
              <a:gd name="T103" fmla="*/ 2147483647 h 404"/>
              <a:gd name="T104" fmla="*/ 2147483647 w 378"/>
              <a:gd name="T105" fmla="*/ 2147483647 h 404"/>
              <a:gd name="T106" fmla="*/ 2147483647 w 378"/>
              <a:gd name="T107" fmla="*/ 2147483647 h 404"/>
              <a:gd name="T108" fmla="*/ 2147483647 w 378"/>
              <a:gd name="T109" fmla="*/ 2147483647 h 404"/>
              <a:gd name="T110" fmla="*/ 2147483647 w 378"/>
              <a:gd name="T111" fmla="*/ 2147483647 h 404"/>
              <a:gd name="T112" fmla="*/ 2147483647 w 378"/>
              <a:gd name="T113" fmla="*/ 2147483647 h 404"/>
              <a:gd name="T114" fmla="*/ 2147483647 w 378"/>
              <a:gd name="T115" fmla="*/ 2147483647 h 40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8"/>
              <a:gd name="T175" fmla="*/ 0 h 404"/>
              <a:gd name="T176" fmla="*/ 378 w 378"/>
              <a:gd name="T177" fmla="*/ 404 h 40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8" h="404">
                <a:moveTo>
                  <a:pt x="101" y="404"/>
                </a:moveTo>
                <a:lnTo>
                  <a:pt x="99" y="402"/>
                </a:lnTo>
                <a:lnTo>
                  <a:pt x="96" y="401"/>
                </a:lnTo>
                <a:lnTo>
                  <a:pt x="94" y="393"/>
                </a:lnTo>
                <a:lnTo>
                  <a:pt x="92" y="385"/>
                </a:lnTo>
                <a:lnTo>
                  <a:pt x="90" y="383"/>
                </a:lnTo>
                <a:lnTo>
                  <a:pt x="86" y="381"/>
                </a:lnTo>
                <a:lnTo>
                  <a:pt x="86" y="374"/>
                </a:lnTo>
                <a:lnTo>
                  <a:pt x="86" y="366"/>
                </a:lnTo>
                <a:lnTo>
                  <a:pt x="78" y="366"/>
                </a:lnTo>
                <a:lnTo>
                  <a:pt x="73" y="366"/>
                </a:lnTo>
                <a:lnTo>
                  <a:pt x="69" y="364"/>
                </a:lnTo>
                <a:lnTo>
                  <a:pt x="67" y="362"/>
                </a:lnTo>
                <a:lnTo>
                  <a:pt x="61" y="358"/>
                </a:lnTo>
                <a:lnTo>
                  <a:pt x="53" y="356"/>
                </a:lnTo>
                <a:lnTo>
                  <a:pt x="51" y="355"/>
                </a:lnTo>
                <a:lnTo>
                  <a:pt x="48" y="353"/>
                </a:lnTo>
                <a:lnTo>
                  <a:pt x="40" y="349"/>
                </a:lnTo>
                <a:lnTo>
                  <a:pt x="34" y="347"/>
                </a:lnTo>
                <a:lnTo>
                  <a:pt x="30" y="345"/>
                </a:lnTo>
                <a:lnTo>
                  <a:pt x="28" y="343"/>
                </a:lnTo>
                <a:lnTo>
                  <a:pt x="26" y="335"/>
                </a:lnTo>
                <a:lnTo>
                  <a:pt x="25" y="328"/>
                </a:lnTo>
                <a:lnTo>
                  <a:pt x="21" y="326"/>
                </a:lnTo>
                <a:lnTo>
                  <a:pt x="19" y="324"/>
                </a:lnTo>
                <a:lnTo>
                  <a:pt x="11" y="316"/>
                </a:lnTo>
                <a:lnTo>
                  <a:pt x="5" y="308"/>
                </a:lnTo>
                <a:lnTo>
                  <a:pt x="2" y="307"/>
                </a:lnTo>
                <a:lnTo>
                  <a:pt x="0" y="303"/>
                </a:lnTo>
                <a:lnTo>
                  <a:pt x="2" y="301"/>
                </a:lnTo>
                <a:lnTo>
                  <a:pt x="5" y="299"/>
                </a:lnTo>
                <a:lnTo>
                  <a:pt x="7" y="297"/>
                </a:lnTo>
                <a:lnTo>
                  <a:pt x="9" y="293"/>
                </a:lnTo>
                <a:lnTo>
                  <a:pt x="11" y="291"/>
                </a:lnTo>
                <a:lnTo>
                  <a:pt x="13" y="289"/>
                </a:lnTo>
                <a:lnTo>
                  <a:pt x="17" y="287"/>
                </a:lnTo>
                <a:lnTo>
                  <a:pt x="19" y="284"/>
                </a:lnTo>
                <a:lnTo>
                  <a:pt x="21" y="282"/>
                </a:lnTo>
                <a:lnTo>
                  <a:pt x="25" y="280"/>
                </a:lnTo>
                <a:lnTo>
                  <a:pt x="26" y="278"/>
                </a:lnTo>
                <a:lnTo>
                  <a:pt x="28" y="274"/>
                </a:lnTo>
                <a:lnTo>
                  <a:pt x="30" y="272"/>
                </a:lnTo>
                <a:lnTo>
                  <a:pt x="34" y="270"/>
                </a:lnTo>
                <a:lnTo>
                  <a:pt x="36" y="253"/>
                </a:lnTo>
                <a:lnTo>
                  <a:pt x="38" y="236"/>
                </a:lnTo>
                <a:lnTo>
                  <a:pt x="40" y="234"/>
                </a:lnTo>
                <a:lnTo>
                  <a:pt x="44" y="232"/>
                </a:lnTo>
                <a:lnTo>
                  <a:pt x="46" y="218"/>
                </a:lnTo>
                <a:lnTo>
                  <a:pt x="48" y="207"/>
                </a:lnTo>
                <a:lnTo>
                  <a:pt x="51" y="205"/>
                </a:lnTo>
                <a:lnTo>
                  <a:pt x="53" y="203"/>
                </a:lnTo>
                <a:lnTo>
                  <a:pt x="55" y="180"/>
                </a:lnTo>
                <a:lnTo>
                  <a:pt x="57" y="159"/>
                </a:lnTo>
                <a:lnTo>
                  <a:pt x="59" y="155"/>
                </a:lnTo>
                <a:lnTo>
                  <a:pt x="63" y="153"/>
                </a:lnTo>
                <a:lnTo>
                  <a:pt x="65" y="151"/>
                </a:lnTo>
                <a:lnTo>
                  <a:pt x="67" y="149"/>
                </a:lnTo>
                <a:lnTo>
                  <a:pt x="69" y="145"/>
                </a:lnTo>
                <a:lnTo>
                  <a:pt x="73" y="143"/>
                </a:lnTo>
                <a:lnTo>
                  <a:pt x="74" y="145"/>
                </a:lnTo>
                <a:lnTo>
                  <a:pt x="78" y="149"/>
                </a:lnTo>
                <a:lnTo>
                  <a:pt x="80" y="155"/>
                </a:lnTo>
                <a:lnTo>
                  <a:pt x="82" y="165"/>
                </a:lnTo>
                <a:lnTo>
                  <a:pt x="84" y="166"/>
                </a:lnTo>
                <a:lnTo>
                  <a:pt x="86" y="168"/>
                </a:lnTo>
                <a:lnTo>
                  <a:pt x="109" y="168"/>
                </a:lnTo>
                <a:lnTo>
                  <a:pt x="130" y="168"/>
                </a:lnTo>
                <a:lnTo>
                  <a:pt x="151" y="168"/>
                </a:lnTo>
                <a:lnTo>
                  <a:pt x="174" y="168"/>
                </a:lnTo>
                <a:lnTo>
                  <a:pt x="176" y="166"/>
                </a:lnTo>
                <a:lnTo>
                  <a:pt x="178" y="165"/>
                </a:lnTo>
                <a:lnTo>
                  <a:pt x="178" y="153"/>
                </a:lnTo>
                <a:lnTo>
                  <a:pt x="178" y="143"/>
                </a:lnTo>
                <a:lnTo>
                  <a:pt x="176" y="142"/>
                </a:lnTo>
                <a:lnTo>
                  <a:pt x="174" y="140"/>
                </a:lnTo>
                <a:lnTo>
                  <a:pt x="170" y="138"/>
                </a:lnTo>
                <a:lnTo>
                  <a:pt x="168" y="134"/>
                </a:lnTo>
                <a:lnTo>
                  <a:pt x="167" y="132"/>
                </a:lnTo>
                <a:lnTo>
                  <a:pt x="165" y="130"/>
                </a:lnTo>
                <a:lnTo>
                  <a:pt x="165" y="124"/>
                </a:lnTo>
                <a:lnTo>
                  <a:pt x="165" y="120"/>
                </a:lnTo>
                <a:lnTo>
                  <a:pt x="167" y="117"/>
                </a:lnTo>
                <a:lnTo>
                  <a:pt x="168" y="115"/>
                </a:lnTo>
                <a:lnTo>
                  <a:pt x="170" y="107"/>
                </a:lnTo>
                <a:lnTo>
                  <a:pt x="174" y="99"/>
                </a:lnTo>
                <a:lnTo>
                  <a:pt x="176" y="97"/>
                </a:lnTo>
                <a:lnTo>
                  <a:pt x="178" y="95"/>
                </a:lnTo>
                <a:lnTo>
                  <a:pt x="180" y="78"/>
                </a:lnTo>
                <a:lnTo>
                  <a:pt x="184" y="61"/>
                </a:lnTo>
                <a:lnTo>
                  <a:pt x="186" y="59"/>
                </a:lnTo>
                <a:lnTo>
                  <a:pt x="188" y="57"/>
                </a:lnTo>
                <a:lnTo>
                  <a:pt x="191" y="46"/>
                </a:lnTo>
                <a:lnTo>
                  <a:pt x="193" y="32"/>
                </a:lnTo>
                <a:lnTo>
                  <a:pt x="195" y="30"/>
                </a:lnTo>
                <a:lnTo>
                  <a:pt x="197" y="28"/>
                </a:lnTo>
                <a:lnTo>
                  <a:pt x="201" y="28"/>
                </a:lnTo>
                <a:lnTo>
                  <a:pt x="203" y="26"/>
                </a:lnTo>
                <a:lnTo>
                  <a:pt x="203" y="21"/>
                </a:lnTo>
                <a:lnTo>
                  <a:pt x="203" y="9"/>
                </a:lnTo>
                <a:lnTo>
                  <a:pt x="220" y="7"/>
                </a:lnTo>
                <a:lnTo>
                  <a:pt x="238" y="5"/>
                </a:lnTo>
                <a:lnTo>
                  <a:pt x="253" y="5"/>
                </a:lnTo>
                <a:lnTo>
                  <a:pt x="270" y="3"/>
                </a:lnTo>
                <a:lnTo>
                  <a:pt x="272" y="1"/>
                </a:lnTo>
                <a:lnTo>
                  <a:pt x="276" y="0"/>
                </a:lnTo>
                <a:lnTo>
                  <a:pt x="278" y="1"/>
                </a:lnTo>
                <a:lnTo>
                  <a:pt x="280" y="3"/>
                </a:lnTo>
                <a:lnTo>
                  <a:pt x="297" y="5"/>
                </a:lnTo>
                <a:lnTo>
                  <a:pt x="314" y="9"/>
                </a:lnTo>
                <a:lnTo>
                  <a:pt x="316" y="11"/>
                </a:lnTo>
                <a:lnTo>
                  <a:pt x="318" y="13"/>
                </a:lnTo>
                <a:lnTo>
                  <a:pt x="322" y="15"/>
                </a:lnTo>
                <a:lnTo>
                  <a:pt x="324" y="19"/>
                </a:lnTo>
                <a:lnTo>
                  <a:pt x="326" y="21"/>
                </a:lnTo>
                <a:lnTo>
                  <a:pt x="328" y="23"/>
                </a:lnTo>
                <a:lnTo>
                  <a:pt x="328" y="24"/>
                </a:lnTo>
                <a:lnTo>
                  <a:pt x="330" y="26"/>
                </a:lnTo>
                <a:lnTo>
                  <a:pt x="332" y="26"/>
                </a:lnTo>
                <a:lnTo>
                  <a:pt x="335" y="28"/>
                </a:lnTo>
                <a:lnTo>
                  <a:pt x="349" y="28"/>
                </a:lnTo>
                <a:lnTo>
                  <a:pt x="378" y="28"/>
                </a:lnTo>
                <a:lnTo>
                  <a:pt x="378" y="40"/>
                </a:lnTo>
                <a:lnTo>
                  <a:pt x="378" y="51"/>
                </a:lnTo>
                <a:lnTo>
                  <a:pt x="374" y="55"/>
                </a:lnTo>
                <a:lnTo>
                  <a:pt x="372" y="57"/>
                </a:lnTo>
                <a:lnTo>
                  <a:pt x="370" y="65"/>
                </a:lnTo>
                <a:lnTo>
                  <a:pt x="368" y="71"/>
                </a:lnTo>
                <a:lnTo>
                  <a:pt x="364" y="74"/>
                </a:lnTo>
                <a:lnTo>
                  <a:pt x="362" y="76"/>
                </a:lnTo>
                <a:lnTo>
                  <a:pt x="360" y="84"/>
                </a:lnTo>
                <a:lnTo>
                  <a:pt x="356" y="92"/>
                </a:lnTo>
                <a:lnTo>
                  <a:pt x="355" y="94"/>
                </a:lnTo>
                <a:lnTo>
                  <a:pt x="353" y="95"/>
                </a:lnTo>
                <a:lnTo>
                  <a:pt x="351" y="103"/>
                </a:lnTo>
                <a:lnTo>
                  <a:pt x="349" y="111"/>
                </a:lnTo>
                <a:lnTo>
                  <a:pt x="345" y="113"/>
                </a:lnTo>
                <a:lnTo>
                  <a:pt x="343" y="115"/>
                </a:lnTo>
                <a:lnTo>
                  <a:pt x="341" y="117"/>
                </a:lnTo>
                <a:lnTo>
                  <a:pt x="339" y="120"/>
                </a:lnTo>
                <a:lnTo>
                  <a:pt x="335" y="122"/>
                </a:lnTo>
                <a:lnTo>
                  <a:pt x="333" y="124"/>
                </a:lnTo>
                <a:lnTo>
                  <a:pt x="330" y="126"/>
                </a:lnTo>
                <a:lnTo>
                  <a:pt x="328" y="130"/>
                </a:lnTo>
                <a:lnTo>
                  <a:pt x="326" y="132"/>
                </a:lnTo>
                <a:lnTo>
                  <a:pt x="324" y="134"/>
                </a:lnTo>
                <a:lnTo>
                  <a:pt x="322" y="138"/>
                </a:lnTo>
                <a:lnTo>
                  <a:pt x="318" y="140"/>
                </a:lnTo>
                <a:lnTo>
                  <a:pt x="316" y="142"/>
                </a:lnTo>
                <a:lnTo>
                  <a:pt x="314" y="143"/>
                </a:lnTo>
                <a:lnTo>
                  <a:pt x="312" y="145"/>
                </a:lnTo>
                <a:lnTo>
                  <a:pt x="308" y="149"/>
                </a:lnTo>
                <a:lnTo>
                  <a:pt x="307" y="151"/>
                </a:lnTo>
                <a:lnTo>
                  <a:pt x="305" y="153"/>
                </a:lnTo>
                <a:lnTo>
                  <a:pt x="301" y="155"/>
                </a:lnTo>
                <a:lnTo>
                  <a:pt x="299" y="159"/>
                </a:lnTo>
                <a:lnTo>
                  <a:pt x="297" y="161"/>
                </a:lnTo>
                <a:lnTo>
                  <a:pt x="295" y="165"/>
                </a:lnTo>
                <a:lnTo>
                  <a:pt x="287" y="166"/>
                </a:lnTo>
                <a:lnTo>
                  <a:pt x="280" y="168"/>
                </a:lnTo>
                <a:lnTo>
                  <a:pt x="278" y="170"/>
                </a:lnTo>
                <a:lnTo>
                  <a:pt x="276" y="172"/>
                </a:lnTo>
                <a:lnTo>
                  <a:pt x="272" y="178"/>
                </a:lnTo>
                <a:lnTo>
                  <a:pt x="272" y="188"/>
                </a:lnTo>
                <a:lnTo>
                  <a:pt x="272" y="197"/>
                </a:lnTo>
                <a:lnTo>
                  <a:pt x="276" y="203"/>
                </a:lnTo>
                <a:lnTo>
                  <a:pt x="278" y="205"/>
                </a:lnTo>
                <a:lnTo>
                  <a:pt x="280" y="207"/>
                </a:lnTo>
                <a:lnTo>
                  <a:pt x="280" y="211"/>
                </a:lnTo>
                <a:lnTo>
                  <a:pt x="280" y="216"/>
                </a:lnTo>
                <a:lnTo>
                  <a:pt x="278" y="218"/>
                </a:lnTo>
                <a:lnTo>
                  <a:pt x="276" y="222"/>
                </a:lnTo>
                <a:lnTo>
                  <a:pt x="272" y="228"/>
                </a:lnTo>
                <a:lnTo>
                  <a:pt x="270" y="236"/>
                </a:lnTo>
                <a:lnTo>
                  <a:pt x="268" y="237"/>
                </a:lnTo>
                <a:lnTo>
                  <a:pt x="266" y="241"/>
                </a:lnTo>
                <a:lnTo>
                  <a:pt x="266" y="245"/>
                </a:lnTo>
                <a:lnTo>
                  <a:pt x="266" y="251"/>
                </a:lnTo>
                <a:lnTo>
                  <a:pt x="268" y="253"/>
                </a:lnTo>
                <a:lnTo>
                  <a:pt x="270" y="255"/>
                </a:lnTo>
                <a:lnTo>
                  <a:pt x="270" y="264"/>
                </a:lnTo>
                <a:lnTo>
                  <a:pt x="270" y="274"/>
                </a:lnTo>
                <a:lnTo>
                  <a:pt x="268" y="278"/>
                </a:lnTo>
                <a:lnTo>
                  <a:pt x="266" y="280"/>
                </a:lnTo>
                <a:lnTo>
                  <a:pt x="262" y="282"/>
                </a:lnTo>
                <a:lnTo>
                  <a:pt x="261" y="284"/>
                </a:lnTo>
                <a:lnTo>
                  <a:pt x="259" y="287"/>
                </a:lnTo>
                <a:lnTo>
                  <a:pt x="257" y="289"/>
                </a:lnTo>
                <a:lnTo>
                  <a:pt x="243" y="291"/>
                </a:lnTo>
                <a:lnTo>
                  <a:pt x="232" y="293"/>
                </a:lnTo>
                <a:lnTo>
                  <a:pt x="230" y="297"/>
                </a:lnTo>
                <a:lnTo>
                  <a:pt x="228" y="299"/>
                </a:lnTo>
                <a:lnTo>
                  <a:pt x="224" y="307"/>
                </a:lnTo>
                <a:lnTo>
                  <a:pt x="222" y="314"/>
                </a:lnTo>
                <a:lnTo>
                  <a:pt x="220" y="316"/>
                </a:lnTo>
                <a:lnTo>
                  <a:pt x="216" y="318"/>
                </a:lnTo>
                <a:lnTo>
                  <a:pt x="213" y="318"/>
                </a:lnTo>
                <a:lnTo>
                  <a:pt x="207" y="318"/>
                </a:lnTo>
                <a:lnTo>
                  <a:pt x="205" y="316"/>
                </a:lnTo>
                <a:lnTo>
                  <a:pt x="203" y="314"/>
                </a:lnTo>
                <a:lnTo>
                  <a:pt x="197" y="314"/>
                </a:lnTo>
                <a:lnTo>
                  <a:pt x="193" y="314"/>
                </a:lnTo>
                <a:lnTo>
                  <a:pt x="191" y="316"/>
                </a:lnTo>
                <a:lnTo>
                  <a:pt x="188" y="318"/>
                </a:lnTo>
                <a:lnTo>
                  <a:pt x="186" y="320"/>
                </a:lnTo>
                <a:lnTo>
                  <a:pt x="184" y="324"/>
                </a:lnTo>
                <a:lnTo>
                  <a:pt x="180" y="326"/>
                </a:lnTo>
                <a:lnTo>
                  <a:pt x="178" y="328"/>
                </a:lnTo>
                <a:lnTo>
                  <a:pt x="170" y="328"/>
                </a:lnTo>
                <a:lnTo>
                  <a:pt x="165" y="328"/>
                </a:lnTo>
                <a:lnTo>
                  <a:pt x="165" y="335"/>
                </a:lnTo>
                <a:lnTo>
                  <a:pt x="165" y="343"/>
                </a:lnTo>
                <a:lnTo>
                  <a:pt x="161" y="345"/>
                </a:lnTo>
                <a:lnTo>
                  <a:pt x="159" y="347"/>
                </a:lnTo>
                <a:lnTo>
                  <a:pt x="151" y="349"/>
                </a:lnTo>
                <a:lnTo>
                  <a:pt x="145" y="353"/>
                </a:lnTo>
                <a:lnTo>
                  <a:pt x="142" y="355"/>
                </a:lnTo>
                <a:lnTo>
                  <a:pt x="140" y="356"/>
                </a:lnTo>
                <a:lnTo>
                  <a:pt x="138" y="358"/>
                </a:lnTo>
                <a:lnTo>
                  <a:pt x="136" y="362"/>
                </a:lnTo>
                <a:lnTo>
                  <a:pt x="132" y="364"/>
                </a:lnTo>
                <a:lnTo>
                  <a:pt x="130" y="366"/>
                </a:lnTo>
                <a:lnTo>
                  <a:pt x="128" y="370"/>
                </a:lnTo>
                <a:lnTo>
                  <a:pt x="124" y="372"/>
                </a:lnTo>
                <a:lnTo>
                  <a:pt x="122" y="374"/>
                </a:lnTo>
                <a:lnTo>
                  <a:pt x="120" y="376"/>
                </a:lnTo>
                <a:lnTo>
                  <a:pt x="119" y="383"/>
                </a:lnTo>
                <a:lnTo>
                  <a:pt x="117" y="391"/>
                </a:lnTo>
                <a:lnTo>
                  <a:pt x="113" y="393"/>
                </a:lnTo>
                <a:lnTo>
                  <a:pt x="111" y="395"/>
                </a:lnTo>
                <a:lnTo>
                  <a:pt x="109" y="399"/>
                </a:lnTo>
                <a:lnTo>
                  <a:pt x="107" y="401"/>
                </a:lnTo>
                <a:lnTo>
                  <a:pt x="103" y="402"/>
                </a:lnTo>
                <a:lnTo>
                  <a:pt x="101" y="404"/>
                </a:lnTo>
              </a:path>
            </a:pathLst>
          </a:custGeom>
          <a:solidFill>
            <a:schemeClr val="accent3"/>
          </a:solidFill>
          <a:ln w="12700">
            <a:solidFill>
              <a:schemeClr val="bg1"/>
            </a:solidFill>
            <a:round/>
            <a:headEnd/>
            <a:tailEnd/>
          </a:ln>
        </p:spPr>
        <p:txBody>
          <a:bodyPr/>
          <a:lstStyle/>
          <a:p>
            <a:endParaRPr lang="en-GB"/>
          </a:p>
        </p:txBody>
      </p:sp>
      <p:sp>
        <p:nvSpPr>
          <p:cNvPr id="32" name="Freeform 303"/>
          <p:cNvSpPr>
            <a:spLocks/>
          </p:cNvSpPr>
          <p:nvPr>
            <p:custDataLst>
              <p:tags r:id="rId22"/>
            </p:custDataLst>
          </p:nvPr>
        </p:nvSpPr>
        <p:spPr bwMode="auto">
          <a:xfrm>
            <a:off x="1144670" y="5503931"/>
            <a:ext cx="96152" cy="137958"/>
          </a:xfrm>
          <a:custGeom>
            <a:avLst/>
            <a:gdLst>
              <a:gd name="T0" fmla="*/ 2147483647 w 71"/>
              <a:gd name="T1" fmla="*/ 0 h 106"/>
              <a:gd name="T2" fmla="*/ 2147483647 w 71"/>
              <a:gd name="T3" fmla="*/ 2147483647 h 106"/>
              <a:gd name="T4" fmla="*/ 2147483647 w 71"/>
              <a:gd name="T5" fmla="*/ 2147483647 h 106"/>
              <a:gd name="T6" fmla="*/ 2147483647 w 71"/>
              <a:gd name="T7" fmla="*/ 2147483647 h 106"/>
              <a:gd name="T8" fmla="*/ 2147483647 w 71"/>
              <a:gd name="T9" fmla="*/ 2147483647 h 106"/>
              <a:gd name="T10" fmla="*/ 2147483647 w 71"/>
              <a:gd name="T11" fmla="*/ 2147483647 h 106"/>
              <a:gd name="T12" fmla="*/ 2147483647 w 71"/>
              <a:gd name="T13" fmla="*/ 2147483647 h 106"/>
              <a:gd name="T14" fmla="*/ 2147483647 w 71"/>
              <a:gd name="T15" fmla="*/ 2147483647 h 106"/>
              <a:gd name="T16" fmla="*/ 2147483647 w 71"/>
              <a:gd name="T17" fmla="*/ 2147483647 h 106"/>
              <a:gd name="T18" fmla="*/ 2147483647 w 71"/>
              <a:gd name="T19" fmla="*/ 2147483647 h 106"/>
              <a:gd name="T20" fmla="*/ 2147483647 w 71"/>
              <a:gd name="T21" fmla="*/ 2147483647 h 106"/>
              <a:gd name="T22" fmla="*/ 2147483647 w 71"/>
              <a:gd name="T23" fmla="*/ 2147483647 h 106"/>
              <a:gd name="T24" fmla="*/ 2147483647 w 71"/>
              <a:gd name="T25" fmla="*/ 2147483647 h 106"/>
              <a:gd name="T26" fmla="*/ 2147483647 w 71"/>
              <a:gd name="T27" fmla="*/ 2147483647 h 106"/>
              <a:gd name="T28" fmla="*/ 2147483647 w 71"/>
              <a:gd name="T29" fmla="*/ 2147483647 h 106"/>
              <a:gd name="T30" fmla="*/ 2147483647 w 71"/>
              <a:gd name="T31" fmla="*/ 2147483647 h 106"/>
              <a:gd name="T32" fmla="*/ 2147483647 w 71"/>
              <a:gd name="T33" fmla="*/ 2147483647 h 106"/>
              <a:gd name="T34" fmla="*/ 2147483647 w 71"/>
              <a:gd name="T35" fmla="*/ 2147483647 h 106"/>
              <a:gd name="T36" fmla="*/ 2147483647 w 71"/>
              <a:gd name="T37" fmla="*/ 2147483647 h 106"/>
              <a:gd name="T38" fmla="*/ 2147483647 w 71"/>
              <a:gd name="T39" fmla="*/ 2147483647 h 106"/>
              <a:gd name="T40" fmla="*/ 2147483647 w 71"/>
              <a:gd name="T41" fmla="*/ 2147483647 h 106"/>
              <a:gd name="T42" fmla="*/ 2147483647 w 71"/>
              <a:gd name="T43" fmla="*/ 2147483647 h 106"/>
              <a:gd name="T44" fmla="*/ 2147483647 w 71"/>
              <a:gd name="T45" fmla="*/ 2147483647 h 106"/>
              <a:gd name="T46" fmla="*/ 2147483647 w 71"/>
              <a:gd name="T47" fmla="*/ 2147483647 h 106"/>
              <a:gd name="T48" fmla="*/ 2147483647 w 71"/>
              <a:gd name="T49" fmla="*/ 2147483647 h 106"/>
              <a:gd name="T50" fmla="*/ 2147483647 w 71"/>
              <a:gd name="T51" fmla="*/ 2147483647 h 106"/>
              <a:gd name="T52" fmla="*/ 2147483647 w 71"/>
              <a:gd name="T53" fmla="*/ 2147483647 h 106"/>
              <a:gd name="T54" fmla="*/ 2147483647 w 71"/>
              <a:gd name="T55" fmla="*/ 2147483647 h 106"/>
              <a:gd name="T56" fmla="*/ 2147483647 w 71"/>
              <a:gd name="T57" fmla="*/ 2147483647 h 106"/>
              <a:gd name="T58" fmla="*/ 2147483647 w 71"/>
              <a:gd name="T59" fmla="*/ 2147483647 h 106"/>
              <a:gd name="T60" fmla="*/ 2147483647 w 71"/>
              <a:gd name="T61" fmla="*/ 2147483647 h 106"/>
              <a:gd name="T62" fmla="*/ 2147483647 w 71"/>
              <a:gd name="T63" fmla="*/ 2147483647 h 106"/>
              <a:gd name="T64" fmla="*/ 2147483647 w 71"/>
              <a:gd name="T65" fmla="*/ 2147483647 h 106"/>
              <a:gd name="T66" fmla="*/ 2147483647 w 71"/>
              <a:gd name="T67" fmla="*/ 2147483647 h 106"/>
              <a:gd name="T68" fmla="*/ 2147483647 w 71"/>
              <a:gd name="T69" fmla="*/ 2147483647 h 106"/>
              <a:gd name="T70" fmla="*/ 0 w 71"/>
              <a:gd name="T71" fmla="*/ 2147483647 h 106"/>
              <a:gd name="T72" fmla="*/ 0 w 71"/>
              <a:gd name="T73" fmla="*/ 2147483647 h 106"/>
              <a:gd name="T74" fmla="*/ 2147483647 w 71"/>
              <a:gd name="T75" fmla="*/ 2147483647 h 106"/>
              <a:gd name="T76" fmla="*/ 2147483647 w 71"/>
              <a:gd name="T77" fmla="*/ 0 h 106"/>
              <a:gd name="T78" fmla="*/ 2147483647 w 71"/>
              <a:gd name="T79" fmla="*/ 0 h 106"/>
              <a:gd name="T80" fmla="*/ 2147483647 w 71"/>
              <a:gd name="T81" fmla="*/ 0 h 1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1"/>
              <a:gd name="T124" fmla="*/ 0 h 106"/>
              <a:gd name="T125" fmla="*/ 71 w 71"/>
              <a:gd name="T126" fmla="*/ 106 h 1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1" h="106">
                <a:moveTo>
                  <a:pt x="27" y="0"/>
                </a:moveTo>
                <a:lnTo>
                  <a:pt x="31" y="2"/>
                </a:lnTo>
                <a:lnTo>
                  <a:pt x="33" y="4"/>
                </a:lnTo>
                <a:lnTo>
                  <a:pt x="35" y="6"/>
                </a:lnTo>
                <a:lnTo>
                  <a:pt x="39" y="10"/>
                </a:lnTo>
                <a:lnTo>
                  <a:pt x="40" y="12"/>
                </a:lnTo>
                <a:lnTo>
                  <a:pt x="42" y="13"/>
                </a:lnTo>
                <a:lnTo>
                  <a:pt x="44" y="21"/>
                </a:lnTo>
                <a:lnTo>
                  <a:pt x="48" y="29"/>
                </a:lnTo>
                <a:lnTo>
                  <a:pt x="50" y="31"/>
                </a:lnTo>
                <a:lnTo>
                  <a:pt x="52" y="33"/>
                </a:lnTo>
                <a:lnTo>
                  <a:pt x="62" y="38"/>
                </a:lnTo>
                <a:lnTo>
                  <a:pt x="71" y="42"/>
                </a:lnTo>
                <a:lnTo>
                  <a:pt x="69" y="44"/>
                </a:lnTo>
                <a:lnTo>
                  <a:pt x="67" y="48"/>
                </a:lnTo>
                <a:lnTo>
                  <a:pt x="63" y="50"/>
                </a:lnTo>
                <a:lnTo>
                  <a:pt x="62" y="54"/>
                </a:lnTo>
                <a:lnTo>
                  <a:pt x="60" y="56"/>
                </a:lnTo>
                <a:lnTo>
                  <a:pt x="58" y="58"/>
                </a:lnTo>
                <a:lnTo>
                  <a:pt x="54" y="59"/>
                </a:lnTo>
                <a:lnTo>
                  <a:pt x="52" y="63"/>
                </a:lnTo>
                <a:lnTo>
                  <a:pt x="50" y="65"/>
                </a:lnTo>
                <a:lnTo>
                  <a:pt x="48" y="67"/>
                </a:lnTo>
                <a:lnTo>
                  <a:pt x="40" y="67"/>
                </a:lnTo>
                <a:lnTo>
                  <a:pt x="33" y="67"/>
                </a:lnTo>
                <a:lnTo>
                  <a:pt x="33" y="75"/>
                </a:lnTo>
                <a:lnTo>
                  <a:pt x="33" y="83"/>
                </a:lnTo>
                <a:lnTo>
                  <a:pt x="31" y="84"/>
                </a:lnTo>
                <a:lnTo>
                  <a:pt x="27" y="86"/>
                </a:lnTo>
                <a:lnTo>
                  <a:pt x="25" y="94"/>
                </a:lnTo>
                <a:lnTo>
                  <a:pt x="23" y="102"/>
                </a:lnTo>
                <a:lnTo>
                  <a:pt x="21" y="104"/>
                </a:lnTo>
                <a:lnTo>
                  <a:pt x="19" y="106"/>
                </a:lnTo>
                <a:lnTo>
                  <a:pt x="10" y="94"/>
                </a:lnTo>
                <a:lnTo>
                  <a:pt x="4" y="81"/>
                </a:lnTo>
                <a:lnTo>
                  <a:pt x="0" y="69"/>
                </a:lnTo>
                <a:lnTo>
                  <a:pt x="0" y="56"/>
                </a:lnTo>
                <a:lnTo>
                  <a:pt x="2" y="29"/>
                </a:lnTo>
                <a:lnTo>
                  <a:pt x="4" y="0"/>
                </a:lnTo>
                <a:lnTo>
                  <a:pt x="16" y="0"/>
                </a:lnTo>
                <a:lnTo>
                  <a:pt x="27" y="0"/>
                </a:lnTo>
              </a:path>
            </a:pathLst>
          </a:custGeom>
          <a:solidFill>
            <a:schemeClr val="accent3"/>
          </a:solidFill>
          <a:ln w="12700">
            <a:solidFill>
              <a:schemeClr val="bg1"/>
            </a:solidFill>
            <a:round/>
            <a:headEnd/>
            <a:tailEnd/>
          </a:ln>
        </p:spPr>
        <p:txBody>
          <a:bodyPr/>
          <a:lstStyle/>
          <a:p>
            <a:endParaRPr lang="en-GB"/>
          </a:p>
        </p:txBody>
      </p:sp>
      <p:grpSp>
        <p:nvGrpSpPr>
          <p:cNvPr id="37" name="Group 174"/>
          <p:cNvGrpSpPr>
            <a:grpSpLocks/>
          </p:cNvGrpSpPr>
          <p:nvPr/>
        </p:nvGrpSpPr>
        <p:grpSpPr bwMode="auto">
          <a:xfrm>
            <a:off x="1058272" y="5503931"/>
            <a:ext cx="76643" cy="137958"/>
            <a:chOff x="930275" y="5819775"/>
            <a:chExt cx="87313" cy="157163"/>
          </a:xfrm>
          <a:solidFill>
            <a:schemeClr val="accent3"/>
          </a:solidFill>
        </p:grpSpPr>
        <p:sp>
          <p:nvSpPr>
            <p:cNvPr id="34" name="Freeform 33"/>
            <p:cNvSpPr>
              <a:spLocks/>
            </p:cNvSpPr>
            <p:nvPr/>
          </p:nvSpPr>
          <p:spPr bwMode="auto">
            <a:xfrm>
              <a:off x="942975" y="5819775"/>
              <a:ext cx="74613" cy="157163"/>
            </a:xfrm>
            <a:custGeom>
              <a:avLst/>
              <a:gdLst/>
              <a:ahLst/>
              <a:cxnLst>
                <a:cxn ang="0">
                  <a:pos x="29" y="106"/>
                </a:cxn>
                <a:cxn ang="0">
                  <a:pos x="23" y="92"/>
                </a:cxn>
                <a:cxn ang="0">
                  <a:pos x="20" y="77"/>
                </a:cxn>
                <a:cxn ang="0">
                  <a:pos x="20" y="61"/>
                </a:cxn>
                <a:cxn ang="0">
                  <a:pos x="20" y="48"/>
                </a:cxn>
                <a:cxn ang="0">
                  <a:pos x="10" y="48"/>
                </a:cxn>
                <a:cxn ang="0">
                  <a:pos x="0" y="48"/>
                </a:cxn>
                <a:cxn ang="0">
                  <a:pos x="0" y="42"/>
                </a:cxn>
                <a:cxn ang="0">
                  <a:pos x="0" y="38"/>
                </a:cxn>
                <a:cxn ang="0">
                  <a:pos x="4" y="33"/>
                </a:cxn>
                <a:cxn ang="0">
                  <a:pos x="10" y="29"/>
                </a:cxn>
                <a:cxn ang="0">
                  <a:pos x="10" y="23"/>
                </a:cxn>
                <a:cxn ang="0">
                  <a:pos x="10" y="19"/>
                </a:cxn>
                <a:cxn ang="0">
                  <a:pos x="10" y="13"/>
                </a:cxn>
                <a:cxn ang="0">
                  <a:pos x="10" y="10"/>
                </a:cxn>
                <a:cxn ang="0">
                  <a:pos x="10" y="4"/>
                </a:cxn>
                <a:cxn ang="0">
                  <a:pos x="10" y="0"/>
                </a:cxn>
                <a:cxn ang="0">
                  <a:pos x="29" y="0"/>
                </a:cxn>
                <a:cxn ang="0">
                  <a:pos x="48" y="0"/>
                </a:cxn>
                <a:cxn ang="0">
                  <a:pos x="48" y="23"/>
                </a:cxn>
                <a:cxn ang="0">
                  <a:pos x="46" y="48"/>
                </a:cxn>
                <a:cxn ang="0">
                  <a:pos x="46" y="73"/>
                </a:cxn>
                <a:cxn ang="0">
                  <a:pos x="46" y="98"/>
                </a:cxn>
                <a:cxn ang="0">
                  <a:pos x="37" y="102"/>
                </a:cxn>
                <a:cxn ang="0">
                  <a:pos x="29" y="106"/>
                </a:cxn>
              </a:cxnLst>
              <a:rect l="0" t="0" r="r" b="b"/>
              <a:pathLst>
                <a:path w="48" h="106">
                  <a:moveTo>
                    <a:pt x="29" y="106"/>
                  </a:moveTo>
                  <a:lnTo>
                    <a:pt x="23" y="92"/>
                  </a:lnTo>
                  <a:lnTo>
                    <a:pt x="20" y="77"/>
                  </a:lnTo>
                  <a:lnTo>
                    <a:pt x="20" y="61"/>
                  </a:lnTo>
                  <a:lnTo>
                    <a:pt x="20" y="48"/>
                  </a:lnTo>
                  <a:lnTo>
                    <a:pt x="10" y="48"/>
                  </a:lnTo>
                  <a:lnTo>
                    <a:pt x="0" y="48"/>
                  </a:lnTo>
                  <a:lnTo>
                    <a:pt x="0" y="42"/>
                  </a:lnTo>
                  <a:lnTo>
                    <a:pt x="0" y="38"/>
                  </a:lnTo>
                  <a:lnTo>
                    <a:pt x="4" y="33"/>
                  </a:lnTo>
                  <a:lnTo>
                    <a:pt x="10" y="29"/>
                  </a:lnTo>
                  <a:lnTo>
                    <a:pt x="10" y="23"/>
                  </a:lnTo>
                  <a:lnTo>
                    <a:pt x="10" y="19"/>
                  </a:lnTo>
                  <a:lnTo>
                    <a:pt x="10" y="13"/>
                  </a:lnTo>
                  <a:lnTo>
                    <a:pt x="10" y="10"/>
                  </a:lnTo>
                  <a:lnTo>
                    <a:pt x="10" y="4"/>
                  </a:lnTo>
                  <a:lnTo>
                    <a:pt x="10" y="0"/>
                  </a:lnTo>
                  <a:lnTo>
                    <a:pt x="29" y="0"/>
                  </a:lnTo>
                  <a:lnTo>
                    <a:pt x="48" y="0"/>
                  </a:lnTo>
                  <a:lnTo>
                    <a:pt x="48" y="23"/>
                  </a:lnTo>
                  <a:lnTo>
                    <a:pt x="46" y="48"/>
                  </a:lnTo>
                  <a:lnTo>
                    <a:pt x="46" y="73"/>
                  </a:lnTo>
                  <a:lnTo>
                    <a:pt x="46" y="98"/>
                  </a:lnTo>
                  <a:lnTo>
                    <a:pt x="37" y="102"/>
                  </a:lnTo>
                  <a:lnTo>
                    <a:pt x="29" y="106"/>
                  </a:lnTo>
                </a:path>
              </a:pathLst>
            </a:custGeom>
            <a:grpFill/>
            <a:ln w="12700">
              <a:solidFill>
                <a:schemeClr val="bg1"/>
              </a:solidFill>
              <a:round/>
              <a:headEnd/>
              <a:tailEnd/>
            </a:ln>
          </p:spPr>
          <p:txBody>
            <a:bodyPr/>
            <a:lstStyle/>
            <a:p>
              <a:pPr>
                <a:defRPr/>
              </a:pPr>
              <a:endParaRPr lang="en-GB"/>
            </a:p>
          </p:txBody>
        </p:sp>
        <p:sp>
          <p:nvSpPr>
            <p:cNvPr id="35" name="Freeform 34"/>
            <p:cNvSpPr>
              <a:spLocks/>
            </p:cNvSpPr>
            <p:nvPr/>
          </p:nvSpPr>
          <p:spPr bwMode="auto">
            <a:xfrm>
              <a:off x="930275" y="5892800"/>
              <a:ext cx="44450" cy="42863"/>
            </a:xfrm>
            <a:custGeom>
              <a:avLst/>
              <a:gdLst/>
              <a:ahLst/>
              <a:cxnLst>
                <a:cxn ang="0">
                  <a:pos x="9" y="19"/>
                </a:cxn>
                <a:cxn ang="0">
                  <a:pos x="4" y="10"/>
                </a:cxn>
                <a:cxn ang="0">
                  <a:pos x="0" y="0"/>
                </a:cxn>
                <a:cxn ang="0">
                  <a:pos x="4" y="0"/>
                </a:cxn>
                <a:cxn ang="0">
                  <a:pos x="9" y="0"/>
                </a:cxn>
                <a:cxn ang="0">
                  <a:pos x="19" y="0"/>
                </a:cxn>
                <a:cxn ang="0">
                  <a:pos x="29" y="0"/>
                </a:cxn>
                <a:cxn ang="0">
                  <a:pos x="29" y="13"/>
                </a:cxn>
                <a:cxn ang="0">
                  <a:pos x="29" y="29"/>
                </a:cxn>
                <a:cxn ang="0">
                  <a:pos x="19" y="23"/>
                </a:cxn>
                <a:cxn ang="0">
                  <a:pos x="9" y="19"/>
                </a:cxn>
              </a:cxnLst>
              <a:rect l="0" t="0" r="r" b="b"/>
              <a:pathLst>
                <a:path w="29" h="29">
                  <a:moveTo>
                    <a:pt x="9" y="19"/>
                  </a:moveTo>
                  <a:lnTo>
                    <a:pt x="4" y="10"/>
                  </a:lnTo>
                  <a:lnTo>
                    <a:pt x="0" y="0"/>
                  </a:lnTo>
                  <a:lnTo>
                    <a:pt x="4" y="0"/>
                  </a:lnTo>
                  <a:lnTo>
                    <a:pt x="9" y="0"/>
                  </a:lnTo>
                  <a:lnTo>
                    <a:pt x="19" y="0"/>
                  </a:lnTo>
                  <a:lnTo>
                    <a:pt x="29" y="0"/>
                  </a:lnTo>
                  <a:lnTo>
                    <a:pt x="29" y="13"/>
                  </a:lnTo>
                  <a:lnTo>
                    <a:pt x="29" y="29"/>
                  </a:lnTo>
                  <a:lnTo>
                    <a:pt x="19" y="23"/>
                  </a:lnTo>
                  <a:lnTo>
                    <a:pt x="9" y="19"/>
                  </a:lnTo>
                  <a:close/>
                </a:path>
              </a:pathLst>
            </a:custGeom>
            <a:grpFill/>
            <a:ln w="12700">
              <a:solidFill>
                <a:schemeClr val="bg1"/>
              </a:solidFill>
              <a:round/>
              <a:headEnd/>
              <a:tailEnd/>
            </a:ln>
          </p:spPr>
          <p:txBody>
            <a:bodyPr/>
            <a:lstStyle/>
            <a:p>
              <a:pPr>
                <a:defRPr/>
              </a:pPr>
              <a:endParaRPr lang="en-GB"/>
            </a:p>
          </p:txBody>
        </p:sp>
      </p:grpSp>
      <p:sp>
        <p:nvSpPr>
          <p:cNvPr id="36" name="Freeform 305"/>
          <p:cNvSpPr>
            <a:spLocks/>
          </p:cNvSpPr>
          <p:nvPr>
            <p:custDataLst>
              <p:tags r:id="rId23"/>
            </p:custDataLst>
          </p:nvPr>
        </p:nvSpPr>
        <p:spPr bwMode="auto">
          <a:xfrm>
            <a:off x="977449" y="5489996"/>
            <a:ext cx="91971" cy="65495"/>
          </a:xfrm>
          <a:custGeom>
            <a:avLst/>
            <a:gdLst>
              <a:gd name="T0" fmla="*/ 2147483647 w 69"/>
              <a:gd name="T1" fmla="*/ 2147483647 h 48"/>
              <a:gd name="T2" fmla="*/ 2147483647 w 69"/>
              <a:gd name="T3" fmla="*/ 2147483647 h 48"/>
              <a:gd name="T4" fmla="*/ 2147483647 w 69"/>
              <a:gd name="T5" fmla="*/ 2147483647 h 48"/>
              <a:gd name="T6" fmla="*/ 2147483647 w 69"/>
              <a:gd name="T7" fmla="*/ 2147483647 h 48"/>
              <a:gd name="T8" fmla="*/ 0 w 69"/>
              <a:gd name="T9" fmla="*/ 2147483647 h 48"/>
              <a:gd name="T10" fmla="*/ 0 w 69"/>
              <a:gd name="T11" fmla="*/ 2147483647 h 48"/>
              <a:gd name="T12" fmla="*/ 0 w 69"/>
              <a:gd name="T13" fmla="*/ 2147483647 h 48"/>
              <a:gd name="T14" fmla="*/ 2147483647 w 69"/>
              <a:gd name="T15" fmla="*/ 2147483647 h 48"/>
              <a:gd name="T16" fmla="*/ 2147483647 w 69"/>
              <a:gd name="T17" fmla="*/ 2147483647 h 48"/>
              <a:gd name="T18" fmla="*/ 2147483647 w 69"/>
              <a:gd name="T19" fmla="*/ 2147483647 h 48"/>
              <a:gd name="T20" fmla="*/ 2147483647 w 69"/>
              <a:gd name="T21" fmla="*/ 0 h 48"/>
              <a:gd name="T22" fmla="*/ 2147483647 w 69"/>
              <a:gd name="T23" fmla="*/ 0 h 48"/>
              <a:gd name="T24" fmla="*/ 2147483647 w 69"/>
              <a:gd name="T25" fmla="*/ 0 h 48"/>
              <a:gd name="T26" fmla="*/ 2147483647 w 69"/>
              <a:gd name="T27" fmla="*/ 2147483647 h 48"/>
              <a:gd name="T28" fmla="*/ 2147483647 w 69"/>
              <a:gd name="T29" fmla="*/ 2147483647 h 48"/>
              <a:gd name="T30" fmla="*/ 2147483647 w 69"/>
              <a:gd name="T31" fmla="*/ 2147483647 h 48"/>
              <a:gd name="T32" fmla="*/ 2147483647 w 69"/>
              <a:gd name="T33" fmla="*/ 2147483647 h 48"/>
              <a:gd name="T34" fmla="*/ 2147483647 w 69"/>
              <a:gd name="T35" fmla="*/ 2147483647 h 48"/>
              <a:gd name="T36" fmla="*/ 2147483647 w 69"/>
              <a:gd name="T37" fmla="*/ 0 h 48"/>
              <a:gd name="T38" fmla="*/ 2147483647 w 69"/>
              <a:gd name="T39" fmla="*/ 0 h 48"/>
              <a:gd name="T40" fmla="*/ 2147483647 w 69"/>
              <a:gd name="T41" fmla="*/ 0 h 48"/>
              <a:gd name="T42" fmla="*/ 2147483647 w 69"/>
              <a:gd name="T43" fmla="*/ 2147483647 h 48"/>
              <a:gd name="T44" fmla="*/ 2147483647 w 69"/>
              <a:gd name="T45" fmla="*/ 2147483647 h 48"/>
              <a:gd name="T46" fmla="*/ 2147483647 w 69"/>
              <a:gd name="T47" fmla="*/ 2147483647 h 48"/>
              <a:gd name="T48" fmla="*/ 2147483647 w 69"/>
              <a:gd name="T49" fmla="*/ 2147483647 h 48"/>
              <a:gd name="T50" fmla="*/ 2147483647 w 69"/>
              <a:gd name="T51" fmla="*/ 2147483647 h 48"/>
              <a:gd name="T52" fmla="*/ 2147483647 w 69"/>
              <a:gd name="T53" fmla="*/ 2147483647 h 48"/>
              <a:gd name="T54" fmla="*/ 2147483647 w 69"/>
              <a:gd name="T55" fmla="*/ 2147483647 h 48"/>
              <a:gd name="T56" fmla="*/ 2147483647 w 69"/>
              <a:gd name="T57" fmla="*/ 2147483647 h 48"/>
              <a:gd name="T58" fmla="*/ 2147483647 w 69"/>
              <a:gd name="T59" fmla="*/ 2147483647 h 48"/>
              <a:gd name="T60" fmla="*/ 2147483647 w 69"/>
              <a:gd name="T61" fmla="*/ 2147483647 h 48"/>
              <a:gd name="T62" fmla="*/ 2147483647 w 69"/>
              <a:gd name="T63" fmla="*/ 2147483647 h 48"/>
              <a:gd name="T64" fmla="*/ 2147483647 w 69"/>
              <a:gd name="T65" fmla="*/ 2147483647 h 48"/>
              <a:gd name="T66" fmla="*/ 2147483647 w 69"/>
              <a:gd name="T67" fmla="*/ 2147483647 h 48"/>
              <a:gd name="T68" fmla="*/ 2147483647 w 69"/>
              <a:gd name="T69" fmla="*/ 2147483647 h 48"/>
              <a:gd name="T70" fmla="*/ 2147483647 w 69"/>
              <a:gd name="T71" fmla="*/ 2147483647 h 48"/>
              <a:gd name="T72" fmla="*/ 2147483647 w 69"/>
              <a:gd name="T73" fmla="*/ 2147483647 h 48"/>
              <a:gd name="T74" fmla="*/ 2147483647 w 69"/>
              <a:gd name="T75" fmla="*/ 2147483647 h 48"/>
              <a:gd name="T76" fmla="*/ 2147483647 w 69"/>
              <a:gd name="T77" fmla="*/ 2147483647 h 4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9"/>
              <a:gd name="T118" fmla="*/ 0 h 48"/>
              <a:gd name="T119" fmla="*/ 69 w 69"/>
              <a:gd name="T120" fmla="*/ 48 h 4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9" h="48">
                <a:moveTo>
                  <a:pt x="21" y="48"/>
                </a:moveTo>
                <a:lnTo>
                  <a:pt x="16" y="43"/>
                </a:lnTo>
                <a:lnTo>
                  <a:pt x="12" y="39"/>
                </a:lnTo>
                <a:lnTo>
                  <a:pt x="6" y="33"/>
                </a:lnTo>
                <a:lnTo>
                  <a:pt x="0" y="29"/>
                </a:lnTo>
                <a:lnTo>
                  <a:pt x="0" y="20"/>
                </a:lnTo>
                <a:lnTo>
                  <a:pt x="0" y="10"/>
                </a:lnTo>
                <a:lnTo>
                  <a:pt x="6" y="10"/>
                </a:lnTo>
                <a:lnTo>
                  <a:pt x="12" y="10"/>
                </a:lnTo>
                <a:lnTo>
                  <a:pt x="16" y="4"/>
                </a:lnTo>
                <a:lnTo>
                  <a:pt x="21" y="0"/>
                </a:lnTo>
                <a:lnTo>
                  <a:pt x="25" y="0"/>
                </a:lnTo>
                <a:lnTo>
                  <a:pt x="29" y="0"/>
                </a:lnTo>
                <a:lnTo>
                  <a:pt x="31" y="6"/>
                </a:lnTo>
                <a:lnTo>
                  <a:pt x="33" y="8"/>
                </a:lnTo>
                <a:lnTo>
                  <a:pt x="39" y="10"/>
                </a:lnTo>
                <a:lnTo>
                  <a:pt x="50" y="10"/>
                </a:lnTo>
                <a:lnTo>
                  <a:pt x="50" y="4"/>
                </a:lnTo>
                <a:lnTo>
                  <a:pt x="50" y="0"/>
                </a:lnTo>
                <a:lnTo>
                  <a:pt x="54" y="0"/>
                </a:lnTo>
                <a:lnTo>
                  <a:pt x="60" y="0"/>
                </a:lnTo>
                <a:lnTo>
                  <a:pt x="64" y="4"/>
                </a:lnTo>
                <a:lnTo>
                  <a:pt x="69" y="10"/>
                </a:lnTo>
                <a:lnTo>
                  <a:pt x="69" y="14"/>
                </a:lnTo>
                <a:lnTo>
                  <a:pt x="69" y="20"/>
                </a:lnTo>
                <a:lnTo>
                  <a:pt x="69" y="23"/>
                </a:lnTo>
                <a:lnTo>
                  <a:pt x="69" y="29"/>
                </a:lnTo>
                <a:lnTo>
                  <a:pt x="69" y="33"/>
                </a:lnTo>
                <a:lnTo>
                  <a:pt x="69" y="39"/>
                </a:lnTo>
                <a:lnTo>
                  <a:pt x="69" y="43"/>
                </a:lnTo>
                <a:lnTo>
                  <a:pt x="69" y="48"/>
                </a:lnTo>
                <a:lnTo>
                  <a:pt x="64" y="48"/>
                </a:lnTo>
                <a:lnTo>
                  <a:pt x="60" y="48"/>
                </a:lnTo>
                <a:lnTo>
                  <a:pt x="54" y="48"/>
                </a:lnTo>
                <a:lnTo>
                  <a:pt x="50" y="48"/>
                </a:lnTo>
                <a:lnTo>
                  <a:pt x="39" y="48"/>
                </a:lnTo>
                <a:lnTo>
                  <a:pt x="29" y="48"/>
                </a:lnTo>
                <a:lnTo>
                  <a:pt x="25" y="48"/>
                </a:lnTo>
                <a:lnTo>
                  <a:pt x="21" y="48"/>
                </a:lnTo>
              </a:path>
            </a:pathLst>
          </a:custGeom>
          <a:solidFill>
            <a:schemeClr val="accent3"/>
          </a:solidFill>
          <a:ln w="12700">
            <a:solidFill>
              <a:schemeClr val="bg1"/>
            </a:solidFill>
            <a:round/>
            <a:headEnd/>
            <a:tailEnd/>
          </a:ln>
        </p:spPr>
        <p:txBody>
          <a:bodyPr/>
          <a:lstStyle/>
          <a:p>
            <a:endParaRPr lang="en-GB"/>
          </a:p>
        </p:txBody>
      </p:sp>
      <p:grpSp>
        <p:nvGrpSpPr>
          <p:cNvPr id="82" name="Group 175"/>
          <p:cNvGrpSpPr>
            <a:grpSpLocks/>
          </p:cNvGrpSpPr>
          <p:nvPr/>
        </p:nvGrpSpPr>
        <p:grpSpPr bwMode="auto">
          <a:xfrm>
            <a:off x="1086142" y="5428681"/>
            <a:ext cx="220174" cy="415265"/>
            <a:chOff x="962025" y="5734050"/>
            <a:chExt cx="250825" cy="473075"/>
          </a:xfrm>
          <a:solidFill>
            <a:schemeClr val="accent3"/>
          </a:solidFill>
        </p:grpSpPr>
        <p:sp>
          <p:nvSpPr>
            <p:cNvPr id="38" name="Freeform 37"/>
            <p:cNvSpPr>
              <a:spLocks/>
            </p:cNvSpPr>
            <p:nvPr/>
          </p:nvSpPr>
          <p:spPr bwMode="auto">
            <a:xfrm>
              <a:off x="962025" y="5878513"/>
              <a:ext cx="203200" cy="328612"/>
            </a:xfrm>
            <a:custGeom>
              <a:avLst/>
              <a:gdLst/>
              <a:ahLst/>
              <a:cxnLst>
                <a:cxn ang="0">
                  <a:pos x="38" y="223"/>
                </a:cxn>
                <a:cxn ang="0">
                  <a:pos x="36" y="204"/>
                </a:cxn>
                <a:cxn ang="0">
                  <a:pos x="33" y="187"/>
                </a:cxn>
                <a:cxn ang="0">
                  <a:pos x="29" y="169"/>
                </a:cxn>
                <a:cxn ang="0">
                  <a:pos x="25" y="154"/>
                </a:cxn>
                <a:cxn ang="0">
                  <a:pos x="13" y="121"/>
                </a:cxn>
                <a:cxn ang="0">
                  <a:pos x="0" y="87"/>
                </a:cxn>
                <a:cxn ang="0">
                  <a:pos x="4" y="83"/>
                </a:cxn>
                <a:cxn ang="0">
                  <a:pos x="10" y="77"/>
                </a:cxn>
                <a:cxn ang="0">
                  <a:pos x="13" y="77"/>
                </a:cxn>
                <a:cxn ang="0">
                  <a:pos x="19" y="77"/>
                </a:cxn>
                <a:cxn ang="0">
                  <a:pos x="42" y="75"/>
                </a:cxn>
                <a:cxn ang="0">
                  <a:pos x="67" y="73"/>
                </a:cxn>
                <a:cxn ang="0">
                  <a:pos x="69" y="69"/>
                </a:cxn>
                <a:cxn ang="0">
                  <a:pos x="71" y="68"/>
                </a:cxn>
                <a:cxn ang="0">
                  <a:pos x="75" y="60"/>
                </a:cxn>
                <a:cxn ang="0">
                  <a:pos x="77" y="54"/>
                </a:cxn>
                <a:cxn ang="0">
                  <a:pos x="79" y="50"/>
                </a:cxn>
                <a:cxn ang="0">
                  <a:pos x="83" y="48"/>
                </a:cxn>
                <a:cxn ang="0">
                  <a:pos x="88" y="41"/>
                </a:cxn>
                <a:cxn ang="0">
                  <a:pos x="96" y="33"/>
                </a:cxn>
                <a:cxn ang="0">
                  <a:pos x="98" y="31"/>
                </a:cxn>
                <a:cxn ang="0">
                  <a:pos x="102" y="29"/>
                </a:cxn>
                <a:cxn ang="0">
                  <a:pos x="104" y="27"/>
                </a:cxn>
                <a:cxn ang="0">
                  <a:pos x="106" y="25"/>
                </a:cxn>
                <a:cxn ang="0">
                  <a:pos x="107" y="21"/>
                </a:cxn>
                <a:cxn ang="0">
                  <a:pos x="111" y="20"/>
                </a:cxn>
                <a:cxn ang="0">
                  <a:pos x="113" y="18"/>
                </a:cxn>
                <a:cxn ang="0">
                  <a:pos x="115" y="16"/>
                </a:cxn>
                <a:cxn ang="0">
                  <a:pos x="117" y="12"/>
                </a:cxn>
                <a:cxn ang="0">
                  <a:pos x="121" y="10"/>
                </a:cxn>
                <a:cxn ang="0">
                  <a:pos x="123" y="4"/>
                </a:cxn>
                <a:cxn ang="0">
                  <a:pos x="125" y="0"/>
                </a:cxn>
                <a:cxn ang="0">
                  <a:pos x="127" y="14"/>
                </a:cxn>
                <a:cxn ang="0">
                  <a:pos x="131" y="29"/>
                </a:cxn>
                <a:cxn ang="0">
                  <a:pos x="121" y="39"/>
                </a:cxn>
                <a:cxn ang="0">
                  <a:pos x="115" y="48"/>
                </a:cxn>
                <a:cxn ang="0">
                  <a:pos x="107" y="58"/>
                </a:cxn>
                <a:cxn ang="0">
                  <a:pos x="104" y="68"/>
                </a:cxn>
                <a:cxn ang="0">
                  <a:pos x="94" y="89"/>
                </a:cxn>
                <a:cxn ang="0">
                  <a:pos x="90" y="112"/>
                </a:cxn>
                <a:cxn ang="0">
                  <a:pos x="84" y="158"/>
                </a:cxn>
                <a:cxn ang="0">
                  <a:pos x="79" y="206"/>
                </a:cxn>
                <a:cxn ang="0">
                  <a:pos x="63" y="213"/>
                </a:cxn>
                <a:cxn ang="0">
                  <a:pos x="48" y="223"/>
                </a:cxn>
                <a:cxn ang="0">
                  <a:pos x="42" y="223"/>
                </a:cxn>
                <a:cxn ang="0">
                  <a:pos x="38" y="223"/>
                </a:cxn>
              </a:cxnLst>
              <a:rect l="0" t="0" r="r" b="b"/>
              <a:pathLst>
                <a:path w="131" h="223">
                  <a:moveTo>
                    <a:pt x="38" y="223"/>
                  </a:moveTo>
                  <a:lnTo>
                    <a:pt x="36" y="204"/>
                  </a:lnTo>
                  <a:lnTo>
                    <a:pt x="33" y="187"/>
                  </a:lnTo>
                  <a:lnTo>
                    <a:pt x="29" y="169"/>
                  </a:lnTo>
                  <a:lnTo>
                    <a:pt x="25" y="154"/>
                  </a:lnTo>
                  <a:lnTo>
                    <a:pt x="13" y="121"/>
                  </a:lnTo>
                  <a:lnTo>
                    <a:pt x="0" y="87"/>
                  </a:lnTo>
                  <a:lnTo>
                    <a:pt x="4" y="83"/>
                  </a:lnTo>
                  <a:lnTo>
                    <a:pt x="10" y="77"/>
                  </a:lnTo>
                  <a:lnTo>
                    <a:pt x="13" y="77"/>
                  </a:lnTo>
                  <a:lnTo>
                    <a:pt x="19" y="77"/>
                  </a:lnTo>
                  <a:lnTo>
                    <a:pt x="42" y="75"/>
                  </a:lnTo>
                  <a:lnTo>
                    <a:pt x="67" y="73"/>
                  </a:lnTo>
                  <a:lnTo>
                    <a:pt x="69" y="69"/>
                  </a:lnTo>
                  <a:lnTo>
                    <a:pt x="71" y="68"/>
                  </a:lnTo>
                  <a:lnTo>
                    <a:pt x="75" y="60"/>
                  </a:lnTo>
                  <a:lnTo>
                    <a:pt x="77" y="54"/>
                  </a:lnTo>
                  <a:lnTo>
                    <a:pt x="79" y="50"/>
                  </a:lnTo>
                  <a:lnTo>
                    <a:pt x="83" y="48"/>
                  </a:lnTo>
                  <a:lnTo>
                    <a:pt x="88" y="41"/>
                  </a:lnTo>
                  <a:lnTo>
                    <a:pt x="96" y="33"/>
                  </a:lnTo>
                  <a:lnTo>
                    <a:pt x="98" y="31"/>
                  </a:lnTo>
                  <a:lnTo>
                    <a:pt x="102" y="29"/>
                  </a:lnTo>
                  <a:lnTo>
                    <a:pt x="104" y="27"/>
                  </a:lnTo>
                  <a:lnTo>
                    <a:pt x="106" y="25"/>
                  </a:lnTo>
                  <a:lnTo>
                    <a:pt x="107" y="21"/>
                  </a:lnTo>
                  <a:lnTo>
                    <a:pt x="111" y="20"/>
                  </a:lnTo>
                  <a:lnTo>
                    <a:pt x="113" y="18"/>
                  </a:lnTo>
                  <a:lnTo>
                    <a:pt x="115" y="16"/>
                  </a:lnTo>
                  <a:lnTo>
                    <a:pt x="117" y="12"/>
                  </a:lnTo>
                  <a:lnTo>
                    <a:pt x="121" y="10"/>
                  </a:lnTo>
                  <a:lnTo>
                    <a:pt x="123" y="4"/>
                  </a:lnTo>
                  <a:lnTo>
                    <a:pt x="125" y="0"/>
                  </a:lnTo>
                  <a:lnTo>
                    <a:pt x="127" y="14"/>
                  </a:lnTo>
                  <a:lnTo>
                    <a:pt x="131" y="29"/>
                  </a:lnTo>
                  <a:lnTo>
                    <a:pt x="121" y="39"/>
                  </a:lnTo>
                  <a:lnTo>
                    <a:pt x="115" y="48"/>
                  </a:lnTo>
                  <a:lnTo>
                    <a:pt x="107" y="58"/>
                  </a:lnTo>
                  <a:lnTo>
                    <a:pt x="104" y="68"/>
                  </a:lnTo>
                  <a:lnTo>
                    <a:pt x="94" y="89"/>
                  </a:lnTo>
                  <a:lnTo>
                    <a:pt x="90" y="112"/>
                  </a:lnTo>
                  <a:lnTo>
                    <a:pt x="84" y="158"/>
                  </a:lnTo>
                  <a:lnTo>
                    <a:pt x="79" y="206"/>
                  </a:lnTo>
                  <a:lnTo>
                    <a:pt x="63" y="213"/>
                  </a:lnTo>
                  <a:lnTo>
                    <a:pt x="48" y="223"/>
                  </a:lnTo>
                  <a:lnTo>
                    <a:pt x="42" y="223"/>
                  </a:lnTo>
                  <a:lnTo>
                    <a:pt x="38" y="223"/>
                  </a:lnTo>
                </a:path>
              </a:pathLst>
            </a:custGeom>
            <a:grpFill/>
            <a:ln w="12700">
              <a:solidFill>
                <a:schemeClr val="bg1"/>
              </a:solidFill>
              <a:round/>
              <a:headEnd/>
              <a:tailEnd/>
            </a:ln>
          </p:spPr>
          <p:txBody>
            <a:bodyPr/>
            <a:lstStyle/>
            <a:p>
              <a:pPr>
                <a:defRPr/>
              </a:pPr>
              <a:endParaRPr lang="en-GB"/>
            </a:p>
          </p:txBody>
        </p:sp>
        <p:sp>
          <p:nvSpPr>
            <p:cNvPr id="39" name="Freeform 38"/>
            <p:cNvSpPr>
              <a:spLocks/>
            </p:cNvSpPr>
            <p:nvPr/>
          </p:nvSpPr>
          <p:spPr bwMode="auto">
            <a:xfrm>
              <a:off x="1079500" y="5734050"/>
              <a:ext cx="133350" cy="127000"/>
            </a:xfrm>
            <a:custGeom>
              <a:avLst/>
              <a:gdLst/>
              <a:ahLst/>
              <a:cxnLst>
                <a:cxn ang="0">
                  <a:pos x="25" y="87"/>
                </a:cxn>
                <a:cxn ang="0">
                  <a:pos x="21" y="85"/>
                </a:cxn>
                <a:cxn ang="0">
                  <a:pos x="19" y="81"/>
                </a:cxn>
                <a:cxn ang="0">
                  <a:pos x="17" y="73"/>
                </a:cxn>
                <a:cxn ang="0">
                  <a:pos x="15" y="68"/>
                </a:cxn>
                <a:cxn ang="0">
                  <a:pos x="11" y="64"/>
                </a:cxn>
                <a:cxn ang="0">
                  <a:pos x="9" y="62"/>
                </a:cxn>
                <a:cxn ang="0">
                  <a:pos x="7" y="60"/>
                </a:cxn>
                <a:cxn ang="0">
                  <a:pos x="6" y="58"/>
                </a:cxn>
                <a:cxn ang="0">
                  <a:pos x="2" y="54"/>
                </a:cxn>
                <a:cxn ang="0">
                  <a:pos x="0" y="52"/>
                </a:cxn>
                <a:cxn ang="0">
                  <a:pos x="4" y="43"/>
                </a:cxn>
                <a:cxn ang="0">
                  <a:pos x="9" y="33"/>
                </a:cxn>
                <a:cxn ang="0">
                  <a:pos x="11" y="31"/>
                </a:cxn>
                <a:cxn ang="0">
                  <a:pos x="15" y="29"/>
                </a:cxn>
                <a:cxn ang="0">
                  <a:pos x="15" y="23"/>
                </a:cxn>
                <a:cxn ang="0">
                  <a:pos x="15" y="18"/>
                </a:cxn>
                <a:cxn ang="0">
                  <a:pos x="11" y="16"/>
                </a:cxn>
                <a:cxn ang="0">
                  <a:pos x="9" y="14"/>
                </a:cxn>
                <a:cxn ang="0">
                  <a:pos x="9" y="10"/>
                </a:cxn>
                <a:cxn ang="0">
                  <a:pos x="15" y="8"/>
                </a:cxn>
                <a:cxn ang="0">
                  <a:pos x="27" y="6"/>
                </a:cxn>
                <a:cxn ang="0">
                  <a:pos x="48" y="4"/>
                </a:cxn>
                <a:cxn ang="0">
                  <a:pos x="50" y="2"/>
                </a:cxn>
                <a:cxn ang="0">
                  <a:pos x="54" y="0"/>
                </a:cxn>
                <a:cxn ang="0">
                  <a:pos x="55" y="2"/>
                </a:cxn>
                <a:cxn ang="0">
                  <a:pos x="57" y="4"/>
                </a:cxn>
                <a:cxn ang="0">
                  <a:pos x="61" y="6"/>
                </a:cxn>
                <a:cxn ang="0">
                  <a:pos x="63" y="8"/>
                </a:cxn>
                <a:cxn ang="0">
                  <a:pos x="65" y="12"/>
                </a:cxn>
                <a:cxn ang="0">
                  <a:pos x="67" y="14"/>
                </a:cxn>
                <a:cxn ang="0">
                  <a:pos x="75" y="16"/>
                </a:cxn>
                <a:cxn ang="0">
                  <a:pos x="82" y="18"/>
                </a:cxn>
                <a:cxn ang="0">
                  <a:pos x="84" y="22"/>
                </a:cxn>
                <a:cxn ang="0">
                  <a:pos x="86" y="23"/>
                </a:cxn>
                <a:cxn ang="0">
                  <a:pos x="86" y="25"/>
                </a:cxn>
                <a:cxn ang="0">
                  <a:pos x="86" y="29"/>
                </a:cxn>
                <a:cxn ang="0">
                  <a:pos x="77" y="33"/>
                </a:cxn>
                <a:cxn ang="0">
                  <a:pos x="67" y="37"/>
                </a:cxn>
                <a:cxn ang="0">
                  <a:pos x="61" y="41"/>
                </a:cxn>
                <a:cxn ang="0">
                  <a:pos x="55" y="46"/>
                </a:cxn>
                <a:cxn ang="0">
                  <a:pos x="52" y="64"/>
                </a:cxn>
                <a:cxn ang="0">
                  <a:pos x="48" y="87"/>
                </a:cxn>
                <a:cxn ang="0">
                  <a:pos x="36" y="87"/>
                </a:cxn>
                <a:cxn ang="0">
                  <a:pos x="25" y="87"/>
                </a:cxn>
              </a:cxnLst>
              <a:rect l="0" t="0" r="r" b="b"/>
              <a:pathLst>
                <a:path w="86" h="87">
                  <a:moveTo>
                    <a:pt x="25" y="87"/>
                  </a:moveTo>
                  <a:lnTo>
                    <a:pt x="21" y="85"/>
                  </a:lnTo>
                  <a:lnTo>
                    <a:pt x="19" y="81"/>
                  </a:lnTo>
                  <a:lnTo>
                    <a:pt x="17" y="73"/>
                  </a:lnTo>
                  <a:lnTo>
                    <a:pt x="15" y="68"/>
                  </a:lnTo>
                  <a:lnTo>
                    <a:pt x="11" y="64"/>
                  </a:lnTo>
                  <a:lnTo>
                    <a:pt x="9" y="62"/>
                  </a:lnTo>
                  <a:lnTo>
                    <a:pt x="7" y="60"/>
                  </a:lnTo>
                  <a:lnTo>
                    <a:pt x="6" y="58"/>
                  </a:lnTo>
                  <a:lnTo>
                    <a:pt x="2" y="54"/>
                  </a:lnTo>
                  <a:lnTo>
                    <a:pt x="0" y="52"/>
                  </a:lnTo>
                  <a:lnTo>
                    <a:pt x="4" y="43"/>
                  </a:lnTo>
                  <a:lnTo>
                    <a:pt x="9" y="33"/>
                  </a:lnTo>
                  <a:lnTo>
                    <a:pt x="11" y="31"/>
                  </a:lnTo>
                  <a:lnTo>
                    <a:pt x="15" y="29"/>
                  </a:lnTo>
                  <a:lnTo>
                    <a:pt x="15" y="23"/>
                  </a:lnTo>
                  <a:lnTo>
                    <a:pt x="15" y="18"/>
                  </a:lnTo>
                  <a:lnTo>
                    <a:pt x="11" y="16"/>
                  </a:lnTo>
                  <a:lnTo>
                    <a:pt x="9" y="14"/>
                  </a:lnTo>
                  <a:lnTo>
                    <a:pt x="9" y="10"/>
                  </a:lnTo>
                  <a:lnTo>
                    <a:pt x="15" y="8"/>
                  </a:lnTo>
                  <a:lnTo>
                    <a:pt x="27" y="6"/>
                  </a:lnTo>
                  <a:lnTo>
                    <a:pt x="48" y="4"/>
                  </a:lnTo>
                  <a:lnTo>
                    <a:pt x="50" y="2"/>
                  </a:lnTo>
                  <a:lnTo>
                    <a:pt x="54" y="0"/>
                  </a:lnTo>
                  <a:lnTo>
                    <a:pt x="55" y="2"/>
                  </a:lnTo>
                  <a:lnTo>
                    <a:pt x="57" y="4"/>
                  </a:lnTo>
                  <a:lnTo>
                    <a:pt x="61" y="6"/>
                  </a:lnTo>
                  <a:lnTo>
                    <a:pt x="63" y="8"/>
                  </a:lnTo>
                  <a:lnTo>
                    <a:pt x="65" y="12"/>
                  </a:lnTo>
                  <a:lnTo>
                    <a:pt x="67" y="14"/>
                  </a:lnTo>
                  <a:lnTo>
                    <a:pt x="75" y="16"/>
                  </a:lnTo>
                  <a:lnTo>
                    <a:pt x="82" y="18"/>
                  </a:lnTo>
                  <a:lnTo>
                    <a:pt x="84" y="22"/>
                  </a:lnTo>
                  <a:lnTo>
                    <a:pt x="86" y="23"/>
                  </a:lnTo>
                  <a:lnTo>
                    <a:pt x="86" y="25"/>
                  </a:lnTo>
                  <a:lnTo>
                    <a:pt x="86" y="29"/>
                  </a:lnTo>
                  <a:lnTo>
                    <a:pt x="77" y="33"/>
                  </a:lnTo>
                  <a:lnTo>
                    <a:pt x="67" y="37"/>
                  </a:lnTo>
                  <a:lnTo>
                    <a:pt x="61" y="41"/>
                  </a:lnTo>
                  <a:lnTo>
                    <a:pt x="55" y="46"/>
                  </a:lnTo>
                  <a:lnTo>
                    <a:pt x="52" y="64"/>
                  </a:lnTo>
                  <a:lnTo>
                    <a:pt x="48" y="87"/>
                  </a:lnTo>
                  <a:lnTo>
                    <a:pt x="36" y="87"/>
                  </a:lnTo>
                  <a:lnTo>
                    <a:pt x="25" y="87"/>
                  </a:lnTo>
                </a:path>
              </a:pathLst>
            </a:custGeom>
            <a:grpFill/>
            <a:ln w="12700">
              <a:solidFill>
                <a:schemeClr val="bg1"/>
              </a:solidFill>
              <a:round/>
              <a:headEnd/>
              <a:tailEnd/>
            </a:ln>
          </p:spPr>
          <p:txBody>
            <a:bodyPr/>
            <a:lstStyle/>
            <a:p>
              <a:pPr>
                <a:defRPr/>
              </a:pPr>
              <a:endParaRPr lang="en-GB"/>
            </a:p>
          </p:txBody>
        </p:sp>
      </p:grpSp>
      <p:sp>
        <p:nvSpPr>
          <p:cNvPr id="40" name="Freeform 307"/>
          <p:cNvSpPr>
            <a:spLocks/>
          </p:cNvSpPr>
          <p:nvPr>
            <p:custDataLst>
              <p:tags r:id="rId24"/>
            </p:custDataLst>
          </p:nvPr>
        </p:nvSpPr>
        <p:spPr bwMode="auto">
          <a:xfrm>
            <a:off x="925890" y="5388270"/>
            <a:ext cx="197878" cy="115661"/>
          </a:xfrm>
          <a:custGeom>
            <a:avLst/>
            <a:gdLst>
              <a:gd name="T0" fmla="*/ 0 w 146"/>
              <a:gd name="T1" fmla="*/ 2147483647 h 88"/>
              <a:gd name="T2" fmla="*/ 2147483647 w 146"/>
              <a:gd name="T3" fmla="*/ 2147483647 h 88"/>
              <a:gd name="T4" fmla="*/ 2147483647 w 146"/>
              <a:gd name="T5" fmla="*/ 2147483647 h 88"/>
              <a:gd name="T6" fmla="*/ 2147483647 w 146"/>
              <a:gd name="T7" fmla="*/ 2147483647 h 88"/>
              <a:gd name="T8" fmla="*/ 2147483647 w 146"/>
              <a:gd name="T9" fmla="*/ 0 h 88"/>
              <a:gd name="T10" fmla="*/ 2147483647 w 146"/>
              <a:gd name="T11" fmla="*/ 2147483647 h 88"/>
              <a:gd name="T12" fmla="*/ 2147483647 w 146"/>
              <a:gd name="T13" fmla="*/ 2147483647 h 88"/>
              <a:gd name="T14" fmla="*/ 2147483647 w 146"/>
              <a:gd name="T15" fmla="*/ 2147483647 h 88"/>
              <a:gd name="T16" fmla="*/ 2147483647 w 146"/>
              <a:gd name="T17" fmla="*/ 2147483647 h 88"/>
              <a:gd name="T18" fmla="*/ 2147483647 w 146"/>
              <a:gd name="T19" fmla="*/ 2147483647 h 88"/>
              <a:gd name="T20" fmla="*/ 2147483647 w 146"/>
              <a:gd name="T21" fmla="*/ 2147483647 h 88"/>
              <a:gd name="T22" fmla="*/ 2147483647 w 146"/>
              <a:gd name="T23" fmla="*/ 2147483647 h 88"/>
              <a:gd name="T24" fmla="*/ 2147483647 w 146"/>
              <a:gd name="T25" fmla="*/ 2147483647 h 88"/>
              <a:gd name="T26" fmla="*/ 2147483647 w 146"/>
              <a:gd name="T27" fmla="*/ 2147483647 h 88"/>
              <a:gd name="T28" fmla="*/ 2147483647 w 146"/>
              <a:gd name="T29" fmla="*/ 2147483647 h 88"/>
              <a:gd name="T30" fmla="*/ 2147483647 w 146"/>
              <a:gd name="T31" fmla="*/ 2147483647 h 88"/>
              <a:gd name="T32" fmla="*/ 2147483647 w 146"/>
              <a:gd name="T33" fmla="*/ 2147483647 h 88"/>
              <a:gd name="T34" fmla="*/ 2147483647 w 146"/>
              <a:gd name="T35" fmla="*/ 2147483647 h 88"/>
              <a:gd name="T36" fmla="*/ 2147483647 w 146"/>
              <a:gd name="T37" fmla="*/ 2147483647 h 88"/>
              <a:gd name="T38" fmla="*/ 2147483647 w 146"/>
              <a:gd name="T39" fmla="*/ 2147483647 h 88"/>
              <a:gd name="T40" fmla="*/ 2147483647 w 146"/>
              <a:gd name="T41" fmla="*/ 2147483647 h 88"/>
              <a:gd name="T42" fmla="*/ 2147483647 w 146"/>
              <a:gd name="T43" fmla="*/ 2147483647 h 88"/>
              <a:gd name="T44" fmla="*/ 2147483647 w 146"/>
              <a:gd name="T45" fmla="*/ 2147483647 h 88"/>
              <a:gd name="T46" fmla="*/ 2147483647 w 146"/>
              <a:gd name="T47" fmla="*/ 2147483647 h 88"/>
              <a:gd name="T48" fmla="*/ 2147483647 w 146"/>
              <a:gd name="T49" fmla="*/ 2147483647 h 88"/>
              <a:gd name="T50" fmla="*/ 2147483647 w 146"/>
              <a:gd name="T51" fmla="*/ 2147483647 h 88"/>
              <a:gd name="T52" fmla="*/ 2147483647 w 146"/>
              <a:gd name="T53" fmla="*/ 2147483647 h 88"/>
              <a:gd name="T54" fmla="*/ 2147483647 w 146"/>
              <a:gd name="T55" fmla="*/ 2147483647 h 88"/>
              <a:gd name="T56" fmla="*/ 2147483647 w 146"/>
              <a:gd name="T57" fmla="*/ 2147483647 h 88"/>
              <a:gd name="T58" fmla="*/ 2147483647 w 146"/>
              <a:gd name="T59" fmla="*/ 2147483647 h 88"/>
              <a:gd name="T60" fmla="*/ 2147483647 w 146"/>
              <a:gd name="T61" fmla="*/ 2147483647 h 88"/>
              <a:gd name="T62" fmla="*/ 2147483647 w 146"/>
              <a:gd name="T63" fmla="*/ 2147483647 h 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88"/>
              <a:gd name="T98" fmla="*/ 146 w 146"/>
              <a:gd name="T99" fmla="*/ 88 h 8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88">
                <a:moveTo>
                  <a:pt x="0" y="30"/>
                </a:moveTo>
                <a:lnTo>
                  <a:pt x="0" y="25"/>
                </a:lnTo>
                <a:lnTo>
                  <a:pt x="0" y="19"/>
                </a:lnTo>
                <a:lnTo>
                  <a:pt x="6" y="15"/>
                </a:lnTo>
                <a:lnTo>
                  <a:pt x="10" y="9"/>
                </a:lnTo>
                <a:lnTo>
                  <a:pt x="19" y="7"/>
                </a:lnTo>
                <a:lnTo>
                  <a:pt x="29" y="6"/>
                </a:lnTo>
                <a:lnTo>
                  <a:pt x="33" y="4"/>
                </a:lnTo>
                <a:lnTo>
                  <a:pt x="35" y="0"/>
                </a:lnTo>
                <a:lnTo>
                  <a:pt x="38" y="0"/>
                </a:lnTo>
                <a:lnTo>
                  <a:pt x="44" y="0"/>
                </a:lnTo>
                <a:lnTo>
                  <a:pt x="46" y="4"/>
                </a:lnTo>
                <a:lnTo>
                  <a:pt x="50" y="6"/>
                </a:lnTo>
                <a:lnTo>
                  <a:pt x="56" y="7"/>
                </a:lnTo>
                <a:lnTo>
                  <a:pt x="63" y="9"/>
                </a:lnTo>
                <a:lnTo>
                  <a:pt x="65" y="13"/>
                </a:lnTo>
                <a:lnTo>
                  <a:pt x="67" y="15"/>
                </a:lnTo>
                <a:lnTo>
                  <a:pt x="71" y="17"/>
                </a:lnTo>
                <a:lnTo>
                  <a:pt x="73" y="19"/>
                </a:lnTo>
                <a:lnTo>
                  <a:pt x="75" y="23"/>
                </a:lnTo>
                <a:lnTo>
                  <a:pt x="79" y="25"/>
                </a:lnTo>
                <a:lnTo>
                  <a:pt x="94" y="27"/>
                </a:lnTo>
                <a:lnTo>
                  <a:pt x="111" y="30"/>
                </a:lnTo>
                <a:lnTo>
                  <a:pt x="113" y="32"/>
                </a:lnTo>
                <a:lnTo>
                  <a:pt x="117" y="34"/>
                </a:lnTo>
                <a:lnTo>
                  <a:pt x="119" y="36"/>
                </a:lnTo>
                <a:lnTo>
                  <a:pt x="121" y="38"/>
                </a:lnTo>
                <a:lnTo>
                  <a:pt x="123" y="42"/>
                </a:lnTo>
                <a:lnTo>
                  <a:pt x="127" y="44"/>
                </a:lnTo>
                <a:lnTo>
                  <a:pt x="123" y="46"/>
                </a:lnTo>
                <a:lnTo>
                  <a:pt x="121" y="48"/>
                </a:lnTo>
                <a:lnTo>
                  <a:pt x="121" y="53"/>
                </a:lnTo>
                <a:lnTo>
                  <a:pt x="121" y="59"/>
                </a:lnTo>
                <a:lnTo>
                  <a:pt x="123" y="61"/>
                </a:lnTo>
                <a:lnTo>
                  <a:pt x="127" y="63"/>
                </a:lnTo>
                <a:lnTo>
                  <a:pt x="132" y="65"/>
                </a:lnTo>
                <a:lnTo>
                  <a:pt x="140" y="69"/>
                </a:lnTo>
                <a:lnTo>
                  <a:pt x="144" y="71"/>
                </a:lnTo>
                <a:lnTo>
                  <a:pt x="146" y="73"/>
                </a:lnTo>
                <a:lnTo>
                  <a:pt x="134" y="75"/>
                </a:lnTo>
                <a:lnTo>
                  <a:pt x="121" y="78"/>
                </a:lnTo>
                <a:lnTo>
                  <a:pt x="119" y="75"/>
                </a:lnTo>
                <a:lnTo>
                  <a:pt x="117" y="73"/>
                </a:lnTo>
                <a:lnTo>
                  <a:pt x="111" y="75"/>
                </a:lnTo>
                <a:lnTo>
                  <a:pt x="107" y="78"/>
                </a:lnTo>
                <a:lnTo>
                  <a:pt x="102" y="78"/>
                </a:lnTo>
                <a:lnTo>
                  <a:pt x="98" y="78"/>
                </a:lnTo>
                <a:lnTo>
                  <a:pt x="92" y="75"/>
                </a:lnTo>
                <a:lnTo>
                  <a:pt x="90" y="75"/>
                </a:lnTo>
                <a:lnTo>
                  <a:pt x="88" y="75"/>
                </a:lnTo>
                <a:lnTo>
                  <a:pt x="88" y="78"/>
                </a:lnTo>
                <a:lnTo>
                  <a:pt x="77" y="78"/>
                </a:lnTo>
                <a:lnTo>
                  <a:pt x="67" y="78"/>
                </a:lnTo>
                <a:lnTo>
                  <a:pt x="63" y="75"/>
                </a:lnTo>
                <a:lnTo>
                  <a:pt x="61" y="75"/>
                </a:lnTo>
                <a:lnTo>
                  <a:pt x="59" y="75"/>
                </a:lnTo>
                <a:lnTo>
                  <a:pt x="59" y="78"/>
                </a:lnTo>
                <a:lnTo>
                  <a:pt x="54" y="78"/>
                </a:lnTo>
                <a:lnTo>
                  <a:pt x="50" y="78"/>
                </a:lnTo>
                <a:lnTo>
                  <a:pt x="44" y="82"/>
                </a:lnTo>
                <a:lnTo>
                  <a:pt x="38" y="88"/>
                </a:lnTo>
                <a:lnTo>
                  <a:pt x="23" y="57"/>
                </a:lnTo>
                <a:lnTo>
                  <a:pt x="15" y="42"/>
                </a:lnTo>
                <a:lnTo>
                  <a:pt x="8" y="34"/>
                </a:lnTo>
                <a:lnTo>
                  <a:pt x="0" y="30"/>
                </a:lnTo>
              </a:path>
            </a:pathLst>
          </a:custGeom>
          <a:solidFill>
            <a:schemeClr val="accent3"/>
          </a:solidFill>
          <a:ln w="12700">
            <a:solidFill>
              <a:schemeClr val="bg1"/>
            </a:solidFill>
            <a:round/>
            <a:headEnd/>
            <a:tailEnd/>
          </a:ln>
        </p:spPr>
        <p:txBody>
          <a:bodyPr/>
          <a:lstStyle/>
          <a:p>
            <a:endParaRPr lang="en-GB"/>
          </a:p>
        </p:txBody>
      </p:sp>
      <p:sp>
        <p:nvSpPr>
          <p:cNvPr id="41" name="Freeform 308"/>
          <p:cNvSpPr>
            <a:spLocks/>
          </p:cNvSpPr>
          <p:nvPr>
            <p:custDataLst>
              <p:tags r:id="rId25"/>
            </p:custDataLst>
          </p:nvPr>
        </p:nvSpPr>
        <p:spPr bwMode="auto">
          <a:xfrm>
            <a:off x="1413617" y="5083092"/>
            <a:ext cx="158860" cy="326081"/>
          </a:xfrm>
          <a:custGeom>
            <a:avLst/>
            <a:gdLst>
              <a:gd name="T0" fmla="*/ 0 w 115"/>
              <a:gd name="T1" fmla="*/ 2147483647 h 251"/>
              <a:gd name="T2" fmla="*/ 2147483647 w 115"/>
              <a:gd name="T3" fmla="*/ 2147483647 h 251"/>
              <a:gd name="T4" fmla="*/ 2147483647 w 115"/>
              <a:gd name="T5" fmla="*/ 2147483647 h 251"/>
              <a:gd name="T6" fmla="*/ 2147483647 w 115"/>
              <a:gd name="T7" fmla="*/ 2147483647 h 251"/>
              <a:gd name="T8" fmla="*/ 2147483647 w 115"/>
              <a:gd name="T9" fmla="*/ 2147483647 h 251"/>
              <a:gd name="T10" fmla="*/ 2147483647 w 115"/>
              <a:gd name="T11" fmla="*/ 2147483647 h 251"/>
              <a:gd name="T12" fmla="*/ 2147483647 w 115"/>
              <a:gd name="T13" fmla="*/ 2147483647 h 251"/>
              <a:gd name="T14" fmla="*/ 2147483647 w 115"/>
              <a:gd name="T15" fmla="*/ 2147483647 h 251"/>
              <a:gd name="T16" fmla="*/ 2147483647 w 115"/>
              <a:gd name="T17" fmla="*/ 2147483647 h 251"/>
              <a:gd name="T18" fmla="*/ 2147483647 w 115"/>
              <a:gd name="T19" fmla="*/ 2147483647 h 251"/>
              <a:gd name="T20" fmla="*/ 2147483647 w 115"/>
              <a:gd name="T21" fmla="*/ 2147483647 h 251"/>
              <a:gd name="T22" fmla="*/ 2147483647 w 115"/>
              <a:gd name="T23" fmla="*/ 2147483647 h 251"/>
              <a:gd name="T24" fmla="*/ 2147483647 w 115"/>
              <a:gd name="T25" fmla="*/ 2147483647 h 251"/>
              <a:gd name="T26" fmla="*/ 2147483647 w 115"/>
              <a:gd name="T27" fmla="*/ 2147483647 h 251"/>
              <a:gd name="T28" fmla="*/ 2147483647 w 115"/>
              <a:gd name="T29" fmla="*/ 2147483647 h 251"/>
              <a:gd name="T30" fmla="*/ 2147483647 w 115"/>
              <a:gd name="T31" fmla="*/ 2147483647 h 251"/>
              <a:gd name="T32" fmla="*/ 2147483647 w 115"/>
              <a:gd name="T33" fmla="*/ 2147483647 h 251"/>
              <a:gd name="T34" fmla="*/ 2147483647 w 115"/>
              <a:gd name="T35" fmla="*/ 2147483647 h 251"/>
              <a:gd name="T36" fmla="*/ 2147483647 w 115"/>
              <a:gd name="T37" fmla="*/ 2147483647 h 251"/>
              <a:gd name="T38" fmla="*/ 2147483647 w 115"/>
              <a:gd name="T39" fmla="*/ 2147483647 h 251"/>
              <a:gd name="T40" fmla="*/ 2147483647 w 115"/>
              <a:gd name="T41" fmla="*/ 2147483647 h 251"/>
              <a:gd name="T42" fmla="*/ 2147483647 w 115"/>
              <a:gd name="T43" fmla="*/ 2147483647 h 251"/>
              <a:gd name="T44" fmla="*/ 2147483647 w 115"/>
              <a:gd name="T45" fmla="*/ 2147483647 h 251"/>
              <a:gd name="T46" fmla="*/ 2147483647 w 115"/>
              <a:gd name="T47" fmla="*/ 2147483647 h 251"/>
              <a:gd name="T48" fmla="*/ 2147483647 w 115"/>
              <a:gd name="T49" fmla="*/ 2147483647 h 251"/>
              <a:gd name="T50" fmla="*/ 2147483647 w 115"/>
              <a:gd name="T51" fmla="*/ 0 h 251"/>
              <a:gd name="T52" fmla="*/ 2147483647 w 115"/>
              <a:gd name="T53" fmla="*/ 2147483647 h 251"/>
              <a:gd name="T54" fmla="*/ 2147483647 w 115"/>
              <a:gd name="T55" fmla="*/ 2147483647 h 251"/>
              <a:gd name="T56" fmla="*/ 2147483647 w 115"/>
              <a:gd name="T57" fmla="*/ 2147483647 h 251"/>
              <a:gd name="T58" fmla="*/ 2147483647 w 115"/>
              <a:gd name="T59" fmla="*/ 2147483647 h 251"/>
              <a:gd name="T60" fmla="*/ 2147483647 w 115"/>
              <a:gd name="T61" fmla="*/ 2147483647 h 251"/>
              <a:gd name="T62" fmla="*/ 2147483647 w 115"/>
              <a:gd name="T63" fmla="*/ 2147483647 h 251"/>
              <a:gd name="T64" fmla="*/ 2147483647 w 115"/>
              <a:gd name="T65" fmla="*/ 2147483647 h 251"/>
              <a:gd name="T66" fmla="*/ 2147483647 w 115"/>
              <a:gd name="T67" fmla="*/ 2147483647 h 251"/>
              <a:gd name="T68" fmla="*/ 2147483647 w 115"/>
              <a:gd name="T69" fmla="*/ 2147483647 h 251"/>
              <a:gd name="T70" fmla="*/ 2147483647 w 115"/>
              <a:gd name="T71" fmla="*/ 2147483647 h 251"/>
              <a:gd name="T72" fmla="*/ 2147483647 w 115"/>
              <a:gd name="T73" fmla="*/ 2147483647 h 2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5"/>
              <a:gd name="T112" fmla="*/ 0 h 251"/>
              <a:gd name="T113" fmla="*/ 115 w 115"/>
              <a:gd name="T114" fmla="*/ 251 h 2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5" h="251">
                <a:moveTo>
                  <a:pt x="0" y="241"/>
                </a:moveTo>
                <a:lnTo>
                  <a:pt x="0" y="239"/>
                </a:lnTo>
                <a:lnTo>
                  <a:pt x="0" y="238"/>
                </a:lnTo>
                <a:lnTo>
                  <a:pt x="2" y="236"/>
                </a:lnTo>
                <a:lnTo>
                  <a:pt x="4" y="232"/>
                </a:lnTo>
                <a:lnTo>
                  <a:pt x="7" y="230"/>
                </a:lnTo>
                <a:lnTo>
                  <a:pt x="9" y="228"/>
                </a:lnTo>
                <a:lnTo>
                  <a:pt x="11" y="226"/>
                </a:lnTo>
                <a:lnTo>
                  <a:pt x="13" y="222"/>
                </a:lnTo>
                <a:lnTo>
                  <a:pt x="13" y="218"/>
                </a:lnTo>
                <a:lnTo>
                  <a:pt x="13" y="213"/>
                </a:lnTo>
                <a:lnTo>
                  <a:pt x="11" y="211"/>
                </a:lnTo>
                <a:lnTo>
                  <a:pt x="9" y="209"/>
                </a:lnTo>
                <a:lnTo>
                  <a:pt x="9" y="201"/>
                </a:lnTo>
                <a:lnTo>
                  <a:pt x="9" y="193"/>
                </a:lnTo>
                <a:lnTo>
                  <a:pt x="23" y="191"/>
                </a:lnTo>
                <a:lnTo>
                  <a:pt x="38" y="190"/>
                </a:lnTo>
                <a:lnTo>
                  <a:pt x="40" y="186"/>
                </a:lnTo>
                <a:lnTo>
                  <a:pt x="44" y="184"/>
                </a:lnTo>
                <a:lnTo>
                  <a:pt x="46" y="182"/>
                </a:lnTo>
                <a:lnTo>
                  <a:pt x="48" y="180"/>
                </a:lnTo>
                <a:lnTo>
                  <a:pt x="50" y="176"/>
                </a:lnTo>
                <a:lnTo>
                  <a:pt x="52" y="174"/>
                </a:lnTo>
                <a:lnTo>
                  <a:pt x="55" y="172"/>
                </a:lnTo>
                <a:lnTo>
                  <a:pt x="55" y="165"/>
                </a:lnTo>
                <a:lnTo>
                  <a:pt x="55" y="159"/>
                </a:lnTo>
                <a:lnTo>
                  <a:pt x="52" y="155"/>
                </a:lnTo>
                <a:lnTo>
                  <a:pt x="50" y="153"/>
                </a:lnTo>
                <a:lnTo>
                  <a:pt x="48" y="151"/>
                </a:lnTo>
                <a:lnTo>
                  <a:pt x="48" y="140"/>
                </a:lnTo>
                <a:lnTo>
                  <a:pt x="48" y="130"/>
                </a:lnTo>
                <a:lnTo>
                  <a:pt x="50" y="128"/>
                </a:lnTo>
                <a:lnTo>
                  <a:pt x="52" y="126"/>
                </a:lnTo>
                <a:lnTo>
                  <a:pt x="55" y="122"/>
                </a:lnTo>
                <a:lnTo>
                  <a:pt x="55" y="117"/>
                </a:lnTo>
                <a:lnTo>
                  <a:pt x="55" y="109"/>
                </a:lnTo>
                <a:lnTo>
                  <a:pt x="52" y="107"/>
                </a:lnTo>
                <a:lnTo>
                  <a:pt x="50" y="105"/>
                </a:lnTo>
                <a:lnTo>
                  <a:pt x="48" y="101"/>
                </a:lnTo>
                <a:lnTo>
                  <a:pt x="40" y="74"/>
                </a:lnTo>
                <a:lnTo>
                  <a:pt x="32" y="48"/>
                </a:lnTo>
                <a:lnTo>
                  <a:pt x="30" y="46"/>
                </a:lnTo>
                <a:lnTo>
                  <a:pt x="29" y="44"/>
                </a:lnTo>
                <a:lnTo>
                  <a:pt x="27" y="32"/>
                </a:lnTo>
                <a:lnTo>
                  <a:pt x="23" y="19"/>
                </a:lnTo>
                <a:lnTo>
                  <a:pt x="21" y="17"/>
                </a:lnTo>
                <a:lnTo>
                  <a:pt x="19" y="15"/>
                </a:lnTo>
                <a:lnTo>
                  <a:pt x="23" y="9"/>
                </a:lnTo>
                <a:lnTo>
                  <a:pt x="29" y="5"/>
                </a:lnTo>
                <a:lnTo>
                  <a:pt x="30" y="3"/>
                </a:lnTo>
                <a:lnTo>
                  <a:pt x="32" y="0"/>
                </a:lnTo>
                <a:lnTo>
                  <a:pt x="38" y="0"/>
                </a:lnTo>
                <a:lnTo>
                  <a:pt x="44" y="0"/>
                </a:lnTo>
                <a:lnTo>
                  <a:pt x="46" y="3"/>
                </a:lnTo>
                <a:lnTo>
                  <a:pt x="48" y="5"/>
                </a:lnTo>
                <a:lnTo>
                  <a:pt x="61" y="7"/>
                </a:lnTo>
                <a:lnTo>
                  <a:pt x="77" y="9"/>
                </a:lnTo>
                <a:lnTo>
                  <a:pt x="75" y="34"/>
                </a:lnTo>
                <a:lnTo>
                  <a:pt x="75" y="59"/>
                </a:lnTo>
                <a:lnTo>
                  <a:pt x="73" y="82"/>
                </a:lnTo>
                <a:lnTo>
                  <a:pt x="73" y="107"/>
                </a:lnTo>
                <a:lnTo>
                  <a:pt x="78" y="111"/>
                </a:lnTo>
                <a:lnTo>
                  <a:pt x="86" y="117"/>
                </a:lnTo>
                <a:lnTo>
                  <a:pt x="90" y="124"/>
                </a:lnTo>
                <a:lnTo>
                  <a:pt x="96" y="128"/>
                </a:lnTo>
                <a:lnTo>
                  <a:pt x="103" y="132"/>
                </a:lnTo>
                <a:lnTo>
                  <a:pt x="115" y="136"/>
                </a:lnTo>
                <a:lnTo>
                  <a:pt x="101" y="163"/>
                </a:lnTo>
                <a:lnTo>
                  <a:pt x="90" y="191"/>
                </a:lnTo>
                <a:lnTo>
                  <a:pt x="82" y="222"/>
                </a:lnTo>
                <a:lnTo>
                  <a:pt x="77" y="251"/>
                </a:lnTo>
                <a:lnTo>
                  <a:pt x="57" y="249"/>
                </a:lnTo>
                <a:lnTo>
                  <a:pt x="38" y="247"/>
                </a:lnTo>
                <a:lnTo>
                  <a:pt x="19" y="245"/>
                </a:lnTo>
                <a:lnTo>
                  <a:pt x="0" y="241"/>
                </a:lnTo>
              </a:path>
            </a:pathLst>
          </a:custGeom>
          <a:solidFill>
            <a:schemeClr val="accent3"/>
          </a:solidFill>
          <a:ln w="12700">
            <a:solidFill>
              <a:schemeClr val="bg1"/>
            </a:solidFill>
            <a:round/>
            <a:headEnd/>
            <a:tailEnd/>
          </a:ln>
        </p:spPr>
        <p:txBody>
          <a:bodyPr/>
          <a:lstStyle/>
          <a:p>
            <a:endParaRPr lang="en-GB"/>
          </a:p>
        </p:txBody>
      </p:sp>
      <p:sp>
        <p:nvSpPr>
          <p:cNvPr id="42" name="Freeform 309"/>
          <p:cNvSpPr>
            <a:spLocks/>
          </p:cNvSpPr>
          <p:nvPr>
            <p:custDataLst>
              <p:tags r:id="rId26"/>
            </p:custDataLst>
          </p:nvPr>
        </p:nvSpPr>
        <p:spPr bwMode="auto">
          <a:xfrm>
            <a:off x="964908" y="5122110"/>
            <a:ext cx="288456" cy="367886"/>
          </a:xfrm>
          <a:custGeom>
            <a:avLst/>
            <a:gdLst>
              <a:gd name="T0" fmla="*/ 2147483647 w 213"/>
              <a:gd name="T1" fmla="*/ 2147483647 h 280"/>
              <a:gd name="T2" fmla="*/ 2147483647 w 213"/>
              <a:gd name="T3" fmla="*/ 2147483647 h 280"/>
              <a:gd name="T4" fmla="*/ 2147483647 w 213"/>
              <a:gd name="T5" fmla="*/ 2147483647 h 280"/>
              <a:gd name="T6" fmla="*/ 2147483647 w 213"/>
              <a:gd name="T7" fmla="*/ 2147483647 h 280"/>
              <a:gd name="T8" fmla="*/ 2147483647 w 213"/>
              <a:gd name="T9" fmla="*/ 2147483647 h 280"/>
              <a:gd name="T10" fmla="*/ 2147483647 w 213"/>
              <a:gd name="T11" fmla="*/ 2147483647 h 280"/>
              <a:gd name="T12" fmla="*/ 2147483647 w 213"/>
              <a:gd name="T13" fmla="*/ 2147483647 h 280"/>
              <a:gd name="T14" fmla="*/ 2147483647 w 213"/>
              <a:gd name="T15" fmla="*/ 2147483647 h 280"/>
              <a:gd name="T16" fmla="*/ 2147483647 w 213"/>
              <a:gd name="T17" fmla="*/ 2147483647 h 280"/>
              <a:gd name="T18" fmla="*/ 2147483647 w 213"/>
              <a:gd name="T19" fmla="*/ 2147483647 h 280"/>
              <a:gd name="T20" fmla="*/ 2147483647 w 213"/>
              <a:gd name="T21" fmla="*/ 2147483647 h 280"/>
              <a:gd name="T22" fmla="*/ 2147483647 w 213"/>
              <a:gd name="T23" fmla="*/ 2147483647 h 280"/>
              <a:gd name="T24" fmla="*/ 2147483647 w 213"/>
              <a:gd name="T25" fmla="*/ 2147483647 h 280"/>
              <a:gd name="T26" fmla="*/ 2147483647 w 213"/>
              <a:gd name="T27" fmla="*/ 2147483647 h 280"/>
              <a:gd name="T28" fmla="*/ 0 w 213"/>
              <a:gd name="T29" fmla="*/ 2147483647 h 280"/>
              <a:gd name="T30" fmla="*/ 2147483647 w 213"/>
              <a:gd name="T31" fmla="*/ 2147483647 h 280"/>
              <a:gd name="T32" fmla="*/ 2147483647 w 213"/>
              <a:gd name="T33" fmla="*/ 2147483647 h 280"/>
              <a:gd name="T34" fmla="*/ 2147483647 w 213"/>
              <a:gd name="T35" fmla="*/ 2147483647 h 280"/>
              <a:gd name="T36" fmla="*/ 2147483647 w 213"/>
              <a:gd name="T37" fmla="*/ 2147483647 h 280"/>
              <a:gd name="T38" fmla="*/ 2147483647 w 213"/>
              <a:gd name="T39" fmla="*/ 2147483647 h 280"/>
              <a:gd name="T40" fmla="*/ 2147483647 w 213"/>
              <a:gd name="T41" fmla="*/ 2147483647 h 280"/>
              <a:gd name="T42" fmla="*/ 2147483647 w 213"/>
              <a:gd name="T43" fmla="*/ 2147483647 h 280"/>
              <a:gd name="T44" fmla="*/ 2147483647 w 213"/>
              <a:gd name="T45" fmla="*/ 0 h 280"/>
              <a:gd name="T46" fmla="*/ 2147483647 w 213"/>
              <a:gd name="T47" fmla="*/ 2147483647 h 280"/>
              <a:gd name="T48" fmla="*/ 2147483647 w 213"/>
              <a:gd name="T49" fmla="*/ 2147483647 h 280"/>
              <a:gd name="T50" fmla="*/ 2147483647 w 213"/>
              <a:gd name="T51" fmla="*/ 2147483647 h 280"/>
              <a:gd name="T52" fmla="*/ 2147483647 w 213"/>
              <a:gd name="T53" fmla="*/ 2147483647 h 280"/>
              <a:gd name="T54" fmla="*/ 2147483647 w 213"/>
              <a:gd name="T55" fmla="*/ 2147483647 h 280"/>
              <a:gd name="T56" fmla="*/ 2147483647 w 213"/>
              <a:gd name="T57" fmla="*/ 2147483647 h 280"/>
              <a:gd name="T58" fmla="*/ 2147483647 w 213"/>
              <a:gd name="T59" fmla="*/ 2147483647 h 280"/>
              <a:gd name="T60" fmla="*/ 2147483647 w 213"/>
              <a:gd name="T61" fmla="*/ 2147483647 h 280"/>
              <a:gd name="T62" fmla="*/ 2147483647 w 213"/>
              <a:gd name="T63" fmla="*/ 2147483647 h 280"/>
              <a:gd name="T64" fmla="*/ 2147483647 w 213"/>
              <a:gd name="T65" fmla="*/ 2147483647 h 280"/>
              <a:gd name="T66" fmla="*/ 2147483647 w 213"/>
              <a:gd name="T67" fmla="*/ 2147483647 h 280"/>
              <a:gd name="T68" fmla="*/ 2147483647 w 213"/>
              <a:gd name="T69" fmla="*/ 2147483647 h 280"/>
              <a:gd name="T70" fmla="*/ 2147483647 w 213"/>
              <a:gd name="T71" fmla="*/ 2147483647 h 280"/>
              <a:gd name="T72" fmla="*/ 2147483647 w 213"/>
              <a:gd name="T73" fmla="*/ 2147483647 h 280"/>
              <a:gd name="T74" fmla="*/ 2147483647 w 213"/>
              <a:gd name="T75" fmla="*/ 2147483647 h 280"/>
              <a:gd name="T76" fmla="*/ 2147483647 w 213"/>
              <a:gd name="T77" fmla="*/ 2147483647 h 280"/>
              <a:gd name="T78" fmla="*/ 2147483647 w 213"/>
              <a:gd name="T79" fmla="*/ 2147483647 h 280"/>
              <a:gd name="T80" fmla="*/ 2147483647 w 213"/>
              <a:gd name="T81" fmla="*/ 2147483647 h 280"/>
              <a:gd name="T82" fmla="*/ 2147483647 w 213"/>
              <a:gd name="T83" fmla="*/ 2147483647 h 280"/>
              <a:gd name="T84" fmla="*/ 2147483647 w 213"/>
              <a:gd name="T85" fmla="*/ 2147483647 h 280"/>
              <a:gd name="T86" fmla="*/ 2147483647 w 213"/>
              <a:gd name="T87" fmla="*/ 2147483647 h 280"/>
              <a:gd name="T88" fmla="*/ 2147483647 w 213"/>
              <a:gd name="T89" fmla="*/ 2147483647 h 28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3"/>
              <a:gd name="T136" fmla="*/ 0 h 280"/>
              <a:gd name="T137" fmla="*/ 213 w 213"/>
              <a:gd name="T138" fmla="*/ 280 h 28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3" h="280">
                <a:moveTo>
                  <a:pt x="121" y="271"/>
                </a:moveTo>
                <a:lnTo>
                  <a:pt x="119" y="267"/>
                </a:lnTo>
                <a:lnTo>
                  <a:pt x="117" y="265"/>
                </a:lnTo>
                <a:lnTo>
                  <a:pt x="109" y="263"/>
                </a:lnTo>
                <a:lnTo>
                  <a:pt x="101" y="261"/>
                </a:lnTo>
                <a:lnTo>
                  <a:pt x="100" y="257"/>
                </a:lnTo>
                <a:lnTo>
                  <a:pt x="98" y="255"/>
                </a:lnTo>
                <a:lnTo>
                  <a:pt x="100" y="254"/>
                </a:lnTo>
                <a:lnTo>
                  <a:pt x="101" y="250"/>
                </a:lnTo>
                <a:lnTo>
                  <a:pt x="101" y="246"/>
                </a:lnTo>
                <a:lnTo>
                  <a:pt x="101" y="240"/>
                </a:lnTo>
                <a:lnTo>
                  <a:pt x="100" y="238"/>
                </a:lnTo>
                <a:lnTo>
                  <a:pt x="98" y="236"/>
                </a:lnTo>
                <a:lnTo>
                  <a:pt x="94" y="234"/>
                </a:lnTo>
                <a:lnTo>
                  <a:pt x="92" y="232"/>
                </a:lnTo>
                <a:lnTo>
                  <a:pt x="90" y="229"/>
                </a:lnTo>
                <a:lnTo>
                  <a:pt x="88" y="227"/>
                </a:lnTo>
                <a:lnTo>
                  <a:pt x="71" y="225"/>
                </a:lnTo>
                <a:lnTo>
                  <a:pt x="54" y="221"/>
                </a:lnTo>
                <a:lnTo>
                  <a:pt x="52" y="219"/>
                </a:lnTo>
                <a:lnTo>
                  <a:pt x="50" y="217"/>
                </a:lnTo>
                <a:lnTo>
                  <a:pt x="46" y="215"/>
                </a:lnTo>
                <a:lnTo>
                  <a:pt x="44" y="211"/>
                </a:lnTo>
                <a:lnTo>
                  <a:pt x="42" y="209"/>
                </a:lnTo>
                <a:lnTo>
                  <a:pt x="38" y="208"/>
                </a:lnTo>
                <a:lnTo>
                  <a:pt x="32" y="206"/>
                </a:lnTo>
                <a:lnTo>
                  <a:pt x="25" y="202"/>
                </a:lnTo>
                <a:lnTo>
                  <a:pt x="23" y="200"/>
                </a:lnTo>
                <a:lnTo>
                  <a:pt x="21" y="198"/>
                </a:lnTo>
                <a:lnTo>
                  <a:pt x="21" y="179"/>
                </a:lnTo>
                <a:lnTo>
                  <a:pt x="21" y="160"/>
                </a:lnTo>
                <a:lnTo>
                  <a:pt x="23" y="156"/>
                </a:lnTo>
                <a:lnTo>
                  <a:pt x="25" y="154"/>
                </a:lnTo>
                <a:lnTo>
                  <a:pt x="27" y="150"/>
                </a:lnTo>
                <a:lnTo>
                  <a:pt x="29" y="144"/>
                </a:lnTo>
                <a:lnTo>
                  <a:pt x="27" y="138"/>
                </a:lnTo>
                <a:lnTo>
                  <a:pt x="25" y="135"/>
                </a:lnTo>
                <a:lnTo>
                  <a:pt x="23" y="133"/>
                </a:lnTo>
                <a:lnTo>
                  <a:pt x="21" y="129"/>
                </a:lnTo>
                <a:lnTo>
                  <a:pt x="17" y="123"/>
                </a:lnTo>
                <a:lnTo>
                  <a:pt x="15" y="115"/>
                </a:lnTo>
                <a:lnTo>
                  <a:pt x="11" y="113"/>
                </a:lnTo>
                <a:lnTo>
                  <a:pt x="9" y="112"/>
                </a:lnTo>
                <a:lnTo>
                  <a:pt x="6" y="106"/>
                </a:lnTo>
                <a:lnTo>
                  <a:pt x="0" y="100"/>
                </a:lnTo>
                <a:lnTo>
                  <a:pt x="4" y="98"/>
                </a:lnTo>
                <a:lnTo>
                  <a:pt x="6" y="96"/>
                </a:lnTo>
                <a:lnTo>
                  <a:pt x="13" y="94"/>
                </a:lnTo>
                <a:lnTo>
                  <a:pt x="21" y="90"/>
                </a:lnTo>
                <a:lnTo>
                  <a:pt x="23" y="89"/>
                </a:lnTo>
                <a:lnTo>
                  <a:pt x="25" y="87"/>
                </a:lnTo>
                <a:lnTo>
                  <a:pt x="27" y="79"/>
                </a:lnTo>
                <a:lnTo>
                  <a:pt x="29" y="62"/>
                </a:lnTo>
                <a:lnTo>
                  <a:pt x="27" y="46"/>
                </a:lnTo>
                <a:lnTo>
                  <a:pt x="25" y="39"/>
                </a:lnTo>
                <a:lnTo>
                  <a:pt x="23" y="35"/>
                </a:lnTo>
                <a:lnTo>
                  <a:pt x="21" y="33"/>
                </a:lnTo>
                <a:lnTo>
                  <a:pt x="21" y="23"/>
                </a:lnTo>
                <a:lnTo>
                  <a:pt x="21" y="14"/>
                </a:lnTo>
                <a:lnTo>
                  <a:pt x="23" y="12"/>
                </a:lnTo>
                <a:lnTo>
                  <a:pt x="25" y="10"/>
                </a:lnTo>
                <a:lnTo>
                  <a:pt x="27" y="6"/>
                </a:lnTo>
                <a:lnTo>
                  <a:pt x="30" y="4"/>
                </a:lnTo>
                <a:lnTo>
                  <a:pt x="32" y="2"/>
                </a:lnTo>
                <a:lnTo>
                  <a:pt x="34" y="0"/>
                </a:lnTo>
                <a:lnTo>
                  <a:pt x="36" y="2"/>
                </a:lnTo>
                <a:lnTo>
                  <a:pt x="38" y="4"/>
                </a:lnTo>
                <a:lnTo>
                  <a:pt x="55" y="2"/>
                </a:lnTo>
                <a:lnTo>
                  <a:pt x="73" y="0"/>
                </a:lnTo>
                <a:lnTo>
                  <a:pt x="75" y="2"/>
                </a:lnTo>
                <a:lnTo>
                  <a:pt x="78" y="4"/>
                </a:lnTo>
                <a:lnTo>
                  <a:pt x="80" y="12"/>
                </a:lnTo>
                <a:lnTo>
                  <a:pt x="82" y="18"/>
                </a:lnTo>
                <a:lnTo>
                  <a:pt x="84" y="21"/>
                </a:lnTo>
                <a:lnTo>
                  <a:pt x="88" y="23"/>
                </a:lnTo>
                <a:lnTo>
                  <a:pt x="103" y="25"/>
                </a:lnTo>
                <a:lnTo>
                  <a:pt x="121" y="29"/>
                </a:lnTo>
                <a:lnTo>
                  <a:pt x="124" y="31"/>
                </a:lnTo>
                <a:lnTo>
                  <a:pt x="126" y="33"/>
                </a:lnTo>
                <a:lnTo>
                  <a:pt x="128" y="35"/>
                </a:lnTo>
                <a:lnTo>
                  <a:pt x="130" y="39"/>
                </a:lnTo>
                <a:lnTo>
                  <a:pt x="134" y="41"/>
                </a:lnTo>
                <a:lnTo>
                  <a:pt x="136" y="42"/>
                </a:lnTo>
                <a:lnTo>
                  <a:pt x="138" y="44"/>
                </a:lnTo>
                <a:lnTo>
                  <a:pt x="142" y="48"/>
                </a:lnTo>
                <a:lnTo>
                  <a:pt x="144" y="50"/>
                </a:lnTo>
                <a:lnTo>
                  <a:pt x="146" y="52"/>
                </a:lnTo>
                <a:lnTo>
                  <a:pt x="148" y="54"/>
                </a:lnTo>
                <a:lnTo>
                  <a:pt x="151" y="58"/>
                </a:lnTo>
                <a:lnTo>
                  <a:pt x="153" y="60"/>
                </a:lnTo>
                <a:lnTo>
                  <a:pt x="155" y="62"/>
                </a:lnTo>
                <a:lnTo>
                  <a:pt x="157" y="64"/>
                </a:lnTo>
                <a:lnTo>
                  <a:pt x="159" y="67"/>
                </a:lnTo>
                <a:lnTo>
                  <a:pt x="163" y="69"/>
                </a:lnTo>
                <a:lnTo>
                  <a:pt x="165" y="71"/>
                </a:lnTo>
                <a:lnTo>
                  <a:pt x="167" y="75"/>
                </a:lnTo>
                <a:lnTo>
                  <a:pt x="171" y="77"/>
                </a:lnTo>
                <a:lnTo>
                  <a:pt x="172" y="79"/>
                </a:lnTo>
                <a:lnTo>
                  <a:pt x="174" y="81"/>
                </a:lnTo>
                <a:lnTo>
                  <a:pt x="176" y="100"/>
                </a:lnTo>
                <a:lnTo>
                  <a:pt x="176" y="117"/>
                </a:lnTo>
                <a:lnTo>
                  <a:pt x="178" y="137"/>
                </a:lnTo>
                <a:lnTo>
                  <a:pt x="180" y="154"/>
                </a:lnTo>
                <a:lnTo>
                  <a:pt x="182" y="156"/>
                </a:lnTo>
                <a:lnTo>
                  <a:pt x="184" y="160"/>
                </a:lnTo>
                <a:lnTo>
                  <a:pt x="186" y="161"/>
                </a:lnTo>
                <a:lnTo>
                  <a:pt x="190" y="163"/>
                </a:lnTo>
                <a:lnTo>
                  <a:pt x="192" y="165"/>
                </a:lnTo>
                <a:lnTo>
                  <a:pt x="194" y="169"/>
                </a:lnTo>
                <a:lnTo>
                  <a:pt x="195" y="171"/>
                </a:lnTo>
                <a:lnTo>
                  <a:pt x="199" y="173"/>
                </a:lnTo>
                <a:lnTo>
                  <a:pt x="201" y="175"/>
                </a:lnTo>
                <a:lnTo>
                  <a:pt x="203" y="179"/>
                </a:lnTo>
                <a:lnTo>
                  <a:pt x="205" y="184"/>
                </a:lnTo>
                <a:lnTo>
                  <a:pt x="209" y="192"/>
                </a:lnTo>
                <a:lnTo>
                  <a:pt x="211" y="196"/>
                </a:lnTo>
                <a:lnTo>
                  <a:pt x="213" y="198"/>
                </a:lnTo>
                <a:lnTo>
                  <a:pt x="213" y="211"/>
                </a:lnTo>
                <a:lnTo>
                  <a:pt x="213" y="227"/>
                </a:lnTo>
                <a:lnTo>
                  <a:pt x="211" y="229"/>
                </a:lnTo>
                <a:lnTo>
                  <a:pt x="209" y="232"/>
                </a:lnTo>
                <a:lnTo>
                  <a:pt x="182" y="234"/>
                </a:lnTo>
                <a:lnTo>
                  <a:pt x="155" y="236"/>
                </a:lnTo>
                <a:lnTo>
                  <a:pt x="163" y="244"/>
                </a:lnTo>
                <a:lnTo>
                  <a:pt x="171" y="250"/>
                </a:lnTo>
                <a:lnTo>
                  <a:pt x="172" y="254"/>
                </a:lnTo>
                <a:lnTo>
                  <a:pt x="174" y="255"/>
                </a:lnTo>
                <a:lnTo>
                  <a:pt x="172" y="257"/>
                </a:lnTo>
                <a:lnTo>
                  <a:pt x="171" y="261"/>
                </a:lnTo>
                <a:lnTo>
                  <a:pt x="163" y="261"/>
                </a:lnTo>
                <a:lnTo>
                  <a:pt x="155" y="261"/>
                </a:lnTo>
                <a:lnTo>
                  <a:pt x="155" y="271"/>
                </a:lnTo>
                <a:lnTo>
                  <a:pt x="155" y="280"/>
                </a:lnTo>
                <a:lnTo>
                  <a:pt x="138" y="275"/>
                </a:lnTo>
                <a:lnTo>
                  <a:pt x="121" y="271"/>
                </a:lnTo>
              </a:path>
            </a:pathLst>
          </a:custGeom>
          <a:solidFill>
            <a:schemeClr val="accent3"/>
          </a:solidFill>
          <a:ln w="12700">
            <a:solidFill>
              <a:schemeClr val="bg1"/>
            </a:solidFill>
            <a:round/>
            <a:headEnd/>
            <a:tailEnd/>
          </a:ln>
        </p:spPr>
        <p:txBody>
          <a:bodyPr/>
          <a:lstStyle/>
          <a:p>
            <a:endParaRPr lang="en-GB"/>
          </a:p>
        </p:txBody>
      </p:sp>
      <p:sp>
        <p:nvSpPr>
          <p:cNvPr id="43" name="Freeform 310"/>
          <p:cNvSpPr>
            <a:spLocks/>
          </p:cNvSpPr>
          <p:nvPr>
            <p:custDataLst>
              <p:tags r:id="rId27"/>
            </p:custDataLst>
          </p:nvPr>
        </p:nvSpPr>
        <p:spPr bwMode="auto">
          <a:xfrm>
            <a:off x="1201804" y="5070550"/>
            <a:ext cx="275914" cy="381821"/>
          </a:xfrm>
          <a:custGeom>
            <a:avLst/>
            <a:gdLst>
              <a:gd name="T0" fmla="*/ 2147483647 w 204"/>
              <a:gd name="T1" fmla="*/ 2147483647 h 290"/>
              <a:gd name="T2" fmla="*/ 2147483647 w 204"/>
              <a:gd name="T3" fmla="*/ 2147483647 h 290"/>
              <a:gd name="T4" fmla="*/ 2147483647 w 204"/>
              <a:gd name="T5" fmla="*/ 2147483647 h 290"/>
              <a:gd name="T6" fmla="*/ 2147483647 w 204"/>
              <a:gd name="T7" fmla="*/ 2147483647 h 290"/>
              <a:gd name="T8" fmla="*/ 2147483647 w 204"/>
              <a:gd name="T9" fmla="*/ 2147483647 h 290"/>
              <a:gd name="T10" fmla="*/ 2147483647 w 204"/>
              <a:gd name="T11" fmla="*/ 2147483647 h 290"/>
              <a:gd name="T12" fmla="*/ 2147483647 w 204"/>
              <a:gd name="T13" fmla="*/ 2147483647 h 290"/>
              <a:gd name="T14" fmla="*/ 2147483647 w 204"/>
              <a:gd name="T15" fmla="*/ 2147483647 h 290"/>
              <a:gd name="T16" fmla="*/ 2147483647 w 204"/>
              <a:gd name="T17" fmla="*/ 2147483647 h 290"/>
              <a:gd name="T18" fmla="*/ 2147483647 w 204"/>
              <a:gd name="T19" fmla="*/ 2147483647 h 290"/>
              <a:gd name="T20" fmla="*/ 0 w 204"/>
              <a:gd name="T21" fmla="*/ 2147483647 h 290"/>
              <a:gd name="T22" fmla="*/ 2147483647 w 204"/>
              <a:gd name="T23" fmla="*/ 2147483647 h 290"/>
              <a:gd name="T24" fmla="*/ 2147483647 w 204"/>
              <a:gd name="T25" fmla="*/ 2147483647 h 290"/>
              <a:gd name="T26" fmla="*/ 2147483647 w 204"/>
              <a:gd name="T27" fmla="*/ 2147483647 h 290"/>
              <a:gd name="T28" fmla="*/ 2147483647 w 204"/>
              <a:gd name="T29" fmla="*/ 2147483647 h 290"/>
              <a:gd name="T30" fmla="*/ 2147483647 w 204"/>
              <a:gd name="T31" fmla="*/ 2147483647 h 290"/>
              <a:gd name="T32" fmla="*/ 2147483647 w 204"/>
              <a:gd name="T33" fmla="*/ 2147483647 h 290"/>
              <a:gd name="T34" fmla="*/ 2147483647 w 204"/>
              <a:gd name="T35" fmla="*/ 2147483647 h 290"/>
              <a:gd name="T36" fmla="*/ 2147483647 w 204"/>
              <a:gd name="T37" fmla="*/ 2147483647 h 290"/>
              <a:gd name="T38" fmla="*/ 2147483647 w 204"/>
              <a:gd name="T39" fmla="*/ 2147483647 h 290"/>
              <a:gd name="T40" fmla="*/ 2147483647 w 204"/>
              <a:gd name="T41" fmla="*/ 2147483647 h 290"/>
              <a:gd name="T42" fmla="*/ 2147483647 w 204"/>
              <a:gd name="T43" fmla="*/ 2147483647 h 290"/>
              <a:gd name="T44" fmla="*/ 2147483647 w 204"/>
              <a:gd name="T45" fmla="*/ 2147483647 h 290"/>
              <a:gd name="T46" fmla="*/ 2147483647 w 204"/>
              <a:gd name="T47" fmla="*/ 2147483647 h 290"/>
              <a:gd name="T48" fmla="*/ 2147483647 w 204"/>
              <a:gd name="T49" fmla="*/ 0 h 290"/>
              <a:gd name="T50" fmla="*/ 2147483647 w 204"/>
              <a:gd name="T51" fmla="*/ 2147483647 h 290"/>
              <a:gd name="T52" fmla="*/ 2147483647 w 204"/>
              <a:gd name="T53" fmla="*/ 2147483647 h 290"/>
              <a:gd name="T54" fmla="*/ 2147483647 w 204"/>
              <a:gd name="T55" fmla="*/ 2147483647 h 290"/>
              <a:gd name="T56" fmla="*/ 2147483647 w 204"/>
              <a:gd name="T57" fmla="*/ 2147483647 h 290"/>
              <a:gd name="T58" fmla="*/ 2147483647 w 204"/>
              <a:gd name="T59" fmla="*/ 2147483647 h 290"/>
              <a:gd name="T60" fmla="*/ 2147483647 w 204"/>
              <a:gd name="T61" fmla="*/ 2147483647 h 290"/>
              <a:gd name="T62" fmla="*/ 2147483647 w 204"/>
              <a:gd name="T63" fmla="*/ 2147483647 h 290"/>
              <a:gd name="T64" fmla="*/ 2147483647 w 204"/>
              <a:gd name="T65" fmla="*/ 2147483647 h 290"/>
              <a:gd name="T66" fmla="*/ 2147483647 w 204"/>
              <a:gd name="T67" fmla="*/ 2147483647 h 290"/>
              <a:gd name="T68" fmla="*/ 2147483647 w 204"/>
              <a:gd name="T69" fmla="*/ 2147483647 h 290"/>
              <a:gd name="T70" fmla="*/ 2147483647 w 204"/>
              <a:gd name="T71" fmla="*/ 2147483647 h 290"/>
              <a:gd name="T72" fmla="*/ 2147483647 w 204"/>
              <a:gd name="T73" fmla="*/ 2147483647 h 290"/>
              <a:gd name="T74" fmla="*/ 2147483647 w 204"/>
              <a:gd name="T75" fmla="*/ 2147483647 h 290"/>
              <a:gd name="T76" fmla="*/ 2147483647 w 204"/>
              <a:gd name="T77" fmla="*/ 2147483647 h 290"/>
              <a:gd name="T78" fmla="*/ 2147483647 w 204"/>
              <a:gd name="T79" fmla="*/ 2147483647 h 290"/>
              <a:gd name="T80" fmla="*/ 2147483647 w 204"/>
              <a:gd name="T81" fmla="*/ 2147483647 h 290"/>
              <a:gd name="T82" fmla="*/ 2147483647 w 204"/>
              <a:gd name="T83" fmla="*/ 2147483647 h 290"/>
              <a:gd name="T84" fmla="*/ 2147483647 w 204"/>
              <a:gd name="T85" fmla="*/ 2147483647 h 290"/>
              <a:gd name="T86" fmla="*/ 2147483647 w 204"/>
              <a:gd name="T87" fmla="*/ 2147483647 h 290"/>
              <a:gd name="T88" fmla="*/ 2147483647 w 204"/>
              <a:gd name="T89" fmla="*/ 2147483647 h 290"/>
              <a:gd name="T90" fmla="*/ 2147483647 w 204"/>
              <a:gd name="T91" fmla="*/ 2147483647 h 29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4"/>
              <a:gd name="T139" fmla="*/ 0 h 290"/>
              <a:gd name="T140" fmla="*/ 204 w 204"/>
              <a:gd name="T141" fmla="*/ 290 h 29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4" h="290">
                <a:moveTo>
                  <a:pt x="83" y="290"/>
                </a:moveTo>
                <a:lnTo>
                  <a:pt x="81" y="288"/>
                </a:lnTo>
                <a:lnTo>
                  <a:pt x="77" y="286"/>
                </a:lnTo>
                <a:lnTo>
                  <a:pt x="71" y="284"/>
                </a:lnTo>
                <a:lnTo>
                  <a:pt x="64" y="280"/>
                </a:lnTo>
                <a:lnTo>
                  <a:pt x="62" y="278"/>
                </a:lnTo>
                <a:lnTo>
                  <a:pt x="58" y="276"/>
                </a:lnTo>
                <a:lnTo>
                  <a:pt x="56" y="274"/>
                </a:lnTo>
                <a:lnTo>
                  <a:pt x="54" y="272"/>
                </a:lnTo>
                <a:lnTo>
                  <a:pt x="52" y="269"/>
                </a:lnTo>
                <a:lnTo>
                  <a:pt x="48" y="267"/>
                </a:lnTo>
                <a:lnTo>
                  <a:pt x="46" y="249"/>
                </a:lnTo>
                <a:lnTo>
                  <a:pt x="45" y="232"/>
                </a:lnTo>
                <a:lnTo>
                  <a:pt x="41" y="230"/>
                </a:lnTo>
                <a:lnTo>
                  <a:pt x="39" y="228"/>
                </a:lnTo>
                <a:lnTo>
                  <a:pt x="37" y="221"/>
                </a:lnTo>
                <a:lnTo>
                  <a:pt x="35" y="213"/>
                </a:lnTo>
                <a:lnTo>
                  <a:pt x="31" y="211"/>
                </a:lnTo>
                <a:lnTo>
                  <a:pt x="29" y="209"/>
                </a:lnTo>
                <a:lnTo>
                  <a:pt x="27" y="205"/>
                </a:lnTo>
                <a:lnTo>
                  <a:pt x="25" y="203"/>
                </a:lnTo>
                <a:lnTo>
                  <a:pt x="21" y="201"/>
                </a:lnTo>
                <a:lnTo>
                  <a:pt x="20" y="200"/>
                </a:lnTo>
                <a:lnTo>
                  <a:pt x="18" y="196"/>
                </a:lnTo>
                <a:lnTo>
                  <a:pt x="16" y="194"/>
                </a:lnTo>
                <a:lnTo>
                  <a:pt x="12" y="192"/>
                </a:lnTo>
                <a:lnTo>
                  <a:pt x="10" y="190"/>
                </a:lnTo>
                <a:lnTo>
                  <a:pt x="8" y="171"/>
                </a:lnTo>
                <a:lnTo>
                  <a:pt x="8" y="153"/>
                </a:lnTo>
                <a:lnTo>
                  <a:pt x="6" y="134"/>
                </a:lnTo>
                <a:lnTo>
                  <a:pt x="6" y="117"/>
                </a:lnTo>
                <a:lnTo>
                  <a:pt x="2" y="115"/>
                </a:lnTo>
                <a:lnTo>
                  <a:pt x="0" y="111"/>
                </a:lnTo>
                <a:lnTo>
                  <a:pt x="2" y="109"/>
                </a:lnTo>
                <a:lnTo>
                  <a:pt x="6" y="107"/>
                </a:lnTo>
                <a:lnTo>
                  <a:pt x="10" y="107"/>
                </a:lnTo>
                <a:lnTo>
                  <a:pt x="16" y="107"/>
                </a:lnTo>
                <a:lnTo>
                  <a:pt x="18" y="109"/>
                </a:lnTo>
                <a:lnTo>
                  <a:pt x="20" y="111"/>
                </a:lnTo>
                <a:lnTo>
                  <a:pt x="25" y="111"/>
                </a:lnTo>
                <a:lnTo>
                  <a:pt x="29" y="111"/>
                </a:lnTo>
                <a:lnTo>
                  <a:pt x="31" y="109"/>
                </a:lnTo>
                <a:lnTo>
                  <a:pt x="35" y="107"/>
                </a:lnTo>
                <a:lnTo>
                  <a:pt x="37" y="104"/>
                </a:lnTo>
                <a:lnTo>
                  <a:pt x="39" y="102"/>
                </a:lnTo>
                <a:lnTo>
                  <a:pt x="41" y="100"/>
                </a:lnTo>
                <a:lnTo>
                  <a:pt x="45" y="98"/>
                </a:lnTo>
                <a:lnTo>
                  <a:pt x="50" y="90"/>
                </a:lnTo>
                <a:lnTo>
                  <a:pt x="58" y="82"/>
                </a:lnTo>
                <a:lnTo>
                  <a:pt x="62" y="81"/>
                </a:lnTo>
                <a:lnTo>
                  <a:pt x="64" y="79"/>
                </a:lnTo>
                <a:lnTo>
                  <a:pt x="75" y="75"/>
                </a:lnTo>
                <a:lnTo>
                  <a:pt x="89" y="73"/>
                </a:lnTo>
                <a:lnTo>
                  <a:pt x="91" y="71"/>
                </a:lnTo>
                <a:lnTo>
                  <a:pt x="92" y="69"/>
                </a:lnTo>
                <a:lnTo>
                  <a:pt x="94" y="61"/>
                </a:lnTo>
                <a:lnTo>
                  <a:pt x="96" y="54"/>
                </a:lnTo>
                <a:lnTo>
                  <a:pt x="100" y="52"/>
                </a:lnTo>
                <a:lnTo>
                  <a:pt x="102" y="50"/>
                </a:lnTo>
                <a:lnTo>
                  <a:pt x="104" y="38"/>
                </a:lnTo>
                <a:lnTo>
                  <a:pt x="108" y="29"/>
                </a:lnTo>
                <a:lnTo>
                  <a:pt x="94" y="29"/>
                </a:lnTo>
                <a:lnTo>
                  <a:pt x="83" y="29"/>
                </a:lnTo>
                <a:lnTo>
                  <a:pt x="81" y="27"/>
                </a:lnTo>
                <a:lnTo>
                  <a:pt x="77" y="25"/>
                </a:lnTo>
                <a:lnTo>
                  <a:pt x="81" y="23"/>
                </a:lnTo>
                <a:lnTo>
                  <a:pt x="83" y="19"/>
                </a:lnTo>
                <a:lnTo>
                  <a:pt x="104" y="17"/>
                </a:lnTo>
                <a:lnTo>
                  <a:pt x="127" y="15"/>
                </a:lnTo>
                <a:lnTo>
                  <a:pt x="129" y="13"/>
                </a:lnTo>
                <a:lnTo>
                  <a:pt x="131" y="10"/>
                </a:lnTo>
                <a:lnTo>
                  <a:pt x="133" y="8"/>
                </a:lnTo>
                <a:lnTo>
                  <a:pt x="137" y="6"/>
                </a:lnTo>
                <a:lnTo>
                  <a:pt x="139" y="4"/>
                </a:lnTo>
                <a:lnTo>
                  <a:pt x="140" y="0"/>
                </a:lnTo>
                <a:lnTo>
                  <a:pt x="142" y="4"/>
                </a:lnTo>
                <a:lnTo>
                  <a:pt x="146" y="6"/>
                </a:lnTo>
                <a:lnTo>
                  <a:pt x="148" y="8"/>
                </a:lnTo>
                <a:lnTo>
                  <a:pt x="150" y="10"/>
                </a:lnTo>
                <a:lnTo>
                  <a:pt x="152" y="13"/>
                </a:lnTo>
                <a:lnTo>
                  <a:pt x="156" y="15"/>
                </a:lnTo>
                <a:lnTo>
                  <a:pt x="162" y="23"/>
                </a:lnTo>
                <a:lnTo>
                  <a:pt x="169" y="29"/>
                </a:lnTo>
                <a:lnTo>
                  <a:pt x="173" y="33"/>
                </a:lnTo>
                <a:lnTo>
                  <a:pt x="175" y="35"/>
                </a:lnTo>
                <a:lnTo>
                  <a:pt x="177" y="46"/>
                </a:lnTo>
                <a:lnTo>
                  <a:pt x="179" y="58"/>
                </a:lnTo>
                <a:lnTo>
                  <a:pt x="183" y="61"/>
                </a:lnTo>
                <a:lnTo>
                  <a:pt x="185" y="63"/>
                </a:lnTo>
                <a:lnTo>
                  <a:pt x="185" y="90"/>
                </a:lnTo>
                <a:lnTo>
                  <a:pt x="185" y="117"/>
                </a:lnTo>
                <a:lnTo>
                  <a:pt x="192" y="117"/>
                </a:lnTo>
                <a:lnTo>
                  <a:pt x="200" y="117"/>
                </a:lnTo>
                <a:lnTo>
                  <a:pt x="202" y="119"/>
                </a:lnTo>
                <a:lnTo>
                  <a:pt x="204" y="121"/>
                </a:lnTo>
                <a:lnTo>
                  <a:pt x="204" y="127"/>
                </a:lnTo>
                <a:lnTo>
                  <a:pt x="204" y="130"/>
                </a:lnTo>
                <a:lnTo>
                  <a:pt x="202" y="134"/>
                </a:lnTo>
                <a:lnTo>
                  <a:pt x="200" y="136"/>
                </a:lnTo>
                <a:lnTo>
                  <a:pt x="196" y="140"/>
                </a:lnTo>
                <a:lnTo>
                  <a:pt x="196" y="152"/>
                </a:lnTo>
                <a:lnTo>
                  <a:pt x="196" y="161"/>
                </a:lnTo>
                <a:lnTo>
                  <a:pt x="200" y="165"/>
                </a:lnTo>
                <a:lnTo>
                  <a:pt x="202" y="167"/>
                </a:lnTo>
                <a:lnTo>
                  <a:pt x="204" y="169"/>
                </a:lnTo>
                <a:lnTo>
                  <a:pt x="204" y="175"/>
                </a:lnTo>
                <a:lnTo>
                  <a:pt x="204" y="180"/>
                </a:lnTo>
                <a:lnTo>
                  <a:pt x="202" y="182"/>
                </a:lnTo>
                <a:lnTo>
                  <a:pt x="200" y="184"/>
                </a:lnTo>
                <a:lnTo>
                  <a:pt x="196" y="186"/>
                </a:lnTo>
                <a:lnTo>
                  <a:pt x="194" y="190"/>
                </a:lnTo>
                <a:lnTo>
                  <a:pt x="192" y="192"/>
                </a:lnTo>
                <a:lnTo>
                  <a:pt x="188" y="194"/>
                </a:lnTo>
                <a:lnTo>
                  <a:pt x="169" y="198"/>
                </a:lnTo>
                <a:lnTo>
                  <a:pt x="158" y="200"/>
                </a:lnTo>
                <a:lnTo>
                  <a:pt x="152" y="203"/>
                </a:lnTo>
                <a:lnTo>
                  <a:pt x="146" y="209"/>
                </a:lnTo>
                <a:lnTo>
                  <a:pt x="152" y="215"/>
                </a:lnTo>
                <a:lnTo>
                  <a:pt x="160" y="223"/>
                </a:lnTo>
                <a:lnTo>
                  <a:pt x="163" y="224"/>
                </a:lnTo>
                <a:lnTo>
                  <a:pt x="165" y="228"/>
                </a:lnTo>
                <a:lnTo>
                  <a:pt x="163" y="230"/>
                </a:lnTo>
                <a:lnTo>
                  <a:pt x="160" y="232"/>
                </a:lnTo>
                <a:lnTo>
                  <a:pt x="158" y="236"/>
                </a:lnTo>
                <a:lnTo>
                  <a:pt x="156" y="238"/>
                </a:lnTo>
                <a:lnTo>
                  <a:pt x="152" y="240"/>
                </a:lnTo>
                <a:lnTo>
                  <a:pt x="150" y="242"/>
                </a:lnTo>
                <a:lnTo>
                  <a:pt x="148" y="246"/>
                </a:lnTo>
                <a:lnTo>
                  <a:pt x="146" y="248"/>
                </a:lnTo>
                <a:lnTo>
                  <a:pt x="142" y="249"/>
                </a:lnTo>
                <a:lnTo>
                  <a:pt x="140" y="251"/>
                </a:lnTo>
                <a:lnTo>
                  <a:pt x="139" y="257"/>
                </a:lnTo>
                <a:lnTo>
                  <a:pt x="137" y="261"/>
                </a:lnTo>
                <a:lnTo>
                  <a:pt x="131" y="267"/>
                </a:lnTo>
                <a:lnTo>
                  <a:pt x="127" y="272"/>
                </a:lnTo>
                <a:lnTo>
                  <a:pt x="108" y="282"/>
                </a:lnTo>
                <a:lnTo>
                  <a:pt x="89" y="290"/>
                </a:lnTo>
                <a:lnTo>
                  <a:pt x="85" y="290"/>
                </a:lnTo>
                <a:lnTo>
                  <a:pt x="83" y="290"/>
                </a:lnTo>
              </a:path>
            </a:pathLst>
          </a:custGeom>
          <a:solidFill>
            <a:schemeClr val="accent3"/>
          </a:solidFill>
          <a:ln w="12700">
            <a:solidFill>
              <a:schemeClr val="bg1"/>
            </a:solidFill>
            <a:round/>
            <a:headEnd/>
            <a:tailEnd/>
          </a:ln>
        </p:spPr>
        <p:txBody>
          <a:bodyPr/>
          <a:lstStyle/>
          <a:p>
            <a:endParaRPr lang="en-GB"/>
          </a:p>
        </p:txBody>
      </p:sp>
      <p:sp>
        <p:nvSpPr>
          <p:cNvPr id="44" name="Freeform 311"/>
          <p:cNvSpPr>
            <a:spLocks/>
          </p:cNvSpPr>
          <p:nvPr>
            <p:custDataLst>
              <p:tags r:id="rId28"/>
            </p:custDataLst>
          </p:nvPr>
        </p:nvSpPr>
        <p:spPr bwMode="auto">
          <a:xfrm>
            <a:off x="845066" y="5275396"/>
            <a:ext cx="149105" cy="112875"/>
          </a:xfrm>
          <a:custGeom>
            <a:avLst/>
            <a:gdLst>
              <a:gd name="T0" fmla="*/ 2147483647 w 108"/>
              <a:gd name="T1" fmla="*/ 2147483647 h 87"/>
              <a:gd name="T2" fmla="*/ 2147483647 w 108"/>
              <a:gd name="T3" fmla="*/ 2147483647 h 87"/>
              <a:gd name="T4" fmla="*/ 2147483647 w 108"/>
              <a:gd name="T5" fmla="*/ 2147483647 h 87"/>
              <a:gd name="T6" fmla="*/ 2147483647 w 108"/>
              <a:gd name="T7" fmla="*/ 2147483647 h 87"/>
              <a:gd name="T8" fmla="*/ 2147483647 w 108"/>
              <a:gd name="T9" fmla="*/ 2147483647 h 87"/>
              <a:gd name="T10" fmla="*/ 2147483647 w 108"/>
              <a:gd name="T11" fmla="*/ 2147483647 h 87"/>
              <a:gd name="T12" fmla="*/ 0 w 108"/>
              <a:gd name="T13" fmla="*/ 2147483647 h 87"/>
              <a:gd name="T14" fmla="*/ 0 w 108"/>
              <a:gd name="T15" fmla="*/ 2147483647 h 87"/>
              <a:gd name="T16" fmla="*/ 0 w 108"/>
              <a:gd name="T17" fmla="*/ 2147483647 h 87"/>
              <a:gd name="T18" fmla="*/ 0 w 108"/>
              <a:gd name="T19" fmla="*/ 2147483647 h 87"/>
              <a:gd name="T20" fmla="*/ 0 w 108"/>
              <a:gd name="T21" fmla="*/ 2147483647 h 87"/>
              <a:gd name="T22" fmla="*/ 2147483647 w 108"/>
              <a:gd name="T23" fmla="*/ 2147483647 h 87"/>
              <a:gd name="T24" fmla="*/ 2147483647 w 108"/>
              <a:gd name="T25" fmla="*/ 0 h 87"/>
              <a:gd name="T26" fmla="*/ 2147483647 w 108"/>
              <a:gd name="T27" fmla="*/ 0 h 87"/>
              <a:gd name="T28" fmla="*/ 2147483647 w 108"/>
              <a:gd name="T29" fmla="*/ 0 h 87"/>
              <a:gd name="T30" fmla="*/ 2147483647 w 108"/>
              <a:gd name="T31" fmla="*/ 2147483647 h 87"/>
              <a:gd name="T32" fmla="*/ 2147483647 w 108"/>
              <a:gd name="T33" fmla="*/ 2147483647 h 87"/>
              <a:gd name="T34" fmla="*/ 2147483647 w 108"/>
              <a:gd name="T35" fmla="*/ 2147483647 h 87"/>
              <a:gd name="T36" fmla="*/ 2147483647 w 108"/>
              <a:gd name="T37" fmla="*/ 2147483647 h 87"/>
              <a:gd name="T38" fmla="*/ 2147483647 w 108"/>
              <a:gd name="T39" fmla="*/ 2147483647 h 87"/>
              <a:gd name="T40" fmla="*/ 2147483647 w 108"/>
              <a:gd name="T41" fmla="*/ 2147483647 h 87"/>
              <a:gd name="T42" fmla="*/ 2147483647 w 108"/>
              <a:gd name="T43" fmla="*/ 2147483647 h 87"/>
              <a:gd name="T44" fmla="*/ 2147483647 w 108"/>
              <a:gd name="T45" fmla="*/ 2147483647 h 87"/>
              <a:gd name="T46" fmla="*/ 2147483647 w 108"/>
              <a:gd name="T47" fmla="*/ 2147483647 h 87"/>
              <a:gd name="T48" fmla="*/ 2147483647 w 108"/>
              <a:gd name="T49" fmla="*/ 2147483647 h 87"/>
              <a:gd name="T50" fmla="*/ 2147483647 w 108"/>
              <a:gd name="T51" fmla="*/ 2147483647 h 87"/>
              <a:gd name="T52" fmla="*/ 2147483647 w 108"/>
              <a:gd name="T53" fmla="*/ 2147483647 h 87"/>
              <a:gd name="T54" fmla="*/ 2147483647 w 108"/>
              <a:gd name="T55" fmla="*/ 2147483647 h 87"/>
              <a:gd name="T56" fmla="*/ 2147483647 w 108"/>
              <a:gd name="T57" fmla="*/ 0 h 87"/>
              <a:gd name="T58" fmla="*/ 2147483647 w 108"/>
              <a:gd name="T59" fmla="*/ 2147483647 h 87"/>
              <a:gd name="T60" fmla="*/ 2147483647 w 108"/>
              <a:gd name="T61" fmla="*/ 2147483647 h 87"/>
              <a:gd name="T62" fmla="*/ 2147483647 w 108"/>
              <a:gd name="T63" fmla="*/ 2147483647 h 87"/>
              <a:gd name="T64" fmla="*/ 2147483647 w 108"/>
              <a:gd name="T65" fmla="*/ 2147483647 h 87"/>
              <a:gd name="T66" fmla="*/ 2147483647 w 108"/>
              <a:gd name="T67" fmla="*/ 2147483647 h 87"/>
              <a:gd name="T68" fmla="*/ 2147483647 w 108"/>
              <a:gd name="T69" fmla="*/ 2147483647 h 87"/>
              <a:gd name="T70" fmla="*/ 2147483647 w 108"/>
              <a:gd name="T71" fmla="*/ 2147483647 h 87"/>
              <a:gd name="T72" fmla="*/ 2147483647 w 108"/>
              <a:gd name="T73" fmla="*/ 2147483647 h 87"/>
              <a:gd name="T74" fmla="*/ 2147483647 w 108"/>
              <a:gd name="T75" fmla="*/ 2147483647 h 87"/>
              <a:gd name="T76" fmla="*/ 2147483647 w 108"/>
              <a:gd name="T77" fmla="*/ 2147483647 h 87"/>
              <a:gd name="T78" fmla="*/ 2147483647 w 108"/>
              <a:gd name="T79" fmla="*/ 2147483647 h 87"/>
              <a:gd name="T80" fmla="*/ 2147483647 w 108"/>
              <a:gd name="T81" fmla="*/ 2147483647 h 87"/>
              <a:gd name="T82" fmla="*/ 2147483647 w 108"/>
              <a:gd name="T83" fmla="*/ 2147483647 h 87"/>
              <a:gd name="T84" fmla="*/ 2147483647 w 108"/>
              <a:gd name="T85" fmla="*/ 2147483647 h 87"/>
              <a:gd name="T86" fmla="*/ 2147483647 w 108"/>
              <a:gd name="T87" fmla="*/ 2147483647 h 87"/>
              <a:gd name="T88" fmla="*/ 2147483647 w 108"/>
              <a:gd name="T89" fmla="*/ 2147483647 h 8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8"/>
              <a:gd name="T136" fmla="*/ 0 h 87"/>
              <a:gd name="T137" fmla="*/ 108 w 108"/>
              <a:gd name="T138" fmla="*/ 87 h 8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8" h="87">
                <a:moveTo>
                  <a:pt x="68" y="87"/>
                </a:moveTo>
                <a:lnTo>
                  <a:pt x="54" y="73"/>
                </a:lnTo>
                <a:lnTo>
                  <a:pt x="39" y="58"/>
                </a:lnTo>
                <a:lnTo>
                  <a:pt x="25" y="45"/>
                </a:lnTo>
                <a:lnTo>
                  <a:pt x="10" y="29"/>
                </a:lnTo>
                <a:lnTo>
                  <a:pt x="4" y="25"/>
                </a:lnTo>
                <a:lnTo>
                  <a:pt x="0" y="20"/>
                </a:lnTo>
                <a:lnTo>
                  <a:pt x="0" y="14"/>
                </a:lnTo>
                <a:lnTo>
                  <a:pt x="0" y="10"/>
                </a:lnTo>
                <a:lnTo>
                  <a:pt x="0" y="8"/>
                </a:lnTo>
                <a:lnTo>
                  <a:pt x="0" y="6"/>
                </a:lnTo>
                <a:lnTo>
                  <a:pt x="2" y="2"/>
                </a:lnTo>
                <a:lnTo>
                  <a:pt x="6" y="0"/>
                </a:lnTo>
                <a:lnTo>
                  <a:pt x="20" y="0"/>
                </a:lnTo>
                <a:lnTo>
                  <a:pt x="35" y="0"/>
                </a:lnTo>
                <a:lnTo>
                  <a:pt x="37" y="2"/>
                </a:lnTo>
                <a:lnTo>
                  <a:pt x="39" y="6"/>
                </a:lnTo>
                <a:lnTo>
                  <a:pt x="46" y="8"/>
                </a:lnTo>
                <a:lnTo>
                  <a:pt x="54" y="10"/>
                </a:lnTo>
                <a:lnTo>
                  <a:pt x="56" y="12"/>
                </a:lnTo>
                <a:lnTo>
                  <a:pt x="58" y="14"/>
                </a:lnTo>
                <a:lnTo>
                  <a:pt x="62" y="18"/>
                </a:lnTo>
                <a:lnTo>
                  <a:pt x="68" y="18"/>
                </a:lnTo>
                <a:lnTo>
                  <a:pt x="75" y="18"/>
                </a:lnTo>
                <a:lnTo>
                  <a:pt x="77" y="14"/>
                </a:lnTo>
                <a:lnTo>
                  <a:pt x="81" y="12"/>
                </a:lnTo>
                <a:lnTo>
                  <a:pt x="83" y="10"/>
                </a:lnTo>
                <a:lnTo>
                  <a:pt x="87" y="4"/>
                </a:lnTo>
                <a:lnTo>
                  <a:pt x="93" y="0"/>
                </a:lnTo>
                <a:lnTo>
                  <a:pt x="94" y="2"/>
                </a:lnTo>
                <a:lnTo>
                  <a:pt x="96" y="6"/>
                </a:lnTo>
                <a:lnTo>
                  <a:pt x="98" y="12"/>
                </a:lnTo>
                <a:lnTo>
                  <a:pt x="102" y="20"/>
                </a:lnTo>
                <a:lnTo>
                  <a:pt x="104" y="22"/>
                </a:lnTo>
                <a:lnTo>
                  <a:pt x="108" y="25"/>
                </a:lnTo>
                <a:lnTo>
                  <a:pt x="108" y="29"/>
                </a:lnTo>
                <a:lnTo>
                  <a:pt x="108" y="35"/>
                </a:lnTo>
                <a:lnTo>
                  <a:pt x="104" y="37"/>
                </a:lnTo>
                <a:lnTo>
                  <a:pt x="102" y="39"/>
                </a:lnTo>
                <a:lnTo>
                  <a:pt x="94" y="60"/>
                </a:lnTo>
                <a:lnTo>
                  <a:pt x="87" y="83"/>
                </a:lnTo>
                <a:lnTo>
                  <a:pt x="85" y="85"/>
                </a:lnTo>
                <a:lnTo>
                  <a:pt x="83" y="87"/>
                </a:lnTo>
                <a:lnTo>
                  <a:pt x="75" y="87"/>
                </a:lnTo>
                <a:lnTo>
                  <a:pt x="68" y="87"/>
                </a:lnTo>
              </a:path>
            </a:pathLst>
          </a:custGeom>
          <a:solidFill>
            <a:schemeClr val="accent3"/>
          </a:solidFill>
          <a:ln w="12700">
            <a:solidFill>
              <a:schemeClr val="bg1"/>
            </a:solidFill>
            <a:round/>
            <a:headEnd/>
            <a:tailEnd/>
          </a:ln>
        </p:spPr>
        <p:txBody>
          <a:bodyPr/>
          <a:lstStyle/>
          <a:p>
            <a:endParaRPr lang="en-GB"/>
          </a:p>
        </p:txBody>
      </p:sp>
      <p:sp>
        <p:nvSpPr>
          <p:cNvPr id="45" name="Freeform 38"/>
          <p:cNvSpPr>
            <a:spLocks/>
          </p:cNvSpPr>
          <p:nvPr>
            <p:custDataLst>
              <p:tags r:id="rId29"/>
            </p:custDataLst>
          </p:nvPr>
        </p:nvSpPr>
        <p:spPr bwMode="auto">
          <a:xfrm>
            <a:off x="950973" y="4752831"/>
            <a:ext cx="425019" cy="455676"/>
          </a:xfrm>
          <a:custGeom>
            <a:avLst/>
            <a:gdLst>
              <a:gd name="T0" fmla="*/ 2147483647 w 311"/>
              <a:gd name="T1" fmla="*/ 2147483647 h 349"/>
              <a:gd name="T2" fmla="*/ 2147483647 w 311"/>
              <a:gd name="T3" fmla="*/ 2147483647 h 349"/>
              <a:gd name="T4" fmla="*/ 2147483647 w 311"/>
              <a:gd name="T5" fmla="*/ 2147483647 h 349"/>
              <a:gd name="T6" fmla="*/ 2147483647 w 311"/>
              <a:gd name="T7" fmla="*/ 2147483647 h 349"/>
              <a:gd name="T8" fmla="*/ 2147483647 w 311"/>
              <a:gd name="T9" fmla="*/ 2147483647 h 349"/>
              <a:gd name="T10" fmla="*/ 2147483647 w 311"/>
              <a:gd name="T11" fmla="*/ 2147483647 h 349"/>
              <a:gd name="T12" fmla="*/ 2147483647 w 311"/>
              <a:gd name="T13" fmla="*/ 2147483647 h 349"/>
              <a:gd name="T14" fmla="*/ 2147483647 w 311"/>
              <a:gd name="T15" fmla="*/ 2147483647 h 349"/>
              <a:gd name="T16" fmla="*/ 2147483647 w 311"/>
              <a:gd name="T17" fmla="*/ 2147483647 h 349"/>
              <a:gd name="T18" fmla="*/ 2147483647 w 311"/>
              <a:gd name="T19" fmla="*/ 2147483647 h 349"/>
              <a:gd name="T20" fmla="*/ 2147483647 w 311"/>
              <a:gd name="T21" fmla="*/ 2147483647 h 349"/>
              <a:gd name="T22" fmla="*/ 2147483647 w 311"/>
              <a:gd name="T23" fmla="*/ 2147483647 h 349"/>
              <a:gd name="T24" fmla="*/ 2147483647 w 311"/>
              <a:gd name="T25" fmla="*/ 2147483647 h 349"/>
              <a:gd name="T26" fmla="*/ 2147483647 w 311"/>
              <a:gd name="T27" fmla="*/ 2147483647 h 349"/>
              <a:gd name="T28" fmla="*/ 2147483647 w 311"/>
              <a:gd name="T29" fmla="*/ 2147483647 h 349"/>
              <a:gd name="T30" fmla="*/ 2147483647 w 311"/>
              <a:gd name="T31" fmla="*/ 2147483647 h 349"/>
              <a:gd name="T32" fmla="*/ 2147483647 w 311"/>
              <a:gd name="T33" fmla="*/ 2147483647 h 349"/>
              <a:gd name="T34" fmla="*/ 2147483647 w 311"/>
              <a:gd name="T35" fmla="*/ 2147483647 h 349"/>
              <a:gd name="T36" fmla="*/ 2147483647 w 311"/>
              <a:gd name="T37" fmla="*/ 2147483647 h 349"/>
              <a:gd name="T38" fmla="*/ 2147483647 w 311"/>
              <a:gd name="T39" fmla="*/ 2147483647 h 349"/>
              <a:gd name="T40" fmla="*/ 2147483647 w 311"/>
              <a:gd name="T41" fmla="*/ 2147483647 h 349"/>
              <a:gd name="T42" fmla="*/ 2147483647 w 311"/>
              <a:gd name="T43" fmla="*/ 2147483647 h 349"/>
              <a:gd name="T44" fmla="*/ 2147483647 w 311"/>
              <a:gd name="T45" fmla="*/ 2147483647 h 349"/>
              <a:gd name="T46" fmla="*/ 2147483647 w 311"/>
              <a:gd name="T47" fmla="*/ 2147483647 h 349"/>
              <a:gd name="T48" fmla="*/ 2147483647 w 311"/>
              <a:gd name="T49" fmla="*/ 2147483647 h 349"/>
              <a:gd name="T50" fmla="*/ 2147483647 w 311"/>
              <a:gd name="T51" fmla="*/ 2147483647 h 349"/>
              <a:gd name="T52" fmla="*/ 2147483647 w 311"/>
              <a:gd name="T53" fmla="*/ 2147483647 h 349"/>
              <a:gd name="T54" fmla="*/ 2147483647 w 311"/>
              <a:gd name="T55" fmla="*/ 2147483647 h 349"/>
              <a:gd name="T56" fmla="*/ 2147483647 w 311"/>
              <a:gd name="T57" fmla="*/ 2147483647 h 349"/>
              <a:gd name="T58" fmla="*/ 2147483647 w 311"/>
              <a:gd name="T59" fmla="*/ 0 h 349"/>
              <a:gd name="T60" fmla="*/ 2147483647 w 311"/>
              <a:gd name="T61" fmla="*/ 2147483647 h 349"/>
              <a:gd name="T62" fmla="*/ 2147483647 w 311"/>
              <a:gd name="T63" fmla="*/ 2147483647 h 349"/>
              <a:gd name="T64" fmla="*/ 2147483647 w 311"/>
              <a:gd name="T65" fmla="*/ 2147483647 h 349"/>
              <a:gd name="T66" fmla="*/ 2147483647 w 311"/>
              <a:gd name="T67" fmla="*/ 2147483647 h 349"/>
              <a:gd name="T68" fmla="*/ 2147483647 w 311"/>
              <a:gd name="T69" fmla="*/ 2147483647 h 349"/>
              <a:gd name="T70" fmla="*/ 2147483647 w 311"/>
              <a:gd name="T71" fmla="*/ 2147483647 h 349"/>
              <a:gd name="T72" fmla="*/ 2147483647 w 311"/>
              <a:gd name="T73" fmla="*/ 2147483647 h 349"/>
              <a:gd name="T74" fmla="*/ 2147483647 w 311"/>
              <a:gd name="T75" fmla="*/ 2147483647 h 349"/>
              <a:gd name="T76" fmla="*/ 2147483647 w 311"/>
              <a:gd name="T77" fmla="*/ 2147483647 h 349"/>
              <a:gd name="T78" fmla="*/ 2147483647 w 311"/>
              <a:gd name="T79" fmla="*/ 2147483647 h 349"/>
              <a:gd name="T80" fmla="*/ 2147483647 w 311"/>
              <a:gd name="T81" fmla="*/ 2147483647 h 349"/>
              <a:gd name="T82" fmla="*/ 2147483647 w 311"/>
              <a:gd name="T83" fmla="*/ 2147483647 h 349"/>
              <a:gd name="T84" fmla="*/ 2147483647 w 311"/>
              <a:gd name="T85" fmla="*/ 2147483647 h 349"/>
              <a:gd name="T86" fmla="*/ 2147483647 w 311"/>
              <a:gd name="T87" fmla="*/ 2147483647 h 349"/>
              <a:gd name="T88" fmla="*/ 2147483647 w 311"/>
              <a:gd name="T89" fmla="*/ 2147483647 h 349"/>
              <a:gd name="T90" fmla="*/ 2147483647 w 311"/>
              <a:gd name="T91" fmla="*/ 2147483647 h 349"/>
              <a:gd name="T92" fmla="*/ 2147483647 w 311"/>
              <a:gd name="T93" fmla="*/ 2147483647 h 349"/>
              <a:gd name="T94" fmla="*/ 2147483647 w 311"/>
              <a:gd name="T95" fmla="*/ 2147483647 h 349"/>
              <a:gd name="T96" fmla="*/ 2147483647 w 311"/>
              <a:gd name="T97" fmla="*/ 2147483647 h 349"/>
              <a:gd name="T98" fmla="*/ 2147483647 w 311"/>
              <a:gd name="T99" fmla="*/ 2147483647 h 349"/>
              <a:gd name="T100" fmla="*/ 2147483647 w 311"/>
              <a:gd name="T101" fmla="*/ 2147483647 h 3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349"/>
              <a:gd name="T155" fmla="*/ 311 w 311"/>
              <a:gd name="T156" fmla="*/ 349 h 34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349">
                <a:moveTo>
                  <a:pt x="209" y="349"/>
                </a:moveTo>
                <a:lnTo>
                  <a:pt x="205" y="346"/>
                </a:lnTo>
                <a:lnTo>
                  <a:pt x="202" y="346"/>
                </a:lnTo>
                <a:lnTo>
                  <a:pt x="200" y="346"/>
                </a:lnTo>
                <a:lnTo>
                  <a:pt x="198" y="348"/>
                </a:lnTo>
                <a:lnTo>
                  <a:pt x="196" y="348"/>
                </a:lnTo>
                <a:lnTo>
                  <a:pt x="194" y="348"/>
                </a:lnTo>
                <a:lnTo>
                  <a:pt x="190" y="344"/>
                </a:lnTo>
                <a:lnTo>
                  <a:pt x="184" y="340"/>
                </a:lnTo>
                <a:lnTo>
                  <a:pt x="182" y="338"/>
                </a:lnTo>
                <a:lnTo>
                  <a:pt x="182" y="340"/>
                </a:lnTo>
                <a:lnTo>
                  <a:pt x="181" y="342"/>
                </a:lnTo>
                <a:lnTo>
                  <a:pt x="181" y="344"/>
                </a:lnTo>
                <a:lnTo>
                  <a:pt x="179" y="344"/>
                </a:lnTo>
                <a:lnTo>
                  <a:pt x="177" y="344"/>
                </a:lnTo>
                <a:lnTo>
                  <a:pt x="175" y="340"/>
                </a:lnTo>
                <a:lnTo>
                  <a:pt x="163" y="330"/>
                </a:lnTo>
                <a:lnTo>
                  <a:pt x="150" y="319"/>
                </a:lnTo>
                <a:lnTo>
                  <a:pt x="140" y="311"/>
                </a:lnTo>
                <a:lnTo>
                  <a:pt x="131" y="305"/>
                </a:lnTo>
                <a:lnTo>
                  <a:pt x="123" y="300"/>
                </a:lnTo>
                <a:lnTo>
                  <a:pt x="115" y="298"/>
                </a:lnTo>
                <a:lnTo>
                  <a:pt x="108" y="296"/>
                </a:lnTo>
                <a:lnTo>
                  <a:pt x="100" y="294"/>
                </a:lnTo>
                <a:lnTo>
                  <a:pt x="96" y="288"/>
                </a:lnTo>
                <a:lnTo>
                  <a:pt x="96" y="282"/>
                </a:lnTo>
                <a:lnTo>
                  <a:pt x="94" y="282"/>
                </a:lnTo>
                <a:lnTo>
                  <a:pt x="92" y="282"/>
                </a:lnTo>
                <a:lnTo>
                  <a:pt x="90" y="278"/>
                </a:lnTo>
                <a:lnTo>
                  <a:pt x="88" y="277"/>
                </a:lnTo>
                <a:lnTo>
                  <a:pt x="79" y="271"/>
                </a:lnTo>
                <a:lnTo>
                  <a:pt x="69" y="267"/>
                </a:lnTo>
                <a:lnTo>
                  <a:pt x="71" y="265"/>
                </a:lnTo>
                <a:lnTo>
                  <a:pt x="73" y="261"/>
                </a:lnTo>
                <a:lnTo>
                  <a:pt x="77" y="259"/>
                </a:lnTo>
                <a:lnTo>
                  <a:pt x="77" y="252"/>
                </a:lnTo>
                <a:lnTo>
                  <a:pt x="77" y="246"/>
                </a:lnTo>
                <a:lnTo>
                  <a:pt x="73" y="242"/>
                </a:lnTo>
                <a:lnTo>
                  <a:pt x="71" y="240"/>
                </a:lnTo>
                <a:lnTo>
                  <a:pt x="69" y="238"/>
                </a:lnTo>
                <a:lnTo>
                  <a:pt x="65" y="230"/>
                </a:lnTo>
                <a:lnTo>
                  <a:pt x="64" y="223"/>
                </a:lnTo>
                <a:lnTo>
                  <a:pt x="62" y="221"/>
                </a:lnTo>
                <a:lnTo>
                  <a:pt x="60" y="219"/>
                </a:lnTo>
                <a:lnTo>
                  <a:pt x="60" y="213"/>
                </a:lnTo>
                <a:lnTo>
                  <a:pt x="60" y="209"/>
                </a:lnTo>
                <a:lnTo>
                  <a:pt x="62" y="206"/>
                </a:lnTo>
                <a:lnTo>
                  <a:pt x="64" y="204"/>
                </a:lnTo>
                <a:lnTo>
                  <a:pt x="64" y="184"/>
                </a:lnTo>
                <a:lnTo>
                  <a:pt x="64" y="165"/>
                </a:lnTo>
                <a:lnTo>
                  <a:pt x="62" y="163"/>
                </a:lnTo>
                <a:lnTo>
                  <a:pt x="60" y="161"/>
                </a:lnTo>
                <a:lnTo>
                  <a:pt x="56" y="158"/>
                </a:lnTo>
                <a:lnTo>
                  <a:pt x="54" y="156"/>
                </a:lnTo>
                <a:lnTo>
                  <a:pt x="52" y="154"/>
                </a:lnTo>
                <a:lnTo>
                  <a:pt x="48" y="150"/>
                </a:lnTo>
                <a:lnTo>
                  <a:pt x="37" y="148"/>
                </a:lnTo>
                <a:lnTo>
                  <a:pt x="25" y="146"/>
                </a:lnTo>
                <a:lnTo>
                  <a:pt x="21" y="144"/>
                </a:lnTo>
                <a:lnTo>
                  <a:pt x="19" y="140"/>
                </a:lnTo>
                <a:lnTo>
                  <a:pt x="19" y="138"/>
                </a:lnTo>
                <a:lnTo>
                  <a:pt x="19" y="136"/>
                </a:lnTo>
                <a:lnTo>
                  <a:pt x="19" y="131"/>
                </a:lnTo>
                <a:lnTo>
                  <a:pt x="19" y="127"/>
                </a:lnTo>
                <a:lnTo>
                  <a:pt x="29" y="121"/>
                </a:lnTo>
                <a:lnTo>
                  <a:pt x="40" y="117"/>
                </a:lnTo>
                <a:lnTo>
                  <a:pt x="40" y="112"/>
                </a:lnTo>
                <a:lnTo>
                  <a:pt x="40" y="108"/>
                </a:lnTo>
                <a:lnTo>
                  <a:pt x="25" y="102"/>
                </a:lnTo>
                <a:lnTo>
                  <a:pt x="10" y="98"/>
                </a:lnTo>
                <a:lnTo>
                  <a:pt x="6" y="92"/>
                </a:lnTo>
                <a:lnTo>
                  <a:pt x="0" y="88"/>
                </a:lnTo>
                <a:lnTo>
                  <a:pt x="0" y="83"/>
                </a:lnTo>
                <a:lnTo>
                  <a:pt x="0" y="79"/>
                </a:lnTo>
                <a:lnTo>
                  <a:pt x="6" y="79"/>
                </a:lnTo>
                <a:lnTo>
                  <a:pt x="10" y="79"/>
                </a:lnTo>
                <a:lnTo>
                  <a:pt x="16" y="73"/>
                </a:lnTo>
                <a:lnTo>
                  <a:pt x="19" y="69"/>
                </a:lnTo>
                <a:lnTo>
                  <a:pt x="25" y="69"/>
                </a:lnTo>
                <a:lnTo>
                  <a:pt x="31" y="69"/>
                </a:lnTo>
                <a:lnTo>
                  <a:pt x="35" y="69"/>
                </a:lnTo>
                <a:lnTo>
                  <a:pt x="40" y="69"/>
                </a:lnTo>
                <a:lnTo>
                  <a:pt x="40" y="73"/>
                </a:lnTo>
                <a:lnTo>
                  <a:pt x="42" y="77"/>
                </a:lnTo>
                <a:lnTo>
                  <a:pt x="48" y="79"/>
                </a:lnTo>
                <a:lnTo>
                  <a:pt x="60" y="79"/>
                </a:lnTo>
                <a:lnTo>
                  <a:pt x="60" y="73"/>
                </a:lnTo>
                <a:lnTo>
                  <a:pt x="60" y="69"/>
                </a:lnTo>
                <a:lnTo>
                  <a:pt x="65" y="73"/>
                </a:lnTo>
                <a:lnTo>
                  <a:pt x="71" y="77"/>
                </a:lnTo>
                <a:lnTo>
                  <a:pt x="73" y="85"/>
                </a:lnTo>
                <a:lnTo>
                  <a:pt x="79" y="98"/>
                </a:lnTo>
                <a:lnTo>
                  <a:pt x="92" y="98"/>
                </a:lnTo>
                <a:lnTo>
                  <a:pt x="108" y="98"/>
                </a:lnTo>
                <a:lnTo>
                  <a:pt x="111" y="98"/>
                </a:lnTo>
                <a:lnTo>
                  <a:pt x="117" y="98"/>
                </a:lnTo>
                <a:lnTo>
                  <a:pt x="127" y="92"/>
                </a:lnTo>
                <a:lnTo>
                  <a:pt x="136" y="88"/>
                </a:lnTo>
                <a:lnTo>
                  <a:pt x="136" y="83"/>
                </a:lnTo>
                <a:lnTo>
                  <a:pt x="136" y="79"/>
                </a:lnTo>
                <a:lnTo>
                  <a:pt x="136" y="73"/>
                </a:lnTo>
                <a:lnTo>
                  <a:pt x="136" y="69"/>
                </a:lnTo>
                <a:lnTo>
                  <a:pt x="140" y="64"/>
                </a:lnTo>
                <a:lnTo>
                  <a:pt x="146" y="60"/>
                </a:lnTo>
                <a:lnTo>
                  <a:pt x="156" y="54"/>
                </a:lnTo>
                <a:lnTo>
                  <a:pt x="165" y="50"/>
                </a:lnTo>
                <a:lnTo>
                  <a:pt x="169" y="44"/>
                </a:lnTo>
                <a:lnTo>
                  <a:pt x="175" y="39"/>
                </a:lnTo>
                <a:lnTo>
                  <a:pt x="179" y="35"/>
                </a:lnTo>
                <a:lnTo>
                  <a:pt x="184" y="29"/>
                </a:lnTo>
                <a:lnTo>
                  <a:pt x="188" y="25"/>
                </a:lnTo>
                <a:lnTo>
                  <a:pt x="194" y="19"/>
                </a:lnTo>
                <a:lnTo>
                  <a:pt x="200" y="16"/>
                </a:lnTo>
                <a:lnTo>
                  <a:pt x="204" y="10"/>
                </a:lnTo>
                <a:lnTo>
                  <a:pt x="204" y="6"/>
                </a:lnTo>
                <a:lnTo>
                  <a:pt x="204" y="0"/>
                </a:lnTo>
                <a:lnTo>
                  <a:pt x="209" y="0"/>
                </a:lnTo>
                <a:lnTo>
                  <a:pt x="213" y="0"/>
                </a:lnTo>
                <a:lnTo>
                  <a:pt x="215" y="0"/>
                </a:lnTo>
                <a:lnTo>
                  <a:pt x="219" y="0"/>
                </a:lnTo>
                <a:lnTo>
                  <a:pt x="221" y="2"/>
                </a:lnTo>
                <a:lnTo>
                  <a:pt x="223" y="6"/>
                </a:lnTo>
                <a:lnTo>
                  <a:pt x="230" y="8"/>
                </a:lnTo>
                <a:lnTo>
                  <a:pt x="238" y="10"/>
                </a:lnTo>
                <a:lnTo>
                  <a:pt x="240" y="14"/>
                </a:lnTo>
                <a:lnTo>
                  <a:pt x="242" y="16"/>
                </a:lnTo>
                <a:lnTo>
                  <a:pt x="269" y="17"/>
                </a:lnTo>
                <a:lnTo>
                  <a:pt x="296" y="19"/>
                </a:lnTo>
                <a:lnTo>
                  <a:pt x="298" y="23"/>
                </a:lnTo>
                <a:lnTo>
                  <a:pt x="301" y="25"/>
                </a:lnTo>
                <a:lnTo>
                  <a:pt x="303" y="33"/>
                </a:lnTo>
                <a:lnTo>
                  <a:pt x="305" y="39"/>
                </a:lnTo>
                <a:lnTo>
                  <a:pt x="307" y="42"/>
                </a:lnTo>
                <a:lnTo>
                  <a:pt x="311" y="44"/>
                </a:lnTo>
                <a:lnTo>
                  <a:pt x="311" y="48"/>
                </a:lnTo>
                <a:lnTo>
                  <a:pt x="311" y="54"/>
                </a:lnTo>
                <a:lnTo>
                  <a:pt x="307" y="56"/>
                </a:lnTo>
                <a:lnTo>
                  <a:pt x="305" y="60"/>
                </a:lnTo>
                <a:lnTo>
                  <a:pt x="303" y="62"/>
                </a:lnTo>
                <a:lnTo>
                  <a:pt x="301" y="64"/>
                </a:lnTo>
                <a:lnTo>
                  <a:pt x="298" y="65"/>
                </a:lnTo>
                <a:lnTo>
                  <a:pt x="296" y="69"/>
                </a:lnTo>
                <a:lnTo>
                  <a:pt x="294" y="75"/>
                </a:lnTo>
                <a:lnTo>
                  <a:pt x="292" y="83"/>
                </a:lnTo>
                <a:lnTo>
                  <a:pt x="288" y="85"/>
                </a:lnTo>
                <a:lnTo>
                  <a:pt x="286" y="88"/>
                </a:lnTo>
                <a:lnTo>
                  <a:pt x="284" y="113"/>
                </a:lnTo>
                <a:lnTo>
                  <a:pt x="280" y="140"/>
                </a:lnTo>
                <a:lnTo>
                  <a:pt x="278" y="144"/>
                </a:lnTo>
                <a:lnTo>
                  <a:pt x="276" y="146"/>
                </a:lnTo>
                <a:lnTo>
                  <a:pt x="250" y="148"/>
                </a:lnTo>
                <a:lnTo>
                  <a:pt x="223" y="150"/>
                </a:lnTo>
                <a:lnTo>
                  <a:pt x="221" y="154"/>
                </a:lnTo>
                <a:lnTo>
                  <a:pt x="219" y="156"/>
                </a:lnTo>
                <a:lnTo>
                  <a:pt x="219" y="165"/>
                </a:lnTo>
                <a:lnTo>
                  <a:pt x="219" y="175"/>
                </a:lnTo>
                <a:lnTo>
                  <a:pt x="221" y="177"/>
                </a:lnTo>
                <a:lnTo>
                  <a:pt x="223" y="179"/>
                </a:lnTo>
                <a:lnTo>
                  <a:pt x="225" y="183"/>
                </a:lnTo>
                <a:lnTo>
                  <a:pt x="229" y="184"/>
                </a:lnTo>
                <a:lnTo>
                  <a:pt x="230" y="186"/>
                </a:lnTo>
                <a:lnTo>
                  <a:pt x="232" y="190"/>
                </a:lnTo>
                <a:lnTo>
                  <a:pt x="232" y="194"/>
                </a:lnTo>
                <a:lnTo>
                  <a:pt x="232" y="200"/>
                </a:lnTo>
                <a:lnTo>
                  <a:pt x="230" y="202"/>
                </a:lnTo>
                <a:lnTo>
                  <a:pt x="229" y="204"/>
                </a:lnTo>
                <a:lnTo>
                  <a:pt x="229" y="219"/>
                </a:lnTo>
                <a:lnTo>
                  <a:pt x="229" y="232"/>
                </a:lnTo>
                <a:lnTo>
                  <a:pt x="230" y="234"/>
                </a:lnTo>
                <a:lnTo>
                  <a:pt x="232" y="238"/>
                </a:lnTo>
                <a:lnTo>
                  <a:pt x="236" y="244"/>
                </a:lnTo>
                <a:lnTo>
                  <a:pt x="238" y="252"/>
                </a:lnTo>
                <a:lnTo>
                  <a:pt x="240" y="255"/>
                </a:lnTo>
                <a:lnTo>
                  <a:pt x="242" y="257"/>
                </a:lnTo>
                <a:lnTo>
                  <a:pt x="246" y="259"/>
                </a:lnTo>
                <a:lnTo>
                  <a:pt x="248" y="261"/>
                </a:lnTo>
                <a:lnTo>
                  <a:pt x="250" y="265"/>
                </a:lnTo>
                <a:lnTo>
                  <a:pt x="252" y="267"/>
                </a:lnTo>
                <a:lnTo>
                  <a:pt x="253" y="269"/>
                </a:lnTo>
                <a:lnTo>
                  <a:pt x="257" y="271"/>
                </a:lnTo>
                <a:lnTo>
                  <a:pt x="259" y="275"/>
                </a:lnTo>
                <a:lnTo>
                  <a:pt x="261" y="277"/>
                </a:lnTo>
                <a:lnTo>
                  <a:pt x="271" y="280"/>
                </a:lnTo>
                <a:lnTo>
                  <a:pt x="280" y="286"/>
                </a:lnTo>
                <a:lnTo>
                  <a:pt x="278" y="288"/>
                </a:lnTo>
                <a:lnTo>
                  <a:pt x="276" y="292"/>
                </a:lnTo>
                <a:lnTo>
                  <a:pt x="275" y="298"/>
                </a:lnTo>
                <a:lnTo>
                  <a:pt x="273" y="305"/>
                </a:lnTo>
                <a:lnTo>
                  <a:pt x="269" y="307"/>
                </a:lnTo>
                <a:lnTo>
                  <a:pt x="267" y="311"/>
                </a:lnTo>
                <a:lnTo>
                  <a:pt x="255" y="313"/>
                </a:lnTo>
                <a:lnTo>
                  <a:pt x="242" y="315"/>
                </a:lnTo>
                <a:lnTo>
                  <a:pt x="240" y="317"/>
                </a:lnTo>
                <a:lnTo>
                  <a:pt x="238" y="321"/>
                </a:lnTo>
                <a:lnTo>
                  <a:pt x="230" y="321"/>
                </a:lnTo>
                <a:lnTo>
                  <a:pt x="223" y="321"/>
                </a:lnTo>
                <a:lnTo>
                  <a:pt x="223" y="326"/>
                </a:lnTo>
                <a:lnTo>
                  <a:pt x="223" y="334"/>
                </a:lnTo>
                <a:lnTo>
                  <a:pt x="221" y="336"/>
                </a:lnTo>
                <a:lnTo>
                  <a:pt x="219" y="340"/>
                </a:lnTo>
                <a:lnTo>
                  <a:pt x="215" y="342"/>
                </a:lnTo>
                <a:lnTo>
                  <a:pt x="213" y="344"/>
                </a:lnTo>
                <a:lnTo>
                  <a:pt x="211" y="346"/>
                </a:lnTo>
                <a:lnTo>
                  <a:pt x="209" y="349"/>
                </a:lnTo>
              </a:path>
            </a:pathLst>
          </a:custGeom>
          <a:solidFill>
            <a:schemeClr val="accent3"/>
          </a:solidFill>
          <a:ln w="12700">
            <a:solidFill>
              <a:schemeClr val="bg1"/>
            </a:solidFill>
            <a:round/>
            <a:headEnd/>
            <a:tailEnd/>
          </a:ln>
        </p:spPr>
        <p:txBody>
          <a:bodyPr/>
          <a:lstStyle/>
          <a:p>
            <a:endParaRPr lang="en-GB"/>
          </a:p>
        </p:txBody>
      </p:sp>
      <p:sp>
        <p:nvSpPr>
          <p:cNvPr id="46" name="Freeform 313"/>
          <p:cNvSpPr>
            <a:spLocks/>
          </p:cNvSpPr>
          <p:nvPr>
            <p:custDataLst>
              <p:tags r:id="rId30"/>
            </p:custDataLst>
          </p:nvPr>
        </p:nvSpPr>
        <p:spPr bwMode="auto">
          <a:xfrm>
            <a:off x="1245002" y="4706845"/>
            <a:ext cx="448709" cy="395756"/>
          </a:xfrm>
          <a:custGeom>
            <a:avLst/>
            <a:gdLst>
              <a:gd name="T0" fmla="*/ 2147483647 w 330"/>
              <a:gd name="T1" fmla="*/ 2147483647 h 299"/>
              <a:gd name="T2" fmla="*/ 2147483647 w 330"/>
              <a:gd name="T3" fmla="*/ 2147483647 h 299"/>
              <a:gd name="T4" fmla="*/ 2147483647 w 330"/>
              <a:gd name="T5" fmla="*/ 2147483647 h 299"/>
              <a:gd name="T6" fmla="*/ 2147483647 w 330"/>
              <a:gd name="T7" fmla="*/ 2147483647 h 299"/>
              <a:gd name="T8" fmla="*/ 2147483647 w 330"/>
              <a:gd name="T9" fmla="*/ 2147483647 h 299"/>
              <a:gd name="T10" fmla="*/ 2147483647 w 330"/>
              <a:gd name="T11" fmla="*/ 2147483647 h 299"/>
              <a:gd name="T12" fmla="*/ 2147483647 w 330"/>
              <a:gd name="T13" fmla="*/ 2147483647 h 299"/>
              <a:gd name="T14" fmla="*/ 0 w 330"/>
              <a:gd name="T15" fmla="*/ 2147483647 h 299"/>
              <a:gd name="T16" fmla="*/ 2147483647 w 330"/>
              <a:gd name="T17" fmla="*/ 2147483647 h 299"/>
              <a:gd name="T18" fmla="*/ 2147483647 w 330"/>
              <a:gd name="T19" fmla="*/ 2147483647 h 299"/>
              <a:gd name="T20" fmla="*/ 2147483647 w 330"/>
              <a:gd name="T21" fmla="*/ 2147483647 h 299"/>
              <a:gd name="T22" fmla="*/ 2147483647 w 330"/>
              <a:gd name="T23" fmla="*/ 2147483647 h 299"/>
              <a:gd name="T24" fmla="*/ 2147483647 w 330"/>
              <a:gd name="T25" fmla="*/ 2147483647 h 299"/>
              <a:gd name="T26" fmla="*/ 2147483647 w 330"/>
              <a:gd name="T27" fmla="*/ 2147483647 h 299"/>
              <a:gd name="T28" fmla="*/ 2147483647 w 330"/>
              <a:gd name="T29" fmla="*/ 2147483647 h 299"/>
              <a:gd name="T30" fmla="*/ 2147483647 w 330"/>
              <a:gd name="T31" fmla="*/ 2147483647 h 299"/>
              <a:gd name="T32" fmla="*/ 2147483647 w 330"/>
              <a:gd name="T33" fmla="*/ 2147483647 h 299"/>
              <a:gd name="T34" fmla="*/ 2147483647 w 330"/>
              <a:gd name="T35" fmla="*/ 2147483647 h 299"/>
              <a:gd name="T36" fmla="*/ 2147483647 w 330"/>
              <a:gd name="T37" fmla="*/ 2147483647 h 299"/>
              <a:gd name="T38" fmla="*/ 2147483647 w 330"/>
              <a:gd name="T39" fmla="*/ 2147483647 h 299"/>
              <a:gd name="T40" fmla="*/ 2147483647 w 330"/>
              <a:gd name="T41" fmla="*/ 2147483647 h 299"/>
              <a:gd name="T42" fmla="*/ 2147483647 w 330"/>
              <a:gd name="T43" fmla="*/ 2147483647 h 299"/>
              <a:gd name="T44" fmla="*/ 2147483647 w 330"/>
              <a:gd name="T45" fmla="*/ 0 h 299"/>
              <a:gd name="T46" fmla="*/ 2147483647 w 330"/>
              <a:gd name="T47" fmla="*/ 2147483647 h 299"/>
              <a:gd name="T48" fmla="*/ 2147483647 w 330"/>
              <a:gd name="T49" fmla="*/ 2147483647 h 299"/>
              <a:gd name="T50" fmla="*/ 2147483647 w 330"/>
              <a:gd name="T51" fmla="*/ 2147483647 h 299"/>
              <a:gd name="T52" fmla="*/ 2147483647 w 330"/>
              <a:gd name="T53" fmla="*/ 2147483647 h 299"/>
              <a:gd name="T54" fmla="*/ 2147483647 w 330"/>
              <a:gd name="T55" fmla="*/ 2147483647 h 299"/>
              <a:gd name="T56" fmla="*/ 2147483647 w 330"/>
              <a:gd name="T57" fmla="*/ 2147483647 h 299"/>
              <a:gd name="T58" fmla="*/ 2147483647 w 330"/>
              <a:gd name="T59" fmla="*/ 2147483647 h 299"/>
              <a:gd name="T60" fmla="*/ 2147483647 w 330"/>
              <a:gd name="T61" fmla="*/ 2147483647 h 299"/>
              <a:gd name="T62" fmla="*/ 2147483647 w 330"/>
              <a:gd name="T63" fmla="*/ 2147483647 h 299"/>
              <a:gd name="T64" fmla="*/ 2147483647 w 330"/>
              <a:gd name="T65" fmla="*/ 2147483647 h 299"/>
              <a:gd name="T66" fmla="*/ 2147483647 w 330"/>
              <a:gd name="T67" fmla="*/ 2147483647 h 299"/>
              <a:gd name="T68" fmla="*/ 2147483647 w 330"/>
              <a:gd name="T69" fmla="*/ 2147483647 h 299"/>
              <a:gd name="T70" fmla="*/ 2147483647 w 330"/>
              <a:gd name="T71" fmla="*/ 2147483647 h 299"/>
              <a:gd name="T72" fmla="*/ 2147483647 w 330"/>
              <a:gd name="T73" fmla="*/ 2147483647 h 299"/>
              <a:gd name="T74" fmla="*/ 2147483647 w 330"/>
              <a:gd name="T75" fmla="*/ 2147483647 h 299"/>
              <a:gd name="T76" fmla="*/ 2147483647 w 330"/>
              <a:gd name="T77" fmla="*/ 2147483647 h 299"/>
              <a:gd name="T78" fmla="*/ 2147483647 w 330"/>
              <a:gd name="T79" fmla="*/ 2147483647 h 299"/>
              <a:gd name="T80" fmla="*/ 2147483647 w 330"/>
              <a:gd name="T81" fmla="*/ 2147483647 h 299"/>
              <a:gd name="T82" fmla="*/ 2147483647 w 330"/>
              <a:gd name="T83" fmla="*/ 2147483647 h 299"/>
              <a:gd name="T84" fmla="*/ 2147483647 w 330"/>
              <a:gd name="T85" fmla="*/ 2147483647 h 299"/>
              <a:gd name="T86" fmla="*/ 2147483647 w 330"/>
              <a:gd name="T87" fmla="*/ 2147483647 h 299"/>
              <a:gd name="T88" fmla="*/ 2147483647 w 330"/>
              <a:gd name="T89" fmla="*/ 2147483647 h 299"/>
              <a:gd name="T90" fmla="*/ 2147483647 w 330"/>
              <a:gd name="T91" fmla="*/ 2147483647 h 299"/>
              <a:gd name="T92" fmla="*/ 2147483647 w 330"/>
              <a:gd name="T93" fmla="*/ 2147483647 h 299"/>
              <a:gd name="T94" fmla="*/ 2147483647 w 330"/>
              <a:gd name="T95" fmla="*/ 2147483647 h 299"/>
              <a:gd name="T96" fmla="*/ 2147483647 w 330"/>
              <a:gd name="T97" fmla="*/ 2147483647 h 299"/>
              <a:gd name="T98" fmla="*/ 2147483647 w 330"/>
              <a:gd name="T99" fmla="*/ 2147483647 h 299"/>
              <a:gd name="T100" fmla="*/ 2147483647 w 330"/>
              <a:gd name="T101" fmla="*/ 2147483647 h 299"/>
              <a:gd name="T102" fmla="*/ 2147483647 w 330"/>
              <a:gd name="T103" fmla="*/ 2147483647 h 299"/>
              <a:gd name="T104" fmla="*/ 2147483647 w 330"/>
              <a:gd name="T105" fmla="*/ 2147483647 h 299"/>
              <a:gd name="T106" fmla="*/ 2147483647 w 330"/>
              <a:gd name="T107" fmla="*/ 2147483647 h 299"/>
              <a:gd name="T108" fmla="*/ 2147483647 w 330"/>
              <a:gd name="T109" fmla="*/ 2147483647 h 299"/>
              <a:gd name="T110" fmla="*/ 2147483647 w 330"/>
              <a:gd name="T111" fmla="*/ 2147483647 h 299"/>
              <a:gd name="T112" fmla="*/ 2147483647 w 330"/>
              <a:gd name="T113" fmla="*/ 2147483647 h 299"/>
              <a:gd name="T114" fmla="*/ 2147483647 w 330"/>
              <a:gd name="T115" fmla="*/ 2147483647 h 299"/>
              <a:gd name="T116" fmla="*/ 2147483647 w 330"/>
              <a:gd name="T117" fmla="*/ 2147483647 h 29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30"/>
              <a:gd name="T178" fmla="*/ 0 h 299"/>
              <a:gd name="T179" fmla="*/ 330 w 330"/>
              <a:gd name="T180" fmla="*/ 299 h 29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30" h="299">
                <a:moveTo>
                  <a:pt x="34" y="299"/>
                </a:moveTo>
                <a:lnTo>
                  <a:pt x="30" y="297"/>
                </a:lnTo>
                <a:lnTo>
                  <a:pt x="29" y="295"/>
                </a:lnTo>
                <a:lnTo>
                  <a:pt x="27" y="293"/>
                </a:lnTo>
                <a:lnTo>
                  <a:pt x="25" y="290"/>
                </a:lnTo>
                <a:lnTo>
                  <a:pt x="23" y="288"/>
                </a:lnTo>
                <a:lnTo>
                  <a:pt x="19" y="286"/>
                </a:lnTo>
                <a:lnTo>
                  <a:pt x="17" y="278"/>
                </a:lnTo>
                <a:lnTo>
                  <a:pt x="15" y="270"/>
                </a:lnTo>
                <a:lnTo>
                  <a:pt x="13" y="268"/>
                </a:lnTo>
                <a:lnTo>
                  <a:pt x="9" y="267"/>
                </a:lnTo>
                <a:lnTo>
                  <a:pt x="9" y="257"/>
                </a:lnTo>
                <a:lnTo>
                  <a:pt x="9" y="247"/>
                </a:lnTo>
                <a:lnTo>
                  <a:pt x="13" y="244"/>
                </a:lnTo>
                <a:lnTo>
                  <a:pt x="15" y="242"/>
                </a:lnTo>
                <a:lnTo>
                  <a:pt x="15" y="232"/>
                </a:lnTo>
                <a:lnTo>
                  <a:pt x="15" y="222"/>
                </a:lnTo>
                <a:lnTo>
                  <a:pt x="13" y="221"/>
                </a:lnTo>
                <a:lnTo>
                  <a:pt x="9" y="217"/>
                </a:lnTo>
                <a:lnTo>
                  <a:pt x="7" y="215"/>
                </a:lnTo>
                <a:lnTo>
                  <a:pt x="6" y="213"/>
                </a:lnTo>
                <a:lnTo>
                  <a:pt x="2" y="211"/>
                </a:lnTo>
                <a:lnTo>
                  <a:pt x="0" y="209"/>
                </a:lnTo>
                <a:lnTo>
                  <a:pt x="0" y="203"/>
                </a:lnTo>
                <a:lnTo>
                  <a:pt x="0" y="199"/>
                </a:lnTo>
                <a:lnTo>
                  <a:pt x="2" y="196"/>
                </a:lnTo>
                <a:lnTo>
                  <a:pt x="6" y="194"/>
                </a:lnTo>
                <a:lnTo>
                  <a:pt x="30" y="192"/>
                </a:lnTo>
                <a:lnTo>
                  <a:pt x="57" y="188"/>
                </a:lnTo>
                <a:lnTo>
                  <a:pt x="61" y="186"/>
                </a:lnTo>
                <a:lnTo>
                  <a:pt x="63" y="184"/>
                </a:lnTo>
                <a:lnTo>
                  <a:pt x="65" y="157"/>
                </a:lnTo>
                <a:lnTo>
                  <a:pt x="69" y="130"/>
                </a:lnTo>
                <a:lnTo>
                  <a:pt x="71" y="128"/>
                </a:lnTo>
                <a:lnTo>
                  <a:pt x="73" y="126"/>
                </a:lnTo>
                <a:lnTo>
                  <a:pt x="75" y="119"/>
                </a:lnTo>
                <a:lnTo>
                  <a:pt x="78" y="111"/>
                </a:lnTo>
                <a:lnTo>
                  <a:pt x="80" y="109"/>
                </a:lnTo>
                <a:lnTo>
                  <a:pt x="82" y="107"/>
                </a:lnTo>
                <a:lnTo>
                  <a:pt x="84" y="103"/>
                </a:lnTo>
                <a:lnTo>
                  <a:pt x="88" y="102"/>
                </a:lnTo>
                <a:lnTo>
                  <a:pt x="90" y="100"/>
                </a:lnTo>
                <a:lnTo>
                  <a:pt x="92" y="98"/>
                </a:lnTo>
                <a:lnTo>
                  <a:pt x="96" y="94"/>
                </a:lnTo>
                <a:lnTo>
                  <a:pt x="96" y="88"/>
                </a:lnTo>
                <a:lnTo>
                  <a:pt x="96" y="80"/>
                </a:lnTo>
                <a:lnTo>
                  <a:pt x="92" y="77"/>
                </a:lnTo>
                <a:lnTo>
                  <a:pt x="90" y="75"/>
                </a:lnTo>
                <a:lnTo>
                  <a:pt x="88" y="73"/>
                </a:lnTo>
                <a:lnTo>
                  <a:pt x="84" y="65"/>
                </a:lnTo>
                <a:lnTo>
                  <a:pt x="82" y="57"/>
                </a:lnTo>
                <a:lnTo>
                  <a:pt x="80" y="55"/>
                </a:lnTo>
                <a:lnTo>
                  <a:pt x="78" y="54"/>
                </a:lnTo>
                <a:lnTo>
                  <a:pt x="80" y="52"/>
                </a:lnTo>
                <a:lnTo>
                  <a:pt x="82" y="48"/>
                </a:lnTo>
                <a:lnTo>
                  <a:pt x="84" y="40"/>
                </a:lnTo>
                <a:lnTo>
                  <a:pt x="88" y="34"/>
                </a:lnTo>
                <a:lnTo>
                  <a:pt x="90" y="31"/>
                </a:lnTo>
                <a:lnTo>
                  <a:pt x="92" y="29"/>
                </a:lnTo>
                <a:lnTo>
                  <a:pt x="94" y="21"/>
                </a:lnTo>
                <a:lnTo>
                  <a:pt x="98" y="15"/>
                </a:lnTo>
                <a:lnTo>
                  <a:pt x="100" y="11"/>
                </a:lnTo>
                <a:lnTo>
                  <a:pt x="101" y="9"/>
                </a:lnTo>
                <a:lnTo>
                  <a:pt x="103" y="8"/>
                </a:lnTo>
                <a:lnTo>
                  <a:pt x="107" y="6"/>
                </a:lnTo>
                <a:lnTo>
                  <a:pt x="109" y="2"/>
                </a:lnTo>
                <a:lnTo>
                  <a:pt x="111" y="0"/>
                </a:lnTo>
                <a:lnTo>
                  <a:pt x="130" y="0"/>
                </a:lnTo>
                <a:lnTo>
                  <a:pt x="149" y="0"/>
                </a:lnTo>
                <a:lnTo>
                  <a:pt x="153" y="2"/>
                </a:lnTo>
                <a:lnTo>
                  <a:pt x="155" y="6"/>
                </a:lnTo>
                <a:lnTo>
                  <a:pt x="157" y="8"/>
                </a:lnTo>
                <a:lnTo>
                  <a:pt x="161" y="9"/>
                </a:lnTo>
                <a:lnTo>
                  <a:pt x="163" y="11"/>
                </a:lnTo>
                <a:lnTo>
                  <a:pt x="165" y="15"/>
                </a:lnTo>
                <a:lnTo>
                  <a:pt x="174" y="17"/>
                </a:lnTo>
                <a:lnTo>
                  <a:pt x="184" y="19"/>
                </a:lnTo>
                <a:lnTo>
                  <a:pt x="186" y="29"/>
                </a:lnTo>
                <a:lnTo>
                  <a:pt x="190" y="38"/>
                </a:lnTo>
                <a:lnTo>
                  <a:pt x="192" y="40"/>
                </a:lnTo>
                <a:lnTo>
                  <a:pt x="194" y="44"/>
                </a:lnTo>
                <a:lnTo>
                  <a:pt x="195" y="46"/>
                </a:lnTo>
                <a:lnTo>
                  <a:pt x="199" y="48"/>
                </a:lnTo>
                <a:lnTo>
                  <a:pt x="201" y="52"/>
                </a:lnTo>
                <a:lnTo>
                  <a:pt x="203" y="54"/>
                </a:lnTo>
                <a:lnTo>
                  <a:pt x="205" y="55"/>
                </a:lnTo>
                <a:lnTo>
                  <a:pt x="209" y="57"/>
                </a:lnTo>
                <a:lnTo>
                  <a:pt x="211" y="61"/>
                </a:lnTo>
                <a:lnTo>
                  <a:pt x="213" y="63"/>
                </a:lnTo>
                <a:lnTo>
                  <a:pt x="220" y="65"/>
                </a:lnTo>
                <a:lnTo>
                  <a:pt x="228" y="67"/>
                </a:lnTo>
                <a:lnTo>
                  <a:pt x="230" y="71"/>
                </a:lnTo>
                <a:lnTo>
                  <a:pt x="232" y="73"/>
                </a:lnTo>
                <a:lnTo>
                  <a:pt x="240" y="75"/>
                </a:lnTo>
                <a:lnTo>
                  <a:pt x="247" y="77"/>
                </a:lnTo>
                <a:lnTo>
                  <a:pt x="249" y="80"/>
                </a:lnTo>
                <a:lnTo>
                  <a:pt x="251" y="82"/>
                </a:lnTo>
                <a:lnTo>
                  <a:pt x="255" y="84"/>
                </a:lnTo>
                <a:lnTo>
                  <a:pt x="257" y="88"/>
                </a:lnTo>
                <a:lnTo>
                  <a:pt x="259" y="90"/>
                </a:lnTo>
                <a:lnTo>
                  <a:pt x="261" y="92"/>
                </a:lnTo>
                <a:lnTo>
                  <a:pt x="263" y="94"/>
                </a:lnTo>
                <a:lnTo>
                  <a:pt x="266" y="98"/>
                </a:lnTo>
                <a:lnTo>
                  <a:pt x="268" y="100"/>
                </a:lnTo>
                <a:lnTo>
                  <a:pt x="270" y="102"/>
                </a:lnTo>
                <a:lnTo>
                  <a:pt x="270" y="111"/>
                </a:lnTo>
                <a:lnTo>
                  <a:pt x="270" y="121"/>
                </a:lnTo>
                <a:lnTo>
                  <a:pt x="268" y="123"/>
                </a:lnTo>
                <a:lnTo>
                  <a:pt x="266" y="126"/>
                </a:lnTo>
                <a:lnTo>
                  <a:pt x="263" y="128"/>
                </a:lnTo>
                <a:lnTo>
                  <a:pt x="261" y="130"/>
                </a:lnTo>
                <a:lnTo>
                  <a:pt x="259" y="132"/>
                </a:lnTo>
                <a:lnTo>
                  <a:pt x="257" y="136"/>
                </a:lnTo>
                <a:lnTo>
                  <a:pt x="257" y="140"/>
                </a:lnTo>
                <a:lnTo>
                  <a:pt x="257" y="146"/>
                </a:lnTo>
                <a:lnTo>
                  <a:pt x="259" y="148"/>
                </a:lnTo>
                <a:lnTo>
                  <a:pt x="261" y="150"/>
                </a:lnTo>
                <a:lnTo>
                  <a:pt x="274" y="151"/>
                </a:lnTo>
                <a:lnTo>
                  <a:pt x="286" y="155"/>
                </a:lnTo>
                <a:lnTo>
                  <a:pt x="288" y="157"/>
                </a:lnTo>
                <a:lnTo>
                  <a:pt x="289" y="159"/>
                </a:lnTo>
                <a:lnTo>
                  <a:pt x="289" y="173"/>
                </a:lnTo>
                <a:lnTo>
                  <a:pt x="289" y="184"/>
                </a:lnTo>
                <a:lnTo>
                  <a:pt x="297" y="184"/>
                </a:lnTo>
                <a:lnTo>
                  <a:pt x="305" y="184"/>
                </a:lnTo>
                <a:lnTo>
                  <a:pt x="307" y="186"/>
                </a:lnTo>
                <a:lnTo>
                  <a:pt x="311" y="188"/>
                </a:lnTo>
                <a:lnTo>
                  <a:pt x="316" y="192"/>
                </a:lnTo>
                <a:lnTo>
                  <a:pt x="324" y="194"/>
                </a:lnTo>
                <a:lnTo>
                  <a:pt x="326" y="196"/>
                </a:lnTo>
                <a:lnTo>
                  <a:pt x="330" y="199"/>
                </a:lnTo>
                <a:lnTo>
                  <a:pt x="330" y="201"/>
                </a:lnTo>
                <a:lnTo>
                  <a:pt x="330" y="203"/>
                </a:lnTo>
                <a:lnTo>
                  <a:pt x="309" y="213"/>
                </a:lnTo>
                <a:lnTo>
                  <a:pt x="291" y="221"/>
                </a:lnTo>
                <a:lnTo>
                  <a:pt x="276" y="228"/>
                </a:lnTo>
                <a:lnTo>
                  <a:pt x="263" y="238"/>
                </a:lnTo>
                <a:lnTo>
                  <a:pt x="251" y="247"/>
                </a:lnTo>
                <a:lnTo>
                  <a:pt x="240" y="259"/>
                </a:lnTo>
                <a:lnTo>
                  <a:pt x="226" y="272"/>
                </a:lnTo>
                <a:lnTo>
                  <a:pt x="213" y="290"/>
                </a:lnTo>
                <a:lnTo>
                  <a:pt x="211" y="290"/>
                </a:lnTo>
                <a:lnTo>
                  <a:pt x="209" y="290"/>
                </a:lnTo>
                <a:lnTo>
                  <a:pt x="205" y="288"/>
                </a:lnTo>
                <a:lnTo>
                  <a:pt x="203" y="286"/>
                </a:lnTo>
                <a:lnTo>
                  <a:pt x="197" y="286"/>
                </a:lnTo>
                <a:lnTo>
                  <a:pt x="194" y="286"/>
                </a:lnTo>
                <a:lnTo>
                  <a:pt x="192" y="288"/>
                </a:lnTo>
                <a:lnTo>
                  <a:pt x="190" y="290"/>
                </a:lnTo>
                <a:lnTo>
                  <a:pt x="178" y="290"/>
                </a:lnTo>
                <a:lnTo>
                  <a:pt x="169" y="290"/>
                </a:lnTo>
                <a:lnTo>
                  <a:pt x="167" y="288"/>
                </a:lnTo>
                <a:lnTo>
                  <a:pt x="165" y="286"/>
                </a:lnTo>
                <a:lnTo>
                  <a:pt x="155" y="286"/>
                </a:lnTo>
                <a:lnTo>
                  <a:pt x="146" y="286"/>
                </a:lnTo>
                <a:lnTo>
                  <a:pt x="144" y="288"/>
                </a:lnTo>
                <a:lnTo>
                  <a:pt x="140" y="290"/>
                </a:lnTo>
                <a:lnTo>
                  <a:pt x="130" y="290"/>
                </a:lnTo>
                <a:lnTo>
                  <a:pt x="121" y="290"/>
                </a:lnTo>
                <a:lnTo>
                  <a:pt x="119" y="288"/>
                </a:lnTo>
                <a:lnTo>
                  <a:pt x="117" y="286"/>
                </a:lnTo>
                <a:lnTo>
                  <a:pt x="113" y="284"/>
                </a:lnTo>
                <a:lnTo>
                  <a:pt x="111" y="280"/>
                </a:lnTo>
                <a:lnTo>
                  <a:pt x="109" y="278"/>
                </a:lnTo>
                <a:lnTo>
                  <a:pt x="107" y="276"/>
                </a:lnTo>
                <a:lnTo>
                  <a:pt x="101" y="276"/>
                </a:lnTo>
                <a:lnTo>
                  <a:pt x="98" y="276"/>
                </a:lnTo>
                <a:lnTo>
                  <a:pt x="94" y="278"/>
                </a:lnTo>
                <a:lnTo>
                  <a:pt x="92" y="280"/>
                </a:lnTo>
                <a:lnTo>
                  <a:pt x="90" y="284"/>
                </a:lnTo>
                <a:lnTo>
                  <a:pt x="88" y="286"/>
                </a:lnTo>
                <a:lnTo>
                  <a:pt x="84" y="288"/>
                </a:lnTo>
                <a:lnTo>
                  <a:pt x="82" y="290"/>
                </a:lnTo>
                <a:lnTo>
                  <a:pt x="61" y="293"/>
                </a:lnTo>
                <a:lnTo>
                  <a:pt x="38" y="295"/>
                </a:lnTo>
                <a:lnTo>
                  <a:pt x="36" y="297"/>
                </a:lnTo>
                <a:lnTo>
                  <a:pt x="34" y="299"/>
                </a:lnTo>
              </a:path>
            </a:pathLst>
          </a:custGeom>
          <a:solidFill>
            <a:schemeClr val="accent3"/>
          </a:solidFill>
          <a:ln w="12700">
            <a:solidFill>
              <a:schemeClr val="bg1"/>
            </a:solidFill>
            <a:round/>
            <a:headEnd/>
            <a:tailEnd/>
          </a:ln>
        </p:spPr>
        <p:txBody>
          <a:bodyPr/>
          <a:lstStyle/>
          <a:p>
            <a:endParaRPr lang="en-GB"/>
          </a:p>
        </p:txBody>
      </p:sp>
      <p:sp>
        <p:nvSpPr>
          <p:cNvPr id="47" name="Freeform 40"/>
          <p:cNvSpPr>
            <a:spLocks/>
          </p:cNvSpPr>
          <p:nvPr>
            <p:custDataLst>
              <p:tags r:id="rId31"/>
            </p:custDataLst>
          </p:nvPr>
        </p:nvSpPr>
        <p:spPr bwMode="auto">
          <a:xfrm>
            <a:off x="1519524" y="4649711"/>
            <a:ext cx="475185" cy="405510"/>
          </a:xfrm>
          <a:custGeom>
            <a:avLst/>
            <a:gdLst>
              <a:gd name="T0" fmla="*/ 2147483647 w 349"/>
              <a:gd name="T1" fmla="*/ 2147483647 h 309"/>
              <a:gd name="T2" fmla="*/ 2147483647 w 349"/>
              <a:gd name="T3" fmla="*/ 2147483647 h 309"/>
              <a:gd name="T4" fmla="*/ 2147483647 w 349"/>
              <a:gd name="T5" fmla="*/ 2147483647 h 309"/>
              <a:gd name="T6" fmla="*/ 2147483647 w 349"/>
              <a:gd name="T7" fmla="*/ 2147483647 h 309"/>
              <a:gd name="T8" fmla="*/ 2147483647 w 349"/>
              <a:gd name="T9" fmla="*/ 2147483647 h 309"/>
              <a:gd name="T10" fmla="*/ 2147483647 w 349"/>
              <a:gd name="T11" fmla="*/ 2147483647 h 309"/>
              <a:gd name="T12" fmla="*/ 2147483647 w 349"/>
              <a:gd name="T13" fmla="*/ 2147483647 h 309"/>
              <a:gd name="T14" fmla="*/ 2147483647 w 349"/>
              <a:gd name="T15" fmla="*/ 2147483647 h 309"/>
              <a:gd name="T16" fmla="*/ 2147483647 w 349"/>
              <a:gd name="T17" fmla="*/ 2147483647 h 309"/>
              <a:gd name="T18" fmla="*/ 2147483647 w 349"/>
              <a:gd name="T19" fmla="*/ 2147483647 h 309"/>
              <a:gd name="T20" fmla="*/ 2147483647 w 349"/>
              <a:gd name="T21" fmla="*/ 2147483647 h 309"/>
              <a:gd name="T22" fmla="*/ 2147483647 w 349"/>
              <a:gd name="T23" fmla="*/ 2147483647 h 309"/>
              <a:gd name="T24" fmla="*/ 2147483647 w 349"/>
              <a:gd name="T25" fmla="*/ 2147483647 h 309"/>
              <a:gd name="T26" fmla="*/ 2147483647 w 349"/>
              <a:gd name="T27" fmla="*/ 2147483647 h 309"/>
              <a:gd name="T28" fmla="*/ 2147483647 w 349"/>
              <a:gd name="T29" fmla="*/ 2147483647 h 309"/>
              <a:gd name="T30" fmla="*/ 2147483647 w 349"/>
              <a:gd name="T31" fmla="*/ 2147483647 h 309"/>
              <a:gd name="T32" fmla="*/ 2147483647 w 349"/>
              <a:gd name="T33" fmla="*/ 2147483647 h 309"/>
              <a:gd name="T34" fmla="*/ 2147483647 w 349"/>
              <a:gd name="T35" fmla="*/ 2147483647 h 309"/>
              <a:gd name="T36" fmla="*/ 2147483647 w 349"/>
              <a:gd name="T37" fmla="*/ 2147483647 h 309"/>
              <a:gd name="T38" fmla="*/ 2147483647 w 349"/>
              <a:gd name="T39" fmla="*/ 2147483647 h 309"/>
              <a:gd name="T40" fmla="*/ 0 w 349"/>
              <a:gd name="T41" fmla="*/ 2147483647 h 309"/>
              <a:gd name="T42" fmla="*/ 2147483647 w 349"/>
              <a:gd name="T43" fmla="*/ 2147483647 h 309"/>
              <a:gd name="T44" fmla="*/ 2147483647 w 349"/>
              <a:gd name="T45" fmla="*/ 2147483647 h 309"/>
              <a:gd name="T46" fmla="*/ 2147483647 w 349"/>
              <a:gd name="T47" fmla="*/ 2147483647 h 309"/>
              <a:gd name="T48" fmla="*/ 2147483647 w 349"/>
              <a:gd name="T49" fmla="*/ 2147483647 h 309"/>
              <a:gd name="T50" fmla="*/ 2147483647 w 349"/>
              <a:gd name="T51" fmla="*/ 0 h 309"/>
              <a:gd name="T52" fmla="*/ 2147483647 w 349"/>
              <a:gd name="T53" fmla="*/ 2147483647 h 309"/>
              <a:gd name="T54" fmla="*/ 2147483647 w 349"/>
              <a:gd name="T55" fmla="*/ 2147483647 h 309"/>
              <a:gd name="T56" fmla="*/ 2147483647 w 349"/>
              <a:gd name="T57" fmla="*/ 2147483647 h 309"/>
              <a:gd name="T58" fmla="*/ 2147483647 w 349"/>
              <a:gd name="T59" fmla="*/ 2147483647 h 309"/>
              <a:gd name="T60" fmla="*/ 2147483647 w 349"/>
              <a:gd name="T61" fmla="*/ 2147483647 h 309"/>
              <a:gd name="T62" fmla="*/ 2147483647 w 349"/>
              <a:gd name="T63" fmla="*/ 2147483647 h 309"/>
              <a:gd name="T64" fmla="*/ 2147483647 w 349"/>
              <a:gd name="T65" fmla="*/ 2147483647 h 309"/>
              <a:gd name="T66" fmla="*/ 2147483647 w 349"/>
              <a:gd name="T67" fmla="*/ 2147483647 h 309"/>
              <a:gd name="T68" fmla="*/ 2147483647 w 349"/>
              <a:gd name="T69" fmla="*/ 2147483647 h 309"/>
              <a:gd name="T70" fmla="*/ 2147483647 w 349"/>
              <a:gd name="T71" fmla="*/ 2147483647 h 309"/>
              <a:gd name="T72" fmla="*/ 2147483647 w 349"/>
              <a:gd name="T73" fmla="*/ 2147483647 h 309"/>
              <a:gd name="T74" fmla="*/ 2147483647 w 349"/>
              <a:gd name="T75" fmla="*/ 2147483647 h 309"/>
              <a:gd name="T76" fmla="*/ 2147483647 w 349"/>
              <a:gd name="T77" fmla="*/ 2147483647 h 309"/>
              <a:gd name="T78" fmla="*/ 2147483647 w 349"/>
              <a:gd name="T79" fmla="*/ 2147483647 h 309"/>
              <a:gd name="T80" fmla="*/ 2147483647 w 349"/>
              <a:gd name="T81" fmla="*/ 2147483647 h 309"/>
              <a:gd name="T82" fmla="*/ 2147483647 w 349"/>
              <a:gd name="T83" fmla="*/ 2147483647 h 309"/>
              <a:gd name="T84" fmla="*/ 2147483647 w 349"/>
              <a:gd name="T85" fmla="*/ 2147483647 h 309"/>
              <a:gd name="T86" fmla="*/ 2147483647 w 349"/>
              <a:gd name="T87" fmla="*/ 2147483647 h 309"/>
              <a:gd name="T88" fmla="*/ 2147483647 w 349"/>
              <a:gd name="T89" fmla="*/ 2147483647 h 309"/>
              <a:gd name="T90" fmla="*/ 2147483647 w 349"/>
              <a:gd name="T91" fmla="*/ 2147483647 h 309"/>
              <a:gd name="T92" fmla="*/ 2147483647 w 349"/>
              <a:gd name="T93" fmla="*/ 2147483647 h 309"/>
              <a:gd name="T94" fmla="*/ 2147483647 w 349"/>
              <a:gd name="T95" fmla="*/ 2147483647 h 309"/>
              <a:gd name="T96" fmla="*/ 2147483647 w 349"/>
              <a:gd name="T97" fmla="*/ 2147483647 h 309"/>
              <a:gd name="T98" fmla="*/ 2147483647 w 349"/>
              <a:gd name="T99" fmla="*/ 2147483647 h 309"/>
              <a:gd name="T100" fmla="*/ 2147483647 w 349"/>
              <a:gd name="T101" fmla="*/ 2147483647 h 309"/>
              <a:gd name="T102" fmla="*/ 2147483647 w 349"/>
              <a:gd name="T103" fmla="*/ 2147483647 h 309"/>
              <a:gd name="T104" fmla="*/ 2147483647 w 349"/>
              <a:gd name="T105" fmla="*/ 2147483647 h 309"/>
              <a:gd name="T106" fmla="*/ 2147483647 w 349"/>
              <a:gd name="T107" fmla="*/ 2147483647 h 309"/>
              <a:gd name="T108" fmla="*/ 2147483647 w 349"/>
              <a:gd name="T109" fmla="*/ 2147483647 h 30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49"/>
              <a:gd name="T166" fmla="*/ 0 h 309"/>
              <a:gd name="T167" fmla="*/ 349 w 349"/>
              <a:gd name="T168" fmla="*/ 309 h 30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49" h="309">
                <a:moveTo>
                  <a:pt x="165" y="309"/>
                </a:moveTo>
                <a:lnTo>
                  <a:pt x="165" y="290"/>
                </a:lnTo>
                <a:lnTo>
                  <a:pt x="165" y="271"/>
                </a:lnTo>
                <a:lnTo>
                  <a:pt x="165" y="267"/>
                </a:lnTo>
                <a:lnTo>
                  <a:pt x="165" y="261"/>
                </a:lnTo>
                <a:lnTo>
                  <a:pt x="159" y="256"/>
                </a:lnTo>
                <a:lnTo>
                  <a:pt x="155" y="252"/>
                </a:lnTo>
                <a:lnTo>
                  <a:pt x="151" y="246"/>
                </a:lnTo>
                <a:lnTo>
                  <a:pt x="149" y="242"/>
                </a:lnTo>
                <a:lnTo>
                  <a:pt x="147" y="240"/>
                </a:lnTo>
                <a:lnTo>
                  <a:pt x="145" y="238"/>
                </a:lnTo>
                <a:lnTo>
                  <a:pt x="142" y="235"/>
                </a:lnTo>
                <a:lnTo>
                  <a:pt x="140" y="233"/>
                </a:lnTo>
                <a:lnTo>
                  <a:pt x="138" y="231"/>
                </a:lnTo>
                <a:lnTo>
                  <a:pt x="136" y="227"/>
                </a:lnTo>
                <a:lnTo>
                  <a:pt x="128" y="225"/>
                </a:lnTo>
                <a:lnTo>
                  <a:pt x="120" y="223"/>
                </a:lnTo>
                <a:lnTo>
                  <a:pt x="118" y="221"/>
                </a:lnTo>
                <a:lnTo>
                  <a:pt x="117" y="217"/>
                </a:lnTo>
                <a:lnTo>
                  <a:pt x="109" y="206"/>
                </a:lnTo>
                <a:lnTo>
                  <a:pt x="101" y="194"/>
                </a:lnTo>
                <a:lnTo>
                  <a:pt x="99" y="190"/>
                </a:lnTo>
                <a:lnTo>
                  <a:pt x="95" y="189"/>
                </a:lnTo>
                <a:lnTo>
                  <a:pt x="84" y="187"/>
                </a:lnTo>
                <a:lnTo>
                  <a:pt x="72" y="185"/>
                </a:lnTo>
                <a:lnTo>
                  <a:pt x="69" y="181"/>
                </a:lnTo>
                <a:lnTo>
                  <a:pt x="67" y="179"/>
                </a:lnTo>
                <a:lnTo>
                  <a:pt x="69" y="177"/>
                </a:lnTo>
                <a:lnTo>
                  <a:pt x="72" y="175"/>
                </a:lnTo>
                <a:lnTo>
                  <a:pt x="74" y="171"/>
                </a:lnTo>
                <a:lnTo>
                  <a:pt x="76" y="169"/>
                </a:lnTo>
                <a:lnTo>
                  <a:pt x="80" y="167"/>
                </a:lnTo>
                <a:lnTo>
                  <a:pt x="82" y="165"/>
                </a:lnTo>
                <a:lnTo>
                  <a:pt x="84" y="160"/>
                </a:lnTo>
                <a:lnTo>
                  <a:pt x="86" y="150"/>
                </a:lnTo>
                <a:lnTo>
                  <a:pt x="84" y="141"/>
                </a:lnTo>
                <a:lnTo>
                  <a:pt x="82" y="137"/>
                </a:lnTo>
                <a:lnTo>
                  <a:pt x="80" y="133"/>
                </a:lnTo>
                <a:lnTo>
                  <a:pt x="76" y="131"/>
                </a:lnTo>
                <a:lnTo>
                  <a:pt x="74" y="129"/>
                </a:lnTo>
                <a:lnTo>
                  <a:pt x="72" y="127"/>
                </a:lnTo>
                <a:lnTo>
                  <a:pt x="69" y="123"/>
                </a:lnTo>
                <a:lnTo>
                  <a:pt x="67" y="121"/>
                </a:lnTo>
                <a:lnTo>
                  <a:pt x="65" y="119"/>
                </a:lnTo>
                <a:lnTo>
                  <a:pt x="63" y="116"/>
                </a:lnTo>
                <a:lnTo>
                  <a:pt x="61" y="114"/>
                </a:lnTo>
                <a:lnTo>
                  <a:pt x="57" y="112"/>
                </a:lnTo>
                <a:lnTo>
                  <a:pt x="49" y="110"/>
                </a:lnTo>
                <a:lnTo>
                  <a:pt x="44" y="106"/>
                </a:lnTo>
                <a:lnTo>
                  <a:pt x="40" y="104"/>
                </a:lnTo>
                <a:lnTo>
                  <a:pt x="38" y="102"/>
                </a:lnTo>
                <a:lnTo>
                  <a:pt x="30" y="100"/>
                </a:lnTo>
                <a:lnTo>
                  <a:pt x="24" y="96"/>
                </a:lnTo>
                <a:lnTo>
                  <a:pt x="21" y="94"/>
                </a:lnTo>
                <a:lnTo>
                  <a:pt x="19" y="93"/>
                </a:lnTo>
                <a:lnTo>
                  <a:pt x="17" y="91"/>
                </a:lnTo>
                <a:lnTo>
                  <a:pt x="15" y="87"/>
                </a:lnTo>
                <a:lnTo>
                  <a:pt x="11" y="85"/>
                </a:lnTo>
                <a:lnTo>
                  <a:pt x="9" y="83"/>
                </a:lnTo>
                <a:lnTo>
                  <a:pt x="7" y="79"/>
                </a:lnTo>
                <a:lnTo>
                  <a:pt x="5" y="77"/>
                </a:lnTo>
                <a:lnTo>
                  <a:pt x="1" y="75"/>
                </a:lnTo>
                <a:lnTo>
                  <a:pt x="0" y="73"/>
                </a:lnTo>
                <a:lnTo>
                  <a:pt x="0" y="64"/>
                </a:lnTo>
                <a:lnTo>
                  <a:pt x="0" y="54"/>
                </a:lnTo>
                <a:lnTo>
                  <a:pt x="1" y="50"/>
                </a:lnTo>
                <a:lnTo>
                  <a:pt x="5" y="48"/>
                </a:lnTo>
                <a:lnTo>
                  <a:pt x="7" y="33"/>
                </a:lnTo>
                <a:lnTo>
                  <a:pt x="9" y="20"/>
                </a:lnTo>
                <a:lnTo>
                  <a:pt x="19" y="18"/>
                </a:lnTo>
                <a:lnTo>
                  <a:pt x="28" y="16"/>
                </a:lnTo>
                <a:lnTo>
                  <a:pt x="30" y="12"/>
                </a:lnTo>
                <a:lnTo>
                  <a:pt x="34" y="10"/>
                </a:lnTo>
                <a:lnTo>
                  <a:pt x="36" y="8"/>
                </a:lnTo>
                <a:lnTo>
                  <a:pt x="38" y="6"/>
                </a:lnTo>
                <a:lnTo>
                  <a:pt x="40" y="2"/>
                </a:lnTo>
                <a:lnTo>
                  <a:pt x="44" y="0"/>
                </a:lnTo>
                <a:lnTo>
                  <a:pt x="57" y="0"/>
                </a:lnTo>
                <a:lnTo>
                  <a:pt x="72" y="0"/>
                </a:lnTo>
                <a:lnTo>
                  <a:pt x="74" y="2"/>
                </a:lnTo>
                <a:lnTo>
                  <a:pt x="76" y="6"/>
                </a:lnTo>
                <a:lnTo>
                  <a:pt x="80" y="8"/>
                </a:lnTo>
                <a:lnTo>
                  <a:pt x="82" y="10"/>
                </a:lnTo>
                <a:lnTo>
                  <a:pt x="84" y="12"/>
                </a:lnTo>
                <a:lnTo>
                  <a:pt x="88" y="16"/>
                </a:lnTo>
                <a:lnTo>
                  <a:pt x="94" y="18"/>
                </a:lnTo>
                <a:lnTo>
                  <a:pt x="101" y="20"/>
                </a:lnTo>
                <a:lnTo>
                  <a:pt x="103" y="22"/>
                </a:lnTo>
                <a:lnTo>
                  <a:pt x="105" y="23"/>
                </a:lnTo>
                <a:lnTo>
                  <a:pt x="113" y="27"/>
                </a:lnTo>
                <a:lnTo>
                  <a:pt x="120" y="29"/>
                </a:lnTo>
                <a:lnTo>
                  <a:pt x="122" y="31"/>
                </a:lnTo>
                <a:lnTo>
                  <a:pt x="126" y="35"/>
                </a:lnTo>
                <a:lnTo>
                  <a:pt x="128" y="37"/>
                </a:lnTo>
                <a:lnTo>
                  <a:pt x="130" y="39"/>
                </a:lnTo>
                <a:lnTo>
                  <a:pt x="132" y="41"/>
                </a:lnTo>
                <a:lnTo>
                  <a:pt x="136" y="45"/>
                </a:lnTo>
                <a:lnTo>
                  <a:pt x="138" y="47"/>
                </a:lnTo>
                <a:lnTo>
                  <a:pt x="140" y="48"/>
                </a:lnTo>
                <a:lnTo>
                  <a:pt x="142" y="50"/>
                </a:lnTo>
                <a:lnTo>
                  <a:pt x="145" y="54"/>
                </a:lnTo>
                <a:lnTo>
                  <a:pt x="147" y="56"/>
                </a:lnTo>
                <a:lnTo>
                  <a:pt x="149" y="58"/>
                </a:lnTo>
                <a:lnTo>
                  <a:pt x="151" y="62"/>
                </a:lnTo>
                <a:lnTo>
                  <a:pt x="155" y="64"/>
                </a:lnTo>
                <a:lnTo>
                  <a:pt x="161" y="66"/>
                </a:lnTo>
                <a:lnTo>
                  <a:pt x="168" y="68"/>
                </a:lnTo>
                <a:lnTo>
                  <a:pt x="172" y="70"/>
                </a:lnTo>
                <a:lnTo>
                  <a:pt x="174" y="73"/>
                </a:lnTo>
                <a:lnTo>
                  <a:pt x="189" y="75"/>
                </a:lnTo>
                <a:lnTo>
                  <a:pt x="207" y="77"/>
                </a:lnTo>
                <a:lnTo>
                  <a:pt x="211" y="79"/>
                </a:lnTo>
                <a:lnTo>
                  <a:pt x="213" y="83"/>
                </a:lnTo>
                <a:lnTo>
                  <a:pt x="214" y="85"/>
                </a:lnTo>
                <a:lnTo>
                  <a:pt x="216" y="87"/>
                </a:lnTo>
                <a:lnTo>
                  <a:pt x="220" y="91"/>
                </a:lnTo>
                <a:lnTo>
                  <a:pt x="222" y="93"/>
                </a:lnTo>
                <a:lnTo>
                  <a:pt x="224" y="94"/>
                </a:lnTo>
                <a:lnTo>
                  <a:pt x="228" y="96"/>
                </a:lnTo>
                <a:lnTo>
                  <a:pt x="230" y="100"/>
                </a:lnTo>
                <a:lnTo>
                  <a:pt x="232" y="102"/>
                </a:lnTo>
                <a:lnTo>
                  <a:pt x="234" y="104"/>
                </a:lnTo>
                <a:lnTo>
                  <a:pt x="237" y="106"/>
                </a:lnTo>
                <a:lnTo>
                  <a:pt x="239" y="110"/>
                </a:lnTo>
                <a:lnTo>
                  <a:pt x="241" y="112"/>
                </a:lnTo>
                <a:lnTo>
                  <a:pt x="249" y="114"/>
                </a:lnTo>
                <a:lnTo>
                  <a:pt x="257" y="116"/>
                </a:lnTo>
                <a:lnTo>
                  <a:pt x="259" y="119"/>
                </a:lnTo>
                <a:lnTo>
                  <a:pt x="260" y="121"/>
                </a:lnTo>
                <a:lnTo>
                  <a:pt x="262" y="123"/>
                </a:lnTo>
                <a:lnTo>
                  <a:pt x="266" y="125"/>
                </a:lnTo>
                <a:lnTo>
                  <a:pt x="278" y="127"/>
                </a:lnTo>
                <a:lnTo>
                  <a:pt x="299" y="127"/>
                </a:lnTo>
                <a:lnTo>
                  <a:pt x="301" y="141"/>
                </a:lnTo>
                <a:lnTo>
                  <a:pt x="305" y="156"/>
                </a:lnTo>
                <a:lnTo>
                  <a:pt x="307" y="158"/>
                </a:lnTo>
                <a:lnTo>
                  <a:pt x="308" y="160"/>
                </a:lnTo>
                <a:lnTo>
                  <a:pt x="312" y="167"/>
                </a:lnTo>
                <a:lnTo>
                  <a:pt x="314" y="175"/>
                </a:lnTo>
                <a:lnTo>
                  <a:pt x="316" y="177"/>
                </a:lnTo>
                <a:lnTo>
                  <a:pt x="320" y="179"/>
                </a:lnTo>
                <a:lnTo>
                  <a:pt x="326" y="181"/>
                </a:lnTo>
                <a:lnTo>
                  <a:pt x="333" y="185"/>
                </a:lnTo>
                <a:lnTo>
                  <a:pt x="335" y="187"/>
                </a:lnTo>
                <a:lnTo>
                  <a:pt x="337" y="189"/>
                </a:lnTo>
                <a:lnTo>
                  <a:pt x="341" y="202"/>
                </a:lnTo>
                <a:lnTo>
                  <a:pt x="343" y="213"/>
                </a:lnTo>
                <a:lnTo>
                  <a:pt x="345" y="215"/>
                </a:lnTo>
                <a:lnTo>
                  <a:pt x="349" y="217"/>
                </a:lnTo>
                <a:lnTo>
                  <a:pt x="349" y="235"/>
                </a:lnTo>
                <a:lnTo>
                  <a:pt x="349" y="252"/>
                </a:lnTo>
                <a:lnTo>
                  <a:pt x="326" y="248"/>
                </a:lnTo>
                <a:lnTo>
                  <a:pt x="303" y="246"/>
                </a:lnTo>
                <a:lnTo>
                  <a:pt x="278" y="248"/>
                </a:lnTo>
                <a:lnTo>
                  <a:pt x="253" y="250"/>
                </a:lnTo>
                <a:lnTo>
                  <a:pt x="241" y="252"/>
                </a:lnTo>
                <a:lnTo>
                  <a:pt x="230" y="256"/>
                </a:lnTo>
                <a:lnTo>
                  <a:pt x="218" y="260"/>
                </a:lnTo>
                <a:lnTo>
                  <a:pt x="209" y="265"/>
                </a:lnTo>
                <a:lnTo>
                  <a:pt x="201" y="273"/>
                </a:lnTo>
                <a:lnTo>
                  <a:pt x="193" y="281"/>
                </a:lnTo>
                <a:lnTo>
                  <a:pt x="188" y="290"/>
                </a:lnTo>
                <a:lnTo>
                  <a:pt x="184" y="300"/>
                </a:lnTo>
                <a:lnTo>
                  <a:pt x="174" y="306"/>
                </a:lnTo>
                <a:lnTo>
                  <a:pt x="165" y="309"/>
                </a:lnTo>
              </a:path>
            </a:pathLst>
          </a:custGeom>
          <a:solidFill>
            <a:schemeClr val="accent3"/>
          </a:solidFill>
          <a:ln w="12700">
            <a:solidFill>
              <a:schemeClr val="bg1"/>
            </a:solidFill>
            <a:round/>
            <a:headEnd/>
            <a:tailEnd/>
          </a:ln>
        </p:spPr>
        <p:txBody>
          <a:bodyPr/>
          <a:lstStyle/>
          <a:p>
            <a:endParaRPr lang="en-GB"/>
          </a:p>
        </p:txBody>
      </p:sp>
      <p:sp>
        <p:nvSpPr>
          <p:cNvPr id="48" name="Freeform 315"/>
          <p:cNvSpPr>
            <a:spLocks/>
          </p:cNvSpPr>
          <p:nvPr>
            <p:custDataLst>
              <p:tags r:id="rId32"/>
            </p:custDataLst>
          </p:nvPr>
        </p:nvSpPr>
        <p:spPr bwMode="auto">
          <a:xfrm>
            <a:off x="1945937" y="4737502"/>
            <a:ext cx="302391" cy="267553"/>
          </a:xfrm>
          <a:custGeom>
            <a:avLst/>
            <a:gdLst>
              <a:gd name="T0" fmla="*/ 2147483647 w 223"/>
              <a:gd name="T1" fmla="*/ 2147483647 h 203"/>
              <a:gd name="T2" fmla="*/ 2147483647 w 223"/>
              <a:gd name="T3" fmla="*/ 2147483647 h 203"/>
              <a:gd name="T4" fmla="*/ 2147483647 w 223"/>
              <a:gd name="T5" fmla="*/ 2147483647 h 203"/>
              <a:gd name="T6" fmla="*/ 2147483647 w 223"/>
              <a:gd name="T7" fmla="*/ 2147483647 h 203"/>
              <a:gd name="T8" fmla="*/ 2147483647 w 223"/>
              <a:gd name="T9" fmla="*/ 2147483647 h 203"/>
              <a:gd name="T10" fmla="*/ 2147483647 w 223"/>
              <a:gd name="T11" fmla="*/ 2147483647 h 203"/>
              <a:gd name="T12" fmla="*/ 2147483647 w 223"/>
              <a:gd name="T13" fmla="*/ 2147483647 h 203"/>
              <a:gd name="T14" fmla="*/ 2147483647 w 223"/>
              <a:gd name="T15" fmla="*/ 2147483647 h 203"/>
              <a:gd name="T16" fmla="*/ 2147483647 w 223"/>
              <a:gd name="T17" fmla="*/ 2147483647 h 203"/>
              <a:gd name="T18" fmla="*/ 2147483647 w 223"/>
              <a:gd name="T19" fmla="*/ 2147483647 h 203"/>
              <a:gd name="T20" fmla="*/ 2147483647 w 223"/>
              <a:gd name="T21" fmla="*/ 2147483647 h 203"/>
              <a:gd name="T22" fmla="*/ 2147483647 w 223"/>
              <a:gd name="T23" fmla="*/ 2147483647 h 203"/>
              <a:gd name="T24" fmla="*/ 2147483647 w 223"/>
              <a:gd name="T25" fmla="*/ 2147483647 h 203"/>
              <a:gd name="T26" fmla="*/ 2147483647 w 223"/>
              <a:gd name="T27" fmla="*/ 2147483647 h 203"/>
              <a:gd name="T28" fmla="*/ 2147483647 w 223"/>
              <a:gd name="T29" fmla="*/ 2147483647 h 203"/>
              <a:gd name="T30" fmla="*/ 2147483647 w 223"/>
              <a:gd name="T31" fmla="*/ 2147483647 h 203"/>
              <a:gd name="T32" fmla="*/ 2147483647 w 223"/>
              <a:gd name="T33" fmla="*/ 2147483647 h 203"/>
              <a:gd name="T34" fmla="*/ 2147483647 w 223"/>
              <a:gd name="T35" fmla="*/ 2147483647 h 203"/>
              <a:gd name="T36" fmla="*/ 2147483647 w 223"/>
              <a:gd name="T37" fmla="*/ 2147483647 h 203"/>
              <a:gd name="T38" fmla="*/ 2147483647 w 223"/>
              <a:gd name="T39" fmla="*/ 2147483647 h 203"/>
              <a:gd name="T40" fmla="*/ 2147483647 w 223"/>
              <a:gd name="T41" fmla="*/ 2147483647 h 203"/>
              <a:gd name="T42" fmla="*/ 2147483647 w 223"/>
              <a:gd name="T43" fmla="*/ 2147483647 h 203"/>
              <a:gd name="T44" fmla="*/ 2147483647 w 223"/>
              <a:gd name="T45" fmla="*/ 2147483647 h 203"/>
              <a:gd name="T46" fmla="*/ 2147483647 w 223"/>
              <a:gd name="T47" fmla="*/ 2147483647 h 203"/>
              <a:gd name="T48" fmla="*/ 2147483647 w 223"/>
              <a:gd name="T49" fmla="*/ 2147483647 h 203"/>
              <a:gd name="T50" fmla="*/ 2147483647 w 223"/>
              <a:gd name="T51" fmla="*/ 2147483647 h 203"/>
              <a:gd name="T52" fmla="*/ 2147483647 w 223"/>
              <a:gd name="T53" fmla="*/ 2147483647 h 203"/>
              <a:gd name="T54" fmla="*/ 2147483647 w 223"/>
              <a:gd name="T55" fmla="*/ 2147483647 h 203"/>
              <a:gd name="T56" fmla="*/ 2147483647 w 223"/>
              <a:gd name="T57" fmla="*/ 2147483647 h 203"/>
              <a:gd name="T58" fmla="*/ 2147483647 w 223"/>
              <a:gd name="T59" fmla="*/ 2147483647 h 203"/>
              <a:gd name="T60" fmla="*/ 2147483647 w 223"/>
              <a:gd name="T61" fmla="*/ 2147483647 h 203"/>
              <a:gd name="T62" fmla="*/ 2147483647 w 223"/>
              <a:gd name="T63" fmla="*/ 2147483647 h 203"/>
              <a:gd name="T64" fmla="*/ 2147483647 w 223"/>
              <a:gd name="T65" fmla="*/ 2147483647 h 203"/>
              <a:gd name="T66" fmla="*/ 2147483647 w 223"/>
              <a:gd name="T67" fmla="*/ 2147483647 h 203"/>
              <a:gd name="T68" fmla="*/ 2147483647 w 223"/>
              <a:gd name="T69" fmla="*/ 2147483647 h 203"/>
              <a:gd name="T70" fmla="*/ 2147483647 w 223"/>
              <a:gd name="T71" fmla="*/ 2147483647 h 203"/>
              <a:gd name="T72" fmla="*/ 2147483647 w 223"/>
              <a:gd name="T73" fmla="*/ 2147483647 h 203"/>
              <a:gd name="T74" fmla="*/ 2147483647 w 223"/>
              <a:gd name="T75" fmla="*/ 2147483647 h 203"/>
              <a:gd name="T76" fmla="*/ 2147483647 w 223"/>
              <a:gd name="T77" fmla="*/ 2147483647 h 203"/>
              <a:gd name="T78" fmla="*/ 2147483647 w 223"/>
              <a:gd name="T79" fmla="*/ 2147483647 h 203"/>
              <a:gd name="T80" fmla="*/ 2147483647 w 223"/>
              <a:gd name="T81" fmla="*/ 2147483647 h 203"/>
              <a:gd name="T82" fmla="*/ 2147483647 w 223"/>
              <a:gd name="T83" fmla="*/ 2147483647 h 203"/>
              <a:gd name="T84" fmla="*/ 2147483647 w 223"/>
              <a:gd name="T85" fmla="*/ 2147483647 h 203"/>
              <a:gd name="T86" fmla="*/ 2147483647 w 223"/>
              <a:gd name="T87" fmla="*/ 2147483647 h 203"/>
              <a:gd name="T88" fmla="*/ 2147483647 w 223"/>
              <a:gd name="T89" fmla="*/ 2147483647 h 203"/>
              <a:gd name="T90" fmla="*/ 2147483647 w 223"/>
              <a:gd name="T91" fmla="*/ 2147483647 h 203"/>
              <a:gd name="T92" fmla="*/ 2147483647 w 223"/>
              <a:gd name="T93" fmla="*/ 2147483647 h 203"/>
              <a:gd name="T94" fmla="*/ 2147483647 w 223"/>
              <a:gd name="T95" fmla="*/ 2147483647 h 203"/>
              <a:gd name="T96" fmla="*/ 2147483647 w 223"/>
              <a:gd name="T97" fmla="*/ 2147483647 h 203"/>
              <a:gd name="T98" fmla="*/ 2147483647 w 223"/>
              <a:gd name="T99" fmla="*/ 2147483647 h 203"/>
              <a:gd name="T100" fmla="*/ 2147483647 w 223"/>
              <a:gd name="T101" fmla="*/ 2147483647 h 203"/>
              <a:gd name="T102" fmla="*/ 2147483647 w 223"/>
              <a:gd name="T103" fmla="*/ 2147483647 h 203"/>
              <a:gd name="T104" fmla="*/ 2147483647 w 223"/>
              <a:gd name="T105" fmla="*/ 2147483647 h 203"/>
              <a:gd name="T106" fmla="*/ 2147483647 w 223"/>
              <a:gd name="T107" fmla="*/ 2147483647 h 203"/>
              <a:gd name="T108" fmla="*/ 2147483647 w 223"/>
              <a:gd name="T109" fmla="*/ 2147483647 h 203"/>
              <a:gd name="T110" fmla="*/ 2147483647 w 223"/>
              <a:gd name="T111" fmla="*/ 2147483647 h 203"/>
              <a:gd name="T112" fmla="*/ 2147483647 w 223"/>
              <a:gd name="T113" fmla="*/ 2147483647 h 203"/>
              <a:gd name="T114" fmla="*/ 2147483647 w 223"/>
              <a:gd name="T115" fmla="*/ 2147483647 h 203"/>
              <a:gd name="T116" fmla="*/ 2147483647 w 223"/>
              <a:gd name="T117" fmla="*/ 2147483647 h 203"/>
              <a:gd name="T118" fmla="*/ 2147483647 w 223"/>
              <a:gd name="T119" fmla="*/ 2147483647 h 203"/>
              <a:gd name="T120" fmla="*/ 2147483647 w 223"/>
              <a:gd name="T121" fmla="*/ 2147483647 h 20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23"/>
              <a:gd name="T184" fmla="*/ 0 h 203"/>
              <a:gd name="T185" fmla="*/ 223 w 223"/>
              <a:gd name="T186" fmla="*/ 203 h 20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23" h="203">
                <a:moveTo>
                  <a:pt x="50" y="203"/>
                </a:moveTo>
                <a:lnTo>
                  <a:pt x="46" y="180"/>
                </a:lnTo>
                <a:lnTo>
                  <a:pt x="45" y="155"/>
                </a:lnTo>
                <a:lnTo>
                  <a:pt x="43" y="154"/>
                </a:lnTo>
                <a:lnTo>
                  <a:pt x="41" y="150"/>
                </a:lnTo>
                <a:lnTo>
                  <a:pt x="37" y="138"/>
                </a:lnTo>
                <a:lnTo>
                  <a:pt x="35" y="127"/>
                </a:lnTo>
                <a:lnTo>
                  <a:pt x="33" y="123"/>
                </a:lnTo>
                <a:lnTo>
                  <a:pt x="29" y="121"/>
                </a:lnTo>
                <a:lnTo>
                  <a:pt x="23" y="119"/>
                </a:lnTo>
                <a:lnTo>
                  <a:pt x="16" y="117"/>
                </a:lnTo>
                <a:lnTo>
                  <a:pt x="14" y="113"/>
                </a:lnTo>
                <a:lnTo>
                  <a:pt x="12" y="111"/>
                </a:lnTo>
                <a:lnTo>
                  <a:pt x="8" y="104"/>
                </a:lnTo>
                <a:lnTo>
                  <a:pt x="6" y="98"/>
                </a:lnTo>
                <a:lnTo>
                  <a:pt x="4" y="94"/>
                </a:lnTo>
                <a:lnTo>
                  <a:pt x="0" y="92"/>
                </a:lnTo>
                <a:lnTo>
                  <a:pt x="4" y="75"/>
                </a:lnTo>
                <a:lnTo>
                  <a:pt x="6" y="58"/>
                </a:lnTo>
                <a:lnTo>
                  <a:pt x="8" y="42"/>
                </a:lnTo>
                <a:lnTo>
                  <a:pt x="12" y="25"/>
                </a:lnTo>
                <a:lnTo>
                  <a:pt x="14" y="21"/>
                </a:lnTo>
                <a:lnTo>
                  <a:pt x="16" y="19"/>
                </a:lnTo>
                <a:lnTo>
                  <a:pt x="23" y="17"/>
                </a:lnTo>
                <a:lnTo>
                  <a:pt x="29" y="15"/>
                </a:lnTo>
                <a:lnTo>
                  <a:pt x="33" y="12"/>
                </a:lnTo>
                <a:lnTo>
                  <a:pt x="35" y="10"/>
                </a:lnTo>
                <a:lnTo>
                  <a:pt x="37" y="8"/>
                </a:lnTo>
                <a:lnTo>
                  <a:pt x="41" y="6"/>
                </a:lnTo>
                <a:lnTo>
                  <a:pt x="43" y="4"/>
                </a:lnTo>
                <a:lnTo>
                  <a:pt x="45" y="0"/>
                </a:lnTo>
                <a:lnTo>
                  <a:pt x="46" y="4"/>
                </a:lnTo>
                <a:lnTo>
                  <a:pt x="50" y="6"/>
                </a:lnTo>
                <a:lnTo>
                  <a:pt x="52" y="8"/>
                </a:lnTo>
                <a:lnTo>
                  <a:pt x="54" y="10"/>
                </a:lnTo>
                <a:lnTo>
                  <a:pt x="56" y="12"/>
                </a:lnTo>
                <a:lnTo>
                  <a:pt x="60" y="15"/>
                </a:lnTo>
                <a:lnTo>
                  <a:pt x="66" y="17"/>
                </a:lnTo>
                <a:lnTo>
                  <a:pt x="73" y="19"/>
                </a:lnTo>
                <a:lnTo>
                  <a:pt x="75" y="21"/>
                </a:lnTo>
                <a:lnTo>
                  <a:pt x="79" y="25"/>
                </a:lnTo>
                <a:lnTo>
                  <a:pt x="85" y="27"/>
                </a:lnTo>
                <a:lnTo>
                  <a:pt x="93" y="29"/>
                </a:lnTo>
                <a:lnTo>
                  <a:pt x="96" y="33"/>
                </a:lnTo>
                <a:lnTo>
                  <a:pt x="98" y="35"/>
                </a:lnTo>
                <a:lnTo>
                  <a:pt x="108" y="35"/>
                </a:lnTo>
                <a:lnTo>
                  <a:pt x="117" y="35"/>
                </a:lnTo>
                <a:lnTo>
                  <a:pt x="119" y="33"/>
                </a:lnTo>
                <a:lnTo>
                  <a:pt x="121" y="29"/>
                </a:lnTo>
                <a:lnTo>
                  <a:pt x="125" y="27"/>
                </a:lnTo>
                <a:lnTo>
                  <a:pt x="127" y="25"/>
                </a:lnTo>
                <a:lnTo>
                  <a:pt x="129" y="21"/>
                </a:lnTo>
                <a:lnTo>
                  <a:pt x="131" y="19"/>
                </a:lnTo>
                <a:lnTo>
                  <a:pt x="135" y="13"/>
                </a:lnTo>
                <a:lnTo>
                  <a:pt x="137" y="6"/>
                </a:lnTo>
                <a:lnTo>
                  <a:pt x="139" y="4"/>
                </a:lnTo>
                <a:lnTo>
                  <a:pt x="140" y="0"/>
                </a:lnTo>
                <a:lnTo>
                  <a:pt x="144" y="4"/>
                </a:lnTo>
                <a:lnTo>
                  <a:pt x="146" y="6"/>
                </a:lnTo>
                <a:lnTo>
                  <a:pt x="148" y="8"/>
                </a:lnTo>
                <a:lnTo>
                  <a:pt x="152" y="10"/>
                </a:lnTo>
                <a:lnTo>
                  <a:pt x="154" y="12"/>
                </a:lnTo>
                <a:lnTo>
                  <a:pt x="156" y="15"/>
                </a:lnTo>
                <a:lnTo>
                  <a:pt x="162" y="17"/>
                </a:lnTo>
                <a:lnTo>
                  <a:pt x="175" y="19"/>
                </a:lnTo>
                <a:lnTo>
                  <a:pt x="188" y="17"/>
                </a:lnTo>
                <a:lnTo>
                  <a:pt x="194" y="15"/>
                </a:lnTo>
                <a:lnTo>
                  <a:pt x="196" y="12"/>
                </a:lnTo>
                <a:lnTo>
                  <a:pt x="200" y="10"/>
                </a:lnTo>
                <a:lnTo>
                  <a:pt x="202" y="12"/>
                </a:lnTo>
                <a:lnTo>
                  <a:pt x="204" y="15"/>
                </a:lnTo>
                <a:lnTo>
                  <a:pt x="206" y="21"/>
                </a:lnTo>
                <a:lnTo>
                  <a:pt x="210" y="29"/>
                </a:lnTo>
                <a:lnTo>
                  <a:pt x="211" y="33"/>
                </a:lnTo>
                <a:lnTo>
                  <a:pt x="213" y="35"/>
                </a:lnTo>
                <a:lnTo>
                  <a:pt x="217" y="36"/>
                </a:lnTo>
                <a:lnTo>
                  <a:pt x="219" y="38"/>
                </a:lnTo>
                <a:lnTo>
                  <a:pt x="221" y="42"/>
                </a:lnTo>
                <a:lnTo>
                  <a:pt x="223" y="44"/>
                </a:lnTo>
                <a:lnTo>
                  <a:pt x="221" y="58"/>
                </a:lnTo>
                <a:lnTo>
                  <a:pt x="219" y="73"/>
                </a:lnTo>
                <a:lnTo>
                  <a:pt x="215" y="88"/>
                </a:lnTo>
                <a:lnTo>
                  <a:pt x="213" y="102"/>
                </a:lnTo>
                <a:lnTo>
                  <a:pt x="211" y="104"/>
                </a:lnTo>
                <a:lnTo>
                  <a:pt x="210" y="107"/>
                </a:lnTo>
                <a:lnTo>
                  <a:pt x="198" y="109"/>
                </a:lnTo>
                <a:lnTo>
                  <a:pt x="185" y="111"/>
                </a:lnTo>
                <a:lnTo>
                  <a:pt x="183" y="113"/>
                </a:lnTo>
                <a:lnTo>
                  <a:pt x="181" y="117"/>
                </a:lnTo>
                <a:lnTo>
                  <a:pt x="177" y="123"/>
                </a:lnTo>
                <a:lnTo>
                  <a:pt x="175" y="131"/>
                </a:lnTo>
                <a:lnTo>
                  <a:pt x="173" y="132"/>
                </a:lnTo>
                <a:lnTo>
                  <a:pt x="171" y="136"/>
                </a:lnTo>
                <a:lnTo>
                  <a:pt x="167" y="138"/>
                </a:lnTo>
                <a:lnTo>
                  <a:pt x="165" y="140"/>
                </a:lnTo>
                <a:lnTo>
                  <a:pt x="164" y="144"/>
                </a:lnTo>
                <a:lnTo>
                  <a:pt x="162" y="146"/>
                </a:lnTo>
                <a:lnTo>
                  <a:pt x="158" y="148"/>
                </a:lnTo>
                <a:lnTo>
                  <a:pt x="156" y="150"/>
                </a:lnTo>
                <a:lnTo>
                  <a:pt x="154" y="154"/>
                </a:lnTo>
                <a:lnTo>
                  <a:pt x="152" y="155"/>
                </a:lnTo>
                <a:lnTo>
                  <a:pt x="148" y="157"/>
                </a:lnTo>
                <a:lnTo>
                  <a:pt x="146" y="159"/>
                </a:lnTo>
                <a:lnTo>
                  <a:pt x="144" y="163"/>
                </a:lnTo>
                <a:lnTo>
                  <a:pt x="140" y="165"/>
                </a:lnTo>
                <a:lnTo>
                  <a:pt x="129" y="167"/>
                </a:lnTo>
                <a:lnTo>
                  <a:pt x="117" y="169"/>
                </a:lnTo>
                <a:lnTo>
                  <a:pt x="114" y="173"/>
                </a:lnTo>
                <a:lnTo>
                  <a:pt x="112" y="175"/>
                </a:lnTo>
                <a:lnTo>
                  <a:pt x="110" y="177"/>
                </a:lnTo>
                <a:lnTo>
                  <a:pt x="108" y="180"/>
                </a:lnTo>
                <a:lnTo>
                  <a:pt x="104" y="182"/>
                </a:lnTo>
                <a:lnTo>
                  <a:pt x="102" y="184"/>
                </a:lnTo>
                <a:lnTo>
                  <a:pt x="100" y="186"/>
                </a:lnTo>
                <a:lnTo>
                  <a:pt x="98" y="190"/>
                </a:lnTo>
                <a:lnTo>
                  <a:pt x="96" y="192"/>
                </a:lnTo>
                <a:lnTo>
                  <a:pt x="93" y="194"/>
                </a:lnTo>
                <a:lnTo>
                  <a:pt x="81" y="196"/>
                </a:lnTo>
                <a:lnTo>
                  <a:pt x="70" y="198"/>
                </a:lnTo>
                <a:lnTo>
                  <a:pt x="66" y="202"/>
                </a:lnTo>
                <a:lnTo>
                  <a:pt x="64" y="203"/>
                </a:lnTo>
                <a:lnTo>
                  <a:pt x="56" y="203"/>
                </a:lnTo>
                <a:lnTo>
                  <a:pt x="50" y="203"/>
                </a:lnTo>
              </a:path>
            </a:pathLst>
          </a:custGeom>
          <a:solidFill>
            <a:schemeClr val="accent3"/>
          </a:solidFill>
          <a:ln w="12700">
            <a:solidFill>
              <a:schemeClr val="bg1"/>
            </a:solidFill>
            <a:round/>
            <a:headEnd/>
            <a:tailEnd/>
          </a:ln>
        </p:spPr>
        <p:txBody>
          <a:bodyPr/>
          <a:lstStyle/>
          <a:p>
            <a:endParaRPr lang="en-GB"/>
          </a:p>
        </p:txBody>
      </p:sp>
      <p:sp>
        <p:nvSpPr>
          <p:cNvPr id="49" name="Freeform 316"/>
          <p:cNvSpPr>
            <a:spLocks/>
          </p:cNvSpPr>
          <p:nvPr>
            <p:custDataLst>
              <p:tags r:id="rId33"/>
            </p:custDataLst>
          </p:nvPr>
        </p:nvSpPr>
        <p:spPr bwMode="auto">
          <a:xfrm>
            <a:off x="2047662" y="4510361"/>
            <a:ext cx="370673" cy="356738"/>
          </a:xfrm>
          <a:custGeom>
            <a:avLst/>
            <a:gdLst>
              <a:gd name="T0" fmla="*/ 2147483647 w 271"/>
              <a:gd name="T1" fmla="*/ 2147483647 h 270"/>
              <a:gd name="T2" fmla="*/ 2147483647 w 271"/>
              <a:gd name="T3" fmla="*/ 2147483647 h 270"/>
              <a:gd name="T4" fmla="*/ 2147483647 w 271"/>
              <a:gd name="T5" fmla="*/ 2147483647 h 270"/>
              <a:gd name="T6" fmla="*/ 2147483647 w 271"/>
              <a:gd name="T7" fmla="*/ 2147483647 h 270"/>
              <a:gd name="T8" fmla="*/ 2147483647 w 271"/>
              <a:gd name="T9" fmla="*/ 2147483647 h 270"/>
              <a:gd name="T10" fmla="*/ 2147483647 w 271"/>
              <a:gd name="T11" fmla="*/ 2147483647 h 270"/>
              <a:gd name="T12" fmla="*/ 2147483647 w 271"/>
              <a:gd name="T13" fmla="*/ 2147483647 h 270"/>
              <a:gd name="T14" fmla="*/ 2147483647 w 271"/>
              <a:gd name="T15" fmla="*/ 2147483647 h 270"/>
              <a:gd name="T16" fmla="*/ 2147483647 w 271"/>
              <a:gd name="T17" fmla="*/ 2147483647 h 270"/>
              <a:gd name="T18" fmla="*/ 2147483647 w 271"/>
              <a:gd name="T19" fmla="*/ 2147483647 h 270"/>
              <a:gd name="T20" fmla="*/ 2147483647 w 271"/>
              <a:gd name="T21" fmla="*/ 2147483647 h 270"/>
              <a:gd name="T22" fmla="*/ 2147483647 w 271"/>
              <a:gd name="T23" fmla="*/ 2147483647 h 270"/>
              <a:gd name="T24" fmla="*/ 2147483647 w 271"/>
              <a:gd name="T25" fmla="*/ 2147483647 h 270"/>
              <a:gd name="T26" fmla="*/ 2147483647 w 271"/>
              <a:gd name="T27" fmla="*/ 2147483647 h 270"/>
              <a:gd name="T28" fmla="*/ 2147483647 w 271"/>
              <a:gd name="T29" fmla="*/ 2147483647 h 270"/>
              <a:gd name="T30" fmla="*/ 0 w 271"/>
              <a:gd name="T31" fmla="*/ 2147483647 h 270"/>
              <a:gd name="T32" fmla="*/ 2147483647 w 271"/>
              <a:gd name="T33" fmla="*/ 2147483647 h 270"/>
              <a:gd name="T34" fmla="*/ 2147483647 w 271"/>
              <a:gd name="T35" fmla="*/ 2147483647 h 270"/>
              <a:gd name="T36" fmla="*/ 2147483647 w 271"/>
              <a:gd name="T37" fmla="*/ 2147483647 h 270"/>
              <a:gd name="T38" fmla="*/ 2147483647 w 271"/>
              <a:gd name="T39" fmla="*/ 2147483647 h 270"/>
              <a:gd name="T40" fmla="*/ 2147483647 w 271"/>
              <a:gd name="T41" fmla="*/ 2147483647 h 270"/>
              <a:gd name="T42" fmla="*/ 2147483647 w 271"/>
              <a:gd name="T43" fmla="*/ 2147483647 h 270"/>
              <a:gd name="T44" fmla="*/ 2147483647 w 271"/>
              <a:gd name="T45" fmla="*/ 2147483647 h 270"/>
              <a:gd name="T46" fmla="*/ 2147483647 w 271"/>
              <a:gd name="T47" fmla="*/ 2147483647 h 270"/>
              <a:gd name="T48" fmla="*/ 2147483647 w 271"/>
              <a:gd name="T49" fmla="*/ 2147483647 h 270"/>
              <a:gd name="T50" fmla="*/ 2147483647 w 271"/>
              <a:gd name="T51" fmla="*/ 0 h 270"/>
              <a:gd name="T52" fmla="*/ 2147483647 w 271"/>
              <a:gd name="T53" fmla="*/ 2147483647 h 270"/>
              <a:gd name="T54" fmla="*/ 2147483647 w 271"/>
              <a:gd name="T55" fmla="*/ 2147483647 h 270"/>
              <a:gd name="T56" fmla="*/ 2147483647 w 271"/>
              <a:gd name="T57" fmla="*/ 2147483647 h 270"/>
              <a:gd name="T58" fmla="*/ 2147483647 w 271"/>
              <a:gd name="T59" fmla="*/ 2147483647 h 270"/>
              <a:gd name="T60" fmla="*/ 2147483647 w 271"/>
              <a:gd name="T61" fmla="*/ 2147483647 h 270"/>
              <a:gd name="T62" fmla="*/ 2147483647 w 271"/>
              <a:gd name="T63" fmla="*/ 2147483647 h 270"/>
              <a:gd name="T64" fmla="*/ 2147483647 w 271"/>
              <a:gd name="T65" fmla="*/ 2147483647 h 270"/>
              <a:gd name="T66" fmla="*/ 2147483647 w 271"/>
              <a:gd name="T67" fmla="*/ 2147483647 h 270"/>
              <a:gd name="T68" fmla="*/ 2147483647 w 271"/>
              <a:gd name="T69" fmla="*/ 2147483647 h 270"/>
              <a:gd name="T70" fmla="*/ 2147483647 w 271"/>
              <a:gd name="T71" fmla="*/ 2147483647 h 270"/>
              <a:gd name="T72" fmla="*/ 2147483647 w 271"/>
              <a:gd name="T73" fmla="*/ 2147483647 h 270"/>
              <a:gd name="T74" fmla="*/ 2147483647 w 271"/>
              <a:gd name="T75" fmla="*/ 2147483647 h 270"/>
              <a:gd name="T76" fmla="*/ 2147483647 w 271"/>
              <a:gd name="T77" fmla="*/ 2147483647 h 270"/>
              <a:gd name="T78" fmla="*/ 2147483647 w 271"/>
              <a:gd name="T79" fmla="*/ 2147483647 h 270"/>
              <a:gd name="T80" fmla="*/ 2147483647 w 271"/>
              <a:gd name="T81" fmla="*/ 2147483647 h 270"/>
              <a:gd name="T82" fmla="*/ 2147483647 w 271"/>
              <a:gd name="T83" fmla="*/ 2147483647 h 270"/>
              <a:gd name="T84" fmla="*/ 2147483647 w 271"/>
              <a:gd name="T85" fmla="*/ 2147483647 h 270"/>
              <a:gd name="T86" fmla="*/ 2147483647 w 271"/>
              <a:gd name="T87" fmla="*/ 2147483647 h 270"/>
              <a:gd name="T88" fmla="*/ 2147483647 w 271"/>
              <a:gd name="T89" fmla="*/ 2147483647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1"/>
              <a:gd name="T136" fmla="*/ 0 h 270"/>
              <a:gd name="T137" fmla="*/ 271 w 271"/>
              <a:gd name="T138" fmla="*/ 270 h 27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1" h="270">
                <a:moveTo>
                  <a:pt x="179" y="270"/>
                </a:moveTo>
                <a:lnTo>
                  <a:pt x="177" y="267"/>
                </a:lnTo>
                <a:lnTo>
                  <a:pt x="173" y="265"/>
                </a:lnTo>
                <a:lnTo>
                  <a:pt x="171" y="253"/>
                </a:lnTo>
                <a:lnTo>
                  <a:pt x="169" y="242"/>
                </a:lnTo>
                <a:lnTo>
                  <a:pt x="167" y="238"/>
                </a:lnTo>
                <a:lnTo>
                  <a:pt x="165" y="236"/>
                </a:lnTo>
                <a:lnTo>
                  <a:pt x="157" y="219"/>
                </a:lnTo>
                <a:lnTo>
                  <a:pt x="150" y="201"/>
                </a:lnTo>
                <a:lnTo>
                  <a:pt x="146" y="199"/>
                </a:lnTo>
                <a:lnTo>
                  <a:pt x="144" y="198"/>
                </a:lnTo>
                <a:lnTo>
                  <a:pt x="142" y="196"/>
                </a:lnTo>
                <a:lnTo>
                  <a:pt x="140" y="192"/>
                </a:lnTo>
                <a:lnTo>
                  <a:pt x="138" y="190"/>
                </a:lnTo>
                <a:lnTo>
                  <a:pt x="134" y="188"/>
                </a:lnTo>
                <a:lnTo>
                  <a:pt x="132" y="180"/>
                </a:lnTo>
                <a:lnTo>
                  <a:pt x="131" y="173"/>
                </a:lnTo>
                <a:lnTo>
                  <a:pt x="127" y="171"/>
                </a:lnTo>
                <a:lnTo>
                  <a:pt x="125" y="169"/>
                </a:lnTo>
                <a:lnTo>
                  <a:pt x="121" y="169"/>
                </a:lnTo>
                <a:lnTo>
                  <a:pt x="115" y="169"/>
                </a:lnTo>
                <a:lnTo>
                  <a:pt x="113" y="171"/>
                </a:lnTo>
                <a:lnTo>
                  <a:pt x="111" y="173"/>
                </a:lnTo>
                <a:lnTo>
                  <a:pt x="96" y="173"/>
                </a:lnTo>
                <a:lnTo>
                  <a:pt x="83" y="173"/>
                </a:lnTo>
                <a:lnTo>
                  <a:pt x="79" y="171"/>
                </a:lnTo>
                <a:lnTo>
                  <a:pt x="77" y="169"/>
                </a:lnTo>
                <a:lnTo>
                  <a:pt x="75" y="167"/>
                </a:lnTo>
                <a:lnTo>
                  <a:pt x="73" y="163"/>
                </a:lnTo>
                <a:lnTo>
                  <a:pt x="69" y="161"/>
                </a:lnTo>
                <a:lnTo>
                  <a:pt x="67" y="159"/>
                </a:lnTo>
                <a:lnTo>
                  <a:pt x="65" y="146"/>
                </a:lnTo>
                <a:lnTo>
                  <a:pt x="61" y="134"/>
                </a:lnTo>
                <a:lnTo>
                  <a:pt x="60" y="132"/>
                </a:lnTo>
                <a:lnTo>
                  <a:pt x="58" y="128"/>
                </a:lnTo>
                <a:lnTo>
                  <a:pt x="56" y="123"/>
                </a:lnTo>
                <a:lnTo>
                  <a:pt x="52" y="115"/>
                </a:lnTo>
                <a:lnTo>
                  <a:pt x="50" y="113"/>
                </a:lnTo>
                <a:lnTo>
                  <a:pt x="48" y="111"/>
                </a:lnTo>
                <a:lnTo>
                  <a:pt x="31" y="107"/>
                </a:lnTo>
                <a:lnTo>
                  <a:pt x="14" y="105"/>
                </a:lnTo>
                <a:lnTo>
                  <a:pt x="12" y="104"/>
                </a:lnTo>
                <a:lnTo>
                  <a:pt x="10" y="100"/>
                </a:lnTo>
                <a:lnTo>
                  <a:pt x="6" y="94"/>
                </a:lnTo>
                <a:lnTo>
                  <a:pt x="4" y="86"/>
                </a:lnTo>
                <a:lnTo>
                  <a:pt x="2" y="84"/>
                </a:lnTo>
                <a:lnTo>
                  <a:pt x="0" y="81"/>
                </a:lnTo>
                <a:lnTo>
                  <a:pt x="0" y="77"/>
                </a:lnTo>
                <a:lnTo>
                  <a:pt x="0" y="71"/>
                </a:lnTo>
                <a:lnTo>
                  <a:pt x="2" y="69"/>
                </a:lnTo>
                <a:lnTo>
                  <a:pt x="4" y="67"/>
                </a:lnTo>
                <a:lnTo>
                  <a:pt x="6" y="54"/>
                </a:lnTo>
                <a:lnTo>
                  <a:pt x="10" y="42"/>
                </a:lnTo>
                <a:lnTo>
                  <a:pt x="12" y="40"/>
                </a:lnTo>
                <a:lnTo>
                  <a:pt x="14" y="38"/>
                </a:lnTo>
                <a:lnTo>
                  <a:pt x="17" y="34"/>
                </a:lnTo>
                <a:lnTo>
                  <a:pt x="19" y="33"/>
                </a:lnTo>
                <a:lnTo>
                  <a:pt x="21" y="31"/>
                </a:lnTo>
                <a:lnTo>
                  <a:pt x="23" y="29"/>
                </a:lnTo>
                <a:lnTo>
                  <a:pt x="31" y="25"/>
                </a:lnTo>
                <a:lnTo>
                  <a:pt x="38" y="23"/>
                </a:lnTo>
                <a:lnTo>
                  <a:pt x="40" y="21"/>
                </a:lnTo>
                <a:lnTo>
                  <a:pt x="42" y="19"/>
                </a:lnTo>
                <a:lnTo>
                  <a:pt x="50" y="15"/>
                </a:lnTo>
                <a:lnTo>
                  <a:pt x="58" y="13"/>
                </a:lnTo>
                <a:lnTo>
                  <a:pt x="60" y="11"/>
                </a:lnTo>
                <a:lnTo>
                  <a:pt x="61" y="10"/>
                </a:lnTo>
                <a:lnTo>
                  <a:pt x="65" y="11"/>
                </a:lnTo>
                <a:lnTo>
                  <a:pt x="67" y="13"/>
                </a:lnTo>
                <a:lnTo>
                  <a:pt x="77" y="13"/>
                </a:lnTo>
                <a:lnTo>
                  <a:pt x="86" y="13"/>
                </a:lnTo>
                <a:lnTo>
                  <a:pt x="88" y="11"/>
                </a:lnTo>
                <a:lnTo>
                  <a:pt x="92" y="10"/>
                </a:lnTo>
                <a:lnTo>
                  <a:pt x="94" y="6"/>
                </a:lnTo>
                <a:lnTo>
                  <a:pt x="96" y="4"/>
                </a:lnTo>
                <a:lnTo>
                  <a:pt x="98" y="2"/>
                </a:lnTo>
                <a:lnTo>
                  <a:pt x="102" y="0"/>
                </a:lnTo>
                <a:lnTo>
                  <a:pt x="106" y="0"/>
                </a:lnTo>
                <a:lnTo>
                  <a:pt x="111" y="0"/>
                </a:lnTo>
                <a:lnTo>
                  <a:pt x="113" y="2"/>
                </a:lnTo>
                <a:lnTo>
                  <a:pt x="115" y="4"/>
                </a:lnTo>
                <a:lnTo>
                  <a:pt x="129" y="6"/>
                </a:lnTo>
                <a:lnTo>
                  <a:pt x="140" y="10"/>
                </a:lnTo>
                <a:lnTo>
                  <a:pt x="142" y="11"/>
                </a:lnTo>
                <a:lnTo>
                  <a:pt x="144" y="13"/>
                </a:lnTo>
                <a:lnTo>
                  <a:pt x="146" y="15"/>
                </a:lnTo>
                <a:lnTo>
                  <a:pt x="150" y="19"/>
                </a:lnTo>
                <a:lnTo>
                  <a:pt x="152" y="21"/>
                </a:lnTo>
                <a:lnTo>
                  <a:pt x="154" y="23"/>
                </a:lnTo>
                <a:lnTo>
                  <a:pt x="157" y="31"/>
                </a:lnTo>
                <a:lnTo>
                  <a:pt x="159" y="38"/>
                </a:lnTo>
                <a:lnTo>
                  <a:pt x="161" y="40"/>
                </a:lnTo>
                <a:lnTo>
                  <a:pt x="165" y="42"/>
                </a:lnTo>
                <a:lnTo>
                  <a:pt x="167" y="50"/>
                </a:lnTo>
                <a:lnTo>
                  <a:pt x="169" y="58"/>
                </a:lnTo>
                <a:lnTo>
                  <a:pt x="171" y="59"/>
                </a:lnTo>
                <a:lnTo>
                  <a:pt x="173" y="61"/>
                </a:lnTo>
                <a:lnTo>
                  <a:pt x="180" y="79"/>
                </a:lnTo>
                <a:lnTo>
                  <a:pt x="188" y="96"/>
                </a:lnTo>
                <a:lnTo>
                  <a:pt x="190" y="98"/>
                </a:lnTo>
                <a:lnTo>
                  <a:pt x="194" y="100"/>
                </a:lnTo>
                <a:lnTo>
                  <a:pt x="196" y="104"/>
                </a:lnTo>
                <a:lnTo>
                  <a:pt x="198" y="105"/>
                </a:lnTo>
                <a:lnTo>
                  <a:pt x="200" y="107"/>
                </a:lnTo>
                <a:lnTo>
                  <a:pt x="203" y="111"/>
                </a:lnTo>
                <a:lnTo>
                  <a:pt x="228" y="113"/>
                </a:lnTo>
                <a:lnTo>
                  <a:pt x="255" y="115"/>
                </a:lnTo>
                <a:lnTo>
                  <a:pt x="257" y="117"/>
                </a:lnTo>
                <a:lnTo>
                  <a:pt x="261" y="121"/>
                </a:lnTo>
                <a:lnTo>
                  <a:pt x="257" y="123"/>
                </a:lnTo>
                <a:lnTo>
                  <a:pt x="255" y="125"/>
                </a:lnTo>
                <a:lnTo>
                  <a:pt x="253" y="134"/>
                </a:lnTo>
                <a:lnTo>
                  <a:pt x="251" y="144"/>
                </a:lnTo>
                <a:lnTo>
                  <a:pt x="261" y="144"/>
                </a:lnTo>
                <a:lnTo>
                  <a:pt x="271" y="144"/>
                </a:lnTo>
                <a:lnTo>
                  <a:pt x="271" y="161"/>
                </a:lnTo>
                <a:lnTo>
                  <a:pt x="271" y="178"/>
                </a:lnTo>
                <a:lnTo>
                  <a:pt x="267" y="180"/>
                </a:lnTo>
                <a:lnTo>
                  <a:pt x="265" y="182"/>
                </a:lnTo>
                <a:lnTo>
                  <a:pt x="238" y="182"/>
                </a:lnTo>
                <a:lnTo>
                  <a:pt x="213" y="182"/>
                </a:lnTo>
                <a:lnTo>
                  <a:pt x="213" y="205"/>
                </a:lnTo>
                <a:lnTo>
                  <a:pt x="213" y="226"/>
                </a:lnTo>
                <a:lnTo>
                  <a:pt x="209" y="228"/>
                </a:lnTo>
                <a:lnTo>
                  <a:pt x="207" y="232"/>
                </a:lnTo>
                <a:lnTo>
                  <a:pt x="205" y="238"/>
                </a:lnTo>
                <a:lnTo>
                  <a:pt x="203" y="246"/>
                </a:lnTo>
                <a:lnTo>
                  <a:pt x="200" y="247"/>
                </a:lnTo>
                <a:lnTo>
                  <a:pt x="198" y="251"/>
                </a:lnTo>
                <a:lnTo>
                  <a:pt x="196" y="253"/>
                </a:lnTo>
                <a:lnTo>
                  <a:pt x="194" y="255"/>
                </a:lnTo>
                <a:lnTo>
                  <a:pt x="190" y="257"/>
                </a:lnTo>
                <a:lnTo>
                  <a:pt x="188" y="261"/>
                </a:lnTo>
                <a:lnTo>
                  <a:pt x="182" y="265"/>
                </a:lnTo>
                <a:lnTo>
                  <a:pt x="179" y="270"/>
                </a:lnTo>
              </a:path>
            </a:pathLst>
          </a:custGeom>
          <a:solidFill>
            <a:schemeClr val="accent3"/>
          </a:solidFill>
          <a:ln w="12700">
            <a:solidFill>
              <a:schemeClr val="bg1"/>
            </a:solidFill>
            <a:round/>
            <a:headEnd/>
            <a:tailEnd/>
          </a:ln>
        </p:spPr>
        <p:txBody>
          <a:bodyPr/>
          <a:lstStyle/>
          <a:p>
            <a:endParaRPr lang="en-GB"/>
          </a:p>
        </p:txBody>
      </p:sp>
      <p:sp>
        <p:nvSpPr>
          <p:cNvPr id="50" name="Freeform 317"/>
          <p:cNvSpPr>
            <a:spLocks/>
          </p:cNvSpPr>
          <p:nvPr>
            <p:custDataLst>
              <p:tags r:id="rId34"/>
            </p:custDataLst>
          </p:nvPr>
        </p:nvSpPr>
        <p:spPr bwMode="auto">
          <a:xfrm>
            <a:off x="1834456" y="4600938"/>
            <a:ext cx="289849" cy="202059"/>
          </a:xfrm>
          <a:custGeom>
            <a:avLst/>
            <a:gdLst>
              <a:gd name="T0" fmla="*/ 2147483647 w 213"/>
              <a:gd name="T1" fmla="*/ 2147483647 h 154"/>
              <a:gd name="T2" fmla="*/ 2147483647 w 213"/>
              <a:gd name="T3" fmla="*/ 2147483647 h 154"/>
              <a:gd name="T4" fmla="*/ 2147483647 w 213"/>
              <a:gd name="T5" fmla="*/ 2147483647 h 154"/>
              <a:gd name="T6" fmla="*/ 2147483647 w 213"/>
              <a:gd name="T7" fmla="*/ 2147483647 h 154"/>
              <a:gd name="T8" fmla="*/ 2147483647 w 213"/>
              <a:gd name="T9" fmla="*/ 2147483647 h 154"/>
              <a:gd name="T10" fmla="*/ 2147483647 w 213"/>
              <a:gd name="T11" fmla="*/ 2147483647 h 154"/>
              <a:gd name="T12" fmla="*/ 2147483647 w 213"/>
              <a:gd name="T13" fmla="*/ 2147483647 h 154"/>
              <a:gd name="T14" fmla="*/ 2147483647 w 213"/>
              <a:gd name="T15" fmla="*/ 2147483647 h 154"/>
              <a:gd name="T16" fmla="*/ 2147483647 w 213"/>
              <a:gd name="T17" fmla="*/ 2147483647 h 154"/>
              <a:gd name="T18" fmla="*/ 2147483647 w 213"/>
              <a:gd name="T19" fmla="*/ 2147483647 h 154"/>
              <a:gd name="T20" fmla="*/ 2147483647 w 213"/>
              <a:gd name="T21" fmla="*/ 2147483647 h 154"/>
              <a:gd name="T22" fmla="*/ 2147483647 w 213"/>
              <a:gd name="T23" fmla="*/ 2147483647 h 154"/>
              <a:gd name="T24" fmla="*/ 2147483647 w 213"/>
              <a:gd name="T25" fmla="*/ 2147483647 h 154"/>
              <a:gd name="T26" fmla="*/ 2147483647 w 213"/>
              <a:gd name="T27" fmla="*/ 2147483647 h 154"/>
              <a:gd name="T28" fmla="*/ 2147483647 w 213"/>
              <a:gd name="T29" fmla="*/ 2147483647 h 154"/>
              <a:gd name="T30" fmla="*/ 2147483647 w 213"/>
              <a:gd name="T31" fmla="*/ 2147483647 h 154"/>
              <a:gd name="T32" fmla="*/ 2147483647 w 213"/>
              <a:gd name="T33" fmla="*/ 2147483647 h 154"/>
              <a:gd name="T34" fmla="*/ 2147483647 w 213"/>
              <a:gd name="T35" fmla="*/ 2147483647 h 154"/>
              <a:gd name="T36" fmla="*/ 2147483647 w 213"/>
              <a:gd name="T37" fmla="*/ 2147483647 h 154"/>
              <a:gd name="T38" fmla="*/ 2147483647 w 213"/>
              <a:gd name="T39" fmla="*/ 2147483647 h 154"/>
              <a:gd name="T40" fmla="*/ 2147483647 w 213"/>
              <a:gd name="T41" fmla="*/ 0 h 154"/>
              <a:gd name="T42" fmla="*/ 2147483647 w 213"/>
              <a:gd name="T43" fmla="*/ 2147483647 h 154"/>
              <a:gd name="T44" fmla="*/ 2147483647 w 213"/>
              <a:gd name="T45" fmla="*/ 2147483647 h 154"/>
              <a:gd name="T46" fmla="*/ 2147483647 w 213"/>
              <a:gd name="T47" fmla="*/ 2147483647 h 154"/>
              <a:gd name="T48" fmla="*/ 2147483647 w 213"/>
              <a:gd name="T49" fmla="*/ 2147483647 h 154"/>
              <a:gd name="T50" fmla="*/ 2147483647 w 213"/>
              <a:gd name="T51" fmla="*/ 2147483647 h 154"/>
              <a:gd name="T52" fmla="*/ 2147483647 w 213"/>
              <a:gd name="T53" fmla="*/ 2147483647 h 154"/>
              <a:gd name="T54" fmla="*/ 2147483647 w 213"/>
              <a:gd name="T55" fmla="*/ 2147483647 h 154"/>
              <a:gd name="T56" fmla="*/ 2147483647 w 213"/>
              <a:gd name="T57" fmla="*/ 2147483647 h 154"/>
              <a:gd name="T58" fmla="*/ 2147483647 w 213"/>
              <a:gd name="T59" fmla="*/ 2147483647 h 154"/>
              <a:gd name="T60" fmla="*/ 2147483647 w 213"/>
              <a:gd name="T61" fmla="*/ 2147483647 h 154"/>
              <a:gd name="T62" fmla="*/ 2147483647 w 213"/>
              <a:gd name="T63" fmla="*/ 2147483647 h 154"/>
              <a:gd name="T64" fmla="*/ 2147483647 w 213"/>
              <a:gd name="T65" fmla="*/ 2147483647 h 154"/>
              <a:gd name="T66" fmla="*/ 2147483647 w 213"/>
              <a:gd name="T67" fmla="*/ 2147483647 h 154"/>
              <a:gd name="T68" fmla="*/ 2147483647 w 213"/>
              <a:gd name="T69" fmla="*/ 2147483647 h 154"/>
              <a:gd name="T70" fmla="*/ 2147483647 w 213"/>
              <a:gd name="T71" fmla="*/ 2147483647 h 154"/>
              <a:gd name="T72" fmla="*/ 2147483647 w 213"/>
              <a:gd name="T73" fmla="*/ 2147483647 h 154"/>
              <a:gd name="T74" fmla="*/ 2147483647 w 213"/>
              <a:gd name="T75" fmla="*/ 2147483647 h 154"/>
              <a:gd name="T76" fmla="*/ 2147483647 w 213"/>
              <a:gd name="T77" fmla="*/ 2147483647 h 154"/>
              <a:gd name="T78" fmla="*/ 2147483647 w 213"/>
              <a:gd name="T79" fmla="*/ 2147483647 h 154"/>
              <a:gd name="T80" fmla="*/ 2147483647 w 213"/>
              <a:gd name="T81" fmla="*/ 2147483647 h 154"/>
              <a:gd name="T82" fmla="*/ 2147483647 w 213"/>
              <a:gd name="T83" fmla="*/ 2147483647 h 154"/>
              <a:gd name="T84" fmla="*/ 2147483647 w 213"/>
              <a:gd name="T85" fmla="*/ 2147483647 h 154"/>
              <a:gd name="T86" fmla="*/ 2147483647 w 213"/>
              <a:gd name="T87" fmla="*/ 2147483647 h 154"/>
              <a:gd name="T88" fmla="*/ 2147483647 w 213"/>
              <a:gd name="T89" fmla="*/ 2147483647 h 154"/>
              <a:gd name="T90" fmla="*/ 2147483647 w 213"/>
              <a:gd name="T91" fmla="*/ 2147483647 h 154"/>
              <a:gd name="T92" fmla="*/ 2147483647 w 213"/>
              <a:gd name="T93" fmla="*/ 2147483647 h 154"/>
              <a:gd name="T94" fmla="*/ 2147483647 w 213"/>
              <a:gd name="T95" fmla="*/ 2147483647 h 154"/>
              <a:gd name="T96" fmla="*/ 2147483647 w 213"/>
              <a:gd name="T97" fmla="*/ 2147483647 h 154"/>
              <a:gd name="T98" fmla="*/ 2147483647 w 213"/>
              <a:gd name="T99" fmla="*/ 2147483647 h 154"/>
              <a:gd name="T100" fmla="*/ 2147483647 w 213"/>
              <a:gd name="T101" fmla="*/ 2147483647 h 154"/>
              <a:gd name="T102" fmla="*/ 2147483647 w 213"/>
              <a:gd name="T103" fmla="*/ 2147483647 h 154"/>
              <a:gd name="T104" fmla="*/ 2147483647 w 213"/>
              <a:gd name="T105" fmla="*/ 2147483647 h 154"/>
              <a:gd name="T106" fmla="*/ 2147483647 w 213"/>
              <a:gd name="T107" fmla="*/ 2147483647 h 15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13"/>
              <a:gd name="T163" fmla="*/ 0 h 154"/>
              <a:gd name="T164" fmla="*/ 213 w 213"/>
              <a:gd name="T165" fmla="*/ 154 h 15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13" h="154">
                <a:moveTo>
                  <a:pt x="34" y="154"/>
                </a:moveTo>
                <a:lnTo>
                  <a:pt x="30" y="152"/>
                </a:lnTo>
                <a:lnTo>
                  <a:pt x="28" y="150"/>
                </a:lnTo>
                <a:lnTo>
                  <a:pt x="21" y="148"/>
                </a:lnTo>
                <a:lnTo>
                  <a:pt x="15" y="144"/>
                </a:lnTo>
                <a:lnTo>
                  <a:pt x="11" y="142"/>
                </a:lnTo>
                <a:lnTo>
                  <a:pt x="9" y="140"/>
                </a:lnTo>
                <a:lnTo>
                  <a:pt x="7" y="138"/>
                </a:lnTo>
                <a:lnTo>
                  <a:pt x="5" y="134"/>
                </a:lnTo>
                <a:lnTo>
                  <a:pt x="2" y="132"/>
                </a:lnTo>
                <a:lnTo>
                  <a:pt x="0" y="131"/>
                </a:lnTo>
                <a:lnTo>
                  <a:pt x="2" y="129"/>
                </a:lnTo>
                <a:lnTo>
                  <a:pt x="5" y="125"/>
                </a:lnTo>
                <a:lnTo>
                  <a:pt x="7" y="123"/>
                </a:lnTo>
                <a:lnTo>
                  <a:pt x="9" y="121"/>
                </a:lnTo>
                <a:lnTo>
                  <a:pt x="11" y="117"/>
                </a:lnTo>
                <a:lnTo>
                  <a:pt x="15" y="115"/>
                </a:lnTo>
                <a:lnTo>
                  <a:pt x="17" y="113"/>
                </a:lnTo>
                <a:lnTo>
                  <a:pt x="19" y="111"/>
                </a:lnTo>
                <a:lnTo>
                  <a:pt x="21" y="108"/>
                </a:lnTo>
                <a:lnTo>
                  <a:pt x="25" y="106"/>
                </a:lnTo>
                <a:lnTo>
                  <a:pt x="27" y="104"/>
                </a:lnTo>
                <a:lnTo>
                  <a:pt x="28" y="102"/>
                </a:lnTo>
                <a:lnTo>
                  <a:pt x="30" y="100"/>
                </a:lnTo>
                <a:lnTo>
                  <a:pt x="34" y="96"/>
                </a:lnTo>
                <a:lnTo>
                  <a:pt x="36" y="85"/>
                </a:lnTo>
                <a:lnTo>
                  <a:pt x="38" y="58"/>
                </a:lnTo>
                <a:lnTo>
                  <a:pt x="36" y="31"/>
                </a:lnTo>
                <a:lnTo>
                  <a:pt x="34" y="19"/>
                </a:lnTo>
                <a:lnTo>
                  <a:pt x="30" y="17"/>
                </a:lnTo>
                <a:lnTo>
                  <a:pt x="28" y="14"/>
                </a:lnTo>
                <a:lnTo>
                  <a:pt x="28" y="10"/>
                </a:lnTo>
                <a:lnTo>
                  <a:pt x="28" y="4"/>
                </a:lnTo>
                <a:lnTo>
                  <a:pt x="30" y="2"/>
                </a:lnTo>
                <a:lnTo>
                  <a:pt x="34" y="0"/>
                </a:lnTo>
                <a:lnTo>
                  <a:pt x="36" y="2"/>
                </a:lnTo>
                <a:lnTo>
                  <a:pt x="38" y="4"/>
                </a:lnTo>
                <a:lnTo>
                  <a:pt x="57" y="4"/>
                </a:lnTo>
                <a:lnTo>
                  <a:pt x="76" y="4"/>
                </a:lnTo>
                <a:lnTo>
                  <a:pt x="80" y="2"/>
                </a:lnTo>
                <a:lnTo>
                  <a:pt x="82" y="0"/>
                </a:lnTo>
                <a:lnTo>
                  <a:pt x="92" y="0"/>
                </a:lnTo>
                <a:lnTo>
                  <a:pt x="101" y="0"/>
                </a:lnTo>
                <a:lnTo>
                  <a:pt x="103" y="2"/>
                </a:lnTo>
                <a:lnTo>
                  <a:pt x="105" y="4"/>
                </a:lnTo>
                <a:lnTo>
                  <a:pt x="109" y="8"/>
                </a:lnTo>
                <a:lnTo>
                  <a:pt x="111" y="10"/>
                </a:lnTo>
                <a:lnTo>
                  <a:pt x="113" y="12"/>
                </a:lnTo>
                <a:lnTo>
                  <a:pt x="117" y="14"/>
                </a:lnTo>
                <a:lnTo>
                  <a:pt x="132" y="17"/>
                </a:lnTo>
                <a:lnTo>
                  <a:pt x="149" y="19"/>
                </a:lnTo>
                <a:lnTo>
                  <a:pt x="151" y="21"/>
                </a:lnTo>
                <a:lnTo>
                  <a:pt x="155" y="23"/>
                </a:lnTo>
                <a:lnTo>
                  <a:pt x="157" y="31"/>
                </a:lnTo>
                <a:lnTo>
                  <a:pt x="159" y="38"/>
                </a:lnTo>
                <a:lnTo>
                  <a:pt x="161" y="40"/>
                </a:lnTo>
                <a:lnTo>
                  <a:pt x="165" y="44"/>
                </a:lnTo>
                <a:lnTo>
                  <a:pt x="182" y="46"/>
                </a:lnTo>
                <a:lnTo>
                  <a:pt x="197" y="48"/>
                </a:lnTo>
                <a:lnTo>
                  <a:pt x="201" y="50"/>
                </a:lnTo>
                <a:lnTo>
                  <a:pt x="203" y="54"/>
                </a:lnTo>
                <a:lnTo>
                  <a:pt x="205" y="60"/>
                </a:lnTo>
                <a:lnTo>
                  <a:pt x="207" y="67"/>
                </a:lnTo>
                <a:lnTo>
                  <a:pt x="211" y="69"/>
                </a:lnTo>
                <a:lnTo>
                  <a:pt x="213" y="73"/>
                </a:lnTo>
                <a:lnTo>
                  <a:pt x="213" y="83"/>
                </a:lnTo>
                <a:lnTo>
                  <a:pt x="213" y="92"/>
                </a:lnTo>
                <a:lnTo>
                  <a:pt x="211" y="94"/>
                </a:lnTo>
                <a:lnTo>
                  <a:pt x="207" y="96"/>
                </a:lnTo>
                <a:lnTo>
                  <a:pt x="205" y="104"/>
                </a:lnTo>
                <a:lnTo>
                  <a:pt x="203" y="111"/>
                </a:lnTo>
                <a:lnTo>
                  <a:pt x="201" y="113"/>
                </a:lnTo>
                <a:lnTo>
                  <a:pt x="197" y="115"/>
                </a:lnTo>
                <a:lnTo>
                  <a:pt x="195" y="117"/>
                </a:lnTo>
                <a:lnTo>
                  <a:pt x="193" y="121"/>
                </a:lnTo>
                <a:lnTo>
                  <a:pt x="190" y="123"/>
                </a:lnTo>
                <a:lnTo>
                  <a:pt x="188" y="125"/>
                </a:lnTo>
                <a:lnTo>
                  <a:pt x="184" y="125"/>
                </a:lnTo>
                <a:lnTo>
                  <a:pt x="178" y="125"/>
                </a:lnTo>
                <a:lnTo>
                  <a:pt x="176" y="123"/>
                </a:lnTo>
                <a:lnTo>
                  <a:pt x="174" y="121"/>
                </a:lnTo>
                <a:lnTo>
                  <a:pt x="167" y="117"/>
                </a:lnTo>
                <a:lnTo>
                  <a:pt x="159" y="115"/>
                </a:lnTo>
                <a:lnTo>
                  <a:pt x="157" y="113"/>
                </a:lnTo>
                <a:lnTo>
                  <a:pt x="155" y="111"/>
                </a:lnTo>
                <a:lnTo>
                  <a:pt x="147" y="108"/>
                </a:lnTo>
                <a:lnTo>
                  <a:pt x="140" y="106"/>
                </a:lnTo>
                <a:lnTo>
                  <a:pt x="138" y="104"/>
                </a:lnTo>
                <a:lnTo>
                  <a:pt x="136" y="102"/>
                </a:lnTo>
                <a:lnTo>
                  <a:pt x="132" y="100"/>
                </a:lnTo>
                <a:lnTo>
                  <a:pt x="130" y="96"/>
                </a:lnTo>
                <a:lnTo>
                  <a:pt x="128" y="94"/>
                </a:lnTo>
                <a:lnTo>
                  <a:pt x="126" y="92"/>
                </a:lnTo>
                <a:lnTo>
                  <a:pt x="121" y="92"/>
                </a:lnTo>
                <a:lnTo>
                  <a:pt x="117" y="92"/>
                </a:lnTo>
                <a:lnTo>
                  <a:pt x="113" y="94"/>
                </a:lnTo>
                <a:lnTo>
                  <a:pt x="111" y="96"/>
                </a:lnTo>
                <a:lnTo>
                  <a:pt x="109" y="100"/>
                </a:lnTo>
                <a:lnTo>
                  <a:pt x="105" y="102"/>
                </a:lnTo>
                <a:lnTo>
                  <a:pt x="103" y="104"/>
                </a:lnTo>
                <a:lnTo>
                  <a:pt x="101" y="106"/>
                </a:lnTo>
                <a:lnTo>
                  <a:pt x="94" y="108"/>
                </a:lnTo>
                <a:lnTo>
                  <a:pt x="88" y="111"/>
                </a:lnTo>
                <a:lnTo>
                  <a:pt x="84" y="113"/>
                </a:lnTo>
                <a:lnTo>
                  <a:pt x="82" y="115"/>
                </a:lnTo>
                <a:lnTo>
                  <a:pt x="80" y="134"/>
                </a:lnTo>
                <a:lnTo>
                  <a:pt x="76" y="154"/>
                </a:lnTo>
                <a:lnTo>
                  <a:pt x="55" y="154"/>
                </a:lnTo>
                <a:lnTo>
                  <a:pt x="34" y="154"/>
                </a:lnTo>
              </a:path>
            </a:pathLst>
          </a:custGeom>
          <a:solidFill>
            <a:schemeClr val="accent3"/>
          </a:solidFill>
          <a:ln w="12700">
            <a:solidFill>
              <a:schemeClr val="bg1"/>
            </a:solidFill>
            <a:round/>
            <a:headEnd/>
            <a:tailEnd/>
          </a:ln>
        </p:spPr>
        <p:txBody>
          <a:bodyPr/>
          <a:lstStyle/>
          <a:p>
            <a:endParaRPr lang="en-GB"/>
          </a:p>
        </p:txBody>
      </p:sp>
      <p:sp>
        <p:nvSpPr>
          <p:cNvPr id="51" name="Freeform 318"/>
          <p:cNvSpPr>
            <a:spLocks/>
          </p:cNvSpPr>
          <p:nvPr>
            <p:custDataLst>
              <p:tags r:id="rId35"/>
            </p:custDataLst>
          </p:nvPr>
        </p:nvSpPr>
        <p:spPr bwMode="auto">
          <a:xfrm>
            <a:off x="2311036" y="4408634"/>
            <a:ext cx="235502" cy="280095"/>
          </a:xfrm>
          <a:custGeom>
            <a:avLst/>
            <a:gdLst>
              <a:gd name="T0" fmla="*/ 2147483647 w 173"/>
              <a:gd name="T1" fmla="*/ 2147483647 h 213"/>
              <a:gd name="T2" fmla="*/ 2147483647 w 173"/>
              <a:gd name="T3" fmla="*/ 2147483647 h 213"/>
              <a:gd name="T4" fmla="*/ 2147483647 w 173"/>
              <a:gd name="T5" fmla="*/ 2147483647 h 213"/>
              <a:gd name="T6" fmla="*/ 2147483647 w 173"/>
              <a:gd name="T7" fmla="*/ 2147483647 h 213"/>
              <a:gd name="T8" fmla="*/ 2147483647 w 173"/>
              <a:gd name="T9" fmla="*/ 2147483647 h 213"/>
              <a:gd name="T10" fmla="*/ 2147483647 w 173"/>
              <a:gd name="T11" fmla="*/ 2147483647 h 213"/>
              <a:gd name="T12" fmla="*/ 2147483647 w 173"/>
              <a:gd name="T13" fmla="*/ 2147483647 h 213"/>
              <a:gd name="T14" fmla="*/ 2147483647 w 173"/>
              <a:gd name="T15" fmla="*/ 2147483647 h 213"/>
              <a:gd name="T16" fmla="*/ 2147483647 w 173"/>
              <a:gd name="T17" fmla="*/ 2147483647 h 213"/>
              <a:gd name="T18" fmla="*/ 2147483647 w 173"/>
              <a:gd name="T19" fmla="*/ 2147483647 h 213"/>
              <a:gd name="T20" fmla="*/ 2147483647 w 173"/>
              <a:gd name="T21" fmla="*/ 2147483647 h 213"/>
              <a:gd name="T22" fmla="*/ 2147483647 w 173"/>
              <a:gd name="T23" fmla="*/ 2147483647 h 213"/>
              <a:gd name="T24" fmla="*/ 2147483647 w 173"/>
              <a:gd name="T25" fmla="*/ 2147483647 h 213"/>
              <a:gd name="T26" fmla="*/ 2147483647 w 173"/>
              <a:gd name="T27" fmla="*/ 2147483647 h 213"/>
              <a:gd name="T28" fmla="*/ 0 w 173"/>
              <a:gd name="T29" fmla="*/ 2147483647 h 213"/>
              <a:gd name="T30" fmla="*/ 2147483647 w 173"/>
              <a:gd name="T31" fmla="*/ 2147483647 h 213"/>
              <a:gd name="T32" fmla="*/ 2147483647 w 173"/>
              <a:gd name="T33" fmla="*/ 2147483647 h 213"/>
              <a:gd name="T34" fmla="*/ 2147483647 w 173"/>
              <a:gd name="T35" fmla="*/ 2147483647 h 213"/>
              <a:gd name="T36" fmla="*/ 2147483647 w 173"/>
              <a:gd name="T37" fmla="*/ 2147483647 h 213"/>
              <a:gd name="T38" fmla="*/ 2147483647 w 173"/>
              <a:gd name="T39" fmla="*/ 2147483647 h 213"/>
              <a:gd name="T40" fmla="*/ 2147483647 w 173"/>
              <a:gd name="T41" fmla="*/ 2147483647 h 213"/>
              <a:gd name="T42" fmla="*/ 2147483647 w 173"/>
              <a:gd name="T43" fmla="*/ 2147483647 h 213"/>
              <a:gd name="T44" fmla="*/ 2147483647 w 173"/>
              <a:gd name="T45" fmla="*/ 2147483647 h 213"/>
              <a:gd name="T46" fmla="*/ 2147483647 w 173"/>
              <a:gd name="T47" fmla="*/ 2147483647 h 213"/>
              <a:gd name="T48" fmla="*/ 2147483647 w 173"/>
              <a:gd name="T49" fmla="*/ 2147483647 h 213"/>
              <a:gd name="T50" fmla="*/ 2147483647 w 173"/>
              <a:gd name="T51" fmla="*/ 2147483647 h 213"/>
              <a:gd name="T52" fmla="*/ 2147483647 w 173"/>
              <a:gd name="T53" fmla="*/ 2147483647 h 213"/>
              <a:gd name="T54" fmla="*/ 2147483647 w 173"/>
              <a:gd name="T55" fmla="*/ 2147483647 h 213"/>
              <a:gd name="T56" fmla="*/ 2147483647 w 173"/>
              <a:gd name="T57" fmla="*/ 2147483647 h 213"/>
              <a:gd name="T58" fmla="*/ 2147483647 w 173"/>
              <a:gd name="T59" fmla="*/ 2147483647 h 213"/>
              <a:gd name="T60" fmla="*/ 2147483647 w 173"/>
              <a:gd name="T61" fmla="*/ 2147483647 h 213"/>
              <a:gd name="T62" fmla="*/ 2147483647 w 173"/>
              <a:gd name="T63" fmla="*/ 2147483647 h 213"/>
              <a:gd name="T64" fmla="*/ 2147483647 w 173"/>
              <a:gd name="T65" fmla="*/ 2147483647 h 213"/>
              <a:gd name="T66" fmla="*/ 2147483647 w 173"/>
              <a:gd name="T67" fmla="*/ 2147483647 h 213"/>
              <a:gd name="T68" fmla="*/ 2147483647 w 173"/>
              <a:gd name="T69" fmla="*/ 2147483647 h 213"/>
              <a:gd name="T70" fmla="*/ 2147483647 w 173"/>
              <a:gd name="T71" fmla="*/ 2147483647 h 213"/>
              <a:gd name="T72" fmla="*/ 2147483647 w 173"/>
              <a:gd name="T73" fmla="*/ 2147483647 h 213"/>
              <a:gd name="T74" fmla="*/ 2147483647 w 173"/>
              <a:gd name="T75" fmla="*/ 2147483647 h 213"/>
              <a:gd name="T76" fmla="*/ 2147483647 w 173"/>
              <a:gd name="T77" fmla="*/ 2147483647 h 213"/>
              <a:gd name="T78" fmla="*/ 2147483647 w 173"/>
              <a:gd name="T79" fmla="*/ 2147483647 h 213"/>
              <a:gd name="T80" fmla="*/ 2147483647 w 173"/>
              <a:gd name="T81" fmla="*/ 2147483647 h 213"/>
              <a:gd name="T82" fmla="*/ 2147483647 w 173"/>
              <a:gd name="T83" fmla="*/ 2147483647 h 213"/>
              <a:gd name="T84" fmla="*/ 2147483647 w 173"/>
              <a:gd name="T85" fmla="*/ 2147483647 h 213"/>
              <a:gd name="T86" fmla="*/ 2147483647 w 173"/>
              <a:gd name="T87" fmla="*/ 2147483647 h 213"/>
              <a:gd name="T88" fmla="*/ 2147483647 w 173"/>
              <a:gd name="T89" fmla="*/ 2147483647 h 213"/>
              <a:gd name="T90" fmla="*/ 2147483647 w 173"/>
              <a:gd name="T91" fmla="*/ 2147483647 h 213"/>
              <a:gd name="T92" fmla="*/ 2147483647 w 173"/>
              <a:gd name="T93" fmla="*/ 2147483647 h 213"/>
              <a:gd name="T94" fmla="*/ 2147483647 w 173"/>
              <a:gd name="T95" fmla="*/ 2147483647 h 213"/>
              <a:gd name="T96" fmla="*/ 2147483647 w 173"/>
              <a:gd name="T97" fmla="*/ 2147483647 h 213"/>
              <a:gd name="T98" fmla="*/ 2147483647 w 173"/>
              <a:gd name="T99" fmla="*/ 2147483647 h 213"/>
              <a:gd name="T100" fmla="*/ 2147483647 w 173"/>
              <a:gd name="T101" fmla="*/ 2147483647 h 213"/>
              <a:gd name="T102" fmla="*/ 2147483647 w 173"/>
              <a:gd name="T103" fmla="*/ 2147483647 h 213"/>
              <a:gd name="T104" fmla="*/ 2147483647 w 173"/>
              <a:gd name="T105" fmla="*/ 2147483647 h 213"/>
              <a:gd name="T106" fmla="*/ 2147483647 w 173"/>
              <a:gd name="T107" fmla="*/ 2147483647 h 213"/>
              <a:gd name="T108" fmla="*/ 2147483647 w 173"/>
              <a:gd name="T109" fmla="*/ 2147483647 h 213"/>
              <a:gd name="T110" fmla="*/ 2147483647 w 173"/>
              <a:gd name="T111" fmla="*/ 2147483647 h 213"/>
              <a:gd name="T112" fmla="*/ 2147483647 w 173"/>
              <a:gd name="T113" fmla="*/ 2147483647 h 213"/>
              <a:gd name="T114" fmla="*/ 2147483647 w 173"/>
              <a:gd name="T115" fmla="*/ 2147483647 h 213"/>
              <a:gd name="T116" fmla="*/ 2147483647 w 173"/>
              <a:gd name="T117" fmla="*/ 2147483647 h 213"/>
              <a:gd name="T118" fmla="*/ 2147483647 w 173"/>
              <a:gd name="T119" fmla="*/ 2147483647 h 213"/>
              <a:gd name="T120" fmla="*/ 2147483647 w 173"/>
              <a:gd name="T121" fmla="*/ 2147483647 h 213"/>
              <a:gd name="T122" fmla="*/ 2147483647 w 173"/>
              <a:gd name="T123" fmla="*/ 2147483647 h 21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3"/>
              <a:gd name="T187" fmla="*/ 0 h 213"/>
              <a:gd name="T188" fmla="*/ 173 w 173"/>
              <a:gd name="T189" fmla="*/ 213 h 21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3" h="213">
                <a:moveTo>
                  <a:pt x="67" y="207"/>
                </a:moveTo>
                <a:lnTo>
                  <a:pt x="69" y="206"/>
                </a:lnTo>
                <a:lnTo>
                  <a:pt x="71" y="204"/>
                </a:lnTo>
                <a:lnTo>
                  <a:pt x="71" y="198"/>
                </a:lnTo>
                <a:lnTo>
                  <a:pt x="71" y="194"/>
                </a:lnTo>
                <a:lnTo>
                  <a:pt x="69" y="192"/>
                </a:lnTo>
                <a:lnTo>
                  <a:pt x="67" y="190"/>
                </a:lnTo>
                <a:lnTo>
                  <a:pt x="61" y="179"/>
                </a:lnTo>
                <a:lnTo>
                  <a:pt x="57" y="169"/>
                </a:lnTo>
                <a:lnTo>
                  <a:pt x="59" y="167"/>
                </a:lnTo>
                <a:lnTo>
                  <a:pt x="61" y="165"/>
                </a:lnTo>
                <a:lnTo>
                  <a:pt x="65" y="169"/>
                </a:lnTo>
                <a:lnTo>
                  <a:pt x="69" y="173"/>
                </a:lnTo>
                <a:lnTo>
                  <a:pt x="73" y="163"/>
                </a:lnTo>
                <a:lnTo>
                  <a:pt x="77" y="156"/>
                </a:lnTo>
                <a:lnTo>
                  <a:pt x="67" y="158"/>
                </a:lnTo>
                <a:lnTo>
                  <a:pt x="57" y="160"/>
                </a:lnTo>
                <a:lnTo>
                  <a:pt x="56" y="163"/>
                </a:lnTo>
                <a:lnTo>
                  <a:pt x="52" y="165"/>
                </a:lnTo>
                <a:lnTo>
                  <a:pt x="50" y="175"/>
                </a:lnTo>
                <a:lnTo>
                  <a:pt x="48" y="184"/>
                </a:lnTo>
                <a:lnTo>
                  <a:pt x="31" y="184"/>
                </a:lnTo>
                <a:lnTo>
                  <a:pt x="13" y="184"/>
                </a:lnTo>
                <a:lnTo>
                  <a:pt x="11" y="183"/>
                </a:lnTo>
                <a:lnTo>
                  <a:pt x="9" y="179"/>
                </a:lnTo>
                <a:lnTo>
                  <a:pt x="6" y="177"/>
                </a:lnTo>
                <a:lnTo>
                  <a:pt x="4" y="175"/>
                </a:lnTo>
                <a:lnTo>
                  <a:pt x="2" y="173"/>
                </a:lnTo>
                <a:lnTo>
                  <a:pt x="0" y="169"/>
                </a:lnTo>
                <a:lnTo>
                  <a:pt x="0" y="150"/>
                </a:lnTo>
                <a:lnTo>
                  <a:pt x="0" y="131"/>
                </a:lnTo>
                <a:lnTo>
                  <a:pt x="2" y="129"/>
                </a:lnTo>
                <a:lnTo>
                  <a:pt x="4" y="127"/>
                </a:lnTo>
                <a:lnTo>
                  <a:pt x="6" y="123"/>
                </a:lnTo>
                <a:lnTo>
                  <a:pt x="9" y="121"/>
                </a:lnTo>
                <a:lnTo>
                  <a:pt x="11" y="119"/>
                </a:lnTo>
                <a:lnTo>
                  <a:pt x="13" y="117"/>
                </a:lnTo>
                <a:lnTo>
                  <a:pt x="15" y="110"/>
                </a:lnTo>
                <a:lnTo>
                  <a:pt x="19" y="102"/>
                </a:lnTo>
                <a:lnTo>
                  <a:pt x="21" y="100"/>
                </a:lnTo>
                <a:lnTo>
                  <a:pt x="23" y="98"/>
                </a:lnTo>
                <a:lnTo>
                  <a:pt x="25" y="90"/>
                </a:lnTo>
                <a:lnTo>
                  <a:pt x="29" y="83"/>
                </a:lnTo>
                <a:lnTo>
                  <a:pt x="31" y="81"/>
                </a:lnTo>
                <a:lnTo>
                  <a:pt x="33" y="79"/>
                </a:lnTo>
                <a:lnTo>
                  <a:pt x="34" y="71"/>
                </a:lnTo>
                <a:lnTo>
                  <a:pt x="38" y="64"/>
                </a:lnTo>
                <a:lnTo>
                  <a:pt x="40" y="62"/>
                </a:lnTo>
                <a:lnTo>
                  <a:pt x="42" y="58"/>
                </a:lnTo>
                <a:lnTo>
                  <a:pt x="46" y="58"/>
                </a:lnTo>
                <a:lnTo>
                  <a:pt x="52" y="58"/>
                </a:lnTo>
                <a:lnTo>
                  <a:pt x="56" y="62"/>
                </a:lnTo>
                <a:lnTo>
                  <a:pt x="57" y="64"/>
                </a:lnTo>
                <a:lnTo>
                  <a:pt x="61" y="64"/>
                </a:lnTo>
                <a:lnTo>
                  <a:pt x="67" y="64"/>
                </a:lnTo>
                <a:lnTo>
                  <a:pt x="69" y="62"/>
                </a:lnTo>
                <a:lnTo>
                  <a:pt x="71" y="58"/>
                </a:lnTo>
                <a:lnTo>
                  <a:pt x="73" y="56"/>
                </a:lnTo>
                <a:lnTo>
                  <a:pt x="77" y="54"/>
                </a:lnTo>
                <a:lnTo>
                  <a:pt x="79" y="52"/>
                </a:lnTo>
                <a:lnTo>
                  <a:pt x="80" y="48"/>
                </a:lnTo>
                <a:lnTo>
                  <a:pt x="84" y="46"/>
                </a:lnTo>
                <a:lnTo>
                  <a:pt x="86" y="44"/>
                </a:lnTo>
                <a:lnTo>
                  <a:pt x="88" y="42"/>
                </a:lnTo>
                <a:lnTo>
                  <a:pt x="90" y="41"/>
                </a:lnTo>
                <a:lnTo>
                  <a:pt x="94" y="27"/>
                </a:lnTo>
                <a:lnTo>
                  <a:pt x="96" y="16"/>
                </a:lnTo>
                <a:lnTo>
                  <a:pt x="98" y="14"/>
                </a:lnTo>
                <a:lnTo>
                  <a:pt x="100" y="10"/>
                </a:lnTo>
                <a:lnTo>
                  <a:pt x="103" y="8"/>
                </a:lnTo>
                <a:lnTo>
                  <a:pt x="105" y="6"/>
                </a:lnTo>
                <a:lnTo>
                  <a:pt x="107" y="2"/>
                </a:lnTo>
                <a:lnTo>
                  <a:pt x="109" y="0"/>
                </a:lnTo>
                <a:lnTo>
                  <a:pt x="113" y="2"/>
                </a:lnTo>
                <a:lnTo>
                  <a:pt x="115" y="6"/>
                </a:lnTo>
                <a:lnTo>
                  <a:pt x="123" y="8"/>
                </a:lnTo>
                <a:lnTo>
                  <a:pt x="130" y="10"/>
                </a:lnTo>
                <a:lnTo>
                  <a:pt x="132" y="14"/>
                </a:lnTo>
                <a:lnTo>
                  <a:pt x="134" y="16"/>
                </a:lnTo>
                <a:lnTo>
                  <a:pt x="136" y="18"/>
                </a:lnTo>
                <a:lnTo>
                  <a:pt x="138" y="19"/>
                </a:lnTo>
                <a:lnTo>
                  <a:pt x="142" y="21"/>
                </a:lnTo>
                <a:lnTo>
                  <a:pt x="144" y="25"/>
                </a:lnTo>
                <a:lnTo>
                  <a:pt x="151" y="27"/>
                </a:lnTo>
                <a:lnTo>
                  <a:pt x="159" y="29"/>
                </a:lnTo>
                <a:lnTo>
                  <a:pt x="161" y="31"/>
                </a:lnTo>
                <a:lnTo>
                  <a:pt x="163" y="35"/>
                </a:lnTo>
                <a:lnTo>
                  <a:pt x="169" y="54"/>
                </a:lnTo>
                <a:lnTo>
                  <a:pt x="173" y="73"/>
                </a:lnTo>
                <a:lnTo>
                  <a:pt x="171" y="75"/>
                </a:lnTo>
                <a:lnTo>
                  <a:pt x="169" y="79"/>
                </a:lnTo>
                <a:lnTo>
                  <a:pt x="165" y="90"/>
                </a:lnTo>
                <a:lnTo>
                  <a:pt x="163" y="102"/>
                </a:lnTo>
                <a:lnTo>
                  <a:pt x="161" y="104"/>
                </a:lnTo>
                <a:lnTo>
                  <a:pt x="159" y="108"/>
                </a:lnTo>
                <a:lnTo>
                  <a:pt x="155" y="123"/>
                </a:lnTo>
                <a:lnTo>
                  <a:pt x="153" y="140"/>
                </a:lnTo>
                <a:lnTo>
                  <a:pt x="151" y="142"/>
                </a:lnTo>
                <a:lnTo>
                  <a:pt x="150" y="146"/>
                </a:lnTo>
                <a:lnTo>
                  <a:pt x="146" y="148"/>
                </a:lnTo>
                <a:lnTo>
                  <a:pt x="144" y="150"/>
                </a:lnTo>
                <a:lnTo>
                  <a:pt x="142" y="154"/>
                </a:lnTo>
                <a:lnTo>
                  <a:pt x="138" y="156"/>
                </a:lnTo>
                <a:lnTo>
                  <a:pt x="136" y="158"/>
                </a:lnTo>
                <a:lnTo>
                  <a:pt x="134" y="160"/>
                </a:lnTo>
                <a:lnTo>
                  <a:pt x="132" y="163"/>
                </a:lnTo>
                <a:lnTo>
                  <a:pt x="130" y="165"/>
                </a:lnTo>
                <a:lnTo>
                  <a:pt x="127" y="167"/>
                </a:lnTo>
                <a:lnTo>
                  <a:pt x="125" y="169"/>
                </a:lnTo>
                <a:lnTo>
                  <a:pt x="123" y="173"/>
                </a:lnTo>
                <a:lnTo>
                  <a:pt x="121" y="175"/>
                </a:lnTo>
                <a:lnTo>
                  <a:pt x="121" y="179"/>
                </a:lnTo>
                <a:lnTo>
                  <a:pt x="121" y="184"/>
                </a:lnTo>
                <a:lnTo>
                  <a:pt x="123" y="186"/>
                </a:lnTo>
                <a:lnTo>
                  <a:pt x="125" y="190"/>
                </a:lnTo>
                <a:lnTo>
                  <a:pt x="125" y="194"/>
                </a:lnTo>
                <a:lnTo>
                  <a:pt x="125" y="200"/>
                </a:lnTo>
                <a:lnTo>
                  <a:pt x="123" y="202"/>
                </a:lnTo>
                <a:lnTo>
                  <a:pt x="121" y="204"/>
                </a:lnTo>
                <a:lnTo>
                  <a:pt x="113" y="206"/>
                </a:lnTo>
                <a:lnTo>
                  <a:pt x="105" y="207"/>
                </a:lnTo>
                <a:lnTo>
                  <a:pt x="103" y="211"/>
                </a:lnTo>
                <a:lnTo>
                  <a:pt x="100" y="213"/>
                </a:lnTo>
                <a:lnTo>
                  <a:pt x="82" y="211"/>
                </a:lnTo>
                <a:lnTo>
                  <a:pt x="67" y="207"/>
                </a:lnTo>
              </a:path>
            </a:pathLst>
          </a:custGeom>
          <a:solidFill>
            <a:schemeClr val="accent3"/>
          </a:solidFill>
          <a:ln w="12700">
            <a:solidFill>
              <a:schemeClr val="bg1"/>
            </a:solidFill>
            <a:round/>
            <a:headEnd/>
            <a:tailEnd/>
          </a:ln>
        </p:spPr>
        <p:txBody>
          <a:bodyPr/>
          <a:lstStyle/>
          <a:p>
            <a:endParaRPr lang="en-GB"/>
          </a:p>
        </p:txBody>
      </p:sp>
      <p:sp>
        <p:nvSpPr>
          <p:cNvPr id="52" name="Freeform 319"/>
          <p:cNvSpPr>
            <a:spLocks/>
          </p:cNvSpPr>
          <p:nvPr>
            <p:custDataLst>
              <p:tags r:id="rId36"/>
            </p:custDataLst>
          </p:nvPr>
        </p:nvSpPr>
        <p:spPr bwMode="auto">
          <a:xfrm>
            <a:off x="2588343" y="4177312"/>
            <a:ext cx="158860" cy="287062"/>
          </a:xfrm>
          <a:custGeom>
            <a:avLst/>
            <a:gdLst>
              <a:gd name="T0" fmla="*/ 2147483647 w 115"/>
              <a:gd name="T1" fmla="*/ 2147483647 h 215"/>
              <a:gd name="T2" fmla="*/ 2147483647 w 115"/>
              <a:gd name="T3" fmla="*/ 2147483647 h 215"/>
              <a:gd name="T4" fmla="*/ 2147483647 w 115"/>
              <a:gd name="T5" fmla="*/ 2147483647 h 215"/>
              <a:gd name="T6" fmla="*/ 0 w 115"/>
              <a:gd name="T7" fmla="*/ 2147483647 h 215"/>
              <a:gd name="T8" fmla="*/ 2147483647 w 115"/>
              <a:gd name="T9" fmla="*/ 2147483647 h 215"/>
              <a:gd name="T10" fmla="*/ 2147483647 w 115"/>
              <a:gd name="T11" fmla="*/ 2147483647 h 215"/>
              <a:gd name="T12" fmla="*/ 2147483647 w 115"/>
              <a:gd name="T13" fmla="*/ 2147483647 h 215"/>
              <a:gd name="T14" fmla="*/ 2147483647 w 115"/>
              <a:gd name="T15" fmla="*/ 2147483647 h 215"/>
              <a:gd name="T16" fmla="*/ 2147483647 w 115"/>
              <a:gd name="T17" fmla="*/ 2147483647 h 215"/>
              <a:gd name="T18" fmla="*/ 2147483647 w 115"/>
              <a:gd name="T19" fmla="*/ 2147483647 h 215"/>
              <a:gd name="T20" fmla="*/ 2147483647 w 115"/>
              <a:gd name="T21" fmla="*/ 2147483647 h 215"/>
              <a:gd name="T22" fmla="*/ 2147483647 w 115"/>
              <a:gd name="T23" fmla="*/ 2147483647 h 215"/>
              <a:gd name="T24" fmla="*/ 2147483647 w 115"/>
              <a:gd name="T25" fmla="*/ 2147483647 h 215"/>
              <a:gd name="T26" fmla="*/ 2147483647 w 115"/>
              <a:gd name="T27" fmla="*/ 2147483647 h 215"/>
              <a:gd name="T28" fmla="*/ 2147483647 w 115"/>
              <a:gd name="T29" fmla="*/ 2147483647 h 215"/>
              <a:gd name="T30" fmla="*/ 2147483647 w 115"/>
              <a:gd name="T31" fmla="*/ 2147483647 h 215"/>
              <a:gd name="T32" fmla="*/ 2147483647 w 115"/>
              <a:gd name="T33" fmla="*/ 2147483647 h 215"/>
              <a:gd name="T34" fmla="*/ 2147483647 w 115"/>
              <a:gd name="T35" fmla="*/ 2147483647 h 215"/>
              <a:gd name="T36" fmla="*/ 2147483647 w 115"/>
              <a:gd name="T37" fmla="*/ 2147483647 h 215"/>
              <a:gd name="T38" fmla="*/ 2147483647 w 115"/>
              <a:gd name="T39" fmla="*/ 2147483647 h 215"/>
              <a:gd name="T40" fmla="*/ 2147483647 w 115"/>
              <a:gd name="T41" fmla="*/ 2147483647 h 215"/>
              <a:gd name="T42" fmla="*/ 2147483647 w 115"/>
              <a:gd name="T43" fmla="*/ 2147483647 h 215"/>
              <a:gd name="T44" fmla="*/ 2147483647 w 115"/>
              <a:gd name="T45" fmla="*/ 2147483647 h 215"/>
              <a:gd name="T46" fmla="*/ 2147483647 w 115"/>
              <a:gd name="T47" fmla="*/ 2147483647 h 215"/>
              <a:gd name="T48" fmla="*/ 2147483647 w 115"/>
              <a:gd name="T49" fmla="*/ 0 h 215"/>
              <a:gd name="T50" fmla="*/ 2147483647 w 115"/>
              <a:gd name="T51" fmla="*/ 2147483647 h 215"/>
              <a:gd name="T52" fmla="*/ 2147483647 w 115"/>
              <a:gd name="T53" fmla="*/ 2147483647 h 215"/>
              <a:gd name="T54" fmla="*/ 2147483647 w 115"/>
              <a:gd name="T55" fmla="*/ 2147483647 h 215"/>
              <a:gd name="T56" fmla="*/ 2147483647 w 115"/>
              <a:gd name="T57" fmla="*/ 2147483647 h 215"/>
              <a:gd name="T58" fmla="*/ 2147483647 w 115"/>
              <a:gd name="T59" fmla="*/ 2147483647 h 215"/>
              <a:gd name="T60" fmla="*/ 2147483647 w 115"/>
              <a:gd name="T61" fmla="*/ 2147483647 h 215"/>
              <a:gd name="T62" fmla="*/ 2147483647 w 115"/>
              <a:gd name="T63" fmla="*/ 2147483647 h 215"/>
              <a:gd name="T64" fmla="*/ 2147483647 w 115"/>
              <a:gd name="T65" fmla="*/ 2147483647 h 215"/>
              <a:gd name="T66" fmla="*/ 2147483647 w 115"/>
              <a:gd name="T67" fmla="*/ 2147483647 h 215"/>
              <a:gd name="T68" fmla="*/ 2147483647 w 115"/>
              <a:gd name="T69" fmla="*/ 2147483647 h 215"/>
              <a:gd name="T70" fmla="*/ 2147483647 w 115"/>
              <a:gd name="T71" fmla="*/ 2147483647 h 215"/>
              <a:gd name="T72" fmla="*/ 2147483647 w 115"/>
              <a:gd name="T73" fmla="*/ 2147483647 h 215"/>
              <a:gd name="T74" fmla="*/ 2147483647 w 115"/>
              <a:gd name="T75" fmla="*/ 2147483647 h 215"/>
              <a:gd name="T76" fmla="*/ 2147483647 w 115"/>
              <a:gd name="T77" fmla="*/ 2147483647 h 215"/>
              <a:gd name="T78" fmla="*/ 2147483647 w 115"/>
              <a:gd name="T79" fmla="*/ 2147483647 h 215"/>
              <a:gd name="T80" fmla="*/ 2147483647 w 115"/>
              <a:gd name="T81" fmla="*/ 2147483647 h 215"/>
              <a:gd name="T82" fmla="*/ 2147483647 w 115"/>
              <a:gd name="T83" fmla="*/ 2147483647 h 215"/>
              <a:gd name="T84" fmla="*/ 2147483647 w 115"/>
              <a:gd name="T85" fmla="*/ 2147483647 h 215"/>
              <a:gd name="T86" fmla="*/ 2147483647 w 115"/>
              <a:gd name="T87" fmla="*/ 2147483647 h 215"/>
              <a:gd name="T88" fmla="*/ 2147483647 w 115"/>
              <a:gd name="T89" fmla="*/ 2147483647 h 215"/>
              <a:gd name="T90" fmla="*/ 2147483647 w 115"/>
              <a:gd name="T91" fmla="*/ 2147483647 h 215"/>
              <a:gd name="T92" fmla="*/ 2147483647 w 115"/>
              <a:gd name="T93" fmla="*/ 2147483647 h 215"/>
              <a:gd name="T94" fmla="*/ 2147483647 w 115"/>
              <a:gd name="T95" fmla="*/ 2147483647 h 215"/>
              <a:gd name="T96" fmla="*/ 2147483647 w 115"/>
              <a:gd name="T97" fmla="*/ 2147483647 h 21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5"/>
              <a:gd name="T148" fmla="*/ 0 h 215"/>
              <a:gd name="T149" fmla="*/ 115 w 115"/>
              <a:gd name="T150" fmla="*/ 215 h 21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5" h="215">
                <a:moveTo>
                  <a:pt x="14" y="215"/>
                </a:moveTo>
                <a:lnTo>
                  <a:pt x="12" y="211"/>
                </a:lnTo>
                <a:lnTo>
                  <a:pt x="8" y="209"/>
                </a:lnTo>
                <a:lnTo>
                  <a:pt x="6" y="201"/>
                </a:lnTo>
                <a:lnTo>
                  <a:pt x="4" y="193"/>
                </a:lnTo>
                <a:lnTo>
                  <a:pt x="2" y="192"/>
                </a:lnTo>
                <a:lnTo>
                  <a:pt x="0" y="190"/>
                </a:lnTo>
                <a:lnTo>
                  <a:pt x="0" y="165"/>
                </a:lnTo>
                <a:lnTo>
                  <a:pt x="0" y="142"/>
                </a:lnTo>
                <a:lnTo>
                  <a:pt x="2" y="138"/>
                </a:lnTo>
                <a:lnTo>
                  <a:pt x="4" y="136"/>
                </a:lnTo>
                <a:lnTo>
                  <a:pt x="6" y="134"/>
                </a:lnTo>
                <a:lnTo>
                  <a:pt x="8" y="132"/>
                </a:lnTo>
                <a:lnTo>
                  <a:pt x="12" y="128"/>
                </a:lnTo>
                <a:lnTo>
                  <a:pt x="14" y="126"/>
                </a:lnTo>
                <a:lnTo>
                  <a:pt x="16" y="119"/>
                </a:lnTo>
                <a:lnTo>
                  <a:pt x="18" y="111"/>
                </a:lnTo>
                <a:lnTo>
                  <a:pt x="21" y="109"/>
                </a:lnTo>
                <a:lnTo>
                  <a:pt x="23" y="107"/>
                </a:lnTo>
                <a:lnTo>
                  <a:pt x="25" y="105"/>
                </a:lnTo>
                <a:lnTo>
                  <a:pt x="29" y="101"/>
                </a:lnTo>
                <a:lnTo>
                  <a:pt x="31" y="99"/>
                </a:lnTo>
                <a:lnTo>
                  <a:pt x="33" y="98"/>
                </a:lnTo>
                <a:lnTo>
                  <a:pt x="35" y="96"/>
                </a:lnTo>
                <a:lnTo>
                  <a:pt x="39" y="92"/>
                </a:lnTo>
                <a:lnTo>
                  <a:pt x="41" y="90"/>
                </a:lnTo>
                <a:lnTo>
                  <a:pt x="42" y="88"/>
                </a:lnTo>
                <a:lnTo>
                  <a:pt x="42" y="82"/>
                </a:lnTo>
                <a:lnTo>
                  <a:pt x="42" y="78"/>
                </a:lnTo>
                <a:lnTo>
                  <a:pt x="41" y="76"/>
                </a:lnTo>
                <a:lnTo>
                  <a:pt x="39" y="73"/>
                </a:lnTo>
                <a:lnTo>
                  <a:pt x="35" y="71"/>
                </a:lnTo>
                <a:lnTo>
                  <a:pt x="33" y="69"/>
                </a:lnTo>
                <a:lnTo>
                  <a:pt x="31" y="65"/>
                </a:lnTo>
                <a:lnTo>
                  <a:pt x="29" y="63"/>
                </a:lnTo>
                <a:lnTo>
                  <a:pt x="21" y="61"/>
                </a:lnTo>
                <a:lnTo>
                  <a:pt x="14" y="59"/>
                </a:lnTo>
                <a:lnTo>
                  <a:pt x="12" y="55"/>
                </a:lnTo>
                <a:lnTo>
                  <a:pt x="8" y="53"/>
                </a:lnTo>
                <a:lnTo>
                  <a:pt x="6" y="46"/>
                </a:lnTo>
                <a:lnTo>
                  <a:pt x="4" y="40"/>
                </a:lnTo>
                <a:lnTo>
                  <a:pt x="2" y="36"/>
                </a:lnTo>
                <a:lnTo>
                  <a:pt x="0" y="34"/>
                </a:lnTo>
                <a:lnTo>
                  <a:pt x="2" y="32"/>
                </a:lnTo>
                <a:lnTo>
                  <a:pt x="4" y="30"/>
                </a:lnTo>
                <a:lnTo>
                  <a:pt x="6" y="17"/>
                </a:lnTo>
                <a:lnTo>
                  <a:pt x="8" y="5"/>
                </a:lnTo>
                <a:lnTo>
                  <a:pt x="12" y="4"/>
                </a:lnTo>
                <a:lnTo>
                  <a:pt x="14" y="0"/>
                </a:lnTo>
                <a:lnTo>
                  <a:pt x="33" y="0"/>
                </a:lnTo>
                <a:lnTo>
                  <a:pt x="52" y="0"/>
                </a:lnTo>
                <a:lnTo>
                  <a:pt x="54" y="4"/>
                </a:lnTo>
                <a:lnTo>
                  <a:pt x="58" y="5"/>
                </a:lnTo>
                <a:lnTo>
                  <a:pt x="60" y="7"/>
                </a:lnTo>
                <a:lnTo>
                  <a:pt x="62" y="11"/>
                </a:lnTo>
                <a:lnTo>
                  <a:pt x="64" y="13"/>
                </a:lnTo>
                <a:lnTo>
                  <a:pt x="67" y="15"/>
                </a:lnTo>
                <a:lnTo>
                  <a:pt x="67" y="27"/>
                </a:lnTo>
                <a:lnTo>
                  <a:pt x="67" y="40"/>
                </a:lnTo>
                <a:lnTo>
                  <a:pt x="79" y="40"/>
                </a:lnTo>
                <a:lnTo>
                  <a:pt x="90" y="40"/>
                </a:lnTo>
                <a:lnTo>
                  <a:pt x="92" y="42"/>
                </a:lnTo>
                <a:lnTo>
                  <a:pt x="96" y="44"/>
                </a:lnTo>
                <a:lnTo>
                  <a:pt x="98" y="46"/>
                </a:lnTo>
                <a:lnTo>
                  <a:pt x="100" y="50"/>
                </a:lnTo>
                <a:lnTo>
                  <a:pt x="102" y="51"/>
                </a:lnTo>
                <a:lnTo>
                  <a:pt x="106" y="53"/>
                </a:lnTo>
                <a:lnTo>
                  <a:pt x="110" y="63"/>
                </a:lnTo>
                <a:lnTo>
                  <a:pt x="115" y="73"/>
                </a:lnTo>
                <a:lnTo>
                  <a:pt x="113" y="76"/>
                </a:lnTo>
                <a:lnTo>
                  <a:pt x="110" y="78"/>
                </a:lnTo>
                <a:lnTo>
                  <a:pt x="108" y="90"/>
                </a:lnTo>
                <a:lnTo>
                  <a:pt x="106" y="101"/>
                </a:lnTo>
                <a:lnTo>
                  <a:pt x="102" y="105"/>
                </a:lnTo>
                <a:lnTo>
                  <a:pt x="100" y="107"/>
                </a:lnTo>
                <a:lnTo>
                  <a:pt x="98" y="124"/>
                </a:lnTo>
                <a:lnTo>
                  <a:pt x="96" y="142"/>
                </a:lnTo>
                <a:lnTo>
                  <a:pt x="92" y="144"/>
                </a:lnTo>
                <a:lnTo>
                  <a:pt x="90" y="145"/>
                </a:lnTo>
                <a:lnTo>
                  <a:pt x="89" y="153"/>
                </a:lnTo>
                <a:lnTo>
                  <a:pt x="87" y="161"/>
                </a:lnTo>
                <a:lnTo>
                  <a:pt x="83" y="163"/>
                </a:lnTo>
                <a:lnTo>
                  <a:pt x="81" y="165"/>
                </a:lnTo>
                <a:lnTo>
                  <a:pt x="81" y="174"/>
                </a:lnTo>
                <a:lnTo>
                  <a:pt x="81" y="184"/>
                </a:lnTo>
                <a:lnTo>
                  <a:pt x="83" y="188"/>
                </a:lnTo>
                <a:lnTo>
                  <a:pt x="87" y="190"/>
                </a:lnTo>
                <a:lnTo>
                  <a:pt x="89" y="192"/>
                </a:lnTo>
                <a:lnTo>
                  <a:pt x="90" y="193"/>
                </a:lnTo>
                <a:lnTo>
                  <a:pt x="92" y="195"/>
                </a:lnTo>
                <a:lnTo>
                  <a:pt x="96" y="199"/>
                </a:lnTo>
                <a:lnTo>
                  <a:pt x="96" y="203"/>
                </a:lnTo>
                <a:lnTo>
                  <a:pt x="96" y="209"/>
                </a:lnTo>
                <a:lnTo>
                  <a:pt x="92" y="211"/>
                </a:lnTo>
                <a:lnTo>
                  <a:pt x="90" y="215"/>
                </a:lnTo>
                <a:lnTo>
                  <a:pt x="71" y="215"/>
                </a:lnTo>
                <a:lnTo>
                  <a:pt x="52" y="215"/>
                </a:lnTo>
                <a:lnTo>
                  <a:pt x="33" y="215"/>
                </a:lnTo>
                <a:lnTo>
                  <a:pt x="14" y="215"/>
                </a:lnTo>
              </a:path>
            </a:pathLst>
          </a:custGeom>
          <a:solidFill>
            <a:schemeClr val="accent3"/>
          </a:solidFill>
          <a:ln w="12700">
            <a:solidFill>
              <a:schemeClr val="bg1"/>
            </a:solidFill>
            <a:round/>
            <a:headEnd/>
            <a:tailEnd/>
          </a:ln>
        </p:spPr>
        <p:txBody>
          <a:bodyPr/>
          <a:lstStyle/>
          <a:p>
            <a:endParaRPr lang="en-GB"/>
          </a:p>
        </p:txBody>
      </p:sp>
      <p:sp>
        <p:nvSpPr>
          <p:cNvPr id="53" name="Freeform 320"/>
          <p:cNvSpPr>
            <a:spLocks/>
          </p:cNvSpPr>
          <p:nvPr>
            <p:custDataLst>
              <p:tags r:id="rId37"/>
            </p:custDataLst>
          </p:nvPr>
        </p:nvSpPr>
        <p:spPr bwMode="auto">
          <a:xfrm>
            <a:off x="1622643" y="4485277"/>
            <a:ext cx="252224" cy="280094"/>
          </a:xfrm>
          <a:custGeom>
            <a:avLst/>
            <a:gdLst>
              <a:gd name="T0" fmla="*/ 2147483647 w 184"/>
              <a:gd name="T1" fmla="*/ 2147483647 h 213"/>
              <a:gd name="T2" fmla="*/ 2147483647 w 184"/>
              <a:gd name="T3" fmla="*/ 2147483647 h 213"/>
              <a:gd name="T4" fmla="*/ 2147483647 w 184"/>
              <a:gd name="T5" fmla="*/ 2147483647 h 213"/>
              <a:gd name="T6" fmla="*/ 2147483647 w 184"/>
              <a:gd name="T7" fmla="*/ 2147483647 h 213"/>
              <a:gd name="T8" fmla="*/ 2147483647 w 184"/>
              <a:gd name="T9" fmla="*/ 2147483647 h 213"/>
              <a:gd name="T10" fmla="*/ 2147483647 w 184"/>
              <a:gd name="T11" fmla="*/ 2147483647 h 213"/>
              <a:gd name="T12" fmla="*/ 2147483647 w 184"/>
              <a:gd name="T13" fmla="*/ 2147483647 h 213"/>
              <a:gd name="T14" fmla="*/ 2147483647 w 184"/>
              <a:gd name="T15" fmla="*/ 2147483647 h 213"/>
              <a:gd name="T16" fmla="*/ 2147483647 w 184"/>
              <a:gd name="T17" fmla="*/ 2147483647 h 213"/>
              <a:gd name="T18" fmla="*/ 2147483647 w 184"/>
              <a:gd name="T19" fmla="*/ 2147483647 h 213"/>
              <a:gd name="T20" fmla="*/ 2147483647 w 184"/>
              <a:gd name="T21" fmla="*/ 2147483647 h 213"/>
              <a:gd name="T22" fmla="*/ 2147483647 w 184"/>
              <a:gd name="T23" fmla="*/ 2147483647 h 213"/>
              <a:gd name="T24" fmla="*/ 2147483647 w 184"/>
              <a:gd name="T25" fmla="*/ 2147483647 h 213"/>
              <a:gd name="T26" fmla="*/ 2147483647 w 184"/>
              <a:gd name="T27" fmla="*/ 2147483647 h 213"/>
              <a:gd name="T28" fmla="*/ 2147483647 w 184"/>
              <a:gd name="T29" fmla="*/ 2147483647 h 213"/>
              <a:gd name="T30" fmla="*/ 2147483647 w 184"/>
              <a:gd name="T31" fmla="*/ 2147483647 h 213"/>
              <a:gd name="T32" fmla="*/ 2147483647 w 184"/>
              <a:gd name="T33" fmla="*/ 2147483647 h 213"/>
              <a:gd name="T34" fmla="*/ 2147483647 w 184"/>
              <a:gd name="T35" fmla="*/ 2147483647 h 213"/>
              <a:gd name="T36" fmla="*/ 2147483647 w 184"/>
              <a:gd name="T37" fmla="*/ 2147483647 h 213"/>
              <a:gd name="T38" fmla="*/ 2147483647 w 184"/>
              <a:gd name="T39" fmla="*/ 2147483647 h 213"/>
              <a:gd name="T40" fmla="*/ 2147483647 w 184"/>
              <a:gd name="T41" fmla="*/ 2147483647 h 213"/>
              <a:gd name="T42" fmla="*/ 2147483647 w 184"/>
              <a:gd name="T43" fmla="*/ 2147483647 h 213"/>
              <a:gd name="T44" fmla="*/ 2147483647 w 184"/>
              <a:gd name="T45" fmla="*/ 2147483647 h 213"/>
              <a:gd name="T46" fmla="*/ 2147483647 w 184"/>
              <a:gd name="T47" fmla="*/ 2147483647 h 213"/>
              <a:gd name="T48" fmla="*/ 2147483647 w 184"/>
              <a:gd name="T49" fmla="*/ 2147483647 h 213"/>
              <a:gd name="T50" fmla="*/ 2147483647 w 184"/>
              <a:gd name="T51" fmla="*/ 2147483647 h 213"/>
              <a:gd name="T52" fmla="*/ 2147483647 w 184"/>
              <a:gd name="T53" fmla="*/ 2147483647 h 213"/>
              <a:gd name="T54" fmla="*/ 2147483647 w 184"/>
              <a:gd name="T55" fmla="*/ 2147483647 h 213"/>
              <a:gd name="T56" fmla="*/ 2147483647 w 184"/>
              <a:gd name="T57" fmla="*/ 2147483647 h 213"/>
              <a:gd name="T58" fmla="*/ 2147483647 w 184"/>
              <a:gd name="T59" fmla="*/ 2147483647 h 213"/>
              <a:gd name="T60" fmla="*/ 2147483647 w 184"/>
              <a:gd name="T61" fmla="*/ 2147483647 h 213"/>
              <a:gd name="T62" fmla="*/ 2147483647 w 184"/>
              <a:gd name="T63" fmla="*/ 2147483647 h 213"/>
              <a:gd name="T64" fmla="*/ 0 w 184"/>
              <a:gd name="T65" fmla="*/ 2147483647 h 213"/>
              <a:gd name="T66" fmla="*/ 2147483647 w 184"/>
              <a:gd name="T67" fmla="*/ 2147483647 h 213"/>
              <a:gd name="T68" fmla="*/ 2147483647 w 184"/>
              <a:gd name="T69" fmla="*/ 2147483647 h 213"/>
              <a:gd name="T70" fmla="*/ 2147483647 w 184"/>
              <a:gd name="T71" fmla="*/ 2147483647 h 213"/>
              <a:gd name="T72" fmla="*/ 2147483647 w 184"/>
              <a:gd name="T73" fmla="*/ 2147483647 h 213"/>
              <a:gd name="T74" fmla="*/ 2147483647 w 184"/>
              <a:gd name="T75" fmla="*/ 2147483647 h 213"/>
              <a:gd name="T76" fmla="*/ 2147483647 w 184"/>
              <a:gd name="T77" fmla="*/ 2147483647 h 213"/>
              <a:gd name="T78" fmla="*/ 2147483647 w 184"/>
              <a:gd name="T79" fmla="*/ 0 h 213"/>
              <a:gd name="T80" fmla="*/ 2147483647 w 184"/>
              <a:gd name="T81" fmla="*/ 2147483647 h 213"/>
              <a:gd name="T82" fmla="*/ 2147483647 w 184"/>
              <a:gd name="T83" fmla="*/ 2147483647 h 213"/>
              <a:gd name="T84" fmla="*/ 2147483647 w 184"/>
              <a:gd name="T85" fmla="*/ 2147483647 h 213"/>
              <a:gd name="T86" fmla="*/ 2147483647 w 184"/>
              <a:gd name="T87" fmla="*/ 2147483647 h 213"/>
              <a:gd name="T88" fmla="*/ 2147483647 w 184"/>
              <a:gd name="T89" fmla="*/ 2147483647 h 213"/>
              <a:gd name="T90" fmla="*/ 2147483647 w 184"/>
              <a:gd name="T91" fmla="*/ 2147483647 h 213"/>
              <a:gd name="T92" fmla="*/ 2147483647 w 184"/>
              <a:gd name="T93" fmla="*/ 2147483647 h 213"/>
              <a:gd name="T94" fmla="*/ 2147483647 w 184"/>
              <a:gd name="T95" fmla="*/ 2147483647 h 213"/>
              <a:gd name="T96" fmla="*/ 2147483647 w 184"/>
              <a:gd name="T97" fmla="*/ 2147483647 h 213"/>
              <a:gd name="T98" fmla="*/ 2147483647 w 184"/>
              <a:gd name="T99" fmla="*/ 2147483647 h 213"/>
              <a:gd name="T100" fmla="*/ 2147483647 w 184"/>
              <a:gd name="T101" fmla="*/ 2147483647 h 213"/>
              <a:gd name="T102" fmla="*/ 2147483647 w 184"/>
              <a:gd name="T103" fmla="*/ 2147483647 h 213"/>
              <a:gd name="T104" fmla="*/ 2147483647 w 184"/>
              <a:gd name="T105" fmla="*/ 2147483647 h 213"/>
              <a:gd name="T106" fmla="*/ 2147483647 w 184"/>
              <a:gd name="T107" fmla="*/ 2147483647 h 213"/>
              <a:gd name="T108" fmla="*/ 2147483647 w 184"/>
              <a:gd name="T109" fmla="*/ 2147483647 h 21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4"/>
              <a:gd name="T166" fmla="*/ 0 h 213"/>
              <a:gd name="T167" fmla="*/ 184 w 184"/>
              <a:gd name="T168" fmla="*/ 213 h 21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4" h="213">
                <a:moveTo>
                  <a:pt x="148" y="75"/>
                </a:moveTo>
                <a:lnTo>
                  <a:pt x="160" y="80"/>
                </a:lnTo>
                <a:lnTo>
                  <a:pt x="171" y="88"/>
                </a:lnTo>
                <a:lnTo>
                  <a:pt x="173" y="90"/>
                </a:lnTo>
                <a:lnTo>
                  <a:pt x="175" y="92"/>
                </a:lnTo>
                <a:lnTo>
                  <a:pt x="177" y="100"/>
                </a:lnTo>
                <a:lnTo>
                  <a:pt x="181" y="107"/>
                </a:lnTo>
                <a:lnTo>
                  <a:pt x="183" y="109"/>
                </a:lnTo>
                <a:lnTo>
                  <a:pt x="184" y="111"/>
                </a:lnTo>
                <a:lnTo>
                  <a:pt x="184" y="128"/>
                </a:lnTo>
                <a:lnTo>
                  <a:pt x="184" y="146"/>
                </a:lnTo>
                <a:lnTo>
                  <a:pt x="184" y="163"/>
                </a:lnTo>
                <a:lnTo>
                  <a:pt x="184" y="180"/>
                </a:lnTo>
                <a:lnTo>
                  <a:pt x="183" y="182"/>
                </a:lnTo>
                <a:lnTo>
                  <a:pt x="181" y="184"/>
                </a:lnTo>
                <a:lnTo>
                  <a:pt x="177" y="188"/>
                </a:lnTo>
                <a:lnTo>
                  <a:pt x="175" y="190"/>
                </a:lnTo>
                <a:lnTo>
                  <a:pt x="173" y="192"/>
                </a:lnTo>
                <a:lnTo>
                  <a:pt x="171" y="194"/>
                </a:lnTo>
                <a:lnTo>
                  <a:pt x="167" y="196"/>
                </a:lnTo>
                <a:lnTo>
                  <a:pt x="165" y="199"/>
                </a:lnTo>
                <a:lnTo>
                  <a:pt x="163" y="201"/>
                </a:lnTo>
                <a:lnTo>
                  <a:pt x="161" y="203"/>
                </a:lnTo>
                <a:lnTo>
                  <a:pt x="158" y="205"/>
                </a:lnTo>
                <a:lnTo>
                  <a:pt x="156" y="209"/>
                </a:lnTo>
                <a:lnTo>
                  <a:pt x="154" y="211"/>
                </a:lnTo>
                <a:lnTo>
                  <a:pt x="152" y="213"/>
                </a:lnTo>
                <a:lnTo>
                  <a:pt x="148" y="211"/>
                </a:lnTo>
                <a:lnTo>
                  <a:pt x="146" y="209"/>
                </a:lnTo>
                <a:lnTo>
                  <a:pt x="144" y="205"/>
                </a:lnTo>
                <a:lnTo>
                  <a:pt x="140" y="203"/>
                </a:lnTo>
                <a:lnTo>
                  <a:pt x="138" y="201"/>
                </a:lnTo>
                <a:lnTo>
                  <a:pt x="137" y="199"/>
                </a:lnTo>
                <a:lnTo>
                  <a:pt x="119" y="196"/>
                </a:lnTo>
                <a:lnTo>
                  <a:pt x="102" y="194"/>
                </a:lnTo>
                <a:lnTo>
                  <a:pt x="100" y="192"/>
                </a:lnTo>
                <a:lnTo>
                  <a:pt x="98" y="190"/>
                </a:lnTo>
                <a:lnTo>
                  <a:pt x="90" y="188"/>
                </a:lnTo>
                <a:lnTo>
                  <a:pt x="83" y="184"/>
                </a:lnTo>
                <a:lnTo>
                  <a:pt x="81" y="182"/>
                </a:lnTo>
                <a:lnTo>
                  <a:pt x="79" y="180"/>
                </a:lnTo>
                <a:lnTo>
                  <a:pt x="75" y="176"/>
                </a:lnTo>
                <a:lnTo>
                  <a:pt x="73" y="174"/>
                </a:lnTo>
                <a:lnTo>
                  <a:pt x="71" y="173"/>
                </a:lnTo>
                <a:lnTo>
                  <a:pt x="69" y="171"/>
                </a:lnTo>
                <a:lnTo>
                  <a:pt x="66" y="167"/>
                </a:lnTo>
                <a:lnTo>
                  <a:pt x="64" y="165"/>
                </a:lnTo>
                <a:lnTo>
                  <a:pt x="62" y="163"/>
                </a:lnTo>
                <a:lnTo>
                  <a:pt x="60" y="161"/>
                </a:lnTo>
                <a:lnTo>
                  <a:pt x="56" y="157"/>
                </a:lnTo>
                <a:lnTo>
                  <a:pt x="54" y="155"/>
                </a:lnTo>
                <a:lnTo>
                  <a:pt x="52" y="153"/>
                </a:lnTo>
                <a:lnTo>
                  <a:pt x="50" y="149"/>
                </a:lnTo>
                <a:lnTo>
                  <a:pt x="42" y="148"/>
                </a:lnTo>
                <a:lnTo>
                  <a:pt x="35" y="146"/>
                </a:lnTo>
                <a:lnTo>
                  <a:pt x="33" y="144"/>
                </a:lnTo>
                <a:lnTo>
                  <a:pt x="29" y="142"/>
                </a:lnTo>
                <a:lnTo>
                  <a:pt x="23" y="138"/>
                </a:lnTo>
                <a:lnTo>
                  <a:pt x="16" y="136"/>
                </a:lnTo>
                <a:lnTo>
                  <a:pt x="14" y="134"/>
                </a:lnTo>
                <a:lnTo>
                  <a:pt x="12" y="132"/>
                </a:lnTo>
                <a:lnTo>
                  <a:pt x="8" y="128"/>
                </a:lnTo>
                <a:lnTo>
                  <a:pt x="6" y="126"/>
                </a:lnTo>
                <a:lnTo>
                  <a:pt x="4" y="125"/>
                </a:lnTo>
                <a:lnTo>
                  <a:pt x="0" y="121"/>
                </a:lnTo>
                <a:lnTo>
                  <a:pt x="0" y="117"/>
                </a:lnTo>
                <a:lnTo>
                  <a:pt x="0" y="111"/>
                </a:lnTo>
                <a:lnTo>
                  <a:pt x="4" y="109"/>
                </a:lnTo>
                <a:lnTo>
                  <a:pt x="6" y="107"/>
                </a:lnTo>
                <a:lnTo>
                  <a:pt x="8" y="96"/>
                </a:lnTo>
                <a:lnTo>
                  <a:pt x="12" y="82"/>
                </a:lnTo>
                <a:lnTo>
                  <a:pt x="14" y="80"/>
                </a:lnTo>
                <a:lnTo>
                  <a:pt x="16" y="79"/>
                </a:lnTo>
                <a:lnTo>
                  <a:pt x="16" y="59"/>
                </a:lnTo>
                <a:lnTo>
                  <a:pt x="18" y="42"/>
                </a:lnTo>
                <a:lnTo>
                  <a:pt x="19" y="23"/>
                </a:lnTo>
                <a:lnTo>
                  <a:pt x="19" y="6"/>
                </a:lnTo>
                <a:lnTo>
                  <a:pt x="23" y="4"/>
                </a:lnTo>
                <a:lnTo>
                  <a:pt x="25" y="0"/>
                </a:lnTo>
                <a:lnTo>
                  <a:pt x="31" y="0"/>
                </a:lnTo>
                <a:lnTo>
                  <a:pt x="35" y="0"/>
                </a:lnTo>
                <a:lnTo>
                  <a:pt x="37" y="4"/>
                </a:lnTo>
                <a:lnTo>
                  <a:pt x="41" y="6"/>
                </a:lnTo>
                <a:lnTo>
                  <a:pt x="41" y="13"/>
                </a:lnTo>
                <a:lnTo>
                  <a:pt x="41" y="21"/>
                </a:lnTo>
                <a:lnTo>
                  <a:pt x="46" y="21"/>
                </a:lnTo>
                <a:lnTo>
                  <a:pt x="54" y="21"/>
                </a:lnTo>
                <a:lnTo>
                  <a:pt x="56" y="23"/>
                </a:lnTo>
                <a:lnTo>
                  <a:pt x="60" y="25"/>
                </a:lnTo>
                <a:lnTo>
                  <a:pt x="62" y="29"/>
                </a:lnTo>
                <a:lnTo>
                  <a:pt x="69" y="29"/>
                </a:lnTo>
                <a:lnTo>
                  <a:pt x="75" y="29"/>
                </a:lnTo>
                <a:lnTo>
                  <a:pt x="79" y="25"/>
                </a:lnTo>
                <a:lnTo>
                  <a:pt x="81" y="23"/>
                </a:lnTo>
                <a:lnTo>
                  <a:pt x="83" y="21"/>
                </a:lnTo>
                <a:lnTo>
                  <a:pt x="89" y="21"/>
                </a:lnTo>
                <a:lnTo>
                  <a:pt x="92" y="21"/>
                </a:lnTo>
                <a:lnTo>
                  <a:pt x="96" y="23"/>
                </a:lnTo>
                <a:lnTo>
                  <a:pt x="98" y="25"/>
                </a:lnTo>
                <a:lnTo>
                  <a:pt x="100" y="46"/>
                </a:lnTo>
                <a:lnTo>
                  <a:pt x="102" y="69"/>
                </a:lnTo>
                <a:lnTo>
                  <a:pt x="104" y="71"/>
                </a:lnTo>
                <a:lnTo>
                  <a:pt x="108" y="73"/>
                </a:lnTo>
                <a:lnTo>
                  <a:pt x="110" y="75"/>
                </a:lnTo>
                <a:lnTo>
                  <a:pt x="112" y="79"/>
                </a:lnTo>
                <a:lnTo>
                  <a:pt x="113" y="80"/>
                </a:lnTo>
                <a:lnTo>
                  <a:pt x="117" y="82"/>
                </a:lnTo>
                <a:lnTo>
                  <a:pt x="121" y="82"/>
                </a:lnTo>
                <a:lnTo>
                  <a:pt x="127" y="82"/>
                </a:lnTo>
                <a:lnTo>
                  <a:pt x="137" y="79"/>
                </a:lnTo>
                <a:lnTo>
                  <a:pt x="148" y="75"/>
                </a:lnTo>
              </a:path>
            </a:pathLst>
          </a:custGeom>
          <a:solidFill>
            <a:schemeClr val="accent3"/>
          </a:solidFill>
          <a:ln w="12700">
            <a:solidFill>
              <a:schemeClr val="bg1"/>
            </a:solidFill>
            <a:round/>
            <a:headEnd/>
            <a:tailEnd/>
          </a:ln>
        </p:spPr>
        <p:txBody>
          <a:bodyPr/>
          <a:lstStyle/>
          <a:p>
            <a:endParaRPr lang="en-GB"/>
          </a:p>
        </p:txBody>
      </p:sp>
      <p:sp>
        <p:nvSpPr>
          <p:cNvPr id="54" name="Freeform 321"/>
          <p:cNvSpPr>
            <a:spLocks/>
          </p:cNvSpPr>
          <p:nvPr>
            <p:custDataLst>
              <p:tags r:id="rId38"/>
            </p:custDataLst>
          </p:nvPr>
        </p:nvSpPr>
        <p:spPr bwMode="auto">
          <a:xfrm>
            <a:off x="1679776" y="4422569"/>
            <a:ext cx="275914" cy="178369"/>
          </a:xfrm>
          <a:custGeom>
            <a:avLst/>
            <a:gdLst>
              <a:gd name="T0" fmla="*/ 2147483647 w 203"/>
              <a:gd name="T1" fmla="*/ 2147483647 h 136"/>
              <a:gd name="T2" fmla="*/ 2147483647 w 203"/>
              <a:gd name="T3" fmla="*/ 2147483647 h 136"/>
              <a:gd name="T4" fmla="*/ 2147483647 w 203"/>
              <a:gd name="T5" fmla="*/ 2147483647 h 136"/>
              <a:gd name="T6" fmla="*/ 2147483647 w 203"/>
              <a:gd name="T7" fmla="*/ 2147483647 h 136"/>
              <a:gd name="T8" fmla="*/ 2147483647 w 203"/>
              <a:gd name="T9" fmla="*/ 2147483647 h 136"/>
              <a:gd name="T10" fmla="*/ 2147483647 w 203"/>
              <a:gd name="T11" fmla="*/ 2147483647 h 136"/>
              <a:gd name="T12" fmla="*/ 2147483647 w 203"/>
              <a:gd name="T13" fmla="*/ 2147483647 h 136"/>
              <a:gd name="T14" fmla="*/ 2147483647 w 203"/>
              <a:gd name="T15" fmla="*/ 2147483647 h 136"/>
              <a:gd name="T16" fmla="*/ 2147483647 w 203"/>
              <a:gd name="T17" fmla="*/ 2147483647 h 136"/>
              <a:gd name="T18" fmla="*/ 2147483647 w 203"/>
              <a:gd name="T19" fmla="*/ 2147483647 h 136"/>
              <a:gd name="T20" fmla="*/ 2147483647 w 203"/>
              <a:gd name="T21" fmla="*/ 2147483647 h 136"/>
              <a:gd name="T22" fmla="*/ 2147483647 w 203"/>
              <a:gd name="T23" fmla="*/ 2147483647 h 136"/>
              <a:gd name="T24" fmla="*/ 2147483647 w 203"/>
              <a:gd name="T25" fmla="*/ 2147483647 h 136"/>
              <a:gd name="T26" fmla="*/ 2147483647 w 203"/>
              <a:gd name="T27" fmla="*/ 2147483647 h 136"/>
              <a:gd name="T28" fmla="*/ 2147483647 w 203"/>
              <a:gd name="T29" fmla="*/ 2147483647 h 136"/>
              <a:gd name="T30" fmla="*/ 2147483647 w 203"/>
              <a:gd name="T31" fmla="*/ 2147483647 h 136"/>
              <a:gd name="T32" fmla="*/ 2147483647 w 203"/>
              <a:gd name="T33" fmla="*/ 2147483647 h 136"/>
              <a:gd name="T34" fmla="*/ 2147483647 w 203"/>
              <a:gd name="T35" fmla="*/ 2147483647 h 136"/>
              <a:gd name="T36" fmla="*/ 2147483647 w 203"/>
              <a:gd name="T37" fmla="*/ 2147483647 h 136"/>
              <a:gd name="T38" fmla="*/ 2147483647 w 203"/>
              <a:gd name="T39" fmla="*/ 2147483647 h 136"/>
              <a:gd name="T40" fmla="*/ 2147483647 w 203"/>
              <a:gd name="T41" fmla="*/ 2147483647 h 136"/>
              <a:gd name="T42" fmla="*/ 2147483647 w 203"/>
              <a:gd name="T43" fmla="*/ 2147483647 h 136"/>
              <a:gd name="T44" fmla="*/ 2147483647 w 203"/>
              <a:gd name="T45" fmla="*/ 0 h 136"/>
              <a:gd name="T46" fmla="*/ 2147483647 w 203"/>
              <a:gd name="T47" fmla="*/ 2147483647 h 136"/>
              <a:gd name="T48" fmla="*/ 2147483647 w 203"/>
              <a:gd name="T49" fmla="*/ 2147483647 h 136"/>
              <a:gd name="T50" fmla="*/ 2147483647 w 203"/>
              <a:gd name="T51" fmla="*/ 2147483647 h 136"/>
              <a:gd name="T52" fmla="*/ 2147483647 w 203"/>
              <a:gd name="T53" fmla="*/ 2147483647 h 136"/>
              <a:gd name="T54" fmla="*/ 2147483647 w 203"/>
              <a:gd name="T55" fmla="*/ 2147483647 h 136"/>
              <a:gd name="T56" fmla="*/ 2147483647 w 203"/>
              <a:gd name="T57" fmla="*/ 2147483647 h 136"/>
              <a:gd name="T58" fmla="*/ 2147483647 w 203"/>
              <a:gd name="T59" fmla="*/ 2147483647 h 136"/>
              <a:gd name="T60" fmla="*/ 2147483647 w 203"/>
              <a:gd name="T61" fmla="*/ 2147483647 h 136"/>
              <a:gd name="T62" fmla="*/ 2147483647 w 203"/>
              <a:gd name="T63" fmla="*/ 2147483647 h 136"/>
              <a:gd name="T64" fmla="*/ 2147483647 w 203"/>
              <a:gd name="T65" fmla="*/ 2147483647 h 136"/>
              <a:gd name="T66" fmla="*/ 2147483647 w 203"/>
              <a:gd name="T67" fmla="*/ 2147483647 h 136"/>
              <a:gd name="T68" fmla="*/ 2147483647 w 203"/>
              <a:gd name="T69" fmla="*/ 2147483647 h 136"/>
              <a:gd name="T70" fmla="*/ 2147483647 w 203"/>
              <a:gd name="T71" fmla="*/ 2147483647 h 136"/>
              <a:gd name="T72" fmla="*/ 2147483647 w 203"/>
              <a:gd name="T73" fmla="*/ 2147483647 h 136"/>
              <a:gd name="T74" fmla="*/ 2147483647 w 203"/>
              <a:gd name="T75" fmla="*/ 2147483647 h 136"/>
              <a:gd name="T76" fmla="*/ 2147483647 w 203"/>
              <a:gd name="T77" fmla="*/ 2147483647 h 136"/>
              <a:gd name="T78" fmla="*/ 2147483647 w 203"/>
              <a:gd name="T79" fmla="*/ 2147483647 h 136"/>
              <a:gd name="T80" fmla="*/ 2147483647 w 203"/>
              <a:gd name="T81" fmla="*/ 2147483647 h 136"/>
              <a:gd name="T82" fmla="*/ 2147483647 w 203"/>
              <a:gd name="T83" fmla="*/ 2147483647 h 136"/>
              <a:gd name="T84" fmla="*/ 2147483647 w 203"/>
              <a:gd name="T85" fmla="*/ 2147483647 h 136"/>
              <a:gd name="T86" fmla="*/ 2147483647 w 203"/>
              <a:gd name="T87" fmla="*/ 2147483647 h 136"/>
              <a:gd name="T88" fmla="*/ 2147483647 w 203"/>
              <a:gd name="T89" fmla="*/ 2147483647 h 136"/>
              <a:gd name="T90" fmla="*/ 2147483647 w 203"/>
              <a:gd name="T91" fmla="*/ 2147483647 h 136"/>
              <a:gd name="T92" fmla="*/ 2147483647 w 203"/>
              <a:gd name="T93" fmla="*/ 2147483647 h 136"/>
              <a:gd name="T94" fmla="*/ 2147483647 w 203"/>
              <a:gd name="T95" fmla="*/ 2147483647 h 136"/>
              <a:gd name="T96" fmla="*/ 2147483647 w 203"/>
              <a:gd name="T97" fmla="*/ 2147483647 h 136"/>
              <a:gd name="T98" fmla="*/ 2147483647 w 203"/>
              <a:gd name="T99" fmla="*/ 2147483647 h 136"/>
              <a:gd name="T100" fmla="*/ 2147483647 w 203"/>
              <a:gd name="T101" fmla="*/ 2147483647 h 136"/>
              <a:gd name="T102" fmla="*/ 2147483647 w 203"/>
              <a:gd name="T103" fmla="*/ 2147483647 h 1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3"/>
              <a:gd name="T157" fmla="*/ 0 h 136"/>
              <a:gd name="T158" fmla="*/ 203 w 203"/>
              <a:gd name="T159" fmla="*/ 136 h 1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3" h="136">
                <a:moveTo>
                  <a:pt x="99" y="121"/>
                </a:moveTo>
                <a:lnTo>
                  <a:pt x="92" y="121"/>
                </a:lnTo>
                <a:lnTo>
                  <a:pt x="86" y="121"/>
                </a:lnTo>
                <a:lnTo>
                  <a:pt x="84" y="123"/>
                </a:lnTo>
                <a:lnTo>
                  <a:pt x="82" y="127"/>
                </a:lnTo>
                <a:lnTo>
                  <a:pt x="78" y="123"/>
                </a:lnTo>
                <a:lnTo>
                  <a:pt x="76" y="121"/>
                </a:lnTo>
                <a:lnTo>
                  <a:pt x="72" y="119"/>
                </a:lnTo>
                <a:lnTo>
                  <a:pt x="71" y="117"/>
                </a:lnTo>
                <a:lnTo>
                  <a:pt x="69" y="113"/>
                </a:lnTo>
                <a:lnTo>
                  <a:pt x="67" y="111"/>
                </a:lnTo>
                <a:lnTo>
                  <a:pt x="63" y="90"/>
                </a:lnTo>
                <a:lnTo>
                  <a:pt x="61" y="69"/>
                </a:lnTo>
                <a:lnTo>
                  <a:pt x="59" y="65"/>
                </a:lnTo>
                <a:lnTo>
                  <a:pt x="57" y="63"/>
                </a:lnTo>
                <a:lnTo>
                  <a:pt x="48" y="63"/>
                </a:lnTo>
                <a:lnTo>
                  <a:pt x="38" y="63"/>
                </a:lnTo>
                <a:lnTo>
                  <a:pt x="34" y="65"/>
                </a:lnTo>
                <a:lnTo>
                  <a:pt x="32" y="69"/>
                </a:lnTo>
                <a:lnTo>
                  <a:pt x="28" y="69"/>
                </a:lnTo>
                <a:lnTo>
                  <a:pt x="23" y="69"/>
                </a:lnTo>
                <a:lnTo>
                  <a:pt x="21" y="65"/>
                </a:lnTo>
                <a:lnTo>
                  <a:pt x="19" y="63"/>
                </a:lnTo>
                <a:lnTo>
                  <a:pt x="11" y="56"/>
                </a:lnTo>
                <a:lnTo>
                  <a:pt x="3" y="48"/>
                </a:lnTo>
                <a:lnTo>
                  <a:pt x="1" y="46"/>
                </a:lnTo>
                <a:lnTo>
                  <a:pt x="0" y="44"/>
                </a:lnTo>
                <a:lnTo>
                  <a:pt x="1" y="42"/>
                </a:lnTo>
                <a:lnTo>
                  <a:pt x="3" y="38"/>
                </a:lnTo>
                <a:lnTo>
                  <a:pt x="11" y="36"/>
                </a:lnTo>
                <a:lnTo>
                  <a:pt x="19" y="34"/>
                </a:lnTo>
                <a:lnTo>
                  <a:pt x="21" y="32"/>
                </a:lnTo>
                <a:lnTo>
                  <a:pt x="23" y="31"/>
                </a:lnTo>
                <a:lnTo>
                  <a:pt x="25" y="27"/>
                </a:lnTo>
                <a:lnTo>
                  <a:pt x="28" y="25"/>
                </a:lnTo>
                <a:lnTo>
                  <a:pt x="30" y="21"/>
                </a:lnTo>
                <a:lnTo>
                  <a:pt x="32" y="19"/>
                </a:lnTo>
                <a:lnTo>
                  <a:pt x="34" y="17"/>
                </a:lnTo>
                <a:lnTo>
                  <a:pt x="38" y="15"/>
                </a:lnTo>
                <a:lnTo>
                  <a:pt x="40" y="11"/>
                </a:lnTo>
                <a:lnTo>
                  <a:pt x="42" y="9"/>
                </a:lnTo>
                <a:lnTo>
                  <a:pt x="44" y="8"/>
                </a:lnTo>
                <a:lnTo>
                  <a:pt x="48" y="6"/>
                </a:lnTo>
                <a:lnTo>
                  <a:pt x="49" y="4"/>
                </a:lnTo>
                <a:lnTo>
                  <a:pt x="51" y="0"/>
                </a:lnTo>
                <a:lnTo>
                  <a:pt x="57" y="0"/>
                </a:lnTo>
                <a:lnTo>
                  <a:pt x="61" y="0"/>
                </a:lnTo>
                <a:lnTo>
                  <a:pt x="63" y="4"/>
                </a:lnTo>
                <a:lnTo>
                  <a:pt x="67" y="6"/>
                </a:lnTo>
                <a:lnTo>
                  <a:pt x="78" y="8"/>
                </a:lnTo>
                <a:lnTo>
                  <a:pt x="90" y="9"/>
                </a:lnTo>
                <a:lnTo>
                  <a:pt x="94" y="11"/>
                </a:lnTo>
                <a:lnTo>
                  <a:pt x="96" y="15"/>
                </a:lnTo>
                <a:lnTo>
                  <a:pt x="97" y="27"/>
                </a:lnTo>
                <a:lnTo>
                  <a:pt x="99" y="38"/>
                </a:lnTo>
                <a:lnTo>
                  <a:pt x="103" y="42"/>
                </a:lnTo>
                <a:lnTo>
                  <a:pt x="105" y="44"/>
                </a:lnTo>
                <a:lnTo>
                  <a:pt x="105" y="52"/>
                </a:lnTo>
                <a:lnTo>
                  <a:pt x="105" y="59"/>
                </a:lnTo>
                <a:lnTo>
                  <a:pt x="115" y="59"/>
                </a:lnTo>
                <a:lnTo>
                  <a:pt x="124" y="59"/>
                </a:lnTo>
                <a:lnTo>
                  <a:pt x="124" y="73"/>
                </a:lnTo>
                <a:lnTo>
                  <a:pt x="124" y="88"/>
                </a:lnTo>
                <a:lnTo>
                  <a:pt x="128" y="88"/>
                </a:lnTo>
                <a:lnTo>
                  <a:pt x="134" y="88"/>
                </a:lnTo>
                <a:lnTo>
                  <a:pt x="140" y="82"/>
                </a:lnTo>
                <a:lnTo>
                  <a:pt x="143" y="79"/>
                </a:lnTo>
                <a:lnTo>
                  <a:pt x="159" y="75"/>
                </a:lnTo>
                <a:lnTo>
                  <a:pt x="172" y="73"/>
                </a:lnTo>
                <a:lnTo>
                  <a:pt x="176" y="71"/>
                </a:lnTo>
                <a:lnTo>
                  <a:pt x="178" y="69"/>
                </a:lnTo>
                <a:lnTo>
                  <a:pt x="182" y="69"/>
                </a:lnTo>
                <a:lnTo>
                  <a:pt x="188" y="69"/>
                </a:lnTo>
                <a:lnTo>
                  <a:pt x="190" y="71"/>
                </a:lnTo>
                <a:lnTo>
                  <a:pt x="191" y="73"/>
                </a:lnTo>
                <a:lnTo>
                  <a:pt x="195" y="75"/>
                </a:lnTo>
                <a:lnTo>
                  <a:pt x="197" y="79"/>
                </a:lnTo>
                <a:lnTo>
                  <a:pt x="199" y="80"/>
                </a:lnTo>
                <a:lnTo>
                  <a:pt x="203" y="82"/>
                </a:lnTo>
                <a:lnTo>
                  <a:pt x="203" y="92"/>
                </a:lnTo>
                <a:lnTo>
                  <a:pt x="203" y="102"/>
                </a:lnTo>
                <a:lnTo>
                  <a:pt x="199" y="103"/>
                </a:lnTo>
                <a:lnTo>
                  <a:pt x="197" y="107"/>
                </a:lnTo>
                <a:lnTo>
                  <a:pt x="195" y="119"/>
                </a:lnTo>
                <a:lnTo>
                  <a:pt x="191" y="130"/>
                </a:lnTo>
                <a:lnTo>
                  <a:pt x="190" y="132"/>
                </a:lnTo>
                <a:lnTo>
                  <a:pt x="188" y="136"/>
                </a:lnTo>
                <a:lnTo>
                  <a:pt x="172" y="136"/>
                </a:lnTo>
                <a:lnTo>
                  <a:pt x="159" y="136"/>
                </a:lnTo>
                <a:lnTo>
                  <a:pt x="155" y="132"/>
                </a:lnTo>
                <a:lnTo>
                  <a:pt x="153" y="130"/>
                </a:lnTo>
                <a:lnTo>
                  <a:pt x="149" y="130"/>
                </a:lnTo>
                <a:lnTo>
                  <a:pt x="143" y="130"/>
                </a:lnTo>
                <a:lnTo>
                  <a:pt x="142" y="132"/>
                </a:lnTo>
                <a:lnTo>
                  <a:pt x="140" y="136"/>
                </a:lnTo>
                <a:lnTo>
                  <a:pt x="136" y="132"/>
                </a:lnTo>
                <a:lnTo>
                  <a:pt x="134" y="130"/>
                </a:lnTo>
                <a:lnTo>
                  <a:pt x="134" y="123"/>
                </a:lnTo>
                <a:lnTo>
                  <a:pt x="134" y="117"/>
                </a:lnTo>
                <a:lnTo>
                  <a:pt x="117" y="117"/>
                </a:lnTo>
                <a:lnTo>
                  <a:pt x="105" y="115"/>
                </a:lnTo>
                <a:lnTo>
                  <a:pt x="103" y="115"/>
                </a:lnTo>
                <a:lnTo>
                  <a:pt x="99" y="117"/>
                </a:lnTo>
                <a:lnTo>
                  <a:pt x="99" y="119"/>
                </a:lnTo>
                <a:lnTo>
                  <a:pt x="99" y="121"/>
                </a:lnTo>
              </a:path>
            </a:pathLst>
          </a:custGeom>
          <a:solidFill>
            <a:schemeClr val="accent3"/>
          </a:solidFill>
          <a:ln w="12700">
            <a:solidFill>
              <a:schemeClr val="bg1"/>
            </a:solidFill>
            <a:round/>
            <a:headEnd/>
            <a:tailEnd/>
          </a:ln>
        </p:spPr>
        <p:txBody>
          <a:bodyPr/>
          <a:lstStyle/>
          <a:p>
            <a:endParaRPr lang="en-GB"/>
          </a:p>
        </p:txBody>
      </p:sp>
      <p:sp>
        <p:nvSpPr>
          <p:cNvPr id="55" name="Freeform 322"/>
          <p:cNvSpPr>
            <a:spLocks/>
          </p:cNvSpPr>
          <p:nvPr>
            <p:custDataLst>
              <p:tags r:id="rId39"/>
            </p:custDataLst>
          </p:nvPr>
        </p:nvSpPr>
        <p:spPr bwMode="auto">
          <a:xfrm>
            <a:off x="1955691" y="4447652"/>
            <a:ext cx="168615" cy="153286"/>
          </a:xfrm>
          <a:custGeom>
            <a:avLst/>
            <a:gdLst>
              <a:gd name="T0" fmla="*/ 2147483647 w 125"/>
              <a:gd name="T1" fmla="*/ 2147483647 h 117"/>
              <a:gd name="T2" fmla="*/ 2147483647 w 125"/>
              <a:gd name="T3" fmla="*/ 2147483647 h 117"/>
              <a:gd name="T4" fmla="*/ 2147483647 w 125"/>
              <a:gd name="T5" fmla="*/ 2147483647 h 117"/>
              <a:gd name="T6" fmla="*/ 0 w 125"/>
              <a:gd name="T7" fmla="*/ 2147483647 h 117"/>
              <a:gd name="T8" fmla="*/ 2147483647 w 125"/>
              <a:gd name="T9" fmla="*/ 2147483647 h 117"/>
              <a:gd name="T10" fmla="*/ 2147483647 w 125"/>
              <a:gd name="T11" fmla="*/ 2147483647 h 117"/>
              <a:gd name="T12" fmla="*/ 2147483647 w 125"/>
              <a:gd name="T13" fmla="*/ 2147483647 h 117"/>
              <a:gd name="T14" fmla="*/ 2147483647 w 125"/>
              <a:gd name="T15" fmla="*/ 2147483647 h 117"/>
              <a:gd name="T16" fmla="*/ 2147483647 w 125"/>
              <a:gd name="T17" fmla="*/ 2147483647 h 117"/>
              <a:gd name="T18" fmla="*/ 2147483647 w 125"/>
              <a:gd name="T19" fmla="*/ 2147483647 h 117"/>
              <a:gd name="T20" fmla="*/ 2147483647 w 125"/>
              <a:gd name="T21" fmla="*/ 2147483647 h 117"/>
              <a:gd name="T22" fmla="*/ 2147483647 w 125"/>
              <a:gd name="T23" fmla="*/ 2147483647 h 117"/>
              <a:gd name="T24" fmla="*/ 2147483647 w 125"/>
              <a:gd name="T25" fmla="*/ 2147483647 h 117"/>
              <a:gd name="T26" fmla="*/ 2147483647 w 125"/>
              <a:gd name="T27" fmla="*/ 0 h 117"/>
              <a:gd name="T28" fmla="*/ 2147483647 w 125"/>
              <a:gd name="T29" fmla="*/ 2147483647 h 117"/>
              <a:gd name="T30" fmla="*/ 2147483647 w 125"/>
              <a:gd name="T31" fmla="*/ 2147483647 h 117"/>
              <a:gd name="T32" fmla="*/ 2147483647 w 125"/>
              <a:gd name="T33" fmla="*/ 2147483647 h 117"/>
              <a:gd name="T34" fmla="*/ 2147483647 w 125"/>
              <a:gd name="T35" fmla="*/ 2147483647 h 117"/>
              <a:gd name="T36" fmla="*/ 2147483647 w 125"/>
              <a:gd name="T37" fmla="*/ 2147483647 h 117"/>
              <a:gd name="T38" fmla="*/ 2147483647 w 125"/>
              <a:gd name="T39" fmla="*/ 2147483647 h 117"/>
              <a:gd name="T40" fmla="*/ 2147483647 w 125"/>
              <a:gd name="T41" fmla="*/ 2147483647 h 117"/>
              <a:gd name="T42" fmla="*/ 2147483647 w 125"/>
              <a:gd name="T43" fmla="*/ 2147483647 h 117"/>
              <a:gd name="T44" fmla="*/ 2147483647 w 125"/>
              <a:gd name="T45" fmla="*/ 2147483647 h 117"/>
              <a:gd name="T46" fmla="*/ 2147483647 w 125"/>
              <a:gd name="T47" fmla="*/ 2147483647 h 117"/>
              <a:gd name="T48" fmla="*/ 2147483647 w 125"/>
              <a:gd name="T49" fmla="*/ 2147483647 h 117"/>
              <a:gd name="T50" fmla="*/ 2147483647 w 125"/>
              <a:gd name="T51" fmla="*/ 2147483647 h 117"/>
              <a:gd name="T52" fmla="*/ 2147483647 w 125"/>
              <a:gd name="T53" fmla="*/ 2147483647 h 117"/>
              <a:gd name="T54" fmla="*/ 2147483647 w 125"/>
              <a:gd name="T55" fmla="*/ 2147483647 h 117"/>
              <a:gd name="T56" fmla="*/ 2147483647 w 125"/>
              <a:gd name="T57" fmla="*/ 2147483647 h 117"/>
              <a:gd name="T58" fmla="*/ 2147483647 w 125"/>
              <a:gd name="T59" fmla="*/ 2147483647 h 117"/>
              <a:gd name="T60" fmla="*/ 2147483647 w 125"/>
              <a:gd name="T61" fmla="*/ 2147483647 h 117"/>
              <a:gd name="T62" fmla="*/ 2147483647 w 125"/>
              <a:gd name="T63" fmla="*/ 2147483647 h 117"/>
              <a:gd name="T64" fmla="*/ 2147483647 w 125"/>
              <a:gd name="T65" fmla="*/ 2147483647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5"/>
              <a:gd name="T100" fmla="*/ 0 h 117"/>
              <a:gd name="T101" fmla="*/ 125 w 125"/>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5" h="117">
                <a:moveTo>
                  <a:pt x="23" y="117"/>
                </a:moveTo>
                <a:lnTo>
                  <a:pt x="21" y="113"/>
                </a:lnTo>
                <a:lnTo>
                  <a:pt x="17" y="111"/>
                </a:lnTo>
                <a:lnTo>
                  <a:pt x="17" y="109"/>
                </a:lnTo>
                <a:lnTo>
                  <a:pt x="15" y="108"/>
                </a:lnTo>
                <a:lnTo>
                  <a:pt x="10" y="108"/>
                </a:lnTo>
                <a:lnTo>
                  <a:pt x="0" y="108"/>
                </a:lnTo>
                <a:lnTo>
                  <a:pt x="0" y="100"/>
                </a:lnTo>
                <a:lnTo>
                  <a:pt x="0" y="92"/>
                </a:lnTo>
                <a:lnTo>
                  <a:pt x="2" y="90"/>
                </a:lnTo>
                <a:lnTo>
                  <a:pt x="4" y="88"/>
                </a:lnTo>
                <a:lnTo>
                  <a:pt x="6" y="75"/>
                </a:lnTo>
                <a:lnTo>
                  <a:pt x="8" y="63"/>
                </a:lnTo>
                <a:lnTo>
                  <a:pt x="11" y="61"/>
                </a:lnTo>
                <a:lnTo>
                  <a:pt x="13" y="60"/>
                </a:lnTo>
                <a:lnTo>
                  <a:pt x="15" y="52"/>
                </a:lnTo>
                <a:lnTo>
                  <a:pt x="17" y="44"/>
                </a:lnTo>
                <a:lnTo>
                  <a:pt x="21" y="42"/>
                </a:lnTo>
                <a:lnTo>
                  <a:pt x="23" y="40"/>
                </a:lnTo>
                <a:lnTo>
                  <a:pt x="25" y="37"/>
                </a:lnTo>
                <a:lnTo>
                  <a:pt x="29" y="35"/>
                </a:lnTo>
                <a:lnTo>
                  <a:pt x="31" y="33"/>
                </a:lnTo>
                <a:lnTo>
                  <a:pt x="33" y="29"/>
                </a:lnTo>
                <a:lnTo>
                  <a:pt x="40" y="17"/>
                </a:lnTo>
                <a:lnTo>
                  <a:pt x="48" y="6"/>
                </a:lnTo>
                <a:lnTo>
                  <a:pt x="50" y="2"/>
                </a:lnTo>
                <a:lnTo>
                  <a:pt x="52" y="0"/>
                </a:lnTo>
                <a:lnTo>
                  <a:pt x="63" y="0"/>
                </a:lnTo>
                <a:lnTo>
                  <a:pt x="77" y="0"/>
                </a:lnTo>
                <a:lnTo>
                  <a:pt x="90" y="6"/>
                </a:lnTo>
                <a:lnTo>
                  <a:pt x="105" y="12"/>
                </a:lnTo>
                <a:lnTo>
                  <a:pt x="109" y="25"/>
                </a:lnTo>
                <a:lnTo>
                  <a:pt x="115" y="40"/>
                </a:lnTo>
                <a:lnTo>
                  <a:pt x="117" y="40"/>
                </a:lnTo>
                <a:lnTo>
                  <a:pt x="119" y="40"/>
                </a:lnTo>
                <a:lnTo>
                  <a:pt x="123" y="42"/>
                </a:lnTo>
                <a:lnTo>
                  <a:pt x="125" y="44"/>
                </a:lnTo>
                <a:lnTo>
                  <a:pt x="125" y="48"/>
                </a:lnTo>
                <a:lnTo>
                  <a:pt x="125" y="54"/>
                </a:lnTo>
                <a:lnTo>
                  <a:pt x="123" y="56"/>
                </a:lnTo>
                <a:lnTo>
                  <a:pt x="119" y="60"/>
                </a:lnTo>
                <a:lnTo>
                  <a:pt x="111" y="61"/>
                </a:lnTo>
                <a:lnTo>
                  <a:pt x="105" y="63"/>
                </a:lnTo>
                <a:lnTo>
                  <a:pt x="102" y="65"/>
                </a:lnTo>
                <a:lnTo>
                  <a:pt x="100" y="69"/>
                </a:lnTo>
                <a:lnTo>
                  <a:pt x="94" y="71"/>
                </a:lnTo>
                <a:lnTo>
                  <a:pt x="86" y="73"/>
                </a:lnTo>
                <a:lnTo>
                  <a:pt x="84" y="75"/>
                </a:lnTo>
                <a:lnTo>
                  <a:pt x="81" y="79"/>
                </a:lnTo>
                <a:lnTo>
                  <a:pt x="79" y="81"/>
                </a:lnTo>
                <a:lnTo>
                  <a:pt x="77" y="83"/>
                </a:lnTo>
                <a:lnTo>
                  <a:pt x="73" y="84"/>
                </a:lnTo>
                <a:lnTo>
                  <a:pt x="71" y="88"/>
                </a:lnTo>
                <a:lnTo>
                  <a:pt x="69" y="100"/>
                </a:lnTo>
                <a:lnTo>
                  <a:pt x="67" y="111"/>
                </a:lnTo>
                <a:lnTo>
                  <a:pt x="63" y="113"/>
                </a:lnTo>
                <a:lnTo>
                  <a:pt x="61" y="117"/>
                </a:lnTo>
                <a:lnTo>
                  <a:pt x="58" y="117"/>
                </a:lnTo>
                <a:lnTo>
                  <a:pt x="52" y="117"/>
                </a:lnTo>
                <a:lnTo>
                  <a:pt x="50" y="113"/>
                </a:lnTo>
                <a:lnTo>
                  <a:pt x="48" y="111"/>
                </a:lnTo>
                <a:lnTo>
                  <a:pt x="44" y="109"/>
                </a:lnTo>
                <a:lnTo>
                  <a:pt x="38" y="108"/>
                </a:lnTo>
                <a:lnTo>
                  <a:pt x="31" y="109"/>
                </a:lnTo>
                <a:lnTo>
                  <a:pt x="29" y="111"/>
                </a:lnTo>
                <a:lnTo>
                  <a:pt x="25" y="113"/>
                </a:lnTo>
                <a:lnTo>
                  <a:pt x="23" y="117"/>
                </a:lnTo>
              </a:path>
            </a:pathLst>
          </a:custGeom>
          <a:solidFill>
            <a:schemeClr val="accent3"/>
          </a:solidFill>
          <a:ln w="12700">
            <a:solidFill>
              <a:schemeClr val="bg1"/>
            </a:solidFill>
            <a:round/>
            <a:headEnd/>
            <a:tailEnd/>
          </a:ln>
        </p:spPr>
        <p:txBody>
          <a:bodyPr/>
          <a:lstStyle/>
          <a:p>
            <a:endParaRPr lang="en-GB"/>
          </a:p>
        </p:txBody>
      </p:sp>
      <p:sp>
        <p:nvSpPr>
          <p:cNvPr id="56" name="Freeform 323"/>
          <p:cNvSpPr>
            <a:spLocks/>
          </p:cNvSpPr>
          <p:nvPr>
            <p:custDataLst>
              <p:tags r:id="rId40"/>
            </p:custDataLst>
          </p:nvPr>
        </p:nvSpPr>
        <p:spPr bwMode="auto">
          <a:xfrm>
            <a:off x="2111764" y="4000337"/>
            <a:ext cx="529533" cy="586666"/>
          </a:xfrm>
          <a:custGeom>
            <a:avLst/>
            <a:gdLst>
              <a:gd name="T0" fmla="*/ 2147483647 w 388"/>
              <a:gd name="T1" fmla="*/ 2147483647 h 448"/>
              <a:gd name="T2" fmla="*/ 2147483647 w 388"/>
              <a:gd name="T3" fmla="*/ 2147483647 h 448"/>
              <a:gd name="T4" fmla="*/ 2147483647 w 388"/>
              <a:gd name="T5" fmla="*/ 2147483647 h 448"/>
              <a:gd name="T6" fmla="*/ 2147483647 w 388"/>
              <a:gd name="T7" fmla="*/ 2147483647 h 448"/>
              <a:gd name="T8" fmla="*/ 2147483647 w 388"/>
              <a:gd name="T9" fmla="*/ 2147483647 h 448"/>
              <a:gd name="T10" fmla="*/ 2147483647 w 388"/>
              <a:gd name="T11" fmla="*/ 2147483647 h 448"/>
              <a:gd name="T12" fmla="*/ 2147483647 w 388"/>
              <a:gd name="T13" fmla="*/ 2147483647 h 448"/>
              <a:gd name="T14" fmla="*/ 2147483647 w 388"/>
              <a:gd name="T15" fmla="*/ 2147483647 h 448"/>
              <a:gd name="T16" fmla="*/ 2147483647 w 388"/>
              <a:gd name="T17" fmla="*/ 2147483647 h 448"/>
              <a:gd name="T18" fmla="*/ 2147483647 w 388"/>
              <a:gd name="T19" fmla="*/ 2147483647 h 448"/>
              <a:gd name="T20" fmla="*/ 2147483647 w 388"/>
              <a:gd name="T21" fmla="*/ 2147483647 h 448"/>
              <a:gd name="T22" fmla="*/ 2147483647 w 388"/>
              <a:gd name="T23" fmla="*/ 2147483647 h 448"/>
              <a:gd name="T24" fmla="*/ 2147483647 w 388"/>
              <a:gd name="T25" fmla="*/ 2147483647 h 448"/>
              <a:gd name="T26" fmla="*/ 2147483647 w 388"/>
              <a:gd name="T27" fmla="*/ 2147483647 h 448"/>
              <a:gd name="T28" fmla="*/ 2147483647 w 388"/>
              <a:gd name="T29" fmla="*/ 2147483647 h 448"/>
              <a:gd name="T30" fmla="*/ 2147483647 w 388"/>
              <a:gd name="T31" fmla="*/ 2147483647 h 448"/>
              <a:gd name="T32" fmla="*/ 2147483647 w 388"/>
              <a:gd name="T33" fmla="*/ 2147483647 h 448"/>
              <a:gd name="T34" fmla="*/ 2147483647 w 388"/>
              <a:gd name="T35" fmla="*/ 2147483647 h 448"/>
              <a:gd name="T36" fmla="*/ 2147483647 w 388"/>
              <a:gd name="T37" fmla="*/ 2147483647 h 448"/>
              <a:gd name="T38" fmla="*/ 2147483647 w 388"/>
              <a:gd name="T39" fmla="*/ 2147483647 h 448"/>
              <a:gd name="T40" fmla="*/ 2147483647 w 388"/>
              <a:gd name="T41" fmla="*/ 2147483647 h 448"/>
              <a:gd name="T42" fmla="*/ 2147483647 w 388"/>
              <a:gd name="T43" fmla="*/ 2147483647 h 448"/>
              <a:gd name="T44" fmla="*/ 2147483647 w 388"/>
              <a:gd name="T45" fmla="*/ 2147483647 h 448"/>
              <a:gd name="T46" fmla="*/ 2147483647 w 388"/>
              <a:gd name="T47" fmla="*/ 2147483647 h 448"/>
              <a:gd name="T48" fmla="*/ 2147483647 w 388"/>
              <a:gd name="T49" fmla="*/ 2147483647 h 448"/>
              <a:gd name="T50" fmla="*/ 2147483647 w 388"/>
              <a:gd name="T51" fmla="*/ 2147483647 h 448"/>
              <a:gd name="T52" fmla="*/ 2147483647 w 388"/>
              <a:gd name="T53" fmla="*/ 2147483647 h 448"/>
              <a:gd name="T54" fmla="*/ 2147483647 w 388"/>
              <a:gd name="T55" fmla="*/ 2147483647 h 448"/>
              <a:gd name="T56" fmla="*/ 2147483647 w 388"/>
              <a:gd name="T57" fmla="*/ 2147483647 h 448"/>
              <a:gd name="T58" fmla="*/ 2147483647 w 388"/>
              <a:gd name="T59" fmla="*/ 2147483647 h 448"/>
              <a:gd name="T60" fmla="*/ 2147483647 w 388"/>
              <a:gd name="T61" fmla="*/ 2147483647 h 448"/>
              <a:gd name="T62" fmla="*/ 2147483647 w 388"/>
              <a:gd name="T63" fmla="*/ 2147483647 h 448"/>
              <a:gd name="T64" fmla="*/ 2147483647 w 388"/>
              <a:gd name="T65" fmla="*/ 2147483647 h 448"/>
              <a:gd name="T66" fmla="*/ 2147483647 w 388"/>
              <a:gd name="T67" fmla="*/ 2147483647 h 448"/>
              <a:gd name="T68" fmla="*/ 2147483647 w 388"/>
              <a:gd name="T69" fmla="*/ 2147483647 h 448"/>
              <a:gd name="T70" fmla="*/ 2147483647 w 388"/>
              <a:gd name="T71" fmla="*/ 2147483647 h 448"/>
              <a:gd name="T72" fmla="*/ 2147483647 w 388"/>
              <a:gd name="T73" fmla="*/ 2147483647 h 448"/>
              <a:gd name="T74" fmla="*/ 2147483647 w 388"/>
              <a:gd name="T75" fmla="*/ 2147483647 h 448"/>
              <a:gd name="T76" fmla="*/ 2147483647 w 388"/>
              <a:gd name="T77" fmla="*/ 2147483647 h 448"/>
              <a:gd name="T78" fmla="*/ 2147483647 w 388"/>
              <a:gd name="T79" fmla="*/ 2147483647 h 448"/>
              <a:gd name="T80" fmla="*/ 2147483647 w 388"/>
              <a:gd name="T81" fmla="*/ 2147483647 h 448"/>
              <a:gd name="T82" fmla="*/ 2147483647 w 388"/>
              <a:gd name="T83" fmla="*/ 2147483647 h 448"/>
              <a:gd name="T84" fmla="*/ 2147483647 w 388"/>
              <a:gd name="T85" fmla="*/ 2147483647 h 448"/>
              <a:gd name="T86" fmla="*/ 2147483647 w 388"/>
              <a:gd name="T87" fmla="*/ 2147483647 h 448"/>
              <a:gd name="T88" fmla="*/ 2147483647 w 388"/>
              <a:gd name="T89" fmla="*/ 2147483647 h 448"/>
              <a:gd name="T90" fmla="*/ 2147483647 w 388"/>
              <a:gd name="T91" fmla="*/ 2147483647 h 448"/>
              <a:gd name="T92" fmla="*/ 2147483647 w 388"/>
              <a:gd name="T93" fmla="*/ 2147483647 h 448"/>
              <a:gd name="T94" fmla="*/ 2147483647 w 388"/>
              <a:gd name="T95" fmla="*/ 2147483647 h 448"/>
              <a:gd name="T96" fmla="*/ 2147483647 w 388"/>
              <a:gd name="T97" fmla="*/ 2147483647 h 448"/>
              <a:gd name="T98" fmla="*/ 2147483647 w 388"/>
              <a:gd name="T99" fmla="*/ 2147483647 h 448"/>
              <a:gd name="T100" fmla="*/ 2147483647 w 388"/>
              <a:gd name="T101" fmla="*/ 2147483647 h 448"/>
              <a:gd name="T102" fmla="*/ 2147483647 w 388"/>
              <a:gd name="T103" fmla="*/ 2147483647 h 448"/>
              <a:gd name="T104" fmla="*/ 2147483647 w 388"/>
              <a:gd name="T105" fmla="*/ 2147483647 h 448"/>
              <a:gd name="T106" fmla="*/ 2147483647 w 388"/>
              <a:gd name="T107" fmla="*/ 2147483647 h 448"/>
              <a:gd name="T108" fmla="*/ 2147483647 w 388"/>
              <a:gd name="T109" fmla="*/ 2147483647 h 448"/>
              <a:gd name="T110" fmla="*/ 2147483647 w 388"/>
              <a:gd name="T111" fmla="*/ 2147483647 h 4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88"/>
              <a:gd name="T169" fmla="*/ 0 h 448"/>
              <a:gd name="T170" fmla="*/ 388 w 388"/>
              <a:gd name="T171" fmla="*/ 448 h 4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88" h="448">
                <a:moveTo>
                  <a:pt x="131" y="448"/>
                </a:moveTo>
                <a:lnTo>
                  <a:pt x="129" y="444"/>
                </a:lnTo>
                <a:lnTo>
                  <a:pt x="125" y="442"/>
                </a:lnTo>
                <a:lnTo>
                  <a:pt x="123" y="434"/>
                </a:lnTo>
                <a:lnTo>
                  <a:pt x="121" y="428"/>
                </a:lnTo>
                <a:lnTo>
                  <a:pt x="119" y="424"/>
                </a:lnTo>
                <a:lnTo>
                  <a:pt x="117" y="423"/>
                </a:lnTo>
                <a:lnTo>
                  <a:pt x="113" y="415"/>
                </a:lnTo>
                <a:lnTo>
                  <a:pt x="111" y="409"/>
                </a:lnTo>
                <a:lnTo>
                  <a:pt x="109" y="405"/>
                </a:lnTo>
                <a:lnTo>
                  <a:pt x="106" y="403"/>
                </a:lnTo>
                <a:lnTo>
                  <a:pt x="109" y="401"/>
                </a:lnTo>
                <a:lnTo>
                  <a:pt x="111" y="400"/>
                </a:lnTo>
                <a:lnTo>
                  <a:pt x="113" y="392"/>
                </a:lnTo>
                <a:lnTo>
                  <a:pt x="115" y="375"/>
                </a:lnTo>
                <a:lnTo>
                  <a:pt x="113" y="357"/>
                </a:lnTo>
                <a:lnTo>
                  <a:pt x="111" y="352"/>
                </a:lnTo>
                <a:lnTo>
                  <a:pt x="109" y="348"/>
                </a:lnTo>
                <a:lnTo>
                  <a:pt x="106" y="346"/>
                </a:lnTo>
                <a:lnTo>
                  <a:pt x="104" y="338"/>
                </a:lnTo>
                <a:lnTo>
                  <a:pt x="102" y="330"/>
                </a:lnTo>
                <a:lnTo>
                  <a:pt x="98" y="329"/>
                </a:lnTo>
                <a:lnTo>
                  <a:pt x="96" y="327"/>
                </a:lnTo>
                <a:lnTo>
                  <a:pt x="88" y="325"/>
                </a:lnTo>
                <a:lnTo>
                  <a:pt x="83" y="321"/>
                </a:lnTo>
                <a:lnTo>
                  <a:pt x="79" y="319"/>
                </a:lnTo>
                <a:lnTo>
                  <a:pt x="77" y="317"/>
                </a:lnTo>
                <a:lnTo>
                  <a:pt x="65" y="313"/>
                </a:lnTo>
                <a:lnTo>
                  <a:pt x="54" y="311"/>
                </a:lnTo>
                <a:lnTo>
                  <a:pt x="50" y="309"/>
                </a:lnTo>
                <a:lnTo>
                  <a:pt x="48" y="307"/>
                </a:lnTo>
                <a:lnTo>
                  <a:pt x="40" y="304"/>
                </a:lnTo>
                <a:lnTo>
                  <a:pt x="35" y="302"/>
                </a:lnTo>
                <a:lnTo>
                  <a:pt x="31" y="300"/>
                </a:lnTo>
                <a:lnTo>
                  <a:pt x="29" y="298"/>
                </a:lnTo>
                <a:lnTo>
                  <a:pt x="21" y="294"/>
                </a:lnTo>
                <a:lnTo>
                  <a:pt x="13" y="292"/>
                </a:lnTo>
                <a:lnTo>
                  <a:pt x="12" y="290"/>
                </a:lnTo>
                <a:lnTo>
                  <a:pt x="10" y="286"/>
                </a:lnTo>
                <a:lnTo>
                  <a:pt x="8" y="284"/>
                </a:lnTo>
                <a:lnTo>
                  <a:pt x="4" y="282"/>
                </a:lnTo>
                <a:lnTo>
                  <a:pt x="2" y="281"/>
                </a:lnTo>
                <a:lnTo>
                  <a:pt x="0" y="279"/>
                </a:lnTo>
                <a:lnTo>
                  <a:pt x="2" y="275"/>
                </a:lnTo>
                <a:lnTo>
                  <a:pt x="4" y="273"/>
                </a:lnTo>
                <a:lnTo>
                  <a:pt x="8" y="271"/>
                </a:lnTo>
                <a:lnTo>
                  <a:pt x="10" y="269"/>
                </a:lnTo>
                <a:lnTo>
                  <a:pt x="12" y="265"/>
                </a:lnTo>
                <a:lnTo>
                  <a:pt x="13" y="263"/>
                </a:lnTo>
                <a:lnTo>
                  <a:pt x="21" y="261"/>
                </a:lnTo>
                <a:lnTo>
                  <a:pt x="29" y="258"/>
                </a:lnTo>
                <a:lnTo>
                  <a:pt x="31" y="256"/>
                </a:lnTo>
                <a:lnTo>
                  <a:pt x="35" y="254"/>
                </a:lnTo>
                <a:lnTo>
                  <a:pt x="37" y="256"/>
                </a:lnTo>
                <a:lnTo>
                  <a:pt x="38" y="258"/>
                </a:lnTo>
                <a:lnTo>
                  <a:pt x="48" y="258"/>
                </a:lnTo>
                <a:lnTo>
                  <a:pt x="58" y="258"/>
                </a:lnTo>
                <a:lnTo>
                  <a:pt x="60" y="256"/>
                </a:lnTo>
                <a:lnTo>
                  <a:pt x="63" y="254"/>
                </a:lnTo>
                <a:lnTo>
                  <a:pt x="65" y="252"/>
                </a:lnTo>
                <a:lnTo>
                  <a:pt x="67" y="248"/>
                </a:lnTo>
                <a:lnTo>
                  <a:pt x="69" y="246"/>
                </a:lnTo>
                <a:lnTo>
                  <a:pt x="73" y="244"/>
                </a:lnTo>
                <a:lnTo>
                  <a:pt x="73" y="235"/>
                </a:lnTo>
                <a:lnTo>
                  <a:pt x="73" y="225"/>
                </a:lnTo>
                <a:lnTo>
                  <a:pt x="69" y="221"/>
                </a:lnTo>
                <a:lnTo>
                  <a:pt x="67" y="219"/>
                </a:lnTo>
                <a:lnTo>
                  <a:pt x="65" y="217"/>
                </a:lnTo>
                <a:lnTo>
                  <a:pt x="63" y="215"/>
                </a:lnTo>
                <a:lnTo>
                  <a:pt x="60" y="213"/>
                </a:lnTo>
                <a:lnTo>
                  <a:pt x="58" y="210"/>
                </a:lnTo>
                <a:lnTo>
                  <a:pt x="56" y="202"/>
                </a:lnTo>
                <a:lnTo>
                  <a:pt x="54" y="196"/>
                </a:lnTo>
                <a:lnTo>
                  <a:pt x="50" y="192"/>
                </a:lnTo>
                <a:lnTo>
                  <a:pt x="48" y="190"/>
                </a:lnTo>
                <a:lnTo>
                  <a:pt x="50" y="188"/>
                </a:lnTo>
                <a:lnTo>
                  <a:pt x="54" y="187"/>
                </a:lnTo>
                <a:lnTo>
                  <a:pt x="56" y="183"/>
                </a:lnTo>
                <a:lnTo>
                  <a:pt x="58" y="181"/>
                </a:lnTo>
                <a:lnTo>
                  <a:pt x="60" y="179"/>
                </a:lnTo>
                <a:lnTo>
                  <a:pt x="63" y="177"/>
                </a:lnTo>
                <a:lnTo>
                  <a:pt x="90" y="173"/>
                </a:lnTo>
                <a:lnTo>
                  <a:pt x="117" y="171"/>
                </a:lnTo>
                <a:lnTo>
                  <a:pt x="119" y="169"/>
                </a:lnTo>
                <a:lnTo>
                  <a:pt x="121" y="167"/>
                </a:lnTo>
                <a:lnTo>
                  <a:pt x="123" y="164"/>
                </a:lnTo>
                <a:lnTo>
                  <a:pt x="125" y="162"/>
                </a:lnTo>
                <a:lnTo>
                  <a:pt x="129" y="160"/>
                </a:lnTo>
                <a:lnTo>
                  <a:pt x="131" y="158"/>
                </a:lnTo>
                <a:lnTo>
                  <a:pt x="132" y="144"/>
                </a:lnTo>
                <a:lnTo>
                  <a:pt x="134" y="133"/>
                </a:lnTo>
                <a:lnTo>
                  <a:pt x="138" y="131"/>
                </a:lnTo>
                <a:lnTo>
                  <a:pt x="140" y="127"/>
                </a:lnTo>
                <a:lnTo>
                  <a:pt x="140" y="100"/>
                </a:lnTo>
                <a:lnTo>
                  <a:pt x="138" y="75"/>
                </a:lnTo>
                <a:lnTo>
                  <a:pt x="146" y="66"/>
                </a:lnTo>
                <a:lnTo>
                  <a:pt x="155" y="54"/>
                </a:lnTo>
                <a:lnTo>
                  <a:pt x="157" y="52"/>
                </a:lnTo>
                <a:lnTo>
                  <a:pt x="159" y="50"/>
                </a:lnTo>
                <a:lnTo>
                  <a:pt x="161" y="48"/>
                </a:lnTo>
                <a:lnTo>
                  <a:pt x="165" y="46"/>
                </a:lnTo>
                <a:lnTo>
                  <a:pt x="167" y="43"/>
                </a:lnTo>
                <a:lnTo>
                  <a:pt x="169" y="41"/>
                </a:lnTo>
                <a:lnTo>
                  <a:pt x="171" y="39"/>
                </a:lnTo>
                <a:lnTo>
                  <a:pt x="175" y="37"/>
                </a:lnTo>
                <a:lnTo>
                  <a:pt x="177" y="33"/>
                </a:lnTo>
                <a:lnTo>
                  <a:pt x="179" y="31"/>
                </a:lnTo>
                <a:lnTo>
                  <a:pt x="180" y="29"/>
                </a:lnTo>
                <a:lnTo>
                  <a:pt x="184" y="25"/>
                </a:lnTo>
                <a:lnTo>
                  <a:pt x="186" y="23"/>
                </a:lnTo>
                <a:lnTo>
                  <a:pt x="188" y="22"/>
                </a:lnTo>
                <a:lnTo>
                  <a:pt x="203" y="10"/>
                </a:lnTo>
                <a:lnTo>
                  <a:pt x="217" y="0"/>
                </a:lnTo>
                <a:lnTo>
                  <a:pt x="221" y="0"/>
                </a:lnTo>
                <a:lnTo>
                  <a:pt x="225" y="2"/>
                </a:lnTo>
                <a:lnTo>
                  <a:pt x="226" y="6"/>
                </a:lnTo>
                <a:lnTo>
                  <a:pt x="228" y="10"/>
                </a:lnTo>
                <a:lnTo>
                  <a:pt x="225" y="18"/>
                </a:lnTo>
                <a:lnTo>
                  <a:pt x="223" y="22"/>
                </a:lnTo>
                <a:lnTo>
                  <a:pt x="223" y="33"/>
                </a:lnTo>
                <a:lnTo>
                  <a:pt x="223" y="39"/>
                </a:lnTo>
                <a:lnTo>
                  <a:pt x="225" y="41"/>
                </a:lnTo>
                <a:lnTo>
                  <a:pt x="226" y="41"/>
                </a:lnTo>
                <a:lnTo>
                  <a:pt x="230" y="43"/>
                </a:lnTo>
                <a:lnTo>
                  <a:pt x="232" y="46"/>
                </a:lnTo>
                <a:lnTo>
                  <a:pt x="230" y="48"/>
                </a:lnTo>
                <a:lnTo>
                  <a:pt x="226" y="50"/>
                </a:lnTo>
                <a:lnTo>
                  <a:pt x="225" y="58"/>
                </a:lnTo>
                <a:lnTo>
                  <a:pt x="223" y="66"/>
                </a:lnTo>
                <a:lnTo>
                  <a:pt x="219" y="68"/>
                </a:lnTo>
                <a:lnTo>
                  <a:pt x="217" y="70"/>
                </a:lnTo>
                <a:lnTo>
                  <a:pt x="215" y="83"/>
                </a:lnTo>
                <a:lnTo>
                  <a:pt x="213" y="94"/>
                </a:lnTo>
                <a:lnTo>
                  <a:pt x="209" y="96"/>
                </a:lnTo>
                <a:lnTo>
                  <a:pt x="207" y="98"/>
                </a:lnTo>
                <a:lnTo>
                  <a:pt x="205" y="106"/>
                </a:lnTo>
                <a:lnTo>
                  <a:pt x="203" y="114"/>
                </a:lnTo>
                <a:lnTo>
                  <a:pt x="202" y="116"/>
                </a:lnTo>
                <a:lnTo>
                  <a:pt x="198" y="119"/>
                </a:lnTo>
                <a:lnTo>
                  <a:pt x="198" y="127"/>
                </a:lnTo>
                <a:lnTo>
                  <a:pt x="198" y="137"/>
                </a:lnTo>
                <a:lnTo>
                  <a:pt x="202" y="141"/>
                </a:lnTo>
                <a:lnTo>
                  <a:pt x="203" y="142"/>
                </a:lnTo>
                <a:lnTo>
                  <a:pt x="203" y="146"/>
                </a:lnTo>
                <a:lnTo>
                  <a:pt x="203" y="152"/>
                </a:lnTo>
                <a:lnTo>
                  <a:pt x="202" y="154"/>
                </a:lnTo>
                <a:lnTo>
                  <a:pt x="198" y="158"/>
                </a:lnTo>
                <a:lnTo>
                  <a:pt x="198" y="167"/>
                </a:lnTo>
                <a:lnTo>
                  <a:pt x="198" y="177"/>
                </a:lnTo>
                <a:lnTo>
                  <a:pt x="202" y="179"/>
                </a:lnTo>
                <a:lnTo>
                  <a:pt x="203" y="181"/>
                </a:lnTo>
                <a:lnTo>
                  <a:pt x="205" y="188"/>
                </a:lnTo>
                <a:lnTo>
                  <a:pt x="207" y="196"/>
                </a:lnTo>
                <a:lnTo>
                  <a:pt x="209" y="198"/>
                </a:lnTo>
                <a:lnTo>
                  <a:pt x="213" y="200"/>
                </a:lnTo>
                <a:lnTo>
                  <a:pt x="217" y="200"/>
                </a:lnTo>
                <a:lnTo>
                  <a:pt x="223" y="200"/>
                </a:lnTo>
                <a:lnTo>
                  <a:pt x="225" y="198"/>
                </a:lnTo>
                <a:lnTo>
                  <a:pt x="226" y="196"/>
                </a:lnTo>
                <a:lnTo>
                  <a:pt x="234" y="192"/>
                </a:lnTo>
                <a:lnTo>
                  <a:pt x="242" y="190"/>
                </a:lnTo>
                <a:lnTo>
                  <a:pt x="244" y="188"/>
                </a:lnTo>
                <a:lnTo>
                  <a:pt x="246" y="187"/>
                </a:lnTo>
                <a:lnTo>
                  <a:pt x="249" y="183"/>
                </a:lnTo>
                <a:lnTo>
                  <a:pt x="251" y="181"/>
                </a:lnTo>
                <a:lnTo>
                  <a:pt x="253" y="179"/>
                </a:lnTo>
                <a:lnTo>
                  <a:pt x="255" y="177"/>
                </a:lnTo>
                <a:lnTo>
                  <a:pt x="274" y="177"/>
                </a:lnTo>
                <a:lnTo>
                  <a:pt x="296" y="177"/>
                </a:lnTo>
                <a:lnTo>
                  <a:pt x="297" y="179"/>
                </a:lnTo>
                <a:lnTo>
                  <a:pt x="299" y="181"/>
                </a:lnTo>
                <a:lnTo>
                  <a:pt x="299" y="188"/>
                </a:lnTo>
                <a:lnTo>
                  <a:pt x="299" y="196"/>
                </a:lnTo>
                <a:lnTo>
                  <a:pt x="309" y="192"/>
                </a:lnTo>
                <a:lnTo>
                  <a:pt x="319" y="190"/>
                </a:lnTo>
                <a:lnTo>
                  <a:pt x="322" y="188"/>
                </a:lnTo>
                <a:lnTo>
                  <a:pt x="324" y="187"/>
                </a:lnTo>
                <a:lnTo>
                  <a:pt x="332" y="183"/>
                </a:lnTo>
                <a:lnTo>
                  <a:pt x="338" y="181"/>
                </a:lnTo>
                <a:lnTo>
                  <a:pt x="340" y="179"/>
                </a:lnTo>
                <a:lnTo>
                  <a:pt x="344" y="177"/>
                </a:lnTo>
                <a:lnTo>
                  <a:pt x="345" y="179"/>
                </a:lnTo>
                <a:lnTo>
                  <a:pt x="349" y="181"/>
                </a:lnTo>
                <a:lnTo>
                  <a:pt x="351" y="188"/>
                </a:lnTo>
                <a:lnTo>
                  <a:pt x="353" y="196"/>
                </a:lnTo>
                <a:lnTo>
                  <a:pt x="355" y="198"/>
                </a:lnTo>
                <a:lnTo>
                  <a:pt x="357" y="200"/>
                </a:lnTo>
                <a:lnTo>
                  <a:pt x="365" y="202"/>
                </a:lnTo>
                <a:lnTo>
                  <a:pt x="372" y="206"/>
                </a:lnTo>
                <a:lnTo>
                  <a:pt x="374" y="208"/>
                </a:lnTo>
                <a:lnTo>
                  <a:pt x="378" y="210"/>
                </a:lnTo>
                <a:lnTo>
                  <a:pt x="380" y="213"/>
                </a:lnTo>
                <a:lnTo>
                  <a:pt x="382" y="215"/>
                </a:lnTo>
                <a:lnTo>
                  <a:pt x="384" y="217"/>
                </a:lnTo>
                <a:lnTo>
                  <a:pt x="388" y="219"/>
                </a:lnTo>
                <a:lnTo>
                  <a:pt x="384" y="221"/>
                </a:lnTo>
                <a:lnTo>
                  <a:pt x="382" y="225"/>
                </a:lnTo>
                <a:lnTo>
                  <a:pt x="380" y="227"/>
                </a:lnTo>
                <a:lnTo>
                  <a:pt x="378" y="229"/>
                </a:lnTo>
                <a:lnTo>
                  <a:pt x="374" y="233"/>
                </a:lnTo>
                <a:lnTo>
                  <a:pt x="372" y="235"/>
                </a:lnTo>
                <a:lnTo>
                  <a:pt x="370" y="236"/>
                </a:lnTo>
                <a:lnTo>
                  <a:pt x="367" y="238"/>
                </a:lnTo>
                <a:lnTo>
                  <a:pt x="365" y="242"/>
                </a:lnTo>
                <a:lnTo>
                  <a:pt x="363" y="244"/>
                </a:lnTo>
                <a:lnTo>
                  <a:pt x="361" y="252"/>
                </a:lnTo>
                <a:lnTo>
                  <a:pt x="357" y="258"/>
                </a:lnTo>
                <a:lnTo>
                  <a:pt x="355" y="261"/>
                </a:lnTo>
                <a:lnTo>
                  <a:pt x="353" y="263"/>
                </a:lnTo>
                <a:lnTo>
                  <a:pt x="351" y="265"/>
                </a:lnTo>
                <a:lnTo>
                  <a:pt x="349" y="269"/>
                </a:lnTo>
                <a:lnTo>
                  <a:pt x="345" y="271"/>
                </a:lnTo>
                <a:lnTo>
                  <a:pt x="344" y="273"/>
                </a:lnTo>
                <a:lnTo>
                  <a:pt x="340" y="300"/>
                </a:lnTo>
                <a:lnTo>
                  <a:pt x="338" y="327"/>
                </a:lnTo>
                <a:lnTo>
                  <a:pt x="336" y="329"/>
                </a:lnTo>
                <a:lnTo>
                  <a:pt x="334" y="330"/>
                </a:lnTo>
                <a:lnTo>
                  <a:pt x="330" y="332"/>
                </a:lnTo>
                <a:lnTo>
                  <a:pt x="328" y="336"/>
                </a:lnTo>
                <a:lnTo>
                  <a:pt x="326" y="338"/>
                </a:lnTo>
                <a:lnTo>
                  <a:pt x="324" y="340"/>
                </a:lnTo>
                <a:lnTo>
                  <a:pt x="319" y="340"/>
                </a:lnTo>
                <a:lnTo>
                  <a:pt x="315" y="340"/>
                </a:lnTo>
                <a:lnTo>
                  <a:pt x="311" y="338"/>
                </a:lnTo>
                <a:lnTo>
                  <a:pt x="309" y="336"/>
                </a:lnTo>
                <a:lnTo>
                  <a:pt x="301" y="332"/>
                </a:lnTo>
                <a:lnTo>
                  <a:pt x="296" y="330"/>
                </a:lnTo>
                <a:lnTo>
                  <a:pt x="292" y="329"/>
                </a:lnTo>
                <a:lnTo>
                  <a:pt x="290" y="327"/>
                </a:lnTo>
                <a:lnTo>
                  <a:pt x="288" y="325"/>
                </a:lnTo>
                <a:lnTo>
                  <a:pt x="284" y="321"/>
                </a:lnTo>
                <a:lnTo>
                  <a:pt x="282" y="319"/>
                </a:lnTo>
                <a:lnTo>
                  <a:pt x="280" y="317"/>
                </a:lnTo>
                <a:lnTo>
                  <a:pt x="273" y="313"/>
                </a:lnTo>
                <a:lnTo>
                  <a:pt x="267" y="311"/>
                </a:lnTo>
                <a:lnTo>
                  <a:pt x="263" y="309"/>
                </a:lnTo>
                <a:lnTo>
                  <a:pt x="261" y="307"/>
                </a:lnTo>
                <a:lnTo>
                  <a:pt x="255" y="307"/>
                </a:lnTo>
                <a:lnTo>
                  <a:pt x="251" y="307"/>
                </a:lnTo>
                <a:lnTo>
                  <a:pt x="249" y="309"/>
                </a:lnTo>
                <a:lnTo>
                  <a:pt x="246" y="311"/>
                </a:lnTo>
                <a:lnTo>
                  <a:pt x="244" y="313"/>
                </a:lnTo>
                <a:lnTo>
                  <a:pt x="242" y="317"/>
                </a:lnTo>
                <a:lnTo>
                  <a:pt x="240" y="319"/>
                </a:lnTo>
                <a:lnTo>
                  <a:pt x="236" y="321"/>
                </a:lnTo>
                <a:lnTo>
                  <a:pt x="234" y="332"/>
                </a:lnTo>
                <a:lnTo>
                  <a:pt x="232" y="346"/>
                </a:lnTo>
                <a:lnTo>
                  <a:pt x="230" y="348"/>
                </a:lnTo>
                <a:lnTo>
                  <a:pt x="226" y="352"/>
                </a:lnTo>
                <a:lnTo>
                  <a:pt x="225" y="353"/>
                </a:lnTo>
                <a:lnTo>
                  <a:pt x="223" y="355"/>
                </a:lnTo>
                <a:lnTo>
                  <a:pt x="219" y="357"/>
                </a:lnTo>
                <a:lnTo>
                  <a:pt x="217" y="359"/>
                </a:lnTo>
                <a:lnTo>
                  <a:pt x="215" y="363"/>
                </a:lnTo>
                <a:lnTo>
                  <a:pt x="213" y="365"/>
                </a:lnTo>
                <a:lnTo>
                  <a:pt x="209" y="367"/>
                </a:lnTo>
                <a:lnTo>
                  <a:pt x="207" y="369"/>
                </a:lnTo>
                <a:lnTo>
                  <a:pt x="205" y="367"/>
                </a:lnTo>
                <a:lnTo>
                  <a:pt x="203" y="365"/>
                </a:lnTo>
                <a:lnTo>
                  <a:pt x="200" y="361"/>
                </a:lnTo>
                <a:lnTo>
                  <a:pt x="194" y="361"/>
                </a:lnTo>
                <a:lnTo>
                  <a:pt x="186" y="361"/>
                </a:lnTo>
                <a:lnTo>
                  <a:pt x="184" y="365"/>
                </a:lnTo>
                <a:lnTo>
                  <a:pt x="180" y="367"/>
                </a:lnTo>
                <a:lnTo>
                  <a:pt x="179" y="369"/>
                </a:lnTo>
                <a:lnTo>
                  <a:pt x="177" y="377"/>
                </a:lnTo>
                <a:lnTo>
                  <a:pt x="175" y="384"/>
                </a:lnTo>
                <a:lnTo>
                  <a:pt x="171" y="386"/>
                </a:lnTo>
                <a:lnTo>
                  <a:pt x="169" y="390"/>
                </a:lnTo>
                <a:lnTo>
                  <a:pt x="167" y="396"/>
                </a:lnTo>
                <a:lnTo>
                  <a:pt x="165" y="403"/>
                </a:lnTo>
                <a:lnTo>
                  <a:pt x="161" y="405"/>
                </a:lnTo>
                <a:lnTo>
                  <a:pt x="159" y="409"/>
                </a:lnTo>
                <a:lnTo>
                  <a:pt x="157" y="415"/>
                </a:lnTo>
                <a:lnTo>
                  <a:pt x="155" y="423"/>
                </a:lnTo>
                <a:lnTo>
                  <a:pt x="152" y="424"/>
                </a:lnTo>
                <a:lnTo>
                  <a:pt x="150" y="428"/>
                </a:lnTo>
                <a:lnTo>
                  <a:pt x="148" y="430"/>
                </a:lnTo>
                <a:lnTo>
                  <a:pt x="146" y="432"/>
                </a:lnTo>
                <a:lnTo>
                  <a:pt x="142" y="434"/>
                </a:lnTo>
                <a:lnTo>
                  <a:pt x="140" y="438"/>
                </a:lnTo>
                <a:lnTo>
                  <a:pt x="134" y="442"/>
                </a:lnTo>
                <a:lnTo>
                  <a:pt x="131" y="448"/>
                </a:lnTo>
              </a:path>
            </a:pathLst>
          </a:custGeom>
          <a:solidFill>
            <a:schemeClr val="accent3"/>
          </a:solidFill>
          <a:ln w="12700">
            <a:solidFill>
              <a:schemeClr val="bg1"/>
            </a:solidFill>
            <a:round/>
            <a:headEnd/>
            <a:tailEnd/>
          </a:ln>
        </p:spPr>
        <p:txBody>
          <a:bodyPr/>
          <a:lstStyle/>
          <a:p>
            <a:endParaRPr lang="en-GB"/>
          </a:p>
        </p:txBody>
      </p:sp>
      <p:sp>
        <p:nvSpPr>
          <p:cNvPr id="57" name="Freeform 324"/>
          <p:cNvSpPr>
            <a:spLocks/>
          </p:cNvSpPr>
          <p:nvPr>
            <p:custDataLst>
              <p:tags r:id="rId41"/>
            </p:custDataLst>
          </p:nvPr>
        </p:nvSpPr>
        <p:spPr bwMode="auto">
          <a:xfrm>
            <a:off x="1743878" y="4219117"/>
            <a:ext cx="461251" cy="305178"/>
          </a:xfrm>
          <a:custGeom>
            <a:avLst/>
            <a:gdLst>
              <a:gd name="T0" fmla="*/ 2147483647 w 337"/>
              <a:gd name="T1" fmla="*/ 2147483647 h 233"/>
              <a:gd name="T2" fmla="*/ 2147483647 w 337"/>
              <a:gd name="T3" fmla="*/ 2147483647 h 233"/>
              <a:gd name="T4" fmla="*/ 2147483647 w 337"/>
              <a:gd name="T5" fmla="*/ 2147483647 h 233"/>
              <a:gd name="T6" fmla="*/ 2147483647 w 337"/>
              <a:gd name="T7" fmla="*/ 2147483647 h 233"/>
              <a:gd name="T8" fmla="*/ 2147483647 w 337"/>
              <a:gd name="T9" fmla="*/ 2147483647 h 233"/>
              <a:gd name="T10" fmla="*/ 2147483647 w 337"/>
              <a:gd name="T11" fmla="*/ 2147483647 h 233"/>
              <a:gd name="T12" fmla="*/ 2147483647 w 337"/>
              <a:gd name="T13" fmla="*/ 2147483647 h 233"/>
              <a:gd name="T14" fmla="*/ 2147483647 w 337"/>
              <a:gd name="T15" fmla="*/ 2147483647 h 233"/>
              <a:gd name="T16" fmla="*/ 2147483647 w 337"/>
              <a:gd name="T17" fmla="*/ 2147483647 h 233"/>
              <a:gd name="T18" fmla="*/ 2147483647 w 337"/>
              <a:gd name="T19" fmla="*/ 2147483647 h 233"/>
              <a:gd name="T20" fmla="*/ 2147483647 w 337"/>
              <a:gd name="T21" fmla="*/ 2147483647 h 233"/>
              <a:gd name="T22" fmla="*/ 2147483647 w 337"/>
              <a:gd name="T23" fmla="*/ 2147483647 h 233"/>
              <a:gd name="T24" fmla="*/ 2147483647 w 337"/>
              <a:gd name="T25" fmla="*/ 2147483647 h 233"/>
              <a:gd name="T26" fmla="*/ 2147483647 w 337"/>
              <a:gd name="T27" fmla="*/ 2147483647 h 233"/>
              <a:gd name="T28" fmla="*/ 2147483647 w 337"/>
              <a:gd name="T29" fmla="*/ 2147483647 h 233"/>
              <a:gd name="T30" fmla="*/ 2147483647 w 337"/>
              <a:gd name="T31" fmla="*/ 2147483647 h 233"/>
              <a:gd name="T32" fmla="*/ 2147483647 w 337"/>
              <a:gd name="T33" fmla="*/ 2147483647 h 233"/>
              <a:gd name="T34" fmla="*/ 2147483647 w 337"/>
              <a:gd name="T35" fmla="*/ 2147483647 h 233"/>
              <a:gd name="T36" fmla="*/ 2147483647 w 337"/>
              <a:gd name="T37" fmla="*/ 0 h 233"/>
              <a:gd name="T38" fmla="*/ 2147483647 w 337"/>
              <a:gd name="T39" fmla="*/ 2147483647 h 233"/>
              <a:gd name="T40" fmla="*/ 2147483647 w 337"/>
              <a:gd name="T41" fmla="*/ 0 h 233"/>
              <a:gd name="T42" fmla="*/ 2147483647 w 337"/>
              <a:gd name="T43" fmla="*/ 2147483647 h 233"/>
              <a:gd name="T44" fmla="*/ 2147483647 w 337"/>
              <a:gd name="T45" fmla="*/ 2147483647 h 233"/>
              <a:gd name="T46" fmla="*/ 2147483647 w 337"/>
              <a:gd name="T47" fmla="*/ 2147483647 h 233"/>
              <a:gd name="T48" fmla="*/ 2147483647 w 337"/>
              <a:gd name="T49" fmla="*/ 2147483647 h 233"/>
              <a:gd name="T50" fmla="*/ 2147483647 w 337"/>
              <a:gd name="T51" fmla="*/ 2147483647 h 233"/>
              <a:gd name="T52" fmla="*/ 2147483647 w 337"/>
              <a:gd name="T53" fmla="*/ 2147483647 h 233"/>
              <a:gd name="T54" fmla="*/ 2147483647 w 337"/>
              <a:gd name="T55" fmla="*/ 2147483647 h 233"/>
              <a:gd name="T56" fmla="*/ 2147483647 w 337"/>
              <a:gd name="T57" fmla="*/ 2147483647 h 233"/>
              <a:gd name="T58" fmla="*/ 2147483647 w 337"/>
              <a:gd name="T59" fmla="*/ 2147483647 h 233"/>
              <a:gd name="T60" fmla="*/ 2147483647 w 337"/>
              <a:gd name="T61" fmla="*/ 2147483647 h 233"/>
              <a:gd name="T62" fmla="*/ 2147483647 w 337"/>
              <a:gd name="T63" fmla="*/ 2147483647 h 233"/>
              <a:gd name="T64" fmla="*/ 2147483647 w 337"/>
              <a:gd name="T65" fmla="*/ 2147483647 h 233"/>
              <a:gd name="T66" fmla="*/ 2147483647 w 337"/>
              <a:gd name="T67" fmla="*/ 2147483647 h 233"/>
              <a:gd name="T68" fmla="*/ 2147483647 w 337"/>
              <a:gd name="T69" fmla="*/ 2147483647 h 233"/>
              <a:gd name="T70" fmla="*/ 2147483647 w 337"/>
              <a:gd name="T71" fmla="*/ 2147483647 h 233"/>
              <a:gd name="T72" fmla="*/ 2147483647 w 337"/>
              <a:gd name="T73" fmla="*/ 2147483647 h 233"/>
              <a:gd name="T74" fmla="*/ 2147483647 w 337"/>
              <a:gd name="T75" fmla="*/ 2147483647 h 233"/>
              <a:gd name="T76" fmla="*/ 2147483647 w 337"/>
              <a:gd name="T77" fmla="*/ 2147483647 h 233"/>
              <a:gd name="T78" fmla="*/ 2147483647 w 337"/>
              <a:gd name="T79" fmla="*/ 2147483647 h 233"/>
              <a:gd name="T80" fmla="*/ 2147483647 w 337"/>
              <a:gd name="T81" fmla="*/ 2147483647 h 233"/>
              <a:gd name="T82" fmla="*/ 2147483647 w 337"/>
              <a:gd name="T83" fmla="*/ 2147483647 h 233"/>
              <a:gd name="T84" fmla="*/ 2147483647 w 337"/>
              <a:gd name="T85" fmla="*/ 2147483647 h 233"/>
              <a:gd name="T86" fmla="*/ 2147483647 w 337"/>
              <a:gd name="T87" fmla="*/ 2147483647 h 233"/>
              <a:gd name="T88" fmla="*/ 2147483647 w 337"/>
              <a:gd name="T89" fmla="*/ 2147483647 h 233"/>
              <a:gd name="T90" fmla="*/ 2147483647 w 337"/>
              <a:gd name="T91" fmla="*/ 2147483647 h 233"/>
              <a:gd name="T92" fmla="*/ 2147483647 w 337"/>
              <a:gd name="T93" fmla="*/ 2147483647 h 233"/>
              <a:gd name="T94" fmla="*/ 2147483647 w 337"/>
              <a:gd name="T95" fmla="*/ 2147483647 h 233"/>
              <a:gd name="T96" fmla="*/ 2147483647 w 337"/>
              <a:gd name="T97" fmla="*/ 2147483647 h 233"/>
              <a:gd name="T98" fmla="*/ 2147483647 w 337"/>
              <a:gd name="T99" fmla="*/ 2147483647 h 233"/>
              <a:gd name="T100" fmla="*/ 2147483647 w 337"/>
              <a:gd name="T101" fmla="*/ 2147483647 h 23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37"/>
              <a:gd name="T154" fmla="*/ 0 h 233"/>
              <a:gd name="T155" fmla="*/ 337 w 337"/>
              <a:gd name="T156" fmla="*/ 233 h 23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37" h="233">
                <a:moveTo>
                  <a:pt x="86" y="233"/>
                </a:moveTo>
                <a:lnTo>
                  <a:pt x="86" y="217"/>
                </a:lnTo>
                <a:lnTo>
                  <a:pt x="86" y="202"/>
                </a:lnTo>
                <a:lnTo>
                  <a:pt x="74" y="198"/>
                </a:lnTo>
                <a:lnTo>
                  <a:pt x="63" y="192"/>
                </a:lnTo>
                <a:lnTo>
                  <a:pt x="59" y="190"/>
                </a:lnTo>
                <a:lnTo>
                  <a:pt x="57" y="188"/>
                </a:lnTo>
                <a:lnTo>
                  <a:pt x="55" y="177"/>
                </a:lnTo>
                <a:lnTo>
                  <a:pt x="51" y="163"/>
                </a:lnTo>
                <a:lnTo>
                  <a:pt x="49" y="162"/>
                </a:lnTo>
                <a:lnTo>
                  <a:pt x="48" y="160"/>
                </a:lnTo>
                <a:lnTo>
                  <a:pt x="36" y="158"/>
                </a:lnTo>
                <a:lnTo>
                  <a:pt x="23" y="154"/>
                </a:lnTo>
                <a:lnTo>
                  <a:pt x="21" y="152"/>
                </a:lnTo>
                <a:lnTo>
                  <a:pt x="19" y="150"/>
                </a:lnTo>
                <a:lnTo>
                  <a:pt x="11" y="133"/>
                </a:lnTo>
                <a:lnTo>
                  <a:pt x="3" y="115"/>
                </a:lnTo>
                <a:lnTo>
                  <a:pt x="1" y="114"/>
                </a:lnTo>
                <a:lnTo>
                  <a:pt x="0" y="112"/>
                </a:lnTo>
                <a:lnTo>
                  <a:pt x="3" y="100"/>
                </a:lnTo>
                <a:lnTo>
                  <a:pt x="9" y="91"/>
                </a:lnTo>
                <a:lnTo>
                  <a:pt x="11" y="89"/>
                </a:lnTo>
                <a:lnTo>
                  <a:pt x="13" y="87"/>
                </a:lnTo>
                <a:lnTo>
                  <a:pt x="21" y="85"/>
                </a:lnTo>
                <a:lnTo>
                  <a:pt x="28" y="81"/>
                </a:lnTo>
                <a:lnTo>
                  <a:pt x="30" y="79"/>
                </a:lnTo>
                <a:lnTo>
                  <a:pt x="34" y="77"/>
                </a:lnTo>
                <a:lnTo>
                  <a:pt x="46" y="75"/>
                </a:lnTo>
                <a:lnTo>
                  <a:pt x="57" y="71"/>
                </a:lnTo>
                <a:lnTo>
                  <a:pt x="59" y="69"/>
                </a:lnTo>
                <a:lnTo>
                  <a:pt x="63" y="68"/>
                </a:lnTo>
                <a:lnTo>
                  <a:pt x="74" y="66"/>
                </a:lnTo>
                <a:lnTo>
                  <a:pt x="86" y="62"/>
                </a:lnTo>
                <a:lnTo>
                  <a:pt x="88" y="60"/>
                </a:lnTo>
                <a:lnTo>
                  <a:pt x="92" y="58"/>
                </a:lnTo>
                <a:lnTo>
                  <a:pt x="97" y="44"/>
                </a:lnTo>
                <a:lnTo>
                  <a:pt x="105" y="33"/>
                </a:lnTo>
                <a:lnTo>
                  <a:pt x="107" y="31"/>
                </a:lnTo>
                <a:lnTo>
                  <a:pt x="111" y="29"/>
                </a:lnTo>
                <a:lnTo>
                  <a:pt x="120" y="29"/>
                </a:lnTo>
                <a:lnTo>
                  <a:pt x="130" y="29"/>
                </a:lnTo>
                <a:lnTo>
                  <a:pt x="132" y="31"/>
                </a:lnTo>
                <a:lnTo>
                  <a:pt x="134" y="33"/>
                </a:lnTo>
                <a:lnTo>
                  <a:pt x="138" y="37"/>
                </a:lnTo>
                <a:lnTo>
                  <a:pt x="143" y="37"/>
                </a:lnTo>
                <a:lnTo>
                  <a:pt x="151" y="37"/>
                </a:lnTo>
                <a:lnTo>
                  <a:pt x="155" y="33"/>
                </a:lnTo>
                <a:lnTo>
                  <a:pt x="157" y="31"/>
                </a:lnTo>
                <a:lnTo>
                  <a:pt x="159" y="29"/>
                </a:lnTo>
                <a:lnTo>
                  <a:pt x="161" y="21"/>
                </a:lnTo>
                <a:lnTo>
                  <a:pt x="163" y="14"/>
                </a:lnTo>
                <a:lnTo>
                  <a:pt x="166" y="12"/>
                </a:lnTo>
                <a:lnTo>
                  <a:pt x="168" y="10"/>
                </a:lnTo>
                <a:lnTo>
                  <a:pt x="170" y="6"/>
                </a:lnTo>
                <a:lnTo>
                  <a:pt x="172" y="4"/>
                </a:lnTo>
                <a:lnTo>
                  <a:pt x="176" y="2"/>
                </a:lnTo>
                <a:lnTo>
                  <a:pt x="178" y="0"/>
                </a:lnTo>
                <a:lnTo>
                  <a:pt x="193" y="0"/>
                </a:lnTo>
                <a:lnTo>
                  <a:pt x="209" y="2"/>
                </a:lnTo>
                <a:lnTo>
                  <a:pt x="226" y="2"/>
                </a:lnTo>
                <a:lnTo>
                  <a:pt x="241" y="4"/>
                </a:lnTo>
                <a:lnTo>
                  <a:pt x="243" y="2"/>
                </a:lnTo>
                <a:lnTo>
                  <a:pt x="245" y="0"/>
                </a:lnTo>
                <a:lnTo>
                  <a:pt x="251" y="0"/>
                </a:lnTo>
                <a:lnTo>
                  <a:pt x="255" y="0"/>
                </a:lnTo>
                <a:lnTo>
                  <a:pt x="257" y="2"/>
                </a:lnTo>
                <a:lnTo>
                  <a:pt x="260" y="4"/>
                </a:lnTo>
                <a:lnTo>
                  <a:pt x="262" y="6"/>
                </a:lnTo>
                <a:lnTo>
                  <a:pt x="264" y="10"/>
                </a:lnTo>
                <a:lnTo>
                  <a:pt x="268" y="12"/>
                </a:lnTo>
                <a:lnTo>
                  <a:pt x="270" y="14"/>
                </a:lnTo>
                <a:lnTo>
                  <a:pt x="272" y="16"/>
                </a:lnTo>
                <a:lnTo>
                  <a:pt x="274" y="20"/>
                </a:lnTo>
                <a:lnTo>
                  <a:pt x="278" y="21"/>
                </a:lnTo>
                <a:lnTo>
                  <a:pt x="280" y="23"/>
                </a:lnTo>
                <a:lnTo>
                  <a:pt x="297" y="25"/>
                </a:lnTo>
                <a:lnTo>
                  <a:pt x="314" y="29"/>
                </a:lnTo>
                <a:lnTo>
                  <a:pt x="316" y="31"/>
                </a:lnTo>
                <a:lnTo>
                  <a:pt x="318" y="33"/>
                </a:lnTo>
                <a:lnTo>
                  <a:pt x="320" y="41"/>
                </a:lnTo>
                <a:lnTo>
                  <a:pt x="324" y="48"/>
                </a:lnTo>
                <a:lnTo>
                  <a:pt x="326" y="50"/>
                </a:lnTo>
                <a:lnTo>
                  <a:pt x="328" y="52"/>
                </a:lnTo>
                <a:lnTo>
                  <a:pt x="330" y="54"/>
                </a:lnTo>
                <a:lnTo>
                  <a:pt x="333" y="58"/>
                </a:lnTo>
                <a:lnTo>
                  <a:pt x="335" y="60"/>
                </a:lnTo>
                <a:lnTo>
                  <a:pt x="337" y="62"/>
                </a:lnTo>
                <a:lnTo>
                  <a:pt x="337" y="68"/>
                </a:lnTo>
                <a:lnTo>
                  <a:pt x="337" y="71"/>
                </a:lnTo>
                <a:lnTo>
                  <a:pt x="335" y="75"/>
                </a:lnTo>
                <a:lnTo>
                  <a:pt x="333" y="77"/>
                </a:lnTo>
                <a:lnTo>
                  <a:pt x="330" y="79"/>
                </a:lnTo>
                <a:lnTo>
                  <a:pt x="328" y="81"/>
                </a:lnTo>
                <a:lnTo>
                  <a:pt x="326" y="85"/>
                </a:lnTo>
                <a:lnTo>
                  <a:pt x="324" y="87"/>
                </a:lnTo>
                <a:lnTo>
                  <a:pt x="318" y="87"/>
                </a:lnTo>
                <a:lnTo>
                  <a:pt x="314" y="87"/>
                </a:lnTo>
                <a:lnTo>
                  <a:pt x="310" y="85"/>
                </a:lnTo>
                <a:lnTo>
                  <a:pt x="308" y="81"/>
                </a:lnTo>
                <a:lnTo>
                  <a:pt x="303" y="81"/>
                </a:lnTo>
                <a:lnTo>
                  <a:pt x="299" y="81"/>
                </a:lnTo>
                <a:lnTo>
                  <a:pt x="297" y="85"/>
                </a:lnTo>
                <a:lnTo>
                  <a:pt x="295" y="87"/>
                </a:lnTo>
                <a:lnTo>
                  <a:pt x="287" y="89"/>
                </a:lnTo>
                <a:lnTo>
                  <a:pt x="280" y="91"/>
                </a:lnTo>
                <a:lnTo>
                  <a:pt x="278" y="94"/>
                </a:lnTo>
                <a:lnTo>
                  <a:pt x="274" y="96"/>
                </a:lnTo>
                <a:lnTo>
                  <a:pt x="272" y="98"/>
                </a:lnTo>
                <a:lnTo>
                  <a:pt x="270" y="102"/>
                </a:lnTo>
                <a:lnTo>
                  <a:pt x="268" y="104"/>
                </a:lnTo>
                <a:lnTo>
                  <a:pt x="264" y="106"/>
                </a:lnTo>
                <a:lnTo>
                  <a:pt x="255" y="106"/>
                </a:lnTo>
                <a:lnTo>
                  <a:pt x="245" y="106"/>
                </a:lnTo>
                <a:lnTo>
                  <a:pt x="243" y="104"/>
                </a:lnTo>
                <a:lnTo>
                  <a:pt x="241" y="102"/>
                </a:lnTo>
                <a:lnTo>
                  <a:pt x="236" y="102"/>
                </a:lnTo>
                <a:lnTo>
                  <a:pt x="232" y="102"/>
                </a:lnTo>
                <a:lnTo>
                  <a:pt x="228" y="104"/>
                </a:lnTo>
                <a:lnTo>
                  <a:pt x="226" y="106"/>
                </a:lnTo>
                <a:lnTo>
                  <a:pt x="218" y="108"/>
                </a:lnTo>
                <a:lnTo>
                  <a:pt x="213" y="112"/>
                </a:lnTo>
                <a:lnTo>
                  <a:pt x="209" y="114"/>
                </a:lnTo>
                <a:lnTo>
                  <a:pt x="207" y="115"/>
                </a:lnTo>
                <a:lnTo>
                  <a:pt x="205" y="142"/>
                </a:lnTo>
                <a:lnTo>
                  <a:pt x="203" y="169"/>
                </a:lnTo>
                <a:lnTo>
                  <a:pt x="199" y="171"/>
                </a:lnTo>
                <a:lnTo>
                  <a:pt x="197" y="173"/>
                </a:lnTo>
                <a:lnTo>
                  <a:pt x="189" y="173"/>
                </a:lnTo>
                <a:lnTo>
                  <a:pt x="184" y="173"/>
                </a:lnTo>
                <a:lnTo>
                  <a:pt x="184" y="186"/>
                </a:lnTo>
                <a:lnTo>
                  <a:pt x="184" y="198"/>
                </a:lnTo>
                <a:lnTo>
                  <a:pt x="180" y="200"/>
                </a:lnTo>
                <a:lnTo>
                  <a:pt x="178" y="202"/>
                </a:lnTo>
                <a:lnTo>
                  <a:pt x="176" y="206"/>
                </a:lnTo>
                <a:lnTo>
                  <a:pt x="172" y="208"/>
                </a:lnTo>
                <a:lnTo>
                  <a:pt x="170" y="210"/>
                </a:lnTo>
                <a:lnTo>
                  <a:pt x="168" y="213"/>
                </a:lnTo>
                <a:lnTo>
                  <a:pt x="166" y="219"/>
                </a:lnTo>
                <a:lnTo>
                  <a:pt x="163" y="227"/>
                </a:lnTo>
                <a:lnTo>
                  <a:pt x="161" y="229"/>
                </a:lnTo>
                <a:lnTo>
                  <a:pt x="159" y="233"/>
                </a:lnTo>
                <a:lnTo>
                  <a:pt x="157" y="229"/>
                </a:lnTo>
                <a:lnTo>
                  <a:pt x="155" y="227"/>
                </a:lnTo>
                <a:lnTo>
                  <a:pt x="151" y="225"/>
                </a:lnTo>
                <a:lnTo>
                  <a:pt x="149" y="223"/>
                </a:lnTo>
                <a:lnTo>
                  <a:pt x="147" y="219"/>
                </a:lnTo>
                <a:lnTo>
                  <a:pt x="143" y="217"/>
                </a:lnTo>
                <a:lnTo>
                  <a:pt x="134" y="217"/>
                </a:lnTo>
                <a:lnTo>
                  <a:pt x="124" y="217"/>
                </a:lnTo>
                <a:lnTo>
                  <a:pt x="122" y="219"/>
                </a:lnTo>
                <a:lnTo>
                  <a:pt x="120" y="223"/>
                </a:lnTo>
                <a:lnTo>
                  <a:pt x="109" y="227"/>
                </a:lnTo>
                <a:lnTo>
                  <a:pt x="95" y="233"/>
                </a:lnTo>
                <a:lnTo>
                  <a:pt x="92" y="233"/>
                </a:lnTo>
                <a:lnTo>
                  <a:pt x="86" y="233"/>
                </a:lnTo>
              </a:path>
            </a:pathLst>
          </a:custGeom>
          <a:solidFill>
            <a:schemeClr val="accent3"/>
          </a:solidFill>
          <a:ln w="12700">
            <a:solidFill>
              <a:schemeClr val="bg1"/>
            </a:solidFill>
            <a:round/>
            <a:headEnd/>
            <a:tailEnd/>
          </a:ln>
        </p:spPr>
        <p:txBody>
          <a:bodyPr/>
          <a:lstStyle/>
          <a:p>
            <a:endParaRPr lang="en-GB"/>
          </a:p>
        </p:txBody>
      </p:sp>
      <p:sp>
        <p:nvSpPr>
          <p:cNvPr id="58" name="Freeform 325"/>
          <p:cNvSpPr>
            <a:spLocks/>
          </p:cNvSpPr>
          <p:nvPr>
            <p:custDataLst>
              <p:tags r:id="rId42"/>
            </p:custDataLst>
          </p:nvPr>
        </p:nvSpPr>
        <p:spPr bwMode="auto">
          <a:xfrm>
            <a:off x="2033727" y="4358468"/>
            <a:ext cx="222961" cy="165828"/>
          </a:xfrm>
          <a:custGeom>
            <a:avLst/>
            <a:gdLst>
              <a:gd name="T0" fmla="*/ 2147483647 w 163"/>
              <a:gd name="T1" fmla="*/ 2147483647 h 127"/>
              <a:gd name="T2" fmla="*/ 2147483647 w 163"/>
              <a:gd name="T3" fmla="*/ 2147483647 h 127"/>
              <a:gd name="T4" fmla="*/ 2147483647 w 163"/>
              <a:gd name="T5" fmla="*/ 2147483647 h 127"/>
              <a:gd name="T6" fmla="*/ 2147483647 w 163"/>
              <a:gd name="T7" fmla="*/ 2147483647 h 127"/>
              <a:gd name="T8" fmla="*/ 2147483647 w 163"/>
              <a:gd name="T9" fmla="*/ 2147483647 h 127"/>
              <a:gd name="T10" fmla="*/ 2147483647 w 163"/>
              <a:gd name="T11" fmla="*/ 2147483647 h 127"/>
              <a:gd name="T12" fmla="*/ 2147483647 w 163"/>
              <a:gd name="T13" fmla="*/ 2147483647 h 127"/>
              <a:gd name="T14" fmla="*/ 2147483647 w 163"/>
              <a:gd name="T15" fmla="*/ 2147483647 h 127"/>
              <a:gd name="T16" fmla="*/ 2147483647 w 163"/>
              <a:gd name="T17" fmla="*/ 2147483647 h 127"/>
              <a:gd name="T18" fmla="*/ 2147483647 w 163"/>
              <a:gd name="T19" fmla="*/ 2147483647 h 127"/>
              <a:gd name="T20" fmla="*/ 2147483647 w 163"/>
              <a:gd name="T21" fmla="*/ 2147483647 h 127"/>
              <a:gd name="T22" fmla="*/ 2147483647 w 163"/>
              <a:gd name="T23" fmla="*/ 2147483647 h 127"/>
              <a:gd name="T24" fmla="*/ 0 w 163"/>
              <a:gd name="T25" fmla="*/ 2147483647 h 127"/>
              <a:gd name="T26" fmla="*/ 2147483647 w 163"/>
              <a:gd name="T27" fmla="*/ 2147483647 h 127"/>
              <a:gd name="T28" fmla="*/ 2147483647 w 163"/>
              <a:gd name="T29" fmla="*/ 2147483647 h 127"/>
              <a:gd name="T30" fmla="*/ 2147483647 w 163"/>
              <a:gd name="T31" fmla="*/ 2147483647 h 127"/>
              <a:gd name="T32" fmla="*/ 2147483647 w 163"/>
              <a:gd name="T33" fmla="*/ 2147483647 h 127"/>
              <a:gd name="T34" fmla="*/ 2147483647 w 163"/>
              <a:gd name="T35" fmla="*/ 2147483647 h 127"/>
              <a:gd name="T36" fmla="*/ 2147483647 w 163"/>
              <a:gd name="T37" fmla="*/ 2147483647 h 127"/>
              <a:gd name="T38" fmla="*/ 2147483647 w 163"/>
              <a:gd name="T39" fmla="*/ 2147483647 h 127"/>
              <a:gd name="T40" fmla="*/ 2147483647 w 163"/>
              <a:gd name="T41" fmla="*/ 2147483647 h 127"/>
              <a:gd name="T42" fmla="*/ 2147483647 w 163"/>
              <a:gd name="T43" fmla="*/ 2147483647 h 127"/>
              <a:gd name="T44" fmla="*/ 2147483647 w 163"/>
              <a:gd name="T45" fmla="*/ 2147483647 h 127"/>
              <a:gd name="T46" fmla="*/ 2147483647 w 163"/>
              <a:gd name="T47" fmla="*/ 2147483647 h 127"/>
              <a:gd name="T48" fmla="*/ 2147483647 w 163"/>
              <a:gd name="T49" fmla="*/ 2147483647 h 127"/>
              <a:gd name="T50" fmla="*/ 2147483647 w 163"/>
              <a:gd name="T51" fmla="*/ 2147483647 h 127"/>
              <a:gd name="T52" fmla="*/ 2147483647 w 163"/>
              <a:gd name="T53" fmla="*/ 2147483647 h 127"/>
              <a:gd name="T54" fmla="*/ 2147483647 w 163"/>
              <a:gd name="T55" fmla="*/ 2147483647 h 127"/>
              <a:gd name="T56" fmla="*/ 2147483647 w 163"/>
              <a:gd name="T57" fmla="*/ 2147483647 h 127"/>
              <a:gd name="T58" fmla="*/ 2147483647 w 163"/>
              <a:gd name="T59" fmla="*/ 2147483647 h 127"/>
              <a:gd name="T60" fmla="*/ 2147483647 w 163"/>
              <a:gd name="T61" fmla="*/ 2147483647 h 127"/>
              <a:gd name="T62" fmla="*/ 2147483647 w 163"/>
              <a:gd name="T63" fmla="*/ 2147483647 h 127"/>
              <a:gd name="T64" fmla="*/ 2147483647 w 163"/>
              <a:gd name="T65" fmla="*/ 2147483647 h 127"/>
              <a:gd name="T66" fmla="*/ 2147483647 w 163"/>
              <a:gd name="T67" fmla="*/ 2147483647 h 127"/>
              <a:gd name="T68" fmla="*/ 2147483647 w 163"/>
              <a:gd name="T69" fmla="*/ 2147483647 h 127"/>
              <a:gd name="T70" fmla="*/ 2147483647 w 163"/>
              <a:gd name="T71" fmla="*/ 2147483647 h 127"/>
              <a:gd name="T72" fmla="*/ 2147483647 w 163"/>
              <a:gd name="T73" fmla="*/ 2147483647 h 127"/>
              <a:gd name="T74" fmla="*/ 2147483647 w 163"/>
              <a:gd name="T75" fmla="*/ 2147483647 h 127"/>
              <a:gd name="T76" fmla="*/ 2147483647 w 163"/>
              <a:gd name="T77" fmla="*/ 2147483647 h 127"/>
              <a:gd name="T78" fmla="*/ 2147483647 w 163"/>
              <a:gd name="T79" fmla="*/ 2147483647 h 127"/>
              <a:gd name="T80" fmla="*/ 2147483647 w 163"/>
              <a:gd name="T81" fmla="*/ 2147483647 h 1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3"/>
              <a:gd name="T124" fmla="*/ 0 h 127"/>
              <a:gd name="T125" fmla="*/ 163 w 163"/>
              <a:gd name="T126" fmla="*/ 127 h 1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3" h="127">
                <a:moveTo>
                  <a:pt x="82" y="127"/>
                </a:moveTo>
                <a:lnTo>
                  <a:pt x="78" y="123"/>
                </a:lnTo>
                <a:lnTo>
                  <a:pt x="76" y="121"/>
                </a:lnTo>
                <a:lnTo>
                  <a:pt x="74" y="113"/>
                </a:lnTo>
                <a:lnTo>
                  <a:pt x="70" y="107"/>
                </a:lnTo>
                <a:lnTo>
                  <a:pt x="69" y="104"/>
                </a:lnTo>
                <a:lnTo>
                  <a:pt x="67" y="102"/>
                </a:lnTo>
                <a:lnTo>
                  <a:pt x="61" y="100"/>
                </a:lnTo>
                <a:lnTo>
                  <a:pt x="57" y="96"/>
                </a:lnTo>
                <a:lnTo>
                  <a:pt x="57" y="86"/>
                </a:lnTo>
                <a:lnTo>
                  <a:pt x="57" y="79"/>
                </a:lnTo>
                <a:lnTo>
                  <a:pt x="51" y="73"/>
                </a:lnTo>
                <a:lnTo>
                  <a:pt x="47" y="67"/>
                </a:lnTo>
                <a:lnTo>
                  <a:pt x="47" y="61"/>
                </a:lnTo>
                <a:lnTo>
                  <a:pt x="46" y="59"/>
                </a:lnTo>
                <a:lnTo>
                  <a:pt x="40" y="57"/>
                </a:lnTo>
                <a:lnTo>
                  <a:pt x="28" y="57"/>
                </a:lnTo>
                <a:lnTo>
                  <a:pt x="28" y="63"/>
                </a:lnTo>
                <a:lnTo>
                  <a:pt x="28" y="67"/>
                </a:lnTo>
                <a:lnTo>
                  <a:pt x="23" y="67"/>
                </a:lnTo>
                <a:lnTo>
                  <a:pt x="19" y="67"/>
                </a:lnTo>
                <a:lnTo>
                  <a:pt x="19" y="61"/>
                </a:lnTo>
                <a:lnTo>
                  <a:pt x="17" y="59"/>
                </a:lnTo>
                <a:lnTo>
                  <a:pt x="9" y="57"/>
                </a:lnTo>
                <a:lnTo>
                  <a:pt x="0" y="57"/>
                </a:lnTo>
                <a:lnTo>
                  <a:pt x="0" y="36"/>
                </a:lnTo>
                <a:lnTo>
                  <a:pt x="0" y="13"/>
                </a:lnTo>
                <a:lnTo>
                  <a:pt x="1" y="11"/>
                </a:lnTo>
                <a:lnTo>
                  <a:pt x="3" y="9"/>
                </a:lnTo>
                <a:lnTo>
                  <a:pt x="11" y="8"/>
                </a:lnTo>
                <a:lnTo>
                  <a:pt x="19" y="6"/>
                </a:lnTo>
                <a:lnTo>
                  <a:pt x="21" y="2"/>
                </a:lnTo>
                <a:lnTo>
                  <a:pt x="23" y="0"/>
                </a:lnTo>
                <a:lnTo>
                  <a:pt x="26" y="2"/>
                </a:lnTo>
                <a:lnTo>
                  <a:pt x="28" y="6"/>
                </a:lnTo>
                <a:lnTo>
                  <a:pt x="40" y="8"/>
                </a:lnTo>
                <a:lnTo>
                  <a:pt x="51" y="9"/>
                </a:lnTo>
                <a:lnTo>
                  <a:pt x="55" y="11"/>
                </a:lnTo>
                <a:lnTo>
                  <a:pt x="57" y="13"/>
                </a:lnTo>
                <a:lnTo>
                  <a:pt x="59" y="17"/>
                </a:lnTo>
                <a:lnTo>
                  <a:pt x="61" y="19"/>
                </a:lnTo>
                <a:lnTo>
                  <a:pt x="65" y="21"/>
                </a:lnTo>
                <a:lnTo>
                  <a:pt x="67" y="25"/>
                </a:lnTo>
                <a:lnTo>
                  <a:pt x="74" y="27"/>
                </a:lnTo>
                <a:lnTo>
                  <a:pt x="82" y="29"/>
                </a:lnTo>
                <a:lnTo>
                  <a:pt x="84" y="31"/>
                </a:lnTo>
                <a:lnTo>
                  <a:pt x="86" y="34"/>
                </a:lnTo>
                <a:lnTo>
                  <a:pt x="94" y="36"/>
                </a:lnTo>
                <a:lnTo>
                  <a:pt x="101" y="38"/>
                </a:lnTo>
                <a:lnTo>
                  <a:pt x="103" y="40"/>
                </a:lnTo>
                <a:lnTo>
                  <a:pt x="105" y="44"/>
                </a:lnTo>
                <a:lnTo>
                  <a:pt x="117" y="46"/>
                </a:lnTo>
                <a:lnTo>
                  <a:pt x="130" y="48"/>
                </a:lnTo>
                <a:lnTo>
                  <a:pt x="132" y="52"/>
                </a:lnTo>
                <a:lnTo>
                  <a:pt x="134" y="54"/>
                </a:lnTo>
                <a:lnTo>
                  <a:pt x="141" y="56"/>
                </a:lnTo>
                <a:lnTo>
                  <a:pt x="149" y="57"/>
                </a:lnTo>
                <a:lnTo>
                  <a:pt x="151" y="59"/>
                </a:lnTo>
                <a:lnTo>
                  <a:pt x="153" y="63"/>
                </a:lnTo>
                <a:lnTo>
                  <a:pt x="155" y="69"/>
                </a:lnTo>
                <a:lnTo>
                  <a:pt x="159" y="79"/>
                </a:lnTo>
                <a:lnTo>
                  <a:pt x="161" y="80"/>
                </a:lnTo>
                <a:lnTo>
                  <a:pt x="163" y="82"/>
                </a:lnTo>
                <a:lnTo>
                  <a:pt x="163" y="102"/>
                </a:lnTo>
                <a:lnTo>
                  <a:pt x="163" y="121"/>
                </a:lnTo>
                <a:lnTo>
                  <a:pt x="161" y="123"/>
                </a:lnTo>
                <a:lnTo>
                  <a:pt x="159" y="127"/>
                </a:lnTo>
                <a:lnTo>
                  <a:pt x="155" y="123"/>
                </a:lnTo>
                <a:lnTo>
                  <a:pt x="153" y="121"/>
                </a:lnTo>
                <a:lnTo>
                  <a:pt x="141" y="119"/>
                </a:lnTo>
                <a:lnTo>
                  <a:pt x="130" y="117"/>
                </a:lnTo>
                <a:lnTo>
                  <a:pt x="126" y="113"/>
                </a:lnTo>
                <a:lnTo>
                  <a:pt x="124" y="111"/>
                </a:lnTo>
                <a:lnTo>
                  <a:pt x="115" y="111"/>
                </a:lnTo>
                <a:lnTo>
                  <a:pt x="105" y="111"/>
                </a:lnTo>
                <a:lnTo>
                  <a:pt x="103" y="113"/>
                </a:lnTo>
                <a:lnTo>
                  <a:pt x="101" y="117"/>
                </a:lnTo>
                <a:lnTo>
                  <a:pt x="97" y="119"/>
                </a:lnTo>
                <a:lnTo>
                  <a:pt x="95" y="121"/>
                </a:lnTo>
                <a:lnTo>
                  <a:pt x="94" y="123"/>
                </a:lnTo>
                <a:lnTo>
                  <a:pt x="92" y="127"/>
                </a:lnTo>
                <a:lnTo>
                  <a:pt x="86" y="127"/>
                </a:lnTo>
                <a:lnTo>
                  <a:pt x="82" y="127"/>
                </a:lnTo>
              </a:path>
            </a:pathLst>
          </a:custGeom>
          <a:solidFill>
            <a:schemeClr val="accent3"/>
          </a:solidFill>
          <a:ln w="12700">
            <a:solidFill>
              <a:schemeClr val="bg1"/>
            </a:solidFill>
            <a:round/>
            <a:headEnd/>
            <a:tailEnd/>
          </a:ln>
        </p:spPr>
        <p:txBody>
          <a:bodyPr/>
          <a:lstStyle/>
          <a:p>
            <a:endParaRPr lang="en-GB"/>
          </a:p>
        </p:txBody>
      </p:sp>
      <p:sp>
        <p:nvSpPr>
          <p:cNvPr id="59" name="Freeform 326"/>
          <p:cNvSpPr>
            <a:spLocks/>
          </p:cNvSpPr>
          <p:nvPr>
            <p:custDataLst>
              <p:tags r:id="rId43"/>
            </p:custDataLst>
          </p:nvPr>
        </p:nvSpPr>
        <p:spPr bwMode="auto">
          <a:xfrm>
            <a:off x="1215739" y="4471342"/>
            <a:ext cx="303785" cy="294030"/>
          </a:xfrm>
          <a:custGeom>
            <a:avLst/>
            <a:gdLst>
              <a:gd name="T0" fmla="*/ 2147483647 w 223"/>
              <a:gd name="T1" fmla="*/ 2147483647 h 223"/>
              <a:gd name="T2" fmla="*/ 2147483647 w 223"/>
              <a:gd name="T3" fmla="*/ 2147483647 h 223"/>
              <a:gd name="T4" fmla="*/ 2147483647 w 223"/>
              <a:gd name="T5" fmla="*/ 2147483647 h 223"/>
              <a:gd name="T6" fmla="*/ 2147483647 w 223"/>
              <a:gd name="T7" fmla="*/ 2147483647 h 223"/>
              <a:gd name="T8" fmla="*/ 2147483647 w 223"/>
              <a:gd name="T9" fmla="*/ 2147483647 h 223"/>
              <a:gd name="T10" fmla="*/ 2147483647 w 223"/>
              <a:gd name="T11" fmla="*/ 2147483647 h 223"/>
              <a:gd name="T12" fmla="*/ 2147483647 w 223"/>
              <a:gd name="T13" fmla="*/ 2147483647 h 223"/>
              <a:gd name="T14" fmla="*/ 2147483647 w 223"/>
              <a:gd name="T15" fmla="*/ 2147483647 h 223"/>
              <a:gd name="T16" fmla="*/ 2147483647 w 223"/>
              <a:gd name="T17" fmla="*/ 2147483647 h 223"/>
              <a:gd name="T18" fmla="*/ 2147483647 w 223"/>
              <a:gd name="T19" fmla="*/ 2147483647 h 223"/>
              <a:gd name="T20" fmla="*/ 2147483647 w 223"/>
              <a:gd name="T21" fmla="*/ 2147483647 h 223"/>
              <a:gd name="T22" fmla="*/ 2147483647 w 223"/>
              <a:gd name="T23" fmla="*/ 2147483647 h 223"/>
              <a:gd name="T24" fmla="*/ 2147483647 w 223"/>
              <a:gd name="T25" fmla="*/ 2147483647 h 223"/>
              <a:gd name="T26" fmla="*/ 2147483647 w 223"/>
              <a:gd name="T27" fmla="*/ 2147483647 h 223"/>
              <a:gd name="T28" fmla="*/ 2147483647 w 223"/>
              <a:gd name="T29" fmla="*/ 2147483647 h 223"/>
              <a:gd name="T30" fmla="*/ 2147483647 w 223"/>
              <a:gd name="T31" fmla="*/ 2147483647 h 223"/>
              <a:gd name="T32" fmla="*/ 2147483647 w 223"/>
              <a:gd name="T33" fmla="*/ 2147483647 h 223"/>
              <a:gd name="T34" fmla="*/ 2147483647 w 223"/>
              <a:gd name="T35" fmla="*/ 2147483647 h 223"/>
              <a:gd name="T36" fmla="*/ 2147483647 w 223"/>
              <a:gd name="T37" fmla="*/ 2147483647 h 223"/>
              <a:gd name="T38" fmla="*/ 2147483647 w 223"/>
              <a:gd name="T39" fmla="*/ 2147483647 h 223"/>
              <a:gd name="T40" fmla="*/ 2147483647 w 223"/>
              <a:gd name="T41" fmla="*/ 2147483647 h 223"/>
              <a:gd name="T42" fmla="*/ 2147483647 w 223"/>
              <a:gd name="T43" fmla="*/ 2147483647 h 223"/>
              <a:gd name="T44" fmla="*/ 2147483647 w 223"/>
              <a:gd name="T45" fmla="*/ 2147483647 h 223"/>
              <a:gd name="T46" fmla="*/ 2147483647 w 223"/>
              <a:gd name="T47" fmla="*/ 2147483647 h 223"/>
              <a:gd name="T48" fmla="*/ 2147483647 w 223"/>
              <a:gd name="T49" fmla="*/ 0 h 223"/>
              <a:gd name="T50" fmla="*/ 2147483647 w 223"/>
              <a:gd name="T51" fmla="*/ 2147483647 h 223"/>
              <a:gd name="T52" fmla="*/ 2147483647 w 223"/>
              <a:gd name="T53" fmla="*/ 2147483647 h 223"/>
              <a:gd name="T54" fmla="*/ 2147483647 w 223"/>
              <a:gd name="T55" fmla="*/ 2147483647 h 223"/>
              <a:gd name="T56" fmla="*/ 2147483647 w 223"/>
              <a:gd name="T57" fmla="*/ 2147483647 h 223"/>
              <a:gd name="T58" fmla="*/ 2147483647 w 223"/>
              <a:gd name="T59" fmla="*/ 2147483647 h 223"/>
              <a:gd name="T60" fmla="*/ 2147483647 w 223"/>
              <a:gd name="T61" fmla="*/ 2147483647 h 223"/>
              <a:gd name="T62" fmla="*/ 2147483647 w 223"/>
              <a:gd name="T63" fmla="*/ 2147483647 h 223"/>
              <a:gd name="T64" fmla="*/ 2147483647 w 223"/>
              <a:gd name="T65" fmla="*/ 2147483647 h 223"/>
              <a:gd name="T66" fmla="*/ 2147483647 w 223"/>
              <a:gd name="T67" fmla="*/ 2147483647 h 223"/>
              <a:gd name="T68" fmla="*/ 2147483647 w 223"/>
              <a:gd name="T69" fmla="*/ 2147483647 h 223"/>
              <a:gd name="T70" fmla="*/ 2147483647 w 223"/>
              <a:gd name="T71" fmla="*/ 2147483647 h 223"/>
              <a:gd name="T72" fmla="*/ 2147483647 w 223"/>
              <a:gd name="T73" fmla="*/ 2147483647 h 223"/>
              <a:gd name="T74" fmla="*/ 2147483647 w 223"/>
              <a:gd name="T75" fmla="*/ 2147483647 h 223"/>
              <a:gd name="T76" fmla="*/ 2147483647 w 223"/>
              <a:gd name="T77" fmla="*/ 2147483647 h 223"/>
              <a:gd name="T78" fmla="*/ 2147483647 w 223"/>
              <a:gd name="T79" fmla="*/ 2147483647 h 223"/>
              <a:gd name="T80" fmla="*/ 2147483647 w 223"/>
              <a:gd name="T81" fmla="*/ 2147483647 h 223"/>
              <a:gd name="T82" fmla="*/ 2147483647 w 223"/>
              <a:gd name="T83" fmla="*/ 2147483647 h 223"/>
              <a:gd name="T84" fmla="*/ 2147483647 w 223"/>
              <a:gd name="T85" fmla="*/ 2147483647 h 223"/>
              <a:gd name="T86" fmla="*/ 2147483647 w 223"/>
              <a:gd name="T87" fmla="*/ 2147483647 h 223"/>
              <a:gd name="T88" fmla="*/ 2147483647 w 223"/>
              <a:gd name="T89" fmla="*/ 2147483647 h 223"/>
              <a:gd name="T90" fmla="*/ 2147483647 w 223"/>
              <a:gd name="T91" fmla="*/ 2147483647 h 223"/>
              <a:gd name="T92" fmla="*/ 2147483647 w 223"/>
              <a:gd name="T93" fmla="*/ 2147483647 h 223"/>
              <a:gd name="T94" fmla="*/ 2147483647 w 223"/>
              <a:gd name="T95" fmla="*/ 2147483647 h 223"/>
              <a:gd name="T96" fmla="*/ 2147483647 w 223"/>
              <a:gd name="T97" fmla="*/ 2147483647 h 223"/>
              <a:gd name="T98" fmla="*/ 2147483647 w 223"/>
              <a:gd name="T99" fmla="*/ 2147483647 h 223"/>
              <a:gd name="T100" fmla="*/ 2147483647 w 223"/>
              <a:gd name="T101" fmla="*/ 2147483647 h 223"/>
              <a:gd name="T102" fmla="*/ 2147483647 w 223"/>
              <a:gd name="T103" fmla="*/ 2147483647 h 223"/>
              <a:gd name="T104" fmla="*/ 2147483647 w 223"/>
              <a:gd name="T105" fmla="*/ 2147483647 h 223"/>
              <a:gd name="T106" fmla="*/ 2147483647 w 223"/>
              <a:gd name="T107" fmla="*/ 2147483647 h 223"/>
              <a:gd name="T108" fmla="*/ 2147483647 w 223"/>
              <a:gd name="T109" fmla="*/ 2147483647 h 223"/>
              <a:gd name="T110" fmla="*/ 2147483647 w 223"/>
              <a:gd name="T111" fmla="*/ 2147483647 h 223"/>
              <a:gd name="T112" fmla="*/ 2147483647 w 223"/>
              <a:gd name="T113" fmla="*/ 2147483647 h 223"/>
              <a:gd name="T114" fmla="*/ 2147483647 w 223"/>
              <a:gd name="T115" fmla="*/ 2147483647 h 223"/>
              <a:gd name="T116" fmla="*/ 2147483647 w 223"/>
              <a:gd name="T117" fmla="*/ 2147483647 h 223"/>
              <a:gd name="T118" fmla="*/ 2147483647 w 223"/>
              <a:gd name="T119" fmla="*/ 2147483647 h 223"/>
              <a:gd name="T120" fmla="*/ 2147483647 w 223"/>
              <a:gd name="T121" fmla="*/ 2147483647 h 22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23"/>
              <a:gd name="T184" fmla="*/ 0 h 223"/>
              <a:gd name="T185" fmla="*/ 223 w 223"/>
              <a:gd name="T186" fmla="*/ 223 h 22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23" h="223">
                <a:moveTo>
                  <a:pt x="54" y="223"/>
                </a:moveTo>
                <a:lnTo>
                  <a:pt x="52" y="221"/>
                </a:lnTo>
                <a:lnTo>
                  <a:pt x="48" y="219"/>
                </a:lnTo>
                <a:lnTo>
                  <a:pt x="40" y="215"/>
                </a:lnTo>
                <a:lnTo>
                  <a:pt x="35" y="213"/>
                </a:lnTo>
                <a:lnTo>
                  <a:pt x="31" y="211"/>
                </a:lnTo>
                <a:lnTo>
                  <a:pt x="29" y="209"/>
                </a:lnTo>
                <a:lnTo>
                  <a:pt x="25" y="206"/>
                </a:lnTo>
                <a:lnTo>
                  <a:pt x="19" y="204"/>
                </a:lnTo>
                <a:lnTo>
                  <a:pt x="10" y="181"/>
                </a:lnTo>
                <a:lnTo>
                  <a:pt x="0" y="156"/>
                </a:lnTo>
                <a:lnTo>
                  <a:pt x="6" y="154"/>
                </a:lnTo>
                <a:lnTo>
                  <a:pt x="10" y="152"/>
                </a:lnTo>
                <a:lnTo>
                  <a:pt x="11" y="148"/>
                </a:lnTo>
                <a:lnTo>
                  <a:pt x="15" y="146"/>
                </a:lnTo>
                <a:lnTo>
                  <a:pt x="17" y="144"/>
                </a:lnTo>
                <a:lnTo>
                  <a:pt x="19" y="142"/>
                </a:lnTo>
                <a:lnTo>
                  <a:pt x="21" y="138"/>
                </a:lnTo>
                <a:lnTo>
                  <a:pt x="25" y="136"/>
                </a:lnTo>
                <a:lnTo>
                  <a:pt x="27" y="135"/>
                </a:lnTo>
                <a:lnTo>
                  <a:pt x="29" y="131"/>
                </a:lnTo>
                <a:lnTo>
                  <a:pt x="31" y="129"/>
                </a:lnTo>
                <a:lnTo>
                  <a:pt x="35" y="127"/>
                </a:lnTo>
                <a:lnTo>
                  <a:pt x="36" y="119"/>
                </a:lnTo>
                <a:lnTo>
                  <a:pt x="38" y="112"/>
                </a:lnTo>
                <a:lnTo>
                  <a:pt x="42" y="110"/>
                </a:lnTo>
                <a:lnTo>
                  <a:pt x="44" y="108"/>
                </a:lnTo>
                <a:lnTo>
                  <a:pt x="44" y="98"/>
                </a:lnTo>
                <a:lnTo>
                  <a:pt x="44" y="89"/>
                </a:lnTo>
                <a:lnTo>
                  <a:pt x="42" y="85"/>
                </a:lnTo>
                <a:lnTo>
                  <a:pt x="38" y="83"/>
                </a:lnTo>
                <a:lnTo>
                  <a:pt x="42" y="81"/>
                </a:lnTo>
                <a:lnTo>
                  <a:pt x="44" y="79"/>
                </a:lnTo>
                <a:lnTo>
                  <a:pt x="44" y="69"/>
                </a:lnTo>
                <a:lnTo>
                  <a:pt x="44" y="60"/>
                </a:lnTo>
                <a:lnTo>
                  <a:pt x="42" y="56"/>
                </a:lnTo>
                <a:lnTo>
                  <a:pt x="38" y="54"/>
                </a:lnTo>
                <a:lnTo>
                  <a:pt x="42" y="52"/>
                </a:lnTo>
                <a:lnTo>
                  <a:pt x="44" y="50"/>
                </a:lnTo>
                <a:lnTo>
                  <a:pt x="46" y="37"/>
                </a:lnTo>
                <a:lnTo>
                  <a:pt x="48" y="25"/>
                </a:lnTo>
                <a:lnTo>
                  <a:pt x="52" y="23"/>
                </a:lnTo>
                <a:lnTo>
                  <a:pt x="54" y="21"/>
                </a:lnTo>
                <a:lnTo>
                  <a:pt x="61" y="21"/>
                </a:lnTo>
                <a:lnTo>
                  <a:pt x="67" y="21"/>
                </a:lnTo>
                <a:lnTo>
                  <a:pt x="67" y="14"/>
                </a:lnTo>
                <a:lnTo>
                  <a:pt x="67" y="6"/>
                </a:lnTo>
                <a:lnTo>
                  <a:pt x="71" y="4"/>
                </a:lnTo>
                <a:lnTo>
                  <a:pt x="73" y="0"/>
                </a:lnTo>
                <a:lnTo>
                  <a:pt x="82" y="0"/>
                </a:lnTo>
                <a:lnTo>
                  <a:pt x="92" y="0"/>
                </a:lnTo>
                <a:lnTo>
                  <a:pt x="94" y="4"/>
                </a:lnTo>
                <a:lnTo>
                  <a:pt x="98" y="6"/>
                </a:lnTo>
                <a:lnTo>
                  <a:pt x="104" y="8"/>
                </a:lnTo>
                <a:lnTo>
                  <a:pt x="111" y="10"/>
                </a:lnTo>
                <a:lnTo>
                  <a:pt x="113" y="14"/>
                </a:lnTo>
                <a:lnTo>
                  <a:pt x="117" y="16"/>
                </a:lnTo>
                <a:lnTo>
                  <a:pt x="119" y="18"/>
                </a:lnTo>
                <a:lnTo>
                  <a:pt x="121" y="21"/>
                </a:lnTo>
                <a:lnTo>
                  <a:pt x="123" y="23"/>
                </a:lnTo>
                <a:lnTo>
                  <a:pt x="127" y="25"/>
                </a:lnTo>
                <a:lnTo>
                  <a:pt x="129" y="33"/>
                </a:lnTo>
                <a:lnTo>
                  <a:pt x="130" y="41"/>
                </a:lnTo>
                <a:lnTo>
                  <a:pt x="132" y="42"/>
                </a:lnTo>
                <a:lnTo>
                  <a:pt x="136" y="44"/>
                </a:lnTo>
                <a:lnTo>
                  <a:pt x="136" y="52"/>
                </a:lnTo>
                <a:lnTo>
                  <a:pt x="136" y="60"/>
                </a:lnTo>
                <a:lnTo>
                  <a:pt x="142" y="60"/>
                </a:lnTo>
                <a:lnTo>
                  <a:pt x="150" y="60"/>
                </a:lnTo>
                <a:lnTo>
                  <a:pt x="153" y="62"/>
                </a:lnTo>
                <a:lnTo>
                  <a:pt x="155" y="64"/>
                </a:lnTo>
                <a:lnTo>
                  <a:pt x="161" y="65"/>
                </a:lnTo>
                <a:lnTo>
                  <a:pt x="169" y="69"/>
                </a:lnTo>
                <a:lnTo>
                  <a:pt x="173" y="71"/>
                </a:lnTo>
                <a:lnTo>
                  <a:pt x="175" y="73"/>
                </a:lnTo>
                <a:lnTo>
                  <a:pt x="176" y="81"/>
                </a:lnTo>
                <a:lnTo>
                  <a:pt x="178" y="89"/>
                </a:lnTo>
                <a:lnTo>
                  <a:pt x="182" y="90"/>
                </a:lnTo>
                <a:lnTo>
                  <a:pt x="184" y="92"/>
                </a:lnTo>
                <a:lnTo>
                  <a:pt x="186" y="100"/>
                </a:lnTo>
                <a:lnTo>
                  <a:pt x="190" y="108"/>
                </a:lnTo>
                <a:lnTo>
                  <a:pt x="192" y="110"/>
                </a:lnTo>
                <a:lnTo>
                  <a:pt x="194" y="112"/>
                </a:lnTo>
                <a:lnTo>
                  <a:pt x="196" y="119"/>
                </a:lnTo>
                <a:lnTo>
                  <a:pt x="198" y="127"/>
                </a:lnTo>
                <a:lnTo>
                  <a:pt x="201" y="129"/>
                </a:lnTo>
                <a:lnTo>
                  <a:pt x="203" y="131"/>
                </a:lnTo>
                <a:lnTo>
                  <a:pt x="203" y="138"/>
                </a:lnTo>
                <a:lnTo>
                  <a:pt x="203" y="146"/>
                </a:lnTo>
                <a:lnTo>
                  <a:pt x="211" y="146"/>
                </a:lnTo>
                <a:lnTo>
                  <a:pt x="219" y="146"/>
                </a:lnTo>
                <a:lnTo>
                  <a:pt x="221" y="148"/>
                </a:lnTo>
                <a:lnTo>
                  <a:pt x="223" y="152"/>
                </a:lnTo>
                <a:lnTo>
                  <a:pt x="223" y="165"/>
                </a:lnTo>
                <a:lnTo>
                  <a:pt x="223" y="181"/>
                </a:lnTo>
                <a:lnTo>
                  <a:pt x="221" y="183"/>
                </a:lnTo>
                <a:lnTo>
                  <a:pt x="219" y="184"/>
                </a:lnTo>
                <a:lnTo>
                  <a:pt x="207" y="184"/>
                </a:lnTo>
                <a:lnTo>
                  <a:pt x="198" y="184"/>
                </a:lnTo>
                <a:lnTo>
                  <a:pt x="196" y="183"/>
                </a:lnTo>
                <a:lnTo>
                  <a:pt x="194" y="181"/>
                </a:lnTo>
                <a:lnTo>
                  <a:pt x="192" y="177"/>
                </a:lnTo>
                <a:lnTo>
                  <a:pt x="190" y="175"/>
                </a:lnTo>
                <a:lnTo>
                  <a:pt x="186" y="173"/>
                </a:lnTo>
                <a:lnTo>
                  <a:pt x="184" y="171"/>
                </a:lnTo>
                <a:lnTo>
                  <a:pt x="159" y="171"/>
                </a:lnTo>
                <a:lnTo>
                  <a:pt x="136" y="171"/>
                </a:lnTo>
                <a:lnTo>
                  <a:pt x="132" y="173"/>
                </a:lnTo>
                <a:lnTo>
                  <a:pt x="130" y="175"/>
                </a:lnTo>
                <a:lnTo>
                  <a:pt x="129" y="177"/>
                </a:lnTo>
                <a:lnTo>
                  <a:pt x="127" y="181"/>
                </a:lnTo>
                <a:lnTo>
                  <a:pt x="123" y="183"/>
                </a:lnTo>
                <a:lnTo>
                  <a:pt x="121" y="184"/>
                </a:lnTo>
                <a:lnTo>
                  <a:pt x="119" y="192"/>
                </a:lnTo>
                <a:lnTo>
                  <a:pt x="117" y="200"/>
                </a:lnTo>
                <a:lnTo>
                  <a:pt x="113" y="202"/>
                </a:lnTo>
                <a:lnTo>
                  <a:pt x="111" y="204"/>
                </a:lnTo>
                <a:lnTo>
                  <a:pt x="109" y="211"/>
                </a:lnTo>
                <a:lnTo>
                  <a:pt x="107" y="219"/>
                </a:lnTo>
                <a:lnTo>
                  <a:pt x="104" y="221"/>
                </a:lnTo>
                <a:lnTo>
                  <a:pt x="102" y="223"/>
                </a:lnTo>
                <a:lnTo>
                  <a:pt x="79" y="223"/>
                </a:lnTo>
                <a:lnTo>
                  <a:pt x="54" y="223"/>
                </a:lnTo>
              </a:path>
            </a:pathLst>
          </a:custGeom>
          <a:solidFill>
            <a:schemeClr val="accent3"/>
          </a:solidFill>
          <a:ln w="12700">
            <a:solidFill>
              <a:schemeClr val="bg1"/>
            </a:solidFill>
            <a:round/>
            <a:headEnd/>
            <a:tailEnd/>
          </a:ln>
        </p:spPr>
        <p:txBody>
          <a:bodyPr/>
          <a:lstStyle/>
          <a:p>
            <a:endParaRPr lang="en-GB"/>
          </a:p>
        </p:txBody>
      </p:sp>
      <p:sp>
        <p:nvSpPr>
          <p:cNvPr id="60" name="Freeform 327"/>
          <p:cNvSpPr>
            <a:spLocks/>
          </p:cNvSpPr>
          <p:nvPr>
            <p:custDataLst>
              <p:tags r:id="rId44"/>
            </p:custDataLst>
          </p:nvPr>
        </p:nvSpPr>
        <p:spPr bwMode="auto">
          <a:xfrm>
            <a:off x="1086142" y="4408634"/>
            <a:ext cx="179763" cy="267553"/>
          </a:xfrm>
          <a:custGeom>
            <a:avLst/>
            <a:gdLst>
              <a:gd name="T0" fmla="*/ 2147483647 w 134"/>
              <a:gd name="T1" fmla="*/ 2147483647 h 204"/>
              <a:gd name="T2" fmla="*/ 2147483647 w 134"/>
              <a:gd name="T3" fmla="*/ 2147483647 h 204"/>
              <a:gd name="T4" fmla="*/ 2147483647 w 134"/>
              <a:gd name="T5" fmla="*/ 2147483647 h 204"/>
              <a:gd name="T6" fmla="*/ 2147483647 w 134"/>
              <a:gd name="T7" fmla="*/ 2147483647 h 204"/>
              <a:gd name="T8" fmla="*/ 2147483647 w 134"/>
              <a:gd name="T9" fmla="*/ 2147483647 h 204"/>
              <a:gd name="T10" fmla="*/ 2147483647 w 134"/>
              <a:gd name="T11" fmla="*/ 2147483647 h 204"/>
              <a:gd name="T12" fmla="*/ 2147483647 w 134"/>
              <a:gd name="T13" fmla="*/ 2147483647 h 204"/>
              <a:gd name="T14" fmla="*/ 2147483647 w 134"/>
              <a:gd name="T15" fmla="*/ 2147483647 h 204"/>
              <a:gd name="T16" fmla="*/ 2147483647 w 134"/>
              <a:gd name="T17" fmla="*/ 2147483647 h 204"/>
              <a:gd name="T18" fmla="*/ 2147483647 w 134"/>
              <a:gd name="T19" fmla="*/ 2147483647 h 204"/>
              <a:gd name="T20" fmla="*/ 2147483647 w 134"/>
              <a:gd name="T21" fmla="*/ 2147483647 h 204"/>
              <a:gd name="T22" fmla="*/ 0 w 134"/>
              <a:gd name="T23" fmla="*/ 2147483647 h 204"/>
              <a:gd name="T24" fmla="*/ 0 w 134"/>
              <a:gd name="T25" fmla="*/ 2147483647 h 204"/>
              <a:gd name="T26" fmla="*/ 2147483647 w 134"/>
              <a:gd name="T27" fmla="*/ 2147483647 h 204"/>
              <a:gd name="T28" fmla="*/ 2147483647 w 134"/>
              <a:gd name="T29" fmla="*/ 0 h 204"/>
              <a:gd name="T30" fmla="*/ 2147483647 w 134"/>
              <a:gd name="T31" fmla="*/ 2147483647 h 204"/>
              <a:gd name="T32" fmla="*/ 2147483647 w 134"/>
              <a:gd name="T33" fmla="*/ 2147483647 h 204"/>
              <a:gd name="T34" fmla="*/ 2147483647 w 134"/>
              <a:gd name="T35" fmla="*/ 2147483647 h 204"/>
              <a:gd name="T36" fmla="*/ 2147483647 w 134"/>
              <a:gd name="T37" fmla="*/ 2147483647 h 204"/>
              <a:gd name="T38" fmla="*/ 2147483647 w 134"/>
              <a:gd name="T39" fmla="*/ 2147483647 h 204"/>
              <a:gd name="T40" fmla="*/ 2147483647 w 134"/>
              <a:gd name="T41" fmla="*/ 2147483647 h 204"/>
              <a:gd name="T42" fmla="*/ 2147483647 w 134"/>
              <a:gd name="T43" fmla="*/ 2147483647 h 204"/>
              <a:gd name="T44" fmla="*/ 2147483647 w 134"/>
              <a:gd name="T45" fmla="*/ 2147483647 h 204"/>
              <a:gd name="T46" fmla="*/ 2147483647 w 134"/>
              <a:gd name="T47" fmla="*/ 2147483647 h 204"/>
              <a:gd name="T48" fmla="*/ 2147483647 w 134"/>
              <a:gd name="T49" fmla="*/ 2147483647 h 204"/>
              <a:gd name="T50" fmla="*/ 2147483647 w 134"/>
              <a:gd name="T51" fmla="*/ 2147483647 h 204"/>
              <a:gd name="T52" fmla="*/ 2147483647 w 134"/>
              <a:gd name="T53" fmla="*/ 2147483647 h 204"/>
              <a:gd name="T54" fmla="*/ 2147483647 w 134"/>
              <a:gd name="T55" fmla="*/ 2147483647 h 204"/>
              <a:gd name="T56" fmla="*/ 2147483647 w 134"/>
              <a:gd name="T57" fmla="*/ 2147483647 h 204"/>
              <a:gd name="T58" fmla="*/ 2147483647 w 134"/>
              <a:gd name="T59" fmla="*/ 2147483647 h 204"/>
              <a:gd name="T60" fmla="*/ 2147483647 w 134"/>
              <a:gd name="T61" fmla="*/ 2147483647 h 204"/>
              <a:gd name="T62" fmla="*/ 2147483647 w 134"/>
              <a:gd name="T63" fmla="*/ 2147483647 h 204"/>
              <a:gd name="T64" fmla="*/ 2147483647 w 134"/>
              <a:gd name="T65" fmla="*/ 2147483647 h 204"/>
              <a:gd name="T66" fmla="*/ 2147483647 w 134"/>
              <a:gd name="T67" fmla="*/ 2147483647 h 204"/>
              <a:gd name="T68" fmla="*/ 2147483647 w 134"/>
              <a:gd name="T69" fmla="*/ 2147483647 h 204"/>
              <a:gd name="T70" fmla="*/ 2147483647 w 134"/>
              <a:gd name="T71" fmla="*/ 2147483647 h 204"/>
              <a:gd name="T72" fmla="*/ 2147483647 w 134"/>
              <a:gd name="T73" fmla="*/ 2147483647 h 204"/>
              <a:gd name="T74" fmla="*/ 2147483647 w 134"/>
              <a:gd name="T75" fmla="*/ 2147483647 h 204"/>
              <a:gd name="T76" fmla="*/ 2147483647 w 134"/>
              <a:gd name="T77" fmla="*/ 2147483647 h 204"/>
              <a:gd name="T78" fmla="*/ 2147483647 w 134"/>
              <a:gd name="T79" fmla="*/ 2147483647 h 204"/>
              <a:gd name="T80" fmla="*/ 2147483647 w 134"/>
              <a:gd name="T81" fmla="*/ 2147483647 h 204"/>
              <a:gd name="T82" fmla="*/ 2147483647 w 134"/>
              <a:gd name="T83" fmla="*/ 2147483647 h 204"/>
              <a:gd name="T84" fmla="*/ 2147483647 w 134"/>
              <a:gd name="T85" fmla="*/ 2147483647 h 204"/>
              <a:gd name="T86" fmla="*/ 2147483647 w 134"/>
              <a:gd name="T87" fmla="*/ 2147483647 h 204"/>
              <a:gd name="T88" fmla="*/ 2147483647 w 134"/>
              <a:gd name="T89" fmla="*/ 2147483647 h 204"/>
              <a:gd name="T90" fmla="*/ 2147483647 w 134"/>
              <a:gd name="T91" fmla="*/ 2147483647 h 204"/>
              <a:gd name="T92" fmla="*/ 2147483647 w 134"/>
              <a:gd name="T93" fmla="*/ 2147483647 h 2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4"/>
              <a:gd name="T142" fmla="*/ 0 h 204"/>
              <a:gd name="T143" fmla="*/ 134 w 134"/>
              <a:gd name="T144" fmla="*/ 204 h 2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4" h="204">
                <a:moveTo>
                  <a:pt x="86" y="204"/>
                </a:moveTo>
                <a:lnTo>
                  <a:pt x="86" y="194"/>
                </a:lnTo>
                <a:lnTo>
                  <a:pt x="86" y="184"/>
                </a:lnTo>
                <a:lnTo>
                  <a:pt x="86" y="179"/>
                </a:lnTo>
                <a:lnTo>
                  <a:pt x="86" y="175"/>
                </a:lnTo>
                <a:lnTo>
                  <a:pt x="86" y="165"/>
                </a:lnTo>
                <a:lnTo>
                  <a:pt x="86" y="156"/>
                </a:lnTo>
                <a:lnTo>
                  <a:pt x="77" y="156"/>
                </a:lnTo>
                <a:lnTo>
                  <a:pt x="67" y="156"/>
                </a:lnTo>
                <a:lnTo>
                  <a:pt x="58" y="156"/>
                </a:lnTo>
                <a:lnTo>
                  <a:pt x="48" y="156"/>
                </a:lnTo>
                <a:lnTo>
                  <a:pt x="48" y="140"/>
                </a:lnTo>
                <a:lnTo>
                  <a:pt x="48" y="127"/>
                </a:lnTo>
                <a:lnTo>
                  <a:pt x="48" y="112"/>
                </a:lnTo>
                <a:lnTo>
                  <a:pt x="48" y="98"/>
                </a:lnTo>
                <a:lnTo>
                  <a:pt x="48" y="87"/>
                </a:lnTo>
                <a:lnTo>
                  <a:pt x="50" y="75"/>
                </a:lnTo>
                <a:lnTo>
                  <a:pt x="35" y="67"/>
                </a:lnTo>
                <a:lnTo>
                  <a:pt x="19" y="58"/>
                </a:lnTo>
                <a:lnTo>
                  <a:pt x="13" y="54"/>
                </a:lnTo>
                <a:lnTo>
                  <a:pt x="10" y="48"/>
                </a:lnTo>
                <a:lnTo>
                  <a:pt x="4" y="44"/>
                </a:lnTo>
                <a:lnTo>
                  <a:pt x="0" y="41"/>
                </a:lnTo>
                <a:lnTo>
                  <a:pt x="0" y="29"/>
                </a:lnTo>
                <a:lnTo>
                  <a:pt x="0" y="19"/>
                </a:lnTo>
                <a:lnTo>
                  <a:pt x="0" y="16"/>
                </a:lnTo>
                <a:lnTo>
                  <a:pt x="0" y="10"/>
                </a:lnTo>
                <a:lnTo>
                  <a:pt x="4" y="6"/>
                </a:lnTo>
                <a:lnTo>
                  <a:pt x="10" y="0"/>
                </a:lnTo>
                <a:lnTo>
                  <a:pt x="13" y="0"/>
                </a:lnTo>
                <a:lnTo>
                  <a:pt x="19" y="0"/>
                </a:lnTo>
                <a:lnTo>
                  <a:pt x="25" y="6"/>
                </a:lnTo>
                <a:lnTo>
                  <a:pt x="33" y="10"/>
                </a:lnTo>
                <a:lnTo>
                  <a:pt x="36" y="14"/>
                </a:lnTo>
                <a:lnTo>
                  <a:pt x="38" y="16"/>
                </a:lnTo>
                <a:lnTo>
                  <a:pt x="40" y="18"/>
                </a:lnTo>
                <a:lnTo>
                  <a:pt x="42" y="19"/>
                </a:lnTo>
                <a:lnTo>
                  <a:pt x="46" y="21"/>
                </a:lnTo>
                <a:lnTo>
                  <a:pt x="48" y="25"/>
                </a:lnTo>
                <a:lnTo>
                  <a:pt x="56" y="27"/>
                </a:lnTo>
                <a:lnTo>
                  <a:pt x="63" y="29"/>
                </a:lnTo>
                <a:lnTo>
                  <a:pt x="65" y="31"/>
                </a:lnTo>
                <a:lnTo>
                  <a:pt x="67" y="35"/>
                </a:lnTo>
                <a:lnTo>
                  <a:pt x="69" y="37"/>
                </a:lnTo>
                <a:lnTo>
                  <a:pt x="71" y="41"/>
                </a:lnTo>
                <a:lnTo>
                  <a:pt x="75" y="42"/>
                </a:lnTo>
                <a:lnTo>
                  <a:pt x="77" y="44"/>
                </a:lnTo>
                <a:lnTo>
                  <a:pt x="88" y="46"/>
                </a:lnTo>
                <a:lnTo>
                  <a:pt x="102" y="48"/>
                </a:lnTo>
                <a:lnTo>
                  <a:pt x="104" y="52"/>
                </a:lnTo>
                <a:lnTo>
                  <a:pt x="106" y="54"/>
                </a:lnTo>
                <a:lnTo>
                  <a:pt x="113" y="56"/>
                </a:lnTo>
                <a:lnTo>
                  <a:pt x="121" y="58"/>
                </a:lnTo>
                <a:lnTo>
                  <a:pt x="123" y="62"/>
                </a:lnTo>
                <a:lnTo>
                  <a:pt x="125" y="64"/>
                </a:lnTo>
                <a:lnTo>
                  <a:pt x="127" y="66"/>
                </a:lnTo>
                <a:lnTo>
                  <a:pt x="131" y="69"/>
                </a:lnTo>
                <a:lnTo>
                  <a:pt x="132" y="71"/>
                </a:lnTo>
                <a:lnTo>
                  <a:pt x="134" y="73"/>
                </a:lnTo>
                <a:lnTo>
                  <a:pt x="134" y="83"/>
                </a:lnTo>
                <a:lnTo>
                  <a:pt x="134" y="92"/>
                </a:lnTo>
                <a:lnTo>
                  <a:pt x="132" y="94"/>
                </a:lnTo>
                <a:lnTo>
                  <a:pt x="131" y="98"/>
                </a:lnTo>
                <a:lnTo>
                  <a:pt x="131" y="102"/>
                </a:lnTo>
                <a:lnTo>
                  <a:pt x="131" y="108"/>
                </a:lnTo>
                <a:lnTo>
                  <a:pt x="132" y="110"/>
                </a:lnTo>
                <a:lnTo>
                  <a:pt x="134" y="112"/>
                </a:lnTo>
                <a:lnTo>
                  <a:pt x="134" y="117"/>
                </a:lnTo>
                <a:lnTo>
                  <a:pt x="134" y="121"/>
                </a:lnTo>
                <a:lnTo>
                  <a:pt x="132" y="123"/>
                </a:lnTo>
                <a:lnTo>
                  <a:pt x="131" y="127"/>
                </a:lnTo>
                <a:lnTo>
                  <a:pt x="131" y="131"/>
                </a:lnTo>
                <a:lnTo>
                  <a:pt x="131" y="137"/>
                </a:lnTo>
                <a:lnTo>
                  <a:pt x="132" y="138"/>
                </a:lnTo>
                <a:lnTo>
                  <a:pt x="134" y="140"/>
                </a:lnTo>
                <a:lnTo>
                  <a:pt x="134" y="146"/>
                </a:lnTo>
                <a:lnTo>
                  <a:pt x="134" y="150"/>
                </a:lnTo>
                <a:lnTo>
                  <a:pt x="132" y="154"/>
                </a:lnTo>
                <a:lnTo>
                  <a:pt x="131" y="156"/>
                </a:lnTo>
                <a:lnTo>
                  <a:pt x="127" y="161"/>
                </a:lnTo>
                <a:lnTo>
                  <a:pt x="125" y="169"/>
                </a:lnTo>
                <a:lnTo>
                  <a:pt x="123" y="173"/>
                </a:lnTo>
                <a:lnTo>
                  <a:pt x="121" y="175"/>
                </a:lnTo>
                <a:lnTo>
                  <a:pt x="117" y="177"/>
                </a:lnTo>
                <a:lnTo>
                  <a:pt x="115" y="179"/>
                </a:lnTo>
                <a:lnTo>
                  <a:pt x="113" y="183"/>
                </a:lnTo>
                <a:lnTo>
                  <a:pt x="111" y="184"/>
                </a:lnTo>
                <a:lnTo>
                  <a:pt x="107" y="186"/>
                </a:lnTo>
                <a:lnTo>
                  <a:pt x="106" y="190"/>
                </a:lnTo>
                <a:lnTo>
                  <a:pt x="104" y="192"/>
                </a:lnTo>
                <a:lnTo>
                  <a:pt x="102" y="194"/>
                </a:lnTo>
                <a:lnTo>
                  <a:pt x="98" y="198"/>
                </a:lnTo>
                <a:lnTo>
                  <a:pt x="96" y="204"/>
                </a:lnTo>
                <a:lnTo>
                  <a:pt x="90" y="204"/>
                </a:lnTo>
                <a:lnTo>
                  <a:pt x="86" y="204"/>
                </a:lnTo>
              </a:path>
            </a:pathLst>
          </a:custGeom>
          <a:solidFill>
            <a:schemeClr val="accent3"/>
          </a:solidFill>
          <a:ln w="12700">
            <a:solidFill>
              <a:schemeClr val="bg1"/>
            </a:solidFill>
            <a:round/>
            <a:headEnd/>
            <a:tailEnd/>
          </a:ln>
        </p:spPr>
        <p:txBody>
          <a:bodyPr/>
          <a:lstStyle/>
          <a:p>
            <a:endParaRPr lang="en-GB"/>
          </a:p>
        </p:txBody>
      </p:sp>
      <p:sp>
        <p:nvSpPr>
          <p:cNvPr id="61" name="Freeform 328"/>
          <p:cNvSpPr>
            <a:spLocks/>
          </p:cNvSpPr>
          <p:nvPr>
            <p:custDataLst>
              <p:tags r:id="rId45"/>
            </p:custDataLst>
          </p:nvPr>
        </p:nvSpPr>
        <p:spPr bwMode="auto">
          <a:xfrm>
            <a:off x="1454028" y="4432324"/>
            <a:ext cx="196485" cy="231322"/>
          </a:xfrm>
          <a:custGeom>
            <a:avLst/>
            <a:gdLst>
              <a:gd name="T0" fmla="*/ 2147483647 w 143"/>
              <a:gd name="T1" fmla="*/ 2147483647 h 175"/>
              <a:gd name="T2" fmla="*/ 2147483647 w 143"/>
              <a:gd name="T3" fmla="*/ 2147483647 h 175"/>
              <a:gd name="T4" fmla="*/ 2147483647 w 143"/>
              <a:gd name="T5" fmla="*/ 2147483647 h 175"/>
              <a:gd name="T6" fmla="*/ 2147483647 w 143"/>
              <a:gd name="T7" fmla="*/ 2147483647 h 175"/>
              <a:gd name="T8" fmla="*/ 2147483647 w 143"/>
              <a:gd name="T9" fmla="*/ 2147483647 h 175"/>
              <a:gd name="T10" fmla="*/ 2147483647 w 143"/>
              <a:gd name="T11" fmla="*/ 2147483647 h 175"/>
              <a:gd name="T12" fmla="*/ 2147483647 w 143"/>
              <a:gd name="T13" fmla="*/ 2147483647 h 175"/>
              <a:gd name="T14" fmla="*/ 2147483647 w 143"/>
              <a:gd name="T15" fmla="*/ 2147483647 h 175"/>
              <a:gd name="T16" fmla="*/ 2147483647 w 143"/>
              <a:gd name="T17" fmla="*/ 2147483647 h 175"/>
              <a:gd name="T18" fmla="*/ 2147483647 w 143"/>
              <a:gd name="T19" fmla="*/ 2147483647 h 175"/>
              <a:gd name="T20" fmla="*/ 2147483647 w 143"/>
              <a:gd name="T21" fmla="*/ 2147483647 h 175"/>
              <a:gd name="T22" fmla="*/ 2147483647 w 143"/>
              <a:gd name="T23" fmla="*/ 2147483647 h 175"/>
              <a:gd name="T24" fmla="*/ 2147483647 w 143"/>
              <a:gd name="T25" fmla="*/ 2147483647 h 175"/>
              <a:gd name="T26" fmla="*/ 2147483647 w 143"/>
              <a:gd name="T27" fmla="*/ 2147483647 h 175"/>
              <a:gd name="T28" fmla="*/ 2147483647 w 143"/>
              <a:gd name="T29" fmla="*/ 2147483647 h 175"/>
              <a:gd name="T30" fmla="*/ 2147483647 w 143"/>
              <a:gd name="T31" fmla="*/ 2147483647 h 175"/>
              <a:gd name="T32" fmla="*/ 2147483647 w 143"/>
              <a:gd name="T33" fmla="*/ 2147483647 h 175"/>
              <a:gd name="T34" fmla="*/ 2147483647 w 143"/>
              <a:gd name="T35" fmla="*/ 2147483647 h 175"/>
              <a:gd name="T36" fmla="*/ 2147483647 w 143"/>
              <a:gd name="T37" fmla="*/ 2147483647 h 175"/>
              <a:gd name="T38" fmla="*/ 2147483647 w 143"/>
              <a:gd name="T39" fmla="*/ 2147483647 h 175"/>
              <a:gd name="T40" fmla="*/ 2147483647 w 143"/>
              <a:gd name="T41" fmla="*/ 2147483647 h 175"/>
              <a:gd name="T42" fmla="*/ 2147483647 w 143"/>
              <a:gd name="T43" fmla="*/ 2147483647 h 175"/>
              <a:gd name="T44" fmla="*/ 2147483647 w 143"/>
              <a:gd name="T45" fmla="*/ 2147483647 h 175"/>
              <a:gd name="T46" fmla="*/ 2147483647 w 143"/>
              <a:gd name="T47" fmla="*/ 2147483647 h 175"/>
              <a:gd name="T48" fmla="*/ 2147483647 w 143"/>
              <a:gd name="T49" fmla="*/ 2147483647 h 175"/>
              <a:gd name="T50" fmla="*/ 2147483647 w 143"/>
              <a:gd name="T51" fmla="*/ 2147483647 h 175"/>
              <a:gd name="T52" fmla="*/ 2147483647 w 143"/>
              <a:gd name="T53" fmla="*/ 2147483647 h 175"/>
              <a:gd name="T54" fmla="*/ 2147483647 w 143"/>
              <a:gd name="T55" fmla="*/ 2147483647 h 175"/>
              <a:gd name="T56" fmla="*/ 2147483647 w 143"/>
              <a:gd name="T57" fmla="*/ 2147483647 h 175"/>
              <a:gd name="T58" fmla="*/ 2147483647 w 143"/>
              <a:gd name="T59" fmla="*/ 2147483647 h 175"/>
              <a:gd name="T60" fmla="*/ 2147483647 w 143"/>
              <a:gd name="T61" fmla="*/ 2147483647 h 175"/>
              <a:gd name="T62" fmla="*/ 2147483647 w 143"/>
              <a:gd name="T63" fmla="*/ 2147483647 h 175"/>
              <a:gd name="T64" fmla="*/ 2147483647 w 143"/>
              <a:gd name="T65" fmla="*/ 2147483647 h 175"/>
              <a:gd name="T66" fmla="*/ 2147483647 w 143"/>
              <a:gd name="T67" fmla="*/ 2147483647 h 175"/>
              <a:gd name="T68" fmla="*/ 2147483647 w 143"/>
              <a:gd name="T69" fmla="*/ 2147483647 h 175"/>
              <a:gd name="T70" fmla="*/ 2147483647 w 143"/>
              <a:gd name="T71" fmla="*/ 2147483647 h 175"/>
              <a:gd name="T72" fmla="*/ 2147483647 w 143"/>
              <a:gd name="T73" fmla="*/ 2147483647 h 175"/>
              <a:gd name="T74" fmla="*/ 2147483647 w 143"/>
              <a:gd name="T75" fmla="*/ 2147483647 h 17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3"/>
              <a:gd name="T115" fmla="*/ 0 h 175"/>
              <a:gd name="T116" fmla="*/ 143 w 143"/>
              <a:gd name="T117" fmla="*/ 175 h 17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3" h="175">
                <a:moveTo>
                  <a:pt x="53" y="175"/>
                </a:moveTo>
                <a:lnTo>
                  <a:pt x="49" y="173"/>
                </a:lnTo>
                <a:lnTo>
                  <a:pt x="48" y="171"/>
                </a:lnTo>
                <a:lnTo>
                  <a:pt x="40" y="164"/>
                </a:lnTo>
                <a:lnTo>
                  <a:pt x="32" y="156"/>
                </a:lnTo>
                <a:lnTo>
                  <a:pt x="30" y="154"/>
                </a:lnTo>
                <a:lnTo>
                  <a:pt x="28" y="150"/>
                </a:lnTo>
                <a:lnTo>
                  <a:pt x="26" y="142"/>
                </a:lnTo>
                <a:lnTo>
                  <a:pt x="23" y="137"/>
                </a:lnTo>
                <a:lnTo>
                  <a:pt x="21" y="135"/>
                </a:lnTo>
                <a:lnTo>
                  <a:pt x="19" y="131"/>
                </a:lnTo>
                <a:lnTo>
                  <a:pt x="17" y="123"/>
                </a:lnTo>
                <a:lnTo>
                  <a:pt x="15" y="118"/>
                </a:lnTo>
                <a:lnTo>
                  <a:pt x="11" y="114"/>
                </a:lnTo>
                <a:lnTo>
                  <a:pt x="9" y="112"/>
                </a:lnTo>
                <a:lnTo>
                  <a:pt x="7" y="104"/>
                </a:lnTo>
                <a:lnTo>
                  <a:pt x="3" y="98"/>
                </a:lnTo>
                <a:lnTo>
                  <a:pt x="1" y="94"/>
                </a:lnTo>
                <a:lnTo>
                  <a:pt x="0" y="93"/>
                </a:lnTo>
                <a:lnTo>
                  <a:pt x="1" y="91"/>
                </a:lnTo>
                <a:lnTo>
                  <a:pt x="3" y="89"/>
                </a:lnTo>
                <a:lnTo>
                  <a:pt x="7" y="85"/>
                </a:lnTo>
                <a:lnTo>
                  <a:pt x="9" y="83"/>
                </a:lnTo>
                <a:lnTo>
                  <a:pt x="11" y="81"/>
                </a:lnTo>
                <a:lnTo>
                  <a:pt x="15" y="79"/>
                </a:lnTo>
                <a:lnTo>
                  <a:pt x="17" y="52"/>
                </a:lnTo>
                <a:lnTo>
                  <a:pt x="19" y="25"/>
                </a:lnTo>
                <a:lnTo>
                  <a:pt x="21" y="23"/>
                </a:lnTo>
                <a:lnTo>
                  <a:pt x="23" y="22"/>
                </a:lnTo>
                <a:lnTo>
                  <a:pt x="30" y="18"/>
                </a:lnTo>
                <a:lnTo>
                  <a:pt x="38" y="16"/>
                </a:lnTo>
                <a:lnTo>
                  <a:pt x="40" y="12"/>
                </a:lnTo>
                <a:lnTo>
                  <a:pt x="44" y="10"/>
                </a:lnTo>
                <a:lnTo>
                  <a:pt x="46" y="8"/>
                </a:lnTo>
                <a:lnTo>
                  <a:pt x="48" y="6"/>
                </a:lnTo>
                <a:lnTo>
                  <a:pt x="49" y="2"/>
                </a:lnTo>
                <a:lnTo>
                  <a:pt x="53" y="0"/>
                </a:lnTo>
                <a:lnTo>
                  <a:pt x="55" y="2"/>
                </a:lnTo>
                <a:lnTo>
                  <a:pt x="57" y="6"/>
                </a:lnTo>
                <a:lnTo>
                  <a:pt x="69" y="8"/>
                </a:lnTo>
                <a:lnTo>
                  <a:pt x="82" y="10"/>
                </a:lnTo>
                <a:lnTo>
                  <a:pt x="84" y="12"/>
                </a:lnTo>
                <a:lnTo>
                  <a:pt x="86" y="16"/>
                </a:lnTo>
                <a:lnTo>
                  <a:pt x="88" y="18"/>
                </a:lnTo>
                <a:lnTo>
                  <a:pt x="92" y="22"/>
                </a:lnTo>
                <a:lnTo>
                  <a:pt x="94" y="23"/>
                </a:lnTo>
                <a:lnTo>
                  <a:pt x="96" y="25"/>
                </a:lnTo>
                <a:lnTo>
                  <a:pt x="101" y="25"/>
                </a:lnTo>
                <a:lnTo>
                  <a:pt x="105" y="25"/>
                </a:lnTo>
                <a:lnTo>
                  <a:pt x="109" y="23"/>
                </a:lnTo>
                <a:lnTo>
                  <a:pt x="111" y="22"/>
                </a:lnTo>
                <a:lnTo>
                  <a:pt x="124" y="25"/>
                </a:lnTo>
                <a:lnTo>
                  <a:pt x="140" y="29"/>
                </a:lnTo>
                <a:lnTo>
                  <a:pt x="142" y="33"/>
                </a:lnTo>
                <a:lnTo>
                  <a:pt x="143" y="35"/>
                </a:lnTo>
                <a:lnTo>
                  <a:pt x="142" y="37"/>
                </a:lnTo>
                <a:lnTo>
                  <a:pt x="140" y="39"/>
                </a:lnTo>
                <a:lnTo>
                  <a:pt x="138" y="58"/>
                </a:lnTo>
                <a:lnTo>
                  <a:pt x="138" y="75"/>
                </a:lnTo>
                <a:lnTo>
                  <a:pt x="136" y="94"/>
                </a:lnTo>
                <a:lnTo>
                  <a:pt x="136" y="112"/>
                </a:lnTo>
                <a:lnTo>
                  <a:pt x="132" y="114"/>
                </a:lnTo>
                <a:lnTo>
                  <a:pt x="130" y="118"/>
                </a:lnTo>
                <a:lnTo>
                  <a:pt x="128" y="129"/>
                </a:lnTo>
                <a:lnTo>
                  <a:pt x="124" y="141"/>
                </a:lnTo>
                <a:lnTo>
                  <a:pt x="122" y="144"/>
                </a:lnTo>
                <a:lnTo>
                  <a:pt x="120" y="146"/>
                </a:lnTo>
                <a:lnTo>
                  <a:pt x="103" y="154"/>
                </a:lnTo>
                <a:lnTo>
                  <a:pt x="86" y="160"/>
                </a:lnTo>
                <a:lnTo>
                  <a:pt x="84" y="164"/>
                </a:lnTo>
                <a:lnTo>
                  <a:pt x="82" y="165"/>
                </a:lnTo>
                <a:lnTo>
                  <a:pt x="78" y="167"/>
                </a:lnTo>
                <a:lnTo>
                  <a:pt x="76" y="171"/>
                </a:lnTo>
                <a:lnTo>
                  <a:pt x="74" y="173"/>
                </a:lnTo>
                <a:lnTo>
                  <a:pt x="72" y="175"/>
                </a:lnTo>
                <a:lnTo>
                  <a:pt x="63" y="175"/>
                </a:lnTo>
                <a:lnTo>
                  <a:pt x="53" y="175"/>
                </a:lnTo>
              </a:path>
            </a:pathLst>
          </a:custGeom>
          <a:solidFill>
            <a:schemeClr val="accent3"/>
          </a:solidFill>
          <a:ln w="12700">
            <a:solidFill>
              <a:schemeClr val="bg1"/>
            </a:solidFill>
            <a:round/>
            <a:headEnd/>
            <a:tailEnd/>
          </a:ln>
        </p:spPr>
        <p:txBody>
          <a:bodyPr/>
          <a:lstStyle/>
          <a:p>
            <a:endParaRPr lang="en-GB"/>
          </a:p>
        </p:txBody>
      </p:sp>
      <p:sp>
        <p:nvSpPr>
          <p:cNvPr id="62" name="Freeform 329"/>
          <p:cNvSpPr>
            <a:spLocks/>
          </p:cNvSpPr>
          <p:nvPr>
            <p:custDataLst>
              <p:tags r:id="rId46"/>
            </p:custDataLst>
          </p:nvPr>
        </p:nvSpPr>
        <p:spPr bwMode="auto">
          <a:xfrm>
            <a:off x="1306317" y="4358468"/>
            <a:ext cx="213207" cy="192304"/>
          </a:xfrm>
          <a:custGeom>
            <a:avLst/>
            <a:gdLst>
              <a:gd name="T0" fmla="*/ 2147483647 w 156"/>
              <a:gd name="T1" fmla="*/ 2147483647 h 146"/>
              <a:gd name="T2" fmla="*/ 2147483647 w 156"/>
              <a:gd name="T3" fmla="*/ 2147483647 h 146"/>
              <a:gd name="T4" fmla="*/ 2147483647 w 156"/>
              <a:gd name="T5" fmla="*/ 2147483647 h 146"/>
              <a:gd name="T6" fmla="*/ 2147483647 w 156"/>
              <a:gd name="T7" fmla="*/ 2147483647 h 146"/>
              <a:gd name="T8" fmla="*/ 2147483647 w 156"/>
              <a:gd name="T9" fmla="*/ 2147483647 h 146"/>
              <a:gd name="T10" fmla="*/ 2147483647 w 156"/>
              <a:gd name="T11" fmla="*/ 2147483647 h 146"/>
              <a:gd name="T12" fmla="*/ 2147483647 w 156"/>
              <a:gd name="T13" fmla="*/ 2147483647 h 146"/>
              <a:gd name="T14" fmla="*/ 2147483647 w 156"/>
              <a:gd name="T15" fmla="*/ 2147483647 h 146"/>
              <a:gd name="T16" fmla="*/ 2147483647 w 156"/>
              <a:gd name="T17" fmla="*/ 2147483647 h 146"/>
              <a:gd name="T18" fmla="*/ 2147483647 w 156"/>
              <a:gd name="T19" fmla="*/ 2147483647 h 146"/>
              <a:gd name="T20" fmla="*/ 2147483647 w 156"/>
              <a:gd name="T21" fmla="*/ 2147483647 h 146"/>
              <a:gd name="T22" fmla="*/ 0 w 156"/>
              <a:gd name="T23" fmla="*/ 2147483647 h 146"/>
              <a:gd name="T24" fmla="*/ 2147483647 w 156"/>
              <a:gd name="T25" fmla="*/ 2147483647 h 146"/>
              <a:gd name="T26" fmla="*/ 2147483647 w 156"/>
              <a:gd name="T27" fmla="*/ 2147483647 h 146"/>
              <a:gd name="T28" fmla="*/ 2147483647 w 156"/>
              <a:gd name="T29" fmla="*/ 2147483647 h 146"/>
              <a:gd name="T30" fmla="*/ 2147483647 w 156"/>
              <a:gd name="T31" fmla="*/ 2147483647 h 146"/>
              <a:gd name="T32" fmla="*/ 2147483647 w 156"/>
              <a:gd name="T33" fmla="*/ 2147483647 h 146"/>
              <a:gd name="T34" fmla="*/ 2147483647 w 156"/>
              <a:gd name="T35" fmla="*/ 2147483647 h 146"/>
              <a:gd name="T36" fmla="*/ 2147483647 w 156"/>
              <a:gd name="T37" fmla="*/ 2147483647 h 146"/>
              <a:gd name="T38" fmla="*/ 2147483647 w 156"/>
              <a:gd name="T39" fmla="*/ 2147483647 h 146"/>
              <a:gd name="T40" fmla="*/ 2147483647 w 156"/>
              <a:gd name="T41" fmla="*/ 2147483647 h 146"/>
              <a:gd name="T42" fmla="*/ 2147483647 w 156"/>
              <a:gd name="T43" fmla="*/ 2147483647 h 146"/>
              <a:gd name="T44" fmla="*/ 2147483647 w 156"/>
              <a:gd name="T45" fmla="*/ 2147483647 h 146"/>
              <a:gd name="T46" fmla="*/ 2147483647 w 156"/>
              <a:gd name="T47" fmla="*/ 2147483647 h 146"/>
              <a:gd name="T48" fmla="*/ 2147483647 w 156"/>
              <a:gd name="T49" fmla="*/ 0 h 146"/>
              <a:gd name="T50" fmla="*/ 2147483647 w 156"/>
              <a:gd name="T51" fmla="*/ 2147483647 h 146"/>
              <a:gd name="T52" fmla="*/ 2147483647 w 156"/>
              <a:gd name="T53" fmla="*/ 2147483647 h 146"/>
              <a:gd name="T54" fmla="*/ 2147483647 w 156"/>
              <a:gd name="T55" fmla="*/ 2147483647 h 146"/>
              <a:gd name="T56" fmla="*/ 2147483647 w 156"/>
              <a:gd name="T57" fmla="*/ 2147483647 h 146"/>
              <a:gd name="T58" fmla="*/ 2147483647 w 156"/>
              <a:gd name="T59" fmla="*/ 2147483647 h 146"/>
              <a:gd name="T60" fmla="*/ 2147483647 w 156"/>
              <a:gd name="T61" fmla="*/ 2147483647 h 146"/>
              <a:gd name="T62" fmla="*/ 2147483647 w 156"/>
              <a:gd name="T63" fmla="*/ 2147483647 h 146"/>
              <a:gd name="T64" fmla="*/ 2147483647 w 156"/>
              <a:gd name="T65" fmla="*/ 2147483647 h 146"/>
              <a:gd name="T66" fmla="*/ 2147483647 w 156"/>
              <a:gd name="T67" fmla="*/ 2147483647 h 146"/>
              <a:gd name="T68" fmla="*/ 2147483647 w 156"/>
              <a:gd name="T69" fmla="*/ 2147483647 h 146"/>
              <a:gd name="T70" fmla="*/ 2147483647 w 156"/>
              <a:gd name="T71" fmla="*/ 2147483647 h 146"/>
              <a:gd name="T72" fmla="*/ 2147483647 w 156"/>
              <a:gd name="T73" fmla="*/ 2147483647 h 146"/>
              <a:gd name="T74" fmla="*/ 2147483647 w 156"/>
              <a:gd name="T75" fmla="*/ 2147483647 h 146"/>
              <a:gd name="T76" fmla="*/ 2147483647 w 156"/>
              <a:gd name="T77" fmla="*/ 2147483647 h 14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6"/>
              <a:gd name="T118" fmla="*/ 0 h 146"/>
              <a:gd name="T119" fmla="*/ 156 w 156"/>
              <a:gd name="T120" fmla="*/ 146 h 14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6" h="146">
                <a:moveTo>
                  <a:pt x="92" y="146"/>
                </a:moveTo>
                <a:lnTo>
                  <a:pt x="90" y="142"/>
                </a:lnTo>
                <a:lnTo>
                  <a:pt x="88" y="140"/>
                </a:lnTo>
                <a:lnTo>
                  <a:pt x="81" y="132"/>
                </a:lnTo>
                <a:lnTo>
                  <a:pt x="73" y="127"/>
                </a:lnTo>
                <a:lnTo>
                  <a:pt x="71" y="123"/>
                </a:lnTo>
                <a:lnTo>
                  <a:pt x="69" y="121"/>
                </a:lnTo>
                <a:lnTo>
                  <a:pt x="65" y="113"/>
                </a:lnTo>
                <a:lnTo>
                  <a:pt x="63" y="107"/>
                </a:lnTo>
                <a:lnTo>
                  <a:pt x="62" y="104"/>
                </a:lnTo>
                <a:lnTo>
                  <a:pt x="60" y="102"/>
                </a:lnTo>
                <a:lnTo>
                  <a:pt x="56" y="100"/>
                </a:lnTo>
                <a:lnTo>
                  <a:pt x="54" y="96"/>
                </a:lnTo>
                <a:lnTo>
                  <a:pt x="52" y="94"/>
                </a:lnTo>
                <a:lnTo>
                  <a:pt x="50" y="92"/>
                </a:lnTo>
                <a:lnTo>
                  <a:pt x="42" y="90"/>
                </a:lnTo>
                <a:lnTo>
                  <a:pt x="35" y="86"/>
                </a:lnTo>
                <a:lnTo>
                  <a:pt x="33" y="84"/>
                </a:lnTo>
                <a:lnTo>
                  <a:pt x="31" y="82"/>
                </a:lnTo>
                <a:lnTo>
                  <a:pt x="17" y="75"/>
                </a:lnTo>
                <a:lnTo>
                  <a:pt x="6" y="67"/>
                </a:lnTo>
                <a:lnTo>
                  <a:pt x="4" y="65"/>
                </a:lnTo>
                <a:lnTo>
                  <a:pt x="0" y="63"/>
                </a:lnTo>
                <a:lnTo>
                  <a:pt x="0" y="57"/>
                </a:lnTo>
                <a:lnTo>
                  <a:pt x="0" y="54"/>
                </a:lnTo>
                <a:lnTo>
                  <a:pt x="4" y="52"/>
                </a:lnTo>
                <a:lnTo>
                  <a:pt x="6" y="48"/>
                </a:lnTo>
                <a:lnTo>
                  <a:pt x="17" y="46"/>
                </a:lnTo>
                <a:lnTo>
                  <a:pt x="31" y="44"/>
                </a:lnTo>
                <a:lnTo>
                  <a:pt x="33" y="40"/>
                </a:lnTo>
                <a:lnTo>
                  <a:pt x="35" y="38"/>
                </a:lnTo>
                <a:lnTo>
                  <a:pt x="37" y="31"/>
                </a:lnTo>
                <a:lnTo>
                  <a:pt x="40" y="25"/>
                </a:lnTo>
                <a:lnTo>
                  <a:pt x="42" y="21"/>
                </a:lnTo>
                <a:lnTo>
                  <a:pt x="44" y="19"/>
                </a:lnTo>
                <a:lnTo>
                  <a:pt x="46" y="11"/>
                </a:lnTo>
                <a:lnTo>
                  <a:pt x="50" y="6"/>
                </a:lnTo>
                <a:lnTo>
                  <a:pt x="52" y="2"/>
                </a:lnTo>
                <a:lnTo>
                  <a:pt x="54" y="0"/>
                </a:lnTo>
                <a:lnTo>
                  <a:pt x="56" y="2"/>
                </a:lnTo>
                <a:lnTo>
                  <a:pt x="60" y="6"/>
                </a:lnTo>
                <a:lnTo>
                  <a:pt x="79" y="9"/>
                </a:lnTo>
                <a:lnTo>
                  <a:pt x="98" y="13"/>
                </a:lnTo>
                <a:lnTo>
                  <a:pt x="100" y="11"/>
                </a:lnTo>
                <a:lnTo>
                  <a:pt x="102" y="9"/>
                </a:lnTo>
                <a:lnTo>
                  <a:pt x="106" y="8"/>
                </a:lnTo>
                <a:lnTo>
                  <a:pt x="108" y="6"/>
                </a:lnTo>
                <a:lnTo>
                  <a:pt x="109" y="2"/>
                </a:lnTo>
                <a:lnTo>
                  <a:pt x="111" y="0"/>
                </a:lnTo>
                <a:lnTo>
                  <a:pt x="119" y="0"/>
                </a:lnTo>
                <a:lnTo>
                  <a:pt x="127" y="0"/>
                </a:lnTo>
                <a:lnTo>
                  <a:pt x="129" y="15"/>
                </a:lnTo>
                <a:lnTo>
                  <a:pt x="131" y="29"/>
                </a:lnTo>
                <a:lnTo>
                  <a:pt x="134" y="31"/>
                </a:lnTo>
                <a:lnTo>
                  <a:pt x="136" y="34"/>
                </a:lnTo>
                <a:lnTo>
                  <a:pt x="146" y="36"/>
                </a:lnTo>
                <a:lnTo>
                  <a:pt x="156" y="38"/>
                </a:lnTo>
                <a:lnTo>
                  <a:pt x="156" y="46"/>
                </a:lnTo>
                <a:lnTo>
                  <a:pt x="156" y="54"/>
                </a:lnTo>
                <a:lnTo>
                  <a:pt x="154" y="56"/>
                </a:lnTo>
                <a:lnTo>
                  <a:pt x="152" y="57"/>
                </a:lnTo>
                <a:lnTo>
                  <a:pt x="148" y="59"/>
                </a:lnTo>
                <a:lnTo>
                  <a:pt x="146" y="63"/>
                </a:lnTo>
                <a:lnTo>
                  <a:pt x="144" y="65"/>
                </a:lnTo>
                <a:lnTo>
                  <a:pt x="140" y="67"/>
                </a:lnTo>
                <a:lnTo>
                  <a:pt x="134" y="69"/>
                </a:lnTo>
                <a:lnTo>
                  <a:pt x="127" y="73"/>
                </a:lnTo>
                <a:lnTo>
                  <a:pt x="125" y="75"/>
                </a:lnTo>
                <a:lnTo>
                  <a:pt x="123" y="79"/>
                </a:lnTo>
                <a:lnTo>
                  <a:pt x="119" y="104"/>
                </a:lnTo>
                <a:lnTo>
                  <a:pt x="117" y="130"/>
                </a:lnTo>
                <a:lnTo>
                  <a:pt x="115" y="132"/>
                </a:lnTo>
                <a:lnTo>
                  <a:pt x="111" y="136"/>
                </a:lnTo>
                <a:lnTo>
                  <a:pt x="109" y="138"/>
                </a:lnTo>
                <a:lnTo>
                  <a:pt x="108" y="140"/>
                </a:lnTo>
                <a:lnTo>
                  <a:pt x="106" y="142"/>
                </a:lnTo>
                <a:lnTo>
                  <a:pt x="102" y="146"/>
                </a:lnTo>
                <a:lnTo>
                  <a:pt x="98" y="146"/>
                </a:lnTo>
                <a:lnTo>
                  <a:pt x="92" y="146"/>
                </a:lnTo>
              </a:path>
            </a:pathLst>
          </a:custGeom>
          <a:solidFill>
            <a:schemeClr val="accent3"/>
          </a:solidFill>
          <a:ln w="12700">
            <a:solidFill>
              <a:schemeClr val="bg1"/>
            </a:solidFill>
            <a:round/>
            <a:headEnd/>
            <a:tailEnd/>
          </a:ln>
        </p:spPr>
        <p:txBody>
          <a:bodyPr/>
          <a:lstStyle/>
          <a:p>
            <a:endParaRPr lang="en-GB"/>
          </a:p>
        </p:txBody>
      </p:sp>
      <p:sp>
        <p:nvSpPr>
          <p:cNvPr id="63" name="Freeform 330"/>
          <p:cNvSpPr>
            <a:spLocks/>
          </p:cNvSpPr>
          <p:nvPr>
            <p:custDataLst>
              <p:tags r:id="rId47"/>
            </p:custDataLst>
          </p:nvPr>
        </p:nvSpPr>
        <p:spPr bwMode="auto">
          <a:xfrm>
            <a:off x="1069420" y="4281825"/>
            <a:ext cx="236896" cy="217387"/>
          </a:xfrm>
          <a:custGeom>
            <a:avLst/>
            <a:gdLst>
              <a:gd name="T0" fmla="*/ 2147483647 w 173"/>
              <a:gd name="T1" fmla="*/ 2147483647 h 165"/>
              <a:gd name="T2" fmla="*/ 2147483647 w 173"/>
              <a:gd name="T3" fmla="*/ 2147483647 h 165"/>
              <a:gd name="T4" fmla="*/ 2147483647 w 173"/>
              <a:gd name="T5" fmla="*/ 2147483647 h 165"/>
              <a:gd name="T6" fmla="*/ 2147483647 w 173"/>
              <a:gd name="T7" fmla="*/ 2147483647 h 165"/>
              <a:gd name="T8" fmla="*/ 2147483647 w 173"/>
              <a:gd name="T9" fmla="*/ 2147483647 h 165"/>
              <a:gd name="T10" fmla="*/ 2147483647 w 173"/>
              <a:gd name="T11" fmla="*/ 2147483647 h 165"/>
              <a:gd name="T12" fmla="*/ 2147483647 w 173"/>
              <a:gd name="T13" fmla="*/ 2147483647 h 165"/>
              <a:gd name="T14" fmla="*/ 2147483647 w 173"/>
              <a:gd name="T15" fmla="*/ 2147483647 h 165"/>
              <a:gd name="T16" fmla="*/ 2147483647 w 173"/>
              <a:gd name="T17" fmla="*/ 2147483647 h 165"/>
              <a:gd name="T18" fmla="*/ 2147483647 w 173"/>
              <a:gd name="T19" fmla="*/ 2147483647 h 165"/>
              <a:gd name="T20" fmla="*/ 2147483647 w 173"/>
              <a:gd name="T21" fmla="*/ 2147483647 h 165"/>
              <a:gd name="T22" fmla="*/ 2147483647 w 173"/>
              <a:gd name="T23" fmla="*/ 2147483647 h 165"/>
              <a:gd name="T24" fmla="*/ 2147483647 w 173"/>
              <a:gd name="T25" fmla="*/ 2147483647 h 165"/>
              <a:gd name="T26" fmla="*/ 2147483647 w 173"/>
              <a:gd name="T27" fmla="*/ 2147483647 h 165"/>
              <a:gd name="T28" fmla="*/ 2147483647 w 173"/>
              <a:gd name="T29" fmla="*/ 2147483647 h 165"/>
              <a:gd name="T30" fmla="*/ 2147483647 w 173"/>
              <a:gd name="T31" fmla="*/ 2147483647 h 165"/>
              <a:gd name="T32" fmla="*/ 2147483647 w 173"/>
              <a:gd name="T33" fmla="*/ 2147483647 h 165"/>
              <a:gd name="T34" fmla="*/ 2147483647 w 173"/>
              <a:gd name="T35" fmla="*/ 2147483647 h 165"/>
              <a:gd name="T36" fmla="*/ 2147483647 w 173"/>
              <a:gd name="T37" fmla="*/ 2147483647 h 165"/>
              <a:gd name="T38" fmla="*/ 2147483647 w 173"/>
              <a:gd name="T39" fmla="*/ 2147483647 h 165"/>
              <a:gd name="T40" fmla="*/ 2147483647 w 173"/>
              <a:gd name="T41" fmla="*/ 2147483647 h 165"/>
              <a:gd name="T42" fmla="*/ 2147483647 w 173"/>
              <a:gd name="T43" fmla="*/ 2147483647 h 165"/>
              <a:gd name="T44" fmla="*/ 2147483647 w 173"/>
              <a:gd name="T45" fmla="*/ 2147483647 h 165"/>
              <a:gd name="T46" fmla="*/ 2147483647 w 173"/>
              <a:gd name="T47" fmla="*/ 0 h 165"/>
              <a:gd name="T48" fmla="*/ 2147483647 w 173"/>
              <a:gd name="T49" fmla="*/ 0 h 165"/>
              <a:gd name="T50" fmla="*/ 2147483647 w 173"/>
              <a:gd name="T51" fmla="*/ 2147483647 h 165"/>
              <a:gd name="T52" fmla="*/ 2147483647 w 173"/>
              <a:gd name="T53" fmla="*/ 2147483647 h 165"/>
              <a:gd name="T54" fmla="*/ 2147483647 w 173"/>
              <a:gd name="T55" fmla="*/ 2147483647 h 165"/>
              <a:gd name="T56" fmla="*/ 2147483647 w 173"/>
              <a:gd name="T57" fmla="*/ 2147483647 h 165"/>
              <a:gd name="T58" fmla="*/ 2147483647 w 173"/>
              <a:gd name="T59" fmla="*/ 2147483647 h 165"/>
              <a:gd name="T60" fmla="*/ 2147483647 w 173"/>
              <a:gd name="T61" fmla="*/ 2147483647 h 165"/>
              <a:gd name="T62" fmla="*/ 2147483647 w 173"/>
              <a:gd name="T63" fmla="*/ 2147483647 h 165"/>
              <a:gd name="T64" fmla="*/ 2147483647 w 173"/>
              <a:gd name="T65" fmla="*/ 2147483647 h 165"/>
              <a:gd name="T66" fmla="*/ 2147483647 w 173"/>
              <a:gd name="T67" fmla="*/ 2147483647 h 165"/>
              <a:gd name="T68" fmla="*/ 2147483647 w 173"/>
              <a:gd name="T69" fmla="*/ 2147483647 h 165"/>
              <a:gd name="T70" fmla="*/ 2147483647 w 173"/>
              <a:gd name="T71" fmla="*/ 2147483647 h 165"/>
              <a:gd name="T72" fmla="*/ 2147483647 w 173"/>
              <a:gd name="T73" fmla="*/ 2147483647 h 165"/>
              <a:gd name="T74" fmla="*/ 2147483647 w 173"/>
              <a:gd name="T75" fmla="*/ 2147483647 h 165"/>
              <a:gd name="T76" fmla="*/ 2147483647 w 173"/>
              <a:gd name="T77" fmla="*/ 2147483647 h 165"/>
              <a:gd name="T78" fmla="*/ 2147483647 w 173"/>
              <a:gd name="T79" fmla="*/ 2147483647 h 165"/>
              <a:gd name="T80" fmla="*/ 2147483647 w 173"/>
              <a:gd name="T81" fmla="*/ 2147483647 h 165"/>
              <a:gd name="T82" fmla="*/ 2147483647 w 173"/>
              <a:gd name="T83" fmla="*/ 2147483647 h 16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73"/>
              <a:gd name="T127" fmla="*/ 0 h 165"/>
              <a:gd name="T128" fmla="*/ 173 w 173"/>
              <a:gd name="T129" fmla="*/ 165 h 16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73" h="165">
                <a:moveTo>
                  <a:pt x="150" y="165"/>
                </a:moveTo>
                <a:lnTo>
                  <a:pt x="148" y="162"/>
                </a:lnTo>
                <a:lnTo>
                  <a:pt x="144" y="160"/>
                </a:lnTo>
                <a:lnTo>
                  <a:pt x="142" y="158"/>
                </a:lnTo>
                <a:lnTo>
                  <a:pt x="141" y="154"/>
                </a:lnTo>
                <a:lnTo>
                  <a:pt x="137" y="152"/>
                </a:lnTo>
                <a:lnTo>
                  <a:pt x="135" y="150"/>
                </a:lnTo>
                <a:lnTo>
                  <a:pt x="127" y="148"/>
                </a:lnTo>
                <a:lnTo>
                  <a:pt x="121" y="144"/>
                </a:lnTo>
                <a:lnTo>
                  <a:pt x="117" y="142"/>
                </a:lnTo>
                <a:lnTo>
                  <a:pt x="116" y="140"/>
                </a:lnTo>
                <a:lnTo>
                  <a:pt x="104" y="138"/>
                </a:lnTo>
                <a:lnTo>
                  <a:pt x="93" y="137"/>
                </a:lnTo>
                <a:lnTo>
                  <a:pt x="89" y="133"/>
                </a:lnTo>
                <a:lnTo>
                  <a:pt x="87" y="131"/>
                </a:lnTo>
                <a:lnTo>
                  <a:pt x="85" y="127"/>
                </a:lnTo>
                <a:lnTo>
                  <a:pt x="81" y="125"/>
                </a:lnTo>
                <a:lnTo>
                  <a:pt x="79" y="123"/>
                </a:lnTo>
                <a:lnTo>
                  <a:pt x="77" y="121"/>
                </a:lnTo>
                <a:lnTo>
                  <a:pt x="70" y="117"/>
                </a:lnTo>
                <a:lnTo>
                  <a:pt x="64" y="115"/>
                </a:lnTo>
                <a:lnTo>
                  <a:pt x="60" y="114"/>
                </a:lnTo>
                <a:lnTo>
                  <a:pt x="58" y="112"/>
                </a:lnTo>
                <a:lnTo>
                  <a:pt x="56" y="110"/>
                </a:lnTo>
                <a:lnTo>
                  <a:pt x="52" y="106"/>
                </a:lnTo>
                <a:lnTo>
                  <a:pt x="50" y="104"/>
                </a:lnTo>
                <a:lnTo>
                  <a:pt x="48" y="102"/>
                </a:lnTo>
                <a:lnTo>
                  <a:pt x="39" y="98"/>
                </a:lnTo>
                <a:lnTo>
                  <a:pt x="29" y="96"/>
                </a:lnTo>
                <a:lnTo>
                  <a:pt x="29" y="92"/>
                </a:lnTo>
                <a:lnTo>
                  <a:pt x="29" y="87"/>
                </a:lnTo>
                <a:lnTo>
                  <a:pt x="22" y="73"/>
                </a:lnTo>
                <a:lnTo>
                  <a:pt x="14" y="58"/>
                </a:lnTo>
                <a:lnTo>
                  <a:pt x="6" y="43"/>
                </a:lnTo>
                <a:lnTo>
                  <a:pt x="0" y="29"/>
                </a:lnTo>
                <a:lnTo>
                  <a:pt x="4" y="29"/>
                </a:lnTo>
                <a:lnTo>
                  <a:pt x="10" y="29"/>
                </a:lnTo>
                <a:lnTo>
                  <a:pt x="10" y="23"/>
                </a:lnTo>
                <a:lnTo>
                  <a:pt x="10" y="20"/>
                </a:lnTo>
                <a:lnTo>
                  <a:pt x="10" y="14"/>
                </a:lnTo>
                <a:lnTo>
                  <a:pt x="10" y="10"/>
                </a:lnTo>
                <a:lnTo>
                  <a:pt x="14" y="10"/>
                </a:lnTo>
                <a:lnTo>
                  <a:pt x="20" y="10"/>
                </a:lnTo>
                <a:lnTo>
                  <a:pt x="23" y="10"/>
                </a:lnTo>
                <a:lnTo>
                  <a:pt x="29" y="10"/>
                </a:lnTo>
                <a:lnTo>
                  <a:pt x="33" y="4"/>
                </a:lnTo>
                <a:lnTo>
                  <a:pt x="39" y="0"/>
                </a:lnTo>
                <a:lnTo>
                  <a:pt x="43" y="0"/>
                </a:lnTo>
                <a:lnTo>
                  <a:pt x="48" y="0"/>
                </a:lnTo>
                <a:lnTo>
                  <a:pt x="75" y="0"/>
                </a:lnTo>
                <a:lnTo>
                  <a:pt x="102" y="0"/>
                </a:lnTo>
                <a:lnTo>
                  <a:pt x="104" y="2"/>
                </a:lnTo>
                <a:lnTo>
                  <a:pt x="106" y="4"/>
                </a:lnTo>
                <a:lnTo>
                  <a:pt x="108" y="18"/>
                </a:lnTo>
                <a:lnTo>
                  <a:pt x="112" y="29"/>
                </a:lnTo>
                <a:lnTo>
                  <a:pt x="114" y="31"/>
                </a:lnTo>
                <a:lnTo>
                  <a:pt x="116" y="33"/>
                </a:lnTo>
                <a:lnTo>
                  <a:pt x="123" y="37"/>
                </a:lnTo>
                <a:lnTo>
                  <a:pt x="131" y="39"/>
                </a:lnTo>
                <a:lnTo>
                  <a:pt x="133" y="41"/>
                </a:lnTo>
                <a:lnTo>
                  <a:pt x="135" y="43"/>
                </a:lnTo>
                <a:lnTo>
                  <a:pt x="137" y="50"/>
                </a:lnTo>
                <a:lnTo>
                  <a:pt x="141" y="58"/>
                </a:lnTo>
                <a:lnTo>
                  <a:pt x="142" y="60"/>
                </a:lnTo>
                <a:lnTo>
                  <a:pt x="144" y="64"/>
                </a:lnTo>
                <a:lnTo>
                  <a:pt x="148" y="79"/>
                </a:lnTo>
                <a:lnTo>
                  <a:pt x="150" y="96"/>
                </a:lnTo>
                <a:lnTo>
                  <a:pt x="152" y="98"/>
                </a:lnTo>
                <a:lnTo>
                  <a:pt x="154" y="102"/>
                </a:lnTo>
                <a:lnTo>
                  <a:pt x="158" y="104"/>
                </a:lnTo>
                <a:lnTo>
                  <a:pt x="160" y="106"/>
                </a:lnTo>
                <a:lnTo>
                  <a:pt x="162" y="110"/>
                </a:lnTo>
                <a:lnTo>
                  <a:pt x="164" y="112"/>
                </a:lnTo>
                <a:lnTo>
                  <a:pt x="165" y="119"/>
                </a:lnTo>
                <a:lnTo>
                  <a:pt x="169" y="125"/>
                </a:lnTo>
                <a:lnTo>
                  <a:pt x="171" y="127"/>
                </a:lnTo>
                <a:lnTo>
                  <a:pt x="173" y="131"/>
                </a:lnTo>
                <a:lnTo>
                  <a:pt x="173" y="135"/>
                </a:lnTo>
                <a:lnTo>
                  <a:pt x="173" y="140"/>
                </a:lnTo>
                <a:lnTo>
                  <a:pt x="171" y="142"/>
                </a:lnTo>
                <a:lnTo>
                  <a:pt x="169" y="144"/>
                </a:lnTo>
                <a:lnTo>
                  <a:pt x="162" y="152"/>
                </a:lnTo>
                <a:lnTo>
                  <a:pt x="154" y="160"/>
                </a:lnTo>
                <a:lnTo>
                  <a:pt x="152" y="162"/>
                </a:lnTo>
                <a:lnTo>
                  <a:pt x="150" y="165"/>
                </a:lnTo>
              </a:path>
            </a:pathLst>
          </a:custGeom>
          <a:solidFill>
            <a:schemeClr val="accent3"/>
          </a:solidFill>
          <a:ln w="12700">
            <a:solidFill>
              <a:schemeClr val="bg1"/>
            </a:solidFill>
            <a:round/>
            <a:headEnd/>
            <a:tailEnd/>
          </a:ln>
        </p:spPr>
        <p:txBody>
          <a:bodyPr/>
          <a:lstStyle/>
          <a:p>
            <a:endParaRPr lang="en-GB"/>
          </a:p>
        </p:txBody>
      </p:sp>
      <p:sp>
        <p:nvSpPr>
          <p:cNvPr id="64" name="Freeform 331"/>
          <p:cNvSpPr>
            <a:spLocks/>
          </p:cNvSpPr>
          <p:nvPr>
            <p:custDataLst>
              <p:tags r:id="rId48"/>
            </p:custDataLst>
          </p:nvPr>
        </p:nvSpPr>
        <p:spPr bwMode="auto">
          <a:xfrm>
            <a:off x="1493046" y="4269283"/>
            <a:ext cx="250831" cy="202059"/>
          </a:xfrm>
          <a:custGeom>
            <a:avLst/>
            <a:gdLst>
              <a:gd name="T0" fmla="*/ 2147483647 w 185"/>
              <a:gd name="T1" fmla="*/ 2147483647 h 153"/>
              <a:gd name="T2" fmla="*/ 2147483647 w 185"/>
              <a:gd name="T3" fmla="*/ 2147483647 h 153"/>
              <a:gd name="T4" fmla="*/ 2147483647 w 185"/>
              <a:gd name="T5" fmla="*/ 2147483647 h 153"/>
              <a:gd name="T6" fmla="*/ 2147483647 w 185"/>
              <a:gd name="T7" fmla="*/ 2147483647 h 153"/>
              <a:gd name="T8" fmla="*/ 2147483647 w 185"/>
              <a:gd name="T9" fmla="*/ 2147483647 h 153"/>
              <a:gd name="T10" fmla="*/ 2147483647 w 185"/>
              <a:gd name="T11" fmla="*/ 2147483647 h 153"/>
              <a:gd name="T12" fmla="*/ 2147483647 w 185"/>
              <a:gd name="T13" fmla="*/ 2147483647 h 153"/>
              <a:gd name="T14" fmla="*/ 2147483647 w 185"/>
              <a:gd name="T15" fmla="*/ 2147483647 h 153"/>
              <a:gd name="T16" fmla="*/ 2147483647 w 185"/>
              <a:gd name="T17" fmla="*/ 2147483647 h 153"/>
              <a:gd name="T18" fmla="*/ 2147483647 w 185"/>
              <a:gd name="T19" fmla="*/ 2147483647 h 153"/>
              <a:gd name="T20" fmla="*/ 2147483647 w 185"/>
              <a:gd name="T21" fmla="*/ 2147483647 h 153"/>
              <a:gd name="T22" fmla="*/ 2147483647 w 185"/>
              <a:gd name="T23" fmla="*/ 2147483647 h 153"/>
              <a:gd name="T24" fmla="*/ 0 w 185"/>
              <a:gd name="T25" fmla="*/ 2147483647 h 153"/>
              <a:gd name="T26" fmla="*/ 2147483647 w 185"/>
              <a:gd name="T27" fmla="*/ 2147483647 h 153"/>
              <a:gd name="T28" fmla="*/ 2147483647 w 185"/>
              <a:gd name="T29" fmla="*/ 2147483647 h 153"/>
              <a:gd name="T30" fmla="*/ 2147483647 w 185"/>
              <a:gd name="T31" fmla="*/ 2147483647 h 153"/>
              <a:gd name="T32" fmla="*/ 2147483647 w 185"/>
              <a:gd name="T33" fmla="*/ 2147483647 h 153"/>
              <a:gd name="T34" fmla="*/ 2147483647 w 185"/>
              <a:gd name="T35" fmla="*/ 2147483647 h 153"/>
              <a:gd name="T36" fmla="*/ 2147483647 w 185"/>
              <a:gd name="T37" fmla="*/ 2147483647 h 153"/>
              <a:gd name="T38" fmla="*/ 2147483647 w 185"/>
              <a:gd name="T39" fmla="*/ 0 h 153"/>
              <a:gd name="T40" fmla="*/ 2147483647 w 185"/>
              <a:gd name="T41" fmla="*/ 2147483647 h 153"/>
              <a:gd name="T42" fmla="*/ 2147483647 w 185"/>
              <a:gd name="T43" fmla="*/ 2147483647 h 153"/>
              <a:gd name="T44" fmla="*/ 2147483647 w 185"/>
              <a:gd name="T45" fmla="*/ 2147483647 h 153"/>
              <a:gd name="T46" fmla="*/ 2147483647 w 185"/>
              <a:gd name="T47" fmla="*/ 2147483647 h 153"/>
              <a:gd name="T48" fmla="*/ 2147483647 w 185"/>
              <a:gd name="T49" fmla="*/ 2147483647 h 153"/>
              <a:gd name="T50" fmla="*/ 2147483647 w 185"/>
              <a:gd name="T51" fmla="*/ 2147483647 h 153"/>
              <a:gd name="T52" fmla="*/ 2147483647 w 185"/>
              <a:gd name="T53" fmla="*/ 2147483647 h 153"/>
              <a:gd name="T54" fmla="*/ 2147483647 w 185"/>
              <a:gd name="T55" fmla="*/ 2147483647 h 153"/>
              <a:gd name="T56" fmla="*/ 2147483647 w 185"/>
              <a:gd name="T57" fmla="*/ 2147483647 h 153"/>
              <a:gd name="T58" fmla="*/ 2147483647 w 185"/>
              <a:gd name="T59" fmla="*/ 2147483647 h 153"/>
              <a:gd name="T60" fmla="*/ 2147483647 w 185"/>
              <a:gd name="T61" fmla="*/ 2147483647 h 153"/>
              <a:gd name="T62" fmla="*/ 2147483647 w 185"/>
              <a:gd name="T63" fmla="*/ 2147483647 h 153"/>
              <a:gd name="T64" fmla="*/ 2147483647 w 185"/>
              <a:gd name="T65" fmla="*/ 2147483647 h 153"/>
              <a:gd name="T66" fmla="*/ 2147483647 w 185"/>
              <a:gd name="T67" fmla="*/ 2147483647 h 153"/>
              <a:gd name="T68" fmla="*/ 2147483647 w 185"/>
              <a:gd name="T69" fmla="*/ 2147483647 h 153"/>
              <a:gd name="T70" fmla="*/ 2147483647 w 185"/>
              <a:gd name="T71" fmla="*/ 2147483647 h 153"/>
              <a:gd name="T72" fmla="*/ 2147483647 w 185"/>
              <a:gd name="T73" fmla="*/ 2147483647 h 153"/>
              <a:gd name="T74" fmla="*/ 2147483647 w 185"/>
              <a:gd name="T75" fmla="*/ 2147483647 h 153"/>
              <a:gd name="T76" fmla="*/ 2147483647 w 185"/>
              <a:gd name="T77" fmla="*/ 2147483647 h 153"/>
              <a:gd name="T78" fmla="*/ 2147483647 w 185"/>
              <a:gd name="T79" fmla="*/ 2147483647 h 153"/>
              <a:gd name="T80" fmla="*/ 2147483647 w 185"/>
              <a:gd name="T81" fmla="*/ 2147483647 h 153"/>
              <a:gd name="T82" fmla="*/ 2147483647 w 185"/>
              <a:gd name="T83" fmla="*/ 2147483647 h 153"/>
              <a:gd name="T84" fmla="*/ 2147483647 w 185"/>
              <a:gd name="T85" fmla="*/ 2147483647 h 153"/>
              <a:gd name="T86" fmla="*/ 2147483647 w 185"/>
              <a:gd name="T87" fmla="*/ 2147483647 h 153"/>
              <a:gd name="T88" fmla="*/ 2147483647 w 185"/>
              <a:gd name="T89" fmla="*/ 2147483647 h 1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5"/>
              <a:gd name="T136" fmla="*/ 0 h 153"/>
              <a:gd name="T137" fmla="*/ 185 w 185"/>
              <a:gd name="T138" fmla="*/ 153 h 15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5" h="153">
                <a:moveTo>
                  <a:pt x="121" y="153"/>
                </a:moveTo>
                <a:lnTo>
                  <a:pt x="119" y="151"/>
                </a:lnTo>
                <a:lnTo>
                  <a:pt x="115" y="149"/>
                </a:lnTo>
                <a:lnTo>
                  <a:pt x="115" y="142"/>
                </a:lnTo>
                <a:lnTo>
                  <a:pt x="115" y="134"/>
                </a:lnTo>
                <a:lnTo>
                  <a:pt x="96" y="136"/>
                </a:lnTo>
                <a:lnTo>
                  <a:pt x="77" y="140"/>
                </a:lnTo>
                <a:lnTo>
                  <a:pt x="75" y="142"/>
                </a:lnTo>
                <a:lnTo>
                  <a:pt x="73" y="146"/>
                </a:lnTo>
                <a:lnTo>
                  <a:pt x="71" y="142"/>
                </a:lnTo>
                <a:lnTo>
                  <a:pt x="68" y="140"/>
                </a:lnTo>
                <a:lnTo>
                  <a:pt x="66" y="136"/>
                </a:lnTo>
                <a:lnTo>
                  <a:pt x="64" y="134"/>
                </a:lnTo>
                <a:lnTo>
                  <a:pt x="60" y="132"/>
                </a:lnTo>
                <a:lnTo>
                  <a:pt x="58" y="130"/>
                </a:lnTo>
                <a:lnTo>
                  <a:pt x="46" y="126"/>
                </a:lnTo>
                <a:lnTo>
                  <a:pt x="35" y="124"/>
                </a:lnTo>
                <a:lnTo>
                  <a:pt x="31" y="123"/>
                </a:lnTo>
                <a:lnTo>
                  <a:pt x="29" y="121"/>
                </a:lnTo>
                <a:lnTo>
                  <a:pt x="29" y="109"/>
                </a:lnTo>
                <a:lnTo>
                  <a:pt x="29" y="96"/>
                </a:lnTo>
                <a:lnTo>
                  <a:pt x="18" y="96"/>
                </a:lnTo>
                <a:lnTo>
                  <a:pt x="4" y="96"/>
                </a:lnTo>
                <a:lnTo>
                  <a:pt x="2" y="94"/>
                </a:lnTo>
                <a:lnTo>
                  <a:pt x="0" y="92"/>
                </a:lnTo>
                <a:lnTo>
                  <a:pt x="0" y="67"/>
                </a:lnTo>
                <a:lnTo>
                  <a:pt x="0" y="42"/>
                </a:lnTo>
                <a:lnTo>
                  <a:pt x="2" y="40"/>
                </a:lnTo>
                <a:lnTo>
                  <a:pt x="4" y="38"/>
                </a:lnTo>
                <a:lnTo>
                  <a:pt x="8" y="30"/>
                </a:lnTo>
                <a:lnTo>
                  <a:pt x="10" y="23"/>
                </a:lnTo>
                <a:lnTo>
                  <a:pt x="12" y="21"/>
                </a:lnTo>
                <a:lnTo>
                  <a:pt x="16" y="19"/>
                </a:lnTo>
                <a:lnTo>
                  <a:pt x="20" y="13"/>
                </a:lnTo>
                <a:lnTo>
                  <a:pt x="25" y="7"/>
                </a:lnTo>
                <a:lnTo>
                  <a:pt x="52" y="5"/>
                </a:lnTo>
                <a:lnTo>
                  <a:pt x="77" y="4"/>
                </a:lnTo>
                <a:lnTo>
                  <a:pt x="81" y="2"/>
                </a:lnTo>
                <a:lnTo>
                  <a:pt x="83" y="0"/>
                </a:lnTo>
                <a:lnTo>
                  <a:pt x="87" y="0"/>
                </a:lnTo>
                <a:lnTo>
                  <a:pt x="92" y="0"/>
                </a:lnTo>
                <a:lnTo>
                  <a:pt x="94" y="2"/>
                </a:lnTo>
                <a:lnTo>
                  <a:pt x="96" y="4"/>
                </a:lnTo>
                <a:lnTo>
                  <a:pt x="100" y="7"/>
                </a:lnTo>
                <a:lnTo>
                  <a:pt x="106" y="7"/>
                </a:lnTo>
                <a:lnTo>
                  <a:pt x="114" y="7"/>
                </a:lnTo>
                <a:lnTo>
                  <a:pt x="115" y="4"/>
                </a:lnTo>
                <a:lnTo>
                  <a:pt x="119" y="2"/>
                </a:lnTo>
                <a:lnTo>
                  <a:pt x="121" y="0"/>
                </a:lnTo>
                <a:lnTo>
                  <a:pt x="131" y="4"/>
                </a:lnTo>
                <a:lnTo>
                  <a:pt x="140" y="9"/>
                </a:lnTo>
                <a:lnTo>
                  <a:pt x="142" y="11"/>
                </a:lnTo>
                <a:lnTo>
                  <a:pt x="146" y="13"/>
                </a:lnTo>
                <a:lnTo>
                  <a:pt x="148" y="15"/>
                </a:lnTo>
                <a:lnTo>
                  <a:pt x="150" y="19"/>
                </a:lnTo>
                <a:lnTo>
                  <a:pt x="152" y="21"/>
                </a:lnTo>
                <a:lnTo>
                  <a:pt x="156" y="23"/>
                </a:lnTo>
                <a:lnTo>
                  <a:pt x="158" y="27"/>
                </a:lnTo>
                <a:lnTo>
                  <a:pt x="160" y="29"/>
                </a:lnTo>
                <a:lnTo>
                  <a:pt x="162" y="30"/>
                </a:lnTo>
                <a:lnTo>
                  <a:pt x="165" y="32"/>
                </a:lnTo>
                <a:lnTo>
                  <a:pt x="167" y="40"/>
                </a:lnTo>
                <a:lnTo>
                  <a:pt x="169" y="48"/>
                </a:lnTo>
                <a:lnTo>
                  <a:pt x="171" y="50"/>
                </a:lnTo>
                <a:lnTo>
                  <a:pt x="175" y="52"/>
                </a:lnTo>
                <a:lnTo>
                  <a:pt x="177" y="65"/>
                </a:lnTo>
                <a:lnTo>
                  <a:pt x="179" y="76"/>
                </a:lnTo>
                <a:lnTo>
                  <a:pt x="181" y="78"/>
                </a:lnTo>
                <a:lnTo>
                  <a:pt x="185" y="80"/>
                </a:lnTo>
                <a:lnTo>
                  <a:pt x="185" y="96"/>
                </a:lnTo>
                <a:lnTo>
                  <a:pt x="185" y="111"/>
                </a:lnTo>
                <a:lnTo>
                  <a:pt x="181" y="113"/>
                </a:lnTo>
                <a:lnTo>
                  <a:pt x="179" y="115"/>
                </a:lnTo>
                <a:lnTo>
                  <a:pt x="177" y="119"/>
                </a:lnTo>
                <a:lnTo>
                  <a:pt x="175" y="121"/>
                </a:lnTo>
                <a:lnTo>
                  <a:pt x="171" y="123"/>
                </a:lnTo>
                <a:lnTo>
                  <a:pt x="169" y="124"/>
                </a:lnTo>
                <a:lnTo>
                  <a:pt x="167" y="126"/>
                </a:lnTo>
                <a:lnTo>
                  <a:pt x="165" y="130"/>
                </a:lnTo>
                <a:lnTo>
                  <a:pt x="162" y="132"/>
                </a:lnTo>
                <a:lnTo>
                  <a:pt x="160" y="134"/>
                </a:lnTo>
                <a:lnTo>
                  <a:pt x="158" y="136"/>
                </a:lnTo>
                <a:lnTo>
                  <a:pt x="156" y="140"/>
                </a:lnTo>
                <a:lnTo>
                  <a:pt x="152" y="142"/>
                </a:lnTo>
                <a:lnTo>
                  <a:pt x="150" y="146"/>
                </a:lnTo>
                <a:lnTo>
                  <a:pt x="142" y="147"/>
                </a:lnTo>
                <a:lnTo>
                  <a:pt x="137" y="149"/>
                </a:lnTo>
                <a:lnTo>
                  <a:pt x="133" y="151"/>
                </a:lnTo>
                <a:lnTo>
                  <a:pt x="131" y="153"/>
                </a:lnTo>
                <a:lnTo>
                  <a:pt x="127" y="153"/>
                </a:lnTo>
                <a:lnTo>
                  <a:pt x="121" y="153"/>
                </a:lnTo>
              </a:path>
            </a:pathLst>
          </a:custGeom>
          <a:solidFill>
            <a:schemeClr val="accent3"/>
          </a:solidFill>
          <a:ln w="12700">
            <a:solidFill>
              <a:schemeClr val="bg1"/>
            </a:solidFill>
            <a:round/>
            <a:headEnd/>
            <a:tailEnd/>
          </a:ln>
        </p:spPr>
        <p:txBody>
          <a:bodyPr/>
          <a:lstStyle/>
          <a:p>
            <a:endParaRPr lang="en-GB"/>
          </a:p>
        </p:txBody>
      </p:sp>
      <p:sp>
        <p:nvSpPr>
          <p:cNvPr id="65" name="Freeform 332"/>
          <p:cNvSpPr>
            <a:spLocks/>
          </p:cNvSpPr>
          <p:nvPr>
            <p:custDataLst>
              <p:tags r:id="rId49"/>
            </p:custDataLst>
          </p:nvPr>
        </p:nvSpPr>
        <p:spPr bwMode="auto">
          <a:xfrm>
            <a:off x="1349516" y="4196821"/>
            <a:ext cx="170008" cy="172795"/>
          </a:xfrm>
          <a:custGeom>
            <a:avLst/>
            <a:gdLst>
              <a:gd name="T0" fmla="*/ 2147483647 w 126"/>
              <a:gd name="T1" fmla="*/ 2147483647 h 134"/>
              <a:gd name="T2" fmla="*/ 2147483647 w 126"/>
              <a:gd name="T3" fmla="*/ 2147483647 h 134"/>
              <a:gd name="T4" fmla="*/ 2147483647 w 126"/>
              <a:gd name="T5" fmla="*/ 2147483647 h 134"/>
              <a:gd name="T6" fmla="*/ 2147483647 w 126"/>
              <a:gd name="T7" fmla="*/ 2147483647 h 134"/>
              <a:gd name="T8" fmla="*/ 2147483647 w 126"/>
              <a:gd name="T9" fmla="*/ 2147483647 h 134"/>
              <a:gd name="T10" fmla="*/ 2147483647 w 126"/>
              <a:gd name="T11" fmla="*/ 2147483647 h 134"/>
              <a:gd name="T12" fmla="*/ 2147483647 w 126"/>
              <a:gd name="T13" fmla="*/ 2147483647 h 134"/>
              <a:gd name="T14" fmla="*/ 2147483647 w 126"/>
              <a:gd name="T15" fmla="*/ 2147483647 h 134"/>
              <a:gd name="T16" fmla="*/ 2147483647 w 126"/>
              <a:gd name="T17" fmla="*/ 2147483647 h 134"/>
              <a:gd name="T18" fmla="*/ 2147483647 w 126"/>
              <a:gd name="T19" fmla="*/ 2147483647 h 134"/>
              <a:gd name="T20" fmla="*/ 2147483647 w 126"/>
              <a:gd name="T21" fmla="*/ 2147483647 h 134"/>
              <a:gd name="T22" fmla="*/ 2147483647 w 126"/>
              <a:gd name="T23" fmla="*/ 2147483647 h 134"/>
              <a:gd name="T24" fmla="*/ 2147483647 w 126"/>
              <a:gd name="T25" fmla="*/ 2147483647 h 134"/>
              <a:gd name="T26" fmla="*/ 2147483647 w 126"/>
              <a:gd name="T27" fmla="*/ 2147483647 h 134"/>
              <a:gd name="T28" fmla="*/ 0 w 126"/>
              <a:gd name="T29" fmla="*/ 2147483647 h 134"/>
              <a:gd name="T30" fmla="*/ 2147483647 w 126"/>
              <a:gd name="T31" fmla="*/ 2147483647 h 134"/>
              <a:gd name="T32" fmla="*/ 2147483647 w 126"/>
              <a:gd name="T33" fmla="*/ 2147483647 h 134"/>
              <a:gd name="T34" fmla="*/ 2147483647 w 126"/>
              <a:gd name="T35" fmla="*/ 2147483647 h 134"/>
              <a:gd name="T36" fmla="*/ 2147483647 w 126"/>
              <a:gd name="T37" fmla="*/ 2147483647 h 134"/>
              <a:gd name="T38" fmla="*/ 2147483647 w 126"/>
              <a:gd name="T39" fmla="*/ 2147483647 h 134"/>
              <a:gd name="T40" fmla="*/ 2147483647 w 126"/>
              <a:gd name="T41" fmla="*/ 2147483647 h 134"/>
              <a:gd name="T42" fmla="*/ 2147483647 w 126"/>
              <a:gd name="T43" fmla="*/ 2147483647 h 134"/>
              <a:gd name="T44" fmla="*/ 2147483647 w 126"/>
              <a:gd name="T45" fmla="*/ 0 h 134"/>
              <a:gd name="T46" fmla="*/ 2147483647 w 126"/>
              <a:gd name="T47" fmla="*/ 0 h 134"/>
              <a:gd name="T48" fmla="*/ 2147483647 w 126"/>
              <a:gd name="T49" fmla="*/ 0 h 134"/>
              <a:gd name="T50" fmla="*/ 2147483647 w 126"/>
              <a:gd name="T51" fmla="*/ 0 h 134"/>
              <a:gd name="T52" fmla="*/ 2147483647 w 126"/>
              <a:gd name="T53" fmla="*/ 0 h 134"/>
              <a:gd name="T54" fmla="*/ 2147483647 w 126"/>
              <a:gd name="T55" fmla="*/ 2147483647 h 134"/>
              <a:gd name="T56" fmla="*/ 2147483647 w 126"/>
              <a:gd name="T57" fmla="*/ 2147483647 h 134"/>
              <a:gd name="T58" fmla="*/ 2147483647 w 126"/>
              <a:gd name="T59" fmla="*/ 2147483647 h 134"/>
              <a:gd name="T60" fmla="*/ 2147483647 w 126"/>
              <a:gd name="T61" fmla="*/ 2147483647 h 134"/>
              <a:gd name="T62" fmla="*/ 2147483647 w 126"/>
              <a:gd name="T63" fmla="*/ 2147483647 h 134"/>
              <a:gd name="T64" fmla="*/ 2147483647 w 126"/>
              <a:gd name="T65" fmla="*/ 2147483647 h 134"/>
              <a:gd name="T66" fmla="*/ 2147483647 w 126"/>
              <a:gd name="T67" fmla="*/ 2147483647 h 134"/>
              <a:gd name="T68" fmla="*/ 2147483647 w 126"/>
              <a:gd name="T69" fmla="*/ 2147483647 h 134"/>
              <a:gd name="T70" fmla="*/ 2147483647 w 126"/>
              <a:gd name="T71" fmla="*/ 2147483647 h 134"/>
              <a:gd name="T72" fmla="*/ 2147483647 w 126"/>
              <a:gd name="T73" fmla="*/ 2147483647 h 134"/>
              <a:gd name="T74" fmla="*/ 2147483647 w 126"/>
              <a:gd name="T75" fmla="*/ 2147483647 h 134"/>
              <a:gd name="T76" fmla="*/ 2147483647 w 126"/>
              <a:gd name="T77" fmla="*/ 2147483647 h 134"/>
              <a:gd name="T78" fmla="*/ 2147483647 w 126"/>
              <a:gd name="T79" fmla="*/ 2147483647 h 134"/>
              <a:gd name="T80" fmla="*/ 2147483647 w 126"/>
              <a:gd name="T81" fmla="*/ 2147483647 h 134"/>
              <a:gd name="T82" fmla="*/ 2147483647 w 126"/>
              <a:gd name="T83" fmla="*/ 2147483647 h 134"/>
              <a:gd name="T84" fmla="*/ 2147483647 w 126"/>
              <a:gd name="T85" fmla="*/ 2147483647 h 134"/>
              <a:gd name="T86" fmla="*/ 2147483647 w 126"/>
              <a:gd name="T87" fmla="*/ 2147483647 h 134"/>
              <a:gd name="T88" fmla="*/ 2147483647 w 126"/>
              <a:gd name="T89" fmla="*/ 2147483647 h 134"/>
              <a:gd name="T90" fmla="*/ 2147483647 w 126"/>
              <a:gd name="T91" fmla="*/ 2147483647 h 134"/>
              <a:gd name="T92" fmla="*/ 2147483647 w 126"/>
              <a:gd name="T93" fmla="*/ 2147483647 h 134"/>
              <a:gd name="T94" fmla="*/ 2147483647 w 126"/>
              <a:gd name="T95" fmla="*/ 2147483647 h 134"/>
              <a:gd name="T96" fmla="*/ 2147483647 w 126"/>
              <a:gd name="T97" fmla="*/ 2147483647 h 134"/>
              <a:gd name="T98" fmla="*/ 2147483647 w 126"/>
              <a:gd name="T99" fmla="*/ 2147483647 h 134"/>
              <a:gd name="T100" fmla="*/ 2147483647 w 126"/>
              <a:gd name="T101" fmla="*/ 2147483647 h 134"/>
              <a:gd name="T102" fmla="*/ 2147483647 w 126"/>
              <a:gd name="T103" fmla="*/ 2147483647 h 134"/>
              <a:gd name="T104" fmla="*/ 2147483647 w 126"/>
              <a:gd name="T105" fmla="*/ 2147483647 h 134"/>
              <a:gd name="T106" fmla="*/ 2147483647 w 126"/>
              <a:gd name="T107" fmla="*/ 2147483647 h 134"/>
              <a:gd name="T108" fmla="*/ 2147483647 w 126"/>
              <a:gd name="T109" fmla="*/ 2147483647 h 134"/>
              <a:gd name="T110" fmla="*/ 2147483647 w 126"/>
              <a:gd name="T111" fmla="*/ 2147483647 h 134"/>
              <a:gd name="T112" fmla="*/ 2147483647 w 126"/>
              <a:gd name="T113" fmla="*/ 2147483647 h 134"/>
              <a:gd name="T114" fmla="*/ 2147483647 w 126"/>
              <a:gd name="T115" fmla="*/ 2147483647 h 134"/>
              <a:gd name="T116" fmla="*/ 2147483647 w 126"/>
              <a:gd name="T117" fmla="*/ 2147483647 h 134"/>
              <a:gd name="T118" fmla="*/ 2147483647 w 126"/>
              <a:gd name="T119" fmla="*/ 2147483647 h 134"/>
              <a:gd name="T120" fmla="*/ 2147483647 w 126"/>
              <a:gd name="T121" fmla="*/ 2147483647 h 1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
              <a:gd name="T184" fmla="*/ 0 h 134"/>
              <a:gd name="T185" fmla="*/ 126 w 126"/>
              <a:gd name="T186" fmla="*/ 134 h 1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 h="134">
                <a:moveTo>
                  <a:pt x="32" y="125"/>
                </a:moveTo>
                <a:lnTo>
                  <a:pt x="31" y="123"/>
                </a:lnTo>
                <a:lnTo>
                  <a:pt x="29" y="121"/>
                </a:lnTo>
                <a:lnTo>
                  <a:pt x="25" y="104"/>
                </a:lnTo>
                <a:lnTo>
                  <a:pt x="23" y="87"/>
                </a:lnTo>
                <a:lnTo>
                  <a:pt x="21" y="85"/>
                </a:lnTo>
                <a:lnTo>
                  <a:pt x="19" y="81"/>
                </a:lnTo>
                <a:lnTo>
                  <a:pt x="15" y="69"/>
                </a:lnTo>
                <a:lnTo>
                  <a:pt x="13" y="58"/>
                </a:lnTo>
                <a:lnTo>
                  <a:pt x="11" y="54"/>
                </a:lnTo>
                <a:lnTo>
                  <a:pt x="9" y="52"/>
                </a:lnTo>
                <a:lnTo>
                  <a:pt x="6" y="44"/>
                </a:lnTo>
                <a:lnTo>
                  <a:pt x="4" y="39"/>
                </a:lnTo>
                <a:lnTo>
                  <a:pt x="2" y="35"/>
                </a:lnTo>
                <a:lnTo>
                  <a:pt x="0" y="33"/>
                </a:lnTo>
                <a:lnTo>
                  <a:pt x="4" y="23"/>
                </a:lnTo>
                <a:lnTo>
                  <a:pt x="9" y="14"/>
                </a:lnTo>
                <a:lnTo>
                  <a:pt x="11" y="12"/>
                </a:lnTo>
                <a:lnTo>
                  <a:pt x="13" y="10"/>
                </a:lnTo>
                <a:lnTo>
                  <a:pt x="15" y="6"/>
                </a:lnTo>
                <a:lnTo>
                  <a:pt x="19" y="4"/>
                </a:lnTo>
                <a:lnTo>
                  <a:pt x="21" y="2"/>
                </a:lnTo>
                <a:lnTo>
                  <a:pt x="23" y="0"/>
                </a:lnTo>
                <a:lnTo>
                  <a:pt x="42" y="0"/>
                </a:lnTo>
                <a:lnTo>
                  <a:pt x="61" y="0"/>
                </a:lnTo>
                <a:lnTo>
                  <a:pt x="80" y="0"/>
                </a:lnTo>
                <a:lnTo>
                  <a:pt x="100" y="0"/>
                </a:lnTo>
                <a:lnTo>
                  <a:pt x="103" y="2"/>
                </a:lnTo>
                <a:lnTo>
                  <a:pt x="105" y="4"/>
                </a:lnTo>
                <a:lnTo>
                  <a:pt x="107" y="6"/>
                </a:lnTo>
                <a:lnTo>
                  <a:pt x="109" y="10"/>
                </a:lnTo>
                <a:lnTo>
                  <a:pt x="113" y="12"/>
                </a:lnTo>
                <a:lnTo>
                  <a:pt x="115" y="14"/>
                </a:lnTo>
                <a:lnTo>
                  <a:pt x="117" y="16"/>
                </a:lnTo>
                <a:lnTo>
                  <a:pt x="121" y="19"/>
                </a:lnTo>
                <a:lnTo>
                  <a:pt x="123" y="21"/>
                </a:lnTo>
                <a:lnTo>
                  <a:pt x="125" y="23"/>
                </a:lnTo>
                <a:lnTo>
                  <a:pt x="125" y="40"/>
                </a:lnTo>
                <a:lnTo>
                  <a:pt x="126" y="58"/>
                </a:lnTo>
                <a:lnTo>
                  <a:pt x="121" y="65"/>
                </a:lnTo>
                <a:lnTo>
                  <a:pt x="115" y="71"/>
                </a:lnTo>
                <a:lnTo>
                  <a:pt x="113" y="73"/>
                </a:lnTo>
                <a:lnTo>
                  <a:pt x="109" y="77"/>
                </a:lnTo>
                <a:lnTo>
                  <a:pt x="107" y="83"/>
                </a:lnTo>
                <a:lnTo>
                  <a:pt x="105" y="90"/>
                </a:lnTo>
                <a:lnTo>
                  <a:pt x="103" y="94"/>
                </a:lnTo>
                <a:lnTo>
                  <a:pt x="100" y="96"/>
                </a:lnTo>
                <a:lnTo>
                  <a:pt x="98" y="106"/>
                </a:lnTo>
                <a:lnTo>
                  <a:pt x="96" y="115"/>
                </a:lnTo>
                <a:lnTo>
                  <a:pt x="84" y="115"/>
                </a:lnTo>
                <a:lnTo>
                  <a:pt x="78" y="115"/>
                </a:lnTo>
                <a:lnTo>
                  <a:pt x="77" y="117"/>
                </a:lnTo>
                <a:lnTo>
                  <a:pt x="77" y="121"/>
                </a:lnTo>
                <a:lnTo>
                  <a:pt x="75" y="123"/>
                </a:lnTo>
                <a:lnTo>
                  <a:pt x="71" y="125"/>
                </a:lnTo>
                <a:lnTo>
                  <a:pt x="69" y="127"/>
                </a:lnTo>
                <a:lnTo>
                  <a:pt x="67" y="131"/>
                </a:lnTo>
                <a:lnTo>
                  <a:pt x="65" y="133"/>
                </a:lnTo>
                <a:lnTo>
                  <a:pt x="61" y="134"/>
                </a:lnTo>
                <a:lnTo>
                  <a:pt x="48" y="129"/>
                </a:lnTo>
                <a:lnTo>
                  <a:pt x="32" y="125"/>
                </a:lnTo>
              </a:path>
            </a:pathLst>
          </a:custGeom>
          <a:solidFill>
            <a:schemeClr val="accent3"/>
          </a:solidFill>
          <a:ln w="12700">
            <a:solidFill>
              <a:schemeClr val="bg1"/>
            </a:solidFill>
            <a:round/>
            <a:headEnd/>
            <a:tailEnd/>
          </a:ln>
        </p:spPr>
        <p:txBody>
          <a:bodyPr/>
          <a:lstStyle/>
          <a:p>
            <a:endParaRPr lang="en-GB"/>
          </a:p>
        </p:txBody>
      </p:sp>
      <p:sp>
        <p:nvSpPr>
          <p:cNvPr id="66" name="Freeform 333"/>
          <p:cNvSpPr>
            <a:spLocks/>
          </p:cNvSpPr>
          <p:nvPr>
            <p:custDataLst>
              <p:tags r:id="rId50"/>
            </p:custDataLst>
          </p:nvPr>
        </p:nvSpPr>
        <p:spPr bwMode="auto">
          <a:xfrm>
            <a:off x="1650513" y="4090915"/>
            <a:ext cx="209026" cy="241077"/>
          </a:xfrm>
          <a:custGeom>
            <a:avLst/>
            <a:gdLst>
              <a:gd name="T0" fmla="*/ 2147483647 w 156"/>
              <a:gd name="T1" fmla="*/ 2147483647 h 184"/>
              <a:gd name="T2" fmla="*/ 2147483647 w 156"/>
              <a:gd name="T3" fmla="*/ 2147483647 h 184"/>
              <a:gd name="T4" fmla="*/ 2147483647 w 156"/>
              <a:gd name="T5" fmla="*/ 2147483647 h 184"/>
              <a:gd name="T6" fmla="*/ 2147483647 w 156"/>
              <a:gd name="T7" fmla="*/ 2147483647 h 184"/>
              <a:gd name="T8" fmla="*/ 2147483647 w 156"/>
              <a:gd name="T9" fmla="*/ 2147483647 h 184"/>
              <a:gd name="T10" fmla="*/ 2147483647 w 156"/>
              <a:gd name="T11" fmla="*/ 2147483647 h 184"/>
              <a:gd name="T12" fmla="*/ 2147483647 w 156"/>
              <a:gd name="T13" fmla="*/ 2147483647 h 184"/>
              <a:gd name="T14" fmla="*/ 2147483647 w 156"/>
              <a:gd name="T15" fmla="*/ 2147483647 h 184"/>
              <a:gd name="T16" fmla="*/ 2147483647 w 156"/>
              <a:gd name="T17" fmla="*/ 2147483647 h 184"/>
              <a:gd name="T18" fmla="*/ 2147483647 w 156"/>
              <a:gd name="T19" fmla="*/ 2147483647 h 184"/>
              <a:gd name="T20" fmla="*/ 2147483647 w 156"/>
              <a:gd name="T21" fmla="*/ 2147483647 h 184"/>
              <a:gd name="T22" fmla="*/ 2147483647 w 156"/>
              <a:gd name="T23" fmla="*/ 2147483647 h 184"/>
              <a:gd name="T24" fmla="*/ 2147483647 w 156"/>
              <a:gd name="T25" fmla="*/ 2147483647 h 184"/>
              <a:gd name="T26" fmla="*/ 2147483647 w 156"/>
              <a:gd name="T27" fmla="*/ 2147483647 h 184"/>
              <a:gd name="T28" fmla="*/ 2147483647 w 156"/>
              <a:gd name="T29" fmla="*/ 2147483647 h 184"/>
              <a:gd name="T30" fmla="*/ 2147483647 w 156"/>
              <a:gd name="T31" fmla="*/ 2147483647 h 184"/>
              <a:gd name="T32" fmla="*/ 0 w 156"/>
              <a:gd name="T33" fmla="*/ 2147483647 h 184"/>
              <a:gd name="T34" fmla="*/ 2147483647 w 156"/>
              <a:gd name="T35" fmla="*/ 2147483647 h 184"/>
              <a:gd name="T36" fmla="*/ 2147483647 w 156"/>
              <a:gd name="T37" fmla="*/ 2147483647 h 184"/>
              <a:gd name="T38" fmla="*/ 2147483647 w 156"/>
              <a:gd name="T39" fmla="*/ 0 h 184"/>
              <a:gd name="T40" fmla="*/ 2147483647 w 156"/>
              <a:gd name="T41" fmla="*/ 2147483647 h 184"/>
              <a:gd name="T42" fmla="*/ 2147483647 w 156"/>
              <a:gd name="T43" fmla="*/ 2147483647 h 184"/>
              <a:gd name="T44" fmla="*/ 2147483647 w 156"/>
              <a:gd name="T45" fmla="*/ 2147483647 h 184"/>
              <a:gd name="T46" fmla="*/ 2147483647 w 156"/>
              <a:gd name="T47" fmla="*/ 2147483647 h 184"/>
              <a:gd name="T48" fmla="*/ 2147483647 w 156"/>
              <a:gd name="T49" fmla="*/ 2147483647 h 184"/>
              <a:gd name="T50" fmla="*/ 2147483647 w 156"/>
              <a:gd name="T51" fmla="*/ 2147483647 h 184"/>
              <a:gd name="T52" fmla="*/ 2147483647 w 156"/>
              <a:gd name="T53" fmla="*/ 2147483647 h 184"/>
              <a:gd name="T54" fmla="*/ 2147483647 w 156"/>
              <a:gd name="T55" fmla="*/ 2147483647 h 184"/>
              <a:gd name="T56" fmla="*/ 2147483647 w 156"/>
              <a:gd name="T57" fmla="*/ 2147483647 h 184"/>
              <a:gd name="T58" fmla="*/ 2147483647 w 156"/>
              <a:gd name="T59" fmla="*/ 2147483647 h 184"/>
              <a:gd name="T60" fmla="*/ 2147483647 w 156"/>
              <a:gd name="T61" fmla="*/ 2147483647 h 184"/>
              <a:gd name="T62" fmla="*/ 2147483647 w 156"/>
              <a:gd name="T63" fmla="*/ 2147483647 h 184"/>
              <a:gd name="T64" fmla="*/ 2147483647 w 156"/>
              <a:gd name="T65" fmla="*/ 2147483647 h 184"/>
              <a:gd name="T66" fmla="*/ 2147483647 w 156"/>
              <a:gd name="T67" fmla="*/ 2147483647 h 184"/>
              <a:gd name="T68" fmla="*/ 2147483647 w 156"/>
              <a:gd name="T69" fmla="*/ 2147483647 h 184"/>
              <a:gd name="T70" fmla="*/ 2147483647 w 156"/>
              <a:gd name="T71" fmla="*/ 2147483647 h 184"/>
              <a:gd name="T72" fmla="*/ 2147483647 w 156"/>
              <a:gd name="T73" fmla="*/ 2147483647 h 184"/>
              <a:gd name="T74" fmla="*/ 2147483647 w 156"/>
              <a:gd name="T75" fmla="*/ 2147483647 h 184"/>
              <a:gd name="T76" fmla="*/ 2147483647 w 156"/>
              <a:gd name="T77" fmla="*/ 2147483647 h 184"/>
              <a:gd name="T78" fmla="*/ 2147483647 w 156"/>
              <a:gd name="T79" fmla="*/ 2147483647 h 184"/>
              <a:gd name="T80" fmla="*/ 2147483647 w 156"/>
              <a:gd name="T81" fmla="*/ 2147483647 h 184"/>
              <a:gd name="T82" fmla="*/ 2147483647 w 156"/>
              <a:gd name="T83" fmla="*/ 2147483647 h 184"/>
              <a:gd name="T84" fmla="*/ 2147483647 w 156"/>
              <a:gd name="T85" fmla="*/ 2147483647 h 184"/>
              <a:gd name="T86" fmla="*/ 2147483647 w 156"/>
              <a:gd name="T87" fmla="*/ 2147483647 h 184"/>
              <a:gd name="T88" fmla="*/ 2147483647 w 156"/>
              <a:gd name="T89" fmla="*/ 2147483647 h 18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6"/>
              <a:gd name="T136" fmla="*/ 0 h 184"/>
              <a:gd name="T137" fmla="*/ 156 w 156"/>
              <a:gd name="T138" fmla="*/ 184 h 18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6" h="184">
                <a:moveTo>
                  <a:pt x="64" y="184"/>
                </a:moveTo>
                <a:lnTo>
                  <a:pt x="62" y="182"/>
                </a:lnTo>
                <a:lnTo>
                  <a:pt x="60" y="178"/>
                </a:lnTo>
                <a:lnTo>
                  <a:pt x="56" y="172"/>
                </a:lnTo>
                <a:lnTo>
                  <a:pt x="54" y="165"/>
                </a:lnTo>
                <a:lnTo>
                  <a:pt x="52" y="163"/>
                </a:lnTo>
                <a:lnTo>
                  <a:pt x="50" y="159"/>
                </a:lnTo>
                <a:lnTo>
                  <a:pt x="47" y="157"/>
                </a:lnTo>
                <a:lnTo>
                  <a:pt x="45" y="155"/>
                </a:lnTo>
                <a:lnTo>
                  <a:pt x="43" y="151"/>
                </a:lnTo>
                <a:lnTo>
                  <a:pt x="41" y="149"/>
                </a:lnTo>
                <a:lnTo>
                  <a:pt x="37" y="147"/>
                </a:lnTo>
                <a:lnTo>
                  <a:pt x="35" y="145"/>
                </a:lnTo>
                <a:lnTo>
                  <a:pt x="33" y="143"/>
                </a:lnTo>
                <a:lnTo>
                  <a:pt x="31" y="140"/>
                </a:lnTo>
                <a:lnTo>
                  <a:pt x="25" y="130"/>
                </a:lnTo>
                <a:lnTo>
                  <a:pt x="22" y="120"/>
                </a:lnTo>
                <a:lnTo>
                  <a:pt x="23" y="118"/>
                </a:lnTo>
                <a:lnTo>
                  <a:pt x="25" y="117"/>
                </a:lnTo>
                <a:lnTo>
                  <a:pt x="29" y="111"/>
                </a:lnTo>
                <a:lnTo>
                  <a:pt x="29" y="97"/>
                </a:lnTo>
                <a:lnTo>
                  <a:pt x="29" y="84"/>
                </a:lnTo>
                <a:lnTo>
                  <a:pt x="25" y="78"/>
                </a:lnTo>
                <a:lnTo>
                  <a:pt x="23" y="74"/>
                </a:lnTo>
                <a:lnTo>
                  <a:pt x="22" y="72"/>
                </a:lnTo>
                <a:lnTo>
                  <a:pt x="18" y="65"/>
                </a:lnTo>
                <a:lnTo>
                  <a:pt x="16" y="57"/>
                </a:lnTo>
                <a:lnTo>
                  <a:pt x="14" y="55"/>
                </a:lnTo>
                <a:lnTo>
                  <a:pt x="10" y="53"/>
                </a:lnTo>
                <a:lnTo>
                  <a:pt x="8" y="46"/>
                </a:lnTo>
                <a:lnTo>
                  <a:pt x="6" y="38"/>
                </a:lnTo>
                <a:lnTo>
                  <a:pt x="4" y="36"/>
                </a:lnTo>
                <a:lnTo>
                  <a:pt x="0" y="34"/>
                </a:lnTo>
                <a:lnTo>
                  <a:pt x="0" y="28"/>
                </a:lnTo>
                <a:lnTo>
                  <a:pt x="0" y="24"/>
                </a:lnTo>
                <a:lnTo>
                  <a:pt x="4" y="23"/>
                </a:lnTo>
                <a:lnTo>
                  <a:pt x="6" y="19"/>
                </a:lnTo>
                <a:lnTo>
                  <a:pt x="8" y="9"/>
                </a:lnTo>
                <a:lnTo>
                  <a:pt x="10" y="0"/>
                </a:lnTo>
                <a:lnTo>
                  <a:pt x="20" y="0"/>
                </a:lnTo>
                <a:lnTo>
                  <a:pt x="31" y="0"/>
                </a:lnTo>
                <a:lnTo>
                  <a:pt x="33" y="9"/>
                </a:lnTo>
                <a:lnTo>
                  <a:pt x="35" y="19"/>
                </a:lnTo>
                <a:lnTo>
                  <a:pt x="37" y="23"/>
                </a:lnTo>
                <a:lnTo>
                  <a:pt x="41" y="24"/>
                </a:lnTo>
                <a:lnTo>
                  <a:pt x="50" y="24"/>
                </a:lnTo>
                <a:lnTo>
                  <a:pt x="60" y="24"/>
                </a:lnTo>
                <a:lnTo>
                  <a:pt x="62" y="23"/>
                </a:lnTo>
                <a:lnTo>
                  <a:pt x="64" y="19"/>
                </a:lnTo>
                <a:lnTo>
                  <a:pt x="70" y="38"/>
                </a:lnTo>
                <a:lnTo>
                  <a:pt x="73" y="57"/>
                </a:lnTo>
                <a:lnTo>
                  <a:pt x="77" y="61"/>
                </a:lnTo>
                <a:lnTo>
                  <a:pt x="79" y="63"/>
                </a:lnTo>
                <a:lnTo>
                  <a:pt x="91" y="65"/>
                </a:lnTo>
                <a:lnTo>
                  <a:pt x="104" y="67"/>
                </a:lnTo>
                <a:lnTo>
                  <a:pt x="106" y="71"/>
                </a:lnTo>
                <a:lnTo>
                  <a:pt x="108" y="72"/>
                </a:lnTo>
                <a:lnTo>
                  <a:pt x="110" y="80"/>
                </a:lnTo>
                <a:lnTo>
                  <a:pt x="112" y="88"/>
                </a:lnTo>
                <a:lnTo>
                  <a:pt x="116" y="90"/>
                </a:lnTo>
                <a:lnTo>
                  <a:pt x="118" y="92"/>
                </a:lnTo>
                <a:lnTo>
                  <a:pt x="119" y="99"/>
                </a:lnTo>
                <a:lnTo>
                  <a:pt x="121" y="107"/>
                </a:lnTo>
                <a:lnTo>
                  <a:pt x="125" y="109"/>
                </a:lnTo>
                <a:lnTo>
                  <a:pt x="127" y="111"/>
                </a:lnTo>
                <a:lnTo>
                  <a:pt x="129" y="113"/>
                </a:lnTo>
                <a:lnTo>
                  <a:pt x="133" y="117"/>
                </a:lnTo>
                <a:lnTo>
                  <a:pt x="135" y="118"/>
                </a:lnTo>
                <a:lnTo>
                  <a:pt x="137" y="120"/>
                </a:lnTo>
                <a:lnTo>
                  <a:pt x="139" y="122"/>
                </a:lnTo>
                <a:lnTo>
                  <a:pt x="142" y="126"/>
                </a:lnTo>
                <a:lnTo>
                  <a:pt x="144" y="128"/>
                </a:lnTo>
                <a:lnTo>
                  <a:pt x="146" y="130"/>
                </a:lnTo>
                <a:lnTo>
                  <a:pt x="150" y="140"/>
                </a:lnTo>
                <a:lnTo>
                  <a:pt x="156" y="149"/>
                </a:lnTo>
                <a:lnTo>
                  <a:pt x="154" y="151"/>
                </a:lnTo>
                <a:lnTo>
                  <a:pt x="152" y="155"/>
                </a:lnTo>
                <a:lnTo>
                  <a:pt x="139" y="157"/>
                </a:lnTo>
                <a:lnTo>
                  <a:pt x="127" y="159"/>
                </a:lnTo>
                <a:lnTo>
                  <a:pt x="125" y="163"/>
                </a:lnTo>
                <a:lnTo>
                  <a:pt x="121" y="165"/>
                </a:lnTo>
                <a:lnTo>
                  <a:pt x="110" y="166"/>
                </a:lnTo>
                <a:lnTo>
                  <a:pt x="98" y="168"/>
                </a:lnTo>
                <a:lnTo>
                  <a:pt x="94" y="172"/>
                </a:lnTo>
                <a:lnTo>
                  <a:pt x="93" y="174"/>
                </a:lnTo>
                <a:lnTo>
                  <a:pt x="87" y="176"/>
                </a:lnTo>
                <a:lnTo>
                  <a:pt x="79" y="178"/>
                </a:lnTo>
                <a:lnTo>
                  <a:pt x="77" y="182"/>
                </a:lnTo>
                <a:lnTo>
                  <a:pt x="73" y="184"/>
                </a:lnTo>
                <a:lnTo>
                  <a:pt x="70" y="184"/>
                </a:lnTo>
                <a:lnTo>
                  <a:pt x="64" y="184"/>
                </a:lnTo>
              </a:path>
            </a:pathLst>
          </a:custGeom>
          <a:solidFill>
            <a:schemeClr val="accent3"/>
          </a:solidFill>
          <a:ln w="12700">
            <a:solidFill>
              <a:schemeClr val="bg1"/>
            </a:solidFill>
            <a:round/>
            <a:headEnd/>
            <a:tailEnd/>
          </a:ln>
        </p:spPr>
        <p:txBody>
          <a:bodyPr/>
          <a:lstStyle/>
          <a:p>
            <a:endParaRPr lang="en-GB"/>
          </a:p>
        </p:txBody>
      </p:sp>
      <p:sp>
        <p:nvSpPr>
          <p:cNvPr id="67" name="Freeform 334"/>
          <p:cNvSpPr>
            <a:spLocks/>
          </p:cNvSpPr>
          <p:nvPr>
            <p:custDataLst>
              <p:tags r:id="rId51"/>
            </p:custDataLst>
          </p:nvPr>
        </p:nvSpPr>
        <p:spPr bwMode="auto">
          <a:xfrm>
            <a:off x="1745272" y="4065831"/>
            <a:ext cx="232715" cy="209026"/>
          </a:xfrm>
          <a:custGeom>
            <a:avLst/>
            <a:gdLst>
              <a:gd name="T0" fmla="*/ 2147483647 w 171"/>
              <a:gd name="T1" fmla="*/ 2147483647 h 160"/>
              <a:gd name="T2" fmla="*/ 2147483647 w 171"/>
              <a:gd name="T3" fmla="*/ 2147483647 h 160"/>
              <a:gd name="T4" fmla="*/ 2147483647 w 171"/>
              <a:gd name="T5" fmla="*/ 2147483647 h 160"/>
              <a:gd name="T6" fmla="*/ 2147483647 w 171"/>
              <a:gd name="T7" fmla="*/ 2147483647 h 160"/>
              <a:gd name="T8" fmla="*/ 2147483647 w 171"/>
              <a:gd name="T9" fmla="*/ 2147483647 h 160"/>
              <a:gd name="T10" fmla="*/ 2147483647 w 171"/>
              <a:gd name="T11" fmla="*/ 2147483647 h 160"/>
              <a:gd name="T12" fmla="*/ 2147483647 w 171"/>
              <a:gd name="T13" fmla="*/ 2147483647 h 160"/>
              <a:gd name="T14" fmla="*/ 2147483647 w 171"/>
              <a:gd name="T15" fmla="*/ 2147483647 h 160"/>
              <a:gd name="T16" fmla="*/ 2147483647 w 171"/>
              <a:gd name="T17" fmla="*/ 2147483647 h 160"/>
              <a:gd name="T18" fmla="*/ 2147483647 w 171"/>
              <a:gd name="T19" fmla="*/ 2147483647 h 160"/>
              <a:gd name="T20" fmla="*/ 2147483647 w 171"/>
              <a:gd name="T21" fmla="*/ 2147483647 h 160"/>
              <a:gd name="T22" fmla="*/ 2147483647 w 171"/>
              <a:gd name="T23" fmla="*/ 2147483647 h 160"/>
              <a:gd name="T24" fmla="*/ 2147483647 w 171"/>
              <a:gd name="T25" fmla="*/ 2147483647 h 160"/>
              <a:gd name="T26" fmla="*/ 2147483647 w 171"/>
              <a:gd name="T27" fmla="*/ 2147483647 h 160"/>
              <a:gd name="T28" fmla="*/ 2147483647 w 171"/>
              <a:gd name="T29" fmla="*/ 2147483647 h 160"/>
              <a:gd name="T30" fmla="*/ 2147483647 w 171"/>
              <a:gd name="T31" fmla="*/ 2147483647 h 160"/>
              <a:gd name="T32" fmla="*/ 2147483647 w 171"/>
              <a:gd name="T33" fmla="*/ 2147483647 h 160"/>
              <a:gd name="T34" fmla="*/ 2147483647 w 171"/>
              <a:gd name="T35" fmla="*/ 2147483647 h 160"/>
              <a:gd name="T36" fmla="*/ 2147483647 w 171"/>
              <a:gd name="T37" fmla="*/ 2147483647 h 160"/>
              <a:gd name="T38" fmla="*/ 2147483647 w 171"/>
              <a:gd name="T39" fmla="*/ 2147483647 h 160"/>
              <a:gd name="T40" fmla="*/ 2147483647 w 171"/>
              <a:gd name="T41" fmla="*/ 2147483647 h 160"/>
              <a:gd name="T42" fmla="*/ 2147483647 w 171"/>
              <a:gd name="T43" fmla="*/ 2147483647 h 160"/>
              <a:gd name="T44" fmla="*/ 2147483647 w 171"/>
              <a:gd name="T45" fmla="*/ 0 h 160"/>
              <a:gd name="T46" fmla="*/ 2147483647 w 171"/>
              <a:gd name="T47" fmla="*/ 2147483647 h 160"/>
              <a:gd name="T48" fmla="*/ 2147483647 w 171"/>
              <a:gd name="T49" fmla="*/ 2147483647 h 160"/>
              <a:gd name="T50" fmla="*/ 2147483647 w 171"/>
              <a:gd name="T51" fmla="*/ 2147483647 h 160"/>
              <a:gd name="T52" fmla="*/ 2147483647 w 171"/>
              <a:gd name="T53" fmla="*/ 2147483647 h 160"/>
              <a:gd name="T54" fmla="*/ 2147483647 w 171"/>
              <a:gd name="T55" fmla="*/ 2147483647 h 160"/>
              <a:gd name="T56" fmla="*/ 2147483647 w 171"/>
              <a:gd name="T57" fmla="*/ 2147483647 h 160"/>
              <a:gd name="T58" fmla="*/ 2147483647 w 171"/>
              <a:gd name="T59" fmla="*/ 2147483647 h 160"/>
              <a:gd name="T60" fmla="*/ 2147483647 w 171"/>
              <a:gd name="T61" fmla="*/ 2147483647 h 160"/>
              <a:gd name="T62" fmla="*/ 2147483647 w 171"/>
              <a:gd name="T63" fmla="*/ 2147483647 h 160"/>
              <a:gd name="T64" fmla="*/ 2147483647 w 171"/>
              <a:gd name="T65" fmla="*/ 2147483647 h 160"/>
              <a:gd name="T66" fmla="*/ 2147483647 w 171"/>
              <a:gd name="T67" fmla="*/ 2147483647 h 160"/>
              <a:gd name="T68" fmla="*/ 2147483647 w 171"/>
              <a:gd name="T69" fmla="*/ 2147483647 h 160"/>
              <a:gd name="T70" fmla="*/ 2147483647 w 171"/>
              <a:gd name="T71" fmla="*/ 2147483647 h 160"/>
              <a:gd name="T72" fmla="*/ 2147483647 w 171"/>
              <a:gd name="T73" fmla="*/ 2147483647 h 160"/>
              <a:gd name="T74" fmla="*/ 2147483647 w 171"/>
              <a:gd name="T75" fmla="*/ 2147483647 h 160"/>
              <a:gd name="T76" fmla="*/ 2147483647 w 171"/>
              <a:gd name="T77" fmla="*/ 2147483647 h 160"/>
              <a:gd name="T78" fmla="*/ 2147483647 w 171"/>
              <a:gd name="T79" fmla="*/ 2147483647 h 160"/>
              <a:gd name="T80" fmla="*/ 2147483647 w 171"/>
              <a:gd name="T81" fmla="*/ 2147483647 h 160"/>
              <a:gd name="T82" fmla="*/ 2147483647 w 171"/>
              <a:gd name="T83" fmla="*/ 2147483647 h 160"/>
              <a:gd name="T84" fmla="*/ 2147483647 w 171"/>
              <a:gd name="T85" fmla="*/ 2147483647 h 160"/>
              <a:gd name="T86" fmla="*/ 2147483647 w 171"/>
              <a:gd name="T87" fmla="*/ 2147483647 h 160"/>
              <a:gd name="T88" fmla="*/ 2147483647 w 171"/>
              <a:gd name="T89" fmla="*/ 2147483647 h 160"/>
              <a:gd name="T90" fmla="*/ 2147483647 w 171"/>
              <a:gd name="T91" fmla="*/ 2147483647 h 160"/>
              <a:gd name="T92" fmla="*/ 2147483647 w 171"/>
              <a:gd name="T93" fmla="*/ 2147483647 h 160"/>
              <a:gd name="T94" fmla="*/ 2147483647 w 171"/>
              <a:gd name="T95" fmla="*/ 2147483647 h 160"/>
              <a:gd name="T96" fmla="*/ 2147483647 w 171"/>
              <a:gd name="T97" fmla="*/ 2147483647 h 160"/>
              <a:gd name="T98" fmla="*/ 2147483647 w 171"/>
              <a:gd name="T99" fmla="*/ 2147483647 h 160"/>
              <a:gd name="T100" fmla="*/ 2147483647 w 171"/>
              <a:gd name="T101" fmla="*/ 2147483647 h 1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71"/>
              <a:gd name="T154" fmla="*/ 0 h 160"/>
              <a:gd name="T155" fmla="*/ 171 w 171"/>
              <a:gd name="T156" fmla="*/ 160 h 16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71" h="160">
                <a:moveTo>
                  <a:pt x="81" y="146"/>
                </a:moveTo>
                <a:lnTo>
                  <a:pt x="77" y="142"/>
                </a:lnTo>
                <a:lnTo>
                  <a:pt x="75" y="140"/>
                </a:lnTo>
                <a:lnTo>
                  <a:pt x="73" y="138"/>
                </a:lnTo>
                <a:lnTo>
                  <a:pt x="71" y="137"/>
                </a:lnTo>
                <a:lnTo>
                  <a:pt x="68" y="133"/>
                </a:lnTo>
                <a:lnTo>
                  <a:pt x="66" y="131"/>
                </a:lnTo>
                <a:lnTo>
                  <a:pt x="64" y="129"/>
                </a:lnTo>
                <a:lnTo>
                  <a:pt x="62" y="127"/>
                </a:lnTo>
                <a:lnTo>
                  <a:pt x="58" y="123"/>
                </a:lnTo>
                <a:lnTo>
                  <a:pt x="56" y="121"/>
                </a:lnTo>
                <a:lnTo>
                  <a:pt x="54" y="114"/>
                </a:lnTo>
                <a:lnTo>
                  <a:pt x="50" y="108"/>
                </a:lnTo>
                <a:lnTo>
                  <a:pt x="48" y="104"/>
                </a:lnTo>
                <a:lnTo>
                  <a:pt x="47" y="102"/>
                </a:lnTo>
                <a:lnTo>
                  <a:pt x="45" y="94"/>
                </a:lnTo>
                <a:lnTo>
                  <a:pt x="41" y="87"/>
                </a:lnTo>
                <a:lnTo>
                  <a:pt x="39" y="85"/>
                </a:lnTo>
                <a:lnTo>
                  <a:pt x="37" y="83"/>
                </a:lnTo>
                <a:lnTo>
                  <a:pt x="25" y="81"/>
                </a:lnTo>
                <a:lnTo>
                  <a:pt x="12" y="77"/>
                </a:lnTo>
                <a:lnTo>
                  <a:pt x="10" y="75"/>
                </a:lnTo>
                <a:lnTo>
                  <a:pt x="8" y="73"/>
                </a:lnTo>
                <a:lnTo>
                  <a:pt x="4" y="56"/>
                </a:lnTo>
                <a:lnTo>
                  <a:pt x="0" y="39"/>
                </a:lnTo>
                <a:lnTo>
                  <a:pt x="4" y="37"/>
                </a:lnTo>
                <a:lnTo>
                  <a:pt x="8" y="35"/>
                </a:lnTo>
                <a:lnTo>
                  <a:pt x="10" y="31"/>
                </a:lnTo>
                <a:lnTo>
                  <a:pt x="12" y="29"/>
                </a:lnTo>
                <a:lnTo>
                  <a:pt x="22" y="29"/>
                </a:lnTo>
                <a:lnTo>
                  <a:pt x="33" y="29"/>
                </a:lnTo>
                <a:lnTo>
                  <a:pt x="35" y="31"/>
                </a:lnTo>
                <a:lnTo>
                  <a:pt x="37" y="35"/>
                </a:lnTo>
                <a:lnTo>
                  <a:pt x="41" y="35"/>
                </a:lnTo>
                <a:lnTo>
                  <a:pt x="47" y="35"/>
                </a:lnTo>
                <a:lnTo>
                  <a:pt x="48" y="31"/>
                </a:lnTo>
                <a:lnTo>
                  <a:pt x="50" y="29"/>
                </a:lnTo>
                <a:lnTo>
                  <a:pt x="56" y="29"/>
                </a:lnTo>
                <a:lnTo>
                  <a:pt x="66" y="25"/>
                </a:lnTo>
                <a:lnTo>
                  <a:pt x="75" y="20"/>
                </a:lnTo>
                <a:lnTo>
                  <a:pt x="85" y="16"/>
                </a:lnTo>
                <a:lnTo>
                  <a:pt x="87" y="12"/>
                </a:lnTo>
                <a:lnTo>
                  <a:pt x="91" y="10"/>
                </a:lnTo>
                <a:lnTo>
                  <a:pt x="96" y="6"/>
                </a:lnTo>
                <a:lnTo>
                  <a:pt x="104" y="0"/>
                </a:lnTo>
                <a:lnTo>
                  <a:pt x="117" y="0"/>
                </a:lnTo>
                <a:lnTo>
                  <a:pt x="129" y="0"/>
                </a:lnTo>
                <a:lnTo>
                  <a:pt x="131" y="2"/>
                </a:lnTo>
                <a:lnTo>
                  <a:pt x="133" y="4"/>
                </a:lnTo>
                <a:lnTo>
                  <a:pt x="133" y="14"/>
                </a:lnTo>
                <a:lnTo>
                  <a:pt x="133" y="25"/>
                </a:lnTo>
                <a:lnTo>
                  <a:pt x="131" y="27"/>
                </a:lnTo>
                <a:lnTo>
                  <a:pt x="129" y="29"/>
                </a:lnTo>
                <a:lnTo>
                  <a:pt x="127" y="35"/>
                </a:lnTo>
                <a:lnTo>
                  <a:pt x="123" y="39"/>
                </a:lnTo>
                <a:lnTo>
                  <a:pt x="127" y="48"/>
                </a:lnTo>
                <a:lnTo>
                  <a:pt x="129" y="58"/>
                </a:lnTo>
                <a:lnTo>
                  <a:pt x="131" y="62"/>
                </a:lnTo>
                <a:lnTo>
                  <a:pt x="133" y="64"/>
                </a:lnTo>
                <a:lnTo>
                  <a:pt x="135" y="66"/>
                </a:lnTo>
                <a:lnTo>
                  <a:pt x="139" y="69"/>
                </a:lnTo>
                <a:lnTo>
                  <a:pt x="141" y="71"/>
                </a:lnTo>
                <a:lnTo>
                  <a:pt x="142" y="73"/>
                </a:lnTo>
                <a:lnTo>
                  <a:pt x="146" y="75"/>
                </a:lnTo>
                <a:lnTo>
                  <a:pt x="148" y="77"/>
                </a:lnTo>
                <a:lnTo>
                  <a:pt x="150" y="81"/>
                </a:lnTo>
                <a:lnTo>
                  <a:pt x="154" y="83"/>
                </a:lnTo>
                <a:lnTo>
                  <a:pt x="158" y="89"/>
                </a:lnTo>
                <a:lnTo>
                  <a:pt x="164" y="94"/>
                </a:lnTo>
                <a:lnTo>
                  <a:pt x="165" y="102"/>
                </a:lnTo>
                <a:lnTo>
                  <a:pt x="167" y="108"/>
                </a:lnTo>
                <a:lnTo>
                  <a:pt x="169" y="110"/>
                </a:lnTo>
                <a:lnTo>
                  <a:pt x="171" y="112"/>
                </a:lnTo>
                <a:lnTo>
                  <a:pt x="169" y="114"/>
                </a:lnTo>
                <a:lnTo>
                  <a:pt x="167" y="117"/>
                </a:lnTo>
                <a:lnTo>
                  <a:pt x="165" y="119"/>
                </a:lnTo>
                <a:lnTo>
                  <a:pt x="162" y="121"/>
                </a:lnTo>
                <a:lnTo>
                  <a:pt x="160" y="123"/>
                </a:lnTo>
                <a:lnTo>
                  <a:pt x="158" y="127"/>
                </a:lnTo>
                <a:lnTo>
                  <a:pt x="156" y="133"/>
                </a:lnTo>
                <a:lnTo>
                  <a:pt x="154" y="140"/>
                </a:lnTo>
                <a:lnTo>
                  <a:pt x="150" y="142"/>
                </a:lnTo>
                <a:lnTo>
                  <a:pt x="148" y="146"/>
                </a:lnTo>
                <a:lnTo>
                  <a:pt x="142" y="146"/>
                </a:lnTo>
                <a:lnTo>
                  <a:pt x="139" y="146"/>
                </a:lnTo>
                <a:lnTo>
                  <a:pt x="135" y="142"/>
                </a:lnTo>
                <a:lnTo>
                  <a:pt x="133" y="140"/>
                </a:lnTo>
                <a:lnTo>
                  <a:pt x="129" y="138"/>
                </a:lnTo>
                <a:lnTo>
                  <a:pt x="119" y="137"/>
                </a:lnTo>
                <a:lnTo>
                  <a:pt x="110" y="138"/>
                </a:lnTo>
                <a:lnTo>
                  <a:pt x="104" y="140"/>
                </a:lnTo>
                <a:lnTo>
                  <a:pt x="102" y="142"/>
                </a:lnTo>
                <a:lnTo>
                  <a:pt x="100" y="146"/>
                </a:lnTo>
                <a:lnTo>
                  <a:pt x="98" y="148"/>
                </a:lnTo>
                <a:lnTo>
                  <a:pt x="98" y="154"/>
                </a:lnTo>
                <a:lnTo>
                  <a:pt x="96" y="156"/>
                </a:lnTo>
                <a:lnTo>
                  <a:pt x="96" y="158"/>
                </a:lnTo>
                <a:lnTo>
                  <a:pt x="94" y="160"/>
                </a:lnTo>
                <a:lnTo>
                  <a:pt x="91" y="160"/>
                </a:lnTo>
                <a:lnTo>
                  <a:pt x="85" y="156"/>
                </a:lnTo>
                <a:lnTo>
                  <a:pt x="83" y="152"/>
                </a:lnTo>
                <a:lnTo>
                  <a:pt x="81" y="148"/>
                </a:lnTo>
                <a:lnTo>
                  <a:pt x="81" y="146"/>
                </a:lnTo>
              </a:path>
            </a:pathLst>
          </a:custGeom>
          <a:solidFill>
            <a:schemeClr val="accent3"/>
          </a:solidFill>
          <a:ln w="12700">
            <a:solidFill>
              <a:schemeClr val="bg1"/>
            </a:solidFill>
            <a:round/>
            <a:headEnd/>
            <a:tailEnd/>
          </a:ln>
        </p:spPr>
        <p:txBody>
          <a:bodyPr/>
          <a:lstStyle/>
          <a:p>
            <a:endParaRPr lang="en-GB"/>
          </a:p>
        </p:txBody>
      </p:sp>
      <p:sp>
        <p:nvSpPr>
          <p:cNvPr id="68" name="Freeform 335"/>
          <p:cNvSpPr>
            <a:spLocks/>
          </p:cNvSpPr>
          <p:nvPr>
            <p:custDataLst>
              <p:tags r:id="rId52"/>
            </p:custDataLst>
          </p:nvPr>
        </p:nvSpPr>
        <p:spPr bwMode="auto">
          <a:xfrm>
            <a:off x="1926428" y="4015665"/>
            <a:ext cx="367886" cy="231322"/>
          </a:xfrm>
          <a:custGeom>
            <a:avLst/>
            <a:gdLst>
              <a:gd name="T0" fmla="*/ 2147483647 w 270"/>
              <a:gd name="T1" fmla="*/ 2147483647 h 175"/>
              <a:gd name="T2" fmla="*/ 2147483647 w 270"/>
              <a:gd name="T3" fmla="*/ 2147483647 h 175"/>
              <a:gd name="T4" fmla="*/ 2147483647 w 270"/>
              <a:gd name="T5" fmla="*/ 2147483647 h 175"/>
              <a:gd name="T6" fmla="*/ 2147483647 w 270"/>
              <a:gd name="T7" fmla="*/ 2147483647 h 175"/>
              <a:gd name="T8" fmla="*/ 2147483647 w 270"/>
              <a:gd name="T9" fmla="*/ 2147483647 h 175"/>
              <a:gd name="T10" fmla="*/ 2147483647 w 270"/>
              <a:gd name="T11" fmla="*/ 2147483647 h 175"/>
              <a:gd name="T12" fmla="*/ 2147483647 w 270"/>
              <a:gd name="T13" fmla="*/ 2147483647 h 175"/>
              <a:gd name="T14" fmla="*/ 2147483647 w 270"/>
              <a:gd name="T15" fmla="*/ 2147483647 h 175"/>
              <a:gd name="T16" fmla="*/ 2147483647 w 270"/>
              <a:gd name="T17" fmla="*/ 2147483647 h 175"/>
              <a:gd name="T18" fmla="*/ 2147483647 w 270"/>
              <a:gd name="T19" fmla="*/ 2147483647 h 175"/>
              <a:gd name="T20" fmla="*/ 2147483647 w 270"/>
              <a:gd name="T21" fmla="*/ 2147483647 h 175"/>
              <a:gd name="T22" fmla="*/ 0 w 270"/>
              <a:gd name="T23" fmla="*/ 2147483647 h 175"/>
              <a:gd name="T24" fmla="*/ 0 w 270"/>
              <a:gd name="T25" fmla="*/ 2147483647 h 175"/>
              <a:gd name="T26" fmla="*/ 2147483647 w 270"/>
              <a:gd name="T27" fmla="*/ 2147483647 h 175"/>
              <a:gd name="T28" fmla="*/ 2147483647 w 270"/>
              <a:gd name="T29" fmla="*/ 2147483647 h 175"/>
              <a:gd name="T30" fmla="*/ 0 w 270"/>
              <a:gd name="T31" fmla="*/ 2147483647 h 175"/>
              <a:gd name="T32" fmla="*/ 0 w 270"/>
              <a:gd name="T33" fmla="*/ 2147483647 h 175"/>
              <a:gd name="T34" fmla="*/ 2147483647 w 270"/>
              <a:gd name="T35" fmla="*/ 2147483647 h 175"/>
              <a:gd name="T36" fmla="*/ 2147483647 w 270"/>
              <a:gd name="T37" fmla="*/ 0 h 175"/>
              <a:gd name="T38" fmla="*/ 2147483647 w 270"/>
              <a:gd name="T39" fmla="*/ 0 h 175"/>
              <a:gd name="T40" fmla="*/ 2147483647 w 270"/>
              <a:gd name="T41" fmla="*/ 2147483647 h 175"/>
              <a:gd name="T42" fmla="*/ 2147483647 w 270"/>
              <a:gd name="T43" fmla="*/ 2147483647 h 175"/>
              <a:gd name="T44" fmla="*/ 2147483647 w 270"/>
              <a:gd name="T45" fmla="*/ 0 h 175"/>
              <a:gd name="T46" fmla="*/ 2147483647 w 270"/>
              <a:gd name="T47" fmla="*/ 2147483647 h 175"/>
              <a:gd name="T48" fmla="*/ 2147483647 w 270"/>
              <a:gd name="T49" fmla="*/ 2147483647 h 175"/>
              <a:gd name="T50" fmla="*/ 2147483647 w 270"/>
              <a:gd name="T51" fmla="*/ 2147483647 h 175"/>
              <a:gd name="T52" fmla="*/ 2147483647 w 270"/>
              <a:gd name="T53" fmla="*/ 2147483647 h 175"/>
              <a:gd name="T54" fmla="*/ 2147483647 w 270"/>
              <a:gd name="T55" fmla="*/ 2147483647 h 175"/>
              <a:gd name="T56" fmla="*/ 2147483647 w 270"/>
              <a:gd name="T57" fmla="*/ 2147483647 h 175"/>
              <a:gd name="T58" fmla="*/ 2147483647 w 270"/>
              <a:gd name="T59" fmla="*/ 2147483647 h 175"/>
              <a:gd name="T60" fmla="*/ 2147483647 w 270"/>
              <a:gd name="T61" fmla="*/ 2147483647 h 175"/>
              <a:gd name="T62" fmla="*/ 2147483647 w 270"/>
              <a:gd name="T63" fmla="*/ 2147483647 h 175"/>
              <a:gd name="T64" fmla="*/ 2147483647 w 270"/>
              <a:gd name="T65" fmla="*/ 2147483647 h 175"/>
              <a:gd name="T66" fmla="*/ 2147483647 w 270"/>
              <a:gd name="T67" fmla="*/ 2147483647 h 175"/>
              <a:gd name="T68" fmla="*/ 2147483647 w 270"/>
              <a:gd name="T69" fmla="*/ 2147483647 h 175"/>
              <a:gd name="T70" fmla="*/ 2147483647 w 270"/>
              <a:gd name="T71" fmla="*/ 2147483647 h 175"/>
              <a:gd name="T72" fmla="*/ 2147483647 w 270"/>
              <a:gd name="T73" fmla="*/ 2147483647 h 175"/>
              <a:gd name="T74" fmla="*/ 2147483647 w 270"/>
              <a:gd name="T75" fmla="*/ 2147483647 h 175"/>
              <a:gd name="T76" fmla="*/ 2147483647 w 270"/>
              <a:gd name="T77" fmla="*/ 2147483647 h 175"/>
              <a:gd name="T78" fmla="*/ 2147483647 w 270"/>
              <a:gd name="T79" fmla="*/ 2147483647 h 175"/>
              <a:gd name="T80" fmla="*/ 2147483647 w 270"/>
              <a:gd name="T81" fmla="*/ 2147483647 h 175"/>
              <a:gd name="T82" fmla="*/ 2147483647 w 270"/>
              <a:gd name="T83" fmla="*/ 2147483647 h 175"/>
              <a:gd name="T84" fmla="*/ 2147483647 w 270"/>
              <a:gd name="T85" fmla="*/ 2147483647 h 175"/>
              <a:gd name="T86" fmla="*/ 2147483647 w 270"/>
              <a:gd name="T87" fmla="*/ 2147483647 h 175"/>
              <a:gd name="T88" fmla="*/ 2147483647 w 270"/>
              <a:gd name="T89" fmla="*/ 2147483647 h 1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175"/>
              <a:gd name="T137" fmla="*/ 270 w 270"/>
              <a:gd name="T138" fmla="*/ 175 h 1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175">
                <a:moveTo>
                  <a:pt x="149" y="175"/>
                </a:moveTo>
                <a:lnTo>
                  <a:pt x="148" y="171"/>
                </a:lnTo>
                <a:lnTo>
                  <a:pt x="146" y="169"/>
                </a:lnTo>
                <a:lnTo>
                  <a:pt x="144" y="167"/>
                </a:lnTo>
                <a:lnTo>
                  <a:pt x="140" y="165"/>
                </a:lnTo>
                <a:lnTo>
                  <a:pt x="138" y="161"/>
                </a:lnTo>
                <a:lnTo>
                  <a:pt x="136" y="159"/>
                </a:lnTo>
                <a:lnTo>
                  <a:pt x="134" y="157"/>
                </a:lnTo>
                <a:lnTo>
                  <a:pt x="130" y="155"/>
                </a:lnTo>
                <a:lnTo>
                  <a:pt x="128" y="152"/>
                </a:lnTo>
                <a:lnTo>
                  <a:pt x="126" y="150"/>
                </a:lnTo>
                <a:lnTo>
                  <a:pt x="117" y="150"/>
                </a:lnTo>
                <a:lnTo>
                  <a:pt x="107" y="150"/>
                </a:lnTo>
                <a:lnTo>
                  <a:pt x="105" y="152"/>
                </a:lnTo>
                <a:lnTo>
                  <a:pt x="102" y="155"/>
                </a:lnTo>
                <a:lnTo>
                  <a:pt x="88" y="152"/>
                </a:lnTo>
                <a:lnTo>
                  <a:pt x="73" y="150"/>
                </a:lnTo>
                <a:lnTo>
                  <a:pt x="59" y="148"/>
                </a:lnTo>
                <a:lnTo>
                  <a:pt x="44" y="146"/>
                </a:lnTo>
                <a:lnTo>
                  <a:pt x="42" y="142"/>
                </a:lnTo>
                <a:lnTo>
                  <a:pt x="38" y="140"/>
                </a:lnTo>
                <a:lnTo>
                  <a:pt x="36" y="130"/>
                </a:lnTo>
                <a:lnTo>
                  <a:pt x="34" y="125"/>
                </a:lnTo>
                <a:lnTo>
                  <a:pt x="31" y="121"/>
                </a:lnTo>
                <a:lnTo>
                  <a:pt x="25" y="115"/>
                </a:lnTo>
                <a:lnTo>
                  <a:pt x="23" y="113"/>
                </a:lnTo>
                <a:lnTo>
                  <a:pt x="21" y="111"/>
                </a:lnTo>
                <a:lnTo>
                  <a:pt x="17" y="109"/>
                </a:lnTo>
                <a:lnTo>
                  <a:pt x="15" y="107"/>
                </a:lnTo>
                <a:lnTo>
                  <a:pt x="13" y="104"/>
                </a:lnTo>
                <a:lnTo>
                  <a:pt x="9" y="102"/>
                </a:lnTo>
                <a:lnTo>
                  <a:pt x="8" y="100"/>
                </a:lnTo>
                <a:lnTo>
                  <a:pt x="6" y="96"/>
                </a:lnTo>
                <a:lnTo>
                  <a:pt x="2" y="94"/>
                </a:lnTo>
                <a:lnTo>
                  <a:pt x="0" y="92"/>
                </a:lnTo>
                <a:lnTo>
                  <a:pt x="0" y="84"/>
                </a:lnTo>
                <a:lnTo>
                  <a:pt x="0" y="77"/>
                </a:lnTo>
                <a:lnTo>
                  <a:pt x="0" y="75"/>
                </a:lnTo>
                <a:lnTo>
                  <a:pt x="0" y="73"/>
                </a:lnTo>
                <a:lnTo>
                  <a:pt x="2" y="69"/>
                </a:lnTo>
                <a:lnTo>
                  <a:pt x="6" y="67"/>
                </a:lnTo>
                <a:lnTo>
                  <a:pt x="8" y="63"/>
                </a:lnTo>
                <a:lnTo>
                  <a:pt x="9" y="54"/>
                </a:lnTo>
                <a:lnTo>
                  <a:pt x="8" y="42"/>
                </a:lnTo>
                <a:lnTo>
                  <a:pt x="6" y="38"/>
                </a:lnTo>
                <a:lnTo>
                  <a:pt x="2" y="36"/>
                </a:lnTo>
                <a:lnTo>
                  <a:pt x="0" y="34"/>
                </a:lnTo>
                <a:lnTo>
                  <a:pt x="0" y="31"/>
                </a:lnTo>
                <a:lnTo>
                  <a:pt x="0" y="29"/>
                </a:lnTo>
                <a:lnTo>
                  <a:pt x="0" y="27"/>
                </a:lnTo>
                <a:lnTo>
                  <a:pt x="0" y="25"/>
                </a:lnTo>
                <a:lnTo>
                  <a:pt x="2" y="21"/>
                </a:lnTo>
                <a:lnTo>
                  <a:pt x="6" y="19"/>
                </a:lnTo>
                <a:lnTo>
                  <a:pt x="8" y="10"/>
                </a:lnTo>
                <a:lnTo>
                  <a:pt x="9" y="0"/>
                </a:lnTo>
                <a:lnTo>
                  <a:pt x="25" y="0"/>
                </a:lnTo>
                <a:lnTo>
                  <a:pt x="38" y="0"/>
                </a:lnTo>
                <a:lnTo>
                  <a:pt x="44" y="0"/>
                </a:lnTo>
                <a:lnTo>
                  <a:pt x="50" y="0"/>
                </a:lnTo>
                <a:lnTo>
                  <a:pt x="54" y="0"/>
                </a:lnTo>
                <a:lnTo>
                  <a:pt x="59" y="0"/>
                </a:lnTo>
                <a:lnTo>
                  <a:pt x="59" y="4"/>
                </a:lnTo>
                <a:lnTo>
                  <a:pt x="59" y="10"/>
                </a:lnTo>
                <a:lnTo>
                  <a:pt x="73" y="10"/>
                </a:lnTo>
                <a:lnTo>
                  <a:pt x="88" y="10"/>
                </a:lnTo>
                <a:lnTo>
                  <a:pt x="88" y="4"/>
                </a:lnTo>
                <a:lnTo>
                  <a:pt x="88" y="0"/>
                </a:lnTo>
                <a:lnTo>
                  <a:pt x="92" y="0"/>
                </a:lnTo>
                <a:lnTo>
                  <a:pt x="98" y="0"/>
                </a:lnTo>
                <a:lnTo>
                  <a:pt x="100" y="4"/>
                </a:lnTo>
                <a:lnTo>
                  <a:pt x="102" y="10"/>
                </a:lnTo>
                <a:lnTo>
                  <a:pt x="105" y="11"/>
                </a:lnTo>
                <a:lnTo>
                  <a:pt x="107" y="13"/>
                </a:lnTo>
                <a:lnTo>
                  <a:pt x="109" y="17"/>
                </a:lnTo>
                <a:lnTo>
                  <a:pt x="111" y="19"/>
                </a:lnTo>
                <a:lnTo>
                  <a:pt x="113" y="21"/>
                </a:lnTo>
                <a:lnTo>
                  <a:pt x="117" y="25"/>
                </a:lnTo>
                <a:lnTo>
                  <a:pt x="119" y="27"/>
                </a:lnTo>
                <a:lnTo>
                  <a:pt x="121" y="29"/>
                </a:lnTo>
                <a:lnTo>
                  <a:pt x="123" y="31"/>
                </a:lnTo>
                <a:lnTo>
                  <a:pt x="126" y="34"/>
                </a:lnTo>
                <a:lnTo>
                  <a:pt x="128" y="36"/>
                </a:lnTo>
                <a:lnTo>
                  <a:pt x="130" y="38"/>
                </a:lnTo>
                <a:lnTo>
                  <a:pt x="134" y="40"/>
                </a:lnTo>
                <a:lnTo>
                  <a:pt x="136" y="42"/>
                </a:lnTo>
                <a:lnTo>
                  <a:pt x="138" y="46"/>
                </a:lnTo>
                <a:lnTo>
                  <a:pt x="140" y="48"/>
                </a:lnTo>
                <a:lnTo>
                  <a:pt x="144" y="50"/>
                </a:lnTo>
                <a:lnTo>
                  <a:pt x="146" y="54"/>
                </a:lnTo>
                <a:lnTo>
                  <a:pt x="148" y="56"/>
                </a:lnTo>
                <a:lnTo>
                  <a:pt x="149" y="58"/>
                </a:lnTo>
                <a:lnTo>
                  <a:pt x="153" y="59"/>
                </a:lnTo>
                <a:lnTo>
                  <a:pt x="155" y="63"/>
                </a:lnTo>
                <a:lnTo>
                  <a:pt x="157" y="65"/>
                </a:lnTo>
                <a:lnTo>
                  <a:pt x="161" y="67"/>
                </a:lnTo>
                <a:lnTo>
                  <a:pt x="163" y="69"/>
                </a:lnTo>
                <a:lnTo>
                  <a:pt x="165" y="73"/>
                </a:lnTo>
                <a:lnTo>
                  <a:pt x="173" y="75"/>
                </a:lnTo>
                <a:lnTo>
                  <a:pt x="180" y="77"/>
                </a:lnTo>
                <a:lnTo>
                  <a:pt x="182" y="81"/>
                </a:lnTo>
                <a:lnTo>
                  <a:pt x="184" y="82"/>
                </a:lnTo>
                <a:lnTo>
                  <a:pt x="192" y="84"/>
                </a:lnTo>
                <a:lnTo>
                  <a:pt x="199" y="86"/>
                </a:lnTo>
                <a:lnTo>
                  <a:pt x="201" y="88"/>
                </a:lnTo>
                <a:lnTo>
                  <a:pt x="203" y="92"/>
                </a:lnTo>
                <a:lnTo>
                  <a:pt x="211" y="94"/>
                </a:lnTo>
                <a:lnTo>
                  <a:pt x="228" y="96"/>
                </a:lnTo>
                <a:lnTo>
                  <a:pt x="245" y="94"/>
                </a:lnTo>
                <a:lnTo>
                  <a:pt x="253" y="92"/>
                </a:lnTo>
                <a:lnTo>
                  <a:pt x="255" y="88"/>
                </a:lnTo>
                <a:lnTo>
                  <a:pt x="257" y="86"/>
                </a:lnTo>
                <a:lnTo>
                  <a:pt x="259" y="79"/>
                </a:lnTo>
                <a:lnTo>
                  <a:pt x="261" y="73"/>
                </a:lnTo>
                <a:lnTo>
                  <a:pt x="265" y="69"/>
                </a:lnTo>
                <a:lnTo>
                  <a:pt x="267" y="67"/>
                </a:lnTo>
                <a:lnTo>
                  <a:pt x="268" y="88"/>
                </a:lnTo>
                <a:lnTo>
                  <a:pt x="270" y="111"/>
                </a:lnTo>
                <a:lnTo>
                  <a:pt x="268" y="113"/>
                </a:lnTo>
                <a:lnTo>
                  <a:pt x="267" y="115"/>
                </a:lnTo>
                <a:lnTo>
                  <a:pt x="265" y="129"/>
                </a:lnTo>
                <a:lnTo>
                  <a:pt x="261" y="140"/>
                </a:lnTo>
                <a:lnTo>
                  <a:pt x="259" y="142"/>
                </a:lnTo>
                <a:lnTo>
                  <a:pt x="257" y="146"/>
                </a:lnTo>
                <a:lnTo>
                  <a:pt x="255" y="148"/>
                </a:lnTo>
                <a:lnTo>
                  <a:pt x="253" y="150"/>
                </a:lnTo>
                <a:lnTo>
                  <a:pt x="249" y="152"/>
                </a:lnTo>
                <a:lnTo>
                  <a:pt x="247" y="155"/>
                </a:lnTo>
                <a:lnTo>
                  <a:pt x="220" y="157"/>
                </a:lnTo>
                <a:lnTo>
                  <a:pt x="194" y="159"/>
                </a:lnTo>
                <a:lnTo>
                  <a:pt x="192" y="161"/>
                </a:lnTo>
                <a:lnTo>
                  <a:pt x="190" y="165"/>
                </a:lnTo>
                <a:lnTo>
                  <a:pt x="186" y="167"/>
                </a:lnTo>
                <a:lnTo>
                  <a:pt x="184" y="169"/>
                </a:lnTo>
                <a:lnTo>
                  <a:pt x="182" y="171"/>
                </a:lnTo>
                <a:lnTo>
                  <a:pt x="180" y="175"/>
                </a:lnTo>
                <a:lnTo>
                  <a:pt x="165" y="175"/>
                </a:lnTo>
                <a:lnTo>
                  <a:pt x="149" y="175"/>
                </a:lnTo>
              </a:path>
            </a:pathLst>
          </a:custGeom>
          <a:solidFill>
            <a:schemeClr val="accent3"/>
          </a:solidFill>
          <a:ln w="12700">
            <a:solidFill>
              <a:schemeClr val="bg1"/>
            </a:solidFill>
            <a:round/>
            <a:headEnd/>
            <a:tailEnd/>
          </a:ln>
        </p:spPr>
        <p:txBody>
          <a:bodyPr/>
          <a:lstStyle/>
          <a:p>
            <a:endParaRPr lang="en-GB"/>
          </a:p>
        </p:txBody>
      </p:sp>
      <p:sp>
        <p:nvSpPr>
          <p:cNvPr id="69" name="Freeform 336"/>
          <p:cNvSpPr>
            <a:spLocks/>
          </p:cNvSpPr>
          <p:nvPr>
            <p:custDataLst>
              <p:tags r:id="rId53"/>
            </p:custDataLst>
          </p:nvPr>
        </p:nvSpPr>
        <p:spPr bwMode="auto">
          <a:xfrm>
            <a:off x="1716008" y="3607368"/>
            <a:ext cx="673064" cy="521172"/>
          </a:xfrm>
          <a:custGeom>
            <a:avLst/>
            <a:gdLst>
              <a:gd name="T0" fmla="*/ 2147483647 w 493"/>
              <a:gd name="T1" fmla="*/ 2147483647 h 395"/>
              <a:gd name="T2" fmla="*/ 2147483647 w 493"/>
              <a:gd name="T3" fmla="*/ 2147483647 h 395"/>
              <a:gd name="T4" fmla="*/ 2147483647 w 493"/>
              <a:gd name="T5" fmla="*/ 2147483647 h 395"/>
              <a:gd name="T6" fmla="*/ 2147483647 w 493"/>
              <a:gd name="T7" fmla="*/ 2147483647 h 395"/>
              <a:gd name="T8" fmla="*/ 2147483647 w 493"/>
              <a:gd name="T9" fmla="*/ 2147483647 h 395"/>
              <a:gd name="T10" fmla="*/ 2147483647 w 493"/>
              <a:gd name="T11" fmla="*/ 2147483647 h 395"/>
              <a:gd name="T12" fmla="*/ 2147483647 w 493"/>
              <a:gd name="T13" fmla="*/ 2147483647 h 395"/>
              <a:gd name="T14" fmla="*/ 2147483647 w 493"/>
              <a:gd name="T15" fmla="*/ 2147483647 h 395"/>
              <a:gd name="T16" fmla="*/ 2147483647 w 493"/>
              <a:gd name="T17" fmla="*/ 2147483647 h 395"/>
              <a:gd name="T18" fmla="*/ 2147483647 w 493"/>
              <a:gd name="T19" fmla="*/ 2147483647 h 395"/>
              <a:gd name="T20" fmla="*/ 2147483647 w 493"/>
              <a:gd name="T21" fmla="*/ 2147483647 h 395"/>
              <a:gd name="T22" fmla="*/ 2147483647 w 493"/>
              <a:gd name="T23" fmla="*/ 2147483647 h 395"/>
              <a:gd name="T24" fmla="*/ 2147483647 w 493"/>
              <a:gd name="T25" fmla="*/ 2147483647 h 395"/>
              <a:gd name="T26" fmla="*/ 2147483647 w 493"/>
              <a:gd name="T27" fmla="*/ 2147483647 h 395"/>
              <a:gd name="T28" fmla="*/ 2147483647 w 493"/>
              <a:gd name="T29" fmla="*/ 2147483647 h 395"/>
              <a:gd name="T30" fmla="*/ 2147483647 w 493"/>
              <a:gd name="T31" fmla="*/ 2147483647 h 395"/>
              <a:gd name="T32" fmla="*/ 2147483647 w 493"/>
              <a:gd name="T33" fmla="*/ 2147483647 h 395"/>
              <a:gd name="T34" fmla="*/ 2147483647 w 493"/>
              <a:gd name="T35" fmla="*/ 2147483647 h 395"/>
              <a:gd name="T36" fmla="*/ 2147483647 w 493"/>
              <a:gd name="T37" fmla="*/ 2147483647 h 395"/>
              <a:gd name="T38" fmla="*/ 2147483647 w 493"/>
              <a:gd name="T39" fmla="*/ 2147483647 h 395"/>
              <a:gd name="T40" fmla="*/ 2147483647 w 493"/>
              <a:gd name="T41" fmla="*/ 2147483647 h 395"/>
              <a:gd name="T42" fmla="*/ 2147483647 w 493"/>
              <a:gd name="T43" fmla="*/ 2147483647 h 395"/>
              <a:gd name="T44" fmla="*/ 2147483647 w 493"/>
              <a:gd name="T45" fmla="*/ 2147483647 h 395"/>
              <a:gd name="T46" fmla="*/ 2147483647 w 493"/>
              <a:gd name="T47" fmla="*/ 2147483647 h 395"/>
              <a:gd name="T48" fmla="*/ 2147483647 w 493"/>
              <a:gd name="T49" fmla="*/ 2147483647 h 395"/>
              <a:gd name="T50" fmla="*/ 2147483647 w 493"/>
              <a:gd name="T51" fmla="*/ 2147483647 h 395"/>
              <a:gd name="T52" fmla="*/ 2147483647 w 493"/>
              <a:gd name="T53" fmla="*/ 2147483647 h 395"/>
              <a:gd name="T54" fmla="*/ 2147483647 w 493"/>
              <a:gd name="T55" fmla="*/ 2147483647 h 395"/>
              <a:gd name="T56" fmla="*/ 2147483647 w 493"/>
              <a:gd name="T57" fmla="*/ 2147483647 h 395"/>
              <a:gd name="T58" fmla="*/ 2147483647 w 493"/>
              <a:gd name="T59" fmla="*/ 2147483647 h 395"/>
              <a:gd name="T60" fmla="*/ 2147483647 w 493"/>
              <a:gd name="T61" fmla="*/ 2147483647 h 395"/>
              <a:gd name="T62" fmla="*/ 2147483647 w 493"/>
              <a:gd name="T63" fmla="*/ 2147483647 h 395"/>
              <a:gd name="T64" fmla="*/ 2147483647 w 493"/>
              <a:gd name="T65" fmla="*/ 2147483647 h 395"/>
              <a:gd name="T66" fmla="*/ 2147483647 w 493"/>
              <a:gd name="T67" fmla="*/ 2147483647 h 395"/>
              <a:gd name="T68" fmla="*/ 2147483647 w 493"/>
              <a:gd name="T69" fmla="*/ 2147483647 h 395"/>
              <a:gd name="T70" fmla="*/ 0 w 493"/>
              <a:gd name="T71" fmla="*/ 2147483647 h 395"/>
              <a:gd name="T72" fmla="*/ 2147483647 w 493"/>
              <a:gd name="T73" fmla="*/ 2147483647 h 395"/>
              <a:gd name="T74" fmla="*/ 2147483647 w 493"/>
              <a:gd name="T75" fmla="*/ 2147483647 h 395"/>
              <a:gd name="T76" fmla="*/ 2147483647 w 493"/>
              <a:gd name="T77" fmla="*/ 2147483647 h 395"/>
              <a:gd name="T78" fmla="*/ 2147483647 w 493"/>
              <a:gd name="T79" fmla="*/ 2147483647 h 395"/>
              <a:gd name="T80" fmla="*/ 2147483647 w 493"/>
              <a:gd name="T81" fmla="*/ 2147483647 h 395"/>
              <a:gd name="T82" fmla="*/ 2147483647 w 493"/>
              <a:gd name="T83" fmla="*/ 2147483647 h 395"/>
              <a:gd name="T84" fmla="*/ 2147483647 w 493"/>
              <a:gd name="T85" fmla="*/ 2147483647 h 395"/>
              <a:gd name="T86" fmla="*/ 2147483647 w 493"/>
              <a:gd name="T87" fmla="*/ 2147483647 h 395"/>
              <a:gd name="T88" fmla="*/ 2147483647 w 493"/>
              <a:gd name="T89" fmla="*/ 2147483647 h 395"/>
              <a:gd name="T90" fmla="*/ 2147483647 w 493"/>
              <a:gd name="T91" fmla="*/ 2147483647 h 395"/>
              <a:gd name="T92" fmla="*/ 2147483647 w 493"/>
              <a:gd name="T93" fmla="*/ 2147483647 h 395"/>
              <a:gd name="T94" fmla="*/ 2147483647 w 493"/>
              <a:gd name="T95" fmla="*/ 2147483647 h 395"/>
              <a:gd name="T96" fmla="*/ 2147483647 w 493"/>
              <a:gd name="T97" fmla="*/ 2147483647 h 395"/>
              <a:gd name="T98" fmla="*/ 2147483647 w 493"/>
              <a:gd name="T99" fmla="*/ 2147483647 h 395"/>
              <a:gd name="T100" fmla="*/ 2147483647 w 493"/>
              <a:gd name="T101" fmla="*/ 2147483647 h 395"/>
              <a:gd name="T102" fmla="*/ 2147483647 w 493"/>
              <a:gd name="T103" fmla="*/ 2147483647 h 395"/>
              <a:gd name="T104" fmla="*/ 2147483647 w 493"/>
              <a:gd name="T105" fmla="*/ 2147483647 h 395"/>
              <a:gd name="T106" fmla="*/ 2147483647 w 493"/>
              <a:gd name="T107" fmla="*/ 2147483647 h 395"/>
              <a:gd name="T108" fmla="*/ 2147483647 w 493"/>
              <a:gd name="T109" fmla="*/ 2147483647 h 395"/>
              <a:gd name="T110" fmla="*/ 2147483647 w 493"/>
              <a:gd name="T111" fmla="*/ 2147483647 h 395"/>
              <a:gd name="T112" fmla="*/ 2147483647 w 493"/>
              <a:gd name="T113" fmla="*/ 2147483647 h 395"/>
              <a:gd name="T114" fmla="*/ 2147483647 w 493"/>
              <a:gd name="T115" fmla="*/ 2147483647 h 395"/>
              <a:gd name="T116" fmla="*/ 2147483647 w 493"/>
              <a:gd name="T117" fmla="*/ 2147483647 h 395"/>
              <a:gd name="T118" fmla="*/ 2147483647 w 493"/>
              <a:gd name="T119" fmla="*/ 2147483647 h 3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93"/>
              <a:gd name="T181" fmla="*/ 0 h 395"/>
              <a:gd name="T182" fmla="*/ 493 w 493"/>
              <a:gd name="T183" fmla="*/ 395 h 3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93" h="395">
                <a:moveTo>
                  <a:pt x="355" y="223"/>
                </a:moveTo>
                <a:lnTo>
                  <a:pt x="365" y="225"/>
                </a:lnTo>
                <a:lnTo>
                  <a:pt x="374" y="228"/>
                </a:lnTo>
                <a:lnTo>
                  <a:pt x="386" y="228"/>
                </a:lnTo>
                <a:lnTo>
                  <a:pt x="398" y="228"/>
                </a:lnTo>
                <a:lnTo>
                  <a:pt x="409" y="228"/>
                </a:lnTo>
                <a:lnTo>
                  <a:pt x="424" y="228"/>
                </a:lnTo>
                <a:lnTo>
                  <a:pt x="426" y="232"/>
                </a:lnTo>
                <a:lnTo>
                  <a:pt x="430" y="238"/>
                </a:lnTo>
                <a:lnTo>
                  <a:pt x="434" y="246"/>
                </a:lnTo>
                <a:lnTo>
                  <a:pt x="438" y="251"/>
                </a:lnTo>
                <a:lnTo>
                  <a:pt x="438" y="257"/>
                </a:lnTo>
                <a:lnTo>
                  <a:pt x="438" y="263"/>
                </a:lnTo>
                <a:lnTo>
                  <a:pt x="442" y="267"/>
                </a:lnTo>
                <a:lnTo>
                  <a:pt x="445" y="271"/>
                </a:lnTo>
                <a:lnTo>
                  <a:pt x="449" y="271"/>
                </a:lnTo>
                <a:lnTo>
                  <a:pt x="455" y="271"/>
                </a:lnTo>
                <a:lnTo>
                  <a:pt x="465" y="269"/>
                </a:lnTo>
                <a:lnTo>
                  <a:pt x="490" y="274"/>
                </a:lnTo>
                <a:lnTo>
                  <a:pt x="493" y="282"/>
                </a:lnTo>
                <a:lnTo>
                  <a:pt x="493" y="286"/>
                </a:lnTo>
                <a:lnTo>
                  <a:pt x="492" y="294"/>
                </a:lnTo>
                <a:lnTo>
                  <a:pt x="492" y="297"/>
                </a:lnTo>
                <a:lnTo>
                  <a:pt x="482" y="303"/>
                </a:lnTo>
                <a:lnTo>
                  <a:pt x="474" y="309"/>
                </a:lnTo>
                <a:lnTo>
                  <a:pt x="474" y="311"/>
                </a:lnTo>
                <a:lnTo>
                  <a:pt x="474" y="313"/>
                </a:lnTo>
                <a:lnTo>
                  <a:pt x="470" y="317"/>
                </a:lnTo>
                <a:lnTo>
                  <a:pt x="469" y="319"/>
                </a:lnTo>
                <a:lnTo>
                  <a:pt x="467" y="320"/>
                </a:lnTo>
                <a:lnTo>
                  <a:pt x="465" y="322"/>
                </a:lnTo>
                <a:lnTo>
                  <a:pt x="461" y="326"/>
                </a:lnTo>
                <a:lnTo>
                  <a:pt x="459" y="328"/>
                </a:lnTo>
                <a:lnTo>
                  <a:pt x="457" y="330"/>
                </a:lnTo>
                <a:lnTo>
                  <a:pt x="455" y="334"/>
                </a:lnTo>
                <a:lnTo>
                  <a:pt x="451" y="336"/>
                </a:lnTo>
                <a:lnTo>
                  <a:pt x="449" y="338"/>
                </a:lnTo>
                <a:lnTo>
                  <a:pt x="447" y="340"/>
                </a:lnTo>
                <a:lnTo>
                  <a:pt x="445" y="343"/>
                </a:lnTo>
                <a:lnTo>
                  <a:pt x="442" y="345"/>
                </a:lnTo>
                <a:lnTo>
                  <a:pt x="440" y="347"/>
                </a:lnTo>
                <a:lnTo>
                  <a:pt x="428" y="359"/>
                </a:lnTo>
                <a:lnTo>
                  <a:pt x="415" y="372"/>
                </a:lnTo>
                <a:lnTo>
                  <a:pt x="413" y="374"/>
                </a:lnTo>
                <a:lnTo>
                  <a:pt x="411" y="376"/>
                </a:lnTo>
                <a:lnTo>
                  <a:pt x="409" y="384"/>
                </a:lnTo>
                <a:lnTo>
                  <a:pt x="407" y="391"/>
                </a:lnTo>
                <a:lnTo>
                  <a:pt x="403" y="393"/>
                </a:lnTo>
                <a:lnTo>
                  <a:pt x="401" y="395"/>
                </a:lnTo>
                <a:lnTo>
                  <a:pt x="382" y="395"/>
                </a:lnTo>
                <a:lnTo>
                  <a:pt x="363" y="395"/>
                </a:lnTo>
                <a:lnTo>
                  <a:pt x="359" y="393"/>
                </a:lnTo>
                <a:lnTo>
                  <a:pt x="357" y="391"/>
                </a:lnTo>
                <a:lnTo>
                  <a:pt x="350" y="390"/>
                </a:lnTo>
                <a:lnTo>
                  <a:pt x="344" y="386"/>
                </a:lnTo>
                <a:lnTo>
                  <a:pt x="340" y="384"/>
                </a:lnTo>
                <a:lnTo>
                  <a:pt x="338" y="382"/>
                </a:lnTo>
                <a:lnTo>
                  <a:pt x="330" y="378"/>
                </a:lnTo>
                <a:lnTo>
                  <a:pt x="325" y="376"/>
                </a:lnTo>
                <a:lnTo>
                  <a:pt x="321" y="374"/>
                </a:lnTo>
                <a:lnTo>
                  <a:pt x="319" y="372"/>
                </a:lnTo>
                <a:lnTo>
                  <a:pt x="317" y="368"/>
                </a:lnTo>
                <a:lnTo>
                  <a:pt x="315" y="367"/>
                </a:lnTo>
                <a:lnTo>
                  <a:pt x="311" y="365"/>
                </a:lnTo>
                <a:lnTo>
                  <a:pt x="309" y="363"/>
                </a:lnTo>
                <a:lnTo>
                  <a:pt x="307" y="359"/>
                </a:lnTo>
                <a:lnTo>
                  <a:pt x="303" y="357"/>
                </a:lnTo>
                <a:lnTo>
                  <a:pt x="302" y="355"/>
                </a:lnTo>
                <a:lnTo>
                  <a:pt x="300" y="351"/>
                </a:lnTo>
                <a:lnTo>
                  <a:pt x="298" y="349"/>
                </a:lnTo>
                <a:lnTo>
                  <a:pt x="294" y="347"/>
                </a:lnTo>
                <a:lnTo>
                  <a:pt x="292" y="345"/>
                </a:lnTo>
                <a:lnTo>
                  <a:pt x="290" y="343"/>
                </a:lnTo>
                <a:lnTo>
                  <a:pt x="288" y="340"/>
                </a:lnTo>
                <a:lnTo>
                  <a:pt x="284" y="338"/>
                </a:lnTo>
                <a:lnTo>
                  <a:pt x="282" y="336"/>
                </a:lnTo>
                <a:lnTo>
                  <a:pt x="280" y="334"/>
                </a:lnTo>
                <a:lnTo>
                  <a:pt x="277" y="330"/>
                </a:lnTo>
                <a:lnTo>
                  <a:pt x="275" y="328"/>
                </a:lnTo>
                <a:lnTo>
                  <a:pt x="273" y="326"/>
                </a:lnTo>
                <a:lnTo>
                  <a:pt x="271" y="322"/>
                </a:lnTo>
                <a:lnTo>
                  <a:pt x="267" y="320"/>
                </a:lnTo>
                <a:lnTo>
                  <a:pt x="265" y="319"/>
                </a:lnTo>
                <a:lnTo>
                  <a:pt x="261" y="309"/>
                </a:lnTo>
                <a:lnTo>
                  <a:pt x="257" y="299"/>
                </a:lnTo>
                <a:lnTo>
                  <a:pt x="248" y="299"/>
                </a:lnTo>
                <a:lnTo>
                  <a:pt x="240" y="301"/>
                </a:lnTo>
                <a:lnTo>
                  <a:pt x="234" y="305"/>
                </a:lnTo>
                <a:lnTo>
                  <a:pt x="231" y="311"/>
                </a:lnTo>
                <a:lnTo>
                  <a:pt x="227" y="309"/>
                </a:lnTo>
                <a:lnTo>
                  <a:pt x="221" y="307"/>
                </a:lnTo>
                <a:lnTo>
                  <a:pt x="211" y="301"/>
                </a:lnTo>
                <a:lnTo>
                  <a:pt x="202" y="299"/>
                </a:lnTo>
                <a:lnTo>
                  <a:pt x="196" y="299"/>
                </a:lnTo>
                <a:lnTo>
                  <a:pt x="190" y="301"/>
                </a:lnTo>
                <a:lnTo>
                  <a:pt x="186" y="299"/>
                </a:lnTo>
                <a:lnTo>
                  <a:pt x="183" y="299"/>
                </a:lnTo>
                <a:lnTo>
                  <a:pt x="173" y="299"/>
                </a:lnTo>
                <a:lnTo>
                  <a:pt x="163" y="299"/>
                </a:lnTo>
                <a:lnTo>
                  <a:pt x="165" y="278"/>
                </a:lnTo>
                <a:lnTo>
                  <a:pt x="167" y="278"/>
                </a:lnTo>
                <a:lnTo>
                  <a:pt x="167" y="280"/>
                </a:lnTo>
                <a:lnTo>
                  <a:pt x="165" y="282"/>
                </a:lnTo>
                <a:lnTo>
                  <a:pt x="162" y="282"/>
                </a:lnTo>
                <a:lnTo>
                  <a:pt x="154" y="276"/>
                </a:lnTo>
                <a:lnTo>
                  <a:pt x="148" y="271"/>
                </a:lnTo>
                <a:lnTo>
                  <a:pt x="142" y="265"/>
                </a:lnTo>
                <a:lnTo>
                  <a:pt x="135" y="257"/>
                </a:lnTo>
                <a:lnTo>
                  <a:pt x="129" y="251"/>
                </a:lnTo>
                <a:lnTo>
                  <a:pt x="119" y="244"/>
                </a:lnTo>
                <a:lnTo>
                  <a:pt x="108" y="236"/>
                </a:lnTo>
                <a:lnTo>
                  <a:pt x="102" y="232"/>
                </a:lnTo>
                <a:lnTo>
                  <a:pt x="96" y="228"/>
                </a:lnTo>
                <a:lnTo>
                  <a:pt x="89" y="225"/>
                </a:lnTo>
                <a:lnTo>
                  <a:pt x="83" y="223"/>
                </a:lnTo>
                <a:lnTo>
                  <a:pt x="79" y="219"/>
                </a:lnTo>
                <a:lnTo>
                  <a:pt x="77" y="217"/>
                </a:lnTo>
                <a:lnTo>
                  <a:pt x="75" y="215"/>
                </a:lnTo>
                <a:lnTo>
                  <a:pt x="71" y="213"/>
                </a:lnTo>
                <a:lnTo>
                  <a:pt x="69" y="209"/>
                </a:lnTo>
                <a:lnTo>
                  <a:pt x="68" y="207"/>
                </a:lnTo>
                <a:lnTo>
                  <a:pt x="62" y="205"/>
                </a:lnTo>
                <a:lnTo>
                  <a:pt x="58" y="201"/>
                </a:lnTo>
                <a:lnTo>
                  <a:pt x="58" y="198"/>
                </a:lnTo>
                <a:lnTo>
                  <a:pt x="58" y="192"/>
                </a:lnTo>
                <a:lnTo>
                  <a:pt x="56" y="182"/>
                </a:lnTo>
                <a:lnTo>
                  <a:pt x="54" y="173"/>
                </a:lnTo>
                <a:lnTo>
                  <a:pt x="50" y="171"/>
                </a:lnTo>
                <a:lnTo>
                  <a:pt x="48" y="169"/>
                </a:lnTo>
                <a:lnTo>
                  <a:pt x="43" y="169"/>
                </a:lnTo>
                <a:lnTo>
                  <a:pt x="39" y="169"/>
                </a:lnTo>
                <a:lnTo>
                  <a:pt x="35" y="171"/>
                </a:lnTo>
                <a:lnTo>
                  <a:pt x="33" y="173"/>
                </a:lnTo>
                <a:lnTo>
                  <a:pt x="29" y="173"/>
                </a:lnTo>
                <a:lnTo>
                  <a:pt x="23" y="173"/>
                </a:lnTo>
                <a:lnTo>
                  <a:pt x="21" y="171"/>
                </a:lnTo>
                <a:lnTo>
                  <a:pt x="20" y="169"/>
                </a:lnTo>
                <a:lnTo>
                  <a:pt x="20" y="146"/>
                </a:lnTo>
                <a:lnTo>
                  <a:pt x="20" y="125"/>
                </a:lnTo>
                <a:lnTo>
                  <a:pt x="12" y="125"/>
                </a:lnTo>
                <a:lnTo>
                  <a:pt x="4" y="125"/>
                </a:lnTo>
                <a:lnTo>
                  <a:pt x="2" y="123"/>
                </a:lnTo>
                <a:lnTo>
                  <a:pt x="0" y="121"/>
                </a:lnTo>
                <a:lnTo>
                  <a:pt x="0" y="115"/>
                </a:lnTo>
                <a:lnTo>
                  <a:pt x="0" y="111"/>
                </a:lnTo>
                <a:lnTo>
                  <a:pt x="2" y="107"/>
                </a:lnTo>
                <a:lnTo>
                  <a:pt x="4" y="106"/>
                </a:lnTo>
                <a:lnTo>
                  <a:pt x="21" y="98"/>
                </a:lnTo>
                <a:lnTo>
                  <a:pt x="39" y="92"/>
                </a:lnTo>
                <a:lnTo>
                  <a:pt x="41" y="88"/>
                </a:lnTo>
                <a:lnTo>
                  <a:pt x="43" y="86"/>
                </a:lnTo>
                <a:lnTo>
                  <a:pt x="56" y="86"/>
                </a:lnTo>
                <a:lnTo>
                  <a:pt x="68" y="86"/>
                </a:lnTo>
                <a:lnTo>
                  <a:pt x="68" y="69"/>
                </a:lnTo>
                <a:lnTo>
                  <a:pt x="68" y="52"/>
                </a:lnTo>
                <a:lnTo>
                  <a:pt x="69" y="50"/>
                </a:lnTo>
                <a:lnTo>
                  <a:pt x="71" y="48"/>
                </a:lnTo>
                <a:lnTo>
                  <a:pt x="75" y="46"/>
                </a:lnTo>
                <a:lnTo>
                  <a:pt x="77" y="42"/>
                </a:lnTo>
                <a:lnTo>
                  <a:pt x="79" y="40"/>
                </a:lnTo>
                <a:lnTo>
                  <a:pt x="83" y="38"/>
                </a:lnTo>
                <a:lnTo>
                  <a:pt x="85" y="36"/>
                </a:lnTo>
                <a:lnTo>
                  <a:pt x="87" y="33"/>
                </a:lnTo>
                <a:lnTo>
                  <a:pt x="89" y="31"/>
                </a:lnTo>
                <a:lnTo>
                  <a:pt x="92" y="29"/>
                </a:lnTo>
                <a:lnTo>
                  <a:pt x="94" y="25"/>
                </a:lnTo>
                <a:lnTo>
                  <a:pt x="96" y="23"/>
                </a:lnTo>
                <a:lnTo>
                  <a:pt x="98" y="21"/>
                </a:lnTo>
                <a:lnTo>
                  <a:pt x="102" y="19"/>
                </a:lnTo>
                <a:lnTo>
                  <a:pt x="108" y="13"/>
                </a:lnTo>
                <a:lnTo>
                  <a:pt x="115" y="10"/>
                </a:lnTo>
                <a:lnTo>
                  <a:pt x="121" y="10"/>
                </a:lnTo>
                <a:lnTo>
                  <a:pt x="125" y="10"/>
                </a:lnTo>
                <a:lnTo>
                  <a:pt x="125" y="13"/>
                </a:lnTo>
                <a:lnTo>
                  <a:pt x="125" y="19"/>
                </a:lnTo>
                <a:lnTo>
                  <a:pt x="144" y="19"/>
                </a:lnTo>
                <a:lnTo>
                  <a:pt x="163" y="19"/>
                </a:lnTo>
                <a:lnTo>
                  <a:pt x="163" y="13"/>
                </a:lnTo>
                <a:lnTo>
                  <a:pt x="163" y="10"/>
                </a:lnTo>
                <a:lnTo>
                  <a:pt x="169" y="4"/>
                </a:lnTo>
                <a:lnTo>
                  <a:pt x="175" y="0"/>
                </a:lnTo>
                <a:lnTo>
                  <a:pt x="186" y="0"/>
                </a:lnTo>
                <a:lnTo>
                  <a:pt x="198" y="0"/>
                </a:lnTo>
                <a:lnTo>
                  <a:pt x="200" y="2"/>
                </a:lnTo>
                <a:lnTo>
                  <a:pt x="204" y="4"/>
                </a:lnTo>
                <a:lnTo>
                  <a:pt x="206" y="6"/>
                </a:lnTo>
                <a:lnTo>
                  <a:pt x="208" y="10"/>
                </a:lnTo>
                <a:lnTo>
                  <a:pt x="209" y="12"/>
                </a:lnTo>
                <a:lnTo>
                  <a:pt x="213" y="13"/>
                </a:lnTo>
                <a:lnTo>
                  <a:pt x="217" y="29"/>
                </a:lnTo>
                <a:lnTo>
                  <a:pt x="223" y="42"/>
                </a:lnTo>
                <a:lnTo>
                  <a:pt x="219" y="46"/>
                </a:lnTo>
                <a:lnTo>
                  <a:pt x="217" y="48"/>
                </a:lnTo>
                <a:lnTo>
                  <a:pt x="215" y="56"/>
                </a:lnTo>
                <a:lnTo>
                  <a:pt x="213" y="61"/>
                </a:lnTo>
                <a:lnTo>
                  <a:pt x="209" y="65"/>
                </a:lnTo>
                <a:lnTo>
                  <a:pt x="208" y="67"/>
                </a:lnTo>
                <a:lnTo>
                  <a:pt x="208" y="86"/>
                </a:lnTo>
                <a:lnTo>
                  <a:pt x="208" y="106"/>
                </a:lnTo>
                <a:lnTo>
                  <a:pt x="209" y="107"/>
                </a:lnTo>
                <a:lnTo>
                  <a:pt x="213" y="111"/>
                </a:lnTo>
                <a:lnTo>
                  <a:pt x="215" y="113"/>
                </a:lnTo>
                <a:lnTo>
                  <a:pt x="217" y="115"/>
                </a:lnTo>
                <a:lnTo>
                  <a:pt x="219" y="117"/>
                </a:lnTo>
                <a:lnTo>
                  <a:pt x="223" y="121"/>
                </a:lnTo>
                <a:lnTo>
                  <a:pt x="225" y="123"/>
                </a:lnTo>
                <a:lnTo>
                  <a:pt x="227" y="125"/>
                </a:lnTo>
                <a:lnTo>
                  <a:pt x="229" y="127"/>
                </a:lnTo>
                <a:lnTo>
                  <a:pt x="233" y="131"/>
                </a:lnTo>
                <a:lnTo>
                  <a:pt x="234" y="132"/>
                </a:lnTo>
                <a:lnTo>
                  <a:pt x="236" y="134"/>
                </a:lnTo>
                <a:lnTo>
                  <a:pt x="238" y="136"/>
                </a:lnTo>
                <a:lnTo>
                  <a:pt x="242" y="140"/>
                </a:lnTo>
                <a:lnTo>
                  <a:pt x="242" y="146"/>
                </a:lnTo>
                <a:lnTo>
                  <a:pt x="242" y="154"/>
                </a:lnTo>
                <a:lnTo>
                  <a:pt x="254" y="159"/>
                </a:lnTo>
                <a:lnTo>
                  <a:pt x="265" y="163"/>
                </a:lnTo>
                <a:lnTo>
                  <a:pt x="267" y="165"/>
                </a:lnTo>
                <a:lnTo>
                  <a:pt x="271" y="169"/>
                </a:lnTo>
                <a:lnTo>
                  <a:pt x="273" y="171"/>
                </a:lnTo>
                <a:lnTo>
                  <a:pt x="275" y="173"/>
                </a:lnTo>
                <a:lnTo>
                  <a:pt x="277" y="177"/>
                </a:lnTo>
                <a:lnTo>
                  <a:pt x="280" y="178"/>
                </a:lnTo>
                <a:lnTo>
                  <a:pt x="292" y="180"/>
                </a:lnTo>
                <a:lnTo>
                  <a:pt x="303" y="184"/>
                </a:lnTo>
                <a:lnTo>
                  <a:pt x="307" y="186"/>
                </a:lnTo>
                <a:lnTo>
                  <a:pt x="309" y="188"/>
                </a:lnTo>
                <a:lnTo>
                  <a:pt x="311" y="190"/>
                </a:lnTo>
                <a:lnTo>
                  <a:pt x="315" y="192"/>
                </a:lnTo>
                <a:lnTo>
                  <a:pt x="317" y="196"/>
                </a:lnTo>
                <a:lnTo>
                  <a:pt x="319" y="198"/>
                </a:lnTo>
                <a:lnTo>
                  <a:pt x="327" y="200"/>
                </a:lnTo>
                <a:lnTo>
                  <a:pt x="334" y="201"/>
                </a:lnTo>
                <a:lnTo>
                  <a:pt x="336" y="205"/>
                </a:lnTo>
                <a:lnTo>
                  <a:pt x="338" y="207"/>
                </a:lnTo>
                <a:lnTo>
                  <a:pt x="340" y="209"/>
                </a:lnTo>
                <a:lnTo>
                  <a:pt x="344" y="213"/>
                </a:lnTo>
                <a:lnTo>
                  <a:pt x="346" y="215"/>
                </a:lnTo>
                <a:lnTo>
                  <a:pt x="348" y="217"/>
                </a:lnTo>
                <a:lnTo>
                  <a:pt x="351" y="221"/>
                </a:lnTo>
                <a:lnTo>
                  <a:pt x="355" y="223"/>
                </a:lnTo>
              </a:path>
            </a:pathLst>
          </a:custGeom>
          <a:solidFill>
            <a:schemeClr val="accent3"/>
          </a:solidFill>
          <a:ln w="12700">
            <a:solidFill>
              <a:schemeClr val="bg1"/>
            </a:solidFill>
            <a:round/>
            <a:headEnd/>
            <a:tailEnd/>
          </a:ln>
        </p:spPr>
        <p:txBody>
          <a:bodyPr/>
          <a:lstStyle/>
          <a:p>
            <a:endParaRPr lang="en-GB"/>
          </a:p>
        </p:txBody>
      </p:sp>
      <p:sp>
        <p:nvSpPr>
          <p:cNvPr id="70" name="Freeform 337"/>
          <p:cNvSpPr>
            <a:spLocks/>
          </p:cNvSpPr>
          <p:nvPr>
            <p:custDataLst>
              <p:tags r:id="rId54"/>
            </p:custDataLst>
          </p:nvPr>
        </p:nvSpPr>
        <p:spPr bwMode="auto">
          <a:xfrm>
            <a:off x="1913886" y="4102063"/>
            <a:ext cx="12542" cy="12542"/>
          </a:xfrm>
          <a:custGeom>
            <a:avLst/>
            <a:gdLst>
              <a:gd name="T0" fmla="*/ 0 w 10"/>
              <a:gd name="T1" fmla="*/ 2147483647 h 10"/>
              <a:gd name="T2" fmla="*/ 2147483647 w 10"/>
              <a:gd name="T3" fmla="*/ 2147483647 h 10"/>
              <a:gd name="T4" fmla="*/ 2147483647 w 10"/>
              <a:gd name="T5" fmla="*/ 0 h 10"/>
              <a:gd name="T6" fmla="*/ 2147483647 w 10"/>
              <a:gd name="T7" fmla="*/ 2147483647 h 10"/>
              <a:gd name="T8" fmla="*/ 2147483647 w 10"/>
              <a:gd name="T9" fmla="*/ 2147483647 h 10"/>
              <a:gd name="T10" fmla="*/ 2147483647 w 10"/>
              <a:gd name="T11" fmla="*/ 2147483647 h 10"/>
              <a:gd name="T12" fmla="*/ 2147483647 w 10"/>
              <a:gd name="T13" fmla="*/ 2147483647 h 10"/>
              <a:gd name="T14" fmla="*/ 2147483647 w 10"/>
              <a:gd name="T15" fmla="*/ 2147483647 h 10"/>
              <a:gd name="T16" fmla="*/ 0 w 10"/>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0"/>
              <a:gd name="T29" fmla="*/ 10 w 10"/>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0">
                <a:moveTo>
                  <a:pt x="0" y="10"/>
                </a:moveTo>
                <a:lnTo>
                  <a:pt x="4" y="6"/>
                </a:lnTo>
                <a:lnTo>
                  <a:pt x="6" y="0"/>
                </a:lnTo>
                <a:lnTo>
                  <a:pt x="8" y="2"/>
                </a:lnTo>
                <a:lnTo>
                  <a:pt x="10" y="6"/>
                </a:lnTo>
                <a:lnTo>
                  <a:pt x="10" y="8"/>
                </a:lnTo>
                <a:lnTo>
                  <a:pt x="10" y="10"/>
                </a:lnTo>
                <a:lnTo>
                  <a:pt x="6" y="10"/>
                </a:lnTo>
                <a:lnTo>
                  <a:pt x="0" y="10"/>
                </a:lnTo>
                <a:close/>
              </a:path>
            </a:pathLst>
          </a:custGeom>
          <a:solidFill>
            <a:schemeClr val="accent3"/>
          </a:solidFill>
          <a:ln w="12700">
            <a:solidFill>
              <a:schemeClr val="bg1"/>
            </a:solidFill>
            <a:round/>
            <a:headEnd/>
            <a:tailEnd/>
          </a:ln>
        </p:spPr>
        <p:txBody>
          <a:bodyPr/>
          <a:lstStyle/>
          <a:p>
            <a:pPr algn="ctr" eaLnBrk="0" hangingPunct="0">
              <a:spcBef>
                <a:spcPct val="50000"/>
              </a:spcBef>
            </a:pPr>
            <a:endParaRPr lang="en-GB">
              <a:solidFill>
                <a:srgbClr val="000000"/>
              </a:solidFill>
            </a:endParaRPr>
          </a:p>
        </p:txBody>
      </p:sp>
      <p:sp>
        <p:nvSpPr>
          <p:cNvPr id="71" name="Freeform 338"/>
          <p:cNvSpPr>
            <a:spLocks/>
          </p:cNvSpPr>
          <p:nvPr>
            <p:custDataLst>
              <p:tags r:id="rId55"/>
            </p:custDataLst>
          </p:nvPr>
        </p:nvSpPr>
        <p:spPr bwMode="auto">
          <a:xfrm>
            <a:off x="1215739" y="4206576"/>
            <a:ext cx="160253" cy="215993"/>
          </a:xfrm>
          <a:custGeom>
            <a:avLst/>
            <a:gdLst>
              <a:gd name="T0" fmla="*/ 2147483647 w 117"/>
              <a:gd name="T1" fmla="*/ 2147483647 h 163"/>
              <a:gd name="T2" fmla="*/ 2147483647 w 117"/>
              <a:gd name="T3" fmla="*/ 2147483647 h 163"/>
              <a:gd name="T4" fmla="*/ 2147483647 w 117"/>
              <a:gd name="T5" fmla="*/ 2147483647 h 163"/>
              <a:gd name="T6" fmla="*/ 2147483647 w 117"/>
              <a:gd name="T7" fmla="*/ 2147483647 h 163"/>
              <a:gd name="T8" fmla="*/ 2147483647 w 117"/>
              <a:gd name="T9" fmla="*/ 2147483647 h 163"/>
              <a:gd name="T10" fmla="*/ 2147483647 w 117"/>
              <a:gd name="T11" fmla="*/ 2147483647 h 163"/>
              <a:gd name="T12" fmla="*/ 2147483647 w 117"/>
              <a:gd name="T13" fmla="*/ 2147483647 h 163"/>
              <a:gd name="T14" fmla="*/ 2147483647 w 117"/>
              <a:gd name="T15" fmla="*/ 2147483647 h 163"/>
              <a:gd name="T16" fmla="*/ 2147483647 w 117"/>
              <a:gd name="T17" fmla="*/ 2147483647 h 163"/>
              <a:gd name="T18" fmla="*/ 2147483647 w 117"/>
              <a:gd name="T19" fmla="*/ 2147483647 h 163"/>
              <a:gd name="T20" fmla="*/ 2147483647 w 117"/>
              <a:gd name="T21" fmla="*/ 2147483647 h 163"/>
              <a:gd name="T22" fmla="*/ 0 w 117"/>
              <a:gd name="T23" fmla="*/ 2147483647 h 163"/>
              <a:gd name="T24" fmla="*/ 2147483647 w 117"/>
              <a:gd name="T25" fmla="*/ 2147483647 h 163"/>
              <a:gd name="T26" fmla="*/ 2147483647 w 117"/>
              <a:gd name="T27" fmla="*/ 2147483647 h 163"/>
              <a:gd name="T28" fmla="*/ 2147483647 w 117"/>
              <a:gd name="T29" fmla="*/ 2147483647 h 163"/>
              <a:gd name="T30" fmla="*/ 2147483647 w 117"/>
              <a:gd name="T31" fmla="*/ 2147483647 h 163"/>
              <a:gd name="T32" fmla="*/ 2147483647 w 117"/>
              <a:gd name="T33" fmla="*/ 2147483647 h 163"/>
              <a:gd name="T34" fmla="*/ 2147483647 w 117"/>
              <a:gd name="T35" fmla="*/ 2147483647 h 163"/>
              <a:gd name="T36" fmla="*/ 2147483647 w 117"/>
              <a:gd name="T37" fmla="*/ 2147483647 h 163"/>
              <a:gd name="T38" fmla="*/ 2147483647 w 117"/>
              <a:gd name="T39" fmla="*/ 2147483647 h 163"/>
              <a:gd name="T40" fmla="*/ 2147483647 w 117"/>
              <a:gd name="T41" fmla="*/ 2147483647 h 163"/>
              <a:gd name="T42" fmla="*/ 2147483647 w 117"/>
              <a:gd name="T43" fmla="*/ 2147483647 h 163"/>
              <a:gd name="T44" fmla="*/ 2147483647 w 117"/>
              <a:gd name="T45" fmla="*/ 2147483647 h 163"/>
              <a:gd name="T46" fmla="*/ 2147483647 w 117"/>
              <a:gd name="T47" fmla="*/ 2147483647 h 163"/>
              <a:gd name="T48" fmla="*/ 2147483647 w 117"/>
              <a:gd name="T49" fmla="*/ 2147483647 h 163"/>
              <a:gd name="T50" fmla="*/ 2147483647 w 117"/>
              <a:gd name="T51" fmla="*/ 2147483647 h 163"/>
              <a:gd name="T52" fmla="*/ 2147483647 w 117"/>
              <a:gd name="T53" fmla="*/ 2147483647 h 163"/>
              <a:gd name="T54" fmla="*/ 2147483647 w 117"/>
              <a:gd name="T55" fmla="*/ 2147483647 h 163"/>
              <a:gd name="T56" fmla="*/ 2147483647 w 117"/>
              <a:gd name="T57" fmla="*/ 2147483647 h 163"/>
              <a:gd name="T58" fmla="*/ 2147483647 w 117"/>
              <a:gd name="T59" fmla="*/ 2147483647 h 163"/>
              <a:gd name="T60" fmla="*/ 2147483647 w 117"/>
              <a:gd name="T61" fmla="*/ 2147483647 h 163"/>
              <a:gd name="T62" fmla="*/ 2147483647 w 117"/>
              <a:gd name="T63" fmla="*/ 2147483647 h 163"/>
              <a:gd name="T64" fmla="*/ 2147483647 w 117"/>
              <a:gd name="T65" fmla="*/ 2147483647 h 163"/>
              <a:gd name="T66" fmla="*/ 2147483647 w 117"/>
              <a:gd name="T67" fmla="*/ 2147483647 h 163"/>
              <a:gd name="T68" fmla="*/ 2147483647 w 117"/>
              <a:gd name="T69" fmla="*/ 2147483647 h 163"/>
              <a:gd name="T70" fmla="*/ 2147483647 w 117"/>
              <a:gd name="T71" fmla="*/ 2147483647 h 163"/>
              <a:gd name="T72" fmla="*/ 2147483647 w 117"/>
              <a:gd name="T73" fmla="*/ 2147483647 h 163"/>
              <a:gd name="T74" fmla="*/ 2147483647 w 117"/>
              <a:gd name="T75" fmla="*/ 2147483647 h 16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7"/>
              <a:gd name="T115" fmla="*/ 0 h 163"/>
              <a:gd name="T116" fmla="*/ 117 w 117"/>
              <a:gd name="T117" fmla="*/ 163 h 16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7" h="163">
                <a:moveTo>
                  <a:pt x="63" y="163"/>
                </a:moveTo>
                <a:lnTo>
                  <a:pt x="59" y="161"/>
                </a:lnTo>
                <a:lnTo>
                  <a:pt x="58" y="159"/>
                </a:lnTo>
                <a:lnTo>
                  <a:pt x="56" y="155"/>
                </a:lnTo>
                <a:lnTo>
                  <a:pt x="54" y="153"/>
                </a:lnTo>
                <a:lnTo>
                  <a:pt x="52" y="151"/>
                </a:lnTo>
                <a:lnTo>
                  <a:pt x="48" y="149"/>
                </a:lnTo>
                <a:lnTo>
                  <a:pt x="46" y="132"/>
                </a:lnTo>
                <a:lnTo>
                  <a:pt x="44" y="115"/>
                </a:lnTo>
                <a:lnTo>
                  <a:pt x="42" y="113"/>
                </a:lnTo>
                <a:lnTo>
                  <a:pt x="38" y="111"/>
                </a:lnTo>
                <a:lnTo>
                  <a:pt x="36" y="103"/>
                </a:lnTo>
                <a:lnTo>
                  <a:pt x="35" y="96"/>
                </a:lnTo>
                <a:lnTo>
                  <a:pt x="31" y="94"/>
                </a:lnTo>
                <a:lnTo>
                  <a:pt x="29" y="90"/>
                </a:lnTo>
                <a:lnTo>
                  <a:pt x="21" y="88"/>
                </a:lnTo>
                <a:lnTo>
                  <a:pt x="15" y="86"/>
                </a:lnTo>
                <a:lnTo>
                  <a:pt x="11" y="84"/>
                </a:lnTo>
                <a:lnTo>
                  <a:pt x="10" y="80"/>
                </a:lnTo>
                <a:lnTo>
                  <a:pt x="8" y="69"/>
                </a:lnTo>
                <a:lnTo>
                  <a:pt x="6" y="57"/>
                </a:lnTo>
                <a:lnTo>
                  <a:pt x="2" y="55"/>
                </a:lnTo>
                <a:lnTo>
                  <a:pt x="0" y="52"/>
                </a:lnTo>
                <a:lnTo>
                  <a:pt x="0" y="42"/>
                </a:lnTo>
                <a:lnTo>
                  <a:pt x="0" y="32"/>
                </a:lnTo>
                <a:lnTo>
                  <a:pt x="2" y="30"/>
                </a:lnTo>
                <a:lnTo>
                  <a:pt x="6" y="29"/>
                </a:lnTo>
                <a:lnTo>
                  <a:pt x="8" y="25"/>
                </a:lnTo>
                <a:lnTo>
                  <a:pt x="10" y="23"/>
                </a:lnTo>
                <a:lnTo>
                  <a:pt x="11" y="21"/>
                </a:lnTo>
                <a:lnTo>
                  <a:pt x="15" y="19"/>
                </a:lnTo>
                <a:lnTo>
                  <a:pt x="21" y="15"/>
                </a:lnTo>
                <a:lnTo>
                  <a:pt x="29" y="13"/>
                </a:lnTo>
                <a:lnTo>
                  <a:pt x="31" y="11"/>
                </a:lnTo>
                <a:lnTo>
                  <a:pt x="35" y="9"/>
                </a:lnTo>
                <a:lnTo>
                  <a:pt x="36" y="6"/>
                </a:lnTo>
                <a:lnTo>
                  <a:pt x="38" y="4"/>
                </a:lnTo>
                <a:lnTo>
                  <a:pt x="42" y="2"/>
                </a:lnTo>
                <a:lnTo>
                  <a:pt x="44" y="0"/>
                </a:lnTo>
                <a:lnTo>
                  <a:pt x="46" y="2"/>
                </a:lnTo>
                <a:lnTo>
                  <a:pt x="48" y="4"/>
                </a:lnTo>
                <a:lnTo>
                  <a:pt x="50" y="7"/>
                </a:lnTo>
                <a:lnTo>
                  <a:pt x="54" y="7"/>
                </a:lnTo>
                <a:lnTo>
                  <a:pt x="65" y="9"/>
                </a:lnTo>
                <a:lnTo>
                  <a:pt x="86" y="9"/>
                </a:lnTo>
                <a:lnTo>
                  <a:pt x="90" y="11"/>
                </a:lnTo>
                <a:lnTo>
                  <a:pt x="94" y="15"/>
                </a:lnTo>
                <a:lnTo>
                  <a:pt x="92" y="19"/>
                </a:lnTo>
                <a:lnTo>
                  <a:pt x="90" y="23"/>
                </a:lnTo>
                <a:lnTo>
                  <a:pt x="90" y="27"/>
                </a:lnTo>
                <a:lnTo>
                  <a:pt x="92" y="29"/>
                </a:lnTo>
                <a:lnTo>
                  <a:pt x="94" y="30"/>
                </a:lnTo>
                <a:lnTo>
                  <a:pt x="98" y="32"/>
                </a:lnTo>
                <a:lnTo>
                  <a:pt x="100" y="40"/>
                </a:lnTo>
                <a:lnTo>
                  <a:pt x="102" y="48"/>
                </a:lnTo>
                <a:lnTo>
                  <a:pt x="104" y="50"/>
                </a:lnTo>
                <a:lnTo>
                  <a:pt x="107" y="52"/>
                </a:lnTo>
                <a:lnTo>
                  <a:pt x="109" y="65"/>
                </a:lnTo>
                <a:lnTo>
                  <a:pt x="111" y="77"/>
                </a:lnTo>
                <a:lnTo>
                  <a:pt x="113" y="78"/>
                </a:lnTo>
                <a:lnTo>
                  <a:pt x="117" y="80"/>
                </a:lnTo>
                <a:lnTo>
                  <a:pt x="117" y="96"/>
                </a:lnTo>
                <a:lnTo>
                  <a:pt x="117" y="111"/>
                </a:lnTo>
                <a:lnTo>
                  <a:pt x="113" y="113"/>
                </a:lnTo>
                <a:lnTo>
                  <a:pt x="111" y="115"/>
                </a:lnTo>
                <a:lnTo>
                  <a:pt x="109" y="123"/>
                </a:lnTo>
                <a:lnTo>
                  <a:pt x="107" y="128"/>
                </a:lnTo>
                <a:lnTo>
                  <a:pt x="104" y="132"/>
                </a:lnTo>
                <a:lnTo>
                  <a:pt x="102" y="134"/>
                </a:lnTo>
                <a:lnTo>
                  <a:pt x="100" y="142"/>
                </a:lnTo>
                <a:lnTo>
                  <a:pt x="98" y="149"/>
                </a:lnTo>
                <a:lnTo>
                  <a:pt x="94" y="151"/>
                </a:lnTo>
                <a:lnTo>
                  <a:pt x="92" y="153"/>
                </a:lnTo>
                <a:lnTo>
                  <a:pt x="81" y="155"/>
                </a:lnTo>
                <a:lnTo>
                  <a:pt x="67" y="159"/>
                </a:lnTo>
                <a:lnTo>
                  <a:pt x="65" y="161"/>
                </a:lnTo>
                <a:lnTo>
                  <a:pt x="63" y="163"/>
                </a:lnTo>
              </a:path>
            </a:pathLst>
          </a:custGeom>
          <a:solidFill>
            <a:schemeClr val="accent3"/>
          </a:solidFill>
          <a:ln w="12700">
            <a:solidFill>
              <a:schemeClr val="bg1"/>
            </a:solidFill>
            <a:round/>
            <a:headEnd/>
            <a:tailEnd/>
          </a:ln>
        </p:spPr>
        <p:txBody>
          <a:bodyPr/>
          <a:lstStyle/>
          <a:p>
            <a:endParaRPr lang="en-GB"/>
          </a:p>
        </p:txBody>
      </p:sp>
      <p:sp>
        <p:nvSpPr>
          <p:cNvPr id="72" name="Freeform 339"/>
          <p:cNvSpPr>
            <a:spLocks/>
          </p:cNvSpPr>
          <p:nvPr>
            <p:custDataLst>
              <p:tags r:id="rId56"/>
            </p:custDataLst>
          </p:nvPr>
        </p:nvSpPr>
        <p:spPr bwMode="auto">
          <a:xfrm>
            <a:off x="1240822" y="4053290"/>
            <a:ext cx="253618" cy="157466"/>
          </a:xfrm>
          <a:custGeom>
            <a:avLst/>
            <a:gdLst>
              <a:gd name="T0" fmla="*/ 2147483647 w 186"/>
              <a:gd name="T1" fmla="*/ 2147483647 h 121"/>
              <a:gd name="T2" fmla="*/ 2147483647 w 186"/>
              <a:gd name="T3" fmla="*/ 2147483647 h 121"/>
              <a:gd name="T4" fmla="*/ 2147483647 w 186"/>
              <a:gd name="T5" fmla="*/ 2147483647 h 121"/>
              <a:gd name="T6" fmla="*/ 2147483647 w 186"/>
              <a:gd name="T7" fmla="*/ 2147483647 h 121"/>
              <a:gd name="T8" fmla="*/ 2147483647 w 186"/>
              <a:gd name="T9" fmla="*/ 2147483647 h 121"/>
              <a:gd name="T10" fmla="*/ 2147483647 w 186"/>
              <a:gd name="T11" fmla="*/ 2147483647 h 121"/>
              <a:gd name="T12" fmla="*/ 2147483647 w 186"/>
              <a:gd name="T13" fmla="*/ 2147483647 h 121"/>
              <a:gd name="T14" fmla="*/ 2147483647 w 186"/>
              <a:gd name="T15" fmla="*/ 2147483647 h 121"/>
              <a:gd name="T16" fmla="*/ 2147483647 w 186"/>
              <a:gd name="T17" fmla="*/ 2147483647 h 121"/>
              <a:gd name="T18" fmla="*/ 2147483647 w 186"/>
              <a:gd name="T19" fmla="*/ 2147483647 h 121"/>
              <a:gd name="T20" fmla="*/ 2147483647 w 186"/>
              <a:gd name="T21" fmla="*/ 2147483647 h 121"/>
              <a:gd name="T22" fmla="*/ 2147483647 w 186"/>
              <a:gd name="T23" fmla="*/ 2147483647 h 121"/>
              <a:gd name="T24" fmla="*/ 2147483647 w 186"/>
              <a:gd name="T25" fmla="*/ 2147483647 h 121"/>
              <a:gd name="T26" fmla="*/ 2147483647 w 186"/>
              <a:gd name="T27" fmla="*/ 2147483647 h 121"/>
              <a:gd name="T28" fmla="*/ 2147483647 w 186"/>
              <a:gd name="T29" fmla="*/ 2147483647 h 121"/>
              <a:gd name="T30" fmla="*/ 2147483647 w 186"/>
              <a:gd name="T31" fmla="*/ 2147483647 h 121"/>
              <a:gd name="T32" fmla="*/ 2147483647 w 186"/>
              <a:gd name="T33" fmla="*/ 2147483647 h 121"/>
              <a:gd name="T34" fmla="*/ 2147483647 w 186"/>
              <a:gd name="T35" fmla="*/ 2147483647 h 121"/>
              <a:gd name="T36" fmla="*/ 2147483647 w 186"/>
              <a:gd name="T37" fmla="*/ 2147483647 h 121"/>
              <a:gd name="T38" fmla="*/ 2147483647 w 186"/>
              <a:gd name="T39" fmla="*/ 2147483647 h 121"/>
              <a:gd name="T40" fmla="*/ 2147483647 w 186"/>
              <a:gd name="T41" fmla="*/ 2147483647 h 121"/>
              <a:gd name="T42" fmla="*/ 2147483647 w 186"/>
              <a:gd name="T43" fmla="*/ 0 h 121"/>
              <a:gd name="T44" fmla="*/ 2147483647 w 186"/>
              <a:gd name="T45" fmla="*/ 2147483647 h 121"/>
              <a:gd name="T46" fmla="*/ 2147483647 w 186"/>
              <a:gd name="T47" fmla="*/ 2147483647 h 121"/>
              <a:gd name="T48" fmla="*/ 2147483647 w 186"/>
              <a:gd name="T49" fmla="*/ 2147483647 h 121"/>
              <a:gd name="T50" fmla="*/ 2147483647 w 186"/>
              <a:gd name="T51" fmla="*/ 2147483647 h 121"/>
              <a:gd name="T52" fmla="*/ 2147483647 w 186"/>
              <a:gd name="T53" fmla="*/ 2147483647 h 121"/>
              <a:gd name="T54" fmla="*/ 2147483647 w 186"/>
              <a:gd name="T55" fmla="*/ 2147483647 h 121"/>
              <a:gd name="T56" fmla="*/ 2147483647 w 186"/>
              <a:gd name="T57" fmla="*/ 2147483647 h 121"/>
              <a:gd name="T58" fmla="*/ 2147483647 w 186"/>
              <a:gd name="T59" fmla="*/ 2147483647 h 121"/>
              <a:gd name="T60" fmla="*/ 2147483647 w 186"/>
              <a:gd name="T61" fmla="*/ 2147483647 h 121"/>
              <a:gd name="T62" fmla="*/ 2147483647 w 186"/>
              <a:gd name="T63" fmla="*/ 2147483647 h 121"/>
              <a:gd name="T64" fmla="*/ 2147483647 w 186"/>
              <a:gd name="T65" fmla="*/ 2147483647 h 121"/>
              <a:gd name="T66" fmla="*/ 2147483647 w 186"/>
              <a:gd name="T67" fmla="*/ 2147483647 h 121"/>
              <a:gd name="T68" fmla="*/ 2147483647 w 186"/>
              <a:gd name="T69" fmla="*/ 2147483647 h 121"/>
              <a:gd name="T70" fmla="*/ 2147483647 w 186"/>
              <a:gd name="T71" fmla="*/ 2147483647 h 121"/>
              <a:gd name="T72" fmla="*/ 2147483647 w 186"/>
              <a:gd name="T73" fmla="*/ 2147483647 h 121"/>
              <a:gd name="T74" fmla="*/ 2147483647 w 186"/>
              <a:gd name="T75" fmla="*/ 2147483647 h 121"/>
              <a:gd name="T76" fmla="*/ 2147483647 w 186"/>
              <a:gd name="T77" fmla="*/ 2147483647 h 12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6"/>
              <a:gd name="T118" fmla="*/ 0 h 121"/>
              <a:gd name="T119" fmla="*/ 186 w 186"/>
              <a:gd name="T120" fmla="*/ 121 h 12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6" h="121">
                <a:moveTo>
                  <a:pt x="184" y="57"/>
                </a:moveTo>
                <a:lnTo>
                  <a:pt x="184" y="75"/>
                </a:lnTo>
                <a:lnTo>
                  <a:pt x="184" y="92"/>
                </a:lnTo>
                <a:lnTo>
                  <a:pt x="182" y="94"/>
                </a:lnTo>
                <a:lnTo>
                  <a:pt x="179" y="96"/>
                </a:lnTo>
                <a:lnTo>
                  <a:pt x="159" y="98"/>
                </a:lnTo>
                <a:lnTo>
                  <a:pt x="138" y="100"/>
                </a:lnTo>
                <a:lnTo>
                  <a:pt x="117" y="100"/>
                </a:lnTo>
                <a:lnTo>
                  <a:pt x="98" y="101"/>
                </a:lnTo>
                <a:lnTo>
                  <a:pt x="94" y="103"/>
                </a:lnTo>
                <a:lnTo>
                  <a:pt x="92" y="107"/>
                </a:lnTo>
                <a:lnTo>
                  <a:pt x="90" y="109"/>
                </a:lnTo>
                <a:lnTo>
                  <a:pt x="88" y="111"/>
                </a:lnTo>
                <a:lnTo>
                  <a:pt x="85" y="113"/>
                </a:lnTo>
                <a:lnTo>
                  <a:pt x="83" y="117"/>
                </a:lnTo>
                <a:lnTo>
                  <a:pt x="81" y="119"/>
                </a:lnTo>
                <a:lnTo>
                  <a:pt x="79" y="121"/>
                </a:lnTo>
                <a:lnTo>
                  <a:pt x="56" y="119"/>
                </a:lnTo>
                <a:lnTo>
                  <a:pt x="35" y="117"/>
                </a:lnTo>
                <a:lnTo>
                  <a:pt x="33" y="113"/>
                </a:lnTo>
                <a:lnTo>
                  <a:pt x="29" y="111"/>
                </a:lnTo>
                <a:lnTo>
                  <a:pt x="25" y="92"/>
                </a:lnTo>
                <a:lnTo>
                  <a:pt x="19" y="73"/>
                </a:lnTo>
                <a:lnTo>
                  <a:pt x="23" y="71"/>
                </a:lnTo>
                <a:lnTo>
                  <a:pt x="25" y="67"/>
                </a:lnTo>
                <a:lnTo>
                  <a:pt x="25" y="57"/>
                </a:lnTo>
                <a:lnTo>
                  <a:pt x="25" y="48"/>
                </a:lnTo>
                <a:lnTo>
                  <a:pt x="23" y="46"/>
                </a:lnTo>
                <a:lnTo>
                  <a:pt x="19" y="44"/>
                </a:lnTo>
                <a:lnTo>
                  <a:pt x="17" y="40"/>
                </a:lnTo>
                <a:lnTo>
                  <a:pt x="16" y="38"/>
                </a:lnTo>
                <a:lnTo>
                  <a:pt x="12" y="36"/>
                </a:lnTo>
                <a:lnTo>
                  <a:pt x="10" y="34"/>
                </a:lnTo>
                <a:lnTo>
                  <a:pt x="8" y="27"/>
                </a:lnTo>
                <a:lnTo>
                  <a:pt x="6" y="19"/>
                </a:lnTo>
                <a:lnTo>
                  <a:pt x="2" y="17"/>
                </a:lnTo>
                <a:lnTo>
                  <a:pt x="0" y="13"/>
                </a:lnTo>
                <a:lnTo>
                  <a:pt x="2" y="11"/>
                </a:lnTo>
                <a:lnTo>
                  <a:pt x="6" y="9"/>
                </a:lnTo>
                <a:lnTo>
                  <a:pt x="17" y="7"/>
                </a:lnTo>
                <a:lnTo>
                  <a:pt x="29" y="5"/>
                </a:lnTo>
                <a:lnTo>
                  <a:pt x="33" y="2"/>
                </a:lnTo>
                <a:lnTo>
                  <a:pt x="35" y="0"/>
                </a:lnTo>
                <a:lnTo>
                  <a:pt x="44" y="0"/>
                </a:lnTo>
                <a:lnTo>
                  <a:pt x="54" y="0"/>
                </a:lnTo>
                <a:lnTo>
                  <a:pt x="56" y="2"/>
                </a:lnTo>
                <a:lnTo>
                  <a:pt x="60" y="5"/>
                </a:lnTo>
                <a:lnTo>
                  <a:pt x="65" y="7"/>
                </a:lnTo>
                <a:lnTo>
                  <a:pt x="73" y="9"/>
                </a:lnTo>
                <a:lnTo>
                  <a:pt x="75" y="11"/>
                </a:lnTo>
                <a:lnTo>
                  <a:pt x="79" y="13"/>
                </a:lnTo>
                <a:lnTo>
                  <a:pt x="81" y="17"/>
                </a:lnTo>
                <a:lnTo>
                  <a:pt x="83" y="19"/>
                </a:lnTo>
                <a:lnTo>
                  <a:pt x="85" y="21"/>
                </a:lnTo>
                <a:lnTo>
                  <a:pt x="88" y="25"/>
                </a:lnTo>
                <a:lnTo>
                  <a:pt x="92" y="25"/>
                </a:lnTo>
                <a:lnTo>
                  <a:pt x="98" y="25"/>
                </a:lnTo>
                <a:lnTo>
                  <a:pt x="100" y="21"/>
                </a:lnTo>
                <a:lnTo>
                  <a:pt x="102" y="19"/>
                </a:lnTo>
                <a:lnTo>
                  <a:pt x="110" y="17"/>
                </a:lnTo>
                <a:lnTo>
                  <a:pt x="117" y="13"/>
                </a:lnTo>
                <a:lnTo>
                  <a:pt x="119" y="11"/>
                </a:lnTo>
                <a:lnTo>
                  <a:pt x="121" y="9"/>
                </a:lnTo>
                <a:lnTo>
                  <a:pt x="127" y="9"/>
                </a:lnTo>
                <a:lnTo>
                  <a:pt x="131" y="9"/>
                </a:lnTo>
                <a:lnTo>
                  <a:pt x="134" y="11"/>
                </a:lnTo>
                <a:lnTo>
                  <a:pt x="136" y="13"/>
                </a:lnTo>
                <a:lnTo>
                  <a:pt x="142" y="17"/>
                </a:lnTo>
                <a:lnTo>
                  <a:pt x="150" y="19"/>
                </a:lnTo>
                <a:lnTo>
                  <a:pt x="154" y="21"/>
                </a:lnTo>
                <a:lnTo>
                  <a:pt x="156" y="25"/>
                </a:lnTo>
                <a:lnTo>
                  <a:pt x="157" y="30"/>
                </a:lnTo>
                <a:lnTo>
                  <a:pt x="159" y="38"/>
                </a:lnTo>
                <a:lnTo>
                  <a:pt x="163" y="40"/>
                </a:lnTo>
                <a:lnTo>
                  <a:pt x="165" y="44"/>
                </a:lnTo>
                <a:lnTo>
                  <a:pt x="175" y="46"/>
                </a:lnTo>
                <a:lnTo>
                  <a:pt x="186" y="48"/>
                </a:lnTo>
                <a:lnTo>
                  <a:pt x="184" y="53"/>
                </a:lnTo>
                <a:lnTo>
                  <a:pt x="184" y="57"/>
                </a:lnTo>
              </a:path>
            </a:pathLst>
          </a:custGeom>
          <a:solidFill>
            <a:schemeClr val="accent3"/>
          </a:solidFill>
          <a:ln w="12700">
            <a:solidFill>
              <a:schemeClr val="bg1"/>
            </a:solidFill>
            <a:round/>
            <a:headEnd/>
            <a:tailEnd/>
          </a:ln>
        </p:spPr>
        <p:txBody>
          <a:bodyPr/>
          <a:lstStyle/>
          <a:p>
            <a:endParaRPr lang="en-GB"/>
          </a:p>
        </p:txBody>
      </p:sp>
      <p:sp>
        <p:nvSpPr>
          <p:cNvPr id="73" name="Freeform 340"/>
          <p:cNvSpPr>
            <a:spLocks/>
          </p:cNvSpPr>
          <p:nvPr>
            <p:custDataLst>
              <p:tags r:id="rId57"/>
            </p:custDataLst>
          </p:nvPr>
        </p:nvSpPr>
        <p:spPr bwMode="auto">
          <a:xfrm>
            <a:off x="1427552" y="3991976"/>
            <a:ext cx="252224" cy="277307"/>
          </a:xfrm>
          <a:custGeom>
            <a:avLst/>
            <a:gdLst>
              <a:gd name="T0" fmla="*/ 2147483647 w 185"/>
              <a:gd name="T1" fmla="*/ 2147483647 h 213"/>
              <a:gd name="T2" fmla="*/ 2147483647 w 185"/>
              <a:gd name="T3" fmla="*/ 2147483647 h 213"/>
              <a:gd name="T4" fmla="*/ 2147483647 w 185"/>
              <a:gd name="T5" fmla="*/ 2147483647 h 213"/>
              <a:gd name="T6" fmla="*/ 2147483647 w 185"/>
              <a:gd name="T7" fmla="*/ 2147483647 h 213"/>
              <a:gd name="T8" fmla="*/ 2147483647 w 185"/>
              <a:gd name="T9" fmla="*/ 2147483647 h 213"/>
              <a:gd name="T10" fmla="*/ 2147483647 w 185"/>
              <a:gd name="T11" fmla="*/ 2147483647 h 213"/>
              <a:gd name="T12" fmla="*/ 2147483647 w 185"/>
              <a:gd name="T13" fmla="*/ 2147483647 h 213"/>
              <a:gd name="T14" fmla="*/ 2147483647 w 185"/>
              <a:gd name="T15" fmla="*/ 2147483647 h 213"/>
              <a:gd name="T16" fmla="*/ 2147483647 w 185"/>
              <a:gd name="T17" fmla="*/ 2147483647 h 213"/>
              <a:gd name="T18" fmla="*/ 2147483647 w 185"/>
              <a:gd name="T19" fmla="*/ 2147483647 h 213"/>
              <a:gd name="T20" fmla="*/ 2147483647 w 185"/>
              <a:gd name="T21" fmla="*/ 2147483647 h 213"/>
              <a:gd name="T22" fmla="*/ 2147483647 w 185"/>
              <a:gd name="T23" fmla="*/ 2147483647 h 213"/>
              <a:gd name="T24" fmla="*/ 2147483647 w 185"/>
              <a:gd name="T25" fmla="*/ 2147483647 h 213"/>
              <a:gd name="T26" fmla="*/ 2147483647 w 185"/>
              <a:gd name="T27" fmla="*/ 2147483647 h 213"/>
              <a:gd name="T28" fmla="*/ 2147483647 w 185"/>
              <a:gd name="T29" fmla="*/ 2147483647 h 213"/>
              <a:gd name="T30" fmla="*/ 2147483647 w 185"/>
              <a:gd name="T31" fmla="*/ 2147483647 h 213"/>
              <a:gd name="T32" fmla="*/ 2147483647 w 185"/>
              <a:gd name="T33" fmla="*/ 0 h 213"/>
              <a:gd name="T34" fmla="*/ 2147483647 w 185"/>
              <a:gd name="T35" fmla="*/ 2147483647 h 213"/>
              <a:gd name="T36" fmla="*/ 2147483647 w 185"/>
              <a:gd name="T37" fmla="*/ 2147483647 h 213"/>
              <a:gd name="T38" fmla="*/ 2147483647 w 185"/>
              <a:gd name="T39" fmla="*/ 2147483647 h 213"/>
              <a:gd name="T40" fmla="*/ 2147483647 w 185"/>
              <a:gd name="T41" fmla="*/ 2147483647 h 213"/>
              <a:gd name="T42" fmla="*/ 2147483647 w 185"/>
              <a:gd name="T43" fmla="*/ 2147483647 h 213"/>
              <a:gd name="T44" fmla="*/ 2147483647 w 185"/>
              <a:gd name="T45" fmla="*/ 2147483647 h 213"/>
              <a:gd name="T46" fmla="*/ 2147483647 w 185"/>
              <a:gd name="T47" fmla="*/ 2147483647 h 213"/>
              <a:gd name="T48" fmla="*/ 2147483647 w 185"/>
              <a:gd name="T49" fmla="*/ 2147483647 h 213"/>
              <a:gd name="T50" fmla="*/ 2147483647 w 185"/>
              <a:gd name="T51" fmla="*/ 2147483647 h 213"/>
              <a:gd name="T52" fmla="*/ 2147483647 w 185"/>
              <a:gd name="T53" fmla="*/ 2147483647 h 213"/>
              <a:gd name="T54" fmla="*/ 2147483647 w 185"/>
              <a:gd name="T55" fmla="*/ 2147483647 h 213"/>
              <a:gd name="T56" fmla="*/ 2147483647 w 185"/>
              <a:gd name="T57" fmla="*/ 2147483647 h 213"/>
              <a:gd name="T58" fmla="*/ 2147483647 w 185"/>
              <a:gd name="T59" fmla="*/ 2147483647 h 213"/>
              <a:gd name="T60" fmla="*/ 2147483647 w 185"/>
              <a:gd name="T61" fmla="*/ 2147483647 h 213"/>
              <a:gd name="T62" fmla="*/ 2147483647 w 185"/>
              <a:gd name="T63" fmla="*/ 2147483647 h 213"/>
              <a:gd name="T64" fmla="*/ 2147483647 w 185"/>
              <a:gd name="T65" fmla="*/ 2147483647 h 213"/>
              <a:gd name="T66" fmla="*/ 2147483647 w 185"/>
              <a:gd name="T67" fmla="*/ 2147483647 h 213"/>
              <a:gd name="T68" fmla="*/ 2147483647 w 185"/>
              <a:gd name="T69" fmla="*/ 2147483647 h 213"/>
              <a:gd name="T70" fmla="*/ 2147483647 w 185"/>
              <a:gd name="T71" fmla="*/ 2147483647 h 213"/>
              <a:gd name="T72" fmla="*/ 2147483647 w 185"/>
              <a:gd name="T73" fmla="*/ 2147483647 h 213"/>
              <a:gd name="T74" fmla="*/ 2147483647 w 185"/>
              <a:gd name="T75" fmla="*/ 2147483647 h 213"/>
              <a:gd name="T76" fmla="*/ 2147483647 w 185"/>
              <a:gd name="T77" fmla="*/ 2147483647 h 213"/>
              <a:gd name="T78" fmla="*/ 2147483647 w 185"/>
              <a:gd name="T79" fmla="*/ 2147483647 h 213"/>
              <a:gd name="T80" fmla="*/ 2147483647 w 185"/>
              <a:gd name="T81" fmla="*/ 2147483647 h 213"/>
              <a:gd name="T82" fmla="*/ 2147483647 w 185"/>
              <a:gd name="T83" fmla="*/ 2147483647 h 213"/>
              <a:gd name="T84" fmla="*/ 2147483647 w 185"/>
              <a:gd name="T85" fmla="*/ 2147483647 h 213"/>
              <a:gd name="T86" fmla="*/ 2147483647 w 185"/>
              <a:gd name="T87" fmla="*/ 2147483647 h 213"/>
              <a:gd name="T88" fmla="*/ 2147483647 w 185"/>
              <a:gd name="T89" fmla="*/ 2147483647 h 213"/>
              <a:gd name="T90" fmla="*/ 2147483647 w 185"/>
              <a:gd name="T91" fmla="*/ 2147483647 h 213"/>
              <a:gd name="T92" fmla="*/ 2147483647 w 185"/>
              <a:gd name="T93" fmla="*/ 2147483647 h 213"/>
              <a:gd name="T94" fmla="*/ 2147483647 w 185"/>
              <a:gd name="T95" fmla="*/ 2147483647 h 213"/>
              <a:gd name="T96" fmla="*/ 2147483647 w 185"/>
              <a:gd name="T97" fmla="*/ 2147483647 h 213"/>
              <a:gd name="T98" fmla="*/ 2147483647 w 185"/>
              <a:gd name="T99" fmla="*/ 2147483647 h 213"/>
              <a:gd name="T100" fmla="*/ 2147483647 w 185"/>
              <a:gd name="T101" fmla="*/ 2147483647 h 213"/>
              <a:gd name="T102" fmla="*/ 2147483647 w 185"/>
              <a:gd name="T103" fmla="*/ 2147483647 h 213"/>
              <a:gd name="T104" fmla="*/ 2147483647 w 185"/>
              <a:gd name="T105" fmla="*/ 2147483647 h 213"/>
              <a:gd name="T106" fmla="*/ 2147483647 w 185"/>
              <a:gd name="T107" fmla="*/ 2147483647 h 213"/>
              <a:gd name="T108" fmla="*/ 2147483647 w 185"/>
              <a:gd name="T109" fmla="*/ 2147483647 h 213"/>
              <a:gd name="T110" fmla="*/ 2147483647 w 185"/>
              <a:gd name="T111" fmla="*/ 2147483647 h 213"/>
              <a:gd name="T112" fmla="*/ 2147483647 w 185"/>
              <a:gd name="T113" fmla="*/ 2147483647 h 213"/>
              <a:gd name="T114" fmla="*/ 2147483647 w 185"/>
              <a:gd name="T115" fmla="*/ 2147483647 h 213"/>
              <a:gd name="T116" fmla="*/ 2147483647 w 185"/>
              <a:gd name="T117" fmla="*/ 2147483647 h 21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85"/>
              <a:gd name="T178" fmla="*/ 0 h 213"/>
              <a:gd name="T179" fmla="*/ 185 w 185"/>
              <a:gd name="T180" fmla="*/ 213 h 21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85" h="213">
                <a:moveTo>
                  <a:pt x="58" y="96"/>
                </a:moveTo>
                <a:lnTo>
                  <a:pt x="56" y="92"/>
                </a:lnTo>
                <a:lnTo>
                  <a:pt x="56" y="90"/>
                </a:lnTo>
                <a:lnTo>
                  <a:pt x="54" y="88"/>
                </a:lnTo>
                <a:lnTo>
                  <a:pt x="50" y="88"/>
                </a:lnTo>
                <a:lnTo>
                  <a:pt x="45" y="86"/>
                </a:lnTo>
                <a:lnTo>
                  <a:pt x="35" y="86"/>
                </a:lnTo>
                <a:lnTo>
                  <a:pt x="31" y="84"/>
                </a:lnTo>
                <a:lnTo>
                  <a:pt x="29" y="82"/>
                </a:lnTo>
                <a:lnTo>
                  <a:pt x="27" y="75"/>
                </a:lnTo>
                <a:lnTo>
                  <a:pt x="23" y="67"/>
                </a:lnTo>
                <a:lnTo>
                  <a:pt x="21" y="65"/>
                </a:lnTo>
                <a:lnTo>
                  <a:pt x="20" y="61"/>
                </a:lnTo>
                <a:lnTo>
                  <a:pt x="12" y="59"/>
                </a:lnTo>
                <a:lnTo>
                  <a:pt x="4" y="57"/>
                </a:lnTo>
                <a:lnTo>
                  <a:pt x="2" y="55"/>
                </a:lnTo>
                <a:lnTo>
                  <a:pt x="0" y="53"/>
                </a:lnTo>
                <a:lnTo>
                  <a:pt x="2" y="50"/>
                </a:lnTo>
                <a:lnTo>
                  <a:pt x="4" y="48"/>
                </a:lnTo>
                <a:lnTo>
                  <a:pt x="8" y="46"/>
                </a:lnTo>
                <a:lnTo>
                  <a:pt x="10" y="44"/>
                </a:lnTo>
                <a:lnTo>
                  <a:pt x="12" y="40"/>
                </a:lnTo>
                <a:lnTo>
                  <a:pt x="14" y="38"/>
                </a:lnTo>
                <a:lnTo>
                  <a:pt x="18" y="30"/>
                </a:lnTo>
                <a:lnTo>
                  <a:pt x="20" y="23"/>
                </a:lnTo>
                <a:lnTo>
                  <a:pt x="21" y="21"/>
                </a:lnTo>
                <a:lnTo>
                  <a:pt x="23" y="19"/>
                </a:lnTo>
                <a:lnTo>
                  <a:pt x="31" y="19"/>
                </a:lnTo>
                <a:lnTo>
                  <a:pt x="39" y="19"/>
                </a:lnTo>
                <a:lnTo>
                  <a:pt x="39" y="11"/>
                </a:lnTo>
                <a:lnTo>
                  <a:pt x="39" y="4"/>
                </a:lnTo>
                <a:lnTo>
                  <a:pt x="41" y="2"/>
                </a:lnTo>
                <a:lnTo>
                  <a:pt x="43" y="0"/>
                </a:lnTo>
                <a:lnTo>
                  <a:pt x="62" y="0"/>
                </a:lnTo>
                <a:lnTo>
                  <a:pt x="83" y="0"/>
                </a:lnTo>
                <a:lnTo>
                  <a:pt x="85" y="2"/>
                </a:lnTo>
                <a:lnTo>
                  <a:pt x="87" y="4"/>
                </a:lnTo>
                <a:lnTo>
                  <a:pt x="89" y="7"/>
                </a:lnTo>
                <a:lnTo>
                  <a:pt x="92" y="9"/>
                </a:lnTo>
                <a:lnTo>
                  <a:pt x="94" y="11"/>
                </a:lnTo>
                <a:lnTo>
                  <a:pt x="96" y="15"/>
                </a:lnTo>
                <a:lnTo>
                  <a:pt x="110" y="17"/>
                </a:lnTo>
                <a:lnTo>
                  <a:pt x="121" y="19"/>
                </a:lnTo>
                <a:lnTo>
                  <a:pt x="123" y="21"/>
                </a:lnTo>
                <a:lnTo>
                  <a:pt x="125" y="23"/>
                </a:lnTo>
                <a:lnTo>
                  <a:pt x="131" y="21"/>
                </a:lnTo>
                <a:lnTo>
                  <a:pt x="135" y="19"/>
                </a:lnTo>
                <a:lnTo>
                  <a:pt x="144" y="19"/>
                </a:lnTo>
                <a:lnTo>
                  <a:pt x="156" y="19"/>
                </a:lnTo>
                <a:lnTo>
                  <a:pt x="156" y="21"/>
                </a:lnTo>
                <a:lnTo>
                  <a:pt x="156" y="23"/>
                </a:lnTo>
                <a:lnTo>
                  <a:pt x="152" y="27"/>
                </a:lnTo>
                <a:lnTo>
                  <a:pt x="150" y="29"/>
                </a:lnTo>
                <a:lnTo>
                  <a:pt x="152" y="30"/>
                </a:lnTo>
                <a:lnTo>
                  <a:pt x="156" y="32"/>
                </a:lnTo>
                <a:lnTo>
                  <a:pt x="158" y="30"/>
                </a:lnTo>
                <a:lnTo>
                  <a:pt x="160" y="29"/>
                </a:lnTo>
                <a:lnTo>
                  <a:pt x="162" y="30"/>
                </a:lnTo>
                <a:lnTo>
                  <a:pt x="163" y="32"/>
                </a:lnTo>
                <a:lnTo>
                  <a:pt x="171" y="36"/>
                </a:lnTo>
                <a:lnTo>
                  <a:pt x="179" y="38"/>
                </a:lnTo>
                <a:lnTo>
                  <a:pt x="181" y="40"/>
                </a:lnTo>
                <a:lnTo>
                  <a:pt x="185" y="44"/>
                </a:lnTo>
                <a:lnTo>
                  <a:pt x="185" y="55"/>
                </a:lnTo>
                <a:lnTo>
                  <a:pt x="185" y="67"/>
                </a:lnTo>
                <a:lnTo>
                  <a:pt x="173" y="67"/>
                </a:lnTo>
                <a:lnTo>
                  <a:pt x="163" y="67"/>
                </a:lnTo>
                <a:lnTo>
                  <a:pt x="163" y="80"/>
                </a:lnTo>
                <a:lnTo>
                  <a:pt x="163" y="92"/>
                </a:lnTo>
                <a:lnTo>
                  <a:pt x="162" y="94"/>
                </a:lnTo>
                <a:lnTo>
                  <a:pt x="160" y="96"/>
                </a:lnTo>
                <a:lnTo>
                  <a:pt x="160" y="105"/>
                </a:lnTo>
                <a:lnTo>
                  <a:pt x="160" y="115"/>
                </a:lnTo>
                <a:lnTo>
                  <a:pt x="162" y="119"/>
                </a:lnTo>
                <a:lnTo>
                  <a:pt x="163" y="121"/>
                </a:lnTo>
                <a:lnTo>
                  <a:pt x="167" y="126"/>
                </a:lnTo>
                <a:lnTo>
                  <a:pt x="169" y="134"/>
                </a:lnTo>
                <a:lnTo>
                  <a:pt x="171" y="138"/>
                </a:lnTo>
                <a:lnTo>
                  <a:pt x="173" y="140"/>
                </a:lnTo>
                <a:lnTo>
                  <a:pt x="177" y="148"/>
                </a:lnTo>
                <a:lnTo>
                  <a:pt x="179" y="155"/>
                </a:lnTo>
                <a:lnTo>
                  <a:pt x="181" y="157"/>
                </a:lnTo>
                <a:lnTo>
                  <a:pt x="185" y="159"/>
                </a:lnTo>
                <a:lnTo>
                  <a:pt x="185" y="174"/>
                </a:lnTo>
                <a:lnTo>
                  <a:pt x="185" y="188"/>
                </a:lnTo>
                <a:lnTo>
                  <a:pt x="181" y="190"/>
                </a:lnTo>
                <a:lnTo>
                  <a:pt x="179" y="194"/>
                </a:lnTo>
                <a:lnTo>
                  <a:pt x="171" y="199"/>
                </a:lnTo>
                <a:lnTo>
                  <a:pt x="163" y="207"/>
                </a:lnTo>
                <a:lnTo>
                  <a:pt x="162" y="209"/>
                </a:lnTo>
                <a:lnTo>
                  <a:pt x="160" y="213"/>
                </a:lnTo>
                <a:lnTo>
                  <a:pt x="154" y="213"/>
                </a:lnTo>
                <a:lnTo>
                  <a:pt x="150" y="213"/>
                </a:lnTo>
                <a:lnTo>
                  <a:pt x="148" y="209"/>
                </a:lnTo>
                <a:lnTo>
                  <a:pt x="144" y="207"/>
                </a:lnTo>
                <a:lnTo>
                  <a:pt x="135" y="207"/>
                </a:lnTo>
                <a:lnTo>
                  <a:pt x="125" y="207"/>
                </a:lnTo>
                <a:lnTo>
                  <a:pt x="123" y="209"/>
                </a:lnTo>
                <a:lnTo>
                  <a:pt x="121" y="213"/>
                </a:lnTo>
                <a:lnTo>
                  <a:pt x="98" y="213"/>
                </a:lnTo>
                <a:lnTo>
                  <a:pt x="77" y="213"/>
                </a:lnTo>
                <a:lnTo>
                  <a:pt x="75" y="194"/>
                </a:lnTo>
                <a:lnTo>
                  <a:pt x="73" y="174"/>
                </a:lnTo>
                <a:lnTo>
                  <a:pt x="69" y="171"/>
                </a:lnTo>
                <a:lnTo>
                  <a:pt x="68" y="169"/>
                </a:lnTo>
                <a:lnTo>
                  <a:pt x="66" y="167"/>
                </a:lnTo>
                <a:lnTo>
                  <a:pt x="64" y="165"/>
                </a:lnTo>
                <a:lnTo>
                  <a:pt x="60" y="161"/>
                </a:lnTo>
                <a:lnTo>
                  <a:pt x="58" y="159"/>
                </a:lnTo>
                <a:lnTo>
                  <a:pt x="56" y="157"/>
                </a:lnTo>
                <a:lnTo>
                  <a:pt x="52" y="155"/>
                </a:lnTo>
                <a:lnTo>
                  <a:pt x="50" y="151"/>
                </a:lnTo>
                <a:lnTo>
                  <a:pt x="48" y="149"/>
                </a:lnTo>
                <a:lnTo>
                  <a:pt x="50" y="148"/>
                </a:lnTo>
                <a:lnTo>
                  <a:pt x="52" y="144"/>
                </a:lnTo>
                <a:lnTo>
                  <a:pt x="56" y="124"/>
                </a:lnTo>
                <a:lnTo>
                  <a:pt x="58" y="105"/>
                </a:lnTo>
                <a:lnTo>
                  <a:pt x="58" y="101"/>
                </a:lnTo>
                <a:lnTo>
                  <a:pt x="58" y="96"/>
                </a:lnTo>
              </a:path>
            </a:pathLst>
          </a:custGeom>
          <a:solidFill>
            <a:schemeClr val="accent3"/>
          </a:solidFill>
          <a:ln w="12700">
            <a:solidFill>
              <a:schemeClr val="bg1"/>
            </a:solidFill>
            <a:round/>
            <a:headEnd/>
            <a:tailEnd/>
          </a:ln>
        </p:spPr>
        <p:txBody>
          <a:bodyPr/>
          <a:lstStyle/>
          <a:p>
            <a:endParaRPr lang="en-GB"/>
          </a:p>
        </p:txBody>
      </p:sp>
      <p:sp>
        <p:nvSpPr>
          <p:cNvPr id="74" name="Freeform 341"/>
          <p:cNvSpPr>
            <a:spLocks/>
          </p:cNvSpPr>
          <p:nvPr>
            <p:custDataLst>
              <p:tags r:id="rId58"/>
            </p:custDataLst>
          </p:nvPr>
        </p:nvSpPr>
        <p:spPr bwMode="auto">
          <a:xfrm>
            <a:off x="1031796" y="4053290"/>
            <a:ext cx="234109" cy="215993"/>
          </a:xfrm>
          <a:custGeom>
            <a:avLst/>
            <a:gdLst>
              <a:gd name="T0" fmla="*/ 2147483647 w 172"/>
              <a:gd name="T1" fmla="*/ 2147483647 h 165"/>
              <a:gd name="T2" fmla="*/ 2147483647 w 172"/>
              <a:gd name="T3" fmla="*/ 2147483647 h 165"/>
              <a:gd name="T4" fmla="*/ 2147483647 w 172"/>
              <a:gd name="T5" fmla="*/ 2147483647 h 165"/>
              <a:gd name="T6" fmla="*/ 2147483647 w 172"/>
              <a:gd name="T7" fmla="*/ 2147483647 h 165"/>
              <a:gd name="T8" fmla="*/ 2147483647 w 172"/>
              <a:gd name="T9" fmla="*/ 2147483647 h 165"/>
              <a:gd name="T10" fmla="*/ 2147483647 w 172"/>
              <a:gd name="T11" fmla="*/ 2147483647 h 165"/>
              <a:gd name="T12" fmla="*/ 2147483647 w 172"/>
              <a:gd name="T13" fmla="*/ 2147483647 h 165"/>
              <a:gd name="T14" fmla="*/ 2147483647 w 172"/>
              <a:gd name="T15" fmla="*/ 2147483647 h 165"/>
              <a:gd name="T16" fmla="*/ 2147483647 w 172"/>
              <a:gd name="T17" fmla="*/ 2147483647 h 165"/>
              <a:gd name="T18" fmla="*/ 2147483647 w 172"/>
              <a:gd name="T19" fmla="*/ 2147483647 h 165"/>
              <a:gd name="T20" fmla="*/ 0 w 172"/>
              <a:gd name="T21" fmla="*/ 2147483647 h 165"/>
              <a:gd name="T22" fmla="*/ 0 w 172"/>
              <a:gd name="T23" fmla="*/ 2147483647 h 165"/>
              <a:gd name="T24" fmla="*/ 2147483647 w 172"/>
              <a:gd name="T25" fmla="*/ 2147483647 h 165"/>
              <a:gd name="T26" fmla="*/ 2147483647 w 172"/>
              <a:gd name="T27" fmla="*/ 2147483647 h 165"/>
              <a:gd name="T28" fmla="*/ 2147483647 w 172"/>
              <a:gd name="T29" fmla="*/ 2147483647 h 165"/>
              <a:gd name="T30" fmla="*/ 2147483647 w 172"/>
              <a:gd name="T31" fmla="*/ 2147483647 h 165"/>
              <a:gd name="T32" fmla="*/ 2147483647 w 172"/>
              <a:gd name="T33" fmla="*/ 0 h 165"/>
              <a:gd name="T34" fmla="*/ 2147483647 w 172"/>
              <a:gd name="T35" fmla="*/ 2147483647 h 165"/>
              <a:gd name="T36" fmla="*/ 2147483647 w 172"/>
              <a:gd name="T37" fmla="*/ 2147483647 h 165"/>
              <a:gd name="T38" fmla="*/ 2147483647 w 172"/>
              <a:gd name="T39" fmla="*/ 2147483647 h 165"/>
              <a:gd name="T40" fmla="*/ 2147483647 w 172"/>
              <a:gd name="T41" fmla="*/ 2147483647 h 165"/>
              <a:gd name="T42" fmla="*/ 2147483647 w 172"/>
              <a:gd name="T43" fmla="*/ 2147483647 h 165"/>
              <a:gd name="T44" fmla="*/ 2147483647 w 172"/>
              <a:gd name="T45" fmla="*/ 2147483647 h 165"/>
              <a:gd name="T46" fmla="*/ 2147483647 w 172"/>
              <a:gd name="T47" fmla="*/ 2147483647 h 165"/>
              <a:gd name="T48" fmla="*/ 2147483647 w 172"/>
              <a:gd name="T49" fmla="*/ 2147483647 h 165"/>
              <a:gd name="T50" fmla="*/ 2147483647 w 172"/>
              <a:gd name="T51" fmla="*/ 2147483647 h 165"/>
              <a:gd name="T52" fmla="*/ 2147483647 w 172"/>
              <a:gd name="T53" fmla="*/ 2147483647 h 165"/>
              <a:gd name="T54" fmla="*/ 2147483647 w 172"/>
              <a:gd name="T55" fmla="*/ 2147483647 h 165"/>
              <a:gd name="T56" fmla="*/ 2147483647 w 172"/>
              <a:gd name="T57" fmla="*/ 2147483647 h 165"/>
              <a:gd name="T58" fmla="*/ 2147483647 w 172"/>
              <a:gd name="T59" fmla="*/ 2147483647 h 165"/>
              <a:gd name="T60" fmla="*/ 2147483647 w 172"/>
              <a:gd name="T61" fmla="*/ 2147483647 h 165"/>
              <a:gd name="T62" fmla="*/ 2147483647 w 172"/>
              <a:gd name="T63" fmla="*/ 2147483647 h 165"/>
              <a:gd name="T64" fmla="*/ 2147483647 w 172"/>
              <a:gd name="T65" fmla="*/ 2147483647 h 165"/>
              <a:gd name="T66" fmla="*/ 2147483647 w 172"/>
              <a:gd name="T67" fmla="*/ 2147483647 h 165"/>
              <a:gd name="T68" fmla="*/ 2147483647 w 172"/>
              <a:gd name="T69" fmla="*/ 2147483647 h 165"/>
              <a:gd name="T70" fmla="*/ 2147483647 w 172"/>
              <a:gd name="T71" fmla="*/ 2147483647 h 165"/>
              <a:gd name="T72" fmla="*/ 2147483647 w 172"/>
              <a:gd name="T73" fmla="*/ 2147483647 h 165"/>
              <a:gd name="T74" fmla="*/ 2147483647 w 172"/>
              <a:gd name="T75" fmla="*/ 2147483647 h 165"/>
              <a:gd name="T76" fmla="*/ 2147483647 w 172"/>
              <a:gd name="T77" fmla="*/ 2147483647 h 165"/>
              <a:gd name="T78" fmla="*/ 2147483647 w 172"/>
              <a:gd name="T79" fmla="*/ 2147483647 h 165"/>
              <a:gd name="T80" fmla="*/ 2147483647 w 172"/>
              <a:gd name="T81" fmla="*/ 2147483647 h 165"/>
              <a:gd name="T82" fmla="*/ 2147483647 w 172"/>
              <a:gd name="T83" fmla="*/ 2147483647 h 165"/>
              <a:gd name="T84" fmla="*/ 2147483647 w 172"/>
              <a:gd name="T85" fmla="*/ 2147483647 h 165"/>
              <a:gd name="T86" fmla="*/ 2147483647 w 172"/>
              <a:gd name="T87" fmla="*/ 2147483647 h 165"/>
              <a:gd name="T88" fmla="*/ 2147483647 w 172"/>
              <a:gd name="T89" fmla="*/ 2147483647 h 1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72"/>
              <a:gd name="T136" fmla="*/ 0 h 165"/>
              <a:gd name="T137" fmla="*/ 172 w 172"/>
              <a:gd name="T138" fmla="*/ 165 h 16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72" h="165">
                <a:moveTo>
                  <a:pt x="67" y="165"/>
                </a:moveTo>
                <a:lnTo>
                  <a:pt x="67" y="159"/>
                </a:lnTo>
                <a:lnTo>
                  <a:pt x="67" y="155"/>
                </a:lnTo>
                <a:lnTo>
                  <a:pt x="71" y="155"/>
                </a:lnTo>
                <a:lnTo>
                  <a:pt x="76" y="155"/>
                </a:lnTo>
                <a:lnTo>
                  <a:pt x="76" y="136"/>
                </a:lnTo>
                <a:lnTo>
                  <a:pt x="76" y="117"/>
                </a:lnTo>
                <a:lnTo>
                  <a:pt x="71" y="117"/>
                </a:lnTo>
                <a:lnTo>
                  <a:pt x="67" y="117"/>
                </a:lnTo>
                <a:lnTo>
                  <a:pt x="67" y="105"/>
                </a:lnTo>
                <a:lnTo>
                  <a:pt x="69" y="94"/>
                </a:lnTo>
                <a:lnTo>
                  <a:pt x="57" y="86"/>
                </a:lnTo>
                <a:lnTo>
                  <a:pt x="48" y="80"/>
                </a:lnTo>
                <a:lnTo>
                  <a:pt x="42" y="71"/>
                </a:lnTo>
                <a:lnTo>
                  <a:pt x="38" y="57"/>
                </a:lnTo>
                <a:lnTo>
                  <a:pt x="28" y="57"/>
                </a:lnTo>
                <a:lnTo>
                  <a:pt x="19" y="57"/>
                </a:lnTo>
                <a:lnTo>
                  <a:pt x="11" y="57"/>
                </a:lnTo>
                <a:lnTo>
                  <a:pt x="4" y="57"/>
                </a:lnTo>
                <a:lnTo>
                  <a:pt x="2" y="55"/>
                </a:lnTo>
                <a:lnTo>
                  <a:pt x="0" y="53"/>
                </a:lnTo>
                <a:lnTo>
                  <a:pt x="0" y="52"/>
                </a:lnTo>
                <a:lnTo>
                  <a:pt x="0" y="48"/>
                </a:lnTo>
                <a:lnTo>
                  <a:pt x="0" y="44"/>
                </a:lnTo>
                <a:lnTo>
                  <a:pt x="0" y="38"/>
                </a:lnTo>
                <a:lnTo>
                  <a:pt x="4" y="34"/>
                </a:lnTo>
                <a:lnTo>
                  <a:pt x="9" y="29"/>
                </a:lnTo>
                <a:lnTo>
                  <a:pt x="13" y="25"/>
                </a:lnTo>
                <a:lnTo>
                  <a:pt x="19" y="19"/>
                </a:lnTo>
                <a:lnTo>
                  <a:pt x="23" y="15"/>
                </a:lnTo>
                <a:lnTo>
                  <a:pt x="28" y="9"/>
                </a:lnTo>
                <a:lnTo>
                  <a:pt x="28" y="4"/>
                </a:lnTo>
                <a:lnTo>
                  <a:pt x="28" y="0"/>
                </a:lnTo>
                <a:lnTo>
                  <a:pt x="38" y="0"/>
                </a:lnTo>
                <a:lnTo>
                  <a:pt x="48" y="0"/>
                </a:lnTo>
                <a:lnTo>
                  <a:pt x="57" y="9"/>
                </a:lnTo>
                <a:lnTo>
                  <a:pt x="67" y="19"/>
                </a:lnTo>
                <a:lnTo>
                  <a:pt x="67" y="25"/>
                </a:lnTo>
                <a:lnTo>
                  <a:pt x="67" y="29"/>
                </a:lnTo>
                <a:lnTo>
                  <a:pt x="80" y="25"/>
                </a:lnTo>
                <a:lnTo>
                  <a:pt x="96" y="19"/>
                </a:lnTo>
                <a:lnTo>
                  <a:pt x="99" y="19"/>
                </a:lnTo>
                <a:lnTo>
                  <a:pt x="105" y="19"/>
                </a:lnTo>
                <a:lnTo>
                  <a:pt x="105" y="25"/>
                </a:lnTo>
                <a:lnTo>
                  <a:pt x="105" y="29"/>
                </a:lnTo>
                <a:lnTo>
                  <a:pt x="122" y="29"/>
                </a:lnTo>
                <a:lnTo>
                  <a:pt x="130" y="29"/>
                </a:lnTo>
                <a:lnTo>
                  <a:pt x="134" y="27"/>
                </a:lnTo>
                <a:lnTo>
                  <a:pt x="134" y="25"/>
                </a:lnTo>
                <a:lnTo>
                  <a:pt x="136" y="21"/>
                </a:lnTo>
                <a:lnTo>
                  <a:pt x="140" y="19"/>
                </a:lnTo>
                <a:lnTo>
                  <a:pt x="144" y="19"/>
                </a:lnTo>
                <a:lnTo>
                  <a:pt x="149" y="19"/>
                </a:lnTo>
                <a:lnTo>
                  <a:pt x="151" y="21"/>
                </a:lnTo>
                <a:lnTo>
                  <a:pt x="153" y="25"/>
                </a:lnTo>
                <a:lnTo>
                  <a:pt x="155" y="30"/>
                </a:lnTo>
                <a:lnTo>
                  <a:pt x="159" y="38"/>
                </a:lnTo>
                <a:lnTo>
                  <a:pt x="161" y="40"/>
                </a:lnTo>
                <a:lnTo>
                  <a:pt x="163" y="44"/>
                </a:lnTo>
                <a:lnTo>
                  <a:pt x="165" y="46"/>
                </a:lnTo>
                <a:lnTo>
                  <a:pt x="169" y="48"/>
                </a:lnTo>
                <a:lnTo>
                  <a:pt x="170" y="52"/>
                </a:lnTo>
                <a:lnTo>
                  <a:pt x="172" y="53"/>
                </a:lnTo>
                <a:lnTo>
                  <a:pt x="172" y="57"/>
                </a:lnTo>
                <a:lnTo>
                  <a:pt x="172" y="63"/>
                </a:lnTo>
                <a:lnTo>
                  <a:pt x="170" y="65"/>
                </a:lnTo>
                <a:lnTo>
                  <a:pt x="169" y="67"/>
                </a:lnTo>
                <a:lnTo>
                  <a:pt x="170" y="90"/>
                </a:lnTo>
                <a:lnTo>
                  <a:pt x="172" y="111"/>
                </a:lnTo>
                <a:lnTo>
                  <a:pt x="170" y="113"/>
                </a:lnTo>
                <a:lnTo>
                  <a:pt x="169" y="117"/>
                </a:lnTo>
                <a:lnTo>
                  <a:pt x="165" y="119"/>
                </a:lnTo>
                <a:lnTo>
                  <a:pt x="163" y="121"/>
                </a:lnTo>
                <a:lnTo>
                  <a:pt x="161" y="123"/>
                </a:lnTo>
                <a:lnTo>
                  <a:pt x="159" y="126"/>
                </a:lnTo>
                <a:lnTo>
                  <a:pt x="151" y="128"/>
                </a:lnTo>
                <a:lnTo>
                  <a:pt x="144" y="130"/>
                </a:lnTo>
                <a:lnTo>
                  <a:pt x="142" y="132"/>
                </a:lnTo>
                <a:lnTo>
                  <a:pt x="140" y="136"/>
                </a:lnTo>
                <a:lnTo>
                  <a:pt x="136" y="138"/>
                </a:lnTo>
                <a:lnTo>
                  <a:pt x="134" y="140"/>
                </a:lnTo>
                <a:lnTo>
                  <a:pt x="132" y="142"/>
                </a:lnTo>
                <a:lnTo>
                  <a:pt x="130" y="146"/>
                </a:lnTo>
                <a:lnTo>
                  <a:pt x="126" y="146"/>
                </a:lnTo>
                <a:lnTo>
                  <a:pt x="124" y="147"/>
                </a:lnTo>
                <a:lnTo>
                  <a:pt x="124" y="153"/>
                </a:lnTo>
                <a:lnTo>
                  <a:pt x="124" y="165"/>
                </a:lnTo>
                <a:lnTo>
                  <a:pt x="99" y="165"/>
                </a:lnTo>
                <a:lnTo>
                  <a:pt x="76" y="165"/>
                </a:lnTo>
                <a:lnTo>
                  <a:pt x="71" y="165"/>
                </a:lnTo>
                <a:lnTo>
                  <a:pt x="67" y="165"/>
                </a:lnTo>
              </a:path>
            </a:pathLst>
          </a:custGeom>
          <a:solidFill>
            <a:schemeClr val="accent3"/>
          </a:solidFill>
          <a:ln w="12700">
            <a:solidFill>
              <a:schemeClr val="bg1"/>
            </a:solidFill>
            <a:round/>
            <a:headEnd/>
            <a:tailEnd/>
          </a:ln>
        </p:spPr>
        <p:txBody>
          <a:bodyPr/>
          <a:lstStyle/>
          <a:p>
            <a:endParaRPr lang="en-GB"/>
          </a:p>
        </p:txBody>
      </p:sp>
      <p:sp>
        <p:nvSpPr>
          <p:cNvPr id="75" name="Freeform 342"/>
          <p:cNvSpPr>
            <a:spLocks/>
          </p:cNvSpPr>
          <p:nvPr>
            <p:custDataLst>
              <p:tags r:id="rId59"/>
            </p:custDataLst>
          </p:nvPr>
        </p:nvSpPr>
        <p:spPr bwMode="auto">
          <a:xfrm>
            <a:off x="1682563" y="3890250"/>
            <a:ext cx="259192" cy="224355"/>
          </a:xfrm>
          <a:custGeom>
            <a:avLst/>
            <a:gdLst>
              <a:gd name="T0" fmla="*/ 2147483647 w 186"/>
              <a:gd name="T1" fmla="*/ 2147483647 h 173"/>
              <a:gd name="T2" fmla="*/ 2147483647 w 186"/>
              <a:gd name="T3" fmla="*/ 2147483647 h 173"/>
              <a:gd name="T4" fmla="*/ 2147483647 w 186"/>
              <a:gd name="T5" fmla="*/ 2147483647 h 173"/>
              <a:gd name="T6" fmla="*/ 0 w 186"/>
              <a:gd name="T7" fmla="*/ 2147483647 h 173"/>
              <a:gd name="T8" fmla="*/ 2147483647 w 186"/>
              <a:gd name="T9" fmla="*/ 2147483647 h 173"/>
              <a:gd name="T10" fmla="*/ 2147483647 w 186"/>
              <a:gd name="T11" fmla="*/ 2147483647 h 173"/>
              <a:gd name="T12" fmla="*/ 2147483647 w 186"/>
              <a:gd name="T13" fmla="*/ 2147483647 h 173"/>
              <a:gd name="T14" fmla="*/ 2147483647 w 186"/>
              <a:gd name="T15" fmla="*/ 2147483647 h 173"/>
              <a:gd name="T16" fmla="*/ 2147483647 w 186"/>
              <a:gd name="T17" fmla="*/ 2147483647 h 173"/>
              <a:gd name="T18" fmla="*/ 2147483647 w 186"/>
              <a:gd name="T19" fmla="*/ 2147483647 h 173"/>
              <a:gd name="T20" fmla="*/ 2147483647 w 186"/>
              <a:gd name="T21" fmla="*/ 2147483647 h 173"/>
              <a:gd name="T22" fmla="*/ 2147483647 w 186"/>
              <a:gd name="T23" fmla="*/ 2147483647 h 173"/>
              <a:gd name="T24" fmla="*/ 2147483647 w 186"/>
              <a:gd name="T25" fmla="*/ 0 h 173"/>
              <a:gd name="T26" fmla="*/ 2147483647 w 186"/>
              <a:gd name="T27" fmla="*/ 2147483647 h 173"/>
              <a:gd name="T28" fmla="*/ 2147483647 w 186"/>
              <a:gd name="T29" fmla="*/ 2147483647 h 173"/>
              <a:gd name="T30" fmla="*/ 2147483647 w 186"/>
              <a:gd name="T31" fmla="*/ 2147483647 h 173"/>
              <a:gd name="T32" fmla="*/ 2147483647 w 186"/>
              <a:gd name="T33" fmla="*/ 2147483647 h 173"/>
              <a:gd name="T34" fmla="*/ 2147483647 w 186"/>
              <a:gd name="T35" fmla="*/ 2147483647 h 173"/>
              <a:gd name="T36" fmla="*/ 2147483647 w 186"/>
              <a:gd name="T37" fmla="*/ 2147483647 h 173"/>
              <a:gd name="T38" fmla="*/ 2147483647 w 186"/>
              <a:gd name="T39" fmla="*/ 2147483647 h 173"/>
              <a:gd name="T40" fmla="*/ 2147483647 w 186"/>
              <a:gd name="T41" fmla="*/ 2147483647 h 173"/>
              <a:gd name="T42" fmla="*/ 2147483647 w 186"/>
              <a:gd name="T43" fmla="*/ 2147483647 h 173"/>
              <a:gd name="T44" fmla="*/ 2147483647 w 186"/>
              <a:gd name="T45" fmla="*/ 2147483647 h 173"/>
              <a:gd name="T46" fmla="*/ 2147483647 w 186"/>
              <a:gd name="T47" fmla="*/ 2147483647 h 173"/>
              <a:gd name="T48" fmla="*/ 2147483647 w 186"/>
              <a:gd name="T49" fmla="*/ 2147483647 h 173"/>
              <a:gd name="T50" fmla="*/ 2147483647 w 186"/>
              <a:gd name="T51" fmla="*/ 2147483647 h 173"/>
              <a:gd name="T52" fmla="*/ 2147483647 w 186"/>
              <a:gd name="T53" fmla="*/ 2147483647 h 173"/>
              <a:gd name="T54" fmla="*/ 2147483647 w 186"/>
              <a:gd name="T55" fmla="*/ 2147483647 h 173"/>
              <a:gd name="T56" fmla="*/ 2147483647 w 186"/>
              <a:gd name="T57" fmla="*/ 2147483647 h 173"/>
              <a:gd name="T58" fmla="*/ 2147483647 w 186"/>
              <a:gd name="T59" fmla="*/ 2147483647 h 173"/>
              <a:gd name="T60" fmla="*/ 2147483647 w 186"/>
              <a:gd name="T61" fmla="*/ 2147483647 h 173"/>
              <a:gd name="T62" fmla="*/ 2147483647 w 186"/>
              <a:gd name="T63" fmla="*/ 2147483647 h 173"/>
              <a:gd name="T64" fmla="*/ 2147483647 w 186"/>
              <a:gd name="T65" fmla="*/ 2147483647 h 173"/>
              <a:gd name="T66" fmla="*/ 2147483647 w 186"/>
              <a:gd name="T67" fmla="*/ 2147483647 h 173"/>
              <a:gd name="T68" fmla="*/ 2147483647 w 186"/>
              <a:gd name="T69" fmla="*/ 2147483647 h 173"/>
              <a:gd name="T70" fmla="*/ 2147483647 w 186"/>
              <a:gd name="T71" fmla="*/ 2147483647 h 173"/>
              <a:gd name="T72" fmla="*/ 2147483647 w 186"/>
              <a:gd name="T73" fmla="*/ 2147483647 h 173"/>
              <a:gd name="T74" fmla="*/ 2147483647 w 186"/>
              <a:gd name="T75" fmla="*/ 2147483647 h 173"/>
              <a:gd name="T76" fmla="*/ 2147483647 w 186"/>
              <a:gd name="T77" fmla="*/ 2147483647 h 173"/>
              <a:gd name="T78" fmla="*/ 2147483647 w 186"/>
              <a:gd name="T79" fmla="*/ 2147483647 h 173"/>
              <a:gd name="T80" fmla="*/ 2147483647 w 186"/>
              <a:gd name="T81" fmla="*/ 2147483647 h 173"/>
              <a:gd name="T82" fmla="*/ 2147483647 w 186"/>
              <a:gd name="T83" fmla="*/ 2147483647 h 173"/>
              <a:gd name="T84" fmla="*/ 2147483647 w 186"/>
              <a:gd name="T85" fmla="*/ 2147483647 h 1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6"/>
              <a:gd name="T130" fmla="*/ 0 h 173"/>
              <a:gd name="T131" fmla="*/ 186 w 186"/>
              <a:gd name="T132" fmla="*/ 173 h 17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6" h="173">
                <a:moveTo>
                  <a:pt x="18" y="173"/>
                </a:moveTo>
                <a:lnTo>
                  <a:pt x="16" y="171"/>
                </a:lnTo>
                <a:lnTo>
                  <a:pt x="14" y="169"/>
                </a:lnTo>
                <a:lnTo>
                  <a:pt x="8" y="152"/>
                </a:lnTo>
                <a:lnTo>
                  <a:pt x="4" y="140"/>
                </a:lnTo>
                <a:lnTo>
                  <a:pt x="2" y="136"/>
                </a:lnTo>
                <a:lnTo>
                  <a:pt x="0" y="130"/>
                </a:lnTo>
                <a:lnTo>
                  <a:pt x="0" y="127"/>
                </a:lnTo>
                <a:lnTo>
                  <a:pt x="2" y="119"/>
                </a:lnTo>
                <a:lnTo>
                  <a:pt x="4" y="117"/>
                </a:lnTo>
                <a:lnTo>
                  <a:pt x="6" y="113"/>
                </a:lnTo>
                <a:lnTo>
                  <a:pt x="8" y="111"/>
                </a:lnTo>
                <a:lnTo>
                  <a:pt x="12" y="111"/>
                </a:lnTo>
                <a:lnTo>
                  <a:pt x="18" y="104"/>
                </a:lnTo>
                <a:lnTo>
                  <a:pt x="23" y="96"/>
                </a:lnTo>
                <a:lnTo>
                  <a:pt x="37" y="86"/>
                </a:lnTo>
                <a:lnTo>
                  <a:pt x="43" y="83"/>
                </a:lnTo>
                <a:lnTo>
                  <a:pt x="44" y="81"/>
                </a:lnTo>
                <a:lnTo>
                  <a:pt x="50" y="71"/>
                </a:lnTo>
                <a:lnTo>
                  <a:pt x="54" y="65"/>
                </a:lnTo>
                <a:lnTo>
                  <a:pt x="60" y="58"/>
                </a:lnTo>
                <a:lnTo>
                  <a:pt x="66" y="50"/>
                </a:lnTo>
                <a:lnTo>
                  <a:pt x="69" y="36"/>
                </a:lnTo>
                <a:lnTo>
                  <a:pt x="75" y="17"/>
                </a:lnTo>
                <a:lnTo>
                  <a:pt x="81" y="0"/>
                </a:lnTo>
                <a:lnTo>
                  <a:pt x="83" y="0"/>
                </a:lnTo>
                <a:lnTo>
                  <a:pt x="85" y="0"/>
                </a:lnTo>
                <a:lnTo>
                  <a:pt x="89" y="2"/>
                </a:lnTo>
                <a:lnTo>
                  <a:pt x="91" y="4"/>
                </a:lnTo>
                <a:lnTo>
                  <a:pt x="92" y="6"/>
                </a:lnTo>
                <a:lnTo>
                  <a:pt x="94" y="10"/>
                </a:lnTo>
                <a:lnTo>
                  <a:pt x="98" y="12"/>
                </a:lnTo>
                <a:lnTo>
                  <a:pt x="100" y="13"/>
                </a:lnTo>
                <a:lnTo>
                  <a:pt x="104" y="15"/>
                </a:lnTo>
                <a:lnTo>
                  <a:pt x="110" y="19"/>
                </a:lnTo>
                <a:lnTo>
                  <a:pt x="114" y="21"/>
                </a:lnTo>
                <a:lnTo>
                  <a:pt x="117" y="23"/>
                </a:lnTo>
                <a:lnTo>
                  <a:pt x="123" y="27"/>
                </a:lnTo>
                <a:lnTo>
                  <a:pt x="127" y="33"/>
                </a:lnTo>
                <a:lnTo>
                  <a:pt x="135" y="38"/>
                </a:lnTo>
                <a:lnTo>
                  <a:pt x="140" y="46"/>
                </a:lnTo>
                <a:lnTo>
                  <a:pt x="146" y="48"/>
                </a:lnTo>
                <a:lnTo>
                  <a:pt x="152" y="54"/>
                </a:lnTo>
                <a:lnTo>
                  <a:pt x="158" y="58"/>
                </a:lnTo>
                <a:lnTo>
                  <a:pt x="165" y="63"/>
                </a:lnTo>
                <a:lnTo>
                  <a:pt x="169" y="65"/>
                </a:lnTo>
                <a:lnTo>
                  <a:pt x="173" y="69"/>
                </a:lnTo>
                <a:lnTo>
                  <a:pt x="177" y="71"/>
                </a:lnTo>
                <a:lnTo>
                  <a:pt x="181" y="75"/>
                </a:lnTo>
                <a:lnTo>
                  <a:pt x="183" y="79"/>
                </a:lnTo>
                <a:lnTo>
                  <a:pt x="186" y="84"/>
                </a:lnTo>
                <a:lnTo>
                  <a:pt x="183" y="84"/>
                </a:lnTo>
                <a:lnTo>
                  <a:pt x="171" y="88"/>
                </a:lnTo>
                <a:lnTo>
                  <a:pt x="167" y="92"/>
                </a:lnTo>
                <a:lnTo>
                  <a:pt x="165" y="94"/>
                </a:lnTo>
                <a:lnTo>
                  <a:pt x="169" y="96"/>
                </a:lnTo>
                <a:lnTo>
                  <a:pt x="177" y="96"/>
                </a:lnTo>
                <a:lnTo>
                  <a:pt x="177" y="104"/>
                </a:lnTo>
                <a:lnTo>
                  <a:pt x="177" y="109"/>
                </a:lnTo>
                <a:lnTo>
                  <a:pt x="175" y="113"/>
                </a:lnTo>
                <a:lnTo>
                  <a:pt x="173" y="115"/>
                </a:lnTo>
                <a:lnTo>
                  <a:pt x="165" y="119"/>
                </a:lnTo>
                <a:lnTo>
                  <a:pt x="158" y="125"/>
                </a:lnTo>
                <a:lnTo>
                  <a:pt x="154" y="125"/>
                </a:lnTo>
                <a:lnTo>
                  <a:pt x="148" y="125"/>
                </a:lnTo>
                <a:lnTo>
                  <a:pt x="138" y="125"/>
                </a:lnTo>
                <a:lnTo>
                  <a:pt x="129" y="125"/>
                </a:lnTo>
                <a:lnTo>
                  <a:pt x="129" y="132"/>
                </a:lnTo>
                <a:lnTo>
                  <a:pt x="129" y="138"/>
                </a:lnTo>
                <a:lnTo>
                  <a:pt x="127" y="142"/>
                </a:lnTo>
                <a:lnTo>
                  <a:pt x="125" y="144"/>
                </a:lnTo>
                <a:lnTo>
                  <a:pt x="108" y="152"/>
                </a:lnTo>
                <a:lnTo>
                  <a:pt x="91" y="159"/>
                </a:lnTo>
                <a:lnTo>
                  <a:pt x="89" y="161"/>
                </a:lnTo>
                <a:lnTo>
                  <a:pt x="85" y="163"/>
                </a:lnTo>
                <a:lnTo>
                  <a:pt x="83" y="161"/>
                </a:lnTo>
                <a:lnTo>
                  <a:pt x="81" y="159"/>
                </a:lnTo>
                <a:lnTo>
                  <a:pt x="66" y="159"/>
                </a:lnTo>
                <a:lnTo>
                  <a:pt x="52" y="159"/>
                </a:lnTo>
                <a:lnTo>
                  <a:pt x="50" y="161"/>
                </a:lnTo>
                <a:lnTo>
                  <a:pt x="46" y="163"/>
                </a:lnTo>
                <a:lnTo>
                  <a:pt x="39" y="165"/>
                </a:lnTo>
                <a:lnTo>
                  <a:pt x="33" y="169"/>
                </a:lnTo>
                <a:lnTo>
                  <a:pt x="29" y="171"/>
                </a:lnTo>
                <a:lnTo>
                  <a:pt x="27" y="173"/>
                </a:lnTo>
                <a:lnTo>
                  <a:pt x="23" y="173"/>
                </a:lnTo>
                <a:lnTo>
                  <a:pt x="18" y="173"/>
                </a:lnTo>
              </a:path>
            </a:pathLst>
          </a:custGeom>
          <a:solidFill>
            <a:schemeClr val="accent3"/>
          </a:solidFill>
          <a:ln w="12700">
            <a:solidFill>
              <a:schemeClr val="bg1"/>
            </a:solidFill>
            <a:round/>
            <a:headEnd/>
            <a:tailEnd/>
          </a:ln>
        </p:spPr>
        <p:txBody>
          <a:bodyPr/>
          <a:lstStyle/>
          <a:p>
            <a:endParaRPr lang="en-GB"/>
          </a:p>
        </p:txBody>
      </p:sp>
      <p:sp>
        <p:nvSpPr>
          <p:cNvPr id="76" name="Freeform 343"/>
          <p:cNvSpPr>
            <a:spLocks/>
          </p:cNvSpPr>
          <p:nvPr>
            <p:custDataLst>
              <p:tags r:id="rId60"/>
            </p:custDataLst>
          </p:nvPr>
        </p:nvSpPr>
        <p:spPr bwMode="auto">
          <a:xfrm>
            <a:off x="1306317" y="3736964"/>
            <a:ext cx="477973" cy="296817"/>
          </a:xfrm>
          <a:custGeom>
            <a:avLst/>
            <a:gdLst>
              <a:gd name="T0" fmla="*/ 2147483647 w 349"/>
              <a:gd name="T1" fmla="*/ 2147483647 h 228"/>
              <a:gd name="T2" fmla="*/ 2147483647 w 349"/>
              <a:gd name="T3" fmla="*/ 2147483647 h 228"/>
              <a:gd name="T4" fmla="*/ 2147483647 w 349"/>
              <a:gd name="T5" fmla="*/ 2147483647 h 228"/>
              <a:gd name="T6" fmla="*/ 2147483647 w 349"/>
              <a:gd name="T7" fmla="*/ 2147483647 h 228"/>
              <a:gd name="T8" fmla="*/ 2147483647 w 349"/>
              <a:gd name="T9" fmla="*/ 2147483647 h 228"/>
              <a:gd name="T10" fmla="*/ 2147483647 w 349"/>
              <a:gd name="T11" fmla="*/ 2147483647 h 228"/>
              <a:gd name="T12" fmla="*/ 2147483647 w 349"/>
              <a:gd name="T13" fmla="*/ 2147483647 h 228"/>
              <a:gd name="T14" fmla="*/ 2147483647 w 349"/>
              <a:gd name="T15" fmla="*/ 2147483647 h 228"/>
              <a:gd name="T16" fmla="*/ 2147483647 w 349"/>
              <a:gd name="T17" fmla="*/ 2147483647 h 228"/>
              <a:gd name="T18" fmla="*/ 2147483647 w 349"/>
              <a:gd name="T19" fmla="*/ 2147483647 h 228"/>
              <a:gd name="T20" fmla="*/ 2147483647 w 349"/>
              <a:gd name="T21" fmla="*/ 2147483647 h 228"/>
              <a:gd name="T22" fmla="*/ 2147483647 w 349"/>
              <a:gd name="T23" fmla="*/ 2147483647 h 228"/>
              <a:gd name="T24" fmla="*/ 2147483647 w 349"/>
              <a:gd name="T25" fmla="*/ 2147483647 h 228"/>
              <a:gd name="T26" fmla="*/ 2147483647 w 349"/>
              <a:gd name="T27" fmla="*/ 2147483647 h 228"/>
              <a:gd name="T28" fmla="*/ 2147483647 w 349"/>
              <a:gd name="T29" fmla="*/ 2147483647 h 228"/>
              <a:gd name="T30" fmla="*/ 2147483647 w 349"/>
              <a:gd name="T31" fmla="*/ 2147483647 h 228"/>
              <a:gd name="T32" fmla="*/ 2147483647 w 349"/>
              <a:gd name="T33" fmla="*/ 2147483647 h 228"/>
              <a:gd name="T34" fmla="*/ 2147483647 w 349"/>
              <a:gd name="T35" fmla="*/ 2147483647 h 228"/>
              <a:gd name="T36" fmla="*/ 2147483647 w 349"/>
              <a:gd name="T37" fmla="*/ 2147483647 h 228"/>
              <a:gd name="T38" fmla="*/ 2147483647 w 349"/>
              <a:gd name="T39" fmla="*/ 2147483647 h 228"/>
              <a:gd name="T40" fmla="*/ 2147483647 w 349"/>
              <a:gd name="T41" fmla="*/ 2147483647 h 228"/>
              <a:gd name="T42" fmla="*/ 2147483647 w 349"/>
              <a:gd name="T43" fmla="*/ 2147483647 h 228"/>
              <a:gd name="T44" fmla="*/ 2147483647 w 349"/>
              <a:gd name="T45" fmla="*/ 2147483647 h 228"/>
              <a:gd name="T46" fmla="*/ 2147483647 w 349"/>
              <a:gd name="T47" fmla="*/ 2147483647 h 228"/>
              <a:gd name="T48" fmla="*/ 2147483647 w 349"/>
              <a:gd name="T49" fmla="*/ 2147483647 h 228"/>
              <a:gd name="T50" fmla="*/ 2147483647 w 349"/>
              <a:gd name="T51" fmla="*/ 2147483647 h 228"/>
              <a:gd name="T52" fmla="*/ 2147483647 w 349"/>
              <a:gd name="T53" fmla="*/ 2147483647 h 228"/>
              <a:gd name="T54" fmla="*/ 2147483647 w 349"/>
              <a:gd name="T55" fmla="*/ 2147483647 h 228"/>
              <a:gd name="T56" fmla="*/ 2147483647 w 349"/>
              <a:gd name="T57" fmla="*/ 2147483647 h 228"/>
              <a:gd name="T58" fmla="*/ 2147483647 w 349"/>
              <a:gd name="T59" fmla="*/ 2147483647 h 228"/>
              <a:gd name="T60" fmla="*/ 2147483647 w 349"/>
              <a:gd name="T61" fmla="*/ 2147483647 h 228"/>
              <a:gd name="T62" fmla="*/ 2147483647 w 349"/>
              <a:gd name="T63" fmla="*/ 2147483647 h 228"/>
              <a:gd name="T64" fmla="*/ 2147483647 w 349"/>
              <a:gd name="T65" fmla="*/ 2147483647 h 228"/>
              <a:gd name="T66" fmla="*/ 2147483647 w 349"/>
              <a:gd name="T67" fmla="*/ 2147483647 h 228"/>
              <a:gd name="T68" fmla="*/ 2147483647 w 349"/>
              <a:gd name="T69" fmla="*/ 2147483647 h 228"/>
              <a:gd name="T70" fmla="*/ 2147483647 w 349"/>
              <a:gd name="T71" fmla="*/ 2147483647 h 228"/>
              <a:gd name="T72" fmla="*/ 2147483647 w 349"/>
              <a:gd name="T73" fmla="*/ 2147483647 h 228"/>
              <a:gd name="T74" fmla="*/ 2147483647 w 349"/>
              <a:gd name="T75" fmla="*/ 2147483647 h 228"/>
              <a:gd name="T76" fmla="*/ 2147483647 w 349"/>
              <a:gd name="T77" fmla="*/ 2147483647 h 228"/>
              <a:gd name="T78" fmla="*/ 2147483647 w 349"/>
              <a:gd name="T79" fmla="*/ 2147483647 h 228"/>
              <a:gd name="T80" fmla="*/ 2147483647 w 349"/>
              <a:gd name="T81" fmla="*/ 2147483647 h 228"/>
              <a:gd name="T82" fmla="*/ 2147483647 w 349"/>
              <a:gd name="T83" fmla="*/ 2147483647 h 228"/>
              <a:gd name="T84" fmla="*/ 2147483647 w 349"/>
              <a:gd name="T85" fmla="*/ 2147483647 h 228"/>
              <a:gd name="T86" fmla="*/ 2147483647 w 349"/>
              <a:gd name="T87" fmla="*/ 2147483647 h 228"/>
              <a:gd name="T88" fmla="*/ 2147483647 w 349"/>
              <a:gd name="T89" fmla="*/ 2147483647 h 228"/>
              <a:gd name="T90" fmla="*/ 2147483647 w 349"/>
              <a:gd name="T91" fmla="*/ 2147483647 h 228"/>
              <a:gd name="T92" fmla="*/ 2147483647 w 349"/>
              <a:gd name="T93" fmla="*/ 2147483647 h 228"/>
              <a:gd name="T94" fmla="*/ 2147483647 w 349"/>
              <a:gd name="T95" fmla="*/ 2147483647 h 228"/>
              <a:gd name="T96" fmla="*/ 2147483647 w 349"/>
              <a:gd name="T97" fmla="*/ 2147483647 h 228"/>
              <a:gd name="T98" fmla="*/ 2147483647 w 349"/>
              <a:gd name="T99" fmla="*/ 2147483647 h 228"/>
              <a:gd name="T100" fmla="*/ 2147483647 w 349"/>
              <a:gd name="T101" fmla="*/ 2147483647 h 228"/>
              <a:gd name="T102" fmla="*/ 2147483647 w 349"/>
              <a:gd name="T103" fmla="*/ 2147483647 h 228"/>
              <a:gd name="T104" fmla="*/ 2147483647 w 349"/>
              <a:gd name="T105" fmla="*/ 2147483647 h 228"/>
              <a:gd name="T106" fmla="*/ 2147483647 w 349"/>
              <a:gd name="T107" fmla="*/ 2147483647 h 228"/>
              <a:gd name="T108" fmla="*/ 2147483647 w 349"/>
              <a:gd name="T109" fmla="*/ 2147483647 h 228"/>
              <a:gd name="T110" fmla="*/ 2147483647 w 349"/>
              <a:gd name="T111" fmla="*/ 2147483647 h 228"/>
              <a:gd name="T112" fmla="*/ 2147483647 w 349"/>
              <a:gd name="T113" fmla="*/ 2147483647 h 2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9"/>
              <a:gd name="T172" fmla="*/ 0 h 228"/>
              <a:gd name="T173" fmla="*/ 349 w 349"/>
              <a:gd name="T174" fmla="*/ 228 h 2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9" h="228">
                <a:moveTo>
                  <a:pt x="219" y="213"/>
                </a:moveTo>
                <a:lnTo>
                  <a:pt x="217" y="211"/>
                </a:lnTo>
                <a:lnTo>
                  <a:pt x="213" y="209"/>
                </a:lnTo>
                <a:lnTo>
                  <a:pt x="202" y="205"/>
                </a:lnTo>
                <a:lnTo>
                  <a:pt x="190" y="203"/>
                </a:lnTo>
                <a:lnTo>
                  <a:pt x="186" y="201"/>
                </a:lnTo>
                <a:lnTo>
                  <a:pt x="184" y="198"/>
                </a:lnTo>
                <a:lnTo>
                  <a:pt x="182" y="196"/>
                </a:lnTo>
                <a:lnTo>
                  <a:pt x="180" y="194"/>
                </a:lnTo>
                <a:lnTo>
                  <a:pt x="177" y="190"/>
                </a:lnTo>
                <a:lnTo>
                  <a:pt x="175" y="188"/>
                </a:lnTo>
                <a:lnTo>
                  <a:pt x="171" y="182"/>
                </a:lnTo>
                <a:lnTo>
                  <a:pt x="167" y="176"/>
                </a:lnTo>
                <a:lnTo>
                  <a:pt x="150" y="180"/>
                </a:lnTo>
                <a:lnTo>
                  <a:pt x="131" y="184"/>
                </a:lnTo>
                <a:lnTo>
                  <a:pt x="129" y="182"/>
                </a:lnTo>
                <a:lnTo>
                  <a:pt x="127" y="178"/>
                </a:lnTo>
                <a:lnTo>
                  <a:pt x="125" y="176"/>
                </a:lnTo>
                <a:lnTo>
                  <a:pt x="123" y="175"/>
                </a:lnTo>
                <a:lnTo>
                  <a:pt x="119" y="173"/>
                </a:lnTo>
                <a:lnTo>
                  <a:pt x="117" y="169"/>
                </a:lnTo>
                <a:lnTo>
                  <a:pt x="115" y="161"/>
                </a:lnTo>
                <a:lnTo>
                  <a:pt x="111" y="155"/>
                </a:lnTo>
                <a:lnTo>
                  <a:pt x="109" y="152"/>
                </a:lnTo>
                <a:lnTo>
                  <a:pt x="108" y="150"/>
                </a:lnTo>
                <a:lnTo>
                  <a:pt x="92" y="146"/>
                </a:lnTo>
                <a:lnTo>
                  <a:pt x="75" y="142"/>
                </a:lnTo>
                <a:lnTo>
                  <a:pt x="60" y="140"/>
                </a:lnTo>
                <a:lnTo>
                  <a:pt x="44" y="136"/>
                </a:lnTo>
                <a:lnTo>
                  <a:pt x="42" y="132"/>
                </a:lnTo>
                <a:lnTo>
                  <a:pt x="40" y="130"/>
                </a:lnTo>
                <a:lnTo>
                  <a:pt x="37" y="123"/>
                </a:lnTo>
                <a:lnTo>
                  <a:pt x="35" y="117"/>
                </a:lnTo>
                <a:lnTo>
                  <a:pt x="33" y="113"/>
                </a:lnTo>
                <a:lnTo>
                  <a:pt x="31" y="111"/>
                </a:lnTo>
                <a:lnTo>
                  <a:pt x="27" y="109"/>
                </a:lnTo>
                <a:lnTo>
                  <a:pt x="25" y="105"/>
                </a:lnTo>
                <a:lnTo>
                  <a:pt x="23" y="104"/>
                </a:lnTo>
                <a:lnTo>
                  <a:pt x="19" y="102"/>
                </a:lnTo>
                <a:lnTo>
                  <a:pt x="17" y="100"/>
                </a:lnTo>
                <a:lnTo>
                  <a:pt x="15" y="96"/>
                </a:lnTo>
                <a:lnTo>
                  <a:pt x="14" y="94"/>
                </a:lnTo>
                <a:lnTo>
                  <a:pt x="12" y="92"/>
                </a:lnTo>
                <a:lnTo>
                  <a:pt x="8" y="84"/>
                </a:lnTo>
                <a:lnTo>
                  <a:pt x="6" y="77"/>
                </a:lnTo>
                <a:lnTo>
                  <a:pt x="4" y="75"/>
                </a:lnTo>
                <a:lnTo>
                  <a:pt x="0" y="73"/>
                </a:lnTo>
                <a:lnTo>
                  <a:pt x="4" y="69"/>
                </a:lnTo>
                <a:lnTo>
                  <a:pt x="6" y="67"/>
                </a:lnTo>
                <a:lnTo>
                  <a:pt x="14" y="65"/>
                </a:lnTo>
                <a:lnTo>
                  <a:pt x="19" y="63"/>
                </a:lnTo>
                <a:lnTo>
                  <a:pt x="23" y="61"/>
                </a:lnTo>
                <a:lnTo>
                  <a:pt x="25" y="58"/>
                </a:lnTo>
                <a:lnTo>
                  <a:pt x="27" y="56"/>
                </a:lnTo>
                <a:lnTo>
                  <a:pt x="31" y="54"/>
                </a:lnTo>
                <a:lnTo>
                  <a:pt x="33" y="50"/>
                </a:lnTo>
                <a:lnTo>
                  <a:pt x="35" y="48"/>
                </a:lnTo>
                <a:lnTo>
                  <a:pt x="37" y="27"/>
                </a:lnTo>
                <a:lnTo>
                  <a:pt x="40" y="6"/>
                </a:lnTo>
                <a:lnTo>
                  <a:pt x="42" y="2"/>
                </a:lnTo>
                <a:lnTo>
                  <a:pt x="44" y="0"/>
                </a:lnTo>
                <a:lnTo>
                  <a:pt x="46" y="2"/>
                </a:lnTo>
                <a:lnTo>
                  <a:pt x="50" y="6"/>
                </a:lnTo>
                <a:lnTo>
                  <a:pt x="56" y="8"/>
                </a:lnTo>
                <a:lnTo>
                  <a:pt x="63" y="10"/>
                </a:lnTo>
                <a:lnTo>
                  <a:pt x="65" y="11"/>
                </a:lnTo>
                <a:lnTo>
                  <a:pt x="69" y="15"/>
                </a:lnTo>
                <a:lnTo>
                  <a:pt x="75" y="17"/>
                </a:lnTo>
                <a:lnTo>
                  <a:pt x="83" y="19"/>
                </a:lnTo>
                <a:lnTo>
                  <a:pt x="86" y="21"/>
                </a:lnTo>
                <a:lnTo>
                  <a:pt x="88" y="25"/>
                </a:lnTo>
                <a:lnTo>
                  <a:pt x="106" y="27"/>
                </a:lnTo>
                <a:lnTo>
                  <a:pt x="123" y="29"/>
                </a:lnTo>
                <a:lnTo>
                  <a:pt x="125" y="31"/>
                </a:lnTo>
                <a:lnTo>
                  <a:pt x="127" y="35"/>
                </a:lnTo>
                <a:lnTo>
                  <a:pt x="134" y="36"/>
                </a:lnTo>
                <a:lnTo>
                  <a:pt x="140" y="38"/>
                </a:lnTo>
                <a:lnTo>
                  <a:pt x="144" y="40"/>
                </a:lnTo>
                <a:lnTo>
                  <a:pt x="146" y="44"/>
                </a:lnTo>
                <a:lnTo>
                  <a:pt x="156" y="44"/>
                </a:lnTo>
                <a:lnTo>
                  <a:pt x="165" y="44"/>
                </a:lnTo>
                <a:lnTo>
                  <a:pt x="167" y="40"/>
                </a:lnTo>
                <a:lnTo>
                  <a:pt x="171" y="38"/>
                </a:lnTo>
                <a:lnTo>
                  <a:pt x="177" y="36"/>
                </a:lnTo>
                <a:lnTo>
                  <a:pt x="184" y="35"/>
                </a:lnTo>
                <a:lnTo>
                  <a:pt x="186" y="31"/>
                </a:lnTo>
                <a:lnTo>
                  <a:pt x="190" y="29"/>
                </a:lnTo>
                <a:lnTo>
                  <a:pt x="204" y="29"/>
                </a:lnTo>
                <a:lnTo>
                  <a:pt x="219" y="29"/>
                </a:lnTo>
                <a:lnTo>
                  <a:pt x="221" y="31"/>
                </a:lnTo>
                <a:lnTo>
                  <a:pt x="223" y="35"/>
                </a:lnTo>
                <a:lnTo>
                  <a:pt x="225" y="36"/>
                </a:lnTo>
                <a:lnTo>
                  <a:pt x="228" y="38"/>
                </a:lnTo>
                <a:lnTo>
                  <a:pt x="230" y="40"/>
                </a:lnTo>
                <a:lnTo>
                  <a:pt x="232" y="44"/>
                </a:lnTo>
                <a:lnTo>
                  <a:pt x="232" y="50"/>
                </a:lnTo>
                <a:lnTo>
                  <a:pt x="232" y="58"/>
                </a:lnTo>
                <a:lnTo>
                  <a:pt x="246" y="58"/>
                </a:lnTo>
                <a:lnTo>
                  <a:pt x="257" y="58"/>
                </a:lnTo>
                <a:lnTo>
                  <a:pt x="259" y="61"/>
                </a:lnTo>
                <a:lnTo>
                  <a:pt x="261" y="63"/>
                </a:lnTo>
                <a:lnTo>
                  <a:pt x="267" y="63"/>
                </a:lnTo>
                <a:lnTo>
                  <a:pt x="273" y="63"/>
                </a:lnTo>
                <a:lnTo>
                  <a:pt x="274" y="61"/>
                </a:lnTo>
                <a:lnTo>
                  <a:pt x="276" y="58"/>
                </a:lnTo>
                <a:lnTo>
                  <a:pt x="278" y="61"/>
                </a:lnTo>
                <a:lnTo>
                  <a:pt x="282" y="63"/>
                </a:lnTo>
                <a:lnTo>
                  <a:pt x="288" y="65"/>
                </a:lnTo>
                <a:lnTo>
                  <a:pt x="296" y="67"/>
                </a:lnTo>
                <a:lnTo>
                  <a:pt x="298" y="69"/>
                </a:lnTo>
                <a:lnTo>
                  <a:pt x="301" y="73"/>
                </a:lnTo>
                <a:lnTo>
                  <a:pt x="307" y="75"/>
                </a:lnTo>
                <a:lnTo>
                  <a:pt x="315" y="77"/>
                </a:lnTo>
                <a:lnTo>
                  <a:pt x="317" y="81"/>
                </a:lnTo>
                <a:lnTo>
                  <a:pt x="321" y="82"/>
                </a:lnTo>
                <a:lnTo>
                  <a:pt x="322" y="84"/>
                </a:lnTo>
                <a:lnTo>
                  <a:pt x="330" y="86"/>
                </a:lnTo>
                <a:lnTo>
                  <a:pt x="336" y="84"/>
                </a:lnTo>
                <a:lnTo>
                  <a:pt x="340" y="82"/>
                </a:lnTo>
                <a:lnTo>
                  <a:pt x="342" y="81"/>
                </a:lnTo>
                <a:lnTo>
                  <a:pt x="344" y="77"/>
                </a:lnTo>
                <a:lnTo>
                  <a:pt x="345" y="81"/>
                </a:lnTo>
                <a:lnTo>
                  <a:pt x="349" y="82"/>
                </a:lnTo>
                <a:lnTo>
                  <a:pt x="349" y="88"/>
                </a:lnTo>
                <a:lnTo>
                  <a:pt x="349" y="96"/>
                </a:lnTo>
                <a:lnTo>
                  <a:pt x="349" y="100"/>
                </a:lnTo>
                <a:lnTo>
                  <a:pt x="349" y="104"/>
                </a:lnTo>
                <a:lnTo>
                  <a:pt x="347" y="105"/>
                </a:lnTo>
                <a:lnTo>
                  <a:pt x="347" y="111"/>
                </a:lnTo>
                <a:lnTo>
                  <a:pt x="347" y="115"/>
                </a:lnTo>
                <a:lnTo>
                  <a:pt x="347" y="121"/>
                </a:lnTo>
                <a:lnTo>
                  <a:pt x="347" y="125"/>
                </a:lnTo>
                <a:lnTo>
                  <a:pt x="345" y="130"/>
                </a:lnTo>
                <a:lnTo>
                  <a:pt x="344" y="136"/>
                </a:lnTo>
                <a:lnTo>
                  <a:pt x="342" y="144"/>
                </a:lnTo>
                <a:lnTo>
                  <a:pt x="342" y="150"/>
                </a:lnTo>
                <a:lnTo>
                  <a:pt x="340" y="157"/>
                </a:lnTo>
                <a:lnTo>
                  <a:pt x="336" y="163"/>
                </a:lnTo>
                <a:lnTo>
                  <a:pt x="332" y="169"/>
                </a:lnTo>
                <a:lnTo>
                  <a:pt x="328" y="171"/>
                </a:lnTo>
                <a:lnTo>
                  <a:pt x="326" y="175"/>
                </a:lnTo>
                <a:lnTo>
                  <a:pt x="324" y="178"/>
                </a:lnTo>
                <a:lnTo>
                  <a:pt x="322" y="182"/>
                </a:lnTo>
                <a:lnTo>
                  <a:pt x="322" y="184"/>
                </a:lnTo>
                <a:lnTo>
                  <a:pt x="321" y="188"/>
                </a:lnTo>
                <a:lnTo>
                  <a:pt x="317" y="190"/>
                </a:lnTo>
                <a:lnTo>
                  <a:pt x="313" y="192"/>
                </a:lnTo>
                <a:lnTo>
                  <a:pt x="309" y="194"/>
                </a:lnTo>
                <a:lnTo>
                  <a:pt x="307" y="198"/>
                </a:lnTo>
                <a:lnTo>
                  <a:pt x="301" y="203"/>
                </a:lnTo>
                <a:lnTo>
                  <a:pt x="298" y="207"/>
                </a:lnTo>
                <a:lnTo>
                  <a:pt x="292" y="211"/>
                </a:lnTo>
                <a:lnTo>
                  <a:pt x="286" y="217"/>
                </a:lnTo>
                <a:lnTo>
                  <a:pt x="282" y="221"/>
                </a:lnTo>
                <a:lnTo>
                  <a:pt x="278" y="226"/>
                </a:lnTo>
                <a:lnTo>
                  <a:pt x="276" y="228"/>
                </a:lnTo>
                <a:lnTo>
                  <a:pt x="274" y="228"/>
                </a:lnTo>
                <a:lnTo>
                  <a:pt x="273" y="228"/>
                </a:lnTo>
                <a:lnTo>
                  <a:pt x="271" y="224"/>
                </a:lnTo>
                <a:lnTo>
                  <a:pt x="265" y="223"/>
                </a:lnTo>
                <a:lnTo>
                  <a:pt x="259" y="223"/>
                </a:lnTo>
                <a:lnTo>
                  <a:pt x="253" y="215"/>
                </a:lnTo>
                <a:lnTo>
                  <a:pt x="253" y="219"/>
                </a:lnTo>
                <a:lnTo>
                  <a:pt x="250" y="217"/>
                </a:lnTo>
                <a:lnTo>
                  <a:pt x="244" y="213"/>
                </a:lnTo>
                <a:lnTo>
                  <a:pt x="234" y="213"/>
                </a:lnTo>
                <a:lnTo>
                  <a:pt x="223" y="213"/>
                </a:lnTo>
                <a:lnTo>
                  <a:pt x="221" y="213"/>
                </a:lnTo>
                <a:lnTo>
                  <a:pt x="219" y="213"/>
                </a:lnTo>
              </a:path>
            </a:pathLst>
          </a:custGeom>
          <a:solidFill>
            <a:schemeClr val="accent3"/>
          </a:solidFill>
          <a:ln w="12700">
            <a:solidFill>
              <a:schemeClr val="bg1"/>
            </a:solidFill>
            <a:round/>
            <a:headEnd/>
            <a:tailEnd/>
          </a:ln>
        </p:spPr>
        <p:txBody>
          <a:bodyPr/>
          <a:lstStyle/>
          <a:p>
            <a:endParaRPr lang="en-GB"/>
          </a:p>
        </p:txBody>
      </p:sp>
      <p:sp>
        <p:nvSpPr>
          <p:cNvPr id="77" name="Freeform 344"/>
          <p:cNvSpPr>
            <a:spLocks/>
          </p:cNvSpPr>
          <p:nvPr>
            <p:custDataLst>
              <p:tags r:id="rId61"/>
            </p:custDataLst>
          </p:nvPr>
        </p:nvSpPr>
        <p:spPr bwMode="auto">
          <a:xfrm>
            <a:off x="2389072" y="3566956"/>
            <a:ext cx="1187268" cy="702328"/>
          </a:xfrm>
          <a:custGeom>
            <a:avLst/>
            <a:gdLst>
              <a:gd name="T0" fmla="*/ 2147483647 w 870"/>
              <a:gd name="T1" fmla="*/ 2147483647 h 534"/>
              <a:gd name="T2" fmla="*/ 2147483647 w 870"/>
              <a:gd name="T3" fmla="*/ 2147483647 h 534"/>
              <a:gd name="T4" fmla="*/ 2147483647 w 870"/>
              <a:gd name="T5" fmla="*/ 2147483647 h 534"/>
              <a:gd name="T6" fmla="*/ 2147483647 w 870"/>
              <a:gd name="T7" fmla="*/ 2147483647 h 534"/>
              <a:gd name="T8" fmla="*/ 2147483647 w 870"/>
              <a:gd name="T9" fmla="*/ 2147483647 h 534"/>
              <a:gd name="T10" fmla="*/ 2147483647 w 870"/>
              <a:gd name="T11" fmla="*/ 2147483647 h 534"/>
              <a:gd name="T12" fmla="*/ 2147483647 w 870"/>
              <a:gd name="T13" fmla="*/ 2147483647 h 534"/>
              <a:gd name="T14" fmla="*/ 2147483647 w 870"/>
              <a:gd name="T15" fmla="*/ 2147483647 h 534"/>
              <a:gd name="T16" fmla="*/ 2147483647 w 870"/>
              <a:gd name="T17" fmla="*/ 2147483647 h 534"/>
              <a:gd name="T18" fmla="*/ 2147483647 w 870"/>
              <a:gd name="T19" fmla="*/ 2147483647 h 534"/>
              <a:gd name="T20" fmla="*/ 2147483647 w 870"/>
              <a:gd name="T21" fmla="*/ 2147483647 h 534"/>
              <a:gd name="T22" fmla="*/ 2147483647 w 870"/>
              <a:gd name="T23" fmla="*/ 2147483647 h 534"/>
              <a:gd name="T24" fmla="*/ 2147483647 w 870"/>
              <a:gd name="T25" fmla="*/ 2147483647 h 534"/>
              <a:gd name="T26" fmla="*/ 2147483647 w 870"/>
              <a:gd name="T27" fmla="*/ 2147483647 h 534"/>
              <a:gd name="T28" fmla="*/ 2147483647 w 870"/>
              <a:gd name="T29" fmla="*/ 2147483647 h 534"/>
              <a:gd name="T30" fmla="*/ 2147483647 w 870"/>
              <a:gd name="T31" fmla="*/ 2147483647 h 534"/>
              <a:gd name="T32" fmla="*/ 2147483647 w 870"/>
              <a:gd name="T33" fmla="*/ 2147483647 h 534"/>
              <a:gd name="T34" fmla="*/ 2147483647 w 870"/>
              <a:gd name="T35" fmla="*/ 2147483647 h 534"/>
              <a:gd name="T36" fmla="*/ 2147483647 w 870"/>
              <a:gd name="T37" fmla="*/ 2147483647 h 534"/>
              <a:gd name="T38" fmla="*/ 2147483647 w 870"/>
              <a:gd name="T39" fmla="*/ 2147483647 h 534"/>
              <a:gd name="T40" fmla="*/ 2147483647 w 870"/>
              <a:gd name="T41" fmla="*/ 2147483647 h 534"/>
              <a:gd name="T42" fmla="*/ 2147483647 w 870"/>
              <a:gd name="T43" fmla="*/ 2147483647 h 534"/>
              <a:gd name="T44" fmla="*/ 2147483647 w 870"/>
              <a:gd name="T45" fmla="*/ 2147483647 h 534"/>
              <a:gd name="T46" fmla="*/ 2147483647 w 870"/>
              <a:gd name="T47" fmla="*/ 2147483647 h 534"/>
              <a:gd name="T48" fmla="*/ 2147483647 w 870"/>
              <a:gd name="T49" fmla="*/ 2147483647 h 534"/>
              <a:gd name="T50" fmla="*/ 2147483647 w 870"/>
              <a:gd name="T51" fmla="*/ 2147483647 h 534"/>
              <a:gd name="T52" fmla="*/ 2147483647 w 870"/>
              <a:gd name="T53" fmla="*/ 2147483647 h 534"/>
              <a:gd name="T54" fmla="*/ 2147483647 w 870"/>
              <a:gd name="T55" fmla="*/ 2147483647 h 534"/>
              <a:gd name="T56" fmla="*/ 2147483647 w 870"/>
              <a:gd name="T57" fmla="*/ 2147483647 h 534"/>
              <a:gd name="T58" fmla="*/ 2147483647 w 870"/>
              <a:gd name="T59" fmla="*/ 2147483647 h 534"/>
              <a:gd name="T60" fmla="*/ 2147483647 w 870"/>
              <a:gd name="T61" fmla="*/ 2147483647 h 534"/>
              <a:gd name="T62" fmla="*/ 2147483647 w 870"/>
              <a:gd name="T63" fmla="*/ 2147483647 h 534"/>
              <a:gd name="T64" fmla="*/ 2147483647 w 870"/>
              <a:gd name="T65" fmla="*/ 2147483647 h 534"/>
              <a:gd name="T66" fmla="*/ 2147483647 w 870"/>
              <a:gd name="T67" fmla="*/ 2147483647 h 534"/>
              <a:gd name="T68" fmla="*/ 2147483647 w 870"/>
              <a:gd name="T69" fmla="*/ 2147483647 h 534"/>
              <a:gd name="T70" fmla="*/ 2147483647 w 870"/>
              <a:gd name="T71" fmla="*/ 2147483647 h 534"/>
              <a:gd name="T72" fmla="*/ 2147483647 w 870"/>
              <a:gd name="T73" fmla="*/ 2147483647 h 534"/>
              <a:gd name="T74" fmla="*/ 2147483647 w 870"/>
              <a:gd name="T75" fmla="*/ 2147483647 h 534"/>
              <a:gd name="T76" fmla="*/ 2147483647 w 870"/>
              <a:gd name="T77" fmla="*/ 2147483647 h 534"/>
              <a:gd name="T78" fmla="*/ 2147483647 w 870"/>
              <a:gd name="T79" fmla="*/ 2147483647 h 534"/>
              <a:gd name="T80" fmla="*/ 2147483647 w 870"/>
              <a:gd name="T81" fmla="*/ 2147483647 h 534"/>
              <a:gd name="T82" fmla="*/ 2147483647 w 870"/>
              <a:gd name="T83" fmla="*/ 2147483647 h 534"/>
              <a:gd name="T84" fmla="*/ 2147483647 w 870"/>
              <a:gd name="T85" fmla="*/ 2147483647 h 534"/>
              <a:gd name="T86" fmla="*/ 2147483647 w 870"/>
              <a:gd name="T87" fmla="*/ 2147483647 h 534"/>
              <a:gd name="T88" fmla="*/ 2147483647 w 870"/>
              <a:gd name="T89" fmla="*/ 2147483647 h 534"/>
              <a:gd name="T90" fmla="*/ 2147483647 w 870"/>
              <a:gd name="T91" fmla="*/ 2147483647 h 534"/>
              <a:gd name="T92" fmla="*/ 2147483647 w 870"/>
              <a:gd name="T93" fmla="*/ 2147483647 h 534"/>
              <a:gd name="T94" fmla="*/ 2147483647 w 870"/>
              <a:gd name="T95" fmla="*/ 2147483647 h 534"/>
              <a:gd name="T96" fmla="*/ 2147483647 w 870"/>
              <a:gd name="T97" fmla="*/ 2147483647 h 534"/>
              <a:gd name="T98" fmla="*/ 2147483647 w 870"/>
              <a:gd name="T99" fmla="*/ 2147483647 h 534"/>
              <a:gd name="T100" fmla="*/ 2147483647 w 870"/>
              <a:gd name="T101" fmla="*/ 2147483647 h 534"/>
              <a:gd name="T102" fmla="*/ 2147483647 w 870"/>
              <a:gd name="T103" fmla="*/ 2147483647 h 534"/>
              <a:gd name="T104" fmla="*/ 2147483647 w 870"/>
              <a:gd name="T105" fmla="*/ 2147483647 h 534"/>
              <a:gd name="T106" fmla="*/ 2147483647 w 870"/>
              <a:gd name="T107" fmla="*/ 2147483647 h 534"/>
              <a:gd name="T108" fmla="*/ 2147483647 w 870"/>
              <a:gd name="T109" fmla="*/ 2147483647 h 534"/>
              <a:gd name="T110" fmla="*/ 2147483647 w 870"/>
              <a:gd name="T111" fmla="*/ 2147483647 h 534"/>
              <a:gd name="T112" fmla="*/ 2147483647 w 870"/>
              <a:gd name="T113" fmla="*/ 2147483647 h 534"/>
              <a:gd name="T114" fmla="*/ 2147483647 w 870"/>
              <a:gd name="T115" fmla="*/ 2147483647 h 534"/>
              <a:gd name="T116" fmla="*/ 2147483647 w 870"/>
              <a:gd name="T117" fmla="*/ 2147483647 h 534"/>
              <a:gd name="T118" fmla="*/ 2147483647 w 870"/>
              <a:gd name="T119" fmla="*/ 2147483647 h 53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0"/>
              <a:gd name="T181" fmla="*/ 0 h 534"/>
              <a:gd name="T182" fmla="*/ 870 w 870"/>
              <a:gd name="T183" fmla="*/ 534 h 53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0" h="534">
                <a:moveTo>
                  <a:pt x="401" y="534"/>
                </a:moveTo>
                <a:lnTo>
                  <a:pt x="398" y="530"/>
                </a:lnTo>
                <a:lnTo>
                  <a:pt x="396" y="528"/>
                </a:lnTo>
                <a:lnTo>
                  <a:pt x="394" y="526"/>
                </a:lnTo>
                <a:lnTo>
                  <a:pt x="392" y="524"/>
                </a:lnTo>
                <a:lnTo>
                  <a:pt x="390" y="520"/>
                </a:lnTo>
                <a:lnTo>
                  <a:pt x="386" y="518"/>
                </a:lnTo>
                <a:lnTo>
                  <a:pt x="369" y="516"/>
                </a:lnTo>
                <a:lnTo>
                  <a:pt x="353" y="515"/>
                </a:lnTo>
                <a:lnTo>
                  <a:pt x="352" y="511"/>
                </a:lnTo>
                <a:lnTo>
                  <a:pt x="348" y="509"/>
                </a:lnTo>
                <a:lnTo>
                  <a:pt x="344" y="509"/>
                </a:lnTo>
                <a:lnTo>
                  <a:pt x="338" y="509"/>
                </a:lnTo>
                <a:lnTo>
                  <a:pt x="336" y="511"/>
                </a:lnTo>
                <a:lnTo>
                  <a:pt x="334" y="515"/>
                </a:lnTo>
                <a:lnTo>
                  <a:pt x="315" y="515"/>
                </a:lnTo>
                <a:lnTo>
                  <a:pt x="294" y="515"/>
                </a:lnTo>
                <a:lnTo>
                  <a:pt x="275" y="515"/>
                </a:lnTo>
                <a:lnTo>
                  <a:pt x="256" y="515"/>
                </a:lnTo>
                <a:lnTo>
                  <a:pt x="254" y="511"/>
                </a:lnTo>
                <a:lnTo>
                  <a:pt x="252" y="509"/>
                </a:lnTo>
                <a:lnTo>
                  <a:pt x="248" y="507"/>
                </a:lnTo>
                <a:lnTo>
                  <a:pt x="246" y="505"/>
                </a:lnTo>
                <a:lnTo>
                  <a:pt x="244" y="501"/>
                </a:lnTo>
                <a:lnTo>
                  <a:pt x="242" y="499"/>
                </a:lnTo>
                <a:lnTo>
                  <a:pt x="233" y="497"/>
                </a:lnTo>
                <a:lnTo>
                  <a:pt x="223" y="495"/>
                </a:lnTo>
                <a:lnTo>
                  <a:pt x="223" y="484"/>
                </a:lnTo>
                <a:lnTo>
                  <a:pt x="221" y="478"/>
                </a:lnTo>
                <a:lnTo>
                  <a:pt x="221" y="476"/>
                </a:lnTo>
                <a:lnTo>
                  <a:pt x="217" y="476"/>
                </a:lnTo>
                <a:lnTo>
                  <a:pt x="215" y="472"/>
                </a:lnTo>
                <a:lnTo>
                  <a:pt x="213" y="470"/>
                </a:lnTo>
                <a:lnTo>
                  <a:pt x="210" y="469"/>
                </a:lnTo>
                <a:lnTo>
                  <a:pt x="208" y="465"/>
                </a:lnTo>
                <a:lnTo>
                  <a:pt x="206" y="463"/>
                </a:lnTo>
                <a:lnTo>
                  <a:pt x="204" y="461"/>
                </a:lnTo>
                <a:lnTo>
                  <a:pt x="196" y="459"/>
                </a:lnTo>
                <a:lnTo>
                  <a:pt x="179" y="457"/>
                </a:lnTo>
                <a:lnTo>
                  <a:pt x="162" y="459"/>
                </a:lnTo>
                <a:lnTo>
                  <a:pt x="154" y="461"/>
                </a:lnTo>
                <a:lnTo>
                  <a:pt x="152" y="463"/>
                </a:lnTo>
                <a:lnTo>
                  <a:pt x="150" y="465"/>
                </a:lnTo>
                <a:lnTo>
                  <a:pt x="148" y="478"/>
                </a:lnTo>
                <a:lnTo>
                  <a:pt x="146" y="490"/>
                </a:lnTo>
                <a:lnTo>
                  <a:pt x="142" y="492"/>
                </a:lnTo>
                <a:lnTo>
                  <a:pt x="141" y="495"/>
                </a:lnTo>
                <a:lnTo>
                  <a:pt x="137" y="497"/>
                </a:lnTo>
                <a:lnTo>
                  <a:pt x="135" y="499"/>
                </a:lnTo>
                <a:lnTo>
                  <a:pt x="133" y="501"/>
                </a:lnTo>
                <a:lnTo>
                  <a:pt x="131" y="505"/>
                </a:lnTo>
                <a:lnTo>
                  <a:pt x="123" y="507"/>
                </a:lnTo>
                <a:lnTo>
                  <a:pt x="116" y="509"/>
                </a:lnTo>
                <a:lnTo>
                  <a:pt x="114" y="511"/>
                </a:lnTo>
                <a:lnTo>
                  <a:pt x="112" y="515"/>
                </a:lnTo>
                <a:lnTo>
                  <a:pt x="106" y="509"/>
                </a:lnTo>
                <a:lnTo>
                  <a:pt x="102" y="505"/>
                </a:lnTo>
                <a:lnTo>
                  <a:pt x="98" y="501"/>
                </a:lnTo>
                <a:lnTo>
                  <a:pt x="96" y="499"/>
                </a:lnTo>
                <a:lnTo>
                  <a:pt x="73" y="499"/>
                </a:lnTo>
                <a:lnTo>
                  <a:pt x="48" y="499"/>
                </a:lnTo>
                <a:lnTo>
                  <a:pt x="46" y="501"/>
                </a:lnTo>
                <a:lnTo>
                  <a:pt x="43" y="505"/>
                </a:lnTo>
                <a:lnTo>
                  <a:pt x="41" y="507"/>
                </a:lnTo>
                <a:lnTo>
                  <a:pt x="39" y="509"/>
                </a:lnTo>
                <a:lnTo>
                  <a:pt x="37" y="511"/>
                </a:lnTo>
                <a:lnTo>
                  <a:pt x="33" y="515"/>
                </a:lnTo>
                <a:lnTo>
                  <a:pt x="25" y="516"/>
                </a:lnTo>
                <a:lnTo>
                  <a:pt x="20" y="518"/>
                </a:lnTo>
                <a:lnTo>
                  <a:pt x="16" y="520"/>
                </a:lnTo>
                <a:lnTo>
                  <a:pt x="14" y="524"/>
                </a:lnTo>
                <a:lnTo>
                  <a:pt x="12" y="520"/>
                </a:lnTo>
                <a:lnTo>
                  <a:pt x="10" y="518"/>
                </a:lnTo>
                <a:lnTo>
                  <a:pt x="6" y="511"/>
                </a:lnTo>
                <a:lnTo>
                  <a:pt x="4" y="505"/>
                </a:lnTo>
                <a:lnTo>
                  <a:pt x="2" y="501"/>
                </a:lnTo>
                <a:lnTo>
                  <a:pt x="0" y="499"/>
                </a:lnTo>
                <a:lnTo>
                  <a:pt x="0" y="493"/>
                </a:lnTo>
                <a:lnTo>
                  <a:pt x="0" y="490"/>
                </a:lnTo>
                <a:lnTo>
                  <a:pt x="2" y="488"/>
                </a:lnTo>
                <a:lnTo>
                  <a:pt x="4" y="486"/>
                </a:lnTo>
                <a:lnTo>
                  <a:pt x="4" y="474"/>
                </a:lnTo>
                <a:lnTo>
                  <a:pt x="4" y="465"/>
                </a:lnTo>
                <a:lnTo>
                  <a:pt x="2" y="463"/>
                </a:lnTo>
                <a:lnTo>
                  <a:pt x="0" y="461"/>
                </a:lnTo>
                <a:lnTo>
                  <a:pt x="0" y="455"/>
                </a:lnTo>
                <a:lnTo>
                  <a:pt x="0" y="451"/>
                </a:lnTo>
                <a:lnTo>
                  <a:pt x="2" y="449"/>
                </a:lnTo>
                <a:lnTo>
                  <a:pt x="4" y="447"/>
                </a:lnTo>
                <a:lnTo>
                  <a:pt x="6" y="440"/>
                </a:lnTo>
                <a:lnTo>
                  <a:pt x="10" y="432"/>
                </a:lnTo>
                <a:lnTo>
                  <a:pt x="12" y="428"/>
                </a:lnTo>
                <a:lnTo>
                  <a:pt x="14" y="426"/>
                </a:lnTo>
                <a:lnTo>
                  <a:pt x="16" y="415"/>
                </a:lnTo>
                <a:lnTo>
                  <a:pt x="20" y="403"/>
                </a:lnTo>
                <a:lnTo>
                  <a:pt x="22" y="399"/>
                </a:lnTo>
                <a:lnTo>
                  <a:pt x="23" y="398"/>
                </a:lnTo>
                <a:lnTo>
                  <a:pt x="27" y="390"/>
                </a:lnTo>
                <a:lnTo>
                  <a:pt x="29" y="382"/>
                </a:lnTo>
                <a:lnTo>
                  <a:pt x="31" y="380"/>
                </a:lnTo>
                <a:lnTo>
                  <a:pt x="33" y="378"/>
                </a:lnTo>
                <a:lnTo>
                  <a:pt x="50" y="376"/>
                </a:lnTo>
                <a:lnTo>
                  <a:pt x="68" y="374"/>
                </a:lnTo>
                <a:lnTo>
                  <a:pt x="70" y="371"/>
                </a:lnTo>
                <a:lnTo>
                  <a:pt x="73" y="369"/>
                </a:lnTo>
                <a:lnTo>
                  <a:pt x="79" y="367"/>
                </a:lnTo>
                <a:lnTo>
                  <a:pt x="87" y="365"/>
                </a:lnTo>
                <a:lnTo>
                  <a:pt x="89" y="361"/>
                </a:lnTo>
                <a:lnTo>
                  <a:pt x="93" y="359"/>
                </a:lnTo>
                <a:lnTo>
                  <a:pt x="98" y="359"/>
                </a:lnTo>
                <a:lnTo>
                  <a:pt x="106" y="359"/>
                </a:lnTo>
                <a:lnTo>
                  <a:pt x="106" y="342"/>
                </a:lnTo>
                <a:lnTo>
                  <a:pt x="106" y="325"/>
                </a:lnTo>
                <a:lnTo>
                  <a:pt x="108" y="323"/>
                </a:lnTo>
                <a:lnTo>
                  <a:pt x="112" y="321"/>
                </a:lnTo>
                <a:lnTo>
                  <a:pt x="114" y="317"/>
                </a:lnTo>
                <a:lnTo>
                  <a:pt x="116" y="315"/>
                </a:lnTo>
                <a:lnTo>
                  <a:pt x="119" y="313"/>
                </a:lnTo>
                <a:lnTo>
                  <a:pt x="121" y="311"/>
                </a:lnTo>
                <a:lnTo>
                  <a:pt x="123" y="309"/>
                </a:lnTo>
                <a:lnTo>
                  <a:pt x="125" y="305"/>
                </a:lnTo>
                <a:lnTo>
                  <a:pt x="127" y="303"/>
                </a:lnTo>
                <a:lnTo>
                  <a:pt x="131" y="302"/>
                </a:lnTo>
                <a:lnTo>
                  <a:pt x="133" y="300"/>
                </a:lnTo>
                <a:lnTo>
                  <a:pt x="135" y="296"/>
                </a:lnTo>
                <a:lnTo>
                  <a:pt x="137" y="294"/>
                </a:lnTo>
                <a:lnTo>
                  <a:pt x="141" y="292"/>
                </a:lnTo>
                <a:lnTo>
                  <a:pt x="142" y="288"/>
                </a:lnTo>
                <a:lnTo>
                  <a:pt x="146" y="286"/>
                </a:lnTo>
                <a:lnTo>
                  <a:pt x="148" y="284"/>
                </a:lnTo>
                <a:lnTo>
                  <a:pt x="150" y="282"/>
                </a:lnTo>
                <a:lnTo>
                  <a:pt x="150" y="273"/>
                </a:lnTo>
                <a:lnTo>
                  <a:pt x="150" y="263"/>
                </a:lnTo>
                <a:lnTo>
                  <a:pt x="148" y="259"/>
                </a:lnTo>
                <a:lnTo>
                  <a:pt x="146" y="257"/>
                </a:lnTo>
                <a:lnTo>
                  <a:pt x="142" y="256"/>
                </a:lnTo>
                <a:lnTo>
                  <a:pt x="141" y="254"/>
                </a:lnTo>
                <a:lnTo>
                  <a:pt x="137" y="250"/>
                </a:lnTo>
                <a:lnTo>
                  <a:pt x="135" y="248"/>
                </a:lnTo>
                <a:lnTo>
                  <a:pt x="131" y="248"/>
                </a:lnTo>
                <a:lnTo>
                  <a:pt x="125" y="248"/>
                </a:lnTo>
                <a:lnTo>
                  <a:pt x="123" y="250"/>
                </a:lnTo>
                <a:lnTo>
                  <a:pt x="121" y="254"/>
                </a:lnTo>
                <a:lnTo>
                  <a:pt x="119" y="256"/>
                </a:lnTo>
                <a:lnTo>
                  <a:pt x="116" y="257"/>
                </a:lnTo>
                <a:lnTo>
                  <a:pt x="114" y="259"/>
                </a:lnTo>
                <a:lnTo>
                  <a:pt x="112" y="263"/>
                </a:lnTo>
                <a:lnTo>
                  <a:pt x="106" y="263"/>
                </a:lnTo>
                <a:lnTo>
                  <a:pt x="102" y="263"/>
                </a:lnTo>
                <a:lnTo>
                  <a:pt x="98" y="259"/>
                </a:lnTo>
                <a:lnTo>
                  <a:pt x="96" y="257"/>
                </a:lnTo>
                <a:lnTo>
                  <a:pt x="85" y="256"/>
                </a:lnTo>
                <a:lnTo>
                  <a:pt x="73" y="254"/>
                </a:lnTo>
                <a:lnTo>
                  <a:pt x="70" y="250"/>
                </a:lnTo>
                <a:lnTo>
                  <a:pt x="68" y="248"/>
                </a:lnTo>
                <a:lnTo>
                  <a:pt x="70" y="246"/>
                </a:lnTo>
                <a:lnTo>
                  <a:pt x="73" y="244"/>
                </a:lnTo>
                <a:lnTo>
                  <a:pt x="75" y="236"/>
                </a:lnTo>
                <a:lnTo>
                  <a:pt x="77" y="229"/>
                </a:lnTo>
                <a:lnTo>
                  <a:pt x="79" y="227"/>
                </a:lnTo>
                <a:lnTo>
                  <a:pt x="81" y="223"/>
                </a:lnTo>
                <a:lnTo>
                  <a:pt x="94" y="215"/>
                </a:lnTo>
                <a:lnTo>
                  <a:pt x="106" y="209"/>
                </a:lnTo>
                <a:lnTo>
                  <a:pt x="108" y="208"/>
                </a:lnTo>
                <a:lnTo>
                  <a:pt x="112" y="204"/>
                </a:lnTo>
                <a:lnTo>
                  <a:pt x="114" y="202"/>
                </a:lnTo>
                <a:lnTo>
                  <a:pt x="116" y="200"/>
                </a:lnTo>
                <a:lnTo>
                  <a:pt x="119" y="196"/>
                </a:lnTo>
                <a:lnTo>
                  <a:pt x="121" y="194"/>
                </a:lnTo>
                <a:lnTo>
                  <a:pt x="121" y="190"/>
                </a:lnTo>
                <a:lnTo>
                  <a:pt x="121" y="185"/>
                </a:lnTo>
                <a:lnTo>
                  <a:pt x="119" y="183"/>
                </a:lnTo>
                <a:lnTo>
                  <a:pt x="116" y="181"/>
                </a:lnTo>
                <a:lnTo>
                  <a:pt x="116" y="175"/>
                </a:lnTo>
                <a:lnTo>
                  <a:pt x="116" y="171"/>
                </a:lnTo>
                <a:lnTo>
                  <a:pt x="119" y="167"/>
                </a:lnTo>
                <a:lnTo>
                  <a:pt x="121" y="165"/>
                </a:lnTo>
                <a:lnTo>
                  <a:pt x="121" y="152"/>
                </a:lnTo>
                <a:lnTo>
                  <a:pt x="121" y="137"/>
                </a:lnTo>
                <a:lnTo>
                  <a:pt x="121" y="121"/>
                </a:lnTo>
                <a:lnTo>
                  <a:pt x="121" y="108"/>
                </a:lnTo>
                <a:lnTo>
                  <a:pt x="119" y="106"/>
                </a:lnTo>
                <a:lnTo>
                  <a:pt x="116" y="104"/>
                </a:lnTo>
                <a:lnTo>
                  <a:pt x="119" y="96"/>
                </a:lnTo>
                <a:lnTo>
                  <a:pt x="123" y="91"/>
                </a:lnTo>
                <a:lnTo>
                  <a:pt x="131" y="94"/>
                </a:lnTo>
                <a:lnTo>
                  <a:pt x="141" y="98"/>
                </a:lnTo>
                <a:lnTo>
                  <a:pt x="142" y="100"/>
                </a:lnTo>
                <a:lnTo>
                  <a:pt x="146" y="104"/>
                </a:lnTo>
                <a:lnTo>
                  <a:pt x="158" y="106"/>
                </a:lnTo>
                <a:lnTo>
                  <a:pt x="169" y="108"/>
                </a:lnTo>
                <a:lnTo>
                  <a:pt x="171" y="110"/>
                </a:lnTo>
                <a:lnTo>
                  <a:pt x="175" y="112"/>
                </a:lnTo>
                <a:lnTo>
                  <a:pt x="177" y="115"/>
                </a:lnTo>
                <a:lnTo>
                  <a:pt x="179" y="117"/>
                </a:lnTo>
                <a:lnTo>
                  <a:pt x="181" y="119"/>
                </a:lnTo>
                <a:lnTo>
                  <a:pt x="185" y="123"/>
                </a:lnTo>
                <a:lnTo>
                  <a:pt x="187" y="125"/>
                </a:lnTo>
                <a:lnTo>
                  <a:pt x="188" y="127"/>
                </a:lnTo>
                <a:lnTo>
                  <a:pt x="190" y="129"/>
                </a:lnTo>
                <a:lnTo>
                  <a:pt x="192" y="133"/>
                </a:lnTo>
                <a:lnTo>
                  <a:pt x="206" y="135"/>
                </a:lnTo>
                <a:lnTo>
                  <a:pt x="217" y="137"/>
                </a:lnTo>
                <a:lnTo>
                  <a:pt x="219" y="138"/>
                </a:lnTo>
                <a:lnTo>
                  <a:pt x="223" y="142"/>
                </a:lnTo>
                <a:lnTo>
                  <a:pt x="233" y="142"/>
                </a:lnTo>
                <a:lnTo>
                  <a:pt x="242" y="142"/>
                </a:lnTo>
                <a:lnTo>
                  <a:pt x="244" y="138"/>
                </a:lnTo>
                <a:lnTo>
                  <a:pt x="246" y="137"/>
                </a:lnTo>
                <a:lnTo>
                  <a:pt x="248" y="138"/>
                </a:lnTo>
                <a:lnTo>
                  <a:pt x="252" y="142"/>
                </a:lnTo>
                <a:lnTo>
                  <a:pt x="254" y="144"/>
                </a:lnTo>
                <a:lnTo>
                  <a:pt x="256" y="146"/>
                </a:lnTo>
                <a:lnTo>
                  <a:pt x="259" y="148"/>
                </a:lnTo>
                <a:lnTo>
                  <a:pt x="261" y="152"/>
                </a:lnTo>
                <a:lnTo>
                  <a:pt x="263" y="154"/>
                </a:lnTo>
                <a:lnTo>
                  <a:pt x="271" y="156"/>
                </a:lnTo>
                <a:lnTo>
                  <a:pt x="277" y="154"/>
                </a:lnTo>
                <a:lnTo>
                  <a:pt x="281" y="152"/>
                </a:lnTo>
                <a:lnTo>
                  <a:pt x="282" y="148"/>
                </a:lnTo>
                <a:lnTo>
                  <a:pt x="284" y="146"/>
                </a:lnTo>
                <a:lnTo>
                  <a:pt x="284" y="131"/>
                </a:lnTo>
                <a:lnTo>
                  <a:pt x="284" y="117"/>
                </a:lnTo>
                <a:lnTo>
                  <a:pt x="282" y="115"/>
                </a:lnTo>
                <a:lnTo>
                  <a:pt x="281" y="112"/>
                </a:lnTo>
                <a:lnTo>
                  <a:pt x="279" y="96"/>
                </a:lnTo>
                <a:lnTo>
                  <a:pt x="275" y="79"/>
                </a:lnTo>
                <a:lnTo>
                  <a:pt x="273" y="62"/>
                </a:lnTo>
                <a:lnTo>
                  <a:pt x="271" y="44"/>
                </a:lnTo>
                <a:lnTo>
                  <a:pt x="273" y="43"/>
                </a:lnTo>
                <a:lnTo>
                  <a:pt x="275" y="41"/>
                </a:lnTo>
                <a:lnTo>
                  <a:pt x="279" y="37"/>
                </a:lnTo>
                <a:lnTo>
                  <a:pt x="281" y="35"/>
                </a:lnTo>
                <a:lnTo>
                  <a:pt x="282" y="33"/>
                </a:lnTo>
                <a:lnTo>
                  <a:pt x="284" y="31"/>
                </a:lnTo>
                <a:lnTo>
                  <a:pt x="288" y="27"/>
                </a:lnTo>
                <a:lnTo>
                  <a:pt x="290" y="25"/>
                </a:lnTo>
                <a:lnTo>
                  <a:pt x="292" y="23"/>
                </a:lnTo>
                <a:lnTo>
                  <a:pt x="296" y="21"/>
                </a:lnTo>
                <a:lnTo>
                  <a:pt x="325" y="18"/>
                </a:lnTo>
                <a:lnTo>
                  <a:pt x="355" y="14"/>
                </a:lnTo>
                <a:lnTo>
                  <a:pt x="386" y="10"/>
                </a:lnTo>
                <a:lnTo>
                  <a:pt x="417" y="6"/>
                </a:lnTo>
                <a:lnTo>
                  <a:pt x="419" y="4"/>
                </a:lnTo>
                <a:lnTo>
                  <a:pt x="421" y="0"/>
                </a:lnTo>
                <a:lnTo>
                  <a:pt x="424" y="0"/>
                </a:lnTo>
                <a:lnTo>
                  <a:pt x="430" y="0"/>
                </a:lnTo>
                <a:lnTo>
                  <a:pt x="432" y="4"/>
                </a:lnTo>
                <a:lnTo>
                  <a:pt x="436" y="6"/>
                </a:lnTo>
                <a:lnTo>
                  <a:pt x="442" y="8"/>
                </a:lnTo>
                <a:lnTo>
                  <a:pt x="449" y="12"/>
                </a:lnTo>
                <a:lnTo>
                  <a:pt x="451" y="14"/>
                </a:lnTo>
                <a:lnTo>
                  <a:pt x="455" y="16"/>
                </a:lnTo>
                <a:lnTo>
                  <a:pt x="457" y="18"/>
                </a:lnTo>
                <a:lnTo>
                  <a:pt x="459" y="21"/>
                </a:lnTo>
                <a:lnTo>
                  <a:pt x="461" y="23"/>
                </a:lnTo>
                <a:lnTo>
                  <a:pt x="465" y="25"/>
                </a:lnTo>
                <a:lnTo>
                  <a:pt x="467" y="27"/>
                </a:lnTo>
                <a:lnTo>
                  <a:pt x="469" y="31"/>
                </a:lnTo>
                <a:lnTo>
                  <a:pt x="471" y="33"/>
                </a:lnTo>
                <a:lnTo>
                  <a:pt x="474" y="35"/>
                </a:lnTo>
                <a:lnTo>
                  <a:pt x="476" y="37"/>
                </a:lnTo>
                <a:lnTo>
                  <a:pt x="478" y="41"/>
                </a:lnTo>
                <a:lnTo>
                  <a:pt x="480" y="43"/>
                </a:lnTo>
                <a:lnTo>
                  <a:pt x="484" y="44"/>
                </a:lnTo>
                <a:lnTo>
                  <a:pt x="490" y="46"/>
                </a:lnTo>
                <a:lnTo>
                  <a:pt x="497" y="50"/>
                </a:lnTo>
                <a:lnTo>
                  <a:pt x="501" y="52"/>
                </a:lnTo>
                <a:lnTo>
                  <a:pt x="503" y="54"/>
                </a:lnTo>
                <a:lnTo>
                  <a:pt x="505" y="56"/>
                </a:lnTo>
                <a:lnTo>
                  <a:pt x="507" y="60"/>
                </a:lnTo>
                <a:lnTo>
                  <a:pt x="511" y="62"/>
                </a:lnTo>
                <a:lnTo>
                  <a:pt x="513" y="64"/>
                </a:lnTo>
                <a:lnTo>
                  <a:pt x="524" y="67"/>
                </a:lnTo>
                <a:lnTo>
                  <a:pt x="538" y="69"/>
                </a:lnTo>
                <a:lnTo>
                  <a:pt x="540" y="71"/>
                </a:lnTo>
                <a:lnTo>
                  <a:pt x="542" y="73"/>
                </a:lnTo>
                <a:lnTo>
                  <a:pt x="543" y="77"/>
                </a:lnTo>
                <a:lnTo>
                  <a:pt x="545" y="79"/>
                </a:lnTo>
                <a:lnTo>
                  <a:pt x="549" y="81"/>
                </a:lnTo>
                <a:lnTo>
                  <a:pt x="551" y="83"/>
                </a:lnTo>
                <a:lnTo>
                  <a:pt x="559" y="85"/>
                </a:lnTo>
                <a:lnTo>
                  <a:pt x="566" y="89"/>
                </a:lnTo>
                <a:lnTo>
                  <a:pt x="568" y="91"/>
                </a:lnTo>
                <a:lnTo>
                  <a:pt x="570" y="92"/>
                </a:lnTo>
                <a:lnTo>
                  <a:pt x="582" y="96"/>
                </a:lnTo>
                <a:lnTo>
                  <a:pt x="595" y="98"/>
                </a:lnTo>
                <a:lnTo>
                  <a:pt x="597" y="100"/>
                </a:lnTo>
                <a:lnTo>
                  <a:pt x="599" y="104"/>
                </a:lnTo>
                <a:lnTo>
                  <a:pt x="601" y="106"/>
                </a:lnTo>
                <a:lnTo>
                  <a:pt x="605" y="108"/>
                </a:lnTo>
                <a:lnTo>
                  <a:pt x="607" y="110"/>
                </a:lnTo>
                <a:lnTo>
                  <a:pt x="609" y="112"/>
                </a:lnTo>
                <a:lnTo>
                  <a:pt x="616" y="115"/>
                </a:lnTo>
                <a:lnTo>
                  <a:pt x="624" y="117"/>
                </a:lnTo>
                <a:lnTo>
                  <a:pt x="626" y="119"/>
                </a:lnTo>
                <a:lnTo>
                  <a:pt x="628" y="123"/>
                </a:lnTo>
                <a:lnTo>
                  <a:pt x="636" y="125"/>
                </a:lnTo>
                <a:lnTo>
                  <a:pt x="643" y="127"/>
                </a:lnTo>
                <a:lnTo>
                  <a:pt x="645" y="129"/>
                </a:lnTo>
                <a:lnTo>
                  <a:pt x="649" y="133"/>
                </a:lnTo>
                <a:lnTo>
                  <a:pt x="655" y="135"/>
                </a:lnTo>
                <a:lnTo>
                  <a:pt x="662" y="137"/>
                </a:lnTo>
                <a:lnTo>
                  <a:pt x="664" y="138"/>
                </a:lnTo>
                <a:lnTo>
                  <a:pt x="666" y="142"/>
                </a:lnTo>
                <a:lnTo>
                  <a:pt x="674" y="144"/>
                </a:lnTo>
                <a:lnTo>
                  <a:pt x="682" y="146"/>
                </a:lnTo>
                <a:lnTo>
                  <a:pt x="683" y="148"/>
                </a:lnTo>
                <a:lnTo>
                  <a:pt x="687" y="152"/>
                </a:lnTo>
                <a:lnTo>
                  <a:pt x="699" y="154"/>
                </a:lnTo>
                <a:lnTo>
                  <a:pt x="710" y="156"/>
                </a:lnTo>
                <a:lnTo>
                  <a:pt x="712" y="158"/>
                </a:lnTo>
                <a:lnTo>
                  <a:pt x="716" y="162"/>
                </a:lnTo>
                <a:lnTo>
                  <a:pt x="718" y="163"/>
                </a:lnTo>
                <a:lnTo>
                  <a:pt x="726" y="165"/>
                </a:lnTo>
                <a:lnTo>
                  <a:pt x="731" y="163"/>
                </a:lnTo>
                <a:lnTo>
                  <a:pt x="735" y="162"/>
                </a:lnTo>
                <a:lnTo>
                  <a:pt x="737" y="158"/>
                </a:lnTo>
                <a:lnTo>
                  <a:pt x="739" y="156"/>
                </a:lnTo>
                <a:lnTo>
                  <a:pt x="753" y="154"/>
                </a:lnTo>
                <a:lnTo>
                  <a:pt x="764" y="152"/>
                </a:lnTo>
                <a:lnTo>
                  <a:pt x="766" y="148"/>
                </a:lnTo>
                <a:lnTo>
                  <a:pt x="770" y="146"/>
                </a:lnTo>
                <a:lnTo>
                  <a:pt x="776" y="144"/>
                </a:lnTo>
                <a:lnTo>
                  <a:pt x="783" y="142"/>
                </a:lnTo>
                <a:lnTo>
                  <a:pt x="785" y="138"/>
                </a:lnTo>
                <a:lnTo>
                  <a:pt x="789" y="137"/>
                </a:lnTo>
                <a:lnTo>
                  <a:pt x="791" y="135"/>
                </a:lnTo>
                <a:lnTo>
                  <a:pt x="793" y="133"/>
                </a:lnTo>
                <a:lnTo>
                  <a:pt x="795" y="129"/>
                </a:lnTo>
                <a:lnTo>
                  <a:pt x="799" y="127"/>
                </a:lnTo>
                <a:lnTo>
                  <a:pt x="801" y="125"/>
                </a:lnTo>
                <a:lnTo>
                  <a:pt x="802" y="123"/>
                </a:lnTo>
                <a:lnTo>
                  <a:pt x="804" y="119"/>
                </a:lnTo>
                <a:lnTo>
                  <a:pt x="808" y="117"/>
                </a:lnTo>
                <a:lnTo>
                  <a:pt x="810" y="115"/>
                </a:lnTo>
                <a:lnTo>
                  <a:pt x="812" y="112"/>
                </a:lnTo>
                <a:lnTo>
                  <a:pt x="814" y="110"/>
                </a:lnTo>
                <a:lnTo>
                  <a:pt x="818" y="108"/>
                </a:lnTo>
                <a:lnTo>
                  <a:pt x="820" y="106"/>
                </a:lnTo>
                <a:lnTo>
                  <a:pt x="822" y="104"/>
                </a:lnTo>
                <a:lnTo>
                  <a:pt x="824" y="100"/>
                </a:lnTo>
                <a:lnTo>
                  <a:pt x="827" y="98"/>
                </a:lnTo>
                <a:lnTo>
                  <a:pt x="833" y="96"/>
                </a:lnTo>
                <a:lnTo>
                  <a:pt x="841" y="92"/>
                </a:lnTo>
                <a:lnTo>
                  <a:pt x="845" y="91"/>
                </a:lnTo>
                <a:lnTo>
                  <a:pt x="847" y="89"/>
                </a:lnTo>
                <a:lnTo>
                  <a:pt x="850" y="89"/>
                </a:lnTo>
                <a:lnTo>
                  <a:pt x="856" y="89"/>
                </a:lnTo>
                <a:lnTo>
                  <a:pt x="858" y="91"/>
                </a:lnTo>
                <a:lnTo>
                  <a:pt x="860" y="92"/>
                </a:lnTo>
                <a:lnTo>
                  <a:pt x="858" y="96"/>
                </a:lnTo>
                <a:lnTo>
                  <a:pt x="856" y="98"/>
                </a:lnTo>
                <a:lnTo>
                  <a:pt x="854" y="100"/>
                </a:lnTo>
                <a:lnTo>
                  <a:pt x="850" y="104"/>
                </a:lnTo>
                <a:lnTo>
                  <a:pt x="848" y="106"/>
                </a:lnTo>
                <a:lnTo>
                  <a:pt x="847" y="108"/>
                </a:lnTo>
                <a:lnTo>
                  <a:pt x="847" y="112"/>
                </a:lnTo>
                <a:lnTo>
                  <a:pt x="847" y="117"/>
                </a:lnTo>
                <a:lnTo>
                  <a:pt x="848" y="119"/>
                </a:lnTo>
                <a:lnTo>
                  <a:pt x="850" y="123"/>
                </a:lnTo>
                <a:lnTo>
                  <a:pt x="854" y="125"/>
                </a:lnTo>
                <a:lnTo>
                  <a:pt x="856" y="127"/>
                </a:lnTo>
                <a:lnTo>
                  <a:pt x="858" y="129"/>
                </a:lnTo>
                <a:lnTo>
                  <a:pt x="860" y="133"/>
                </a:lnTo>
                <a:lnTo>
                  <a:pt x="862" y="135"/>
                </a:lnTo>
                <a:lnTo>
                  <a:pt x="866" y="137"/>
                </a:lnTo>
                <a:lnTo>
                  <a:pt x="868" y="138"/>
                </a:lnTo>
                <a:lnTo>
                  <a:pt x="870" y="142"/>
                </a:lnTo>
                <a:lnTo>
                  <a:pt x="868" y="144"/>
                </a:lnTo>
                <a:lnTo>
                  <a:pt x="866" y="146"/>
                </a:lnTo>
                <a:lnTo>
                  <a:pt x="862" y="148"/>
                </a:lnTo>
                <a:lnTo>
                  <a:pt x="860" y="152"/>
                </a:lnTo>
                <a:lnTo>
                  <a:pt x="858" y="154"/>
                </a:lnTo>
                <a:lnTo>
                  <a:pt x="856" y="156"/>
                </a:lnTo>
                <a:lnTo>
                  <a:pt x="854" y="163"/>
                </a:lnTo>
                <a:lnTo>
                  <a:pt x="850" y="171"/>
                </a:lnTo>
                <a:lnTo>
                  <a:pt x="848" y="173"/>
                </a:lnTo>
                <a:lnTo>
                  <a:pt x="847" y="175"/>
                </a:lnTo>
                <a:lnTo>
                  <a:pt x="845" y="177"/>
                </a:lnTo>
                <a:lnTo>
                  <a:pt x="841" y="181"/>
                </a:lnTo>
                <a:lnTo>
                  <a:pt x="839" y="183"/>
                </a:lnTo>
                <a:lnTo>
                  <a:pt x="837" y="185"/>
                </a:lnTo>
                <a:lnTo>
                  <a:pt x="824" y="188"/>
                </a:lnTo>
                <a:lnTo>
                  <a:pt x="812" y="190"/>
                </a:lnTo>
                <a:lnTo>
                  <a:pt x="810" y="192"/>
                </a:lnTo>
                <a:lnTo>
                  <a:pt x="808" y="194"/>
                </a:lnTo>
                <a:lnTo>
                  <a:pt x="804" y="196"/>
                </a:lnTo>
                <a:lnTo>
                  <a:pt x="802" y="200"/>
                </a:lnTo>
                <a:lnTo>
                  <a:pt x="801" y="202"/>
                </a:lnTo>
                <a:lnTo>
                  <a:pt x="799" y="204"/>
                </a:lnTo>
                <a:lnTo>
                  <a:pt x="785" y="208"/>
                </a:lnTo>
                <a:lnTo>
                  <a:pt x="774" y="209"/>
                </a:lnTo>
                <a:lnTo>
                  <a:pt x="772" y="211"/>
                </a:lnTo>
                <a:lnTo>
                  <a:pt x="770" y="215"/>
                </a:lnTo>
                <a:lnTo>
                  <a:pt x="762" y="217"/>
                </a:lnTo>
                <a:lnTo>
                  <a:pt x="754" y="219"/>
                </a:lnTo>
                <a:lnTo>
                  <a:pt x="753" y="221"/>
                </a:lnTo>
                <a:lnTo>
                  <a:pt x="749" y="223"/>
                </a:lnTo>
                <a:lnTo>
                  <a:pt x="743" y="227"/>
                </a:lnTo>
                <a:lnTo>
                  <a:pt x="735" y="229"/>
                </a:lnTo>
                <a:lnTo>
                  <a:pt x="733" y="231"/>
                </a:lnTo>
                <a:lnTo>
                  <a:pt x="730" y="232"/>
                </a:lnTo>
                <a:lnTo>
                  <a:pt x="728" y="236"/>
                </a:lnTo>
                <a:lnTo>
                  <a:pt x="726" y="238"/>
                </a:lnTo>
                <a:lnTo>
                  <a:pt x="722" y="240"/>
                </a:lnTo>
                <a:lnTo>
                  <a:pt x="720" y="244"/>
                </a:lnTo>
                <a:lnTo>
                  <a:pt x="712" y="246"/>
                </a:lnTo>
                <a:lnTo>
                  <a:pt x="707" y="248"/>
                </a:lnTo>
                <a:lnTo>
                  <a:pt x="703" y="250"/>
                </a:lnTo>
                <a:lnTo>
                  <a:pt x="701" y="254"/>
                </a:lnTo>
                <a:lnTo>
                  <a:pt x="683" y="259"/>
                </a:lnTo>
                <a:lnTo>
                  <a:pt x="666" y="267"/>
                </a:lnTo>
                <a:lnTo>
                  <a:pt x="664" y="269"/>
                </a:lnTo>
                <a:lnTo>
                  <a:pt x="662" y="273"/>
                </a:lnTo>
                <a:lnTo>
                  <a:pt x="660" y="275"/>
                </a:lnTo>
                <a:lnTo>
                  <a:pt x="657" y="277"/>
                </a:lnTo>
                <a:lnTo>
                  <a:pt x="655" y="279"/>
                </a:lnTo>
                <a:lnTo>
                  <a:pt x="653" y="282"/>
                </a:lnTo>
                <a:lnTo>
                  <a:pt x="651" y="284"/>
                </a:lnTo>
                <a:lnTo>
                  <a:pt x="649" y="286"/>
                </a:lnTo>
                <a:lnTo>
                  <a:pt x="645" y="288"/>
                </a:lnTo>
                <a:lnTo>
                  <a:pt x="643" y="292"/>
                </a:lnTo>
                <a:lnTo>
                  <a:pt x="636" y="294"/>
                </a:lnTo>
                <a:lnTo>
                  <a:pt x="628" y="296"/>
                </a:lnTo>
                <a:lnTo>
                  <a:pt x="626" y="300"/>
                </a:lnTo>
                <a:lnTo>
                  <a:pt x="624" y="302"/>
                </a:lnTo>
                <a:lnTo>
                  <a:pt x="618" y="302"/>
                </a:lnTo>
                <a:lnTo>
                  <a:pt x="614" y="302"/>
                </a:lnTo>
                <a:lnTo>
                  <a:pt x="612" y="300"/>
                </a:lnTo>
                <a:lnTo>
                  <a:pt x="609" y="296"/>
                </a:lnTo>
                <a:lnTo>
                  <a:pt x="595" y="296"/>
                </a:lnTo>
                <a:lnTo>
                  <a:pt x="580" y="296"/>
                </a:lnTo>
                <a:lnTo>
                  <a:pt x="578" y="300"/>
                </a:lnTo>
                <a:lnTo>
                  <a:pt x="576" y="302"/>
                </a:lnTo>
                <a:lnTo>
                  <a:pt x="572" y="303"/>
                </a:lnTo>
                <a:lnTo>
                  <a:pt x="570" y="305"/>
                </a:lnTo>
                <a:lnTo>
                  <a:pt x="568" y="309"/>
                </a:lnTo>
                <a:lnTo>
                  <a:pt x="566" y="311"/>
                </a:lnTo>
                <a:lnTo>
                  <a:pt x="563" y="313"/>
                </a:lnTo>
                <a:lnTo>
                  <a:pt x="561" y="315"/>
                </a:lnTo>
                <a:lnTo>
                  <a:pt x="559" y="317"/>
                </a:lnTo>
                <a:lnTo>
                  <a:pt x="557" y="321"/>
                </a:lnTo>
                <a:lnTo>
                  <a:pt x="553" y="338"/>
                </a:lnTo>
                <a:lnTo>
                  <a:pt x="551" y="353"/>
                </a:lnTo>
                <a:lnTo>
                  <a:pt x="549" y="357"/>
                </a:lnTo>
                <a:lnTo>
                  <a:pt x="545" y="359"/>
                </a:lnTo>
                <a:lnTo>
                  <a:pt x="543" y="361"/>
                </a:lnTo>
                <a:lnTo>
                  <a:pt x="542" y="365"/>
                </a:lnTo>
                <a:lnTo>
                  <a:pt x="540" y="367"/>
                </a:lnTo>
                <a:lnTo>
                  <a:pt x="538" y="369"/>
                </a:lnTo>
                <a:lnTo>
                  <a:pt x="534" y="371"/>
                </a:lnTo>
                <a:lnTo>
                  <a:pt x="532" y="374"/>
                </a:lnTo>
                <a:lnTo>
                  <a:pt x="530" y="376"/>
                </a:lnTo>
                <a:lnTo>
                  <a:pt x="528" y="378"/>
                </a:lnTo>
                <a:lnTo>
                  <a:pt x="524" y="380"/>
                </a:lnTo>
                <a:lnTo>
                  <a:pt x="522" y="382"/>
                </a:lnTo>
                <a:lnTo>
                  <a:pt x="520" y="386"/>
                </a:lnTo>
                <a:lnTo>
                  <a:pt x="517" y="388"/>
                </a:lnTo>
                <a:lnTo>
                  <a:pt x="515" y="396"/>
                </a:lnTo>
                <a:lnTo>
                  <a:pt x="513" y="403"/>
                </a:lnTo>
                <a:lnTo>
                  <a:pt x="511" y="405"/>
                </a:lnTo>
                <a:lnTo>
                  <a:pt x="507" y="407"/>
                </a:lnTo>
                <a:lnTo>
                  <a:pt x="505" y="424"/>
                </a:lnTo>
                <a:lnTo>
                  <a:pt x="503" y="442"/>
                </a:lnTo>
                <a:lnTo>
                  <a:pt x="501" y="444"/>
                </a:lnTo>
                <a:lnTo>
                  <a:pt x="497" y="447"/>
                </a:lnTo>
                <a:lnTo>
                  <a:pt x="495" y="453"/>
                </a:lnTo>
                <a:lnTo>
                  <a:pt x="494" y="461"/>
                </a:lnTo>
                <a:lnTo>
                  <a:pt x="492" y="463"/>
                </a:lnTo>
                <a:lnTo>
                  <a:pt x="488" y="465"/>
                </a:lnTo>
                <a:lnTo>
                  <a:pt x="486" y="478"/>
                </a:lnTo>
                <a:lnTo>
                  <a:pt x="484" y="490"/>
                </a:lnTo>
                <a:lnTo>
                  <a:pt x="480" y="492"/>
                </a:lnTo>
                <a:lnTo>
                  <a:pt x="478" y="495"/>
                </a:lnTo>
                <a:lnTo>
                  <a:pt x="476" y="497"/>
                </a:lnTo>
                <a:lnTo>
                  <a:pt x="474" y="499"/>
                </a:lnTo>
                <a:lnTo>
                  <a:pt x="471" y="501"/>
                </a:lnTo>
                <a:lnTo>
                  <a:pt x="469" y="505"/>
                </a:lnTo>
                <a:lnTo>
                  <a:pt x="461" y="516"/>
                </a:lnTo>
                <a:lnTo>
                  <a:pt x="455" y="528"/>
                </a:lnTo>
                <a:lnTo>
                  <a:pt x="451" y="530"/>
                </a:lnTo>
                <a:lnTo>
                  <a:pt x="449" y="534"/>
                </a:lnTo>
                <a:lnTo>
                  <a:pt x="424" y="534"/>
                </a:lnTo>
                <a:lnTo>
                  <a:pt x="401" y="534"/>
                </a:lnTo>
              </a:path>
            </a:pathLst>
          </a:custGeom>
          <a:solidFill>
            <a:schemeClr val="accent3"/>
          </a:solidFill>
          <a:ln w="12700">
            <a:solidFill>
              <a:schemeClr val="bg1"/>
            </a:solidFill>
            <a:round/>
            <a:headEnd/>
            <a:tailEnd/>
          </a:ln>
        </p:spPr>
        <p:txBody>
          <a:bodyPr/>
          <a:lstStyle/>
          <a:p>
            <a:endParaRPr lang="en-GB"/>
          </a:p>
        </p:txBody>
      </p:sp>
      <p:sp>
        <p:nvSpPr>
          <p:cNvPr id="78" name="Freeform 345"/>
          <p:cNvSpPr>
            <a:spLocks/>
          </p:cNvSpPr>
          <p:nvPr>
            <p:custDataLst>
              <p:tags r:id="rId62"/>
            </p:custDataLst>
          </p:nvPr>
        </p:nvSpPr>
        <p:spPr bwMode="auto">
          <a:xfrm>
            <a:off x="1161392" y="3838690"/>
            <a:ext cx="316327" cy="239683"/>
          </a:xfrm>
          <a:custGeom>
            <a:avLst/>
            <a:gdLst>
              <a:gd name="T0" fmla="*/ 2147483647 w 232"/>
              <a:gd name="T1" fmla="*/ 2147483647 h 184"/>
              <a:gd name="T2" fmla="*/ 0 w 232"/>
              <a:gd name="T3" fmla="*/ 2147483647 h 184"/>
              <a:gd name="T4" fmla="*/ 2147483647 w 232"/>
              <a:gd name="T5" fmla="*/ 2147483647 h 184"/>
              <a:gd name="T6" fmla="*/ 2147483647 w 232"/>
              <a:gd name="T7" fmla="*/ 2147483647 h 184"/>
              <a:gd name="T8" fmla="*/ 2147483647 w 232"/>
              <a:gd name="T9" fmla="*/ 2147483647 h 184"/>
              <a:gd name="T10" fmla="*/ 2147483647 w 232"/>
              <a:gd name="T11" fmla="*/ 2147483647 h 184"/>
              <a:gd name="T12" fmla="*/ 2147483647 w 232"/>
              <a:gd name="T13" fmla="*/ 2147483647 h 184"/>
              <a:gd name="T14" fmla="*/ 2147483647 w 232"/>
              <a:gd name="T15" fmla="*/ 2147483647 h 184"/>
              <a:gd name="T16" fmla="*/ 2147483647 w 232"/>
              <a:gd name="T17" fmla="*/ 2147483647 h 184"/>
              <a:gd name="T18" fmla="*/ 2147483647 w 232"/>
              <a:gd name="T19" fmla="*/ 2147483647 h 184"/>
              <a:gd name="T20" fmla="*/ 2147483647 w 232"/>
              <a:gd name="T21" fmla="*/ 2147483647 h 184"/>
              <a:gd name="T22" fmla="*/ 2147483647 w 232"/>
              <a:gd name="T23" fmla="*/ 2147483647 h 184"/>
              <a:gd name="T24" fmla="*/ 2147483647 w 232"/>
              <a:gd name="T25" fmla="*/ 2147483647 h 184"/>
              <a:gd name="T26" fmla="*/ 2147483647 w 232"/>
              <a:gd name="T27" fmla="*/ 0 h 184"/>
              <a:gd name="T28" fmla="*/ 2147483647 w 232"/>
              <a:gd name="T29" fmla="*/ 0 h 184"/>
              <a:gd name="T30" fmla="*/ 2147483647 w 232"/>
              <a:gd name="T31" fmla="*/ 2147483647 h 184"/>
              <a:gd name="T32" fmla="*/ 2147483647 w 232"/>
              <a:gd name="T33" fmla="*/ 2147483647 h 184"/>
              <a:gd name="T34" fmla="*/ 2147483647 w 232"/>
              <a:gd name="T35" fmla="*/ 2147483647 h 184"/>
              <a:gd name="T36" fmla="*/ 2147483647 w 232"/>
              <a:gd name="T37" fmla="*/ 2147483647 h 184"/>
              <a:gd name="T38" fmla="*/ 2147483647 w 232"/>
              <a:gd name="T39" fmla="*/ 2147483647 h 184"/>
              <a:gd name="T40" fmla="*/ 2147483647 w 232"/>
              <a:gd name="T41" fmla="*/ 2147483647 h 184"/>
              <a:gd name="T42" fmla="*/ 2147483647 w 232"/>
              <a:gd name="T43" fmla="*/ 2147483647 h 184"/>
              <a:gd name="T44" fmla="*/ 2147483647 w 232"/>
              <a:gd name="T45" fmla="*/ 2147483647 h 184"/>
              <a:gd name="T46" fmla="*/ 2147483647 w 232"/>
              <a:gd name="T47" fmla="*/ 2147483647 h 184"/>
              <a:gd name="T48" fmla="*/ 2147483647 w 232"/>
              <a:gd name="T49" fmla="*/ 2147483647 h 184"/>
              <a:gd name="T50" fmla="*/ 2147483647 w 232"/>
              <a:gd name="T51" fmla="*/ 2147483647 h 184"/>
              <a:gd name="T52" fmla="*/ 2147483647 w 232"/>
              <a:gd name="T53" fmla="*/ 2147483647 h 184"/>
              <a:gd name="T54" fmla="*/ 2147483647 w 232"/>
              <a:gd name="T55" fmla="*/ 2147483647 h 184"/>
              <a:gd name="T56" fmla="*/ 2147483647 w 232"/>
              <a:gd name="T57" fmla="*/ 2147483647 h 184"/>
              <a:gd name="T58" fmla="*/ 2147483647 w 232"/>
              <a:gd name="T59" fmla="*/ 2147483647 h 184"/>
              <a:gd name="T60" fmla="*/ 2147483647 w 232"/>
              <a:gd name="T61" fmla="*/ 2147483647 h 184"/>
              <a:gd name="T62" fmla="*/ 2147483647 w 232"/>
              <a:gd name="T63" fmla="*/ 2147483647 h 184"/>
              <a:gd name="T64" fmla="*/ 2147483647 w 232"/>
              <a:gd name="T65" fmla="*/ 2147483647 h 184"/>
              <a:gd name="T66" fmla="*/ 2147483647 w 232"/>
              <a:gd name="T67" fmla="*/ 2147483647 h 184"/>
              <a:gd name="T68" fmla="*/ 2147483647 w 232"/>
              <a:gd name="T69" fmla="*/ 2147483647 h 184"/>
              <a:gd name="T70" fmla="*/ 2147483647 w 232"/>
              <a:gd name="T71" fmla="*/ 2147483647 h 184"/>
              <a:gd name="T72" fmla="*/ 2147483647 w 232"/>
              <a:gd name="T73" fmla="*/ 2147483647 h 184"/>
              <a:gd name="T74" fmla="*/ 2147483647 w 232"/>
              <a:gd name="T75" fmla="*/ 2147483647 h 184"/>
              <a:gd name="T76" fmla="*/ 2147483647 w 232"/>
              <a:gd name="T77" fmla="*/ 2147483647 h 184"/>
              <a:gd name="T78" fmla="*/ 2147483647 w 232"/>
              <a:gd name="T79" fmla="*/ 2147483647 h 184"/>
              <a:gd name="T80" fmla="*/ 2147483647 w 232"/>
              <a:gd name="T81" fmla="*/ 2147483647 h 184"/>
              <a:gd name="T82" fmla="*/ 2147483647 w 232"/>
              <a:gd name="T83" fmla="*/ 2147483647 h 184"/>
              <a:gd name="T84" fmla="*/ 2147483647 w 232"/>
              <a:gd name="T85" fmla="*/ 2147483647 h 184"/>
              <a:gd name="T86" fmla="*/ 2147483647 w 232"/>
              <a:gd name="T87" fmla="*/ 2147483647 h 184"/>
              <a:gd name="T88" fmla="*/ 2147483647 w 232"/>
              <a:gd name="T89" fmla="*/ 2147483647 h 184"/>
              <a:gd name="T90" fmla="*/ 2147483647 w 232"/>
              <a:gd name="T91" fmla="*/ 2147483647 h 184"/>
              <a:gd name="T92" fmla="*/ 2147483647 w 232"/>
              <a:gd name="T93" fmla="*/ 2147483647 h 184"/>
              <a:gd name="T94" fmla="*/ 2147483647 w 232"/>
              <a:gd name="T95" fmla="*/ 2147483647 h 184"/>
              <a:gd name="T96" fmla="*/ 2147483647 w 232"/>
              <a:gd name="T97" fmla="*/ 2147483647 h 184"/>
              <a:gd name="T98" fmla="*/ 2147483647 w 232"/>
              <a:gd name="T99" fmla="*/ 2147483647 h 184"/>
              <a:gd name="T100" fmla="*/ 2147483647 w 232"/>
              <a:gd name="T101" fmla="*/ 2147483647 h 184"/>
              <a:gd name="T102" fmla="*/ 2147483647 w 232"/>
              <a:gd name="T103" fmla="*/ 2147483647 h 184"/>
              <a:gd name="T104" fmla="*/ 2147483647 w 232"/>
              <a:gd name="T105" fmla="*/ 2147483647 h 184"/>
              <a:gd name="T106" fmla="*/ 2147483647 w 232"/>
              <a:gd name="T107" fmla="*/ 2147483647 h 184"/>
              <a:gd name="T108" fmla="*/ 2147483647 w 232"/>
              <a:gd name="T109" fmla="*/ 2147483647 h 18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2"/>
              <a:gd name="T166" fmla="*/ 0 h 184"/>
              <a:gd name="T167" fmla="*/ 232 w 232"/>
              <a:gd name="T168" fmla="*/ 184 h 18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2" h="184">
                <a:moveTo>
                  <a:pt x="9" y="184"/>
                </a:moveTo>
                <a:lnTo>
                  <a:pt x="3" y="180"/>
                </a:lnTo>
                <a:lnTo>
                  <a:pt x="0" y="174"/>
                </a:lnTo>
                <a:lnTo>
                  <a:pt x="0" y="169"/>
                </a:lnTo>
                <a:lnTo>
                  <a:pt x="0" y="165"/>
                </a:lnTo>
                <a:lnTo>
                  <a:pt x="2" y="149"/>
                </a:lnTo>
                <a:lnTo>
                  <a:pt x="3" y="136"/>
                </a:lnTo>
                <a:lnTo>
                  <a:pt x="7" y="121"/>
                </a:lnTo>
                <a:lnTo>
                  <a:pt x="9" y="107"/>
                </a:lnTo>
                <a:lnTo>
                  <a:pt x="9" y="101"/>
                </a:lnTo>
                <a:lnTo>
                  <a:pt x="9" y="98"/>
                </a:lnTo>
                <a:lnTo>
                  <a:pt x="9" y="82"/>
                </a:lnTo>
                <a:lnTo>
                  <a:pt x="9" y="69"/>
                </a:lnTo>
                <a:lnTo>
                  <a:pt x="9" y="59"/>
                </a:lnTo>
                <a:lnTo>
                  <a:pt x="9" y="50"/>
                </a:lnTo>
                <a:lnTo>
                  <a:pt x="19" y="44"/>
                </a:lnTo>
                <a:lnTo>
                  <a:pt x="28" y="40"/>
                </a:lnTo>
                <a:lnTo>
                  <a:pt x="32" y="40"/>
                </a:lnTo>
                <a:lnTo>
                  <a:pt x="38" y="40"/>
                </a:lnTo>
                <a:lnTo>
                  <a:pt x="44" y="28"/>
                </a:lnTo>
                <a:lnTo>
                  <a:pt x="48" y="19"/>
                </a:lnTo>
                <a:lnTo>
                  <a:pt x="53" y="19"/>
                </a:lnTo>
                <a:lnTo>
                  <a:pt x="57" y="19"/>
                </a:lnTo>
                <a:lnTo>
                  <a:pt x="57" y="15"/>
                </a:lnTo>
                <a:lnTo>
                  <a:pt x="57" y="11"/>
                </a:lnTo>
                <a:lnTo>
                  <a:pt x="63" y="5"/>
                </a:lnTo>
                <a:lnTo>
                  <a:pt x="67" y="0"/>
                </a:lnTo>
                <a:lnTo>
                  <a:pt x="76" y="0"/>
                </a:lnTo>
                <a:lnTo>
                  <a:pt x="86" y="0"/>
                </a:lnTo>
                <a:lnTo>
                  <a:pt x="94" y="0"/>
                </a:lnTo>
                <a:lnTo>
                  <a:pt x="101" y="0"/>
                </a:lnTo>
                <a:lnTo>
                  <a:pt x="103" y="4"/>
                </a:lnTo>
                <a:lnTo>
                  <a:pt x="105" y="5"/>
                </a:lnTo>
                <a:lnTo>
                  <a:pt x="109" y="11"/>
                </a:lnTo>
                <a:lnTo>
                  <a:pt x="111" y="19"/>
                </a:lnTo>
                <a:lnTo>
                  <a:pt x="113" y="23"/>
                </a:lnTo>
                <a:lnTo>
                  <a:pt x="117" y="25"/>
                </a:lnTo>
                <a:lnTo>
                  <a:pt x="119" y="27"/>
                </a:lnTo>
                <a:lnTo>
                  <a:pt x="120" y="28"/>
                </a:lnTo>
                <a:lnTo>
                  <a:pt x="122" y="32"/>
                </a:lnTo>
                <a:lnTo>
                  <a:pt x="124" y="34"/>
                </a:lnTo>
                <a:lnTo>
                  <a:pt x="128" y="36"/>
                </a:lnTo>
                <a:lnTo>
                  <a:pt x="130" y="40"/>
                </a:lnTo>
                <a:lnTo>
                  <a:pt x="132" y="42"/>
                </a:lnTo>
                <a:lnTo>
                  <a:pt x="136" y="44"/>
                </a:lnTo>
                <a:lnTo>
                  <a:pt x="138" y="52"/>
                </a:lnTo>
                <a:lnTo>
                  <a:pt x="140" y="59"/>
                </a:lnTo>
                <a:lnTo>
                  <a:pt x="142" y="61"/>
                </a:lnTo>
                <a:lnTo>
                  <a:pt x="145" y="63"/>
                </a:lnTo>
                <a:lnTo>
                  <a:pt x="149" y="67"/>
                </a:lnTo>
                <a:lnTo>
                  <a:pt x="157" y="71"/>
                </a:lnTo>
                <a:lnTo>
                  <a:pt x="174" y="73"/>
                </a:lnTo>
                <a:lnTo>
                  <a:pt x="207" y="78"/>
                </a:lnTo>
                <a:lnTo>
                  <a:pt x="211" y="80"/>
                </a:lnTo>
                <a:lnTo>
                  <a:pt x="213" y="82"/>
                </a:lnTo>
                <a:lnTo>
                  <a:pt x="214" y="90"/>
                </a:lnTo>
                <a:lnTo>
                  <a:pt x="216" y="98"/>
                </a:lnTo>
                <a:lnTo>
                  <a:pt x="220" y="99"/>
                </a:lnTo>
                <a:lnTo>
                  <a:pt x="222" y="101"/>
                </a:lnTo>
                <a:lnTo>
                  <a:pt x="224" y="105"/>
                </a:lnTo>
                <a:lnTo>
                  <a:pt x="228" y="107"/>
                </a:lnTo>
                <a:lnTo>
                  <a:pt x="230" y="109"/>
                </a:lnTo>
                <a:lnTo>
                  <a:pt x="232" y="111"/>
                </a:lnTo>
                <a:lnTo>
                  <a:pt x="230" y="113"/>
                </a:lnTo>
                <a:lnTo>
                  <a:pt x="228" y="117"/>
                </a:lnTo>
                <a:lnTo>
                  <a:pt x="220" y="124"/>
                </a:lnTo>
                <a:lnTo>
                  <a:pt x="213" y="132"/>
                </a:lnTo>
                <a:lnTo>
                  <a:pt x="211" y="134"/>
                </a:lnTo>
                <a:lnTo>
                  <a:pt x="207" y="136"/>
                </a:lnTo>
                <a:lnTo>
                  <a:pt x="205" y="144"/>
                </a:lnTo>
                <a:lnTo>
                  <a:pt x="203" y="149"/>
                </a:lnTo>
                <a:lnTo>
                  <a:pt x="201" y="153"/>
                </a:lnTo>
                <a:lnTo>
                  <a:pt x="197" y="155"/>
                </a:lnTo>
                <a:lnTo>
                  <a:pt x="195" y="157"/>
                </a:lnTo>
                <a:lnTo>
                  <a:pt x="193" y="161"/>
                </a:lnTo>
                <a:lnTo>
                  <a:pt x="191" y="163"/>
                </a:lnTo>
                <a:lnTo>
                  <a:pt x="188" y="165"/>
                </a:lnTo>
                <a:lnTo>
                  <a:pt x="180" y="167"/>
                </a:lnTo>
                <a:lnTo>
                  <a:pt x="174" y="170"/>
                </a:lnTo>
                <a:lnTo>
                  <a:pt x="170" y="172"/>
                </a:lnTo>
                <a:lnTo>
                  <a:pt x="168" y="174"/>
                </a:lnTo>
                <a:lnTo>
                  <a:pt x="161" y="176"/>
                </a:lnTo>
                <a:lnTo>
                  <a:pt x="155" y="178"/>
                </a:lnTo>
                <a:lnTo>
                  <a:pt x="151" y="182"/>
                </a:lnTo>
                <a:lnTo>
                  <a:pt x="149" y="184"/>
                </a:lnTo>
                <a:lnTo>
                  <a:pt x="147" y="182"/>
                </a:lnTo>
                <a:lnTo>
                  <a:pt x="145" y="178"/>
                </a:lnTo>
                <a:lnTo>
                  <a:pt x="142" y="176"/>
                </a:lnTo>
                <a:lnTo>
                  <a:pt x="140" y="174"/>
                </a:lnTo>
                <a:lnTo>
                  <a:pt x="138" y="172"/>
                </a:lnTo>
                <a:lnTo>
                  <a:pt x="136" y="170"/>
                </a:lnTo>
                <a:lnTo>
                  <a:pt x="128" y="167"/>
                </a:lnTo>
                <a:lnTo>
                  <a:pt x="120" y="165"/>
                </a:lnTo>
                <a:lnTo>
                  <a:pt x="119" y="163"/>
                </a:lnTo>
                <a:lnTo>
                  <a:pt x="117" y="161"/>
                </a:lnTo>
                <a:lnTo>
                  <a:pt x="111" y="157"/>
                </a:lnTo>
                <a:lnTo>
                  <a:pt x="101" y="157"/>
                </a:lnTo>
                <a:lnTo>
                  <a:pt x="92" y="157"/>
                </a:lnTo>
                <a:lnTo>
                  <a:pt x="86" y="161"/>
                </a:lnTo>
                <a:lnTo>
                  <a:pt x="84" y="163"/>
                </a:lnTo>
                <a:lnTo>
                  <a:pt x="82" y="165"/>
                </a:lnTo>
                <a:lnTo>
                  <a:pt x="71" y="167"/>
                </a:lnTo>
                <a:lnTo>
                  <a:pt x="57" y="170"/>
                </a:lnTo>
                <a:lnTo>
                  <a:pt x="55" y="172"/>
                </a:lnTo>
                <a:lnTo>
                  <a:pt x="53" y="174"/>
                </a:lnTo>
                <a:lnTo>
                  <a:pt x="46" y="176"/>
                </a:lnTo>
                <a:lnTo>
                  <a:pt x="38" y="178"/>
                </a:lnTo>
                <a:lnTo>
                  <a:pt x="36" y="182"/>
                </a:lnTo>
                <a:lnTo>
                  <a:pt x="34" y="184"/>
                </a:lnTo>
                <a:lnTo>
                  <a:pt x="21" y="184"/>
                </a:lnTo>
                <a:lnTo>
                  <a:pt x="9" y="184"/>
                </a:lnTo>
              </a:path>
            </a:pathLst>
          </a:custGeom>
          <a:solidFill>
            <a:schemeClr val="accent3"/>
          </a:solidFill>
          <a:ln w="12700">
            <a:solidFill>
              <a:schemeClr val="bg1"/>
            </a:solidFill>
            <a:round/>
            <a:headEnd/>
            <a:tailEnd/>
          </a:ln>
        </p:spPr>
        <p:txBody>
          <a:bodyPr/>
          <a:lstStyle/>
          <a:p>
            <a:endParaRPr lang="en-GB"/>
          </a:p>
        </p:txBody>
      </p:sp>
      <p:sp>
        <p:nvSpPr>
          <p:cNvPr id="79" name="Freeform 346"/>
          <p:cNvSpPr>
            <a:spLocks/>
          </p:cNvSpPr>
          <p:nvPr>
            <p:custDataLst>
              <p:tags r:id="rId63"/>
            </p:custDataLst>
          </p:nvPr>
        </p:nvSpPr>
        <p:spPr bwMode="auto">
          <a:xfrm>
            <a:off x="1375992" y="3566956"/>
            <a:ext cx="346984" cy="256405"/>
          </a:xfrm>
          <a:custGeom>
            <a:avLst/>
            <a:gdLst>
              <a:gd name="T0" fmla="*/ 2147483647 w 255"/>
              <a:gd name="T1" fmla="*/ 2147483647 h 194"/>
              <a:gd name="T2" fmla="*/ 2147483647 w 255"/>
              <a:gd name="T3" fmla="*/ 2147483647 h 194"/>
              <a:gd name="T4" fmla="*/ 2147483647 w 255"/>
              <a:gd name="T5" fmla="*/ 2147483647 h 194"/>
              <a:gd name="T6" fmla="*/ 2147483647 w 255"/>
              <a:gd name="T7" fmla="*/ 2147483647 h 194"/>
              <a:gd name="T8" fmla="*/ 2147483647 w 255"/>
              <a:gd name="T9" fmla="*/ 2147483647 h 194"/>
              <a:gd name="T10" fmla="*/ 2147483647 w 255"/>
              <a:gd name="T11" fmla="*/ 2147483647 h 194"/>
              <a:gd name="T12" fmla="*/ 2147483647 w 255"/>
              <a:gd name="T13" fmla="*/ 2147483647 h 194"/>
              <a:gd name="T14" fmla="*/ 2147483647 w 255"/>
              <a:gd name="T15" fmla="*/ 2147483647 h 194"/>
              <a:gd name="T16" fmla="*/ 2147483647 w 255"/>
              <a:gd name="T17" fmla="*/ 2147483647 h 194"/>
              <a:gd name="T18" fmla="*/ 2147483647 w 255"/>
              <a:gd name="T19" fmla="*/ 2147483647 h 194"/>
              <a:gd name="T20" fmla="*/ 2147483647 w 255"/>
              <a:gd name="T21" fmla="*/ 2147483647 h 194"/>
              <a:gd name="T22" fmla="*/ 2147483647 w 255"/>
              <a:gd name="T23" fmla="*/ 2147483647 h 194"/>
              <a:gd name="T24" fmla="*/ 2147483647 w 255"/>
              <a:gd name="T25" fmla="*/ 2147483647 h 194"/>
              <a:gd name="T26" fmla="*/ 2147483647 w 255"/>
              <a:gd name="T27" fmla="*/ 2147483647 h 194"/>
              <a:gd name="T28" fmla="*/ 2147483647 w 255"/>
              <a:gd name="T29" fmla="*/ 2147483647 h 194"/>
              <a:gd name="T30" fmla="*/ 2147483647 w 255"/>
              <a:gd name="T31" fmla="*/ 2147483647 h 194"/>
              <a:gd name="T32" fmla="*/ 2147483647 w 255"/>
              <a:gd name="T33" fmla="*/ 2147483647 h 194"/>
              <a:gd name="T34" fmla="*/ 2147483647 w 255"/>
              <a:gd name="T35" fmla="*/ 2147483647 h 194"/>
              <a:gd name="T36" fmla="*/ 2147483647 w 255"/>
              <a:gd name="T37" fmla="*/ 2147483647 h 194"/>
              <a:gd name="T38" fmla="*/ 2147483647 w 255"/>
              <a:gd name="T39" fmla="*/ 2147483647 h 194"/>
              <a:gd name="T40" fmla="*/ 2147483647 w 255"/>
              <a:gd name="T41" fmla="*/ 2147483647 h 194"/>
              <a:gd name="T42" fmla="*/ 2147483647 w 255"/>
              <a:gd name="T43" fmla="*/ 2147483647 h 194"/>
              <a:gd name="T44" fmla="*/ 2147483647 w 255"/>
              <a:gd name="T45" fmla="*/ 2147483647 h 194"/>
              <a:gd name="T46" fmla="*/ 2147483647 w 255"/>
              <a:gd name="T47" fmla="*/ 2147483647 h 194"/>
              <a:gd name="T48" fmla="*/ 2147483647 w 255"/>
              <a:gd name="T49" fmla="*/ 2147483647 h 194"/>
              <a:gd name="T50" fmla="*/ 2147483647 w 255"/>
              <a:gd name="T51" fmla="*/ 2147483647 h 194"/>
              <a:gd name="T52" fmla="*/ 2147483647 w 255"/>
              <a:gd name="T53" fmla="*/ 2147483647 h 194"/>
              <a:gd name="T54" fmla="*/ 2147483647 w 255"/>
              <a:gd name="T55" fmla="*/ 2147483647 h 194"/>
              <a:gd name="T56" fmla="*/ 2147483647 w 255"/>
              <a:gd name="T57" fmla="*/ 2147483647 h 194"/>
              <a:gd name="T58" fmla="*/ 2147483647 w 255"/>
              <a:gd name="T59" fmla="*/ 2147483647 h 194"/>
              <a:gd name="T60" fmla="*/ 2147483647 w 255"/>
              <a:gd name="T61" fmla="*/ 2147483647 h 194"/>
              <a:gd name="T62" fmla="*/ 2147483647 w 255"/>
              <a:gd name="T63" fmla="*/ 2147483647 h 194"/>
              <a:gd name="T64" fmla="*/ 2147483647 w 255"/>
              <a:gd name="T65" fmla="*/ 2147483647 h 194"/>
              <a:gd name="T66" fmla="*/ 2147483647 w 255"/>
              <a:gd name="T67" fmla="*/ 2147483647 h 194"/>
              <a:gd name="T68" fmla="*/ 2147483647 w 255"/>
              <a:gd name="T69" fmla="*/ 2147483647 h 194"/>
              <a:gd name="T70" fmla="*/ 2147483647 w 255"/>
              <a:gd name="T71" fmla="*/ 2147483647 h 194"/>
              <a:gd name="T72" fmla="*/ 2147483647 w 255"/>
              <a:gd name="T73" fmla="*/ 2147483647 h 194"/>
              <a:gd name="T74" fmla="*/ 2147483647 w 255"/>
              <a:gd name="T75" fmla="*/ 2147483647 h 194"/>
              <a:gd name="T76" fmla="*/ 2147483647 w 255"/>
              <a:gd name="T77" fmla="*/ 2147483647 h 194"/>
              <a:gd name="T78" fmla="*/ 2147483647 w 255"/>
              <a:gd name="T79" fmla="*/ 2147483647 h 194"/>
              <a:gd name="T80" fmla="*/ 2147483647 w 255"/>
              <a:gd name="T81" fmla="*/ 2147483647 h 194"/>
              <a:gd name="T82" fmla="*/ 2147483647 w 255"/>
              <a:gd name="T83" fmla="*/ 0 h 194"/>
              <a:gd name="T84" fmla="*/ 2147483647 w 255"/>
              <a:gd name="T85" fmla="*/ 2147483647 h 194"/>
              <a:gd name="T86" fmla="*/ 2147483647 w 255"/>
              <a:gd name="T87" fmla="*/ 2147483647 h 194"/>
              <a:gd name="T88" fmla="*/ 2147483647 w 255"/>
              <a:gd name="T89" fmla="*/ 2147483647 h 194"/>
              <a:gd name="T90" fmla="*/ 2147483647 w 255"/>
              <a:gd name="T91" fmla="*/ 2147483647 h 194"/>
              <a:gd name="T92" fmla="*/ 2147483647 w 255"/>
              <a:gd name="T93" fmla="*/ 2147483647 h 194"/>
              <a:gd name="T94" fmla="*/ 2147483647 w 255"/>
              <a:gd name="T95" fmla="*/ 2147483647 h 194"/>
              <a:gd name="T96" fmla="*/ 2147483647 w 255"/>
              <a:gd name="T97" fmla="*/ 2147483647 h 194"/>
              <a:gd name="T98" fmla="*/ 2147483647 w 255"/>
              <a:gd name="T99" fmla="*/ 2147483647 h 194"/>
              <a:gd name="T100" fmla="*/ 2147483647 w 255"/>
              <a:gd name="T101" fmla="*/ 2147483647 h 194"/>
              <a:gd name="T102" fmla="*/ 2147483647 w 255"/>
              <a:gd name="T103" fmla="*/ 2147483647 h 194"/>
              <a:gd name="T104" fmla="*/ 2147483647 w 255"/>
              <a:gd name="T105" fmla="*/ 2147483647 h 194"/>
              <a:gd name="T106" fmla="*/ 2147483647 w 255"/>
              <a:gd name="T107" fmla="*/ 2147483647 h 194"/>
              <a:gd name="T108" fmla="*/ 2147483647 w 255"/>
              <a:gd name="T109" fmla="*/ 2147483647 h 194"/>
              <a:gd name="T110" fmla="*/ 2147483647 w 255"/>
              <a:gd name="T111" fmla="*/ 2147483647 h 194"/>
              <a:gd name="T112" fmla="*/ 2147483647 w 255"/>
              <a:gd name="T113" fmla="*/ 2147483647 h 194"/>
              <a:gd name="T114" fmla="*/ 2147483647 w 255"/>
              <a:gd name="T115" fmla="*/ 2147483647 h 194"/>
              <a:gd name="T116" fmla="*/ 2147483647 w 255"/>
              <a:gd name="T117" fmla="*/ 2147483647 h 194"/>
              <a:gd name="T118" fmla="*/ 2147483647 w 255"/>
              <a:gd name="T119" fmla="*/ 2147483647 h 194"/>
              <a:gd name="T120" fmla="*/ 2147483647 w 255"/>
              <a:gd name="T121" fmla="*/ 2147483647 h 194"/>
              <a:gd name="T122" fmla="*/ 2147483647 w 255"/>
              <a:gd name="T123" fmla="*/ 2147483647 h 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5"/>
              <a:gd name="T187" fmla="*/ 0 h 194"/>
              <a:gd name="T188" fmla="*/ 255 w 255"/>
              <a:gd name="T189" fmla="*/ 194 h 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5" h="194">
                <a:moveTo>
                  <a:pt x="255" y="194"/>
                </a:moveTo>
                <a:lnTo>
                  <a:pt x="253" y="192"/>
                </a:lnTo>
                <a:lnTo>
                  <a:pt x="251" y="190"/>
                </a:lnTo>
                <a:lnTo>
                  <a:pt x="244" y="188"/>
                </a:lnTo>
                <a:lnTo>
                  <a:pt x="236" y="185"/>
                </a:lnTo>
                <a:lnTo>
                  <a:pt x="234" y="183"/>
                </a:lnTo>
                <a:lnTo>
                  <a:pt x="232" y="181"/>
                </a:lnTo>
                <a:lnTo>
                  <a:pt x="226" y="181"/>
                </a:lnTo>
                <a:lnTo>
                  <a:pt x="223" y="181"/>
                </a:lnTo>
                <a:lnTo>
                  <a:pt x="219" y="183"/>
                </a:lnTo>
                <a:lnTo>
                  <a:pt x="217" y="185"/>
                </a:lnTo>
                <a:lnTo>
                  <a:pt x="215" y="183"/>
                </a:lnTo>
                <a:lnTo>
                  <a:pt x="211" y="181"/>
                </a:lnTo>
                <a:lnTo>
                  <a:pt x="200" y="173"/>
                </a:lnTo>
                <a:lnTo>
                  <a:pt x="188" y="165"/>
                </a:lnTo>
                <a:lnTo>
                  <a:pt x="186" y="163"/>
                </a:lnTo>
                <a:lnTo>
                  <a:pt x="182" y="162"/>
                </a:lnTo>
                <a:lnTo>
                  <a:pt x="180" y="158"/>
                </a:lnTo>
                <a:lnTo>
                  <a:pt x="178" y="156"/>
                </a:lnTo>
                <a:lnTo>
                  <a:pt x="175" y="154"/>
                </a:lnTo>
                <a:lnTo>
                  <a:pt x="173" y="152"/>
                </a:lnTo>
                <a:lnTo>
                  <a:pt x="154" y="152"/>
                </a:lnTo>
                <a:lnTo>
                  <a:pt x="134" y="152"/>
                </a:lnTo>
                <a:lnTo>
                  <a:pt x="132" y="154"/>
                </a:lnTo>
                <a:lnTo>
                  <a:pt x="130" y="156"/>
                </a:lnTo>
                <a:lnTo>
                  <a:pt x="123" y="158"/>
                </a:lnTo>
                <a:lnTo>
                  <a:pt x="115" y="162"/>
                </a:lnTo>
                <a:lnTo>
                  <a:pt x="113" y="163"/>
                </a:lnTo>
                <a:lnTo>
                  <a:pt x="111" y="165"/>
                </a:lnTo>
                <a:lnTo>
                  <a:pt x="106" y="165"/>
                </a:lnTo>
                <a:lnTo>
                  <a:pt x="102" y="165"/>
                </a:lnTo>
                <a:lnTo>
                  <a:pt x="98" y="163"/>
                </a:lnTo>
                <a:lnTo>
                  <a:pt x="96" y="162"/>
                </a:lnTo>
                <a:lnTo>
                  <a:pt x="88" y="158"/>
                </a:lnTo>
                <a:lnTo>
                  <a:pt x="81" y="156"/>
                </a:lnTo>
                <a:lnTo>
                  <a:pt x="79" y="154"/>
                </a:lnTo>
                <a:lnTo>
                  <a:pt x="77" y="152"/>
                </a:lnTo>
                <a:lnTo>
                  <a:pt x="59" y="148"/>
                </a:lnTo>
                <a:lnTo>
                  <a:pt x="42" y="146"/>
                </a:lnTo>
                <a:lnTo>
                  <a:pt x="40" y="144"/>
                </a:lnTo>
                <a:lnTo>
                  <a:pt x="38" y="142"/>
                </a:lnTo>
                <a:lnTo>
                  <a:pt x="31" y="138"/>
                </a:lnTo>
                <a:lnTo>
                  <a:pt x="23" y="137"/>
                </a:lnTo>
                <a:lnTo>
                  <a:pt x="21" y="135"/>
                </a:lnTo>
                <a:lnTo>
                  <a:pt x="19" y="133"/>
                </a:lnTo>
                <a:lnTo>
                  <a:pt x="12" y="129"/>
                </a:lnTo>
                <a:lnTo>
                  <a:pt x="4" y="127"/>
                </a:lnTo>
                <a:lnTo>
                  <a:pt x="2" y="125"/>
                </a:lnTo>
                <a:lnTo>
                  <a:pt x="0" y="123"/>
                </a:lnTo>
                <a:lnTo>
                  <a:pt x="2" y="119"/>
                </a:lnTo>
                <a:lnTo>
                  <a:pt x="4" y="117"/>
                </a:lnTo>
                <a:lnTo>
                  <a:pt x="6" y="110"/>
                </a:lnTo>
                <a:lnTo>
                  <a:pt x="10" y="104"/>
                </a:lnTo>
                <a:lnTo>
                  <a:pt x="12" y="100"/>
                </a:lnTo>
                <a:lnTo>
                  <a:pt x="13" y="98"/>
                </a:lnTo>
                <a:lnTo>
                  <a:pt x="15" y="96"/>
                </a:lnTo>
                <a:lnTo>
                  <a:pt x="19" y="92"/>
                </a:lnTo>
                <a:lnTo>
                  <a:pt x="21" y="91"/>
                </a:lnTo>
                <a:lnTo>
                  <a:pt x="23" y="89"/>
                </a:lnTo>
                <a:lnTo>
                  <a:pt x="25" y="85"/>
                </a:lnTo>
                <a:lnTo>
                  <a:pt x="29" y="83"/>
                </a:lnTo>
                <a:lnTo>
                  <a:pt x="31" y="81"/>
                </a:lnTo>
                <a:lnTo>
                  <a:pt x="33" y="79"/>
                </a:lnTo>
                <a:lnTo>
                  <a:pt x="36" y="77"/>
                </a:lnTo>
                <a:lnTo>
                  <a:pt x="38" y="73"/>
                </a:lnTo>
                <a:lnTo>
                  <a:pt x="40" y="71"/>
                </a:lnTo>
                <a:lnTo>
                  <a:pt x="42" y="69"/>
                </a:lnTo>
                <a:lnTo>
                  <a:pt x="46" y="64"/>
                </a:lnTo>
                <a:lnTo>
                  <a:pt x="46" y="50"/>
                </a:lnTo>
                <a:lnTo>
                  <a:pt x="46" y="37"/>
                </a:lnTo>
                <a:lnTo>
                  <a:pt x="42" y="31"/>
                </a:lnTo>
                <a:lnTo>
                  <a:pt x="40" y="27"/>
                </a:lnTo>
                <a:lnTo>
                  <a:pt x="38" y="25"/>
                </a:lnTo>
                <a:lnTo>
                  <a:pt x="40" y="23"/>
                </a:lnTo>
                <a:lnTo>
                  <a:pt x="42" y="21"/>
                </a:lnTo>
                <a:lnTo>
                  <a:pt x="46" y="18"/>
                </a:lnTo>
                <a:lnTo>
                  <a:pt x="48" y="16"/>
                </a:lnTo>
                <a:lnTo>
                  <a:pt x="50" y="14"/>
                </a:lnTo>
                <a:lnTo>
                  <a:pt x="52" y="12"/>
                </a:lnTo>
                <a:lnTo>
                  <a:pt x="65" y="8"/>
                </a:lnTo>
                <a:lnTo>
                  <a:pt x="77" y="6"/>
                </a:lnTo>
                <a:lnTo>
                  <a:pt x="79" y="4"/>
                </a:lnTo>
                <a:lnTo>
                  <a:pt x="81" y="0"/>
                </a:lnTo>
                <a:lnTo>
                  <a:pt x="86" y="0"/>
                </a:lnTo>
                <a:lnTo>
                  <a:pt x="90" y="0"/>
                </a:lnTo>
                <a:lnTo>
                  <a:pt x="94" y="4"/>
                </a:lnTo>
                <a:lnTo>
                  <a:pt x="96" y="6"/>
                </a:lnTo>
                <a:lnTo>
                  <a:pt x="113" y="8"/>
                </a:lnTo>
                <a:lnTo>
                  <a:pt x="130" y="12"/>
                </a:lnTo>
                <a:lnTo>
                  <a:pt x="132" y="14"/>
                </a:lnTo>
                <a:lnTo>
                  <a:pt x="134" y="16"/>
                </a:lnTo>
                <a:lnTo>
                  <a:pt x="157" y="18"/>
                </a:lnTo>
                <a:lnTo>
                  <a:pt x="178" y="21"/>
                </a:lnTo>
                <a:lnTo>
                  <a:pt x="180" y="23"/>
                </a:lnTo>
                <a:lnTo>
                  <a:pt x="182" y="25"/>
                </a:lnTo>
                <a:lnTo>
                  <a:pt x="186" y="33"/>
                </a:lnTo>
                <a:lnTo>
                  <a:pt x="188" y="41"/>
                </a:lnTo>
                <a:lnTo>
                  <a:pt x="190" y="43"/>
                </a:lnTo>
                <a:lnTo>
                  <a:pt x="194" y="44"/>
                </a:lnTo>
                <a:lnTo>
                  <a:pt x="205" y="46"/>
                </a:lnTo>
                <a:lnTo>
                  <a:pt x="217" y="50"/>
                </a:lnTo>
                <a:lnTo>
                  <a:pt x="219" y="52"/>
                </a:lnTo>
                <a:lnTo>
                  <a:pt x="223" y="54"/>
                </a:lnTo>
                <a:lnTo>
                  <a:pt x="224" y="71"/>
                </a:lnTo>
                <a:lnTo>
                  <a:pt x="226" y="89"/>
                </a:lnTo>
                <a:lnTo>
                  <a:pt x="228" y="91"/>
                </a:lnTo>
                <a:lnTo>
                  <a:pt x="232" y="92"/>
                </a:lnTo>
                <a:lnTo>
                  <a:pt x="234" y="96"/>
                </a:lnTo>
                <a:lnTo>
                  <a:pt x="236" y="98"/>
                </a:lnTo>
                <a:lnTo>
                  <a:pt x="238" y="100"/>
                </a:lnTo>
                <a:lnTo>
                  <a:pt x="242" y="104"/>
                </a:lnTo>
                <a:lnTo>
                  <a:pt x="244" y="106"/>
                </a:lnTo>
                <a:lnTo>
                  <a:pt x="246" y="108"/>
                </a:lnTo>
                <a:lnTo>
                  <a:pt x="248" y="110"/>
                </a:lnTo>
                <a:lnTo>
                  <a:pt x="251" y="112"/>
                </a:lnTo>
                <a:lnTo>
                  <a:pt x="251" y="121"/>
                </a:lnTo>
                <a:lnTo>
                  <a:pt x="251" y="133"/>
                </a:lnTo>
                <a:lnTo>
                  <a:pt x="248" y="135"/>
                </a:lnTo>
                <a:lnTo>
                  <a:pt x="246" y="137"/>
                </a:lnTo>
                <a:lnTo>
                  <a:pt x="246" y="146"/>
                </a:lnTo>
                <a:lnTo>
                  <a:pt x="246" y="156"/>
                </a:lnTo>
                <a:lnTo>
                  <a:pt x="248" y="158"/>
                </a:lnTo>
                <a:lnTo>
                  <a:pt x="251" y="162"/>
                </a:lnTo>
                <a:lnTo>
                  <a:pt x="253" y="177"/>
                </a:lnTo>
                <a:lnTo>
                  <a:pt x="255" y="194"/>
                </a:lnTo>
              </a:path>
            </a:pathLst>
          </a:custGeom>
          <a:solidFill>
            <a:schemeClr val="accent3"/>
          </a:solidFill>
          <a:ln w="12700">
            <a:solidFill>
              <a:schemeClr val="bg1"/>
            </a:solidFill>
            <a:round/>
            <a:headEnd/>
            <a:tailEnd/>
          </a:ln>
        </p:spPr>
        <p:txBody>
          <a:bodyPr/>
          <a:lstStyle/>
          <a:p>
            <a:endParaRPr lang="en-GB"/>
          </a:p>
        </p:txBody>
      </p:sp>
      <p:sp>
        <p:nvSpPr>
          <p:cNvPr id="80" name="Freeform 347"/>
          <p:cNvSpPr>
            <a:spLocks/>
          </p:cNvSpPr>
          <p:nvPr>
            <p:custDataLst>
              <p:tags r:id="rId64"/>
            </p:custDataLst>
          </p:nvPr>
        </p:nvSpPr>
        <p:spPr bwMode="auto">
          <a:xfrm>
            <a:off x="1201804" y="3431786"/>
            <a:ext cx="252224" cy="391575"/>
          </a:xfrm>
          <a:custGeom>
            <a:avLst/>
            <a:gdLst>
              <a:gd name="T0" fmla="*/ 2147483647 w 185"/>
              <a:gd name="T1" fmla="*/ 2147483647 h 299"/>
              <a:gd name="T2" fmla="*/ 2147483647 w 185"/>
              <a:gd name="T3" fmla="*/ 2147483647 h 299"/>
              <a:gd name="T4" fmla="*/ 2147483647 w 185"/>
              <a:gd name="T5" fmla="*/ 2147483647 h 299"/>
              <a:gd name="T6" fmla="*/ 2147483647 w 185"/>
              <a:gd name="T7" fmla="*/ 2147483647 h 299"/>
              <a:gd name="T8" fmla="*/ 2147483647 w 185"/>
              <a:gd name="T9" fmla="*/ 2147483647 h 299"/>
              <a:gd name="T10" fmla="*/ 2147483647 w 185"/>
              <a:gd name="T11" fmla="*/ 2147483647 h 299"/>
              <a:gd name="T12" fmla="*/ 2147483647 w 185"/>
              <a:gd name="T13" fmla="*/ 2147483647 h 299"/>
              <a:gd name="T14" fmla="*/ 2147483647 w 185"/>
              <a:gd name="T15" fmla="*/ 2147483647 h 299"/>
              <a:gd name="T16" fmla="*/ 2147483647 w 185"/>
              <a:gd name="T17" fmla="*/ 2147483647 h 299"/>
              <a:gd name="T18" fmla="*/ 2147483647 w 185"/>
              <a:gd name="T19" fmla="*/ 2147483647 h 299"/>
              <a:gd name="T20" fmla="*/ 2147483647 w 185"/>
              <a:gd name="T21" fmla="*/ 2147483647 h 299"/>
              <a:gd name="T22" fmla="*/ 2147483647 w 185"/>
              <a:gd name="T23" fmla="*/ 2147483647 h 299"/>
              <a:gd name="T24" fmla="*/ 2147483647 w 185"/>
              <a:gd name="T25" fmla="*/ 2147483647 h 299"/>
              <a:gd name="T26" fmla="*/ 2147483647 w 185"/>
              <a:gd name="T27" fmla="*/ 2147483647 h 299"/>
              <a:gd name="T28" fmla="*/ 2147483647 w 185"/>
              <a:gd name="T29" fmla="*/ 2147483647 h 299"/>
              <a:gd name="T30" fmla="*/ 2147483647 w 185"/>
              <a:gd name="T31" fmla="*/ 2147483647 h 299"/>
              <a:gd name="T32" fmla="*/ 2147483647 w 185"/>
              <a:gd name="T33" fmla="*/ 2147483647 h 299"/>
              <a:gd name="T34" fmla="*/ 2147483647 w 185"/>
              <a:gd name="T35" fmla="*/ 2147483647 h 299"/>
              <a:gd name="T36" fmla="*/ 2147483647 w 185"/>
              <a:gd name="T37" fmla="*/ 2147483647 h 299"/>
              <a:gd name="T38" fmla="*/ 2147483647 w 185"/>
              <a:gd name="T39" fmla="*/ 2147483647 h 299"/>
              <a:gd name="T40" fmla="*/ 2147483647 w 185"/>
              <a:gd name="T41" fmla="*/ 2147483647 h 299"/>
              <a:gd name="T42" fmla="*/ 2147483647 w 185"/>
              <a:gd name="T43" fmla="*/ 2147483647 h 299"/>
              <a:gd name="T44" fmla="*/ 2147483647 w 185"/>
              <a:gd name="T45" fmla="*/ 2147483647 h 299"/>
              <a:gd name="T46" fmla="*/ 2147483647 w 185"/>
              <a:gd name="T47" fmla="*/ 2147483647 h 299"/>
              <a:gd name="T48" fmla="*/ 2147483647 w 185"/>
              <a:gd name="T49" fmla="*/ 0 h 299"/>
              <a:gd name="T50" fmla="*/ 2147483647 w 185"/>
              <a:gd name="T51" fmla="*/ 2147483647 h 299"/>
              <a:gd name="T52" fmla="*/ 2147483647 w 185"/>
              <a:gd name="T53" fmla="*/ 2147483647 h 299"/>
              <a:gd name="T54" fmla="*/ 2147483647 w 185"/>
              <a:gd name="T55" fmla="*/ 2147483647 h 299"/>
              <a:gd name="T56" fmla="*/ 2147483647 w 185"/>
              <a:gd name="T57" fmla="*/ 2147483647 h 299"/>
              <a:gd name="T58" fmla="*/ 2147483647 w 185"/>
              <a:gd name="T59" fmla="*/ 2147483647 h 299"/>
              <a:gd name="T60" fmla="*/ 2147483647 w 185"/>
              <a:gd name="T61" fmla="*/ 2147483647 h 299"/>
              <a:gd name="T62" fmla="*/ 2147483647 w 185"/>
              <a:gd name="T63" fmla="*/ 2147483647 h 299"/>
              <a:gd name="T64" fmla="*/ 2147483647 w 185"/>
              <a:gd name="T65" fmla="*/ 2147483647 h 299"/>
              <a:gd name="T66" fmla="*/ 2147483647 w 185"/>
              <a:gd name="T67" fmla="*/ 2147483647 h 299"/>
              <a:gd name="T68" fmla="*/ 2147483647 w 185"/>
              <a:gd name="T69" fmla="*/ 2147483647 h 299"/>
              <a:gd name="T70" fmla="*/ 2147483647 w 185"/>
              <a:gd name="T71" fmla="*/ 2147483647 h 299"/>
              <a:gd name="T72" fmla="*/ 2147483647 w 185"/>
              <a:gd name="T73" fmla="*/ 2147483647 h 299"/>
              <a:gd name="T74" fmla="*/ 2147483647 w 185"/>
              <a:gd name="T75" fmla="*/ 2147483647 h 299"/>
              <a:gd name="T76" fmla="*/ 2147483647 w 185"/>
              <a:gd name="T77" fmla="*/ 2147483647 h 299"/>
              <a:gd name="T78" fmla="*/ 2147483647 w 185"/>
              <a:gd name="T79" fmla="*/ 2147483647 h 299"/>
              <a:gd name="T80" fmla="*/ 2147483647 w 185"/>
              <a:gd name="T81" fmla="*/ 2147483647 h 299"/>
              <a:gd name="T82" fmla="*/ 2147483647 w 185"/>
              <a:gd name="T83" fmla="*/ 2147483647 h 299"/>
              <a:gd name="T84" fmla="*/ 2147483647 w 185"/>
              <a:gd name="T85" fmla="*/ 2147483647 h 299"/>
              <a:gd name="T86" fmla="*/ 2147483647 w 185"/>
              <a:gd name="T87" fmla="*/ 2147483647 h 299"/>
              <a:gd name="T88" fmla="*/ 2147483647 w 185"/>
              <a:gd name="T89" fmla="*/ 2147483647 h 299"/>
              <a:gd name="T90" fmla="*/ 2147483647 w 185"/>
              <a:gd name="T91" fmla="*/ 2147483647 h 299"/>
              <a:gd name="T92" fmla="*/ 2147483647 w 185"/>
              <a:gd name="T93" fmla="*/ 2147483647 h 299"/>
              <a:gd name="T94" fmla="*/ 2147483647 w 185"/>
              <a:gd name="T95" fmla="*/ 2147483647 h 299"/>
              <a:gd name="T96" fmla="*/ 2147483647 w 185"/>
              <a:gd name="T97" fmla="*/ 2147483647 h 299"/>
              <a:gd name="T98" fmla="*/ 2147483647 w 185"/>
              <a:gd name="T99" fmla="*/ 2147483647 h 299"/>
              <a:gd name="T100" fmla="*/ 2147483647 w 185"/>
              <a:gd name="T101" fmla="*/ 2147483647 h 299"/>
              <a:gd name="T102" fmla="*/ 2147483647 w 185"/>
              <a:gd name="T103" fmla="*/ 2147483647 h 299"/>
              <a:gd name="T104" fmla="*/ 2147483647 w 185"/>
              <a:gd name="T105" fmla="*/ 2147483647 h 299"/>
              <a:gd name="T106" fmla="*/ 2147483647 w 185"/>
              <a:gd name="T107" fmla="*/ 2147483647 h 299"/>
              <a:gd name="T108" fmla="*/ 2147483647 w 185"/>
              <a:gd name="T109" fmla="*/ 2147483647 h 299"/>
              <a:gd name="T110" fmla="*/ 2147483647 w 185"/>
              <a:gd name="T111" fmla="*/ 2147483647 h 299"/>
              <a:gd name="T112" fmla="*/ 2147483647 w 185"/>
              <a:gd name="T113" fmla="*/ 2147483647 h 29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85"/>
              <a:gd name="T172" fmla="*/ 0 h 299"/>
              <a:gd name="T173" fmla="*/ 185 w 185"/>
              <a:gd name="T174" fmla="*/ 299 h 29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85" h="299">
                <a:moveTo>
                  <a:pt x="29" y="261"/>
                </a:moveTo>
                <a:lnTo>
                  <a:pt x="33" y="259"/>
                </a:lnTo>
                <a:lnTo>
                  <a:pt x="31" y="257"/>
                </a:lnTo>
                <a:lnTo>
                  <a:pt x="27" y="255"/>
                </a:lnTo>
                <a:lnTo>
                  <a:pt x="20" y="251"/>
                </a:lnTo>
                <a:lnTo>
                  <a:pt x="18" y="251"/>
                </a:lnTo>
                <a:lnTo>
                  <a:pt x="16" y="249"/>
                </a:lnTo>
                <a:lnTo>
                  <a:pt x="16" y="247"/>
                </a:lnTo>
                <a:lnTo>
                  <a:pt x="14" y="242"/>
                </a:lnTo>
                <a:lnTo>
                  <a:pt x="8" y="219"/>
                </a:lnTo>
                <a:lnTo>
                  <a:pt x="0" y="174"/>
                </a:lnTo>
                <a:lnTo>
                  <a:pt x="4" y="169"/>
                </a:lnTo>
                <a:lnTo>
                  <a:pt x="10" y="165"/>
                </a:lnTo>
                <a:lnTo>
                  <a:pt x="16" y="159"/>
                </a:lnTo>
                <a:lnTo>
                  <a:pt x="20" y="155"/>
                </a:lnTo>
                <a:lnTo>
                  <a:pt x="20" y="146"/>
                </a:lnTo>
                <a:lnTo>
                  <a:pt x="20" y="136"/>
                </a:lnTo>
                <a:lnTo>
                  <a:pt x="25" y="136"/>
                </a:lnTo>
                <a:lnTo>
                  <a:pt x="29" y="136"/>
                </a:lnTo>
                <a:lnTo>
                  <a:pt x="35" y="130"/>
                </a:lnTo>
                <a:lnTo>
                  <a:pt x="39" y="126"/>
                </a:lnTo>
                <a:lnTo>
                  <a:pt x="45" y="121"/>
                </a:lnTo>
                <a:lnTo>
                  <a:pt x="48" y="117"/>
                </a:lnTo>
                <a:lnTo>
                  <a:pt x="54" y="111"/>
                </a:lnTo>
                <a:lnTo>
                  <a:pt x="58" y="105"/>
                </a:lnTo>
                <a:lnTo>
                  <a:pt x="64" y="101"/>
                </a:lnTo>
                <a:lnTo>
                  <a:pt x="68" y="96"/>
                </a:lnTo>
                <a:lnTo>
                  <a:pt x="68" y="92"/>
                </a:lnTo>
                <a:lnTo>
                  <a:pt x="68" y="88"/>
                </a:lnTo>
                <a:lnTo>
                  <a:pt x="68" y="82"/>
                </a:lnTo>
                <a:lnTo>
                  <a:pt x="68" y="77"/>
                </a:lnTo>
                <a:lnTo>
                  <a:pt x="77" y="73"/>
                </a:lnTo>
                <a:lnTo>
                  <a:pt x="89" y="67"/>
                </a:lnTo>
                <a:lnTo>
                  <a:pt x="92" y="63"/>
                </a:lnTo>
                <a:lnTo>
                  <a:pt x="96" y="57"/>
                </a:lnTo>
                <a:lnTo>
                  <a:pt x="102" y="54"/>
                </a:lnTo>
                <a:lnTo>
                  <a:pt x="108" y="48"/>
                </a:lnTo>
                <a:lnTo>
                  <a:pt x="112" y="44"/>
                </a:lnTo>
                <a:lnTo>
                  <a:pt x="117" y="38"/>
                </a:lnTo>
                <a:lnTo>
                  <a:pt x="117" y="34"/>
                </a:lnTo>
                <a:lnTo>
                  <a:pt x="117" y="29"/>
                </a:lnTo>
                <a:lnTo>
                  <a:pt x="117" y="25"/>
                </a:lnTo>
                <a:lnTo>
                  <a:pt x="117" y="19"/>
                </a:lnTo>
                <a:lnTo>
                  <a:pt x="121" y="19"/>
                </a:lnTo>
                <a:lnTo>
                  <a:pt x="127" y="19"/>
                </a:lnTo>
                <a:lnTo>
                  <a:pt x="131" y="13"/>
                </a:lnTo>
                <a:lnTo>
                  <a:pt x="137" y="9"/>
                </a:lnTo>
                <a:lnTo>
                  <a:pt x="140" y="6"/>
                </a:lnTo>
                <a:lnTo>
                  <a:pt x="146" y="0"/>
                </a:lnTo>
                <a:lnTo>
                  <a:pt x="156" y="0"/>
                </a:lnTo>
                <a:lnTo>
                  <a:pt x="165" y="0"/>
                </a:lnTo>
                <a:lnTo>
                  <a:pt x="169" y="6"/>
                </a:lnTo>
                <a:lnTo>
                  <a:pt x="175" y="9"/>
                </a:lnTo>
                <a:lnTo>
                  <a:pt x="175" y="13"/>
                </a:lnTo>
                <a:lnTo>
                  <a:pt x="175" y="19"/>
                </a:lnTo>
                <a:lnTo>
                  <a:pt x="177" y="25"/>
                </a:lnTo>
                <a:lnTo>
                  <a:pt x="179" y="29"/>
                </a:lnTo>
                <a:lnTo>
                  <a:pt x="183" y="31"/>
                </a:lnTo>
                <a:lnTo>
                  <a:pt x="185" y="34"/>
                </a:lnTo>
                <a:lnTo>
                  <a:pt x="183" y="54"/>
                </a:lnTo>
                <a:lnTo>
                  <a:pt x="179" y="73"/>
                </a:lnTo>
                <a:lnTo>
                  <a:pt x="177" y="92"/>
                </a:lnTo>
                <a:lnTo>
                  <a:pt x="175" y="111"/>
                </a:lnTo>
                <a:lnTo>
                  <a:pt x="173" y="113"/>
                </a:lnTo>
                <a:lnTo>
                  <a:pt x="169" y="117"/>
                </a:lnTo>
                <a:lnTo>
                  <a:pt x="167" y="119"/>
                </a:lnTo>
                <a:lnTo>
                  <a:pt x="165" y="121"/>
                </a:lnTo>
                <a:lnTo>
                  <a:pt x="163" y="123"/>
                </a:lnTo>
                <a:lnTo>
                  <a:pt x="160" y="126"/>
                </a:lnTo>
                <a:lnTo>
                  <a:pt x="160" y="130"/>
                </a:lnTo>
                <a:lnTo>
                  <a:pt x="160" y="136"/>
                </a:lnTo>
                <a:lnTo>
                  <a:pt x="163" y="138"/>
                </a:lnTo>
                <a:lnTo>
                  <a:pt x="165" y="140"/>
                </a:lnTo>
                <a:lnTo>
                  <a:pt x="165" y="155"/>
                </a:lnTo>
                <a:lnTo>
                  <a:pt x="165" y="169"/>
                </a:lnTo>
                <a:lnTo>
                  <a:pt x="163" y="172"/>
                </a:lnTo>
                <a:lnTo>
                  <a:pt x="160" y="174"/>
                </a:lnTo>
                <a:lnTo>
                  <a:pt x="158" y="176"/>
                </a:lnTo>
                <a:lnTo>
                  <a:pt x="156" y="178"/>
                </a:lnTo>
                <a:lnTo>
                  <a:pt x="152" y="182"/>
                </a:lnTo>
                <a:lnTo>
                  <a:pt x="150" y="184"/>
                </a:lnTo>
                <a:lnTo>
                  <a:pt x="148" y="186"/>
                </a:lnTo>
                <a:lnTo>
                  <a:pt x="146" y="188"/>
                </a:lnTo>
                <a:lnTo>
                  <a:pt x="142" y="190"/>
                </a:lnTo>
                <a:lnTo>
                  <a:pt x="140" y="194"/>
                </a:lnTo>
                <a:lnTo>
                  <a:pt x="139" y="196"/>
                </a:lnTo>
                <a:lnTo>
                  <a:pt x="137" y="197"/>
                </a:lnTo>
                <a:lnTo>
                  <a:pt x="133" y="201"/>
                </a:lnTo>
                <a:lnTo>
                  <a:pt x="131" y="203"/>
                </a:lnTo>
                <a:lnTo>
                  <a:pt x="129" y="211"/>
                </a:lnTo>
                <a:lnTo>
                  <a:pt x="127" y="217"/>
                </a:lnTo>
                <a:lnTo>
                  <a:pt x="123" y="220"/>
                </a:lnTo>
                <a:lnTo>
                  <a:pt x="121" y="222"/>
                </a:lnTo>
                <a:lnTo>
                  <a:pt x="119" y="224"/>
                </a:lnTo>
                <a:lnTo>
                  <a:pt x="117" y="228"/>
                </a:lnTo>
                <a:lnTo>
                  <a:pt x="114" y="230"/>
                </a:lnTo>
                <a:lnTo>
                  <a:pt x="112" y="232"/>
                </a:lnTo>
                <a:lnTo>
                  <a:pt x="110" y="253"/>
                </a:lnTo>
                <a:lnTo>
                  <a:pt x="108" y="276"/>
                </a:lnTo>
                <a:lnTo>
                  <a:pt x="104" y="278"/>
                </a:lnTo>
                <a:lnTo>
                  <a:pt x="102" y="280"/>
                </a:lnTo>
                <a:lnTo>
                  <a:pt x="100" y="282"/>
                </a:lnTo>
                <a:lnTo>
                  <a:pt x="96" y="286"/>
                </a:lnTo>
                <a:lnTo>
                  <a:pt x="94" y="288"/>
                </a:lnTo>
                <a:lnTo>
                  <a:pt x="92" y="290"/>
                </a:lnTo>
                <a:lnTo>
                  <a:pt x="85" y="293"/>
                </a:lnTo>
                <a:lnTo>
                  <a:pt x="77" y="295"/>
                </a:lnTo>
                <a:lnTo>
                  <a:pt x="75" y="297"/>
                </a:lnTo>
                <a:lnTo>
                  <a:pt x="73" y="299"/>
                </a:lnTo>
                <a:lnTo>
                  <a:pt x="66" y="299"/>
                </a:lnTo>
                <a:lnTo>
                  <a:pt x="58" y="299"/>
                </a:lnTo>
                <a:lnTo>
                  <a:pt x="50" y="293"/>
                </a:lnTo>
                <a:lnTo>
                  <a:pt x="45" y="288"/>
                </a:lnTo>
                <a:lnTo>
                  <a:pt x="39" y="278"/>
                </a:lnTo>
                <a:lnTo>
                  <a:pt x="29" y="261"/>
                </a:lnTo>
              </a:path>
            </a:pathLst>
          </a:custGeom>
          <a:solidFill>
            <a:schemeClr val="accent3"/>
          </a:solidFill>
          <a:ln w="12700">
            <a:solidFill>
              <a:schemeClr val="bg1"/>
            </a:solidFill>
            <a:round/>
            <a:headEnd/>
            <a:tailEnd/>
          </a:ln>
        </p:spPr>
        <p:txBody>
          <a:bodyPr/>
          <a:lstStyle/>
          <a:p>
            <a:endParaRPr lang="en-GB"/>
          </a:p>
        </p:txBody>
      </p:sp>
      <p:sp>
        <p:nvSpPr>
          <p:cNvPr id="81" name="Freeform 348"/>
          <p:cNvSpPr>
            <a:spLocks/>
          </p:cNvSpPr>
          <p:nvPr>
            <p:custDataLst>
              <p:tags r:id="rId65"/>
            </p:custDataLst>
          </p:nvPr>
        </p:nvSpPr>
        <p:spPr bwMode="auto">
          <a:xfrm>
            <a:off x="1692318" y="2959387"/>
            <a:ext cx="537894" cy="671670"/>
          </a:xfrm>
          <a:custGeom>
            <a:avLst/>
            <a:gdLst>
              <a:gd name="T0" fmla="*/ 2147483647 w 395"/>
              <a:gd name="T1" fmla="*/ 2147483647 h 512"/>
              <a:gd name="T2" fmla="*/ 2147483647 w 395"/>
              <a:gd name="T3" fmla="*/ 2147483647 h 512"/>
              <a:gd name="T4" fmla="*/ 2147483647 w 395"/>
              <a:gd name="T5" fmla="*/ 2147483647 h 512"/>
              <a:gd name="T6" fmla="*/ 2147483647 w 395"/>
              <a:gd name="T7" fmla="*/ 2147483647 h 512"/>
              <a:gd name="T8" fmla="*/ 2147483647 w 395"/>
              <a:gd name="T9" fmla="*/ 2147483647 h 512"/>
              <a:gd name="T10" fmla="*/ 2147483647 w 395"/>
              <a:gd name="T11" fmla="*/ 2147483647 h 512"/>
              <a:gd name="T12" fmla="*/ 2147483647 w 395"/>
              <a:gd name="T13" fmla="*/ 2147483647 h 512"/>
              <a:gd name="T14" fmla="*/ 2147483647 w 395"/>
              <a:gd name="T15" fmla="*/ 0 h 512"/>
              <a:gd name="T16" fmla="*/ 2147483647 w 395"/>
              <a:gd name="T17" fmla="*/ 2147483647 h 512"/>
              <a:gd name="T18" fmla="*/ 2147483647 w 395"/>
              <a:gd name="T19" fmla="*/ 2147483647 h 512"/>
              <a:gd name="T20" fmla="*/ 2147483647 w 395"/>
              <a:gd name="T21" fmla="*/ 2147483647 h 512"/>
              <a:gd name="T22" fmla="*/ 2147483647 w 395"/>
              <a:gd name="T23" fmla="*/ 2147483647 h 512"/>
              <a:gd name="T24" fmla="*/ 2147483647 w 395"/>
              <a:gd name="T25" fmla="*/ 2147483647 h 512"/>
              <a:gd name="T26" fmla="*/ 2147483647 w 395"/>
              <a:gd name="T27" fmla="*/ 2147483647 h 512"/>
              <a:gd name="T28" fmla="*/ 2147483647 w 395"/>
              <a:gd name="T29" fmla="*/ 2147483647 h 512"/>
              <a:gd name="T30" fmla="*/ 2147483647 w 395"/>
              <a:gd name="T31" fmla="*/ 2147483647 h 512"/>
              <a:gd name="T32" fmla="*/ 2147483647 w 395"/>
              <a:gd name="T33" fmla="*/ 2147483647 h 512"/>
              <a:gd name="T34" fmla="*/ 2147483647 w 395"/>
              <a:gd name="T35" fmla="*/ 2147483647 h 512"/>
              <a:gd name="T36" fmla="*/ 2147483647 w 395"/>
              <a:gd name="T37" fmla="*/ 2147483647 h 512"/>
              <a:gd name="T38" fmla="*/ 2147483647 w 395"/>
              <a:gd name="T39" fmla="*/ 2147483647 h 512"/>
              <a:gd name="T40" fmla="*/ 2147483647 w 395"/>
              <a:gd name="T41" fmla="*/ 2147483647 h 512"/>
              <a:gd name="T42" fmla="*/ 2147483647 w 395"/>
              <a:gd name="T43" fmla="*/ 2147483647 h 512"/>
              <a:gd name="T44" fmla="*/ 2147483647 w 395"/>
              <a:gd name="T45" fmla="*/ 2147483647 h 512"/>
              <a:gd name="T46" fmla="*/ 2147483647 w 395"/>
              <a:gd name="T47" fmla="*/ 2147483647 h 512"/>
              <a:gd name="T48" fmla="*/ 2147483647 w 395"/>
              <a:gd name="T49" fmla="*/ 2147483647 h 512"/>
              <a:gd name="T50" fmla="*/ 0 w 395"/>
              <a:gd name="T51" fmla="*/ 2147483647 h 512"/>
              <a:gd name="T52" fmla="*/ 2147483647 w 395"/>
              <a:gd name="T53" fmla="*/ 2147483647 h 512"/>
              <a:gd name="T54" fmla="*/ 2147483647 w 395"/>
              <a:gd name="T55" fmla="*/ 2147483647 h 512"/>
              <a:gd name="T56" fmla="*/ 2147483647 w 395"/>
              <a:gd name="T57" fmla="*/ 2147483647 h 512"/>
              <a:gd name="T58" fmla="*/ 2147483647 w 395"/>
              <a:gd name="T59" fmla="*/ 2147483647 h 512"/>
              <a:gd name="T60" fmla="*/ 2147483647 w 395"/>
              <a:gd name="T61" fmla="*/ 2147483647 h 512"/>
              <a:gd name="T62" fmla="*/ 2147483647 w 395"/>
              <a:gd name="T63" fmla="*/ 2147483647 h 512"/>
              <a:gd name="T64" fmla="*/ 2147483647 w 395"/>
              <a:gd name="T65" fmla="*/ 2147483647 h 512"/>
              <a:gd name="T66" fmla="*/ 2147483647 w 395"/>
              <a:gd name="T67" fmla="*/ 2147483647 h 512"/>
              <a:gd name="T68" fmla="*/ 2147483647 w 395"/>
              <a:gd name="T69" fmla="*/ 2147483647 h 512"/>
              <a:gd name="T70" fmla="*/ 2147483647 w 395"/>
              <a:gd name="T71" fmla="*/ 2147483647 h 512"/>
              <a:gd name="T72" fmla="*/ 2147483647 w 395"/>
              <a:gd name="T73" fmla="*/ 2147483647 h 512"/>
              <a:gd name="T74" fmla="*/ 2147483647 w 395"/>
              <a:gd name="T75" fmla="*/ 2147483647 h 512"/>
              <a:gd name="T76" fmla="*/ 2147483647 w 395"/>
              <a:gd name="T77" fmla="*/ 2147483647 h 512"/>
              <a:gd name="T78" fmla="*/ 2147483647 w 395"/>
              <a:gd name="T79" fmla="*/ 2147483647 h 512"/>
              <a:gd name="T80" fmla="*/ 2147483647 w 395"/>
              <a:gd name="T81" fmla="*/ 2147483647 h 512"/>
              <a:gd name="T82" fmla="*/ 2147483647 w 395"/>
              <a:gd name="T83" fmla="*/ 2147483647 h 512"/>
              <a:gd name="T84" fmla="*/ 2147483647 w 395"/>
              <a:gd name="T85" fmla="*/ 2147483647 h 512"/>
              <a:gd name="T86" fmla="*/ 2147483647 w 395"/>
              <a:gd name="T87" fmla="*/ 2147483647 h 512"/>
              <a:gd name="T88" fmla="*/ 2147483647 w 395"/>
              <a:gd name="T89" fmla="*/ 2147483647 h 512"/>
              <a:gd name="T90" fmla="*/ 2147483647 w 395"/>
              <a:gd name="T91" fmla="*/ 2147483647 h 512"/>
              <a:gd name="T92" fmla="*/ 2147483647 w 395"/>
              <a:gd name="T93" fmla="*/ 2147483647 h 512"/>
              <a:gd name="T94" fmla="*/ 2147483647 w 395"/>
              <a:gd name="T95" fmla="*/ 2147483647 h 512"/>
              <a:gd name="T96" fmla="*/ 2147483647 w 395"/>
              <a:gd name="T97" fmla="*/ 2147483647 h 512"/>
              <a:gd name="T98" fmla="*/ 2147483647 w 395"/>
              <a:gd name="T99" fmla="*/ 2147483647 h 512"/>
              <a:gd name="T100" fmla="*/ 2147483647 w 395"/>
              <a:gd name="T101" fmla="*/ 2147483647 h 512"/>
              <a:gd name="T102" fmla="*/ 2147483647 w 395"/>
              <a:gd name="T103" fmla="*/ 2147483647 h 51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95"/>
              <a:gd name="T157" fmla="*/ 0 h 512"/>
              <a:gd name="T158" fmla="*/ 395 w 395"/>
              <a:gd name="T159" fmla="*/ 512 h 51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95" h="512">
                <a:moveTo>
                  <a:pt x="311" y="330"/>
                </a:moveTo>
                <a:lnTo>
                  <a:pt x="321" y="330"/>
                </a:lnTo>
                <a:lnTo>
                  <a:pt x="328" y="330"/>
                </a:lnTo>
                <a:lnTo>
                  <a:pt x="326" y="303"/>
                </a:lnTo>
                <a:lnTo>
                  <a:pt x="326" y="276"/>
                </a:lnTo>
                <a:lnTo>
                  <a:pt x="324" y="249"/>
                </a:lnTo>
                <a:lnTo>
                  <a:pt x="322" y="223"/>
                </a:lnTo>
                <a:lnTo>
                  <a:pt x="347" y="186"/>
                </a:lnTo>
                <a:lnTo>
                  <a:pt x="370" y="157"/>
                </a:lnTo>
                <a:lnTo>
                  <a:pt x="378" y="144"/>
                </a:lnTo>
                <a:lnTo>
                  <a:pt x="386" y="127"/>
                </a:lnTo>
                <a:lnTo>
                  <a:pt x="392" y="106"/>
                </a:lnTo>
                <a:lnTo>
                  <a:pt x="395" y="79"/>
                </a:lnTo>
                <a:lnTo>
                  <a:pt x="395" y="77"/>
                </a:lnTo>
                <a:lnTo>
                  <a:pt x="395" y="73"/>
                </a:lnTo>
                <a:lnTo>
                  <a:pt x="393" y="71"/>
                </a:lnTo>
                <a:lnTo>
                  <a:pt x="392" y="69"/>
                </a:lnTo>
                <a:lnTo>
                  <a:pt x="388" y="52"/>
                </a:lnTo>
                <a:lnTo>
                  <a:pt x="386" y="35"/>
                </a:lnTo>
                <a:lnTo>
                  <a:pt x="384" y="33"/>
                </a:lnTo>
                <a:lnTo>
                  <a:pt x="382" y="31"/>
                </a:lnTo>
                <a:lnTo>
                  <a:pt x="374" y="27"/>
                </a:lnTo>
                <a:lnTo>
                  <a:pt x="367" y="25"/>
                </a:lnTo>
                <a:lnTo>
                  <a:pt x="365" y="23"/>
                </a:lnTo>
                <a:lnTo>
                  <a:pt x="363" y="21"/>
                </a:lnTo>
                <a:lnTo>
                  <a:pt x="359" y="17"/>
                </a:lnTo>
                <a:lnTo>
                  <a:pt x="357" y="15"/>
                </a:lnTo>
                <a:lnTo>
                  <a:pt x="355" y="13"/>
                </a:lnTo>
                <a:lnTo>
                  <a:pt x="353" y="12"/>
                </a:lnTo>
                <a:lnTo>
                  <a:pt x="349" y="6"/>
                </a:lnTo>
                <a:lnTo>
                  <a:pt x="347" y="0"/>
                </a:lnTo>
                <a:lnTo>
                  <a:pt x="342" y="0"/>
                </a:lnTo>
                <a:lnTo>
                  <a:pt x="338" y="0"/>
                </a:lnTo>
                <a:lnTo>
                  <a:pt x="332" y="0"/>
                </a:lnTo>
                <a:lnTo>
                  <a:pt x="328" y="0"/>
                </a:lnTo>
                <a:lnTo>
                  <a:pt x="322" y="6"/>
                </a:lnTo>
                <a:lnTo>
                  <a:pt x="319" y="12"/>
                </a:lnTo>
                <a:lnTo>
                  <a:pt x="319" y="21"/>
                </a:lnTo>
                <a:lnTo>
                  <a:pt x="319" y="31"/>
                </a:lnTo>
                <a:lnTo>
                  <a:pt x="313" y="31"/>
                </a:lnTo>
                <a:lnTo>
                  <a:pt x="309" y="31"/>
                </a:lnTo>
                <a:lnTo>
                  <a:pt x="303" y="31"/>
                </a:lnTo>
                <a:lnTo>
                  <a:pt x="299" y="31"/>
                </a:lnTo>
                <a:lnTo>
                  <a:pt x="299" y="35"/>
                </a:lnTo>
                <a:lnTo>
                  <a:pt x="299" y="40"/>
                </a:lnTo>
                <a:lnTo>
                  <a:pt x="294" y="40"/>
                </a:lnTo>
                <a:lnTo>
                  <a:pt x="290" y="40"/>
                </a:lnTo>
                <a:lnTo>
                  <a:pt x="284" y="40"/>
                </a:lnTo>
                <a:lnTo>
                  <a:pt x="280" y="40"/>
                </a:lnTo>
                <a:lnTo>
                  <a:pt x="275" y="44"/>
                </a:lnTo>
                <a:lnTo>
                  <a:pt x="271" y="50"/>
                </a:lnTo>
                <a:lnTo>
                  <a:pt x="265" y="54"/>
                </a:lnTo>
                <a:lnTo>
                  <a:pt x="261" y="59"/>
                </a:lnTo>
                <a:lnTo>
                  <a:pt x="255" y="69"/>
                </a:lnTo>
                <a:lnTo>
                  <a:pt x="252" y="79"/>
                </a:lnTo>
                <a:lnTo>
                  <a:pt x="246" y="79"/>
                </a:lnTo>
                <a:lnTo>
                  <a:pt x="242" y="79"/>
                </a:lnTo>
                <a:lnTo>
                  <a:pt x="242" y="83"/>
                </a:lnTo>
                <a:lnTo>
                  <a:pt x="242" y="88"/>
                </a:lnTo>
                <a:lnTo>
                  <a:pt x="236" y="92"/>
                </a:lnTo>
                <a:lnTo>
                  <a:pt x="232" y="98"/>
                </a:lnTo>
                <a:lnTo>
                  <a:pt x="227" y="107"/>
                </a:lnTo>
                <a:lnTo>
                  <a:pt x="223" y="117"/>
                </a:lnTo>
                <a:lnTo>
                  <a:pt x="217" y="123"/>
                </a:lnTo>
                <a:lnTo>
                  <a:pt x="211" y="127"/>
                </a:lnTo>
                <a:lnTo>
                  <a:pt x="211" y="132"/>
                </a:lnTo>
                <a:lnTo>
                  <a:pt x="211" y="136"/>
                </a:lnTo>
                <a:lnTo>
                  <a:pt x="204" y="152"/>
                </a:lnTo>
                <a:lnTo>
                  <a:pt x="194" y="165"/>
                </a:lnTo>
                <a:lnTo>
                  <a:pt x="188" y="171"/>
                </a:lnTo>
                <a:lnTo>
                  <a:pt x="182" y="175"/>
                </a:lnTo>
                <a:lnTo>
                  <a:pt x="179" y="180"/>
                </a:lnTo>
                <a:lnTo>
                  <a:pt x="173" y="184"/>
                </a:lnTo>
                <a:lnTo>
                  <a:pt x="169" y="184"/>
                </a:lnTo>
                <a:lnTo>
                  <a:pt x="163" y="184"/>
                </a:lnTo>
                <a:lnTo>
                  <a:pt x="163" y="190"/>
                </a:lnTo>
                <a:lnTo>
                  <a:pt x="163" y="194"/>
                </a:lnTo>
                <a:lnTo>
                  <a:pt x="163" y="213"/>
                </a:lnTo>
                <a:lnTo>
                  <a:pt x="163" y="232"/>
                </a:lnTo>
                <a:lnTo>
                  <a:pt x="163" y="238"/>
                </a:lnTo>
                <a:lnTo>
                  <a:pt x="163" y="244"/>
                </a:lnTo>
                <a:lnTo>
                  <a:pt x="159" y="248"/>
                </a:lnTo>
                <a:lnTo>
                  <a:pt x="154" y="253"/>
                </a:lnTo>
                <a:lnTo>
                  <a:pt x="150" y="257"/>
                </a:lnTo>
                <a:lnTo>
                  <a:pt x="144" y="263"/>
                </a:lnTo>
                <a:lnTo>
                  <a:pt x="140" y="263"/>
                </a:lnTo>
                <a:lnTo>
                  <a:pt x="134" y="263"/>
                </a:lnTo>
                <a:lnTo>
                  <a:pt x="131" y="267"/>
                </a:lnTo>
                <a:lnTo>
                  <a:pt x="125" y="272"/>
                </a:lnTo>
                <a:lnTo>
                  <a:pt x="111" y="272"/>
                </a:lnTo>
                <a:lnTo>
                  <a:pt x="96" y="272"/>
                </a:lnTo>
                <a:lnTo>
                  <a:pt x="90" y="276"/>
                </a:lnTo>
                <a:lnTo>
                  <a:pt x="87" y="282"/>
                </a:lnTo>
                <a:lnTo>
                  <a:pt x="77" y="282"/>
                </a:lnTo>
                <a:lnTo>
                  <a:pt x="67" y="282"/>
                </a:lnTo>
                <a:lnTo>
                  <a:pt x="62" y="282"/>
                </a:lnTo>
                <a:lnTo>
                  <a:pt x="58" y="282"/>
                </a:lnTo>
                <a:lnTo>
                  <a:pt x="48" y="282"/>
                </a:lnTo>
                <a:lnTo>
                  <a:pt x="39" y="282"/>
                </a:lnTo>
                <a:lnTo>
                  <a:pt x="33" y="282"/>
                </a:lnTo>
                <a:lnTo>
                  <a:pt x="29" y="282"/>
                </a:lnTo>
                <a:lnTo>
                  <a:pt x="14" y="282"/>
                </a:lnTo>
                <a:lnTo>
                  <a:pt x="0" y="282"/>
                </a:lnTo>
                <a:lnTo>
                  <a:pt x="0" y="286"/>
                </a:lnTo>
                <a:lnTo>
                  <a:pt x="0" y="292"/>
                </a:lnTo>
                <a:lnTo>
                  <a:pt x="4" y="295"/>
                </a:lnTo>
                <a:lnTo>
                  <a:pt x="10" y="301"/>
                </a:lnTo>
                <a:lnTo>
                  <a:pt x="10" y="305"/>
                </a:lnTo>
                <a:lnTo>
                  <a:pt x="10" y="311"/>
                </a:lnTo>
                <a:lnTo>
                  <a:pt x="14" y="311"/>
                </a:lnTo>
                <a:lnTo>
                  <a:pt x="19" y="311"/>
                </a:lnTo>
                <a:lnTo>
                  <a:pt x="29" y="305"/>
                </a:lnTo>
                <a:lnTo>
                  <a:pt x="39" y="301"/>
                </a:lnTo>
                <a:lnTo>
                  <a:pt x="52" y="305"/>
                </a:lnTo>
                <a:lnTo>
                  <a:pt x="67" y="311"/>
                </a:lnTo>
                <a:lnTo>
                  <a:pt x="71" y="311"/>
                </a:lnTo>
                <a:lnTo>
                  <a:pt x="77" y="311"/>
                </a:lnTo>
                <a:lnTo>
                  <a:pt x="81" y="315"/>
                </a:lnTo>
                <a:lnTo>
                  <a:pt x="87" y="320"/>
                </a:lnTo>
                <a:lnTo>
                  <a:pt x="81" y="330"/>
                </a:lnTo>
                <a:lnTo>
                  <a:pt x="77" y="340"/>
                </a:lnTo>
                <a:lnTo>
                  <a:pt x="71" y="340"/>
                </a:lnTo>
                <a:lnTo>
                  <a:pt x="67" y="340"/>
                </a:lnTo>
                <a:lnTo>
                  <a:pt x="65" y="355"/>
                </a:lnTo>
                <a:lnTo>
                  <a:pt x="67" y="366"/>
                </a:lnTo>
                <a:lnTo>
                  <a:pt x="67" y="370"/>
                </a:lnTo>
                <a:lnTo>
                  <a:pt x="65" y="374"/>
                </a:lnTo>
                <a:lnTo>
                  <a:pt x="63" y="380"/>
                </a:lnTo>
                <a:lnTo>
                  <a:pt x="65" y="384"/>
                </a:lnTo>
                <a:lnTo>
                  <a:pt x="69" y="388"/>
                </a:lnTo>
                <a:lnTo>
                  <a:pt x="67" y="391"/>
                </a:lnTo>
                <a:lnTo>
                  <a:pt x="65" y="395"/>
                </a:lnTo>
                <a:lnTo>
                  <a:pt x="62" y="397"/>
                </a:lnTo>
                <a:lnTo>
                  <a:pt x="58" y="401"/>
                </a:lnTo>
                <a:lnTo>
                  <a:pt x="56" y="405"/>
                </a:lnTo>
                <a:lnTo>
                  <a:pt x="58" y="411"/>
                </a:lnTo>
                <a:lnTo>
                  <a:pt x="65" y="416"/>
                </a:lnTo>
                <a:lnTo>
                  <a:pt x="58" y="420"/>
                </a:lnTo>
                <a:lnTo>
                  <a:pt x="52" y="426"/>
                </a:lnTo>
                <a:lnTo>
                  <a:pt x="60" y="432"/>
                </a:lnTo>
                <a:lnTo>
                  <a:pt x="73" y="437"/>
                </a:lnTo>
                <a:lnTo>
                  <a:pt x="77" y="439"/>
                </a:lnTo>
                <a:lnTo>
                  <a:pt x="81" y="443"/>
                </a:lnTo>
                <a:lnTo>
                  <a:pt x="88" y="443"/>
                </a:lnTo>
                <a:lnTo>
                  <a:pt x="96" y="445"/>
                </a:lnTo>
                <a:lnTo>
                  <a:pt x="100" y="443"/>
                </a:lnTo>
                <a:lnTo>
                  <a:pt x="106" y="443"/>
                </a:lnTo>
                <a:lnTo>
                  <a:pt x="108" y="439"/>
                </a:lnTo>
                <a:lnTo>
                  <a:pt x="110" y="436"/>
                </a:lnTo>
                <a:lnTo>
                  <a:pt x="115" y="436"/>
                </a:lnTo>
                <a:lnTo>
                  <a:pt x="119" y="436"/>
                </a:lnTo>
                <a:lnTo>
                  <a:pt x="127" y="443"/>
                </a:lnTo>
                <a:lnTo>
                  <a:pt x="134" y="451"/>
                </a:lnTo>
                <a:lnTo>
                  <a:pt x="144" y="459"/>
                </a:lnTo>
                <a:lnTo>
                  <a:pt x="152" y="466"/>
                </a:lnTo>
                <a:lnTo>
                  <a:pt x="156" y="470"/>
                </a:lnTo>
                <a:lnTo>
                  <a:pt x="156" y="474"/>
                </a:lnTo>
                <a:lnTo>
                  <a:pt x="152" y="482"/>
                </a:lnTo>
                <a:lnTo>
                  <a:pt x="148" y="487"/>
                </a:lnTo>
                <a:lnTo>
                  <a:pt x="148" y="491"/>
                </a:lnTo>
                <a:lnTo>
                  <a:pt x="148" y="493"/>
                </a:lnTo>
                <a:lnTo>
                  <a:pt x="146" y="499"/>
                </a:lnTo>
                <a:lnTo>
                  <a:pt x="146" y="503"/>
                </a:lnTo>
                <a:lnTo>
                  <a:pt x="150" y="508"/>
                </a:lnTo>
                <a:lnTo>
                  <a:pt x="157" y="510"/>
                </a:lnTo>
                <a:lnTo>
                  <a:pt x="167" y="512"/>
                </a:lnTo>
                <a:lnTo>
                  <a:pt x="179" y="510"/>
                </a:lnTo>
                <a:lnTo>
                  <a:pt x="181" y="507"/>
                </a:lnTo>
                <a:lnTo>
                  <a:pt x="182" y="503"/>
                </a:lnTo>
                <a:lnTo>
                  <a:pt x="188" y="499"/>
                </a:lnTo>
                <a:lnTo>
                  <a:pt x="194" y="493"/>
                </a:lnTo>
                <a:lnTo>
                  <a:pt x="211" y="493"/>
                </a:lnTo>
                <a:lnTo>
                  <a:pt x="221" y="495"/>
                </a:lnTo>
                <a:lnTo>
                  <a:pt x="227" y="499"/>
                </a:lnTo>
                <a:lnTo>
                  <a:pt x="236" y="505"/>
                </a:lnTo>
                <a:lnTo>
                  <a:pt x="246" y="505"/>
                </a:lnTo>
                <a:lnTo>
                  <a:pt x="255" y="505"/>
                </a:lnTo>
                <a:lnTo>
                  <a:pt x="257" y="501"/>
                </a:lnTo>
                <a:lnTo>
                  <a:pt x="261" y="499"/>
                </a:lnTo>
                <a:lnTo>
                  <a:pt x="263" y="491"/>
                </a:lnTo>
                <a:lnTo>
                  <a:pt x="265" y="485"/>
                </a:lnTo>
                <a:lnTo>
                  <a:pt x="267" y="482"/>
                </a:lnTo>
                <a:lnTo>
                  <a:pt x="271" y="480"/>
                </a:lnTo>
                <a:lnTo>
                  <a:pt x="273" y="478"/>
                </a:lnTo>
                <a:lnTo>
                  <a:pt x="275" y="476"/>
                </a:lnTo>
                <a:lnTo>
                  <a:pt x="278" y="472"/>
                </a:lnTo>
                <a:lnTo>
                  <a:pt x="280" y="470"/>
                </a:lnTo>
                <a:lnTo>
                  <a:pt x="282" y="462"/>
                </a:lnTo>
                <a:lnTo>
                  <a:pt x="284" y="455"/>
                </a:lnTo>
                <a:lnTo>
                  <a:pt x="286" y="453"/>
                </a:lnTo>
                <a:lnTo>
                  <a:pt x="290" y="451"/>
                </a:lnTo>
                <a:lnTo>
                  <a:pt x="292" y="449"/>
                </a:lnTo>
                <a:lnTo>
                  <a:pt x="294" y="447"/>
                </a:lnTo>
                <a:lnTo>
                  <a:pt x="296" y="443"/>
                </a:lnTo>
                <a:lnTo>
                  <a:pt x="299" y="441"/>
                </a:lnTo>
                <a:lnTo>
                  <a:pt x="296" y="439"/>
                </a:lnTo>
                <a:lnTo>
                  <a:pt x="294" y="436"/>
                </a:lnTo>
                <a:lnTo>
                  <a:pt x="292" y="434"/>
                </a:lnTo>
                <a:lnTo>
                  <a:pt x="290" y="432"/>
                </a:lnTo>
                <a:lnTo>
                  <a:pt x="286" y="428"/>
                </a:lnTo>
                <a:lnTo>
                  <a:pt x="284" y="426"/>
                </a:lnTo>
                <a:lnTo>
                  <a:pt x="282" y="416"/>
                </a:lnTo>
                <a:lnTo>
                  <a:pt x="280" y="407"/>
                </a:lnTo>
                <a:lnTo>
                  <a:pt x="280" y="403"/>
                </a:lnTo>
                <a:lnTo>
                  <a:pt x="280" y="397"/>
                </a:lnTo>
                <a:lnTo>
                  <a:pt x="284" y="386"/>
                </a:lnTo>
                <a:lnTo>
                  <a:pt x="296" y="365"/>
                </a:lnTo>
                <a:lnTo>
                  <a:pt x="307" y="342"/>
                </a:lnTo>
                <a:lnTo>
                  <a:pt x="311" y="330"/>
                </a:lnTo>
              </a:path>
            </a:pathLst>
          </a:custGeom>
          <a:solidFill>
            <a:schemeClr val="accent3"/>
          </a:solidFill>
          <a:ln w="12700">
            <a:solidFill>
              <a:schemeClr val="bg1"/>
            </a:solidFill>
            <a:round/>
            <a:headEnd/>
            <a:tailEnd/>
          </a:ln>
        </p:spPr>
        <p:txBody>
          <a:bodyPr/>
          <a:lstStyle/>
          <a:p>
            <a:endParaRPr lang="en-GB"/>
          </a:p>
        </p:txBody>
      </p:sp>
      <p:grpSp>
        <p:nvGrpSpPr>
          <p:cNvPr id="95" name="Group 173"/>
          <p:cNvGrpSpPr>
            <a:grpSpLocks/>
          </p:cNvGrpSpPr>
          <p:nvPr/>
        </p:nvGrpSpPr>
        <p:grpSpPr bwMode="auto">
          <a:xfrm>
            <a:off x="1454028" y="3314732"/>
            <a:ext cx="444529" cy="406904"/>
            <a:chOff x="1381125" y="3325813"/>
            <a:chExt cx="506413" cy="463550"/>
          </a:xfrm>
          <a:solidFill>
            <a:schemeClr val="accent3"/>
          </a:solidFill>
        </p:grpSpPr>
        <p:sp>
          <p:nvSpPr>
            <p:cNvPr id="83" name="Freeform 82"/>
            <p:cNvSpPr>
              <a:spLocks/>
            </p:cNvSpPr>
            <p:nvPr/>
          </p:nvSpPr>
          <p:spPr bwMode="auto">
            <a:xfrm>
              <a:off x="1381125" y="3414713"/>
              <a:ext cx="506413" cy="374650"/>
            </a:xfrm>
            <a:custGeom>
              <a:avLst/>
              <a:gdLst/>
              <a:ahLst/>
              <a:cxnLst>
                <a:cxn ang="0">
                  <a:pos x="193" y="238"/>
                </a:cxn>
                <a:cxn ang="0">
                  <a:pos x="186" y="230"/>
                </a:cxn>
                <a:cxn ang="0">
                  <a:pos x="178" y="223"/>
                </a:cxn>
                <a:cxn ang="0">
                  <a:pos x="170" y="200"/>
                </a:cxn>
                <a:cxn ang="0">
                  <a:pos x="165" y="178"/>
                </a:cxn>
                <a:cxn ang="0">
                  <a:pos x="138" y="171"/>
                </a:cxn>
                <a:cxn ang="0">
                  <a:pos x="130" y="155"/>
                </a:cxn>
                <a:cxn ang="0">
                  <a:pos x="103" y="148"/>
                </a:cxn>
                <a:cxn ang="0">
                  <a:pos x="76" y="140"/>
                </a:cxn>
                <a:cxn ang="0">
                  <a:pos x="40" y="132"/>
                </a:cxn>
                <a:cxn ang="0">
                  <a:pos x="28" y="127"/>
                </a:cxn>
                <a:cxn ang="0">
                  <a:pos x="17" y="132"/>
                </a:cxn>
                <a:cxn ang="0">
                  <a:pos x="11" y="134"/>
                </a:cxn>
                <a:cxn ang="0">
                  <a:pos x="7" y="102"/>
                </a:cxn>
                <a:cxn ang="0">
                  <a:pos x="0" y="54"/>
                </a:cxn>
                <a:cxn ang="0">
                  <a:pos x="0" y="42"/>
                </a:cxn>
                <a:cxn ang="0">
                  <a:pos x="0" y="29"/>
                </a:cxn>
                <a:cxn ang="0">
                  <a:pos x="13" y="25"/>
                </a:cxn>
                <a:cxn ang="0">
                  <a:pos x="28" y="10"/>
                </a:cxn>
                <a:cxn ang="0">
                  <a:pos x="32" y="0"/>
                </a:cxn>
                <a:cxn ang="0">
                  <a:pos x="57" y="10"/>
                </a:cxn>
                <a:cxn ang="0">
                  <a:pos x="76" y="25"/>
                </a:cxn>
                <a:cxn ang="0">
                  <a:pos x="76" y="48"/>
                </a:cxn>
                <a:cxn ang="0">
                  <a:pos x="109" y="71"/>
                </a:cxn>
                <a:cxn ang="0">
                  <a:pos x="143" y="58"/>
                </a:cxn>
                <a:cxn ang="0">
                  <a:pos x="140" y="83"/>
                </a:cxn>
                <a:cxn ang="0">
                  <a:pos x="143" y="96"/>
                </a:cxn>
                <a:cxn ang="0">
                  <a:pos x="163" y="111"/>
                </a:cxn>
                <a:cxn ang="0">
                  <a:pos x="178" y="125"/>
                </a:cxn>
                <a:cxn ang="0">
                  <a:pos x="203" y="115"/>
                </a:cxn>
                <a:cxn ang="0">
                  <a:pos x="222" y="96"/>
                </a:cxn>
                <a:cxn ang="0">
                  <a:pos x="228" y="98"/>
                </a:cxn>
                <a:cxn ang="0">
                  <a:pos x="247" y="106"/>
                </a:cxn>
                <a:cxn ang="0">
                  <a:pos x="255" y="113"/>
                </a:cxn>
                <a:cxn ang="0">
                  <a:pos x="280" y="111"/>
                </a:cxn>
                <a:cxn ang="0">
                  <a:pos x="289" y="106"/>
                </a:cxn>
                <a:cxn ang="0">
                  <a:pos x="299" y="111"/>
                </a:cxn>
                <a:cxn ang="0">
                  <a:pos x="307" y="119"/>
                </a:cxn>
                <a:cxn ang="0">
                  <a:pos x="314" y="125"/>
                </a:cxn>
                <a:cxn ang="0">
                  <a:pos x="324" y="132"/>
                </a:cxn>
                <a:cxn ang="0">
                  <a:pos x="328" y="155"/>
                </a:cxn>
                <a:cxn ang="0">
                  <a:pos x="314" y="169"/>
                </a:cxn>
                <a:cxn ang="0">
                  <a:pos x="289" y="178"/>
                </a:cxn>
                <a:cxn ang="0">
                  <a:pos x="282" y="186"/>
                </a:cxn>
                <a:cxn ang="0">
                  <a:pos x="276" y="194"/>
                </a:cxn>
                <a:cxn ang="0">
                  <a:pos x="268" y="201"/>
                </a:cxn>
                <a:cxn ang="0">
                  <a:pos x="261" y="207"/>
                </a:cxn>
                <a:cxn ang="0">
                  <a:pos x="253" y="226"/>
                </a:cxn>
                <a:cxn ang="0">
                  <a:pos x="232" y="246"/>
                </a:cxn>
                <a:cxn ang="0">
                  <a:pos x="213" y="246"/>
                </a:cxn>
              </a:cxnLst>
              <a:rect l="0" t="0" r="r" b="b"/>
              <a:pathLst>
                <a:path w="328" h="251">
                  <a:moveTo>
                    <a:pt x="197" y="242"/>
                  </a:moveTo>
                  <a:lnTo>
                    <a:pt x="195" y="240"/>
                  </a:lnTo>
                  <a:lnTo>
                    <a:pt x="193" y="238"/>
                  </a:lnTo>
                  <a:lnTo>
                    <a:pt x="190" y="234"/>
                  </a:lnTo>
                  <a:lnTo>
                    <a:pt x="188" y="232"/>
                  </a:lnTo>
                  <a:lnTo>
                    <a:pt x="186" y="230"/>
                  </a:lnTo>
                  <a:lnTo>
                    <a:pt x="184" y="226"/>
                  </a:lnTo>
                  <a:lnTo>
                    <a:pt x="180" y="225"/>
                  </a:lnTo>
                  <a:lnTo>
                    <a:pt x="178" y="223"/>
                  </a:lnTo>
                  <a:lnTo>
                    <a:pt x="176" y="219"/>
                  </a:lnTo>
                  <a:lnTo>
                    <a:pt x="174" y="217"/>
                  </a:lnTo>
                  <a:lnTo>
                    <a:pt x="170" y="200"/>
                  </a:lnTo>
                  <a:lnTo>
                    <a:pt x="168" y="184"/>
                  </a:lnTo>
                  <a:lnTo>
                    <a:pt x="166" y="180"/>
                  </a:lnTo>
                  <a:lnTo>
                    <a:pt x="165" y="178"/>
                  </a:lnTo>
                  <a:lnTo>
                    <a:pt x="151" y="177"/>
                  </a:lnTo>
                  <a:lnTo>
                    <a:pt x="140" y="175"/>
                  </a:lnTo>
                  <a:lnTo>
                    <a:pt x="138" y="171"/>
                  </a:lnTo>
                  <a:lnTo>
                    <a:pt x="136" y="169"/>
                  </a:lnTo>
                  <a:lnTo>
                    <a:pt x="132" y="161"/>
                  </a:lnTo>
                  <a:lnTo>
                    <a:pt x="130" y="155"/>
                  </a:lnTo>
                  <a:lnTo>
                    <a:pt x="128" y="152"/>
                  </a:lnTo>
                  <a:lnTo>
                    <a:pt x="124" y="150"/>
                  </a:lnTo>
                  <a:lnTo>
                    <a:pt x="103" y="148"/>
                  </a:lnTo>
                  <a:lnTo>
                    <a:pt x="82" y="146"/>
                  </a:lnTo>
                  <a:lnTo>
                    <a:pt x="78" y="142"/>
                  </a:lnTo>
                  <a:lnTo>
                    <a:pt x="76" y="140"/>
                  </a:lnTo>
                  <a:lnTo>
                    <a:pt x="59" y="138"/>
                  </a:lnTo>
                  <a:lnTo>
                    <a:pt x="44" y="134"/>
                  </a:lnTo>
                  <a:lnTo>
                    <a:pt x="40" y="132"/>
                  </a:lnTo>
                  <a:lnTo>
                    <a:pt x="38" y="130"/>
                  </a:lnTo>
                  <a:lnTo>
                    <a:pt x="36" y="129"/>
                  </a:lnTo>
                  <a:lnTo>
                    <a:pt x="28" y="127"/>
                  </a:lnTo>
                  <a:lnTo>
                    <a:pt x="23" y="129"/>
                  </a:lnTo>
                  <a:lnTo>
                    <a:pt x="19" y="130"/>
                  </a:lnTo>
                  <a:lnTo>
                    <a:pt x="17" y="132"/>
                  </a:lnTo>
                  <a:lnTo>
                    <a:pt x="15" y="134"/>
                  </a:lnTo>
                  <a:lnTo>
                    <a:pt x="13" y="134"/>
                  </a:lnTo>
                  <a:lnTo>
                    <a:pt x="11" y="134"/>
                  </a:lnTo>
                  <a:lnTo>
                    <a:pt x="9" y="130"/>
                  </a:lnTo>
                  <a:lnTo>
                    <a:pt x="9" y="125"/>
                  </a:lnTo>
                  <a:lnTo>
                    <a:pt x="7" y="102"/>
                  </a:lnTo>
                  <a:lnTo>
                    <a:pt x="3" y="58"/>
                  </a:lnTo>
                  <a:lnTo>
                    <a:pt x="1" y="56"/>
                  </a:lnTo>
                  <a:lnTo>
                    <a:pt x="0" y="54"/>
                  </a:lnTo>
                  <a:lnTo>
                    <a:pt x="0" y="50"/>
                  </a:lnTo>
                  <a:lnTo>
                    <a:pt x="0" y="48"/>
                  </a:lnTo>
                  <a:lnTo>
                    <a:pt x="0" y="42"/>
                  </a:lnTo>
                  <a:lnTo>
                    <a:pt x="0" y="38"/>
                  </a:lnTo>
                  <a:lnTo>
                    <a:pt x="0" y="35"/>
                  </a:lnTo>
                  <a:lnTo>
                    <a:pt x="0" y="29"/>
                  </a:lnTo>
                  <a:lnTo>
                    <a:pt x="3" y="29"/>
                  </a:lnTo>
                  <a:lnTo>
                    <a:pt x="9" y="29"/>
                  </a:lnTo>
                  <a:lnTo>
                    <a:pt x="13" y="25"/>
                  </a:lnTo>
                  <a:lnTo>
                    <a:pt x="19" y="19"/>
                  </a:lnTo>
                  <a:lnTo>
                    <a:pt x="23" y="13"/>
                  </a:lnTo>
                  <a:lnTo>
                    <a:pt x="28" y="10"/>
                  </a:lnTo>
                  <a:lnTo>
                    <a:pt x="28" y="4"/>
                  </a:lnTo>
                  <a:lnTo>
                    <a:pt x="28" y="0"/>
                  </a:lnTo>
                  <a:lnTo>
                    <a:pt x="32" y="0"/>
                  </a:lnTo>
                  <a:lnTo>
                    <a:pt x="38" y="0"/>
                  </a:lnTo>
                  <a:lnTo>
                    <a:pt x="48" y="4"/>
                  </a:lnTo>
                  <a:lnTo>
                    <a:pt x="57" y="10"/>
                  </a:lnTo>
                  <a:lnTo>
                    <a:pt x="67" y="13"/>
                  </a:lnTo>
                  <a:lnTo>
                    <a:pt x="76" y="19"/>
                  </a:lnTo>
                  <a:lnTo>
                    <a:pt x="76" y="25"/>
                  </a:lnTo>
                  <a:lnTo>
                    <a:pt x="76" y="29"/>
                  </a:lnTo>
                  <a:lnTo>
                    <a:pt x="76" y="38"/>
                  </a:lnTo>
                  <a:lnTo>
                    <a:pt x="76" y="48"/>
                  </a:lnTo>
                  <a:lnTo>
                    <a:pt x="84" y="60"/>
                  </a:lnTo>
                  <a:lnTo>
                    <a:pt x="94" y="71"/>
                  </a:lnTo>
                  <a:lnTo>
                    <a:pt x="109" y="71"/>
                  </a:lnTo>
                  <a:lnTo>
                    <a:pt x="120" y="71"/>
                  </a:lnTo>
                  <a:lnTo>
                    <a:pt x="132" y="67"/>
                  </a:lnTo>
                  <a:lnTo>
                    <a:pt x="143" y="58"/>
                  </a:lnTo>
                  <a:lnTo>
                    <a:pt x="143" y="67"/>
                  </a:lnTo>
                  <a:lnTo>
                    <a:pt x="143" y="77"/>
                  </a:lnTo>
                  <a:lnTo>
                    <a:pt x="140" y="83"/>
                  </a:lnTo>
                  <a:lnTo>
                    <a:pt x="136" y="86"/>
                  </a:lnTo>
                  <a:lnTo>
                    <a:pt x="140" y="92"/>
                  </a:lnTo>
                  <a:lnTo>
                    <a:pt x="143" y="96"/>
                  </a:lnTo>
                  <a:lnTo>
                    <a:pt x="149" y="102"/>
                  </a:lnTo>
                  <a:lnTo>
                    <a:pt x="153" y="106"/>
                  </a:lnTo>
                  <a:lnTo>
                    <a:pt x="163" y="111"/>
                  </a:lnTo>
                  <a:lnTo>
                    <a:pt x="174" y="117"/>
                  </a:lnTo>
                  <a:lnTo>
                    <a:pt x="174" y="121"/>
                  </a:lnTo>
                  <a:lnTo>
                    <a:pt x="178" y="125"/>
                  </a:lnTo>
                  <a:lnTo>
                    <a:pt x="186" y="125"/>
                  </a:lnTo>
                  <a:lnTo>
                    <a:pt x="203" y="125"/>
                  </a:lnTo>
                  <a:lnTo>
                    <a:pt x="203" y="115"/>
                  </a:lnTo>
                  <a:lnTo>
                    <a:pt x="203" y="106"/>
                  </a:lnTo>
                  <a:lnTo>
                    <a:pt x="213" y="102"/>
                  </a:lnTo>
                  <a:lnTo>
                    <a:pt x="222" y="96"/>
                  </a:lnTo>
                  <a:lnTo>
                    <a:pt x="224" y="96"/>
                  </a:lnTo>
                  <a:lnTo>
                    <a:pt x="226" y="96"/>
                  </a:lnTo>
                  <a:lnTo>
                    <a:pt x="228" y="98"/>
                  </a:lnTo>
                  <a:lnTo>
                    <a:pt x="232" y="102"/>
                  </a:lnTo>
                  <a:lnTo>
                    <a:pt x="237" y="104"/>
                  </a:lnTo>
                  <a:lnTo>
                    <a:pt x="247" y="106"/>
                  </a:lnTo>
                  <a:lnTo>
                    <a:pt x="249" y="109"/>
                  </a:lnTo>
                  <a:lnTo>
                    <a:pt x="251" y="111"/>
                  </a:lnTo>
                  <a:lnTo>
                    <a:pt x="255" y="113"/>
                  </a:lnTo>
                  <a:lnTo>
                    <a:pt x="264" y="115"/>
                  </a:lnTo>
                  <a:lnTo>
                    <a:pt x="276" y="113"/>
                  </a:lnTo>
                  <a:lnTo>
                    <a:pt x="280" y="111"/>
                  </a:lnTo>
                  <a:lnTo>
                    <a:pt x="282" y="109"/>
                  </a:lnTo>
                  <a:lnTo>
                    <a:pt x="285" y="106"/>
                  </a:lnTo>
                  <a:lnTo>
                    <a:pt x="289" y="106"/>
                  </a:lnTo>
                  <a:lnTo>
                    <a:pt x="295" y="106"/>
                  </a:lnTo>
                  <a:lnTo>
                    <a:pt x="297" y="109"/>
                  </a:lnTo>
                  <a:lnTo>
                    <a:pt x="299" y="111"/>
                  </a:lnTo>
                  <a:lnTo>
                    <a:pt x="301" y="113"/>
                  </a:lnTo>
                  <a:lnTo>
                    <a:pt x="305" y="117"/>
                  </a:lnTo>
                  <a:lnTo>
                    <a:pt x="307" y="119"/>
                  </a:lnTo>
                  <a:lnTo>
                    <a:pt x="308" y="121"/>
                  </a:lnTo>
                  <a:lnTo>
                    <a:pt x="310" y="123"/>
                  </a:lnTo>
                  <a:lnTo>
                    <a:pt x="314" y="125"/>
                  </a:lnTo>
                  <a:lnTo>
                    <a:pt x="316" y="129"/>
                  </a:lnTo>
                  <a:lnTo>
                    <a:pt x="318" y="130"/>
                  </a:lnTo>
                  <a:lnTo>
                    <a:pt x="324" y="132"/>
                  </a:lnTo>
                  <a:lnTo>
                    <a:pt x="328" y="134"/>
                  </a:lnTo>
                  <a:lnTo>
                    <a:pt x="328" y="144"/>
                  </a:lnTo>
                  <a:lnTo>
                    <a:pt x="328" y="155"/>
                  </a:lnTo>
                  <a:lnTo>
                    <a:pt x="324" y="159"/>
                  </a:lnTo>
                  <a:lnTo>
                    <a:pt x="318" y="165"/>
                  </a:lnTo>
                  <a:lnTo>
                    <a:pt x="314" y="169"/>
                  </a:lnTo>
                  <a:lnTo>
                    <a:pt x="308" y="175"/>
                  </a:lnTo>
                  <a:lnTo>
                    <a:pt x="299" y="177"/>
                  </a:lnTo>
                  <a:lnTo>
                    <a:pt x="289" y="178"/>
                  </a:lnTo>
                  <a:lnTo>
                    <a:pt x="287" y="180"/>
                  </a:lnTo>
                  <a:lnTo>
                    <a:pt x="285" y="184"/>
                  </a:lnTo>
                  <a:lnTo>
                    <a:pt x="282" y="186"/>
                  </a:lnTo>
                  <a:lnTo>
                    <a:pt x="280" y="188"/>
                  </a:lnTo>
                  <a:lnTo>
                    <a:pt x="278" y="190"/>
                  </a:lnTo>
                  <a:lnTo>
                    <a:pt x="276" y="194"/>
                  </a:lnTo>
                  <a:lnTo>
                    <a:pt x="272" y="196"/>
                  </a:lnTo>
                  <a:lnTo>
                    <a:pt x="270" y="198"/>
                  </a:lnTo>
                  <a:lnTo>
                    <a:pt x="268" y="201"/>
                  </a:lnTo>
                  <a:lnTo>
                    <a:pt x="264" y="203"/>
                  </a:lnTo>
                  <a:lnTo>
                    <a:pt x="262" y="205"/>
                  </a:lnTo>
                  <a:lnTo>
                    <a:pt x="261" y="207"/>
                  </a:lnTo>
                  <a:lnTo>
                    <a:pt x="259" y="211"/>
                  </a:lnTo>
                  <a:lnTo>
                    <a:pt x="255" y="213"/>
                  </a:lnTo>
                  <a:lnTo>
                    <a:pt x="253" y="226"/>
                  </a:lnTo>
                  <a:lnTo>
                    <a:pt x="251" y="242"/>
                  </a:lnTo>
                  <a:lnTo>
                    <a:pt x="241" y="244"/>
                  </a:lnTo>
                  <a:lnTo>
                    <a:pt x="232" y="246"/>
                  </a:lnTo>
                  <a:lnTo>
                    <a:pt x="228" y="249"/>
                  </a:lnTo>
                  <a:lnTo>
                    <a:pt x="226" y="251"/>
                  </a:lnTo>
                  <a:lnTo>
                    <a:pt x="213" y="246"/>
                  </a:lnTo>
                  <a:lnTo>
                    <a:pt x="197" y="242"/>
                  </a:lnTo>
                </a:path>
              </a:pathLst>
            </a:custGeom>
            <a:grpFill/>
            <a:ln w="12700">
              <a:solidFill>
                <a:schemeClr val="bg1"/>
              </a:solidFill>
              <a:round/>
              <a:headEnd/>
              <a:tailEnd/>
            </a:ln>
          </p:spPr>
          <p:txBody>
            <a:bodyPr/>
            <a:lstStyle/>
            <a:p>
              <a:pPr>
                <a:defRPr/>
              </a:pPr>
              <a:endParaRPr lang="en-GB"/>
            </a:p>
          </p:txBody>
        </p:sp>
        <p:sp>
          <p:nvSpPr>
            <p:cNvPr id="84" name="Freeform 83"/>
            <p:cNvSpPr>
              <a:spLocks/>
            </p:cNvSpPr>
            <p:nvPr/>
          </p:nvSpPr>
          <p:spPr bwMode="auto">
            <a:xfrm>
              <a:off x="1528763" y="3325813"/>
              <a:ext cx="123825" cy="174625"/>
            </a:xfrm>
            <a:custGeom>
              <a:avLst/>
              <a:gdLst/>
              <a:ahLst/>
              <a:cxnLst>
                <a:cxn ang="0">
                  <a:pos x="47" y="116"/>
                </a:cxn>
                <a:cxn ang="0">
                  <a:pos x="44" y="98"/>
                </a:cxn>
                <a:cxn ang="0">
                  <a:pos x="40" y="87"/>
                </a:cxn>
                <a:cxn ang="0">
                  <a:pos x="36" y="81"/>
                </a:cxn>
                <a:cxn ang="0">
                  <a:pos x="28" y="77"/>
                </a:cxn>
                <a:cxn ang="0">
                  <a:pos x="24" y="71"/>
                </a:cxn>
                <a:cxn ang="0">
                  <a:pos x="19" y="68"/>
                </a:cxn>
                <a:cxn ang="0">
                  <a:pos x="15" y="68"/>
                </a:cxn>
                <a:cxn ang="0">
                  <a:pos x="9" y="68"/>
                </a:cxn>
                <a:cxn ang="0">
                  <a:pos x="5" y="68"/>
                </a:cxn>
                <a:cxn ang="0">
                  <a:pos x="0" y="68"/>
                </a:cxn>
                <a:cxn ang="0">
                  <a:pos x="0" y="62"/>
                </a:cxn>
                <a:cxn ang="0">
                  <a:pos x="0" y="58"/>
                </a:cxn>
                <a:cxn ang="0">
                  <a:pos x="0" y="52"/>
                </a:cxn>
                <a:cxn ang="0">
                  <a:pos x="0" y="48"/>
                </a:cxn>
                <a:cxn ang="0">
                  <a:pos x="0" y="43"/>
                </a:cxn>
                <a:cxn ang="0">
                  <a:pos x="0" y="39"/>
                </a:cxn>
                <a:cxn ang="0">
                  <a:pos x="5" y="29"/>
                </a:cxn>
                <a:cxn ang="0">
                  <a:pos x="9" y="20"/>
                </a:cxn>
                <a:cxn ang="0">
                  <a:pos x="9" y="14"/>
                </a:cxn>
                <a:cxn ang="0">
                  <a:pos x="9" y="10"/>
                </a:cxn>
                <a:cxn ang="0">
                  <a:pos x="9" y="4"/>
                </a:cxn>
                <a:cxn ang="0">
                  <a:pos x="9" y="0"/>
                </a:cxn>
                <a:cxn ang="0">
                  <a:pos x="19" y="0"/>
                </a:cxn>
                <a:cxn ang="0">
                  <a:pos x="28" y="0"/>
                </a:cxn>
                <a:cxn ang="0">
                  <a:pos x="47" y="4"/>
                </a:cxn>
                <a:cxn ang="0">
                  <a:pos x="69" y="10"/>
                </a:cxn>
                <a:cxn ang="0">
                  <a:pos x="72" y="14"/>
                </a:cxn>
                <a:cxn ang="0">
                  <a:pos x="78" y="20"/>
                </a:cxn>
                <a:cxn ang="0">
                  <a:pos x="78" y="23"/>
                </a:cxn>
                <a:cxn ang="0">
                  <a:pos x="78" y="29"/>
                </a:cxn>
                <a:cxn ang="0">
                  <a:pos x="78" y="33"/>
                </a:cxn>
                <a:cxn ang="0">
                  <a:pos x="78" y="39"/>
                </a:cxn>
                <a:cxn ang="0">
                  <a:pos x="78" y="48"/>
                </a:cxn>
                <a:cxn ang="0">
                  <a:pos x="78" y="58"/>
                </a:cxn>
                <a:cxn ang="0">
                  <a:pos x="72" y="73"/>
                </a:cxn>
                <a:cxn ang="0">
                  <a:pos x="69" y="87"/>
                </a:cxn>
                <a:cxn ang="0">
                  <a:pos x="63" y="93"/>
                </a:cxn>
                <a:cxn ang="0">
                  <a:pos x="57" y="96"/>
                </a:cxn>
                <a:cxn ang="0">
                  <a:pos x="57" y="106"/>
                </a:cxn>
                <a:cxn ang="0">
                  <a:pos x="57" y="116"/>
                </a:cxn>
                <a:cxn ang="0">
                  <a:pos x="53" y="116"/>
                </a:cxn>
                <a:cxn ang="0">
                  <a:pos x="47" y="116"/>
                </a:cxn>
              </a:cxnLst>
              <a:rect l="0" t="0" r="r" b="b"/>
              <a:pathLst>
                <a:path w="78" h="116">
                  <a:moveTo>
                    <a:pt x="47" y="116"/>
                  </a:moveTo>
                  <a:lnTo>
                    <a:pt x="44" y="98"/>
                  </a:lnTo>
                  <a:lnTo>
                    <a:pt x="40" y="87"/>
                  </a:lnTo>
                  <a:lnTo>
                    <a:pt x="36" y="81"/>
                  </a:lnTo>
                  <a:lnTo>
                    <a:pt x="28" y="77"/>
                  </a:lnTo>
                  <a:lnTo>
                    <a:pt x="24" y="71"/>
                  </a:lnTo>
                  <a:lnTo>
                    <a:pt x="19" y="68"/>
                  </a:lnTo>
                  <a:lnTo>
                    <a:pt x="15" y="68"/>
                  </a:lnTo>
                  <a:lnTo>
                    <a:pt x="9" y="68"/>
                  </a:lnTo>
                  <a:lnTo>
                    <a:pt x="5" y="68"/>
                  </a:lnTo>
                  <a:lnTo>
                    <a:pt x="0" y="68"/>
                  </a:lnTo>
                  <a:lnTo>
                    <a:pt x="0" y="62"/>
                  </a:lnTo>
                  <a:lnTo>
                    <a:pt x="0" y="58"/>
                  </a:lnTo>
                  <a:lnTo>
                    <a:pt x="0" y="52"/>
                  </a:lnTo>
                  <a:lnTo>
                    <a:pt x="0" y="48"/>
                  </a:lnTo>
                  <a:lnTo>
                    <a:pt x="0" y="43"/>
                  </a:lnTo>
                  <a:lnTo>
                    <a:pt x="0" y="39"/>
                  </a:lnTo>
                  <a:lnTo>
                    <a:pt x="5" y="29"/>
                  </a:lnTo>
                  <a:lnTo>
                    <a:pt x="9" y="20"/>
                  </a:lnTo>
                  <a:lnTo>
                    <a:pt x="9" y="14"/>
                  </a:lnTo>
                  <a:lnTo>
                    <a:pt x="9" y="10"/>
                  </a:lnTo>
                  <a:lnTo>
                    <a:pt x="9" y="4"/>
                  </a:lnTo>
                  <a:lnTo>
                    <a:pt x="9" y="0"/>
                  </a:lnTo>
                  <a:lnTo>
                    <a:pt x="19" y="0"/>
                  </a:lnTo>
                  <a:lnTo>
                    <a:pt x="28" y="0"/>
                  </a:lnTo>
                  <a:lnTo>
                    <a:pt x="47" y="4"/>
                  </a:lnTo>
                  <a:lnTo>
                    <a:pt x="69" y="10"/>
                  </a:lnTo>
                  <a:lnTo>
                    <a:pt x="72" y="14"/>
                  </a:lnTo>
                  <a:lnTo>
                    <a:pt x="78" y="20"/>
                  </a:lnTo>
                  <a:lnTo>
                    <a:pt x="78" y="23"/>
                  </a:lnTo>
                  <a:lnTo>
                    <a:pt x="78" y="29"/>
                  </a:lnTo>
                  <a:lnTo>
                    <a:pt x="78" y="33"/>
                  </a:lnTo>
                  <a:lnTo>
                    <a:pt x="78" y="39"/>
                  </a:lnTo>
                  <a:lnTo>
                    <a:pt x="78" y="48"/>
                  </a:lnTo>
                  <a:lnTo>
                    <a:pt x="78" y="58"/>
                  </a:lnTo>
                  <a:lnTo>
                    <a:pt x="72" y="73"/>
                  </a:lnTo>
                  <a:lnTo>
                    <a:pt x="69" y="87"/>
                  </a:lnTo>
                  <a:lnTo>
                    <a:pt x="63" y="93"/>
                  </a:lnTo>
                  <a:lnTo>
                    <a:pt x="57" y="96"/>
                  </a:lnTo>
                  <a:lnTo>
                    <a:pt x="57" y="106"/>
                  </a:lnTo>
                  <a:lnTo>
                    <a:pt x="57" y="116"/>
                  </a:lnTo>
                  <a:lnTo>
                    <a:pt x="53" y="116"/>
                  </a:lnTo>
                  <a:lnTo>
                    <a:pt x="47" y="116"/>
                  </a:lnTo>
                </a:path>
              </a:pathLst>
            </a:custGeom>
            <a:grpFill/>
            <a:ln w="12700">
              <a:solidFill>
                <a:schemeClr val="bg1"/>
              </a:solidFill>
              <a:round/>
              <a:headEnd/>
              <a:tailEnd/>
            </a:ln>
          </p:spPr>
          <p:txBody>
            <a:bodyPr/>
            <a:lstStyle/>
            <a:p>
              <a:pPr>
                <a:defRPr/>
              </a:pPr>
              <a:endParaRPr lang="en-GB"/>
            </a:p>
          </p:txBody>
        </p:sp>
      </p:grpSp>
      <p:sp>
        <p:nvSpPr>
          <p:cNvPr id="85" name="Freeform 350"/>
          <p:cNvSpPr>
            <a:spLocks/>
          </p:cNvSpPr>
          <p:nvPr>
            <p:custDataLst>
              <p:tags r:id="rId66"/>
            </p:custDataLst>
          </p:nvPr>
        </p:nvSpPr>
        <p:spPr bwMode="auto">
          <a:xfrm>
            <a:off x="603989" y="3343995"/>
            <a:ext cx="105907" cy="80823"/>
          </a:xfrm>
          <a:custGeom>
            <a:avLst/>
            <a:gdLst>
              <a:gd name="T0" fmla="*/ 2147483647 w 77"/>
              <a:gd name="T1" fmla="*/ 2147483647 h 63"/>
              <a:gd name="T2" fmla="*/ 2147483647 w 77"/>
              <a:gd name="T3" fmla="*/ 2147483647 h 63"/>
              <a:gd name="T4" fmla="*/ 0 w 77"/>
              <a:gd name="T5" fmla="*/ 2147483647 h 63"/>
              <a:gd name="T6" fmla="*/ 2147483647 w 77"/>
              <a:gd name="T7" fmla="*/ 2147483647 h 63"/>
              <a:gd name="T8" fmla="*/ 2147483647 w 77"/>
              <a:gd name="T9" fmla="*/ 0 h 63"/>
              <a:gd name="T10" fmla="*/ 2147483647 w 77"/>
              <a:gd name="T11" fmla="*/ 0 h 63"/>
              <a:gd name="T12" fmla="*/ 2147483647 w 77"/>
              <a:gd name="T13" fmla="*/ 0 h 63"/>
              <a:gd name="T14" fmla="*/ 2147483647 w 77"/>
              <a:gd name="T15" fmla="*/ 0 h 63"/>
              <a:gd name="T16" fmla="*/ 2147483647 w 77"/>
              <a:gd name="T17" fmla="*/ 0 h 63"/>
              <a:gd name="T18" fmla="*/ 2147483647 w 77"/>
              <a:gd name="T19" fmla="*/ 2147483647 h 63"/>
              <a:gd name="T20" fmla="*/ 2147483647 w 77"/>
              <a:gd name="T21" fmla="*/ 2147483647 h 63"/>
              <a:gd name="T22" fmla="*/ 2147483647 w 77"/>
              <a:gd name="T23" fmla="*/ 2147483647 h 63"/>
              <a:gd name="T24" fmla="*/ 2147483647 w 77"/>
              <a:gd name="T25" fmla="*/ 2147483647 h 63"/>
              <a:gd name="T26" fmla="*/ 2147483647 w 77"/>
              <a:gd name="T27" fmla="*/ 2147483647 h 63"/>
              <a:gd name="T28" fmla="*/ 2147483647 w 77"/>
              <a:gd name="T29" fmla="*/ 2147483647 h 63"/>
              <a:gd name="T30" fmla="*/ 2147483647 w 77"/>
              <a:gd name="T31" fmla="*/ 2147483647 h 63"/>
              <a:gd name="T32" fmla="*/ 2147483647 w 77"/>
              <a:gd name="T33" fmla="*/ 2147483647 h 63"/>
              <a:gd name="T34" fmla="*/ 2147483647 w 77"/>
              <a:gd name="T35" fmla="*/ 2147483647 h 63"/>
              <a:gd name="T36" fmla="*/ 2147483647 w 77"/>
              <a:gd name="T37" fmla="*/ 2147483647 h 63"/>
              <a:gd name="T38" fmla="*/ 2147483647 w 77"/>
              <a:gd name="T39" fmla="*/ 2147483647 h 63"/>
              <a:gd name="T40" fmla="*/ 2147483647 w 77"/>
              <a:gd name="T41" fmla="*/ 2147483647 h 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7"/>
              <a:gd name="T64" fmla="*/ 0 h 63"/>
              <a:gd name="T65" fmla="*/ 77 w 77"/>
              <a:gd name="T66" fmla="*/ 63 h 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7" h="63">
                <a:moveTo>
                  <a:pt x="19" y="48"/>
                </a:moveTo>
                <a:lnTo>
                  <a:pt x="10" y="28"/>
                </a:lnTo>
                <a:lnTo>
                  <a:pt x="0" y="9"/>
                </a:lnTo>
                <a:lnTo>
                  <a:pt x="4" y="3"/>
                </a:lnTo>
                <a:lnTo>
                  <a:pt x="10" y="0"/>
                </a:lnTo>
                <a:lnTo>
                  <a:pt x="14" y="0"/>
                </a:lnTo>
                <a:lnTo>
                  <a:pt x="19" y="0"/>
                </a:lnTo>
                <a:lnTo>
                  <a:pt x="29" y="0"/>
                </a:lnTo>
                <a:lnTo>
                  <a:pt x="39" y="0"/>
                </a:lnTo>
                <a:lnTo>
                  <a:pt x="39" y="11"/>
                </a:lnTo>
                <a:lnTo>
                  <a:pt x="41" y="17"/>
                </a:lnTo>
                <a:lnTo>
                  <a:pt x="43" y="19"/>
                </a:lnTo>
                <a:lnTo>
                  <a:pt x="48" y="19"/>
                </a:lnTo>
                <a:lnTo>
                  <a:pt x="62" y="28"/>
                </a:lnTo>
                <a:lnTo>
                  <a:pt x="77" y="38"/>
                </a:lnTo>
                <a:lnTo>
                  <a:pt x="77" y="42"/>
                </a:lnTo>
                <a:lnTo>
                  <a:pt x="77" y="48"/>
                </a:lnTo>
                <a:lnTo>
                  <a:pt x="66" y="55"/>
                </a:lnTo>
                <a:lnTo>
                  <a:pt x="52" y="63"/>
                </a:lnTo>
                <a:lnTo>
                  <a:pt x="37" y="55"/>
                </a:lnTo>
                <a:lnTo>
                  <a:pt x="19" y="48"/>
                </a:lnTo>
              </a:path>
            </a:pathLst>
          </a:custGeom>
          <a:solidFill>
            <a:schemeClr val="accent3"/>
          </a:solidFill>
          <a:ln w="12700">
            <a:solidFill>
              <a:schemeClr val="bg1"/>
            </a:solidFill>
            <a:round/>
            <a:headEnd/>
            <a:tailEnd/>
          </a:ln>
        </p:spPr>
        <p:txBody>
          <a:bodyPr/>
          <a:lstStyle/>
          <a:p>
            <a:endParaRPr lang="en-GB"/>
          </a:p>
        </p:txBody>
      </p:sp>
      <p:sp>
        <p:nvSpPr>
          <p:cNvPr id="86" name="Freeform 351"/>
          <p:cNvSpPr>
            <a:spLocks/>
          </p:cNvSpPr>
          <p:nvPr>
            <p:custDataLst>
              <p:tags r:id="rId67"/>
            </p:custDataLst>
          </p:nvPr>
        </p:nvSpPr>
        <p:spPr bwMode="auto">
          <a:xfrm>
            <a:off x="2152176" y="2730852"/>
            <a:ext cx="413871" cy="547649"/>
          </a:xfrm>
          <a:custGeom>
            <a:avLst/>
            <a:gdLst>
              <a:gd name="T0" fmla="*/ 2147483647 w 303"/>
              <a:gd name="T1" fmla="*/ 2147483647 h 417"/>
              <a:gd name="T2" fmla="*/ 2147483647 w 303"/>
              <a:gd name="T3" fmla="*/ 2147483647 h 417"/>
              <a:gd name="T4" fmla="*/ 2147483647 w 303"/>
              <a:gd name="T5" fmla="*/ 2147483647 h 417"/>
              <a:gd name="T6" fmla="*/ 2147483647 w 303"/>
              <a:gd name="T7" fmla="*/ 2147483647 h 417"/>
              <a:gd name="T8" fmla="*/ 2147483647 w 303"/>
              <a:gd name="T9" fmla="*/ 2147483647 h 417"/>
              <a:gd name="T10" fmla="*/ 2147483647 w 303"/>
              <a:gd name="T11" fmla="*/ 2147483647 h 417"/>
              <a:gd name="T12" fmla="*/ 2147483647 w 303"/>
              <a:gd name="T13" fmla="*/ 2147483647 h 417"/>
              <a:gd name="T14" fmla="*/ 2147483647 w 303"/>
              <a:gd name="T15" fmla="*/ 2147483647 h 417"/>
              <a:gd name="T16" fmla="*/ 2147483647 w 303"/>
              <a:gd name="T17" fmla="*/ 2147483647 h 417"/>
              <a:gd name="T18" fmla="*/ 2147483647 w 303"/>
              <a:gd name="T19" fmla="*/ 2147483647 h 417"/>
              <a:gd name="T20" fmla="*/ 2147483647 w 303"/>
              <a:gd name="T21" fmla="*/ 2147483647 h 417"/>
              <a:gd name="T22" fmla="*/ 2147483647 w 303"/>
              <a:gd name="T23" fmla="*/ 2147483647 h 417"/>
              <a:gd name="T24" fmla="*/ 2147483647 w 303"/>
              <a:gd name="T25" fmla="*/ 2147483647 h 417"/>
              <a:gd name="T26" fmla="*/ 2147483647 w 303"/>
              <a:gd name="T27" fmla="*/ 2147483647 h 417"/>
              <a:gd name="T28" fmla="*/ 2147483647 w 303"/>
              <a:gd name="T29" fmla="*/ 2147483647 h 417"/>
              <a:gd name="T30" fmla="*/ 2147483647 w 303"/>
              <a:gd name="T31" fmla="*/ 2147483647 h 417"/>
              <a:gd name="T32" fmla="*/ 0 w 303"/>
              <a:gd name="T33" fmla="*/ 2147483647 h 417"/>
              <a:gd name="T34" fmla="*/ 2147483647 w 303"/>
              <a:gd name="T35" fmla="*/ 2147483647 h 417"/>
              <a:gd name="T36" fmla="*/ 2147483647 w 303"/>
              <a:gd name="T37" fmla="*/ 2147483647 h 417"/>
              <a:gd name="T38" fmla="*/ 2147483647 w 303"/>
              <a:gd name="T39" fmla="*/ 2147483647 h 417"/>
              <a:gd name="T40" fmla="*/ 2147483647 w 303"/>
              <a:gd name="T41" fmla="*/ 2147483647 h 417"/>
              <a:gd name="T42" fmla="*/ 2147483647 w 303"/>
              <a:gd name="T43" fmla="*/ 2147483647 h 417"/>
              <a:gd name="T44" fmla="*/ 2147483647 w 303"/>
              <a:gd name="T45" fmla="*/ 2147483647 h 417"/>
              <a:gd name="T46" fmla="*/ 2147483647 w 303"/>
              <a:gd name="T47" fmla="*/ 2147483647 h 417"/>
              <a:gd name="T48" fmla="*/ 2147483647 w 303"/>
              <a:gd name="T49" fmla="*/ 2147483647 h 417"/>
              <a:gd name="T50" fmla="*/ 2147483647 w 303"/>
              <a:gd name="T51" fmla="*/ 2147483647 h 417"/>
              <a:gd name="T52" fmla="*/ 2147483647 w 303"/>
              <a:gd name="T53" fmla="*/ 0 h 417"/>
              <a:gd name="T54" fmla="*/ 2147483647 w 303"/>
              <a:gd name="T55" fmla="*/ 0 h 417"/>
              <a:gd name="T56" fmla="*/ 2147483647 w 303"/>
              <a:gd name="T57" fmla="*/ 2147483647 h 417"/>
              <a:gd name="T58" fmla="*/ 2147483647 w 303"/>
              <a:gd name="T59" fmla="*/ 2147483647 h 417"/>
              <a:gd name="T60" fmla="*/ 2147483647 w 303"/>
              <a:gd name="T61" fmla="*/ 2147483647 h 417"/>
              <a:gd name="T62" fmla="*/ 2147483647 w 303"/>
              <a:gd name="T63" fmla="*/ 2147483647 h 417"/>
              <a:gd name="T64" fmla="*/ 2147483647 w 303"/>
              <a:gd name="T65" fmla="*/ 2147483647 h 417"/>
              <a:gd name="T66" fmla="*/ 2147483647 w 303"/>
              <a:gd name="T67" fmla="*/ 2147483647 h 417"/>
              <a:gd name="T68" fmla="*/ 2147483647 w 303"/>
              <a:gd name="T69" fmla="*/ 2147483647 h 417"/>
              <a:gd name="T70" fmla="*/ 2147483647 w 303"/>
              <a:gd name="T71" fmla="*/ 2147483647 h 417"/>
              <a:gd name="T72" fmla="*/ 2147483647 w 303"/>
              <a:gd name="T73" fmla="*/ 2147483647 h 417"/>
              <a:gd name="T74" fmla="*/ 2147483647 w 303"/>
              <a:gd name="T75" fmla="*/ 2147483647 h 417"/>
              <a:gd name="T76" fmla="*/ 2147483647 w 303"/>
              <a:gd name="T77" fmla="*/ 2147483647 h 417"/>
              <a:gd name="T78" fmla="*/ 2147483647 w 303"/>
              <a:gd name="T79" fmla="*/ 2147483647 h 417"/>
              <a:gd name="T80" fmla="*/ 2147483647 w 303"/>
              <a:gd name="T81" fmla="*/ 2147483647 h 417"/>
              <a:gd name="T82" fmla="*/ 2147483647 w 303"/>
              <a:gd name="T83" fmla="*/ 2147483647 h 417"/>
              <a:gd name="T84" fmla="*/ 2147483647 w 303"/>
              <a:gd name="T85" fmla="*/ 2147483647 h 41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3"/>
              <a:gd name="T130" fmla="*/ 0 h 417"/>
              <a:gd name="T131" fmla="*/ 303 w 303"/>
              <a:gd name="T132" fmla="*/ 417 h 41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3" h="417">
                <a:moveTo>
                  <a:pt x="165" y="376"/>
                </a:moveTo>
                <a:lnTo>
                  <a:pt x="159" y="369"/>
                </a:lnTo>
                <a:lnTo>
                  <a:pt x="157" y="365"/>
                </a:lnTo>
                <a:lnTo>
                  <a:pt x="155" y="365"/>
                </a:lnTo>
                <a:lnTo>
                  <a:pt x="155" y="367"/>
                </a:lnTo>
                <a:lnTo>
                  <a:pt x="150" y="367"/>
                </a:lnTo>
                <a:lnTo>
                  <a:pt x="146" y="367"/>
                </a:lnTo>
                <a:lnTo>
                  <a:pt x="140" y="353"/>
                </a:lnTo>
                <a:lnTo>
                  <a:pt x="136" y="338"/>
                </a:lnTo>
                <a:lnTo>
                  <a:pt x="130" y="325"/>
                </a:lnTo>
                <a:lnTo>
                  <a:pt x="126" y="309"/>
                </a:lnTo>
                <a:lnTo>
                  <a:pt x="121" y="284"/>
                </a:lnTo>
                <a:lnTo>
                  <a:pt x="117" y="261"/>
                </a:lnTo>
                <a:lnTo>
                  <a:pt x="117" y="256"/>
                </a:lnTo>
                <a:lnTo>
                  <a:pt x="117" y="252"/>
                </a:lnTo>
                <a:lnTo>
                  <a:pt x="117" y="236"/>
                </a:lnTo>
                <a:lnTo>
                  <a:pt x="117" y="223"/>
                </a:lnTo>
                <a:lnTo>
                  <a:pt x="119" y="221"/>
                </a:lnTo>
                <a:lnTo>
                  <a:pt x="119" y="219"/>
                </a:lnTo>
                <a:lnTo>
                  <a:pt x="115" y="217"/>
                </a:lnTo>
                <a:lnTo>
                  <a:pt x="105" y="213"/>
                </a:lnTo>
                <a:lnTo>
                  <a:pt x="109" y="206"/>
                </a:lnTo>
                <a:lnTo>
                  <a:pt x="113" y="200"/>
                </a:lnTo>
                <a:lnTo>
                  <a:pt x="98" y="200"/>
                </a:lnTo>
                <a:lnTo>
                  <a:pt x="90" y="200"/>
                </a:lnTo>
                <a:lnTo>
                  <a:pt x="88" y="200"/>
                </a:lnTo>
                <a:lnTo>
                  <a:pt x="88" y="204"/>
                </a:lnTo>
                <a:lnTo>
                  <a:pt x="77" y="204"/>
                </a:lnTo>
                <a:lnTo>
                  <a:pt x="67" y="204"/>
                </a:lnTo>
                <a:lnTo>
                  <a:pt x="67" y="215"/>
                </a:lnTo>
                <a:lnTo>
                  <a:pt x="67" y="219"/>
                </a:lnTo>
                <a:lnTo>
                  <a:pt x="63" y="223"/>
                </a:lnTo>
                <a:lnTo>
                  <a:pt x="57" y="223"/>
                </a:lnTo>
                <a:lnTo>
                  <a:pt x="55" y="213"/>
                </a:lnTo>
                <a:lnTo>
                  <a:pt x="54" y="204"/>
                </a:lnTo>
                <a:lnTo>
                  <a:pt x="50" y="200"/>
                </a:lnTo>
                <a:lnTo>
                  <a:pt x="48" y="198"/>
                </a:lnTo>
                <a:lnTo>
                  <a:pt x="40" y="196"/>
                </a:lnTo>
                <a:lnTo>
                  <a:pt x="34" y="194"/>
                </a:lnTo>
                <a:lnTo>
                  <a:pt x="31" y="190"/>
                </a:lnTo>
                <a:lnTo>
                  <a:pt x="29" y="188"/>
                </a:lnTo>
                <a:lnTo>
                  <a:pt x="27" y="186"/>
                </a:lnTo>
                <a:lnTo>
                  <a:pt x="25" y="185"/>
                </a:lnTo>
                <a:lnTo>
                  <a:pt x="21" y="181"/>
                </a:lnTo>
                <a:lnTo>
                  <a:pt x="19" y="179"/>
                </a:lnTo>
                <a:lnTo>
                  <a:pt x="13" y="177"/>
                </a:lnTo>
                <a:lnTo>
                  <a:pt x="9" y="173"/>
                </a:lnTo>
                <a:lnTo>
                  <a:pt x="4" y="169"/>
                </a:lnTo>
                <a:lnTo>
                  <a:pt x="0" y="163"/>
                </a:lnTo>
                <a:lnTo>
                  <a:pt x="0" y="160"/>
                </a:lnTo>
                <a:lnTo>
                  <a:pt x="0" y="156"/>
                </a:lnTo>
                <a:lnTo>
                  <a:pt x="4" y="150"/>
                </a:lnTo>
                <a:lnTo>
                  <a:pt x="9" y="144"/>
                </a:lnTo>
                <a:lnTo>
                  <a:pt x="9" y="135"/>
                </a:lnTo>
                <a:lnTo>
                  <a:pt x="9" y="125"/>
                </a:lnTo>
                <a:lnTo>
                  <a:pt x="23" y="123"/>
                </a:lnTo>
                <a:lnTo>
                  <a:pt x="38" y="121"/>
                </a:lnTo>
                <a:lnTo>
                  <a:pt x="54" y="119"/>
                </a:lnTo>
                <a:lnTo>
                  <a:pt x="67" y="115"/>
                </a:lnTo>
                <a:lnTo>
                  <a:pt x="73" y="115"/>
                </a:lnTo>
                <a:lnTo>
                  <a:pt x="77" y="115"/>
                </a:lnTo>
                <a:lnTo>
                  <a:pt x="82" y="112"/>
                </a:lnTo>
                <a:lnTo>
                  <a:pt x="88" y="106"/>
                </a:lnTo>
                <a:lnTo>
                  <a:pt x="88" y="102"/>
                </a:lnTo>
                <a:lnTo>
                  <a:pt x="88" y="96"/>
                </a:lnTo>
                <a:lnTo>
                  <a:pt x="88" y="87"/>
                </a:lnTo>
                <a:lnTo>
                  <a:pt x="88" y="77"/>
                </a:lnTo>
                <a:lnTo>
                  <a:pt x="88" y="73"/>
                </a:lnTo>
                <a:lnTo>
                  <a:pt x="88" y="67"/>
                </a:lnTo>
                <a:lnTo>
                  <a:pt x="92" y="54"/>
                </a:lnTo>
                <a:lnTo>
                  <a:pt x="96" y="39"/>
                </a:lnTo>
                <a:lnTo>
                  <a:pt x="96" y="29"/>
                </a:lnTo>
                <a:lnTo>
                  <a:pt x="96" y="19"/>
                </a:lnTo>
                <a:lnTo>
                  <a:pt x="102" y="19"/>
                </a:lnTo>
                <a:lnTo>
                  <a:pt x="105" y="19"/>
                </a:lnTo>
                <a:lnTo>
                  <a:pt x="105" y="14"/>
                </a:lnTo>
                <a:lnTo>
                  <a:pt x="105" y="10"/>
                </a:lnTo>
                <a:lnTo>
                  <a:pt x="115" y="10"/>
                </a:lnTo>
                <a:lnTo>
                  <a:pt x="126" y="10"/>
                </a:lnTo>
                <a:lnTo>
                  <a:pt x="130" y="4"/>
                </a:lnTo>
                <a:lnTo>
                  <a:pt x="136" y="0"/>
                </a:lnTo>
                <a:lnTo>
                  <a:pt x="146" y="0"/>
                </a:lnTo>
                <a:lnTo>
                  <a:pt x="155" y="0"/>
                </a:lnTo>
                <a:lnTo>
                  <a:pt x="169" y="0"/>
                </a:lnTo>
                <a:lnTo>
                  <a:pt x="184" y="0"/>
                </a:lnTo>
                <a:lnTo>
                  <a:pt x="194" y="4"/>
                </a:lnTo>
                <a:lnTo>
                  <a:pt x="203" y="10"/>
                </a:lnTo>
                <a:lnTo>
                  <a:pt x="207" y="16"/>
                </a:lnTo>
                <a:lnTo>
                  <a:pt x="209" y="21"/>
                </a:lnTo>
                <a:lnTo>
                  <a:pt x="236" y="25"/>
                </a:lnTo>
                <a:lnTo>
                  <a:pt x="261" y="29"/>
                </a:lnTo>
                <a:lnTo>
                  <a:pt x="267" y="33"/>
                </a:lnTo>
                <a:lnTo>
                  <a:pt x="270" y="39"/>
                </a:lnTo>
                <a:lnTo>
                  <a:pt x="270" y="43"/>
                </a:lnTo>
                <a:lnTo>
                  <a:pt x="270" y="48"/>
                </a:lnTo>
                <a:lnTo>
                  <a:pt x="267" y="48"/>
                </a:lnTo>
                <a:lnTo>
                  <a:pt x="261" y="48"/>
                </a:lnTo>
                <a:lnTo>
                  <a:pt x="257" y="48"/>
                </a:lnTo>
                <a:lnTo>
                  <a:pt x="251" y="48"/>
                </a:lnTo>
                <a:lnTo>
                  <a:pt x="240" y="52"/>
                </a:lnTo>
                <a:lnTo>
                  <a:pt x="230" y="56"/>
                </a:lnTo>
                <a:lnTo>
                  <a:pt x="230" y="81"/>
                </a:lnTo>
                <a:lnTo>
                  <a:pt x="232" y="106"/>
                </a:lnTo>
                <a:lnTo>
                  <a:pt x="236" y="112"/>
                </a:lnTo>
                <a:lnTo>
                  <a:pt x="242" y="115"/>
                </a:lnTo>
                <a:lnTo>
                  <a:pt x="245" y="115"/>
                </a:lnTo>
                <a:lnTo>
                  <a:pt x="251" y="115"/>
                </a:lnTo>
                <a:lnTo>
                  <a:pt x="270" y="125"/>
                </a:lnTo>
                <a:lnTo>
                  <a:pt x="290" y="135"/>
                </a:lnTo>
                <a:lnTo>
                  <a:pt x="290" y="140"/>
                </a:lnTo>
                <a:lnTo>
                  <a:pt x="290" y="144"/>
                </a:lnTo>
                <a:lnTo>
                  <a:pt x="282" y="154"/>
                </a:lnTo>
                <a:lnTo>
                  <a:pt x="272" y="161"/>
                </a:lnTo>
                <a:lnTo>
                  <a:pt x="290" y="232"/>
                </a:lnTo>
                <a:lnTo>
                  <a:pt x="301" y="296"/>
                </a:lnTo>
                <a:lnTo>
                  <a:pt x="303" y="311"/>
                </a:lnTo>
                <a:lnTo>
                  <a:pt x="303" y="326"/>
                </a:lnTo>
                <a:lnTo>
                  <a:pt x="301" y="340"/>
                </a:lnTo>
                <a:lnTo>
                  <a:pt x="299" y="355"/>
                </a:lnTo>
                <a:lnTo>
                  <a:pt x="295" y="371"/>
                </a:lnTo>
                <a:lnTo>
                  <a:pt x="290" y="386"/>
                </a:lnTo>
                <a:lnTo>
                  <a:pt x="280" y="401"/>
                </a:lnTo>
                <a:lnTo>
                  <a:pt x="270" y="417"/>
                </a:lnTo>
                <a:lnTo>
                  <a:pt x="253" y="413"/>
                </a:lnTo>
                <a:lnTo>
                  <a:pt x="236" y="411"/>
                </a:lnTo>
                <a:lnTo>
                  <a:pt x="220" y="409"/>
                </a:lnTo>
                <a:lnTo>
                  <a:pt x="203" y="405"/>
                </a:lnTo>
                <a:lnTo>
                  <a:pt x="203" y="397"/>
                </a:lnTo>
                <a:lnTo>
                  <a:pt x="203" y="388"/>
                </a:lnTo>
                <a:lnTo>
                  <a:pt x="184" y="382"/>
                </a:lnTo>
                <a:lnTo>
                  <a:pt x="165" y="376"/>
                </a:lnTo>
              </a:path>
            </a:pathLst>
          </a:custGeom>
          <a:solidFill>
            <a:schemeClr val="accent3"/>
          </a:solidFill>
          <a:ln w="12700">
            <a:solidFill>
              <a:schemeClr val="bg1"/>
            </a:solidFill>
            <a:round/>
            <a:headEnd/>
            <a:tailEnd/>
          </a:ln>
        </p:spPr>
        <p:txBody>
          <a:bodyPr/>
          <a:lstStyle/>
          <a:p>
            <a:endParaRPr lang="en-GB"/>
          </a:p>
        </p:txBody>
      </p:sp>
      <p:sp>
        <p:nvSpPr>
          <p:cNvPr id="87" name="Freeform 352"/>
          <p:cNvSpPr>
            <a:spLocks/>
          </p:cNvSpPr>
          <p:nvPr>
            <p:custDataLst>
              <p:tags r:id="rId68"/>
            </p:custDataLst>
          </p:nvPr>
        </p:nvSpPr>
        <p:spPr bwMode="auto">
          <a:xfrm>
            <a:off x="7755467" y="4943741"/>
            <a:ext cx="323294" cy="790119"/>
          </a:xfrm>
          <a:custGeom>
            <a:avLst/>
            <a:gdLst>
              <a:gd name="T0" fmla="*/ 2147483647 w 237"/>
              <a:gd name="T1" fmla="*/ 2147483647 h 601"/>
              <a:gd name="T2" fmla="*/ 2147483647 w 237"/>
              <a:gd name="T3" fmla="*/ 2147483647 h 601"/>
              <a:gd name="T4" fmla="*/ 0 w 237"/>
              <a:gd name="T5" fmla="*/ 2147483647 h 601"/>
              <a:gd name="T6" fmla="*/ 2147483647 w 237"/>
              <a:gd name="T7" fmla="*/ 2147483647 h 601"/>
              <a:gd name="T8" fmla="*/ 2147483647 w 237"/>
              <a:gd name="T9" fmla="*/ 2147483647 h 601"/>
              <a:gd name="T10" fmla="*/ 2147483647 w 237"/>
              <a:gd name="T11" fmla="*/ 2147483647 h 601"/>
              <a:gd name="T12" fmla="*/ 2147483647 w 237"/>
              <a:gd name="T13" fmla="*/ 2147483647 h 601"/>
              <a:gd name="T14" fmla="*/ 2147483647 w 237"/>
              <a:gd name="T15" fmla="*/ 2147483647 h 601"/>
              <a:gd name="T16" fmla="*/ 2147483647 w 237"/>
              <a:gd name="T17" fmla="*/ 2147483647 h 601"/>
              <a:gd name="T18" fmla="*/ 2147483647 w 237"/>
              <a:gd name="T19" fmla="*/ 2147483647 h 601"/>
              <a:gd name="T20" fmla="*/ 2147483647 w 237"/>
              <a:gd name="T21" fmla="*/ 2147483647 h 601"/>
              <a:gd name="T22" fmla="*/ 2147483647 w 237"/>
              <a:gd name="T23" fmla="*/ 2147483647 h 601"/>
              <a:gd name="T24" fmla="*/ 2147483647 w 237"/>
              <a:gd name="T25" fmla="*/ 2147483647 h 601"/>
              <a:gd name="T26" fmla="*/ 2147483647 w 237"/>
              <a:gd name="T27" fmla="*/ 2147483647 h 601"/>
              <a:gd name="T28" fmla="*/ 2147483647 w 237"/>
              <a:gd name="T29" fmla="*/ 2147483647 h 601"/>
              <a:gd name="T30" fmla="*/ 2147483647 w 237"/>
              <a:gd name="T31" fmla="*/ 2147483647 h 601"/>
              <a:gd name="T32" fmla="*/ 2147483647 w 237"/>
              <a:gd name="T33" fmla="*/ 2147483647 h 601"/>
              <a:gd name="T34" fmla="*/ 2147483647 w 237"/>
              <a:gd name="T35" fmla="*/ 2147483647 h 601"/>
              <a:gd name="T36" fmla="*/ 2147483647 w 237"/>
              <a:gd name="T37" fmla="*/ 2147483647 h 601"/>
              <a:gd name="T38" fmla="*/ 2147483647 w 237"/>
              <a:gd name="T39" fmla="*/ 2147483647 h 601"/>
              <a:gd name="T40" fmla="*/ 2147483647 w 237"/>
              <a:gd name="T41" fmla="*/ 2147483647 h 601"/>
              <a:gd name="T42" fmla="*/ 2147483647 w 237"/>
              <a:gd name="T43" fmla="*/ 2147483647 h 601"/>
              <a:gd name="T44" fmla="*/ 2147483647 w 237"/>
              <a:gd name="T45" fmla="*/ 2147483647 h 601"/>
              <a:gd name="T46" fmla="*/ 2147483647 w 237"/>
              <a:gd name="T47" fmla="*/ 2147483647 h 601"/>
              <a:gd name="T48" fmla="*/ 2147483647 w 237"/>
              <a:gd name="T49" fmla="*/ 2147483647 h 601"/>
              <a:gd name="T50" fmla="*/ 2147483647 w 237"/>
              <a:gd name="T51" fmla="*/ 2147483647 h 601"/>
              <a:gd name="T52" fmla="*/ 2147483647 w 237"/>
              <a:gd name="T53" fmla="*/ 2147483647 h 601"/>
              <a:gd name="T54" fmla="*/ 2147483647 w 237"/>
              <a:gd name="T55" fmla="*/ 2147483647 h 601"/>
              <a:gd name="T56" fmla="*/ 2147483647 w 237"/>
              <a:gd name="T57" fmla="*/ 2147483647 h 601"/>
              <a:gd name="T58" fmla="*/ 2147483647 w 237"/>
              <a:gd name="T59" fmla="*/ 2147483647 h 601"/>
              <a:gd name="T60" fmla="*/ 2147483647 w 237"/>
              <a:gd name="T61" fmla="*/ 2147483647 h 601"/>
              <a:gd name="T62" fmla="*/ 2147483647 w 237"/>
              <a:gd name="T63" fmla="*/ 2147483647 h 601"/>
              <a:gd name="T64" fmla="*/ 2147483647 w 237"/>
              <a:gd name="T65" fmla="*/ 2147483647 h 601"/>
              <a:gd name="T66" fmla="*/ 2147483647 w 237"/>
              <a:gd name="T67" fmla="*/ 2147483647 h 601"/>
              <a:gd name="T68" fmla="*/ 2147483647 w 237"/>
              <a:gd name="T69" fmla="*/ 0 h 601"/>
              <a:gd name="T70" fmla="*/ 2147483647 w 237"/>
              <a:gd name="T71" fmla="*/ 2147483647 h 601"/>
              <a:gd name="T72" fmla="*/ 2147483647 w 237"/>
              <a:gd name="T73" fmla="*/ 2147483647 h 601"/>
              <a:gd name="T74" fmla="*/ 2147483647 w 237"/>
              <a:gd name="T75" fmla="*/ 2147483647 h 601"/>
              <a:gd name="T76" fmla="*/ 2147483647 w 237"/>
              <a:gd name="T77" fmla="*/ 2147483647 h 601"/>
              <a:gd name="T78" fmla="*/ 2147483647 w 237"/>
              <a:gd name="T79" fmla="*/ 2147483647 h 601"/>
              <a:gd name="T80" fmla="*/ 2147483647 w 237"/>
              <a:gd name="T81" fmla="*/ 2147483647 h 601"/>
              <a:gd name="T82" fmla="*/ 2147483647 w 237"/>
              <a:gd name="T83" fmla="*/ 2147483647 h 601"/>
              <a:gd name="T84" fmla="*/ 2147483647 w 237"/>
              <a:gd name="T85" fmla="*/ 2147483647 h 601"/>
              <a:gd name="T86" fmla="*/ 2147483647 w 237"/>
              <a:gd name="T87" fmla="*/ 2147483647 h 601"/>
              <a:gd name="T88" fmla="*/ 2147483647 w 237"/>
              <a:gd name="T89" fmla="*/ 2147483647 h 601"/>
              <a:gd name="T90" fmla="*/ 2147483647 w 237"/>
              <a:gd name="T91" fmla="*/ 2147483647 h 601"/>
              <a:gd name="T92" fmla="*/ 2147483647 w 237"/>
              <a:gd name="T93" fmla="*/ 2147483647 h 601"/>
              <a:gd name="T94" fmla="*/ 2147483647 w 237"/>
              <a:gd name="T95" fmla="*/ 2147483647 h 601"/>
              <a:gd name="T96" fmla="*/ 2147483647 w 237"/>
              <a:gd name="T97" fmla="*/ 2147483647 h 60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7"/>
              <a:gd name="T148" fmla="*/ 0 h 601"/>
              <a:gd name="T149" fmla="*/ 237 w 237"/>
              <a:gd name="T150" fmla="*/ 601 h 60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7" h="601">
                <a:moveTo>
                  <a:pt x="69" y="560"/>
                </a:moveTo>
                <a:lnTo>
                  <a:pt x="61" y="543"/>
                </a:lnTo>
                <a:lnTo>
                  <a:pt x="53" y="528"/>
                </a:lnTo>
                <a:lnTo>
                  <a:pt x="46" y="510"/>
                </a:lnTo>
                <a:lnTo>
                  <a:pt x="40" y="493"/>
                </a:lnTo>
                <a:lnTo>
                  <a:pt x="25" y="493"/>
                </a:lnTo>
                <a:lnTo>
                  <a:pt x="9" y="493"/>
                </a:lnTo>
                <a:lnTo>
                  <a:pt x="5" y="478"/>
                </a:lnTo>
                <a:lnTo>
                  <a:pt x="0" y="464"/>
                </a:lnTo>
                <a:lnTo>
                  <a:pt x="0" y="455"/>
                </a:lnTo>
                <a:lnTo>
                  <a:pt x="0" y="445"/>
                </a:lnTo>
                <a:lnTo>
                  <a:pt x="5" y="445"/>
                </a:lnTo>
                <a:lnTo>
                  <a:pt x="9" y="445"/>
                </a:lnTo>
                <a:lnTo>
                  <a:pt x="15" y="439"/>
                </a:lnTo>
                <a:lnTo>
                  <a:pt x="19" y="436"/>
                </a:lnTo>
                <a:lnTo>
                  <a:pt x="38" y="430"/>
                </a:lnTo>
                <a:lnTo>
                  <a:pt x="57" y="426"/>
                </a:lnTo>
                <a:lnTo>
                  <a:pt x="63" y="426"/>
                </a:lnTo>
                <a:lnTo>
                  <a:pt x="69" y="426"/>
                </a:lnTo>
                <a:lnTo>
                  <a:pt x="78" y="426"/>
                </a:lnTo>
                <a:lnTo>
                  <a:pt x="88" y="426"/>
                </a:lnTo>
                <a:lnTo>
                  <a:pt x="78" y="386"/>
                </a:lnTo>
                <a:lnTo>
                  <a:pt x="69" y="347"/>
                </a:lnTo>
                <a:lnTo>
                  <a:pt x="59" y="309"/>
                </a:lnTo>
                <a:lnTo>
                  <a:pt x="49" y="271"/>
                </a:lnTo>
                <a:lnTo>
                  <a:pt x="53" y="269"/>
                </a:lnTo>
                <a:lnTo>
                  <a:pt x="57" y="265"/>
                </a:lnTo>
                <a:lnTo>
                  <a:pt x="61" y="263"/>
                </a:lnTo>
                <a:lnTo>
                  <a:pt x="63" y="261"/>
                </a:lnTo>
                <a:lnTo>
                  <a:pt x="63" y="251"/>
                </a:lnTo>
                <a:lnTo>
                  <a:pt x="63" y="242"/>
                </a:lnTo>
                <a:lnTo>
                  <a:pt x="61" y="240"/>
                </a:lnTo>
                <a:lnTo>
                  <a:pt x="57" y="236"/>
                </a:lnTo>
                <a:lnTo>
                  <a:pt x="57" y="226"/>
                </a:lnTo>
                <a:lnTo>
                  <a:pt x="57" y="217"/>
                </a:lnTo>
                <a:lnTo>
                  <a:pt x="61" y="215"/>
                </a:lnTo>
                <a:lnTo>
                  <a:pt x="63" y="213"/>
                </a:lnTo>
                <a:lnTo>
                  <a:pt x="65" y="211"/>
                </a:lnTo>
                <a:lnTo>
                  <a:pt x="69" y="207"/>
                </a:lnTo>
                <a:lnTo>
                  <a:pt x="71" y="205"/>
                </a:lnTo>
                <a:lnTo>
                  <a:pt x="72" y="203"/>
                </a:lnTo>
                <a:lnTo>
                  <a:pt x="74" y="200"/>
                </a:lnTo>
                <a:lnTo>
                  <a:pt x="78" y="198"/>
                </a:lnTo>
                <a:lnTo>
                  <a:pt x="80" y="196"/>
                </a:lnTo>
                <a:lnTo>
                  <a:pt x="82" y="194"/>
                </a:lnTo>
                <a:lnTo>
                  <a:pt x="97" y="192"/>
                </a:lnTo>
                <a:lnTo>
                  <a:pt x="113" y="190"/>
                </a:lnTo>
                <a:lnTo>
                  <a:pt x="128" y="190"/>
                </a:lnTo>
                <a:lnTo>
                  <a:pt x="145" y="188"/>
                </a:lnTo>
                <a:lnTo>
                  <a:pt x="147" y="186"/>
                </a:lnTo>
                <a:lnTo>
                  <a:pt x="149" y="184"/>
                </a:lnTo>
                <a:lnTo>
                  <a:pt x="153" y="180"/>
                </a:lnTo>
                <a:lnTo>
                  <a:pt x="155" y="178"/>
                </a:lnTo>
                <a:lnTo>
                  <a:pt x="157" y="177"/>
                </a:lnTo>
                <a:lnTo>
                  <a:pt x="161" y="175"/>
                </a:lnTo>
                <a:lnTo>
                  <a:pt x="163" y="171"/>
                </a:lnTo>
                <a:lnTo>
                  <a:pt x="165" y="169"/>
                </a:lnTo>
                <a:lnTo>
                  <a:pt x="167" y="167"/>
                </a:lnTo>
                <a:lnTo>
                  <a:pt x="168" y="165"/>
                </a:lnTo>
                <a:lnTo>
                  <a:pt x="172" y="161"/>
                </a:lnTo>
                <a:lnTo>
                  <a:pt x="172" y="155"/>
                </a:lnTo>
                <a:lnTo>
                  <a:pt x="172" y="148"/>
                </a:lnTo>
                <a:lnTo>
                  <a:pt x="168" y="146"/>
                </a:lnTo>
                <a:lnTo>
                  <a:pt x="167" y="142"/>
                </a:lnTo>
                <a:lnTo>
                  <a:pt x="165" y="140"/>
                </a:lnTo>
                <a:lnTo>
                  <a:pt x="165" y="131"/>
                </a:lnTo>
                <a:lnTo>
                  <a:pt x="165" y="121"/>
                </a:lnTo>
                <a:lnTo>
                  <a:pt x="167" y="119"/>
                </a:lnTo>
                <a:lnTo>
                  <a:pt x="168" y="115"/>
                </a:lnTo>
                <a:lnTo>
                  <a:pt x="172" y="113"/>
                </a:lnTo>
                <a:lnTo>
                  <a:pt x="174" y="111"/>
                </a:lnTo>
                <a:lnTo>
                  <a:pt x="176" y="109"/>
                </a:lnTo>
                <a:lnTo>
                  <a:pt x="178" y="106"/>
                </a:lnTo>
                <a:lnTo>
                  <a:pt x="182" y="104"/>
                </a:lnTo>
                <a:lnTo>
                  <a:pt x="184" y="102"/>
                </a:lnTo>
                <a:lnTo>
                  <a:pt x="186" y="100"/>
                </a:lnTo>
                <a:lnTo>
                  <a:pt x="190" y="96"/>
                </a:lnTo>
                <a:lnTo>
                  <a:pt x="190" y="83"/>
                </a:lnTo>
                <a:lnTo>
                  <a:pt x="190" y="67"/>
                </a:lnTo>
                <a:lnTo>
                  <a:pt x="186" y="65"/>
                </a:lnTo>
                <a:lnTo>
                  <a:pt x="184" y="63"/>
                </a:lnTo>
                <a:lnTo>
                  <a:pt x="163" y="60"/>
                </a:lnTo>
                <a:lnTo>
                  <a:pt x="140" y="58"/>
                </a:lnTo>
                <a:lnTo>
                  <a:pt x="138" y="56"/>
                </a:lnTo>
                <a:lnTo>
                  <a:pt x="136" y="54"/>
                </a:lnTo>
                <a:lnTo>
                  <a:pt x="134" y="50"/>
                </a:lnTo>
                <a:lnTo>
                  <a:pt x="130" y="48"/>
                </a:lnTo>
                <a:lnTo>
                  <a:pt x="128" y="46"/>
                </a:lnTo>
                <a:lnTo>
                  <a:pt x="126" y="44"/>
                </a:lnTo>
                <a:lnTo>
                  <a:pt x="126" y="38"/>
                </a:lnTo>
                <a:lnTo>
                  <a:pt x="126" y="33"/>
                </a:lnTo>
                <a:lnTo>
                  <a:pt x="128" y="31"/>
                </a:lnTo>
                <a:lnTo>
                  <a:pt x="130" y="29"/>
                </a:lnTo>
                <a:lnTo>
                  <a:pt x="134" y="27"/>
                </a:lnTo>
                <a:lnTo>
                  <a:pt x="136" y="25"/>
                </a:lnTo>
                <a:lnTo>
                  <a:pt x="138" y="21"/>
                </a:lnTo>
                <a:lnTo>
                  <a:pt x="140" y="19"/>
                </a:lnTo>
                <a:lnTo>
                  <a:pt x="142" y="17"/>
                </a:lnTo>
                <a:lnTo>
                  <a:pt x="145" y="15"/>
                </a:lnTo>
                <a:lnTo>
                  <a:pt x="147" y="12"/>
                </a:lnTo>
                <a:lnTo>
                  <a:pt x="149" y="10"/>
                </a:lnTo>
                <a:lnTo>
                  <a:pt x="153" y="8"/>
                </a:lnTo>
                <a:lnTo>
                  <a:pt x="155" y="4"/>
                </a:lnTo>
                <a:lnTo>
                  <a:pt x="157" y="2"/>
                </a:lnTo>
                <a:lnTo>
                  <a:pt x="161" y="0"/>
                </a:lnTo>
                <a:lnTo>
                  <a:pt x="165" y="0"/>
                </a:lnTo>
                <a:lnTo>
                  <a:pt x="168" y="0"/>
                </a:lnTo>
                <a:lnTo>
                  <a:pt x="172" y="2"/>
                </a:lnTo>
                <a:lnTo>
                  <a:pt x="174" y="4"/>
                </a:lnTo>
                <a:lnTo>
                  <a:pt x="176" y="8"/>
                </a:lnTo>
                <a:lnTo>
                  <a:pt x="178" y="10"/>
                </a:lnTo>
                <a:lnTo>
                  <a:pt x="182" y="12"/>
                </a:lnTo>
                <a:lnTo>
                  <a:pt x="184" y="15"/>
                </a:lnTo>
                <a:lnTo>
                  <a:pt x="186" y="17"/>
                </a:lnTo>
                <a:lnTo>
                  <a:pt x="190" y="19"/>
                </a:lnTo>
                <a:lnTo>
                  <a:pt x="191" y="21"/>
                </a:lnTo>
                <a:lnTo>
                  <a:pt x="193" y="25"/>
                </a:lnTo>
                <a:lnTo>
                  <a:pt x="197" y="27"/>
                </a:lnTo>
                <a:lnTo>
                  <a:pt x="203" y="29"/>
                </a:lnTo>
                <a:lnTo>
                  <a:pt x="203" y="38"/>
                </a:lnTo>
                <a:lnTo>
                  <a:pt x="203" y="48"/>
                </a:lnTo>
                <a:lnTo>
                  <a:pt x="216" y="107"/>
                </a:lnTo>
                <a:lnTo>
                  <a:pt x="228" y="171"/>
                </a:lnTo>
                <a:lnTo>
                  <a:pt x="232" y="203"/>
                </a:lnTo>
                <a:lnTo>
                  <a:pt x="236" y="236"/>
                </a:lnTo>
                <a:lnTo>
                  <a:pt x="237" y="271"/>
                </a:lnTo>
                <a:lnTo>
                  <a:pt x="237" y="305"/>
                </a:lnTo>
                <a:lnTo>
                  <a:pt x="236" y="338"/>
                </a:lnTo>
                <a:lnTo>
                  <a:pt x="234" y="370"/>
                </a:lnTo>
                <a:lnTo>
                  <a:pt x="228" y="403"/>
                </a:lnTo>
                <a:lnTo>
                  <a:pt x="222" y="436"/>
                </a:lnTo>
                <a:lnTo>
                  <a:pt x="214" y="464"/>
                </a:lnTo>
                <a:lnTo>
                  <a:pt x="203" y="493"/>
                </a:lnTo>
                <a:lnTo>
                  <a:pt x="190" y="522"/>
                </a:lnTo>
                <a:lnTo>
                  <a:pt x="174" y="547"/>
                </a:lnTo>
                <a:lnTo>
                  <a:pt x="155" y="545"/>
                </a:lnTo>
                <a:lnTo>
                  <a:pt x="136" y="543"/>
                </a:lnTo>
                <a:lnTo>
                  <a:pt x="117" y="543"/>
                </a:lnTo>
                <a:lnTo>
                  <a:pt x="97" y="541"/>
                </a:lnTo>
                <a:lnTo>
                  <a:pt x="97" y="551"/>
                </a:lnTo>
                <a:lnTo>
                  <a:pt x="97" y="560"/>
                </a:lnTo>
                <a:lnTo>
                  <a:pt x="88" y="564"/>
                </a:lnTo>
                <a:lnTo>
                  <a:pt x="80" y="568"/>
                </a:lnTo>
                <a:lnTo>
                  <a:pt x="84" y="583"/>
                </a:lnTo>
                <a:lnTo>
                  <a:pt x="88" y="601"/>
                </a:lnTo>
                <a:lnTo>
                  <a:pt x="78" y="580"/>
                </a:lnTo>
                <a:lnTo>
                  <a:pt x="69" y="560"/>
                </a:lnTo>
              </a:path>
            </a:pathLst>
          </a:custGeom>
          <a:solidFill>
            <a:schemeClr val="accent3"/>
          </a:solidFill>
          <a:ln w="12700">
            <a:solidFill>
              <a:schemeClr val="bg1"/>
            </a:solidFill>
            <a:round/>
            <a:headEnd/>
            <a:tailEnd/>
          </a:ln>
        </p:spPr>
        <p:txBody>
          <a:bodyPr/>
          <a:lstStyle/>
          <a:p>
            <a:endParaRPr lang="en-GB"/>
          </a:p>
        </p:txBody>
      </p:sp>
      <p:sp>
        <p:nvSpPr>
          <p:cNvPr id="88" name="Freeform 93"/>
          <p:cNvSpPr>
            <a:spLocks/>
          </p:cNvSpPr>
          <p:nvPr>
            <p:custDataLst>
              <p:tags r:id="rId69"/>
            </p:custDataLst>
          </p:nvPr>
        </p:nvSpPr>
        <p:spPr bwMode="auto">
          <a:xfrm>
            <a:off x="5280599" y="2361573"/>
            <a:ext cx="2015011" cy="2414947"/>
          </a:xfrm>
          <a:custGeom>
            <a:avLst/>
            <a:gdLst>
              <a:gd name="T0" fmla="*/ 2147483647 w 1479"/>
              <a:gd name="T1" fmla="*/ 2147483647 h 1836"/>
              <a:gd name="T2" fmla="*/ 2147483647 w 1479"/>
              <a:gd name="T3" fmla="*/ 2147483647 h 1836"/>
              <a:gd name="T4" fmla="*/ 2147483647 w 1479"/>
              <a:gd name="T5" fmla="*/ 2147483647 h 1836"/>
              <a:gd name="T6" fmla="*/ 2147483647 w 1479"/>
              <a:gd name="T7" fmla="*/ 2147483647 h 1836"/>
              <a:gd name="T8" fmla="*/ 2147483647 w 1479"/>
              <a:gd name="T9" fmla="*/ 2147483647 h 1836"/>
              <a:gd name="T10" fmla="*/ 2147483647 w 1479"/>
              <a:gd name="T11" fmla="*/ 2147483647 h 1836"/>
              <a:gd name="T12" fmla="*/ 2147483647 w 1479"/>
              <a:gd name="T13" fmla="*/ 2147483647 h 1836"/>
              <a:gd name="T14" fmla="*/ 2147483647 w 1479"/>
              <a:gd name="T15" fmla="*/ 2147483647 h 1836"/>
              <a:gd name="T16" fmla="*/ 2147483647 w 1479"/>
              <a:gd name="T17" fmla="*/ 2147483647 h 1836"/>
              <a:gd name="T18" fmla="*/ 2147483647 w 1479"/>
              <a:gd name="T19" fmla="*/ 2147483647 h 1836"/>
              <a:gd name="T20" fmla="*/ 2147483647 w 1479"/>
              <a:gd name="T21" fmla="*/ 2147483647 h 1836"/>
              <a:gd name="T22" fmla="*/ 2147483647 w 1479"/>
              <a:gd name="T23" fmla="*/ 2147483647 h 1836"/>
              <a:gd name="T24" fmla="*/ 2147483647 w 1479"/>
              <a:gd name="T25" fmla="*/ 2147483647 h 1836"/>
              <a:gd name="T26" fmla="*/ 2147483647 w 1479"/>
              <a:gd name="T27" fmla="*/ 2147483647 h 1836"/>
              <a:gd name="T28" fmla="*/ 2147483647 w 1479"/>
              <a:gd name="T29" fmla="*/ 2147483647 h 1836"/>
              <a:gd name="T30" fmla="*/ 2147483647 w 1479"/>
              <a:gd name="T31" fmla="*/ 2147483647 h 1836"/>
              <a:gd name="T32" fmla="*/ 2147483647 w 1479"/>
              <a:gd name="T33" fmla="*/ 2147483647 h 1836"/>
              <a:gd name="T34" fmla="*/ 2147483647 w 1479"/>
              <a:gd name="T35" fmla="*/ 2147483647 h 1836"/>
              <a:gd name="T36" fmla="*/ 2147483647 w 1479"/>
              <a:gd name="T37" fmla="*/ 2147483647 h 1836"/>
              <a:gd name="T38" fmla="*/ 2147483647 w 1479"/>
              <a:gd name="T39" fmla="*/ 2147483647 h 1836"/>
              <a:gd name="T40" fmla="*/ 2147483647 w 1479"/>
              <a:gd name="T41" fmla="*/ 2147483647 h 1836"/>
              <a:gd name="T42" fmla="*/ 2147483647 w 1479"/>
              <a:gd name="T43" fmla="*/ 2147483647 h 1836"/>
              <a:gd name="T44" fmla="*/ 2147483647 w 1479"/>
              <a:gd name="T45" fmla="*/ 2147483647 h 1836"/>
              <a:gd name="T46" fmla="*/ 2147483647 w 1479"/>
              <a:gd name="T47" fmla="*/ 2147483647 h 1836"/>
              <a:gd name="T48" fmla="*/ 2147483647 w 1479"/>
              <a:gd name="T49" fmla="*/ 2147483647 h 1836"/>
              <a:gd name="T50" fmla="*/ 2147483647 w 1479"/>
              <a:gd name="T51" fmla="*/ 2147483647 h 1836"/>
              <a:gd name="T52" fmla="*/ 2147483647 w 1479"/>
              <a:gd name="T53" fmla="*/ 2147483647 h 1836"/>
              <a:gd name="T54" fmla="*/ 2147483647 w 1479"/>
              <a:gd name="T55" fmla="*/ 2147483647 h 1836"/>
              <a:gd name="T56" fmla="*/ 2147483647 w 1479"/>
              <a:gd name="T57" fmla="*/ 2147483647 h 1836"/>
              <a:gd name="T58" fmla="*/ 2147483647 w 1479"/>
              <a:gd name="T59" fmla="*/ 2147483647 h 1836"/>
              <a:gd name="T60" fmla="*/ 2147483647 w 1479"/>
              <a:gd name="T61" fmla="*/ 2147483647 h 1836"/>
              <a:gd name="T62" fmla="*/ 2147483647 w 1479"/>
              <a:gd name="T63" fmla="*/ 2147483647 h 1836"/>
              <a:gd name="T64" fmla="*/ 2147483647 w 1479"/>
              <a:gd name="T65" fmla="*/ 2147483647 h 1836"/>
              <a:gd name="T66" fmla="*/ 2147483647 w 1479"/>
              <a:gd name="T67" fmla="*/ 2147483647 h 1836"/>
              <a:gd name="T68" fmla="*/ 2147483647 w 1479"/>
              <a:gd name="T69" fmla="*/ 2147483647 h 1836"/>
              <a:gd name="T70" fmla="*/ 2147483647 w 1479"/>
              <a:gd name="T71" fmla="*/ 2147483647 h 1836"/>
              <a:gd name="T72" fmla="*/ 2147483647 w 1479"/>
              <a:gd name="T73" fmla="*/ 2147483647 h 1836"/>
              <a:gd name="T74" fmla="*/ 2147483647 w 1479"/>
              <a:gd name="T75" fmla="*/ 2147483647 h 1836"/>
              <a:gd name="T76" fmla="*/ 2147483647 w 1479"/>
              <a:gd name="T77" fmla="*/ 2147483647 h 1836"/>
              <a:gd name="T78" fmla="*/ 2147483647 w 1479"/>
              <a:gd name="T79" fmla="*/ 2147483647 h 1836"/>
              <a:gd name="T80" fmla="*/ 2147483647 w 1479"/>
              <a:gd name="T81" fmla="*/ 2147483647 h 1836"/>
              <a:gd name="T82" fmla="*/ 2147483647 w 1479"/>
              <a:gd name="T83" fmla="*/ 2147483647 h 1836"/>
              <a:gd name="T84" fmla="*/ 2147483647 w 1479"/>
              <a:gd name="T85" fmla="*/ 2147483647 h 1836"/>
              <a:gd name="T86" fmla="*/ 2147483647 w 1479"/>
              <a:gd name="T87" fmla="*/ 2147483647 h 1836"/>
              <a:gd name="T88" fmla="*/ 2147483647 w 1479"/>
              <a:gd name="T89" fmla="*/ 2147483647 h 1836"/>
              <a:gd name="T90" fmla="*/ 2147483647 w 1479"/>
              <a:gd name="T91" fmla="*/ 2147483647 h 1836"/>
              <a:gd name="T92" fmla="*/ 2147483647 w 1479"/>
              <a:gd name="T93" fmla="*/ 2147483647 h 1836"/>
              <a:gd name="T94" fmla="*/ 2147483647 w 1479"/>
              <a:gd name="T95" fmla="*/ 2147483647 h 1836"/>
              <a:gd name="T96" fmla="*/ 2147483647 w 1479"/>
              <a:gd name="T97" fmla="*/ 2147483647 h 1836"/>
              <a:gd name="T98" fmla="*/ 2147483647 w 1479"/>
              <a:gd name="T99" fmla="*/ 2147483647 h 1836"/>
              <a:gd name="T100" fmla="*/ 2147483647 w 1479"/>
              <a:gd name="T101" fmla="*/ 2147483647 h 1836"/>
              <a:gd name="T102" fmla="*/ 2147483647 w 1479"/>
              <a:gd name="T103" fmla="*/ 2147483647 h 1836"/>
              <a:gd name="T104" fmla="*/ 2147483647 w 1479"/>
              <a:gd name="T105" fmla="*/ 2147483647 h 1836"/>
              <a:gd name="T106" fmla="*/ 2147483647 w 1479"/>
              <a:gd name="T107" fmla="*/ 2147483647 h 1836"/>
              <a:gd name="T108" fmla="*/ 2147483647 w 1479"/>
              <a:gd name="T109" fmla="*/ 2147483647 h 1836"/>
              <a:gd name="T110" fmla="*/ 2147483647 w 1479"/>
              <a:gd name="T111" fmla="*/ 2147483647 h 1836"/>
              <a:gd name="T112" fmla="*/ 2147483647 w 1479"/>
              <a:gd name="T113" fmla="*/ 2147483647 h 1836"/>
              <a:gd name="T114" fmla="*/ 2147483647 w 1479"/>
              <a:gd name="T115" fmla="*/ 2147483647 h 1836"/>
              <a:gd name="T116" fmla="*/ 2147483647 w 1479"/>
              <a:gd name="T117" fmla="*/ 2147483647 h 1836"/>
              <a:gd name="T118" fmla="*/ 2147483647 w 1479"/>
              <a:gd name="T119" fmla="*/ 2147483647 h 1836"/>
              <a:gd name="T120" fmla="*/ 2147483647 w 1479"/>
              <a:gd name="T121" fmla="*/ 2147483647 h 1836"/>
              <a:gd name="T122" fmla="*/ 2147483647 w 1479"/>
              <a:gd name="T123" fmla="*/ 2147483647 h 1836"/>
              <a:gd name="T124" fmla="*/ 2147483647 w 1479"/>
              <a:gd name="T125" fmla="*/ 2147483647 h 18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479"/>
              <a:gd name="T190" fmla="*/ 0 h 1836"/>
              <a:gd name="T191" fmla="*/ 1479 w 1479"/>
              <a:gd name="T192" fmla="*/ 1836 h 18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479" h="1836">
                <a:moveTo>
                  <a:pt x="1410" y="831"/>
                </a:moveTo>
                <a:lnTo>
                  <a:pt x="1414" y="841"/>
                </a:lnTo>
                <a:lnTo>
                  <a:pt x="1416" y="850"/>
                </a:lnTo>
                <a:lnTo>
                  <a:pt x="1418" y="852"/>
                </a:lnTo>
                <a:lnTo>
                  <a:pt x="1421" y="856"/>
                </a:lnTo>
                <a:lnTo>
                  <a:pt x="1423" y="862"/>
                </a:lnTo>
                <a:lnTo>
                  <a:pt x="1425" y="869"/>
                </a:lnTo>
                <a:lnTo>
                  <a:pt x="1427" y="873"/>
                </a:lnTo>
                <a:lnTo>
                  <a:pt x="1431" y="875"/>
                </a:lnTo>
                <a:lnTo>
                  <a:pt x="1435" y="892"/>
                </a:lnTo>
                <a:lnTo>
                  <a:pt x="1441" y="908"/>
                </a:lnTo>
                <a:lnTo>
                  <a:pt x="1423" y="908"/>
                </a:lnTo>
                <a:lnTo>
                  <a:pt x="1414" y="910"/>
                </a:lnTo>
                <a:lnTo>
                  <a:pt x="1412" y="910"/>
                </a:lnTo>
                <a:lnTo>
                  <a:pt x="1410" y="913"/>
                </a:lnTo>
                <a:lnTo>
                  <a:pt x="1408" y="915"/>
                </a:lnTo>
                <a:lnTo>
                  <a:pt x="1406" y="917"/>
                </a:lnTo>
                <a:lnTo>
                  <a:pt x="1398" y="921"/>
                </a:lnTo>
                <a:lnTo>
                  <a:pt x="1393" y="923"/>
                </a:lnTo>
                <a:lnTo>
                  <a:pt x="1389" y="925"/>
                </a:lnTo>
                <a:lnTo>
                  <a:pt x="1387" y="929"/>
                </a:lnTo>
                <a:lnTo>
                  <a:pt x="1385" y="935"/>
                </a:lnTo>
                <a:lnTo>
                  <a:pt x="1381" y="942"/>
                </a:lnTo>
                <a:lnTo>
                  <a:pt x="1379" y="944"/>
                </a:lnTo>
                <a:lnTo>
                  <a:pt x="1377" y="948"/>
                </a:lnTo>
                <a:lnTo>
                  <a:pt x="1356" y="948"/>
                </a:lnTo>
                <a:lnTo>
                  <a:pt x="1335" y="950"/>
                </a:lnTo>
                <a:lnTo>
                  <a:pt x="1316" y="952"/>
                </a:lnTo>
                <a:lnTo>
                  <a:pt x="1295" y="952"/>
                </a:lnTo>
                <a:lnTo>
                  <a:pt x="1293" y="954"/>
                </a:lnTo>
                <a:lnTo>
                  <a:pt x="1289" y="958"/>
                </a:lnTo>
                <a:lnTo>
                  <a:pt x="1289" y="977"/>
                </a:lnTo>
                <a:lnTo>
                  <a:pt x="1289" y="996"/>
                </a:lnTo>
                <a:lnTo>
                  <a:pt x="1293" y="998"/>
                </a:lnTo>
                <a:lnTo>
                  <a:pt x="1295" y="1000"/>
                </a:lnTo>
                <a:lnTo>
                  <a:pt x="1297" y="1013"/>
                </a:lnTo>
                <a:lnTo>
                  <a:pt x="1300" y="1025"/>
                </a:lnTo>
                <a:lnTo>
                  <a:pt x="1302" y="1027"/>
                </a:lnTo>
                <a:lnTo>
                  <a:pt x="1304" y="1029"/>
                </a:lnTo>
                <a:lnTo>
                  <a:pt x="1304" y="1054"/>
                </a:lnTo>
                <a:lnTo>
                  <a:pt x="1304" y="1079"/>
                </a:lnTo>
                <a:lnTo>
                  <a:pt x="1302" y="1080"/>
                </a:lnTo>
                <a:lnTo>
                  <a:pt x="1300" y="1082"/>
                </a:lnTo>
                <a:lnTo>
                  <a:pt x="1300" y="1102"/>
                </a:lnTo>
                <a:lnTo>
                  <a:pt x="1300" y="1121"/>
                </a:lnTo>
                <a:lnTo>
                  <a:pt x="1302" y="1125"/>
                </a:lnTo>
                <a:lnTo>
                  <a:pt x="1304" y="1126"/>
                </a:lnTo>
                <a:lnTo>
                  <a:pt x="1306" y="1138"/>
                </a:lnTo>
                <a:lnTo>
                  <a:pt x="1310" y="1149"/>
                </a:lnTo>
                <a:lnTo>
                  <a:pt x="1312" y="1153"/>
                </a:lnTo>
                <a:lnTo>
                  <a:pt x="1314" y="1155"/>
                </a:lnTo>
                <a:lnTo>
                  <a:pt x="1316" y="1157"/>
                </a:lnTo>
                <a:lnTo>
                  <a:pt x="1320" y="1161"/>
                </a:lnTo>
                <a:lnTo>
                  <a:pt x="1322" y="1163"/>
                </a:lnTo>
                <a:lnTo>
                  <a:pt x="1323" y="1165"/>
                </a:lnTo>
                <a:lnTo>
                  <a:pt x="1325" y="1167"/>
                </a:lnTo>
                <a:lnTo>
                  <a:pt x="1329" y="1171"/>
                </a:lnTo>
                <a:lnTo>
                  <a:pt x="1331" y="1173"/>
                </a:lnTo>
                <a:lnTo>
                  <a:pt x="1333" y="1174"/>
                </a:lnTo>
                <a:lnTo>
                  <a:pt x="1335" y="1176"/>
                </a:lnTo>
                <a:lnTo>
                  <a:pt x="1339" y="1180"/>
                </a:lnTo>
                <a:lnTo>
                  <a:pt x="1341" y="1182"/>
                </a:lnTo>
                <a:lnTo>
                  <a:pt x="1343" y="1184"/>
                </a:lnTo>
                <a:lnTo>
                  <a:pt x="1348" y="1203"/>
                </a:lnTo>
                <a:lnTo>
                  <a:pt x="1352" y="1222"/>
                </a:lnTo>
                <a:lnTo>
                  <a:pt x="1350" y="1226"/>
                </a:lnTo>
                <a:lnTo>
                  <a:pt x="1348" y="1228"/>
                </a:lnTo>
                <a:lnTo>
                  <a:pt x="1345" y="1249"/>
                </a:lnTo>
                <a:lnTo>
                  <a:pt x="1343" y="1270"/>
                </a:lnTo>
                <a:lnTo>
                  <a:pt x="1341" y="1274"/>
                </a:lnTo>
                <a:lnTo>
                  <a:pt x="1339" y="1276"/>
                </a:lnTo>
                <a:lnTo>
                  <a:pt x="1335" y="1278"/>
                </a:lnTo>
                <a:lnTo>
                  <a:pt x="1333" y="1282"/>
                </a:lnTo>
                <a:lnTo>
                  <a:pt x="1331" y="1284"/>
                </a:lnTo>
                <a:lnTo>
                  <a:pt x="1329" y="1286"/>
                </a:lnTo>
                <a:lnTo>
                  <a:pt x="1318" y="1288"/>
                </a:lnTo>
                <a:lnTo>
                  <a:pt x="1304" y="1291"/>
                </a:lnTo>
                <a:lnTo>
                  <a:pt x="1302" y="1293"/>
                </a:lnTo>
                <a:lnTo>
                  <a:pt x="1300" y="1295"/>
                </a:lnTo>
                <a:lnTo>
                  <a:pt x="1297" y="1297"/>
                </a:lnTo>
                <a:lnTo>
                  <a:pt x="1295" y="1299"/>
                </a:lnTo>
                <a:lnTo>
                  <a:pt x="1293" y="1303"/>
                </a:lnTo>
                <a:lnTo>
                  <a:pt x="1289" y="1305"/>
                </a:lnTo>
                <a:lnTo>
                  <a:pt x="1287" y="1322"/>
                </a:lnTo>
                <a:lnTo>
                  <a:pt x="1285" y="1339"/>
                </a:lnTo>
                <a:lnTo>
                  <a:pt x="1283" y="1341"/>
                </a:lnTo>
                <a:lnTo>
                  <a:pt x="1281" y="1343"/>
                </a:lnTo>
                <a:lnTo>
                  <a:pt x="1274" y="1345"/>
                </a:lnTo>
                <a:lnTo>
                  <a:pt x="1266" y="1349"/>
                </a:lnTo>
                <a:lnTo>
                  <a:pt x="1264" y="1351"/>
                </a:lnTo>
                <a:lnTo>
                  <a:pt x="1260" y="1353"/>
                </a:lnTo>
                <a:lnTo>
                  <a:pt x="1258" y="1357"/>
                </a:lnTo>
                <a:lnTo>
                  <a:pt x="1256" y="1359"/>
                </a:lnTo>
                <a:lnTo>
                  <a:pt x="1254" y="1361"/>
                </a:lnTo>
                <a:lnTo>
                  <a:pt x="1251" y="1364"/>
                </a:lnTo>
                <a:lnTo>
                  <a:pt x="1249" y="1366"/>
                </a:lnTo>
                <a:lnTo>
                  <a:pt x="1247" y="1368"/>
                </a:lnTo>
                <a:lnTo>
                  <a:pt x="1245" y="1370"/>
                </a:lnTo>
                <a:lnTo>
                  <a:pt x="1243" y="1372"/>
                </a:lnTo>
                <a:lnTo>
                  <a:pt x="1233" y="1376"/>
                </a:lnTo>
                <a:lnTo>
                  <a:pt x="1228" y="1378"/>
                </a:lnTo>
                <a:lnTo>
                  <a:pt x="1224" y="1380"/>
                </a:lnTo>
                <a:lnTo>
                  <a:pt x="1222" y="1382"/>
                </a:lnTo>
                <a:lnTo>
                  <a:pt x="1222" y="1407"/>
                </a:lnTo>
                <a:lnTo>
                  <a:pt x="1222" y="1432"/>
                </a:lnTo>
                <a:lnTo>
                  <a:pt x="1224" y="1433"/>
                </a:lnTo>
                <a:lnTo>
                  <a:pt x="1228" y="1435"/>
                </a:lnTo>
                <a:lnTo>
                  <a:pt x="1228" y="1460"/>
                </a:lnTo>
                <a:lnTo>
                  <a:pt x="1228" y="1483"/>
                </a:lnTo>
                <a:lnTo>
                  <a:pt x="1224" y="1487"/>
                </a:lnTo>
                <a:lnTo>
                  <a:pt x="1222" y="1489"/>
                </a:lnTo>
                <a:lnTo>
                  <a:pt x="1214" y="1491"/>
                </a:lnTo>
                <a:lnTo>
                  <a:pt x="1208" y="1493"/>
                </a:lnTo>
                <a:lnTo>
                  <a:pt x="1214" y="1501"/>
                </a:lnTo>
                <a:lnTo>
                  <a:pt x="1222" y="1508"/>
                </a:lnTo>
                <a:lnTo>
                  <a:pt x="1224" y="1510"/>
                </a:lnTo>
                <a:lnTo>
                  <a:pt x="1228" y="1514"/>
                </a:lnTo>
                <a:lnTo>
                  <a:pt x="1233" y="1516"/>
                </a:lnTo>
                <a:lnTo>
                  <a:pt x="1243" y="1518"/>
                </a:lnTo>
                <a:lnTo>
                  <a:pt x="1245" y="1520"/>
                </a:lnTo>
                <a:lnTo>
                  <a:pt x="1247" y="1524"/>
                </a:lnTo>
                <a:lnTo>
                  <a:pt x="1251" y="1533"/>
                </a:lnTo>
                <a:lnTo>
                  <a:pt x="1256" y="1543"/>
                </a:lnTo>
                <a:lnTo>
                  <a:pt x="1254" y="1545"/>
                </a:lnTo>
                <a:lnTo>
                  <a:pt x="1251" y="1547"/>
                </a:lnTo>
                <a:lnTo>
                  <a:pt x="1251" y="1562"/>
                </a:lnTo>
                <a:lnTo>
                  <a:pt x="1251" y="1575"/>
                </a:lnTo>
                <a:lnTo>
                  <a:pt x="1254" y="1577"/>
                </a:lnTo>
                <a:lnTo>
                  <a:pt x="1256" y="1581"/>
                </a:lnTo>
                <a:lnTo>
                  <a:pt x="1264" y="1583"/>
                </a:lnTo>
                <a:lnTo>
                  <a:pt x="1272" y="1585"/>
                </a:lnTo>
                <a:lnTo>
                  <a:pt x="1274" y="1587"/>
                </a:lnTo>
                <a:lnTo>
                  <a:pt x="1276" y="1591"/>
                </a:lnTo>
                <a:lnTo>
                  <a:pt x="1283" y="1593"/>
                </a:lnTo>
                <a:lnTo>
                  <a:pt x="1289" y="1597"/>
                </a:lnTo>
                <a:lnTo>
                  <a:pt x="1293" y="1598"/>
                </a:lnTo>
                <a:lnTo>
                  <a:pt x="1295" y="1600"/>
                </a:lnTo>
                <a:lnTo>
                  <a:pt x="1297" y="1622"/>
                </a:lnTo>
                <a:lnTo>
                  <a:pt x="1300" y="1645"/>
                </a:lnTo>
                <a:lnTo>
                  <a:pt x="1302" y="1646"/>
                </a:lnTo>
                <a:lnTo>
                  <a:pt x="1304" y="1648"/>
                </a:lnTo>
                <a:lnTo>
                  <a:pt x="1306" y="1650"/>
                </a:lnTo>
                <a:lnTo>
                  <a:pt x="1310" y="1654"/>
                </a:lnTo>
                <a:lnTo>
                  <a:pt x="1312" y="1656"/>
                </a:lnTo>
                <a:lnTo>
                  <a:pt x="1314" y="1658"/>
                </a:lnTo>
                <a:lnTo>
                  <a:pt x="1316" y="1660"/>
                </a:lnTo>
                <a:lnTo>
                  <a:pt x="1320" y="1664"/>
                </a:lnTo>
                <a:lnTo>
                  <a:pt x="1322" y="1666"/>
                </a:lnTo>
                <a:lnTo>
                  <a:pt x="1323" y="1668"/>
                </a:lnTo>
                <a:lnTo>
                  <a:pt x="1323" y="1673"/>
                </a:lnTo>
                <a:lnTo>
                  <a:pt x="1323" y="1677"/>
                </a:lnTo>
                <a:lnTo>
                  <a:pt x="1322" y="1679"/>
                </a:lnTo>
                <a:lnTo>
                  <a:pt x="1320" y="1683"/>
                </a:lnTo>
                <a:lnTo>
                  <a:pt x="1306" y="1685"/>
                </a:lnTo>
                <a:lnTo>
                  <a:pt x="1295" y="1687"/>
                </a:lnTo>
                <a:lnTo>
                  <a:pt x="1293" y="1689"/>
                </a:lnTo>
                <a:lnTo>
                  <a:pt x="1289" y="1693"/>
                </a:lnTo>
                <a:lnTo>
                  <a:pt x="1277" y="1698"/>
                </a:lnTo>
                <a:lnTo>
                  <a:pt x="1266" y="1706"/>
                </a:lnTo>
                <a:lnTo>
                  <a:pt x="1264" y="1710"/>
                </a:lnTo>
                <a:lnTo>
                  <a:pt x="1260" y="1712"/>
                </a:lnTo>
                <a:lnTo>
                  <a:pt x="1258" y="1714"/>
                </a:lnTo>
                <a:lnTo>
                  <a:pt x="1256" y="1716"/>
                </a:lnTo>
                <a:lnTo>
                  <a:pt x="1254" y="1719"/>
                </a:lnTo>
                <a:lnTo>
                  <a:pt x="1251" y="1721"/>
                </a:lnTo>
                <a:lnTo>
                  <a:pt x="1249" y="1723"/>
                </a:lnTo>
                <a:lnTo>
                  <a:pt x="1247" y="1725"/>
                </a:lnTo>
                <a:lnTo>
                  <a:pt x="1245" y="1729"/>
                </a:lnTo>
                <a:lnTo>
                  <a:pt x="1243" y="1731"/>
                </a:lnTo>
                <a:lnTo>
                  <a:pt x="1239" y="1733"/>
                </a:lnTo>
                <a:lnTo>
                  <a:pt x="1237" y="1735"/>
                </a:lnTo>
                <a:lnTo>
                  <a:pt x="1233" y="1739"/>
                </a:lnTo>
                <a:lnTo>
                  <a:pt x="1231" y="1740"/>
                </a:lnTo>
                <a:lnTo>
                  <a:pt x="1229" y="1742"/>
                </a:lnTo>
                <a:lnTo>
                  <a:pt x="1228" y="1746"/>
                </a:lnTo>
                <a:lnTo>
                  <a:pt x="1224" y="1748"/>
                </a:lnTo>
                <a:lnTo>
                  <a:pt x="1222" y="1750"/>
                </a:lnTo>
                <a:lnTo>
                  <a:pt x="1220" y="1752"/>
                </a:lnTo>
                <a:lnTo>
                  <a:pt x="1218" y="1756"/>
                </a:lnTo>
                <a:lnTo>
                  <a:pt x="1216" y="1758"/>
                </a:lnTo>
                <a:lnTo>
                  <a:pt x="1212" y="1760"/>
                </a:lnTo>
                <a:lnTo>
                  <a:pt x="1201" y="1762"/>
                </a:lnTo>
                <a:lnTo>
                  <a:pt x="1189" y="1763"/>
                </a:lnTo>
                <a:lnTo>
                  <a:pt x="1185" y="1767"/>
                </a:lnTo>
                <a:lnTo>
                  <a:pt x="1183" y="1769"/>
                </a:lnTo>
                <a:lnTo>
                  <a:pt x="1176" y="1771"/>
                </a:lnTo>
                <a:lnTo>
                  <a:pt x="1170" y="1775"/>
                </a:lnTo>
                <a:lnTo>
                  <a:pt x="1166" y="1777"/>
                </a:lnTo>
                <a:lnTo>
                  <a:pt x="1164" y="1779"/>
                </a:lnTo>
                <a:lnTo>
                  <a:pt x="1162" y="1781"/>
                </a:lnTo>
                <a:lnTo>
                  <a:pt x="1160" y="1785"/>
                </a:lnTo>
                <a:lnTo>
                  <a:pt x="1157" y="1787"/>
                </a:lnTo>
                <a:lnTo>
                  <a:pt x="1155" y="1788"/>
                </a:lnTo>
                <a:lnTo>
                  <a:pt x="1153" y="1790"/>
                </a:lnTo>
                <a:lnTo>
                  <a:pt x="1149" y="1794"/>
                </a:lnTo>
                <a:lnTo>
                  <a:pt x="1147" y="1796"/>
                </a:lnTo>
                <a:lnTo>
                  <a:pt x="1145" y="1798"/>
                </a:lnTo>
                <a:lnTo>
                  <a:pt x="1137" y="1802"/>
                </a:lnTo>
                <a:lnTo>
                  <a:pt x="1130" y="1804"/>
                </a:lnTo>
                <a:lnTo>
                  <a:pt x="1128" y="1806"/>
                </a:lnTo>
                <a:lnTo>
                  <a:pt x="1126" y="1808"/>
                </a:lnTo>
                <a:lnTo>
                  <a:pt x="1114" y="1810"/>
                </a:lnTo>
                <a:lnTo>
                  <a:pt x="1101" y="1813"/>
                </a:lnTo>
                <a:lnTo>
                  <a:pt x="1099" y="1815"/>
                </a:lnTo>
                <a:lnTo>
                  <a:pt x="1097" y="1817"/>
                </a:lnTo>
                <a:lnTo>
                  <a:pt x="1080" y="1819"/>
                </a:lnTo>
                <a:lnTo>
                  <a:pt x="1063" y="1823"/>
                </a:lnTo>
                <a:lnTo>
                  <a:pt x="1061" y="1825"/>
                </a:lnTo>
                <a:lnTo>
                  <a:pt x="1059" y="1827"/>
                </a:lnTo>
                <a:lnTo>
                  <a:pt x="1049" y="1827"/>
                </a:lnTo>
                <a:lnTo>
                  <a:pt x="1040" y="1827"/>
                </a:lnTo>
                <a:lnTo>
                  <a:pt x="1036" y="1825"/>
                </a:lnTo>
                <a:lnTo>
                  <a:pt x="1034" y="1823"/>
                </a:lnTo>
                <a:lnTo>
                  <a:pt x="1026" y="1819"/>
                </a:lnTo>
                <a:lnTo>
                  <a:pt x="1018" y="1817"/>
                </a:lnTo>
                <a:lnTo>
                  <a:pt x="1017" y="1815"/>
                </a:lnTo>
                <a:lnTo>
                  <a:pt x="1015" y="1813"/>
                </a:lnTo>
                <a:lnTo>
                  <a:pt x="1007" y="1810"/>
                </a:lnTo>
                <a:lnTo>
                  <a:pt x="999" y="1808"/>
                </a:lnTo>
                <a:lnTo>
                  <a:pt x="997" y="1806"/>
                </a:lnTo>
                <a:lnTo>
                  <a:pt x="995" y="1804"/>
                </a:lnTo>
                <a:lnTo>
                  <a:pt x="990" y="1804"/>
                </a:lnTo>
                <a:lnTo>
                  <a:pt x="986" y="1804"/>
                </a:lnTo>
                <a:lnTo>
                  <a:pt x="984" y="1806"/>
                </a:lnTo>
                <a:lnTo>
                  <a:pt x="980" y="1808"/>
                </a:lnTo>
                <a:lnTo>
                  <a:pt x="965" y="1810"/>
                </a:lnTo>
                <a:lnTo>
                  <a:pt x="949" y="1810"/>
                </a:lnTo>
                <a:lnTo>
                  <a:pt x="934" y="1811"/>
                </a:lnTo>
                <a:lnTo>
                  <a:pt x="917" y="1813"/>
                </a:lnTo>
                <a:lnTo>
                  <a:pt x="915" y="1815"/>
                </a:lnTo>
                <a:lnTo>
                  <a:pt x="913" y="1817"/>
                </a:lnTo>
                <a:lnTo>
                  <a:pt x="898" y="1817"/>
                </a:lnTo>
                <a:lnTo>
                  <a:pt x="884" y="1817"/>
                </a:lnTo>
                <a:lnTo>
                  <a:pt x="880" y="1815"/>
                </a:lnTo>
                <a:lnTo>
                  <a:pt x="878" y="1813"/>
                </a:lnTo>
                <a:lnTo>
                  <a:pt x="869" y="1813"/>
                </a:lnTo>
                <a:lnTo>
                  <a:pt x="859" y="1813"/>
                </a:lnTo>
                <a:lnTo>
                  <a:pt x="857" y="1815"/>
                </a:lnTo>
                <a:lnTo>
                  <a:pt x="855" y="1817"/>
                </a:lnTo>
                <a:lnTo>
                  <a:pt x="848" y="1819"/>
                </a:lnTo>
                <a:lnTo>
                  <a:pt x="840" y="1823"/>
                </a:lnTo>
                <a:lnTo>
                  <a:pt x="838" y="1825"/>
                </a:lnTo>
                <a:lnTo>
                  <a:pt x="836" y="1827"/>
                </a:lnTo>
                <a:lnTo>
                  <a:pt x="832" y="1831"/>
                </a:lnTo>
                <a:lnTo>
                  <a:pt x="830" y="1833"/>
                </a:lnTo>
                <a:lnTo>
                  <a:pt x="828" y="1834"/>
                </a:lnTo>
                <a:lnTo>
                  <a:pt x="827" y="1836"/>
                </a:lnTo>
                <a:lnTo>
                  <a:pt x="817" y="1836"/>
                </a:lnTo>
                <a:lnTo>
                  <a:pt x="807" y="1836"/>
                </a:lnTo>
                <a:lnTo>
                  <a:pt x="804" y="1834"/>
                </a:lnTo>
                <a:lnTo>
                  <a:pt x="802" y="1833"/>
                </a:lnTo>
                <a:lnTo>
                  <a:pt x="800" y="1831"/>
                </a:lnTo>
                <a:lnTo>
                  <a:pt x="796" y="1827"/>
                </a:lnTo>
                <a:lnTo>
                  <a:pt x="794" y="1825"/>
                </a:lnTo>
                <a:lnTo>
                  <a:pt x="792" y="1823"/>
                </a:lnTo>
                <a:lnTo>
                  <a:pt x="790" y="1819"/>
                </a:lnTo>
                <a:lnTo>
                  <a:pt x="786" y="1817"/>
                </a:lnTo>
                <a:lnTo>
                  <a:pt x="784" y="1815"/>
                </a:lnTo>
                <a:lnTo>
                  <a:pt x="782" y="1813"/>
                </a:lnTo>
                <a:lnTo>
                  <a:pt x="781" y="1806"/>
                </a:lnTo>
                <a:lnTo>
                  <a:pt x="779" y="1798"/>
                </a:lnTo>
                <a:lnTo>
                  <a:pt x="775" y="1796"/>
                </a:lnTo>
                <a:lnTo>
                  <a:pt x="773" y="1794"/>
                </a:lnTo>
                <a:lnTo>
                  <a:pt x="771" y="1790"/>
                </a:lnTo>
                <a:lnTo>
                  <a:pt x="767" y="1788"/>
                </a:lnTo>
                <a:lnTo>
                  <a:pt x="765" y="1787"/>
                </a:lnTo>
                <a:lnTo>
                  <a:pt x="763" y="1785"/>
                </a:lnTo>
                <a:lnTo>
                  <a:pt x="759" y="1777"/>
                </a:lnTo>
                <a:lnTo>
                  <a:pt x="757" y="1769"/>
                </a:lnTo>
                <a:lnTo>
                  <a:pt x="756" y="1767"/>
                </a:lnTo>
                <a:lnTo>
                  <a:pt x="754" y="1763"/>
                </a:lnTo>
                <a:lnTo>
                  <a:pt x="752" y="1762"/>
                </a:lnTo>
                <a:lnTo>
                  <a:pt x="748" y="1760"/>
                </a:lnTo>
                <a:lnTo>
                  <a:pt x="746" y="1758"/>
                </a:lnTo>
                <a:lnTo>
                  <a:pt x="744" y="1756"/>
                </a:lnTo>
                <a:lnTo>
                  <a:pt x="740" y="1752"/>
                </a:lnTo>
                <a:lnTo>
                  <a:pt x="738" y="1750"/>
                </a:lnTo>
                <a:lnTo>
                  <a:pt x="736" y="1748"/>
                </a:lnTo>
                <a:lnTo>
                  <a:pt x="734" y="1746"/>
                </a:lnTo>
                <a:lnTo>
                  <a:pt x="727" y="1739"/>
                </a:lnTo>
                <a:lnTo>
                  <a:pt x="719" y="1731"/>
                </a:lnTo>
                <a:lnTo>
                  <a:pt x="717" y="1729"/>
                </a:lnTo>
                <a:lnTo>
                  <a:pt x="715" y="1725"/>
                </a:lnTo>
                <a:lnTo>
                  <a:pt x="711" y="1723"/>
                </a:lnTo>
                <a:lnTo>
                  <a:pt x="710" y="1721"/>
                </a:lnTo>
                <a:lnTo>
                  <a:pt x="708" y="1719"/>
                </a:lnTo>
                <a:lnTo>
                  <a:pt x="706" y="1716"/>
                </a:lnTo>
                <a:lnTo>
                  <a:pt x="702" y="1714"/>
                </a:lnTo>
                <a:lnTo>
                  <a:pt x="700" y="1712"/>
                </a:lnTo>
                <a:lnTo>
                  <a:pt x="698" y="1710"/>
                </a:lnTo>
                <a:lnTo>
                  <a:pt x="696" y="1706"/>
                </a:lnTo>
                <a:lnTo>
                  <a:pt x="692" y="1704"/>
                </a:lnTo>
                <a:lnTo>
                  <a:pt x="690" y="1702"/>
                </a:lnTo>
                <a:lnTo>
                  <a:pt x="688" y="1698"/>
                </a:lnTo>
                <a:lnTo>
                  <a:pt x="686" y="1696"/>
                </a:lnTo>
                <a:lnTo>
                  <a:pt x="683" y="1685"/>
                </a:lnTo>
                <a:lnTo>
                  <a:pt x="681" y="1673"/>
                </a:lnTo>
                <a:lnTo>
                  <a:pt x="679" y="1669"/>
                </a:lnTo>
                <a:lnTo>
                  <a:pt x="675" y="1668"/>
                </a:lnTo>
                <a:lnTo>
                  <a:pt x="671" y="1668"/>
                </a:lnTo>
                <a:lnTo>
                  <a:pt x="665" y="1668"/>
                </a:lnTo>
                <a:lnTo>
                  <a:pt x="663" y="1669"/>
                </a:lnTo>
                <a:lnTo>
                  <a:pt x="662" y="1673"/>
                </a:lnTo>
                <a:lnTo>
                  <a:pt x="660" y="1675"/>
                </a:lnTo>
                <a:lnTo>
                  <a:pt x="658" y="1677"/>
                </a:lnTo>
                <a:lnTo>
                  <a:pt x="654" y="1679"/>
                </a:lnTo>
                <a:lnTo>
                  <a:pt x="652" y="1683"/>
                </a:lnTo>
                <a:lnTo>
                  <a:pt x="648" y="1685"/>
                </a:lnTo>
                <a:lnTo>
                  <a:pt x="646" y="1687"/>
                </a:lnTo>
                <a:lnTo>
                  <a:pt x="644" y="1689"/>
                </a:lnTo>
                <a:lnTo>
                  <a:pt x="642" y="1693"/>
                </a:lnTo>
                <a:lnTo>
                  <a:pt x="637" y="1693"/>
                </a:lnTo>
                <a:lnTo>
                  <a:pt x="633" y="1693"/>
                </a:lnTo>
                <a:lnTo>
                  <a:pt x="631" y="1689"/>
                </a:lnTo>
                <a:lnTo>
                  <a:pt x="627" y="1687"/>
                </a:lnTo>
                <a:lnTo>
                  <a:pt x="625" y="1685"/>
                </a:lnTo>
                <a:lnTo>
                  <a:pt x="623" y="1683"/>
                </a:lnTo>
                <a:lnTo>
                  <a:pt x="619" y="1679"/>
                </a:lnTo>
                <a:lnTo>
                  <a:pt x="617" y="1677"/>
                </a:lnTo>
                <a:lnTo>
                  <a:pt x="616" y="1669"/>
                </a:lnTo>
                <a:lnTo>
                  <a:pt x="614" y="1664"/>
                </a:lnTo>
                <a:lnTo>
                  <a:pt x="610" y="1660"/>
                </a:lnTo>
                <a:lnTo>
                  <a:pt x="608" y="1658"/>
                </a:lnTo>
                <a:lnTo>
                  <a:pt x="606" y="1656"/>
                </a:lnTo>
                <a:lnTo>
                  <a:pt x="604" y="1654"/>
                </a:lnTo>
                <a:lnTo>
                  <a:pt x="600" y="1650"/>
                </a:lnTo>
                <a:lnTo>
                  <a:pt x="598" y="1648"/>
                </a:lnTo>
                <a:lnTo>
                  <a:pt x="596" y="1646"/>
                </a:lnTo>
                <a:lnTo>
                  <a:pt x="594" y="1645"/>
                </a:lnTo>
                <a:lnTo>
                  <a:pt x="591" y="1641"/>
                </a:lnTo>
                <a:lnTo>
                  <a:pt x="589" y="1639"/>
                </a:lnTo>
                <a:lnTo>
                  <a:pt x="581" y="1637"/>
                </a:lnTo>
                <a:lnTo>
                  <a:pt x="575" y="1635"/>
                </a:lnTo>
                <a:lnTo>
                  <a:pt x="571" y="1631"/>
                </a:lnTo>
                <a:lnTo>
                  <a:pt x="569" y="1629"/>
                </a:lnTo>
                <a:lnTo>
                  <a:pt x="560" y="1629"/>
                </a:lnTo>
                <a:lnTo>
                  <a:pt x="550" y="1629"/>
                </a:lnTo>
                <a:lnTo>
                  <a:pt x="548" y="1631"/>
                </a:lnTo>
                <a:lnTo>
                  <a:pt x="546" y="1635"/>
                </a:lnTo>
                <a:lnTo>
                  <a:pt x="533" y="1637"/>
                </a:lnTo>
                <a:lnTo>
                  <a:pt x="521" y="1639"/>
                </a:lnTo>
                <a:lnTo>
                  <a:pt x="520" y="1641"/>
                </a:lnTo>
                <a:lnTo>
                  <a:pt x="516" y="1645"/>
                </a:lnTo>
                <a:lnTo>
                  <a:pt x="514" y="1656"/>
                </a:lnTo>
                <a:lnTo>
                  <a:pt x="512" y="1668"/>
                </a:lnTo>
                <a:lnTo>
                  <a:pt x="510" y="1669"/>
                </a:lnTo>
                <a:lnTo>
                  <a:pt x="506" y="1673"/>
                </a:lnTo>
                <a:lnTo>
                  <a:pt x="504" y="1694"/>
                </a:lnTo>
                <a:lnTo>
                  <a:pt x="502" y="1716"/>
                </a:lnTo>
                <a:lnTo>
                  <a:pt x="498" y="1719"/>
                </a:lnTo>
                <a:lnTo>
                  <a:pt x="497" y="1721"/>
                </a:lnTo>
                <a:lnTo>
                  <a:pt x="495" y="1729"/>
                </a:lnTo>
                <a:lnTo>
                  <a:pt x="493" y="1735"/>
                </a:lnTo>
                <a:lnTo>
                  <a:pt x="489" y="1739"/>
                </a:lnTo>
                <a:lnTo>
                  <a:pt x="487" y="1740"/>
                </a:lnTo>
                <a:lnTo>
                  <a:pt x="485" y="1748"/>
                </a:lnTo>
                <a:lnTo>
                  <a:pt x="483" y="1756"/>
                </a:lnTo>
                <a:lnTo>
                  <a:pt x="479" y="1758"/>
                </a:lnTo>
                <a:lnTo>
                  <a:pt x="477" y="1760"/>
                </a:lnTo>
                <a:lnTo>
                  <a:pt x="475" y="1767"/>
                </a:lnTo>
                <a:lnTo>
                  <a:pt x="474" y="1775"/>
                </a:lnTo>
                <a:lnTo>
                  <a:pt x="470" y="1777"/>
                </a:lnTo>
                <a:lnTo>
                  <a:pt x="468" y="1779"/>
                </a:lnTo>
                <a:lnTo>
                  <a:pt x="466" y="1781"/>
                </a:lnTo>
                <a:lnTo>
                  <a:pt x="464" y="1785"/>
                </a:lnTo>
                <a:lnTo>
                  <a:pt x="460" y="1787"/>
                </a:lnTo>
                <a:lnTo>
                  <a:pt x="458" y="1788"/>
                </a:lnTo>
                <a:lnTo>
                  <a:pt x="452" y="1788"/>
                </a:lnTo>
                <a:lnTo>
                  <a:pt x="449" y="1788"/>
                </a:lnTo>
                <a:lnTo>
                  <a:pt x="447" y="1787"/>
                </a:lnTo>
                <a:lnTo>
                  <a:pt x="443" y="1785"/>
                </a:lnTo>
                <a:lnTo>
                  <a:pt x="441" y="1781"/>
                </a:lnTo>
                <a:lnTo>
                  <a:pt x="439" y="1779"/>
                </a:lnTo>
                <a:lnTo>
                  <a:pt x="437" y="1777"/>
                </a:lnTo>
                <a:lnTo>
                  <a:pt x="433" y="1775"/>
                </a:lnTo>
                <a:lnTo>
                  <a:pt x="429" y="1775"/>
                </a:lnTo>
                <a:lnTo>
                  <a:pt x="426" y="1775"/>
                </a:lnTo>
                <a:lnTo>
                  <a:pt x="422" y="1777"/>
                </a:lnTo>
                <a:lnTo>
                  <a:pt x="420" y="1779"/>
                </a:lnTo>
                <a:lnTo>
                  <a:pt x="412" y="1781"/>
                </a:lnTo>
                <a:lnTo>
                  <a:pt x="404" y="1785"/>
                </a:lnTo>
                <a:lnTo>
                  <a:pt x="403" y="1787"/>
                </a:lnTo>
                <a:lnTo>
                  <a:pt x="401" y="1788"/>
                </a:lnTo>
                <a:lnTo>
                  <a:pt x="399" y="1790"/>
                </a:lnTo>
                <a:lnTo>
                  <a:pt x="395" y="1794"/>
                </a:lnTo>
                <a:lnTo>
                  <a:pt x="393" y="1796"/>
                </a:lnTo>
                <a:lnTo>
                  <a:pt x="391" y="1798"/>
                </a:lnTo>
                <a:lnTo>
                  <a:pt x="389" y="1802"/>
                </a:lnTo>
                <a:lnTo>
                  <a:pt x="385" y="1804"/>
                </a:lnTo>
                <a:lnTo>
                  <a:pt x="383" y="1806"/>
                </a:lnTo>
                <a:lnTo>
                  <a:pt x="381" y="1808"/>
                </a:lnTo>
                <a:lnTo>
                  <a:pt x="378" y="1810"/>
                </a:lnTo>
                <a:lnTo>
                  <a:pt x="376" y="1813"/>
                </a:lnTo>
                <a:lnTo>
                  <a:pt x="374" y="1815"/>
                </a:lnTo>
                <a:lnTo>
                  <a:pt x="372" y="1817"/>
                </a:lnTo>
                <a:lnTo>
                  <a:pt x="368" y="1819"/>
                </a:lnTo>
                <a:lnTo>
                  <a:pt x="366" y="1823"/>
                </a:lnTo>
                <a:lnTo>
                  <a:pt x="364" y="1825"/>
                </a:lnTo>
                <a:lnTo>
                  <a:pt x="362" y="1827"/>
                </a:lnTo>
                <a:lnTo>
                  <a:pt x="355" y="1831"/>
                </a:lnTo>
                <a:lnTo>
                  <a:pt x="347" y="1833"/>
                </a:lnTo>
                <a:lnTo>
                  <a:pt x="345" y="1834"/>
                </a:lnTo>
                <a:lnTo>
                  <a:pt x="343" y="1836"/>
                </a:lnTo>
                <a:lnTo>
                  <a:pt x="337" y="1836"/>
                </a:lnTo>
                <a:lnTo>
                  <a:pt x="332" y="1836"/>
                </a:lnTo>
                <a:lnTo>
                  <a:pt x="330" y="1834"/>
                </a:lnTo>
                <a:lnTo>
                  <a:pt x="328" y="1833"/>
                </a:lnTo>
                <a:lnTo>
                  <a:pt x="326" y="1831"/>
                </a:lnTo>
                <a:lnTo>
                  <a:pt x="322" y="1827"/>
                </a:lnTo>
                <a:lnTo>
                  <a:pt x="320" y="1825"/>
                </a:lnTo>
                <a:lnTo>
                  <a:pt x="318" y="1823"/>
                </a:lnTo>
                <a:lnTo>
                  <a:pt x="318" y="1790"/>
                </a:lnTo>
                <a:lnTo>
                  <a:pt x="318" y="1760"/>
                </a:lnTo>
                <a:lnTo>
                  <a:pt x="318" y="1729"/>
                </a:lnTo>
                <a:lnTo>
                  <a:pt x="318" y="1696"/>
                </a:lnTo>
                <a:lnTo>
                  <a:pt x="320" y="1694"/>
                </a:lnTo>
                <a:lnTo>
                  <a:pt x="322" y="1693"/>
                </a:lnTo>
                <a:lnTo>
                  <a:pt x="326" y="1685"/>
                </a:lnTo>
                <a:lnTo>
                  <a:pt x="326" y="1673"/>
                </a:lnTo>
                <a:lnTo>
                  <a:pt x="326" y="1660"/>
                </a:lnTo>
                <a:lnTo>
                  <a:pt x="322" y="1654"/>
                </a:lnTo>
                <a:lnTo>
                  <a:pt x="320" y="1650"/>
                </a:lnTo>
                <a:lnTo>
                  <a:pt x="318" y="1648"/>
                </a:lnTo>
                <a:lnTo>
                  <a:pt x="310" y="1646"/>
                </a:lnTo>
                <a:lnTo>
                  <a:pt x="303" y="1645"/>
                </a:lnTo>
                <a:lnTo>
                  <a:pt x="301" y="1641"/>
                </a:lnTo>
                <a:lnTo>
                  <a:pt x="299" y="1639"/>
                </a:lnTo>
                <a:lnTo>
                  <a:pt x="295" y="1637"/>
                </a:lnTo>
                <a:lnTo>
                  <a:pt x="293" y="1635"/>
                </a:lnTo>
                <a:lnTo>
                  <a:pt x="291" y="1631"/>
                </a:lnTo>
                <a:lnTo>
                  <a:pt x="289" y="1629"/>
                </a:lnTo>
                <a:lnTo>
                  <a:pt x="287" y="1627"/>
                </a:lnTo>
                <a:lnTo>
                  <a:pt x="284" y="1625"/>
                </a:lnTo>
                <a:lnTo>
                  <a:pt x="282" y="1622"/>
                </a:lnTo>
                <a:lnTo>
                  <a:pt x="280" y="1620"/>
                </a:lnTo>
                <a:lnTo>
                  <a:pt x="278" y="1593"/>
                </a:lnTo>
                <a:lnTo>
                  <a:pt x="274" y="1566"/>
                </a:lnTo>
                <a:lnTo>
                  <a:pt x="272" y="1564"/>
                </a:lnTo>
                <a:lnTo>
                  <a:pt x="270" y="1562"/>
                </a:lnTo>
                <a:lnTo>
                  <a:pt x="262" y="1558"/>
                </a:lnTo>
                <a:lnTo>
                  <a:pt x="255" y="1556"/>
                </a:lnTo>
                <a:lnTo>
                  <a:pt x="253" y="1554"/>
                </a:lnTo>
                <a:lnTo>
                  <a:pt x="251" y="1552"/>
                </a:lnTo>
                <a:lnTo>
                  <a:pt x="247" y="1545"/>
                </a:lnTo>
                <a:lnTo>
                  <a:pt x="245" y="1537"/>
                </a:lnTo>
                <a:lnTo>
                  <a:pt x="243" y="1535"/>
                </a:lnTo>
                <a:lnTo>
                  <a:pt x="241" y="1531"/>
                </a:lnTo>
                <a:lnTo>
                  <a:pt x="238" y="1520"/>
                </a:lnTo>
                <a:lnTo>
                  <a:pt x="236" y="1508"/>
                </a:lnTo>
                <a:lnTo>
                  <a:pt x="234" y="1506"/>
                </a:lnTo>
                <a:lnTo>
                  <a:pt x="232" y="1503"/>
                </a:lnTo>
                <a:lnTo>
                  <a:pt x="228" y="1497"/>
                </a:lnTo>
                <a:lnTo>
                  <a:pt x="226" y="1489"/>
                </a:lnTo>
                <a:lnTo>
                  <a:pt x="224" y="1487"/>
                </a:lnTo>
                <a:lnTo>
                  <a:pt x="222" y="1483"/>
                </a:lnTo>
                <a:lnTo>
                  <a:pt x="218" y="1481"/>
                </a:lnTo>
                <a:lnTo>
                  <a:pt x="216" y="1480"/>
                </a:lnTo>
                <a:lnTo>
                  <a:pt x="215" y="1478"/>
                </a:lnTo>
                <a:lnTo>
                  <a:pt x="211" y="1474"/>
                </a:lnTo>
                <a:lnTo>
                  <a:pt x="199" y="1472"/>
                </a:lnTo>
                <a:lnTo>
                  <a:pt x="188" y="1470"/>
                </a:lnTo>
                <a:lnTo>
                  <a:pt x="186" y="1466"/>
                </a:lnTo>
                <a:lnTo>
                  <a:pt x="182" y="1464"/>
                </a:lnTo>
                <a:lnTo>
                  <a:pt x="182" y="1460"/>
                </a:lnTo>
                <a:lnTo>
                  <a:pt x="182" y="1455"/>
                </a:lnTo>
                <a:lnTo>
                  <a:pt x="186" y="1453"/>
                </a:lnTo>
                <a:lnTo>
                  <a:pt x="188" y="1451"/>
                </a:lnTo>
                <a:lnTo>
                  <a:pt x="188" y="1445"/>
                </a:lnTo>
                <a:lnTo>
                  <a:pt x="188" y="1441"/>
                </a:lnTo>
                <a:lnTo>
                  <a:pt x="186" y="1437"/>
                </a:lnTo>
                <a:lnTo>
                  <a:pt x="182" y="1435"/>
                </a:lnTo>
                <a:lnTo>
                  <a:pt x="178" y="1432"/>
                </a:lnTo>
                <a:lnTo>
                  <a:pt x="168" y="1428"/>
                </a:lnTo>
                <a:lnTo>
                  <a:pt x="151" y="1426"/>
                </a:lnTo>
                <a:lnTo>
                  <a:pt x="120" y="1422"/>
                </a:lnTo>
                <a:lnTo>
                  <a:pt x="117" y="1418"/>
                </a:lnTo>
                <a:lnTo>
                  <a:pt x="115" y="1416"/>
                </a:lnTo>
                <a:lnTo>
                  <a:pt x="96" y="1414"/>
                </a:lnTo>
                <a:lnTo>
                  <a:pt x="76" y="1412"/>
                </a:lnTo>
                <a:lnTo>
                  <a:pt x="76" y="1389"/>
                </a:lnTo>
                <a:lnTo>
                  <a:pt x="76" y="1368"/>
                </a:lnTo>
                <a:lnTo>
                  <a:pt x="78" y="1366"/>
                </a:lnTo>
                <a:lnTo>
                  <a:pt x="82" y="1364"/>
                </a:lnTo>
                <a:lnTo>
                  <a:pt x="84" y="1357"/>
                </a:lnTo>
                <a:lnTo>
                  <a:pt x="86" y="1349"/>
                </a:lnTo>
                <a:lnTo>
                  <a:pt x="88" y="1345"/>
                </a:lnTo>
                <a:lnTo>
                  <a:pt x="90" y="1343"/>
                </a:lnTo>
                <a:lnTo>
                  <a:pt x="94" y="1341"/>
                </a:lnTo>
                <a:lnTo>
                  <a:pt x="94" y="1334"/>
                </a:lnTo>
                <a:lnTo>
                  <a:pt x="94" y="1328"/>
                </a:lnTo>
                <a:lnTo>
                  <a:pt x="90" y="1324"/>
                </a:lnTo>
                <a:lnTo>
                  <a:pt x="88" y="1322"/>
                </a:lnTo>
                <a:lnTo>
                  <a:pt x="86" y="1320"/>
                </a:lnTo>
                <a:lnTo>
                  <a:pt x="84" y="1313"/>
                </a:lnTo>
                <a:lnTo>
                  <a:pt x="82" y="1305"/>
                </a:lnTo>
                <a:lnTo>
                  <a:pt x="78" y="1303"/>
                </a:lnTo>
                <a:lnTo>
                  <a:pt x="76" y="1299"/>
                </a:lnTo>
                <a:lnTo>
                  <a:pt x="74" y="1293"/>
                </a:lnTo>
                <a:lnTo>
                  <a:pt x="73" y="1286"/>
                </a:lnTo>
                <a:lnTo>
                  <a:pt x="69" y="1284"/>
                </a:lnTo>
                <a:lnTo>
                  <a:pt x="67" y="1282"/>
                </a:lnTo>
                <a:lnTo>
                  <a:pt x="63" y="1278"/>
                </a:lnTo>
                <a:lnTo>
                  <a:pt x="61" y="1276"/>
                </a:lnTo>
                <a:lnTo>
                  <a:pt x="59" y="1274"/>
                </a:lnTo>
                <a:lnTo>
                  <a:pt x="57" y="1270"/>
                </a:lnTo>
                <a:lnTo>
                  <a:pt x="55" y="1249"/>
                </a:lnTo>
                <a:lnTo>
                  <a:pt x="51" y="1228"/>
                </a:lnTo>
                <a:lnTo>
                  <a:pt x="50" y="1226"/>
                </a:lnTo>
                <a:lnTo>
                  <a:pt x="48" y="1222"/>
                </a:lnTo>
                <a:lnTo>
                  <a:pt x="40" y="1220"/>
                </a:lnTo>
                <a:lnTo>
                  <a:pt x="32" y="1219"/>
                </a:lnTo>
                <a:lnTo>
                  <a:pt x="30" y="1217"/>
                </a:lnTo>
                <a:lnTo>
                  <a:pt x="28" y="1213"/>
                </a:lnTo>
                <a:lnTo>
                  <a:pt x="28" y="1209"/>
                </a:lnTo>
                <a:lnTo>
                  <a:pt x="28" y="1203"/>
                </a:lnTo>
                <a:lnTo>
                  <a:pt x="30" y="1201"/>
                </a:lnTo>
                <a:lnTo>
                  <a:pt x="32" y="1199"/>
                </a:lnTo>
                <a:lnTo>
                  <a:pt x="34" y="1192"/>
                </a:lnTo>
                <a:lnTo>
                  <a:pt x="38" y="1184"/>
                </a:lnTo>
                <a:lnTo>
                  <a:pt x="40" y="1182"/>
                </a:lnTo>
                <a:lnTo>
                  <a:pt x="42" y="1180"/>
                </a:lnTo>
                <a:lnTo>
                  <a:pt x="46" y="1165"/>
                </a:lnTo>
                <a:lnTo>
                  <a:pt x="46" y="1132"/>
                </a:lnTo>
                <a:lnTo>
                  <a:pt x="46" y="1098"/>
                </a:lnTo>
                <a:lnTo>
                  <a:pt x="42" y="1082"/>
                </a:lnTo>
                <a:lnTo>
                  <a:pt x="40" y="1080"/>
                </a:lnTo>
                <a:lnTo>
                  <a:pt x="38" y="1079"/>
                </a:lnTo>
                <a:lnTo>
                  <a:pt x="36" y="1071"/>
                </a:lnTo>
                <a:lnTo>
                  <a:pt x="32" y="1063"/>
                </a:lnTo>
                <a:lnTo>
                  <a:pt x="26" y="1055"/>
                </a:lnTo>
                <a:lnTo>
                  <a:pt x="21" y="1048"/>
                </a:lnTo>
                <a:lnTo>
                  <a:pt x="21" y="1040"/>
                </a:lnTo>
                <a:lnTo>
                  <a:pt x="17" y="1036"/>
                </a:lnTo>
                <a:lnTo>
                  <a:pt x="9" y="1036"/>
                </a:lnTo>
                <a:lnTo>
                  <a:pt x="7" y="1036"/>
                </a:lnTo>
                <a:lnTo>
                  <a:pt x="5" y="1032"/>
                </a:lnTo>
                <a:lnTo>
                  <a:pt x="7" y="1029"/>
                </a:lnTo>
                <a:lnTo>
                  <a:pt x="11" y="1021"/>
                </a:lnTo>
                <a:lnTo>
                  <a:pt x="13" y="1015"/>
                </a:lnTo>
                <a:lnTo>
                  <a:pt x="7" y="1015"/>
                </a:lnTo>
                <a:lnTo>
                  <a:pt x="5" y="1015"/>
                </a:lnTo>
                <a:lnTo>
                  <a:pt x="5" y="1013"/>
                </a:lnTo>
                <a:lnTo>
                  <a:pt x="7" y="1011"/>
                </a:lnTo>
                <a:lnTo>
                  <a:pt x="11" y="1009"/>
                </a:lnTo>
                <a:lnTo>
                  <a:pt x="11" y="1008"/>
                </a:lnTo>
                <a:lnTo>
                  <a:pt x="5" y="1006"/>
                </a:lnTo>
                <a:lnTo>
                  <a:pt x="2" y="1006"/>
                </a:lnTo>
                <a:lnTo>
                  <a:pt x="0" y="1004"/>
                </a:lnTo>
                <a:lnTo>
                  <a:pt x="2" y="1004"/>
                </a:lnTo>
                <a:lnTo>
                  <a:pt x="3" y="1000"/>
                </a:lnTo>
                <a:lnTo>
                  <a:pt x="3" y="996"/>
                </a:lnTo>
                <a:lnTo>
                  <a:pt x="2" y="994"/>
                </a:lnTo>
                <a:lnTo>
                  <a:pt x="0" y="990"/>
                </a:lnTo>
                <a:lnTo>
                  <a:pt x="3" y="986"/>
                </a:lnTo>
                <a:lnTo>
                  <a:pt x="9" y="981"/>
                </a:lnTo>
                <a:lnTo>
                  <a:pt x="11" y="979"/>
                </a:lnTo>
                <a:lnTo>
                  <a:pt x="13" y="977"/>
                </a:lnTo>
                <a:lnTo>
                  <a:pt x="21" y="969"/>
                </a:lnTo>
                <a:lnTo>
                  <a:pt x="28" y="961"/>
                </a:lnTo>
                <a:lnTo>
                  <a:pt x="30" y="960"/>
                </a:lnTo>
                <a:lnTo>
                  <a:pt x="32" y="958"/>
                </a:lnTo>
                <a:lnTo>
                  <a:pt x="34" y="954"/>
                </a:lnTo>
                <a:lnTo>
                  <a:pt x="38" y="952"/>
                </a:lnTo>
                <a:lnTo>
                  <a:pt x="40" y="950"/>
                </a:lnTo>
                <a:lnTo>
                  <a:pt x="42" y="948"/>
                </a:lnTo>
                <a:lnTo>
                  <a:pt x="55" y="944"/>
                </a:lnTo>
                <a:lnTo>
                  <a:pt x="67" y="942"/>
                </a:lnTo>
                <a:lnTo>
                  <a:pt x="69" y="940"/>
                </a:lnTo>
                <a:lnTo>
                  <a:pt x="73" y="938"/>
                </a:lnTo>
                <a:lnTo>
                  <a:pt x="73" y="927"/>
                </a:lnTo>
                <a:lnTo>
                  <a:pt x="73" y="917"/>
                </a:lnTo>
                <a:lnTo>
                  <a:pt x="69" y="915"/>
                </a:lnTo>
                <a:lnTo>
                  <a:pt x="67" y="913"/>
                </a:lnTo>
                <a:lnTo>
                  <a:pt x="67" y="898"/>
                </a:lnTo>
                <a:lnTo>
                  <a:pt x="67" y="885"/>
                </a:lnTo>
                <a:lnTo>
                  <a:pt x="69" y="881"/>
                </a:lnTo>
                <a:lnTo>
                  <a:pt x="73" y="879"/>
                </a:lnTo>
                <a:lnTo>
                  <a:pt x="74" y="871"/>
                </a:lnTo>
                <a:lnTo>
                  <a:pt x="76" y="866"/>
                </a:lnTo>
                <a:lnTo>
                  <a:pt x="78" y="862"/>
                </a:lnTo>
                <a:lnTo>
                  <a:pt x="82" y="860"/>
                </a:lnTo>
                <a:lnTo>
                  <a:pt x="84" y="848"/>
                </a:lnTo>
                <a:lnTo>
                  <a:pt x="86" y="837"/>
                </a:lnTo>
                <a:lnTo>
                  <a:pt x="88" y="833"/>
                </a:lnTo>
                <a:lnTo>
                  <a:pt x="90" y="831"/>
                </a:lnTo>
                <a:lnTo>
                  <a:pt x="94" y="829"/>
                </a:lnTo>
                <a:lnTo>
                  <a:pt x="96" y="827"/>
                </a:lnTo>
                <a:lnTo>
                  <a:pt x="97" y="823"/>
                </a:lnTo>
                <a:lnTo>
                  <a:pt x="101" y="821"/>
                </a:lnTo>
                <a:lnTo>
                  <a:pt x="103" y="819"/>
                </a:lnTo>
                <a:lnTo>
                  <a:pt x="105" y="818"/>
                </a:lnTo>
                <a:lnTo>
                  <a:pt x="107" y="814"/>
                </a:lnTo>
                <a:lnTo>
                  <a:pt x="111" y="812"/>
                </a:lnTo>
                <a:lnTo>
                  <a:pt x="117" y="810"/>
                </a:lnTo>
                <a:lnTo>
                  <a:pt x="124" y="808"/>
                </a:lnTo>
                <a:lnTo>
                  <a:pt x="126" y="804"/>
                </a:lnTo>
                <a:lnTo>
                  <a:pt x="130" y="802"/>
                </a:lnTo>
                <a:lnTo>
                  <a:pt x="130" y="796"/>
                </a:lnTo>
                <a:lnTo>
                  <a:pt x="130" y="793"/>
                </a:lnTo>
                <a:lnTo>
                  <a:pt x="126" y="791"/>
                </a:lnTo>
                <a:lnTo>
                  <a:pt x="124" y="789"/>
                </a:lnTo>
                <a:lnTo>
                  <a:pt x="122" y="785"/>
                </a:lnTo>
                <a:lnTo>
                  <a:pt x="120" y="783"/>
                </a:lnTo>
                <a:lnTo>
                  <a:pt x="117" y="781"/>
                </a:lnTo>
                <a:lnTo>
                  <a:pt x="115" y="779"/>
                </a:lnTo>
                <a:lnTo>
                  <a:pt x="113" y="775"/>
                </a:lnTo>
                <a:lnTo>
                  <a:pt x="111" y="773"/>
                </a:lnTo>
                <a:lnTo>
                  <a:pt x="107" y="770"/>
                </a:lnTo>
                <a:lnTo>
                  <a:pt x="105" y="768"/>
                </a:lnTo>
                <a:lnTo>
                  <a:pt x="103" y="750"/>
                </a:lnTo>
                <a:lnTo>
                  <a:pt x="101" y="735"/>
                </a:lnTo>
                <a:lnTo>
                  <a:pt x="97" y="731"/>
                </a:lnTo>
                <a:lnTo>
                  <a:pt x="96" y="729"/>
                </a:lnTo>
                <a:lnTo>
                  <a:pt x="94" y="727"/>
                </a:lnTo>
                <a:lnTo>
                  <a:pt x="90" y="725"/>
                </a:lnTo>
                <a:lnTo>
                  <a:pt x="88" y="722"/>
                </a:lnTo>
                <a:lnTo>
                  <a:pt x="86" y="720"/>
                </a:lnTo>
                <a:lnTo>
                  <a:pt x="84" y="718"/>
                </a:lnTo>
                <a:lnTo>
                  <a:pt x="82" y="716"/>
                </a:lnTo>
                <a:lnTo>
                  <a:pt x="78" y="712"/>
                </a:lnTo>
                <a:lnTo>
                  <a:pt x="76" y="710"/>
                </a:lnTo>
                <a:lnTo>
                  <a:pt x="74" y="708"/>
                </a:lnTo>
                <a:lnTo>
                  <a:pt x="73" y="706"/>
                </a:lnTo>
                <a:lnTo>
                  <a:pt x="69" y="702"/>
                </a:lnTo>
                <a:lnTo>
                  <a:pt x="67" y="701"/>
                </a:lnTo>
                <a:lnTo>
                  <a:pt x="63" y="693"/>
                </a:lnTo>
                <a:lnTo>
                  <a:pt x="61" y="685"/>
                </a:lnTo>
                <a:lnTo>
                  <a:pt x="59" y="683"/>
                </a:lnTo>
                <a:lnTo>
                  <a:pt x="57" y="681"/>
                </a:lnTo>
                <a:lnTo>
                  <a:pt x="55" y="679"/>
                </a:lnTo>
                <a:lnTo>
                  <a:pt x="51" y="676"/>
                </a:lnTo>
                <a:lnTo>
                  <a:pt x="50" y="674"/>
                </a:lnTo>
                <a:lnTo>
                  <a:pt x="48" y="672"/>
                </a:lnTo>
                <a:lnTo>
                  <a:pt x="46" y="670"/>
                </a:lnTo>
                <a:lnTo>
                  <a:pt x="42" y="668"/>
                </a:lnTo>
                <a:lnTo>
                  <a:pt x="40" y="664"/>
                </a:lnTo>
                <a:lnTo>
                  <a:pt x="38" y="662"/>
                </a:lnTo>
                <a:lnTo>
                  <a:pt x="34" y="654"/>
                </a:lnTo>
                <a:lnTo>
                  <a:pt x="32" y="647"/>
                </a:lnTo>
                <a:lnTo>
                  <a:pt x="30" y="645"/>
                </a:lnTo>
                <a:lnTo>
                  <a:pt x="28" y="643"/>
                </a:lnTo>
                <a:lnTo>
                  <a:pt x="25" y="641"/>
                </a:lnTo>
                <a:lnTo>
                  <a:pt x="23" y="637"/>
                </a:lnTo>
                <a:lnTo>
                  <a:pt x="21" y="635"/>
                </a:lnTo>
                <a:lnTo>
                  <a:pt x="19" y="633"/>
                </a:lnTo>
                <a:lnTo>
                  <a:pt x="19" y="616"/>
                </a:lnTo>
                <a:lnTo>
                  <a:pt x="19" y="599"/>
                </a:lnTo>
                <a:lnTo>
                  <a:pt x="23" y="593"/>
                </a:lnTo>
                <a:lnTo>
                  <a:pt x="28" y="589"/>
                </a:lnTo>
                <a:lnTo>
                  <a:pt x="28" y="585"/>
                </a:lnTo>
                <a:lnTo>
                  <a:pt x="28" y="580"/>
                </a:lnTo>
                <a:lnTo>
                  <a:pt x="32" y="576"/>
                </a:lnTo>
                <a:lnTo>
                  <a:pt x="38" y="570"/>
                </a:lnTo>
                <a:lnTo>
                  <a:pt x="42" y="570"/>
                </a:lnTo>
                <a:lnTo>
                  <a:pt x="48" y="570"/>
                </a:lnTo>
                <a:lnTo>
                  <a:pt x="51" y="570"/>
                </a:lnTo>
                <a:lnTo>
                  <a:pt x="57" y="570"/>
                </a:lnTo>
                <a:lnTo>
                  <a:pt x="82" y="570"/>
                </a:lnTo>
                <a:lnTo>
                  <a:pt x="105" y="570"/>
                </a:lnTo>
                <a:lnTo>
                  <a:pt x="111" y="570"/>
                </a:lnTo>
                <a:lnTo>
                  <a:pt x="115" y="570"/>
                </a:lnTo>
                <a:lnTo>
                  <a:pt x="115" y="564"/>
                </a:lnTo>
                <a:lnTo>
                  <a:pt x="115" y="560"/>
                </a:lnTo>
                <a:lnTo>
                  <a:pt x="119" y="560"/>
                </a:lnTo>
                <a:lnTo>
                  <a:pt x="124" y="560"/>
                </a:lnTo>
                <a:lnTo>
                  <a:pt x="130" y="562"/>
                </a:lnTo>
                <a:lnTo>
                  <a:pt x="134" y="564"/>
                </a:lnTo>
                <a:lnTo>
                  <a:pt x="136" y="562"/>
                </a:lnTo>
                <a:lnTo>
                  <a:pt x="140" y="560"/>
                </a:lnTo>
                <a:lnTo>
                  <a:pt x="142" y="555"/>
                </a:lnTo>
                <a:lnTo>
                  <a:pt x="144" y="551"/>
                </a:lnTo>
                <a:lnTo>
                  <a:pt x="149" y="545"/>
                </a:lnTo>
                <a:lnTo>
                  <a:pt x="153" y="541"/>
                </a:lnTo>
                <a:lnTo>
                  <a:pt x="159" y="541"/>
                </a:lnTo>
                <a:lnTo>
                  <a:pt x="163" y="541"/>
                </a:lnTo>
                <a:lnTo>
                  <a:pt x="168" y="541"/>
                </a:lnTo>
                <a:lnTo>
                  <a:pt x="172" y="541"/>
                </a:lnTo>
                <a:lnTo>
                  <a:pt x="178" y="541"/>
                </a:lnTo>
                <a:lnTo>
                  <a:pt x="182" y="541"/>
                </a:lnTo>
                <a:lnTo>
                  <a:pt x="191" y="541"/>
                </a:lnTo>
                <a:lnTo>
                  <a:pt x="203" y="541"/>
                </a:lnTo>
                <a:lnTo>
                  <a:pt x="203" y="553"/>
                </a:lnTo>
                <a:lnTo>
                  <a:pt x="203" y="559"/>
                </a:lnTo>
                <a:lnTo>
                  <a:pt x="207" y="560"/>
                </a:lnTo>
                <a:lnTo>
                  <a:pt x="211" y="560"/>
                </a:lnTo>
                <a:lnTo>
                  <a:pt x="220" y="564"/>
                </a:lnTo>
                <a:lnTo>
                  <a:pt x="232" y="570"/>
                </a:lnTo>
                <a:lnTo>
                  <a:pt x="241" y="564"/>
                </a:lnTo>
                <a:lnTo>
                  <a:pt x="251" y="560"/>
                </a:lnTo>
                <a:lnTo>
                  <a:pt x="255" y="560"/>
                </a:lnTo>
                <a:lnTo>
                  <a:pt x="261" y="560"/>
                </a:lnTo>
                <a:lnTo>
                  <a:pt x="264" y="564"/>
                </a:lnTo>
                <a:lnTo>
                  <a:pt x="270" y="570"/>
                </a:lnTo>
                <a:lnTo>
                  <a:pt x="270" y="564"/>
                </a:lnTo>
                <a:lnTo>
                  <a:pt x="270" y="560"/>
                </a:lnTo>
                <a:lnTo>
                  <a:pt x="284" y="555"/>
                </a:lnTo>
                <a:lnTo>
                  <a:pt x="299" y="551"/>
                </a:lnTo>
                <a:lnTo>
                  <a:pt x="303" y="551"/>
                </a:lnTo>
                <a:lnTo>
                  <a:pt x="309" y="551"/>
                </a:lnTo>
                <a:lnTo>
                  <a:pt x="312" y="551"/>
                </a:lnTo>
                <a:lnTo>
                  <a:pt x="318" y="551"/>
                </a:lnTo>
                <a:lnTo>
                  <a:pt x="322" y="545"/>
                </a:lnTo>
                <a:lnTo>
                  <a:pt x="328" y="541"/>
                </a:lnTo>
                <a:lnTo>
                  <a:pt x="328" y="526"/>
                </a:lnTo>
                <a:lnTo>
                  <a:pt x="328" y="512"/>
                </a:lnTo>
                <a:lnTo>
                  <a:pt x="328" y="497"/>
                </a:lnTo>
                <a:lnTo>
                  <a:pt x="328" y="484"/>
                </a:lnTo>
                <a:lnTo>
                  <a:pt x="322" y="478"/>
                </a:lnTo>
                <a:lnTo>
                  <a:pt x="318" y="474"/>
                </a:lnTo>
                <a:lnTo>
                  <a:pt x="318" y="468"/>
                </a:lnTo>
                <a:lnTo>
                  <a:pt x="318" y="465"/>
                </a:lnTo>
                <a:lnTo>
                  <a:pt x="328" y="465"/>
                </a:lnTo>
                <a:lnTo>
                  <a:pt x="337" y="465"/>
                </a:lnTo>
                <a:lnTo>
                  <a:pt x="341" y="465"/>
                </a:lnTo>
                <a:lnTo>
                  <a:pt x="347" y="465"/>
                </a:lnTo>
                <a:lnTo>
                  <a:pt x="362" y="459"/>
                </a:lnTo>
                <a:lnTo>
                  <a:pt x="376" y="453"/>
                </a:lnTo>
                <a:lnTo>
                  <a:pt x="381" y="453"/>
                </a:lnTo>
                <a:lnTo>
                  <a:pt x="385" y="453"/>
                </a:lnTo>
                <a:lnTo>
                  <a:pt x="389" y="453"/>
                </a:lnTo>
                <a:lnTo>
                  <a:pt x="391" y="453"/>
                </a:lnTo>
                <a:lnTo>
                  <a:pt x="393" y="457"/>
                </a:lnTo>
                <a:lnTo>
                  <a:pt x="395" y="459"/>
                </a:lnTo>
                <a:lnTo>
                  <a:pt x="399" y="457"/>
                </a:lnTo>
                <a:lnTo>
                  <a:pt x="401" y="453"/>
                </a:lnTo>
                <a:lnTo>
                  <a:pt x="399" y="451"/>
                </a:lnTo>
                <a:lnTo>
                  <a:pt x="395" y="449"/>
                </a:lnTo>
                <a:lnTo>
                  <a:pt x="395" y="447"/>
                </a:lnTo>
                <a:lnTo>
                  <a:pt x="395" y="443"/>
                </a:lnTo>
                <a:lnTo>
                  <a:pt x="420" y="443"/>
                </a:lnTo>
                <a:lnTo>
                  <a:pt x="443" y="443"/>
                </a:lnTo>
                <a:lnTo>
                  <a:pt x="452" y="443"/>
                </a:lnTo>
                <a:lnTo>
                  <a:pt x="464" y="443"/>
                </a:lnTo>
                <a:lnTo>
                  <a:pt x="468" y="453"/>
                </a:lnTo>
                <a:lnTo>
                  <a:pt x="474" y="465"/>
                </a:lnTo>
                <a:lnTo>
                  <a:pt x="474" y="468"/>
                </a:lnTo>
                <a:lnTo>
                  <a:pt x="474" y="474"/>
                </a:lnTo>
                <a:lnTo>
                  <a:pt x="477" y="478"/>
                </a:lnTo>
                <a:lnTo>
                  <a:pt x="483" y="484"/>
                </a:lnTo>
                <a:lnTo>
                  <a:pt x="493" y="488"/>
                </a:lnTo>
                <a:lnTo>
                  <a:pt x="502" y="493"/>
                </a:lnTo>
                <a:lnTo>
                  <a:pt x="502" y="497"/>
                </a:lnTo>
                <a:lnTo>
                  <a:pt x="502" y="503"/>
                </a:lnTo>
                <a:lnTo>
                  <a:pt x="502" y="507"/>
                </a:lnTo>
                <a:lnTo>
                  <a:pt x="502" y="512"/>
                </a:lnTo>
                <a:lnTo>
                  <a:pt x="498" y="512"/>
                </a:lnTo>
                <a:lnTo>
                  <a:pt x="497" y="514"/>
                </a:lnTo>
                <a:lnTo>
                  <a:pt x="497" y="520"/>
                </a:lnTo>
                <a:lnTo>
                  <a:pt x="497" y="532"/>
                </a:lnTo>
                <a:lnTo>
                  <a:pt x="504" y="536"/>
                </a:lnTo>
                <a:lnTo>
                  <a:pt x="512" y="541"/>
                </a:lnTo>
                <a:lnTo>
                  <a:pt x="516" y="541"/>
                </a:lnTo>
                <a:lnTo>
                  <a:pt x="521" y="541"/>
                </a:lnTo>
                <a:lnTo>
                  <a:pt x="525" y="545"/>
                </a:lnTo>
                <a:lnTo>
                  <a:pt x="531" y="551"/>
                </a:lnTo>
                <a:lnTo>
                  <a:pt x="535" y="555"/>
                </a:lnTo>
                <a:lnTo>
                  <a:pt x="541" y="560"/>
                </a:lnTo>
                <a:lnTo>
                  <a:pt x="550" y="564"/>
                </a:lnTo>
                <a:lnTo>
                  <a:pt x="560" y="570"/>
                </a:lnTo>
                <a:lnTo>
                  <a:pt x="569" y="576"/>
                </a:lnTo>
                <a:lnTo>
                  <a:pt x="579" y="580"/>
                </a:lnTo>
                <a:lnTo>
                  <a:pt x="589" y="580"/>
                </a:lnTo>
                <a:lnTo>
                  <a:pt x="598" y="580"/>
                </a:lnTo>
                <a:lnTo>
                  <a:pt x="604" y="576"/>
                </a:lnTo>
                <a:lnTo>
                  <a:pt x="608" y="570"/>
                </a:lnTo>
                <a:lnTo>
                  <a:pt x="614" y="570"/>
                </a:lnTo>
                <a:lnTo>
                  <a:pt x="617" y="570"/>
                </a:lnTo>
                <a:lnTo>
                  <a:pt x="617" y="555"/>
                </a:lnTo>
                <a:lnTo>
                  <a:pt x="617" y="541"/>
                </a:lnTo>
                <a:lnTo>
                  <a:pt x="614" y="541"/>
                </a:lnTo>
                <a:lnTo>
                  <a:pt x="608" y="541"/>
                </a:lnTo>
                <a:lnTo>
                  <a:pt x="608" y="536"/>
                </a:lnTo>
                <a:lnTo>
                  <a:pt x="608" y="532"/>
                </a:lnTo>
                <a:lnTo>
                  <a:pt x="604" y="526"/>
                </a:lnTo>
                <a:lnTo>
                  <a:pt x="598" y="522"/>
                </a:lnTo>
                <a:lnTo>
                  <a:pt x="594" y="512"/>
                </a:lnTo>
                <a:lnTo>
                  <a:pt x="589" y="503"/>
                </a:lnTo>
                <a:lnTo>
                  <a:pt x="589" y="493"/>
                </a:lnTo>
                <a:lnTo>
                  <a:pt x="589" y="484"/>
                </a:lnTo>
                <a:lnTo>
                  <a:pt x="598" y="484"/>
                </a:lnTo>
                <a:lnTo>
                  <a:pt x="608" y="484"/>
                </a:lnTo>
                <a:lnTo>
                  <a:pt x="614" y="488"/>
                </a:lnTo>
                <a:lnTo>
                  <a:pt x="617" y="493"/>
                </a:lnTo>
                <a:lnTo>
                  <a:pt x="623" y="493"/>
                </a:lnTo>
                <a:lnTo>
                  <a:pt x="627" y="493"/>
                </a:lnTo>
                <a:lnTo>
                  <a:pt x="633" y="493"/>
                </a:lnTo>
                <a:lnTo>
                  <a:pt x="637" y="493"/>
                </a:lnTo>
                <a:lnTo>
                  <a:pt x="642" y="488"/>
                </a:lnTo>
                <a:lnTo>
                  <a:pt x="646" y="484"/>
                </a:lnTo>
                <a:lnTo>
                  <a:pt x="652" y="484"/>
                </a:lnTo>
                <a:lnTo>
                  <a:pt x="658" y="484"/>
                </a:lnTo>
                <a:lnTo>
                  <a:pt x="658" y="478"/>
                </a:lnTo>
                <a:lnTo>
                  <a:pt x="658" y="474"/>
                </a:lnTo>
                <a:lnTo>
                  <a:pt x="662" y="468"/>
                </a:lnTo>
                <a:lnTo>
                  <a:pt x="665" y="465"/>
                </a:lnTo>
                <a:lnTo>
                  <a:pt x="665" y="459"/>
                </a:lnTo>
                <a:lnTo>
                  <a:pt x="665" y="453"/>
                </a:lnTo>
                <a:lnTo>
                  <a:pt x="671" y="453"/>
                </a:lnTo>
                <a:lnTo>
                  <a:pt x="675" y="453"/>
                </a:lnTo>
                <a:lnTo>
                  <a:pt x="681" y="449"/>
                </a:lnTo>
                <a:lnTo>
                  <a:pt x="686" y="443"/>
                </a:lnTo>
                <a:lnTo>
                  <a:pt x="696" y="443"/>
                </a:lnTo>
                <a:lnTo>
                  <a:pt x="706" y="443"/>
                </a:lnTo>
                <a:lnTo>
                  <a:pt x="715" y="443"/>
                </a:lnTo>
                <a:lnTo>
                  <a:pt x="725" y="443"/>
                </a:lnTo>
                <a:lnTo>
                  <a:pt x="725" y="449"/>
                </a:lnTo>
                <a:lnTo>
                  <a:pt x="727" y="453"/>
                </a:lnTo>
                <a:lnTo>
                  <a:pt x="733" y="453"/>
                </a:lnTo>
                <a:lnTo>
                  <a:pt x="744" y="453"/>
                </a:lnTo>
                <a:lnTo>
                  <a:pt x="744" y="440"/>
                </a:lnTo>
                <a:lnTo>
                  <a:pt x="744" y="424"/>
                </a:lnTo>
                <a:lnTo>
                  <a:pt x="738" y="424"/>
                </a:lnTo>
                <a:lnTo>
                  <a:pt x="734" y="424"/>
                </a:lnTo>
                <a:lnTo>
                  <a:pt x="729" y="420"/>
                </a:lnTo>
                <a:lnTo>
                  <a:pt x="725" y="415"/>
                </a:lnTo>
                <a:lnTo>
                  <a:pt x="725" y="411"/>
                </a:lnTo>
                <a:lnTo>
                  <a:pt x="725" y="405"/>
                </a:lnTo>
                <a:lnTo>
                  <a:pt x="738" y="401"/>
                </a:lnTo>
                <a:lnTo>
                  <a:pt x="754" y="395"/>
                </a:lnTo>
                <a:lnTo>
                  <a:pt x="763" y="395"/>
                </a:lnTo>
                <a:lnTo>
                  <a:pt x="773" y="395"/>
                </a:lnTo>
                <a:lnTo>
                  <a:pt x="773" y="386"/>
                </a:lnTo>
                <a:lnTo>
                  <a:pt x="773" y="376"/>
                </a:lnTo>
                <a:lnTo>
                  <a:pt x="763" y="376"/>
                </a:lnTo>
                <a:lnTo>
                  <a:pt x="754" y="376"/>
                </a:lnTo>
                <a:lnTo>
                  <a:pt x="748" y="372"/>
                </a:lnTo>
                <a:lnTo>
                  <a:pt x="744" y="367"/>
                </a:lnTo>
                <a:lnTo>
                  <a:pt x="744" y="361"/>
                </a:lnTo>
                <a:lnTo>
                  <a:pt x="744" y="357"/>
                </a:lnTo>
                <a:lnTo>
                  <a:pt x="744" y="353"/>
                </a:lnTo>
                <a:lnTo>
                  <a:pt x="744" y="347"/>
                </a:lnTo>
                <a:lnTo>
                  <a:pt x="744" y="344"/>
                </a:lnTo>
                <a:lnTo>
                  <a:pt x="744" y="338"/>
                </a:lnTo>
                <a:lnTo>
                  <a:pt x="740" y="330"/>
                </a:lnTo>
                <a:lnTo>
                  <a:pt x="736" y="326"/>
                </a:lnTo>
                <a:lnTo>
                  <a:pt x="734" y="326"/>
                </a:lnTo>
                <a:lnTo>
                  <a:pt x="734" y="328"/>
                </a:lnTo>
                <a:lnTo>
                  <a:pt x="729" y="328"/>
                </a:lnTo>
                <a:lnTo>
                  <a:pt x="725" y="328"/>
                </a:lnTo>
                <a:lnTo>
                  <a:pt x="719" y="328"/>
                </a:lnTo>
                <a:lnTo>
                  <a:pt x="715" y="328"/>
                </a:lnTo>
                <a:lnTo>
                  <a:pt x="710" y="328"/>
                </a:lnTo>
                <a:lnTo>
                  <a:pt x="706" y="328"/>
                </a:lnTo>
                <a:lnTo>
                  <a:pt x="706" y="323"/>
                </a:lnTo>
                <a:lnTo>
                  <a:pt x="706" y="319"/>
                </a:lnTo>
                <a:lnTo>
                  <a:pt x="710" y="313"/>
                </a:lnTo>
                <a:lnTo>
                  <a:pt x="715" y="309"/>
                </a:lnTo>
                <a:lnTo>
                  <a:pt x="719" y="294"/>
                </a:lnTo>
                <a:lnTo>
                  <a:pt x="725" y="280"/>
                </a:lnTo>
                <a:lnTo>
                  <a:pt x="725" y="275"/>
                </a:lnTo>
                <a:lnTo>
                  <a:pt x="725" y="271"/>
                </a:lnTo>
                <a:lnTo>
                  <a:pt x="725" y="265"/>
                </a:lnTo>
                <a:lnTo>
                  <a:pt x="725" y="261"/>
                </a:lnTo>
                <a:lnTo>
                  <a:pt x="734" y="261"/>
                </a:lnTo>
                <a:lnTo>
                  <a:pt x="744" y="261"/>
                </a:lnTo>
                <a:lnTo>
                  <a:pt x="748" y="261"/>
                </a:lnTo>
                <a:lnTo>
                  <a:pt x="754" y="261"/>
                </a:lnTo>
                <a:lnTo>
                  <a:pt x="754" y="255"/>
                </a:lnTo>
                <a:lnTo>
                  <a:pt x="754" y="252"/>
                </a:lnTo>
                <a:lnTo>
                  <a:pt x="757" y="252"/>
                </a:lnTo>
                <a:lnTo>
                  <a:pt x="763" y="252"/>
                </a:lnTo>
                <a:lnTo>
                  <a:pt x="767" y="252"/>
                </a:lnTo>
                <a:lnTo>
                  <a:pt x="773" y="252"/>
                </a:lnTo>
                <a:lnTo>
                  <a:pt x="773" y="246"/>
                </a:lnTo>
                <a:lnTo>
                  <a:pt x="773" y="242"/>
                </a:lnTo>
                <a:lnTo>
                  <a:pt x="777" y="242"/>
                </a:lnTo>
                <a:lnTo>
                  <a:pt x="782" y="242"/>
                </a:lnTo>
                <a:lnTo>
                  <a:pt x="786" y="244"/>
                </a:lnTo>
                <a:lnTo>
                  <a:pt x="792" y="246"/>
                </a:lnTo>
                <a:lnTo>
                  <a:pt x="794" y="244"/>
                </a:lnTo>
                <a:lnTo>
                  <a:pt x="796" y="242"/>
                </a:lnTo>
                <a:lnTo>
                  <a:pt x="800" y="236"/>
                </a:lnTo>
                <a:lnTo>
                  <a:pt x="802" y="232"/>
                </a:lnTo>
                <a:lnTo>
                  <a:pt x="802" y="227"/>
                </a:lnTo>
                <a:lnTo>
                  <a:pt x="802" y="223"/>
                </a:lnTo>
                <a:lnTo>
                  <a:pt x="805" y="217"/>
                </a:lnTo>
                <a:lnTo>
                  <a:pt x="811" y="211"/>
                </a:lnTo>
                <a:lnTo>
                  <a:pt x="815" y="211"/>
                </a:lnTo>
                <a:lnTo>
                  <a:pt x="821" y="211"/>
                </a:lnTo>
                <a:lnTo>
                  <a:pt x="821" y="221"/>
                </a:lnTo>
                <a:lnTo>
                  <a:pt x="821" y="232"/>
                </a:lnTo>
                <a:lnTo>
                  <a:pt x="815" y="232"/>
                </a:lnTo>
                <a:lnTo>
                  <a:pt x="813" y="234"/>
                </a:lnTo>
                <a:lnTo>
                  <a:pt x="811" y="240"/>
                </a:lnTo>
                <a:lnTo>
                  <a:pt x="811" y="252"/>
                </a:lnTo>
                <a:lnTo>
                  <a:pt x="823" y="252"/>
                </a:lnTo>
                <a:lnTo>
                  <a:pt x="828" y="250"/>
                </a:lnTo>
                <a:lnTo>
                  <a:pt x="830" y="248"/>
                </a:lnTo>
                <a:lnTo>
                  <a:pt x="830" y="242"/>
                </a:lnTo>
                <a:lnTo>
                  <a:pt x="836" y="236"/>
                </a:lnTo>
                <a:lnTo>
                  <a:pt x="840" y="232"/>
                </a:lnTo>
                <a:lnTo>
                  <a:pt x="846" y="232"/>
                </a:lnTo>
                <a:lnTo>
                  <a:pt x="850" y="232"/>
                </a:lnTo>
                <a:lnTo>
                  <a:pt x="855" y="242"/>
                </a:lnTo>
                <a:lnTo>
                  <a:pt x="859" y="252"/>
                </a:lnTo>
                <a:lnTo>
                  <a:pt x="865" y="252"/>
                </a:lnTo>
                <a:lnTo>
                  <a:pt x="869" y="252"/>
                </a:lnTo>
                <a:lnTo>
                  <a:pt x="875" y="252"/>
                </a:lnTo>
                <a:lnTo>
                  <a:pt x="878" y="252"/>
                </a:lnTo>
                <a:lnTo>
                  <a:pt x="878" y="230"/>
                </a:lnTo>
                <a:lnTo>
                  <a:pt x="878" y="211"/>
                </a:lnTo>
                <a:lnTo>
                  <a:pt x="875" y="211"/>
                </a:lnTo>
                <a:lnTo>
                  <a:pt x="869" y="211"/>
                </a:lnTo>
                <a:lnTo>
                  <a:pt x="869" y="192"/>
                </a:lnTo>
                <a:lnTo>
                  <a:pt x="869" y="173"/>
                </a:lnTo>
                <a:lnTo>
                  <a:pt x="875" y="173"/>
                </a:lnTo>
                <a:lnTo>
                  <a:pt x="878" y="173"/>
                </a:lnTo>
                <a:lnTo>
                  <a:pt x="884" y="177"/>
                </a:lnTo>
                <a:lnTo>
                  <a:pt x="888" y="179"/>
                </a:lnTo>
                <a:lnTo>
                  <a:pt x="892" y="177"/>
                </a:lnTo>
                <a:lnTo>
                  <a:pt x="894" y="173"/>
                </a:lnTo>
                <a:lnTo>
                  <a:pt x="896" y="169"/>
                </a:lnTo>
                <a:lnTo>
                  <a:pt x="898" y="163"/>
                </a:lnTo>
                <a:lnTo>
                  <a:pt x="903" y="159"/>
                </a:lnTo>
                <a:lnTo>
                  <a:pt x="907" y="154"/>
                </a:lnTo>
                <a:lnTo>
                  <a:pt x="917" y="154"/>
                </a:lnTo>
                <a:lnTo>
                  <a:pt x="928" y="154"/>
                </a:lnTo>
                <a:lnTo>
                  <a:pt x="932" y="163"/>
                </a:lnTo>
                <a:lnTo>
                  <a:pt x="938" y="173"/>
                </a:lnTo>
                <a:lnTo>
                  <a:pt x="938" y="179"/>
                </a:lnTo>
                <a:lnTo>
                  <a:pt x="940" y="182"/>
                </a:lnTo>
                <a:lnTo>
                  <a:pt x="946" y="182"/>
                </a:lnTo>
                <a:lnTo>
                  <a:pt x="957" y="182"/>
                </a:lnTo>
                <a:lnTo>
                  <a:pt x="957" y="179"/>
                </a:lnTo>
                <a:lnTo>
                  <a:pt x="957" y="173"/>
                </a:lnTo>
                <a:lnTo>
                  <a:pt x="967" y="173"/>
                </a:lnTo>
                <a:lnTo>
                  <a:pt x="976" y="173"/>
                </a:lnTo>
                <a:lnTo>
                  <a:pt x="980" y="173"/>
                </a:lnTo>
                <a:lnTo>
                  <a:pt x="986" y="173"/>
                </a:lnTo>
                <a:lnTo>
                  <a:pt x="990" y="169"/>
                </a:lnTo>
                <a:lnTo>
                  <a:pt x="995" y="163"/>
                </a:lnTo>
                <a:lnTo>
                  <a:pt x="999" y="163"/>
                </a:lnTo>
                <a:lnTo>
                  <a:pt x="1005" y="163"/>
                </a:lnTo>
                <a:lnTo>
                  <a:pt x="1009" y="163"/>
                </a:lnTo>
                <a:lnTo>
                  <a:pt x="1015" y="163"/>
                </a:lnTo>
                <a:lnTo>
                  <a:pt x="1040" y="159"/>
                </a:lnTo>
                <a:lnTo>
                  <a:pt x="1063" y="154"/>
                </a:lnTo>
                <a:lnTo>
                  <a:pt x="1068" y="150"/>
                </a:lnTo>
                <a:lnTo>
                  <a:pt x="1072" y="144"/>
                </a:lnTo>
                <a:lnTo>
                  <a:pt x="1072" y="140"/>
                </a:lnTo>
                <a:lnTo>
                  <a:pt x="1072" y="134"/>
                </a:lnTo>
                <a:lnTo>
                  <a:pt x="1078" y="121"/>
                </a:lnTo>
                <a:lnTo>
                  <a:pt x="1082" y="106"/>
                </a:lnTo>
                <a:lnTo>
                  <a:pt x="1086" y="96"/>
                </a:lnTo>
                <a:lnTo>
                  <a:pt x="1091" y="87"/>
                </a:lnTo>
                <a:lnTo>
                  <a:pt x="1091" y="81"/>
                </a:lnTo>
                <a:lnTo>
                  <a:pt x="1091" y="77"/>
                </a:lnTo>
                <a:lnTo>
                  <a:pt x="1091" y="67"/>
                </a:lnTo>
                <a:lnTo>
                  <a:pt x="1091" y="58"/>
                </a:lnTo>
                <a:lnTo>
                  <a:pt x="1097" y="52"/>
                </a:lnTo>
                <a:lnTo>
                  <a:pt x="1101" y="48"/>
                </a:lnTo>
                <a:lnTo>
                  <a:pt x="1107" y="42"/>
                </a:lnTo>
                <a:lnTo>
                  <a:pt x="1111" y="39"/>
                </a:lnTo>
                <a:lnTo>
                  <a:pt x="1116" y="39"/>
                </a:lnTo>
                <a:lnTo>
                  <a:pt x="1120" y="39"/>
                </a:lnTo>
                <a:lnTo>
                  <a:pt x="1126" y="33"/>
                </a:lnTo>
                <a:lnTo>
                  <a:pt x="1130" y="29"/>
                </a:lnTo>
                <a:lnTo>
                  <a:pt x="1135" y="29"/>
                </a:lnTo>
                <a:lnTo>
                  <a:pt x="1139" y="29"/>
                </a:lnTo>
                <a:lnTo>
                  <a:pt x="1145" y="23"/>
                </a:lnTo>
                <a:lnTo>
                  <a:pt x="1149" y="19"/>
                </a:lnTo>
                <a:lnTo>
                  <a:pt x="1158" y="19"/>
                </a:lnTo>
                <a:lnTo>
                  <a:pt x="1170" y="19"/>
                </a:lnTo>
                <a:lnTo>
                  <a:pt x="1174" y="14"/>
                </a:lnTo>
                <a:lnTo>
                  <a:pt x="1178" y="10"/>
                </a:lnTo>
                <a:lnTo>
                  <a:pt x="1183" y="10"/>
                </a:lnTo>
                <a:lnTo>
                  <a:pt x="1189" y="10"/>
                </a:lnTo>
                <a:lnTo>
                  <a:pt x="1193" y="10"/>
                </a:lnTo>
                <a:lnTo>
                  <a:pt x="1199" y="10"/>
                </a:lnTo>
                <a:lnTo>
                  <a:pt x="1212" y="14"/>
                </a:lnTo>
                <a:lnTo>
                  <a:pt x="1228" y="19"/>
                </a:lnTo>
                <a:lnTo>
                  <a:pt x="1231" y="23"/>
                </a:lnTo>
                <a:lnTo>
                  <a:pt x="1237" y="29"/>
                </a:lnTo>
                <a:lnTo>
                  <a:pt x="1237" y="35"/>
                </a:lnTo>
                <a:lnTo>
                  <a:pt x="1239" y="37"/>
                </a:lnTo>
                <a:lnTo>
                  <a:pt x="1245" y="39"/>
                </a:lnTo>
                <a:lnTo>
                  <a:pt x="1256" y="39"/>
                </a:lnTo>
                <a:lnTo>
                  <a:pt x="1256" y="33"/>
                </a:lnTo>
                <a:lnTo>
                  <a:pt x="1256" y="29"/>
                </a:lnTo>
                <a:lnTo>
                  <a:pt x="1266" y="29"/>
                </a:lnTo>
                <a:lnTo>
                  <a:pt x="1276" y="29"/>
                </a:lnTo>
                <a:lnTo>
                  <a:pt x="1279" y="29"/>
                </a:lnTo>
                <a:lnTo>
                  <a:pt x="1285" y="29"/>
                </a:lnTo>
                <a:lnTo>
                  <a:pt x="1295" y="33"/>
                </a:lnTo>
                <a:lnTo>
                  <a:pt x="1304" y="39"/>
                </a:lnTo>
                <a:lnTo>
                  <a:pt x="1310" y="42"/>
                </a:lnTo>
                <a:lnTo>
                  <a:pt x="1314" y="48"/>
                </a:lnTo>
                <a:lnTo>
                  <a:pt x="1329" y="56"/>
                </a:lnTo>
                <a:lnTo>
                  <a:pt x="1347" y="65"/>
                </a:lnTo>
                <a:lnTo>
                  <a:pt x="1345" y="52"/>
                </a:lnTo>
                <a:lnTo>
                  <a:pt x="1343" y="39"/>
                </a:lnTo>
                <a:lnTo>
                  <a:pt x="1339" y="33"/>
                </a:lnTo>
                <a:lnTo>
                  <a:pt x="1333" y="29"/>
                </a:lnTo>
                <a:lnTo>
                  <a:pt x="1333" y="23"/>
                </a:lnTo>
                <a:lnTo>
                  <a:pt x="1333" y="19"/>
                </a:lnTo>
                <a:lnTo>
                  <a:pt x="1333" y="14"/>
                </a:lnTo>
                <a:lnTo>
                  <a:pt x="1333" y="10"/>
                </a:lnTo>
                <a:lnTo>
                  <a:pt x="1333" y="4"/>
                </a:lnTo>
                <a:lnTo>
                  <a:pt x="1333" y="0"/>
                </a:lnTo>
                <a:lnTo>
                  <a:pt x="1341" y="0"/>
                </a:lnTo>
                <a:lnTo>
                  <a:pt x="1348" y="0"/>
                </a:lnTo>
                <a:lnTo>
                  <a:pt x="1350" y="2"/>
                </a:lnTo>
                <a:lnTo>
                  <a:pt x="1352" y="4"/>
                </a:lnTo>
                <a:lnTo>
                  <a:pt x="1360" y="6"/>
                </a:lnTo>
                <a:lnTo>
                  <a:pt x="1368" y="10"/>
                </a:lnTo>
                <a:lnTo>
                  <a:pt x="1370" y="12"/>
                </a:lnTo>
                <a:lnTo>
                  <a:pt x="1371" y="14"/>
                </a:lnTo>
                <a:lnTo>
                  <a:pt x="1375" y="21"/>
                </a:lnTo>
                <a:lnTo>
                  <a:pt x="1377" y="29"/>
                </a:lnTo>
                <a:lnTo>
                  <a:pt x="1379" y="31"/>
                </a:lnTo>
                <a:lnTo>
                  <a:pt x="1381" y="33"/>
                </a:lnTo>
                <a:lnTo>
                  <a:pt x="1381" y="48"/>
                </a:lnTo>
                <a:lnTo>
                  <a:pt x="1381" y="62"/>
                </a:lnTo>
                <a:lnTo>
                  <a:pt x="1379" y="65"/>
                </a:lnTo>
                <a:lnTo>
                  <a:pt x="1377" y="67"/>
                </a:lnTo>
                <a:lnTo>
                  <a:pt x="1375" y="85"/>
                </a:lnTo>
                <a:lnTo>
                  <a:pt x="1371" y="100"/>
                </a:lnTo>
                <a:lnTo>
                  <a:pt x="1370" y="104"/>
                </a:lnTo>
                <a:lnTo>
                  <a:pt x="1368" y="106"/>
                </a:lnTo>
                <a:lnTo>
                  <a:pt x="1366" y="113"/>
                </a:lnTo>
                <a:lnTo>
                  <a:pt x="1362" y="121"/>
                </a:lnTo>
                <a:lnTo>
                  <a:pt x="1360" y="123"/>
                </a:lnTo>
                <a:lnTo>
                  <a:pt x="1358" y="125"/>
                </a:lnTo>
                <a:lnTo>
                  <a:pt x="1356" y="133"/>
                </a:lnTo>
                <a:lnTo>
                  <a:pt x="1352" y="140"/>
                </a:lnTo>
                <a:lnTo>
                  <a:pt x="1350" y="142"/>
                </a:lnTo>
                <a:lnTo>
                  <a:pt x="1348" y="144"/>
                </a:lnTo>
                <a:lnTo>
                  <a:pt x="1348" y="154"/>
                </a:lnTo>
                <a:lnTo>
                  <a:pt x="1348" y="163"/>
                </a:lnTo>
                <a:lnTo>
                  <a:pt x="1350" y="167"/>
                </a:lnTo>
                <a:lnTo>
                  <a:pt x="1352" y="169"/>
                </a:lnTo>
                <a:lnTo>
                  <a:pt x="1356" y="171"/>
                </a:lnTo>
                <a:lnTo>
                  <a:pt x="1358" y="173"/>
                </a:lnTo>
                <a:lnTo>
                  <a:pt x="1360" y="177"/>
                </a:lnTo>
                <a:lnTo>
                  <a:pt x="1362" y="179"/>
                </a:lnTo>
                <a:lnTo>
                  <a:pt x="1366" y="181"/>
                </a:lnTo>
                <a:lnTo>
                  <a:pt x="1368" y="182"/>
                </a:lnTo>
                <a:lnTo>
                  <a:pt x="1370" y="186"/>
                </a:lnTo>
                <a:lnTo>
                  <a:pt x="1371" y="188"/>
                </a:lnTo>
                <a:lnTo>
                  <a:pt x="1371" y="200"/>
                </a:lnTo>
                <a:lnTo>
                  <a:pt x="1371" y="211"/>
                </a:lnTo>
                <a:lnTo>
                  <a:pt x="1387" y="211"/>
                </a:lnTo>
                <a:lnTo>
                  <a:pt x="1404" y="211"/>
                </a:lnTo>
                <a:lnTo>
                  <a:pt x="1419" y="211"/>
                </a:lnTo>
                <a:lnTo>
                  <a:pt x="1435" y="211"/>
                </a:lnTo>
                <a:lnTo>
                  <a:pt x="1437" y="215"/>
                </a:lnTo>
                <a:lnTo>
                  <a:pt x="1441" y="217"/>
                </a:lnTo>
                <a:lnTo>
                  <a:pt x="1446" y="225"/>
                </a:lnTo>
                <a:lnTo>
                  <a:pt x="1454" y="232"/>
                </a:lnTo>
                <a:lnTo>
                  <a:pt x="1456" y="234"/>
                </a:lnTo>
                <a:lnTo>
                  <a:pt x="1460" y="236"/>
                </a:lnTo>
                <a:lnTo>
                  <a:pt x="1462" y="238"/>
                </a:lnTo>
                <a:lnTo>
                  <a:pt x="1464" y="242"/>
                </a:lnTo>
                <a:lnTo>
                  <a:pt x="1465" y="244"/>
                </a:lnTo>
                <a:lnTo>
                  <a:pt x="1469" y="246"/>
                </a:lnTo>
                <a:lnTo>
                  <a:pt x="1471" y="248"/>
                </a:lnTo>
                <a:lnTo>
                  <a:pt x="1473" y="252"/>
                </a:lnTo>
                <a:lnTo>
                  <a:pt x="1477" y="253"/>
                </a:lnTo>
                <a:lnTo>
                  <a:pt x="1479" y="255"/>
                </a:lnTo>
                <a:lnTo>
                  <a:pt x="1479" y="265"/>
                </a:lnTo>
                <a:lnTo>
                  <a:pt x="1479" y="275"/>
                </a:lnTo>
                <a:lnTo>
                  <a:pt x="1477" y="278"/>
                </a:lnTo>
                <a:lnTo>
                  <a:pt x="1473" y="280"/>
                </a:lnTo>
                <a:lnTo>
                  <a:pt x="1471" y="292"/>
                </a:lnTo>
                <a:lnTo>
                  <a:pt x="1469" y="303"/>
                </a:lnTo>
                <a:lnTo>
                  <a:pt x="1465" y="307"/>
                </a:lnTo>
                <a:lnTo>
                  <a:pt x="1464" y="309"/>
                </a:lnTo>
                <a:lnTo>
                  <a:pt x="1462" y="311"/>
                </a:lnTo>
                <a:lnTo>
                  <a:pt x="1460" y="315"/>
                </a:lnTo>
                <a:lnTo>
                  <a:pt x="1456" y="317"/>
                </a:lnTo>
                <a:lnTo>
                  <a:pt x="1454" y="319"/>
                </a:lnTo>
                <a:lnTo>
                  <a:pt x="1446" y="321"/>
                </a:lnTo>
                <a:lnTo>
                  <a:pt x="1441" y="324"/>
                </a:lnTo>
                <a:lnTo>
                  <a:pt x="1437" y="326"/>
                </a:lnTo>
                <a:lnTo>
                  <a:pt x="1435" y="328"/>
                </a:lnTo>
                <a:lnTo>
                  <a:pt x="1433" y="330"/>
                </a:lnTo>
                <a:lnTo>
                  <a:pt x="1431" y="332"/>
                </a:lnTo>
                <a:lnTo>
                  <a:pt x="1427" y="336"/>
                </a:lnTo>
                <a:lnTo>
                  <a:pt x="1425" y="338"/>
                </a:lnTo>
                <a:lnTo>
                  <a:pt x="1418" y="340"/>
                </a:lnTo>
                <a:lnTo>
                  <a:pt x="1410" y="344"/>
                </a:lnTo>
                <a:lnTo>
                  <a:pt x="1408" y="346"/>
                </a:lnTo>
                <a:lnTo>
                  <a:pt x="1406" y="347"/>
                </a:lnTo>
                <a:lnTo>
                  <a:pt x="1406" y="367"/>
                </a:lnTo>
                <a:lnTo>
                  <a:pt x="1406" y="386"/>
                </a:lnTo>
                <a:lnTo>
                  <a:pt x="1408" y="388"/>
                </a:lnTo>
                <a:lnTo>
                  <a:pt x="1410" y="392"/>
                </a:lnTo>
                <a:lnTo>
                  <a:pt x="1410" y="395"/>
                </a:lnTo>
                <a:lnTo>
                  <a:pt x="1410" y="401"/>
                </a:lnTo>
                <a:lnTo>
                  <a:pt x="1408" y="403"/>
                </a:lnTo>
                <a:lnTo>
                  <a:pt x="1406" y="405"/>
                </a:lnTo>
                <a:lnTo>
                  <a:pt x="1406" y="411"/>
                </a:lnTo>
                <a:lnTo>
                  <a:pt x="1406" y="415"/>
                </a:lnTo>
                <a:lnTo>
                  <a:pt x="1408" y="417"/>
                </a:lnTo>
                <a:lnTo>
                  <a:pt x="1410" y="420"/>
                </a:lnTo>
                <a:lnTo>
                  <a:pt x="1414" y="422"/>
                </a:lnTo>
                <a:lnTo>
                  <a:pt x="1416" y="424"/>
                </a:lnTo>
                <a:lnTo>
                  <a:pt x="1418" y="428"/>
                </a:lnTo>
                <a:lnTo>
                  <a:pt x="1421" y="430"/>
                </a:lnTo>
                <a:lnTo>
                  <a:pt x="1423" y="438"/>
                </a:lnTo>
                <a:lnTo>
                  <a:pt x="1425" y="443"/>
                </a:lnTo>
                <a:lnTo>
                  <a:pt x="1427" y="447"/>
                </a:lnTo>
                <a:lnTo>
                  <a:pt x="1431" y="449"/>
                </a:lnTo>
                <a:lnTo>
                  <a:pt x="1433" y="461"/>
                </a:lnTo>
                <a:lnTo>
                  <a:pt x="1435" y="474"/>
                </a:lnTo>
                <a:lnTo>
                  <a:pt x="1437" y="476"/>
                </a:lnTo>
                <a:lnTo>
                  <a:pt x="1441" y="478"/>
                </a:lnTo>
                <a:lnTo>
                  <a:pt x="1442" y="480"/>
                </a:lnTo>
                <a:lnTo>
                  <a:pt x="1444" y="484"/>
                </a:lnTo>
                <a:lnTo>
                  <a:pt x="1448" y="486"/>
                </a:lnTo>
                <a:lnTo>
                  <a:pt x="1450" y="488"/>
                </a:lnTo>
                <a:lnTo>
                  <a:pt x="1452" y="489"/>
                </a:lnTo>
                <a:lnTo>
                  <a:pt x="1454" y="493"/>
                </a:lnTo>
                <a:lnTo>
                  <a:pt x="1456" y="495"/>
                </a:lnTo>
                <a:lnTo>
                  <a:pt x="1460" y="497"/>
                </a:lnTo>
                <a:lnTo>
                  <a:pt x="1462" y="499"/>
                </a:lnTo>
                <a:lnTo>
                  <a:pt x="1464" y="503"/>
                </a:lnTo>
                <a:lnTo>
                  <a:pt x="1465" y="505"/>
                </a:lnTo>
                <a:lnTo>
                  <a:pt x="1469" y="507"/>
                </a:lnTo>
                <a:lnTo>
                  <a:pt x="1469" y="516"/>
                </a:lnTo>
                <a:lnTo>
                  <a:pt x="1469" y="526"/>
                </a:lnTo>
                <a:lnTo>
                  <a:pt x="1465" y="530"/>
                </a:lnTo>
                <a:lnTo>
                  <a:pt x="1464" y="532"/>
                </a:lnTo>
                <a:lnTo>
                  <a:pt x="1462" y="539"/>
                </a:lnTo>
                <a:lnTo>
                  <a:pt x="1460" y="547"/>
                </a:lnTo>
                <a:lnTo>
                  <a:pt x="1456" y="549"/>
                </a:lnTo>
                <a:lnTo>
                  <a:pt x="1454" y="551"/>
                </a:lnTo>
                <a:lnTo>
                  <a:pt x="1452" y="562"/>
                </a:lnTo>
                <a:lnTo>
                  <a:pt x="1450" y="576"/>
                </a:lnTo>
                <a:lnTo>
                  <a:pt x="1448" y="578"/>
                </a:lnTo>
                <a:lnTo>
                  <a:pt x="1444" y="580"/>
                </a:lnTo>
                <a:lnTo>
                  <a:pt x="1442" y="582"/>
                </a:lnTo>
                <a:lnTo>
                  <a:pt x="1441" y="585"/>
                </a:lnTo>
                <a:lnTo>
                  <a:pt x="1437" y="587"/>
                </a:lnTo>
                <a:lnTo>
                  <a:pt x="1435" y="589"/>
                </a:lnTo>
                <a:lnTo>
                  <a:pt x="1431" y="589"/>
                </a:lnTo>
                <a:lnTo>
                  <a:pt x="1425" y="589"/>
                </a:lnTo>
                <a:lnTo>
                  <a:pt x="1423" y="587"/>
                </a:lnTo>
                <a:lnTo>
                  <a:pt x="1421" y="585"/>
                </a:lnTo>
                <a:lnTo>
                  <a:pt x="1416" y="585"/>
                </a:lnTo>
                <a:lnTo>
                  <a:pt x="1410" y="585"/>
                </a:lnTo>
                <a:lnTo>
                  <a:pt x="1408" y="587"/>
                </a:lnTo>
                <a:lnTo>
                  <a:pt x="1406" y="589"/>
                </a:lnTo>
                <a:lnTo>
                  <a:pt x="1404" y="597"/>
                </a:lnTo>
                <a:lnTo>
                  <a:pt x="1402" y="605"/>
                </a:lnTo>
                <a:lnTo>
                  <a:pt x="1398" y="606"/>
                </a:lnTo>
                <a:lnTo>
                  <a:pt x="1396" y="608"/>
                </a:lnTo>
                <a:lnTo>
                  <a:pt x="1394" y="610"/>
                </a:lnTo>
                <a:lnTo>
                  <a:pt x="1393" y="614"/>
                </a:lnTo>
                <a:lnTo>
                  <a:pt x="1389" y="616"/>
                </a:lnTo>
                <a:lnTo>
                  <a:pt x="1387" y="618"/>
                </a:lnTo>
                <a:lnTo>
                  <a:pt x="1385" y="620"/>
                </a:lnTo>
                <a:lnTo>
                  <a:pt x="1381" y="624"/>
                </a:lnTo>
                <a:lnTo>
                  <a:pt x="1379" y="626"/>
                </a:lnTo>
                <a:lnTo>
                  <a:pt x="1377" y="628"/>
                </a:lnTo>
                <a:lnTo>
                  <a:pt x="1375" y="631"/>
                </a:lnTo>
                <a:lnTo>
                  <a:pt x="1373" y="637"/>
                </a:lnTo>
                <a:lnTo>
                  <a:pt x="1375" y="645"/>
                </a:lnTo>
                <a:lnTo>
                  <a:pt x="1377" y="647"/>
                </a:lnTo>
                <a:lnTo>
                  <a:pt x="1379" y="649"/>
                </a:lnTo>
                <a:lnTo>
                  <a:pt x="1381" y="653"/>
                </a:lnTo>
                <a:lnTo>
                  <a:pt x="1385" y="654"/>
                </a:lnTo>
                <a:lnTo>
                  <a:pt x="1387" y="656"/>
                </a:lnTo>
                <a:lnTo>
                  <a:pt x="1389" y="660"/>
                </a:lnTo>
                <a:lnTo>
                  <a:pt x="1393" y="662"/>
                </a:lnTo>
                <a:lnTo>
                  <a:pt x="1393" y="666"/>
                </a:lnTo>
                <a:lnTo>
                  <a:pt x="1393" y="672"/>
                </a:lnTo>
                <a:lnTo>
                  <a:pt x="1389" y="674"/>
                </a:lnTo>
                <a:lnTo>
                  <a:pt x="1387" y="676"/>
                </a:lnTo>
                <a:lnTo>
                  <a:pt x="1379" y="679"/>
                </a:lnTo>
                <a:lnTo>
                  <a:pt x="1371" y="681"/>
                </a:lnTo>
                <a:lnTo>
                  <a:pt x="1370" y="683"/>
                </a:lnTo>
                <a:lnTo>
                  <a:pt x="1368" y="685"/>
                </a:lnTo>
                <a:lnTo>
                  <a:pt x="1366" y="693"/>
                </a:lnTo>
                <a:lnTo>
                  <a:pt x="1362" y="701"/>
                </a:lnTo>
                <a:lnTo>
                  <a:pt x="1360" y="702"/>
                </a:lnTo>
                <a:lnTo>
                  <a:pt x="1358" y="706"/>
                </a:lnTo>
                <a:lnTo>
                  <a:pt x="1356" y="708"/>
                </a:lnTo>
                <a:lnTo>
                  <a:pt x="1352" y="710"/>
                </a:lnTo>
                <a:lnTo>
                  <a:pt x="1350" y="712"/>
                </a:lnTo>
                <a:lnTo>
                  <a:pt x="1348" y="716"/>
                </a:lnTo>
                <a:lnTo>
                  <a:pt x="1348" y="725"/>
                </a:lnTo>
                <a:lnTo>
                  <a:pt x="1348" y="735"/>
                </a:lnTo>
                <a:lnTo>
                  <a:pt x="1350" y="737"/>
                </a:lnTo>
                <a:lnTo>
                  <a:pt x="1352" y="739"/>
                </a:lnTo>
                <a:lnTo>
                  <a:pt x="1356" y="747"/>
                </a:lnTo>
                <a:lnTo>
                  <a:pt x="1358" y="754"/>
                </a:lnTo>
                <a:lnTo>
                  <a:pt x="1360" y="756"/>
                </a:lnTo>
                <a:lnTo>
                  <a:pt x="1362" y="758"/>
                </a:lnTo>
                <a:lnTo>
                  <a:pt x="1366" y="772"/>
                </a:lnTo>
                <a:lnTo>
                  <a:pt x="1368" y="783"/>
                </a:lnTo>
                <a:lnTo>
                  <a:pt x="1370" y="785"/>
                </a:lnTo>
                <a:lnTo>
                  <a:pt x="1371" y="789"/>
                </a:lnTo>
                <a:lnTo>
                  <a:pt x="1375" y="795"/>
                </a:lnTo>
                <a:lnTo>
                  <a:pt x="1377" y="802"/>
                </a:lnTo>
                <a:lnTo>
                  <a:pt x="1379" y="804"/>
                </a:lnTo>
                <a:lnTo>
                  <a:pt x="1381" y="808"/>
                </a:lnTo>
                <a:lnTo>
                  <a:pt x="1385" y="810"/>
                </a:lnTo>
                <a:lnTo>
                  <a:pt x="1387" y="812"/>
                </a:lnTo>
                <a:lnTo>
                  <a:pt x="1389" y="814"/>
                </a:lnTo>
                <a:lnTo>
                  <a:pt x="1393" y="818"/>
                </a:lnTo>
                <a:lnTo>
                  <a:pt x="1396" y="819"/>
                </a:lnTo>
                <a:lnTo>
                  <a:pt x="1402" y="821"/>
                </a:lnTo>
                <a:lnTo>
                  <a:pt x="1408" y="827"/>
                </a:lnTo>
                <a:lnTo>
                  <a:pt x="1410" y="831"/>
                </a:lnTo>
              </a:path>
            </a:pathLst>
          </a:custGeom>
          <a:solidFill>
            <a:schemeClr val="accent3"/>
          </a:solidFill>
          <a:ln w="12700">
            <a:solidFill>
              <a:schemeClr val="bg1"/>
            </a:solidFill>
            <a:round/>
            <a:headEnd/>
            <a:tailEnd/>
          </a:ln>
        </p:spPr>
        <p:txBody>
          <a:bodyPr/>
          <a:lstStyle/>
          <a:p>
            <a:endParaRPr lang="en-GB"/>
          </a:p>
        </p:txBody>
      </p:sp>
      <p:sp>
        <p:nvSpPr>
          <p:cNvPr id="89" name="Freeform 95"/>
          <p:cNvSpPr>
            <a:spLocks/>
          </p:cNvSpPr>
          <p:nvPr>
            <p:custDataLst>
              <p:tags r:id="rId70"/>
            </p:custDataLst>
          </p:nvPr>
        </p:nvSpPr>
        <p:spPr bwMode="auto">
          <a:xfrm>
            <a:off x="6396798" y="4550772"/>
            <a:ext cx="1081361" cy="670277"/>
          </a:xfrm>
          <a:custGeom>
            <a:avLst/>
            <a:gdLst>
              <a:gd name="T0" fmla="*/ 2147483647 w 792"/>
              <a:gd name="T1" fmla="*/ 2147483647 h 510"/>
              <a:gd name="T2" fmla="*/ 2147483647 w 792"/>
              <a:gd name="T3" fmla="*/ 2147483647 h 510"/>
              <a:gd name="T4" fmla="*/ 2147483647 w 792"/>
              <a:gd name="T5" fmla="*/ 2147483647 h 510"/>
              <a:gd name="T6" fmla="*/ 2147483647 w 792"/>
              <a:gd name="T7" fmla="*/ 2147483647 h 510"/>
              <a:gd name="T8" fmla="*/ 2147483647 w 792"/>
              <a:gd name="T9" fmla="*/ 2147483647 h 510"/>
              <a:gd name="T10" fmla="*/ 2147483647 w 792"/>
              <a:gd name="T11" fmla="*/ 2147483647 h 510"/>
              <a:gd name="T12" fmla="*/ 2147483647 w 792"/>
              <a:gd name="T13" fmla="*/ 2147483647 h 510"/>
              <a:gd name="T14" fmla="*/ 2147483647 w 792"/>
              <a:gd name="T15" fmla="*/ 2147483647 h 510"/>
              <a:gd name="T16" fmla="*/ 2147483647 w 792"/>
              <a:gd name="T17" fmla="*/ 2147483647 h 510"/>
              <a:gd name="T18" fmla="*/ 2147483647 w 792"/>
              <a:gd name="T19" fmla="*/ 2147483647 h 510"/>
              <a:gd name="T20" fmla="*/ 2147483647 w 792"/>
              <a:gd name="T21" fmla="*/ 2147483647 h 510"/>
              <a:gd name="T22" fmla="*/ 2147483647 w 792"/>
              <a:gd name="T23" fmla="*/ 2147483647 h 510"/>
              <a:gd name="T24" fmla="*/ 2147483647 w 792"/>
              <a:gd name="T25" fmla="*/ 2147483647 h 510"/>
              <a:gd name="T26" fmla="*/ 2147483647 w 792"/>
              <a:gd name="T27" fmla="*/ 2147483647 h 510"/>
              <a:gd name="T28" fmla="*/ 2147483647 w 792"/>
              <a:gd name="T29" fmla="*/ 2147483647 h 510"/>
              <a:gd name="T30" fmla="*/ 2147483647 w 792"/>
              <a:gd name="T31" fmla="*/ 2147483647 h 510"/>
              <a:gd name="T32" fmla="*/ 2147483647 w 792"/>
              <a:gd name="T33" fmla="*/ 2147483647 h 510"/>
              <a:gd name="T34" fmla="*/ 2147483647 w 792"/>
              <a:gd name="T35" fmla="*/ 2147483647 h 510"/>
              <a:gd name="T36" fmla="*/ 2147483647 w 792"/>
              <a:gd name="T37" fmla="*/ 2147483647 h 510"/>
              <a:gd name="T38" fmla="*/ 2147483647 w 792"/>
              <a:gd name="T39" fmla="*/ 2147483647 h 510"/>
              <a:gd name="T40" fmla="*/ 2147483647 w 792"/>
              <a:gd name="T41" fmla="*/ 2147483647 h 510"/>
              <a:gd name="T42" fmla="*/ 2147483647 w 792"/>
              <a:gd name="T43" fmla="*/ 2147483647 h 510"/>
              <a:gd name="T44" fmla="*/ 2147483647 w 792"/>
              <a:gd name="T45" fmla="*/ 2147483647 h 510"/>
              <a:gd name="T46" fmla="*/ 2147483647 w 792"/>
              <a:gd name="T47" fmla="*/ 2147483647 h 510"/>
              <a:gd name="T48" fmla="*/ 2147483647 w 792"/>
              <a:gd name="T49" fmla="*/ 2147483647 h 510"/>
              <a:gd name="T50" fmla="*/ 2147483647 w 792"/>
              <a:gd name="T51" fmla="*/ 2147483647 h 510"/>
              <a:gd name="T52" fmla="*/ 2147483647 w 792"/>
              <a:gd name="T53" fmla="*/ 2147483647 h 510"/>
              <a:gd name="T54" fmla="*/ 2147483647 w 792"/>
              <a:gd name="T55" fmla="*/ 2147483647 h 510"/>
              <a:gd name="T56" fmla="*/ 2147483647 w 792"/>
              <a:gd name="T57" fmla="*/ 2147483647 h 510"/>
              <a:gd name="T58" fmla="*/ 2147483647 w 792"/>
              <a:gd name="T59" fmla="*/ 2147483647 h 510"/>
              <a:gd name="T60" fmla="*/ 2147483647 w 792"/>
              <a:gd name="T61" fmla="*/ 2147483647 h 510"/>
              <a:gd name="T62" fmla="*/ 2147483647 w 792"/>
              <a:gd name="T63" fmla="*/ 2147483647 h 510"/>
              <a:gd name="T64" fmla="*/ 2147483647 w 792"/>
              <a:gd name="T65" fmla="*/ 2147483647 h 510"/>
              <a:gd name="T66" fmla="*/ 2147483647 w 792"/>
              <a:gd name="T67" fmla="*/ 2147483647 h 510"/>
              <a:gd name="T68" fmla="*/ 2147483647 w 792"/>
              <a:gd name="T69" fmla="*/ 2147483647 h 510"/>
              <a:gd name="T70" fmla="*/ 2147483647 w 792"/>
              <a:gd name="T71" fmla="*/ 2147483647 h 510"/>
              <a:gd name="T72" fmla="*/ 2147483647 w 792"/>
              <a:gd name="T73" fmla="*/ 2147483647 h 510"/>
              <a:gd name="T74" fmla="*/ 2147483647 w 792"/>
              <a:gd name="T75" fmla="*/ 2147483647 h 510"/>
              <a:gd name="T76" fmla="*/ 2147483647 w 792"/>
              <a:gd name="T77" fmla="*/ 2147483647 h 510"/>
              <a:gd name="T78" fmla="*/ 2147483647 w 792"/>
              <a:gd name="T79" fmla="*/ 2147483647 h 510"/>
              <a:gd name="T80" fmla="*/ 2147483647 w 792"/>
              <a:gd name="T81" fmla="*/ 2147483647 h 510"/>
              <a:gd name="T82" fmla="*/ 2147483647 w 792"/>
              <a:gd name="T83" fmla="*/ 2147483647 h 510"/>
              <a:gd name="T84" fmla="*/ 2147483647 w 792"/>
              <a:gd name="T85" fmla="*/ 2147483647 h 510"/>
              <a:gd name="T86" fmla="*/ 2147483647 w 792"/>
              <a:gd name="T87" fmla="*/ 2147483647 h 510"/>
              <a:gd name="T88" fmla="*/ 2147483647 w 792"/>
              <a:gd name="T89" fmla="*/ 2147483647 h 510"/>
              <a:gd name="T90" fmla="*/ 2147483647 w 792"/>
              <a:gd name="T91" fmla="*/ 2147483647 h 510"/>
              <a:gd name="T92" fmla="*/ 2147483647 w 792"/>
              <a:gd name="T93" fmla="*/ 2147483647 h 510"/>
              <a:gd name="T94" fmla="*/ 2147483647 w 792"/>
              <a:gd name="T95" fmla="*/ 2147483647 h 510"/>
              <a:gd name="T96" fmla="*/ 2147483647 w 792"/>
              <a:gd name="T97" fmla="*/ 2147483647 h 510"/>
              <a:gd name="T98" fmla="*/ 2147483647 w 792"/>
              <a:gd name="T99" fmla="*/ 2147483647 h 510"/>
              <a:gd name="T100" fmla="*/ 2147483647 w 792"/>
              <a:gd name="T101" fmla="*/ 2147483647 h 510"/>
              <a:gd name="T102" fmla="*/ 2147483647 w 792"/>
              <a:gd name="T103" fmla="*/ 2147483647 h 510"/>
              <a:gd name="T104" fmla="*/ 2147483647 w 792"/>
              <a:gd name="T105" fmla="*/ 2147483647 h 510"/>
              <a:gd name="T106" fmla="*/ 2147483647 w 792"/>
              <a:gd name="T107" fmla="*/ 2147483647 h 510"/>
              <a:gd name="T108" fmla="*/ 2147483647 w 792"/>
              <a:gd name="T109" fmla="*/ 2147483647 h 510"/>
              <a:gd name="T110" fmla="*/ 2147483647 w 792"/>
              <a:gd name="T111" fmla="*/ 2147483647 h 510"/>
              <a:gd name="T112" fmla="*/ 2147483647 w 792"/>
              <a:gd name="T113" fmla="*/ 2147483647 h 510"/>
              <a:gd name="T114" fmla="*/ 2147483647 w 792"/>
              <a:gd name="T115" fmla="*/ 2147483647 h 510"/>
              <a:gd name="T116" fmla="*/ 2147483647 w 792"/>
              <a:gd name="T117" fmla="*/ 2147483647 h 510"/>
              <a:gd name="T118" fmla="*/ 2147483647 w 792"/>
              <a:gd name="T119" fmla="*/ 2147483647 h 5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92"/>
              <a:gd name="T181" fmla="*/ 0 h 510"/>
              <a:gd name="T182" fmla="*/ 792 w 792"/>
              <a:gd name="T183" fmla="*/ 510 h 5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92" h="510">
                <a:moveTo>
                  <a:pt x="299" y="337"/>
                </a:moveTo>
                <a:lnTo>
                  <a:pt x="282" y="339"/>
                </a:lnTo>
                <a:lnTo>
                  <a:pt x="266" y="339"/>
                </a:lnTo>
                <a:lnTo>
                  <a:pt x="253" y="341"/>
                </a:lnTo>
                <a:lnTo>
                  <a:pt x="242" y="345"/>
                </a:lnTo>
                <a:lnTo>
                  <a:pt x="230" y="349"/>
                </a:lnTo>
                <a:lnTo>
                  <a:pt x="219" y="357"/>
                </a:lnTo>
                <a:lnTo>
                  <a:pt x="207" y="364"/>
                </a:lnTo>
                <a:lnTo>
                  <a:pt x="194" y="376"/>
                </a:lnTo>
                <a:lnTo>
                  <a:pt x="192" y="376"/>
                </a:lnTo>
                <a:lnTo>
                  <a:pt x="190" y="376"/>
                </a:lnTo>
                <a:lnTo>
                  <a:pt x="186" y="374"/>
                </a:lnTo>
                <a:lnTo>
                  <a:pt x="184" y="372"/>
                </a:lnTo>
                <a:lnTo>
                  <a:pt x="182" y="370"/>
                </a:lnTo>
                <a:lnTo>
                  <a:pt x="178" y="366"/>
                </a:lnTo>
                <a:lnTo>
                  <a:pt x="176" y="364"/>
                </a:lnTo>
                <a:lnTo>
                  <a:pt x="174" y="362"/>
                </a:lnTo>
                <a:lnTo>
                  <a:pt x="171" y="359"/>
                </a:lnTo>
                <a:lnTo>
                  <a:pt x="169" y="357"/>
                </a:lnTo>
                <a:lnTo>
                  <a:pt x="167" y="355"/>
                </a:lnTo>
                <a:lnTo>
                  <a:pt x="165" y="353"/>
                </a:lnTo>
                <a:lnTo>
                  <a:pt x="165" y="347"/>
                </a:lnTo>
                <a:lnTo>
                  <a:pt x="165" y="343"/>
                </a:lnTo>
                <a:lnTo>
                  <a:pt x="167" y="339"/>
                </a:lnTo>
                <a:lnTo>
                  <a:pt x="169" y="337"/>
                </a:lnTo>
                <a:lnTo>
                  <a:pt x="171" y="328"/>
                </a:lnTo>
                <a:lnTo>
                  <a:pt x="174" y="318"/>
                </a:lnTo>
                <a:lnTo>
                  <a:pt x="167" y="318"/>
                </a:lnTo>
                <a:lnTo>
                  <a:pt x="159" y="318"/>
                </a:lnTo>
                <a:lnTo>
                  <a:pt x="157" y="316"/>
                </a:lnTo>
                <a:lnTo>
                  <a:pt x="155" y="314"/>
                </a:lnTo>
                <a:lnTo>
                  <a:pt x="151" y="297"/>
                </a:lnTo>
                <a:lnTo>
                  <a:pt x="149" y="280"/>
                </a:lnTo>
                <a:lnTo>
                  <a:pt x="148" y="278"/>
                </a:lnTo>
                <a:lnTo>
                  <a:pt x="146" y="274"/>
                </a:lnTo>
                <a:lnTo>
                  <a:pt x="142" y="266"/>
                </a:lnTo>
                <a:lnTo>
                  <a:pt x="140" y="261"/>
                </a:lnTo>
                <a:lnTo>
                  <a:pt x="138" y="257"/>
                </a:lnTo>
                <a:lnTo>
                  <a:pt x="136" y="255"/>
                </a:lnTo>
                <a:lnTo>
                  <a:pt x="119" y="253"/>
                </a:lnTo>
                <a:lnTo>
                  <a:pt x="101" y="251"/>
                </a:lnTo>
                <a:lnTo>
                  <a:pt x="100" y="247"/>
                </a:lnTo>
                <a:lnTo>
                  <a:pt x="96" y="245"/>
                </a:lnTo>
                <a:lnTo>
                  <a:pt x="94" y="243"/>
                </a:lnTo>
                <a:lnTo>
                  <a:pt x="92" y="241"/>
                </a:lnTo>
                <a:lnTo>
                  <a:pt x="90" y="238"/>
                </a:lnTo>
                <a:lnTo>
                  <a:pt x="86" y="236"/>
                </a:lnTo>
                <a:lnTo>
                  <a:pt x="84" y="234"/>
                </a:lnTo>
                <a:lnTo>
                  <a:pt x="77" y="232"/>
                </a:lnTo>
                <a:lnTo>
                  <a:pt x="71" y="234"/>
                </a:lnTo>
                <a:lnTo>
                  <a:pt x="67" y="236"/>
                </a:lnTo>
                <a:lnTo>
                  <a:pt x="65" y="238"/>
                </a:lnTo>
                <a:lnTo>
                  <a:pt x="63" y="241"/>
                </a:lnTo>
                <a:lnTo>
                  <a:pt x="59" y="243"/>
                </a:lnTo>
                <a:lnTo>
                  <a:pt x="57" y="245"/>
                </a:lnTo>
                <a:lnTo>
                  <a:pt x="55" y="247"/>
                </a:lnTo>
                <a:lnTo>
                  <a:pt x="54" y="251"/>
                </a:lnTo>
                <a:lnTo>
                  <a:pt x="48" y="251"/>
                </a:lnTo>
                <a:lnTo>
                  <a:pt x="44" y="251"/>
                </a:lnTo>
                <a:lnTo>
                  <a:pt x="42" y="247"/>
                </a:lnTo>
                <a:lnTo>
                  <a:pt x="38" y="245"/>
                </a:lnTo>
                <a:lnTo>
                  <a:pt x="42" y="238"/>
                </a:lnTo>
                <a:lnTo>
                  <a:pt x="46" y="228"/>
                </a:lnTo>
                <a:lnTo>
                  <a:pt x="40" y="224"/>
                </a:lnTo>
                <a:lnTo>
                  <a:pt x="34" y="222"/>
                </a:lnTo>
                <a:lnTo>
                  <a:pt x="31" y="218"/>
                </a:lnTo>
                <a:lnTo>
                  <a:pt x="29" y="217"/>
                </a:lnTo>
                <a:lnTo>
                  <a:pt x="21" y="215"/>
                </a:lnTo>
                <a:lnTo>
                  <a:pt x="15" y="213"/>
                </a:lnTo>
                <a:lnTo>
                  <a:pt x="11" y="209"/>
                </a:lnTo>
                <a:lnTo>
                  <a:pt x="9" y="207"/>
                </a:lnTo>
                <a:lnTo>
                  <a:pt x="7" y="199"/>
                </a:lnTo>
                <a:lnTo>
                  <a:pt x="6" y="192"/>
                </a:lnTo>
                <a:lnTo>
                  <a:pt x="2" y="190"/>
                </a:lnTo>
                <a:lnTo>
                  <a:pt x="0" y="188"/>
                </a:lnTo>
                <a:lnTo>
                  <a:pt x="6" y="182"/>
                </a:lnTo>
                <a:lnTo>
                  <a:pt x="9" y="178"/>
                </a:lnTo>
                <a:lnTo>
                  <a:pt x="11" y="176"/>
                </a:lnTo>
                <a:lnTo>
                  <a:pt x="15" y="172"/>
                </a:lnTo>
                <a:lnTo>
                  <a:pt x="17" y="170"/>
                </a:lnTo>
                <a:lnTo>
                  <a:pt x="19" y="169"/>
                </a:lnTo>
                <a:lnTo>
                  <a:pt x="21" y="167"/>
                </a:lnTo>
                <a:lnTo>
                  <a:pt x="25" y="163"/>
                </a:lnTo>
                <a:lnTo>
                  <a:pt x="31" y="161"/>
                </a:lnTo>
                <a:lnTo>
                  <a:pt x="38" y="159"/>
                </a:lnTo>
                <a:lnTo>
                  <a:pt x="42" y="155"/>
                </a:lnTo>
                <a:lnTo>
                  <a:pt x="44" y="153"/>
                </a:lnTo>
                <a:lnTo>
                  <a:pt x="48" y="153"/>
                </a:lnTo>
                <a:lnTo>
                  <a:pt x="54" y="153"/>
                </a:lnTo>
                <a:lnTo>
                  <a:pt x="55" y="155"/>
                </a:lnTo>
                <a:lnTo>
                  <a:pt x="57" y="159"/>
                </a:lnTo>
                <a:lnTo>
                  <a:pt x="65" y="161"/>
                </a:lnTo>
                <a:lnTo>
                  <a:pt x="77" y="163"/>
                </a:lnTo>
                <a:lnTo>
                  <a:pt x="90" y="161"/>
                </a:lnTo>
                <a:lnTo>
                  <a:pt x="96" y="159"/>
                </a:lnTo>
                <a:lnTo>
                  <a:pt x="100" y="155"/>
                </a:lnTo>
                <a:lnTo>
                  <a:pt x="101" y="153"/>
                </a:lnTo>
                <a:lnTo>
                  <a:pt x="117" y="153"/>
                </a:lnTo>
                <a:lnTo>
                  <a:pt x="132" y="151"/>
                </a:lnTo>
                <a:lnTo>
                  <a:pt x="149" y="149"/>
                </a:lnTo>
                <a:lnTo>
                  <a:pt x="165" y="149"/>
                </a:lnTo>
                <a:lnTo>
                  <a:pt x="167" y="146"/>
                </a:lnTo>
                <a:lnTo>
                  <a:pt x="169" y="144"/>
                </a:lnTo>
                <a:lnTo>
                  <a:pt x="171" y="146"/>
                </a:lnTo>
                <a:lnTo>
                  <a:pt x="174" y="149"/>
                </a:lnTo>
                <a:lnTo>
                  <a:pt x="182" y="151"/>
                </a:lnTo>
                <a:lnTo>
                  <a:pt x="190" y="153"/>
                </a:lnTo>
                <a:lnTo>
                  <a:pt x="192" y="155"/>
                </a:lnTo>
                <a:lnTo>
                  <a:pt x="194" y="159"/>
                </a:lnTo>
                <a:lnTo>
                  <a:pt x="201" y="161"/>
                </a:lnTo>
                <a:lnTo>
                  <a:pt x="207" y="163"/>
                </a:lnTo>
                <a:lnTo>
                  <a:pt x="211" y="167"/>
                </a:lnTo>
                <a:lnTo>
                  <a:pt x="213" y="169"/>
                </a:lnTo>
                <a:lnTo>
                  <a:pt x="228" y="169"/>
                </a:lnTo>
                <a:lnTo>
                  <a:pt x="242" y="169"/>
                </a:lnTo>
                <a:lnTo>
                  <a:pt x="243" y="167"/>
                </a:lnTo>
                <a:lnTo>
                  <a:pt x="247" y="163"/>
                </a:lnTo>
                <a:lnTo>
                  <a:pt x="263" y="161"/>
                </a:lnTo>
                <a:lnTo>
                  <a:pt x="280" y="159"/>
                </a:lnTo>
                <a:lnTo>
                  <a:pt x="282" y="155"/>
                </a:lnTo>
                <a:lnTo>
                  <a:pt x="286" y="153"/>
                </a:lnTo>
                <a:lnTo>
                  <a:pt x="297" y="151"/>
                </a:lnTo>
                <a:lnTo>
                  <a:pt x="309" y="149"/>
                </a:lnTo>
                <a:lnTo>
                  <a:pt x="313" y="146"/>
                </a:lnTo>
                <a:lnTo>
                  <a:pt x="314" y="144"/>
                </a:lnTo>
                <a:lnTo>
                  <a:pt x="322" y="142"/>
                </a:lnTo>
                <a:lnTo>
                  <a:pt x="328" y="140"/>
                </a:lnTo>
                <a:lnTo>
                  <a:pt x="332" y="138"/>
                </a:lnTo>
                <a:lnTo>
                  <a:pt x="334" y="134"/>
                </a:lnTo>
                <a:lnTo>
                  <a:pt x="336" y="132"/>
                </a:lnTo>
                <a:lnTo>
                  <a:pt x="339" y="130"/>
                </a:lnTo>
                <a:lnTo>
                  <a:pt x="341" y="126"/>
                </a:lnTo>
                <a:lnTo>
                  <a:pt x="343" y="124"/>
                </a:lnTo>
                <a:lnTo>
                  <a:pt x="345" y="123"/>
                </a:lnTo>
                <a:lnTo>
                  <a:pt x="349" y="121"/>
                </a:lnTo>
                <a:lnTo>
                  <a:pt x="351" y="117"/>
                </a:lnTo>
                <a:lnTo>
                  <a:pt x="353" y="115"/>
                </a:lnTo>
                <a:lnTo>
                  <a:pt x="361" y="113"/>
                </a:lnTo>
                <a:lnTo>
                  <a:pt x="368" y="111"/>
                </a:lnTo>
                <a:lnTo>
                  <a:pt x="370" y="107"/>
                </a:lnTo>
                <a:lnTo>
                  <a:pt x="372" y="105"/>
                </a:lnTo>
                <a:lnTo>
                  <a:pt x="385" y="103"/>
                </a:lnTo>
                <a:lnTo>
                  <a:pt x="397" y="99"/>
                </a:lnTo>
                <a:lnTo>
                  <a:pt x="399" y="98"/>
                </a:lnTo>
                <a:lnTo>
                  <a:pt x="401" y="96"/>
                </a:lnTo>
                <a:lnTo>
                  <a:pt x="403" y="94"/>
                </a:lnTo>
                <a:lnTo>
                  <a:pt x="407" y="92"/>
                </a:lnTo>
                <a:lnTo>
                  <a:pt x="408" y="88"/>
                </a:lnTo>
                <a:lnTo>
                  <a:pt x="410" y="86"/>
                </a:lnTo>
                <a:lnTo>
                  <a:pt x="412" y="84"/>
                </a:lnTo>
                <a:lnTo>
                  <a:pt x="416" y="82"/>
                </a:lnTo>
                <a:lnTo>
                  <a:pt x="418" y="78"/>
                </a:lnTo>
                <a:lnTo>
                  <a:pt x="422" y="76"/>
                </a:lnTo>
                <a:lnTo>
                  <a:pt x="424" y="75"/>
                </a:lnTo>
                <a:lnTo>
                  <a:pt x="426" y="71"/>
                </a:lnTo>
                <a:lnTo>
                  <a:pt x="428" y="69"/>
                </a:lnTo>
                <a:lnTo>
                  <a:pt x="430" y="67"/>
                </a:lnTo>
                <a:lnTo>
                  <a:pt x="433" y="65"/>
                </a:lnTo>
                <a:lnTo>
                  <a:pt x="435" y="61"/>
                </a:lnTo>
                <a:lnTo>
                  <a:pt x="437" y="59"/>
                </a:lnTo>
                <a:lnTo>
                  <a:pt x="439" y="57"/>
                </a:lnTo>
                <a:lnTo>
                  <a:pt x="443" y="55"/>
                </a:lnTo>
                <a:lnTo>
                  <a:pt x="445" y="52"/>
                </a:lnTo>
                <a:lnTo>
                  <a:pt x="447" y="50"/>
                </a:lnTo>
                <a:lnTo>
                  <a:pt x="451" y="48"/>
                </a:lnTo>
                <a:lnTo>
                  <a:pt x="462" y="40"/>
                </a:lnTo>
                <a:lnTo>
                  <a:pt x="474" y="32"/>
                </a:lnTo>
                <a:lnTo>
                  <a:pt x="476" y="30"/>
                </a:lnTo>
                <a:lnTo>
                  <a:pt x="479" y="29"/>
                </a:lnTo>
                <a:lnTo>
                  <a:pt x="491" y="25"/>
                </a:lnTo>
                <a:lnTo>
                  <a:pt x="502" y="23"/>
                </a:lnTo>
                <a:lnTo>
                  <a:pt x="504" y="21"/>
                </a:lnTo>
                <a:lnTo>
                  <a:pt x="508" y="19"/>
                </a:lnTo>
                <a:lnTo>
                  <a:pt x="514" y="11"/>
                </a:lnTo>
                <a:lnTo>
                  <a:pt x="522" y="4"/>
                </a:lnTo>
                <a:lnTo>
                  <a:pt x="524" y="2"/>
                </a:lnTo>
                <a:lnTo>
                  <a:pt x="527" y="0"/>
                </a:lnTo>
                <a:lnTo>
                  <a:pt x="547" y="0"/>
                </a:lnTo>
                <a:lnTo>
                  <a:pt x="566" y="0"/>
                </a:lnTo>
                <a:lnTo>
                  <a:pt x="568" y="2"/>
                </a:lnTo>
                <a:lnTo>
                  <a:pt x="572" y="4"/>
                </a:lnTo>
                <a:lnTo>
                  <a:pt x="572" y="13"/>
                </a:lnTo>
                <a:lnTo>
                  <a:pt x="572" y="23"/>
                </a:lnTo>
                <a:lnTo>
                  <a:pt x="568" y="25"/>
                </a:lnTo>
                <a:lnTo>
                  <a:pt x="566" y="29"/>
                </a:lnTo>
                <a:lnTo>
                  <a:pt x="564" y="40"/>
                </a:lnTo>
                <a:lnTo>
                  <a:pt x="560" y="52"/>
                </a:lnTo>
                <a:lnTo>
                  <a:pt x="558" y="55"/>
                </a:lnTo>
                <a:lnTo>
                  <a:pt x="556" y="57"/>
                </a:lnTo>
                <a:lnTo>
                  <a:pt x="554" y="69"/>
                </a:lnTo>
                <a:lnTo>
                  <a:pt x="550" y="82"/>
                </a:lnTo>
                <a:lnTo>
                  <a:pt x="549" y="84"/>
                </a:lnTo>
                <a:lnTo>
                  <a:pt x="547" y="86"/>
                </a:lnTo>
                <a:lnTo>
                  <a:pt x="545" y="113"/>
                </a:lnTo>
                <a:lnTo>
                  <a:pt x="541" y="140"/>
                </a:lnTo>
                <a:lnTo>
                  <a:pt x="539" y="142"/>
                </a:lnTo>
                <a:lnTo>
                  <a:pt x="537" y="144"/>
                </a:lnTo>
                <a:lnTo>
                  <a:pt x="537" y="149"/>
                </a:lnTo>
                <a:lnTo>
                  <a:pt x="537" y="153"/>
                </a:lnTo>
                <a:lnTo>
                  <a:pt x="539" y="155"/>
                </a:lnTo>
                <a:lnTo>
                  <a:pt x="541" y="159"/>
                </a:lnTo>
                <a:lnTo>
                  <a:pt x="568" y="161"/>
                </a:lnTo>
                <a:lnTo>
                  <a:pt x="595" y="163"/>
                </a:lnTo>
                <a:lnTo>
                  <a:pt x="597" y="167"/>
                </a:lnTo>
                <a:lnTo>
                  <a:pt x="600" y="169"/>
                </a:lnTo>
                <a:lnTo>
                  <a:pt x="602" y="170"/>
                </a:lnTo>
                <a:lnTo>
                  <a:pt x="604" y="172"/>
                </a:lnTo>
                <a:lnTo>
                  <a:pt x="606" y="176"/>
                </a:lnTo>
                <a:lnTo>
                  <a:pt x="610" y="178"/>
                </a:lnTo>
                <a:lnTo>
                  <a:pt x="623" y="178"/>
                </a:lnTo>
                <a:lnTo>
                  <a:pt x="639" y="178"/>
                </a:lnTo>
                <a:lnTo>
                  <a:pt x="641" y="176"/>
                </a:lnTo>
                <a:lnTo>
                  <a:pt x="643" y="172"/>
                </a:lnTo>
                <a:lnTo>
                  <a:pt x="644" y="170"/>
                </a:lnTo>
                <a:lnTo>
                  <a:pt x="648" y="169"/>
                </a:lnTo>
                <a:lnTo>
                  <a:pt x="650" y="167"/>
                </a:lnTo>
                <a:lnTo>
                  <a:pt x="652" y="163"/>
                </a:lnTo>
                <a:lnTo>
                  <a:pt x="660" y="161"/>
                </a:lnTo>
                <a:lnTo>
                  <a:pt x="667" y="159"/>
                </a:lnTo>
                <a:lnTo>
                  <a:pt x="669" y="155"/>
                </a:lnTo>
                <a:lnTo>
                  <a:pt x="671" y="153"/>
                </a:lnTo>
                <a:lnTo>
                  <a:pt x="673" y="147"/>
                </a:lnTo>
                <a:lnTo>
                  <a:pt x="677" y="140"/>
                </a:lnTo>
                <a:lnTo>
                  <a:pt x="679" y="138"/>
                </a:lnTo>
                <a:lnTo>
                  <a:pt x="681" y="134"/>
                </a:lnTo>
                <a:lnTo>
                  <a:pt x="685" y="126"/>
                </a:lnTo>
                <a:lnTo>
                  <a:pt x="687" y="121"/>
                </a:lnTo>
                <a:lnTo>
                  <a:pt x="689" y="117"/>
                </a:lnTo>
                <a:lnTo>
                  <a:pt x="692" y="115"/>
                </a:lnTo>
                <a:lnTo>
                  <a:pt x="694" y="113"/>
                </a:lnTo>
                <a:lnTo>
                  <a:pt x="696" y="111"/>
                </a:lnTo>
                <a:lnTo>
                  <a:pt x="698" y="107"/>
                </a:lnTo>
                <a:lnTo>
                  <a:pt x="700" y="105"/>
                </a:lnTo>
                <a:lnTo>
                  <a:pt x="704" y="103"/>
                </a:lnTo>
                <a:lnTo>
                  <a:pt x="706" y="99"/>
                </a:lnTo>
                <a:lnTo>
                  <a:pt x="708" y="98"/>
                </a:lnTo>
                <a:lnTo>
                  <a:pt x="712" y="96"/>
                </a:lnTo>
                <a:lnTo>
                  <a:pt x="714" y="94"/>
                </a:lnTo>
                <a:lnTo>
                  <a:pt x="715" y="92"/>
                </a:lnTo>
                <a:lnTo>
                  <a:pt x="717" y="88"/>
                </a:lnTo>
                <a:lnTo>
                  <a:pt x="721" y="86"/>
                </a:lnTo>
                <a:lnTo>
                  <a:pt x="727" y="84"/>
                </a:lnTo>
                <a:lnTo>
                  <a:pt x="735" y="82"/>
                </a:lnTo>
                <a:lnTo>
                  <a:pt x="737" y="78"/>
                </a:lnTo>
                <a:lnTo>
                  <a:pt x="740" y="76"/>
                </a:lnTo>
                <a:lnTo>
                  <a:pt x="744" y="76"/>
                </a:lnTo>
                <a:lnTo>
                  <a:pt x="750" y="76"/>
                </a:lnTo>
                <a:lnTo>
                  <a:pt x="752" y="78"/>
                </a:lnTo>
                <a:lnTo>
                  <a:pt x="754" y="82"/>
                </a:lnTo>
                <a:lnTo>
                  <a:pt x="756" y="84"/>
                </a:lnTo>
                <a:lnTo>
                  <a:pt x="760" y="86"/>
                </a:lnTo>
                <a:lnTo>
                  <a:pt x="762" y="88"/>
                </a:lnTo>
                <a:lnTo>
                  <a:pt x="763" y="92"/>
                </a:lnTo>
                <a:lnTo>
                  <a:pt x="767" y="98"/>
                </a:lnTo>
                <a:lnTo>
                  <a:pt x="769" y="105"/>
                </a:lnTo>
                <a:lnTo>
                  <a:pt x="771" y="107"/>
                </a:lnTo>
                <a:lnTo>
                  <a:pt x="773" y="111"/>
                </a:lnTo>
                <a:lnTo>
                  <a:pt x="773" y="130"/>
                </a:lnTo>
                <a:lnTo>
                  <a:pt x="773" y="149"/>
                </a:lnTo>
                <a:lnTo>
                  <a:pt x="771" y="151"/>
                </a:lnTo>
                <a:lnTo>
                  <a:pt x="769" y="153"/>
                </a:lnTo>
                <a:lnTo>
                  <a:pt x="742" y="153"/>
                </a:lnTo>
                <a:lnTo>
                  <a:pt x="715" y="153"/>
                </a:lnTo>
                <a:lnTo>
                  <a:pt x="717" y="169"/>
                </a:lnTo>
                <a:lnTo>
                  <a:pt x="721" y="182"/>
                </a:lnTo>
                <a:lnTo>
                  <a:pt x="723" y="186"/>
                </a:lnTo>
                <a:lnTo>
                  <a:pt x="725" y="188"/>
                </a:lnTo>
                <a:lnTo>
                  <a:pt x="727" y="190"/>
                </a:lnTo>
                <a:lnTo>
                  <a:pt x="731" y="192"/>
                </a:lnTo>
                <a:lnTo>
                  <a:pt x="733" y="195"/>
                </a:lnTo>
                <a:lnTo>
                  <a:pt x="735" y="197"/>
                </a:lnTo>
                <a:lnTo>
                  <a:pt x="733" y="199"/>
                </a:lnTo>
                <a:lnTo>
                  <a:pt x="731" y="203"/>
                </a:lnTo>
                <a:lnTo>
                  <a:pt x="727" y="215"/>
                </a:lnTo>
                <a:lnTo>
                  <a:pt x="725" y="226"/>
                </a:lnTo>
                <a:lnTo>
                  <a:pt x="723" y="228"/>
                </a:lnTo>
                <a:lnTo>
                  <a:pt x="721" y="232"/>
                </a:lnTo>
                <a:lnTo>
                  <a:pt x="717" y="243"/>
                </a:lnTo>
                <a:lnTo>
                  <a:pt x="715" y="255"/>
                </a:lnTo>
                <a:lnTo>
                  <a:pt x="714" y="257"/>
                </a:lnTo>
                <a:lnTo>
                  <a:pt x="712" y="261"/>
                </a:lnTo>
                <a:lnTo>
                  <a:pt x="708" y="266"/>
                </a:lnTo>
                <a:lnTo>
                  <a:pt x="706" y="274"/>
                </a:lnTo>
                <a:lnTo>
                  <a:pt x="704" y="278"/>
                </a:lnTo>
                <a:lnTo>
                  <a:pt x="700" y="280"/>
                </a:lnTo>
                <a:lnTo>
                  <a:pt x="698" y="282"/>
                </a:lnTo>
                <a:lnTo>
                  <a:pt x="696" y="284"/>
                </a:lnTo>
                <a:lnTo>
                  <a:pt x="694" y="288"/>
                </a:lnTo>
                <a:lnTo>
                  <a:pt x="692" y="289"/>
                </a:lnTo>
                <a:lnTo>
                  <a:pt x="692" y="293"/>
                </a:lnTo>
                <a:lnTo>
                  <a:pt x="692" y="299"/>
                </a:lnTo>
                <a:lnTo>
                  <a:pt x="694" y="301"/>
                </a:lnTo>
                <a:lnTo>
                  <a:pt x="696" y="303"/>
                </a:lnTo>
                <a:lnTo>
                  <a:pt x="698" y="324"/>
                </a:lnTo>
                <a:lnTo>
                  <a:pt x="698" y="345"/>
                </a:lnTo>
                <a:lnTo>
                  <a:pt x="700" y="366"/>
                </a:lnTo>
                <a:lnTo>
                  <a:pt x="700" y="385"/>
                </a:lnTo>
                <a:lnTo>
                  <a:pt x="704" y="387"/>
                </a:lnTo>
                <a:lnTo>
                  <a:pt x="706" y="391"/>
                </a:lnTo>
                <a:lnTo>
                  <a:pt x="714" y="393"/>
                </a:lnTo>
                <a:lnTo>
                  <a:pt x="721" y="395"/>
                </a:lnTo>
                <a:lnTo>
                  <a:pt x="723" y="399"/>
                </a:lnTo>
                <a:lnTo>
                  <a:pt x="725" y="401"/>
                </a:lnTo>
                <a:lnTo>
                  <a:pt x="737" y="403"/>
                </a:lnTo>
                <a:lnTo>
                  <a:pt x="750" y="405"/>
                </a:lnTo>
                <a:lnTo>
                  <a:pt x="752" y="408"/>
                </a:lnTo>
                <a:lnTo>
                  <a:pt x="754" y="410"/>
                </a:lnTo>
                <a:lnTo>
                  <a:pt x="756" y="412"/>
                </a:lnTo>
                <a:lnTo>
                  <a:pt x="760" y="414"/>
                </a:lnTo>
                <a:lnTo>
                  <a:pt x="762" y="418"/>
                </a:lnTo>
                <a:lnTo>
                  <a:pt x="763" y="420"/>
                </a:lnTo>
                <a:lnTo>
                  <a:pt x="767" y="422"/>
                </a:lnTo>
                <a:lnTo>
                  <a:pt x="769" y="424"/>
                </a:lnTo>
                <a:lnTo>
                  <a:pt x="771" y="428"/>
                </a:lnTo>
                <a:lnTo>
                  <a:pt x="773" y="430"/>
                </a:lnTo>
                <a:lnTo>
                  <a:pt x="777" y="431"/>
                </a:lnTo>
                <a:lnTo>
                  <a:pt x="779" y="435"/>
                </a:lnTo>
                <a:lnTo>
                  <a:pt x="781" y="437"/>
                </a:lnTo>
                <a:lnTo>
                  <a:pt x="783" y="439"/>
                </a:lnTo>
                <a:lnTo>
                  <a:pt x="786" y="447"/>
                </a:lnTo>
                <a:lnTo>
                  <a:pt x="788" y="453"/>
                </a:lnTo>
                <a:lnTo>
                  <a:pt x="790" y="456"/>
                </a:lnTo>
                <a:lnTo>
                  <a:pt x="792" y="458"/>
                </a:lnTo>
                <a:lnTo>
                  <a:pt x="792" y="479"/>
                </a:lnTo>
                <a:lnTo>
                  <a:pt x="792" y="502"/>
                </a:lnTo>
                <a:lnTo>
                  <a:pt x="788" y="502"/>
                </a:lnTo>
                <a:lnTo>
                  <a:pt x="783" y="502"/>
                </a:lnTo>
                <a:lnTo>
                  <a:pt x="775" y="497"/>
                </a:lnTo>
                <a:lnTo>
                  <a:pt x="756" y="493"/>
                </a:lnTo>
                <a:lnTo>
                  <a:pt x="737" y="491"/>
                </a:lnTo>
                <a:lnTo>
                  <a:pt x="725" y="493"/>
                </a:lnTo>
                <a:lnTo>
                  <a:pt x="719" y="493"/>
                </a:lnTo>
                <a:lnTo>
                  <a:pt x="715" y="493"/>
                </a:lnTo>
                <a:lnTo>
                  <a:pt x="683" y="502"/>
                </a:lnTo>
                <a:lnTo>
                  <a:pt x="652" y="508"/>
                </a:lnTo>
                <a:lnTo>
                  <a:pt x="637" y="510"/>
                </a:lnTo>
                <a:lnTo>
                  <a:pt x="621" y="510"/>
                </a:lnTo>
                <a:lnTo>
                  <a:pt x="606" y="508"/>
                </a:lnTo>
                <a:lnTo>
                  <a:pt x="589" y="502"/>
                </a:lnTo>
                <a:lnTo>
                  <a:pt x="589" y="493"/>
                </a:lnTo>
                <a:lnTo>
                  <a:pt x="589" y="483"/>
                </a:lnTo>
                <a:lnTo>
                  <a:pt x="581" y="483"/>
                </a:lnTo>
                <a:lnTo>
                  <a:pt x="572" y="483"/>
                </a:lnTo>
                <a:lnTo>
                  <a:pt x="572" y="474"/>
                </a:lnTo>
                <a:lnTo>
                  <a:pt x="572" y="464"/>
                </a:lnTo>
                <a:lnTo>
                  <a:pt x="560" y="464"/>
                </a:lnTo>
                <a:lnTo>
                  <a:pt x="550" y="464"/>
                </a:lnTo>
                <a:lnTo>
                  <a:pt x="550" y="454"/>
                </a:lnTo>
                <a:lnTo>
                  <a:pt x="550" y="445"/>
                </a:lnTo>
                <a:lnTo>
                  <a:pt x="541" y="445"/>
                </a:lnTo>
                <a:lnTo>
                  <a:pt x="531" y="445"/>
                </a:lnTo>
                <a:lnTo>
                  <a:pt x="531" y="433"/>
                </a:lnTo>
                <a:lnTo>
                  <a:pt x="531" y="424"/>
                </a:lnTo>
                <a:lnTo>
                  <a:pt x="476" y="382"/>
                </a:lnTo>
                <a:lnTo>
                  <a:pt x="426" y="345"/>
                </a:lnTo>
                <a:lnTo>
                  <a:pt x="414" y="337"/>
                </a:lnTo>
                <a:lnTo>
                  <a:pt x="401" y="332"/>
                </a:lnTo>
                <a:lnTo>
                  <a:pt x="387" y="328"/>
                </a:lnTo>
                <a:lnTo>
                  <a:pt x="372" y="326"/>
                </a:lnTo>
                <a:lnTo>
                  <a:pt x="357" y="326"/>
                </a:lnTo>
                <a:lnTo>
                  <a:pt x="339" y="328"/>
                </a:lnTo>
                <a:lnTo>
                  <a:pt x="320" y="332"/>
                </a:lnTo>
                <a:lnTo>
                  <a:pt x="299" y="337"/>
                </a:lnTo>
              </a:path>
            </a:pathLst>
          </a:custGeom>
          <a:solidFill>
            <a:schemeClr val="accent3"/>
          </a:solidFill>
          <a:ln w="12700">
            <a:solidFill>
              <a:schemeClr val="bg1"/>
            </a:solidFill>
            <a:round/>
            <a:headEnd/>
            <a:tailEnd/>
          </a:ln>
        </p:spPr>
        <p:txBody>
          <a:bodyPr/>
          <a:lstStyle/>
          <a:p>
            <a:endParaRPr lang="en-GB"/>
          </a:p>
        </p:txBody>
      </p:sp>
      <p:sp>
        <p:nvSpPr>
          <p:cNvPr id="90" name="Freeform 96"/>
          <p:cNvSpPr>
            <a:spLocks/>
          </p:cNvSpPr>
          <p:nvPr>
            <p:custDataLst>
              <p:tags r:id="rId71"/>
            </p:custDataLst>
          </p:nvPr>
        </p:nvSpPr>
        <p:spPr bwMode="auto">
          <a:xfrm>
            <a:off x="6952807" y="3481952"/>
            <a:ext cx="1078574" cy="1779508"/>
          </a:xfrm>
          <a:custGeom>
            <a:avLst/>
            <a:gdLst>
              <a:gd name="T0" fmla="*/ 2147483647 w 792"/>
              <a:gd name="T1" fmla="*/ 2147483647 h 1355"/>
              <a:gd name="T2" fmla="*/ 2147483647 w 792"/>
              <a:gd name="T3" fmla="*/ 2147483647 h 1355"/>
              <a:gd name="T4" fmla="*/ 2147483647 w 792"/>
              <a:gd name="T5" fmla="*/ 2147483647 h 1355"/>
              <a:gd name="T6" fmla="*/ 2147483647 w 792"/>
              <a:gd name="T7" fmla="*/ 2147483647 h 1355"/>
              <a:gd name="T8" fmla="*/ 2147483647 w 792"/>
              <a:gd name="T9" fmla="*/ 2147483647 h 1355"/>
              <a:gd name="T10" fmla="*/ 2147483647 w 792"/>
              <a:gd name="T11" fmla="*/ 2147483647 h 1355"/>
              <a:gd name="T12" fmla="*/ 2147483647 w 792"/>
              <a:gd name="T13" fmla="*/ 2147483647 h 1355"/>
              <a:gd name="T14" fmla="*/ 2147483647 w 792"/>
              <a:gd name="T15" fmla="*/ 2147483647 h 1355"/>
              <a:gd name="T16" fmla="*/ 2147483647 w 792"/>
              <a:gd name="T17" fmla="*/ 2147483647 h 1355"/>
              <a:gd name="T18" fmla="*/ 2147483647 w 792"/>
              <a:gd name="T19" fmla="*/ 2147483647 h 1355"/>
              <a:gd name="T20" fmla="*/ 2147483647 w 792"/>
              <a:gd name="T21" fmla="*/ 2147483647 h 1355"/>
              <a:gd name="T22" fmla="*/ 2147483647 w 792"/>
              <a:gd name="T23" fmla="*/ 2147483647 h 1355"/>
              <a:gd name="T24" fmla="*/ 2147483647 w 792"/>
              <a:gd name="T25" fmla="*/ 2147483647 h 1355"/>
              <a:gd name="T26" fmla="*/ 2147483647 w 792"/>
              <a:gd name="T27" fmla="*/ 2147483647 h 1355"/>
              <a:gd name="T28" fmla="*/ 2147483647 w 792"/>
              <a:gd name="T29" fmla="*/ 2147483647 h 1355"/>
              <a:gd name="T30" fmla="*/ 2147483647 w 792"/>
              <a:gd name="T31" fmla="*/ 2147483647 h 1355"/>
              <a:gd name="T32" fmla="*/ 2147483647 w 792"/>
              <a:gd name="T33" fmla="*/ 2147483647 h 1355"/>
              <a:gd name="T34" fmla="*/ 2147483647 w 792"/>
              <a:gd name="T35" fmla="*/ 2147483647 h 1355"/>
              <a:gd name="T36" fmla="*/ 2147483647 w 792"/>
              <a:gd name="T37" fmla="*/ 2147483647 h 1355"/>
              <a:gd name="T38" fmla="*/ 2147483647 w 792"/>
              <a:gd name="T39" fmla="*/ 2147483647 h 1355"/>
              <a:gd name="T40" fmla="*/ 0 w 792"/>
              <a:gd name="T41" fmla="*/ 2147483647 h 1355"/>
              <a:gd name="T42" fmla="*/ 0 w 792"/>
              <a:gd name="T43" fmla="*/ 2147483647 h 1355"/>
              <a:gd name="T44" fmla="*/ 2147483647 w 792"/>
              <a:gd name="T45" fmla="*/ 2147483647 h 1355"/>
              <a:gd name="T46" fmla="*/ 2147483647 w 792"/>
              <a:gd name="T47" fmla="*/ 2147483647 h 1355"/>
              <a:gd name="T48" fmla="*/ 2147483647 w 792"/>
              <a:gd name="T49" fmla="*/ 2147483647 h 1355"/>
              <a:gd name="T50" fmla="*/ 2147483647 w 792"/>
              <a:gd name="T51" fmla="*/ 2147483647 h 1355"/>
              <a:gd name="T52" fmla="*/ 2147483647 w 792"/>
              <a:gd name="T53" fmla="*/ 2147483647 h 1355"/>
              <a:gd name="T54" fmla="*/ 2147483647 w 792"/>
              <a:gd name="T55" fmla="*/ 2147483647 h 1355"/>
              <a:gd name="T56" fmla="*/ 2147483647 w 792"/>
              <a:gd name="T57" fmla="*/ 2147483647 h 1355"/>
              <a:gd name="T58" fmla="*/ 2147483647 w 792"/>
              <a:gd name="T59" fmla="*/ 2147483647 h 1355"/>
              <a:gd name="T60" fmla="*/ 2147483647 w 792"/>
              <a:gd name="T61" fmla="*/ 2147483647 h 1355"/>
              <a:gd name="T62" fmla="*/ 2147483647 w 792"/>
              <a:gd name="T63" fmla="*/ 2147483647 h 1355"/>
              <a:gd name="T64" fmla="*/ 2147483647 w 792"/>
              <a:gd name="T65" fmla="*/ 2147483647 h 1355"/>
              <a:gd name="T66" fmla="*/ 2147483647 w 792"/>
              <a:gd name="T67" fmla="*/ 2147483647 h 1355"/>
              <a:gd name="T68" fmla="*/ 2147483647 w 792"/>
              <a:gd name="T69" fmla="*/ 2147483647 h 1355"/>
              <a:gd name="T70" fmla="*/ 2147483647 w 792"/>
              <a:gd name="T71" fmla="*/ 2147483647 h 1355"/>
              <a:gd name="T72" fmla="*/ 2147483647 w 792"/>
              <a:gd name="T73" fmla="*/ 2147483647 h 1355"/>
              <a:gd name="T74" fmla="*/ 2147483647 w 792"/>
              <a:gd name="T75" fmla="*/ 2147483647 h 1355"/>
              <a:gd name="T76" fmla="*/ 2147483647 w 792"/>
              <a:gd name="T77" fmla="*/ 2147483647 h 1355"/>
              <a:gd name="T78" fmla="*/ 2147483647 w 792"/>
              <a:gd name="T79" fmla="*/ 2147483647 h 1355"/>
              <a:gd name="T80" fmla="*/ 2147483647 w 792"/>
              <a:gd name="T81" fmla="*/ 2147483647 h 1355"/>
              <a:gd name="T82" fmla="*/ 2147483647 w 792"/>
              <a:gd name="T83" fmla="*/ 2147483647 h 1355"/>
              <a:gd name="T84" fmla="*/ 2147483647 w 792"/>
              <a:gd name="T85" fmla="*/ 2147483647 h 1355"/>
              <a:gd name="T86" fmla="*/ 2147483647 w 792"/>
              <a:gd name="T87" fmla="*/ 2147483647 h 1355"/>
              <a:gd name="T88" fmla="*/ 2147483647 w 792"/>
              <a:gd name="T89" fmla="*/ 2147483647 h 1355"/>
              <a:gd name="T90" fmla="*/ 2147483647 w 792"/>
              <a:gd name="T91" fmla="*/ 2147483647 h 1355"/>
              <a:gd name="T92" fmla="*/ 2147483647 w 792"/>
              <a:gd name="T93" fmla="*/ 2147483647 h 1355"/>
              <a:gd name="T94" fmla="*/ 2147483647 w 792"/>
              <a:gd name="T95" fmla="*/ 2147483647 h 1355"/>
              <a:gd name="T96" fmla="*/ 2147483647 w 792"/>
              <a:gd name="T97" fmla="*/ 2147483647 h 1355"/>
              <a:gd name="T98" fmla="*/ 2147483647 w 792"/>
              <a:gd name="T99" fmla="*/ 2147483647 h 1355"/>
              <a:gd name="T100" fmla="*/ 2147483647 w 792"/>
              <a:gd name="T101" fmla="*/ 2147483647 h 1355"/>
              <a:gd name="T102" fmla="*/ 2147483647 w 792"/>
              <a:gd name="T103" fmla="*/ 2147483647 h 1355"/>
              <a:gd name="T104" fmla="*/ 2147483647 w 792"/>
              <a:gd name="T105" fmla="*/ 2147483647 h 1355"/>
              <a:gd name="T106" fmla="*/ 2147483647 w 792"/>
              <a:gd name="T107" fmla="*/ 2147483647 h 1355"/>
              <a:gd name="T108" fmla="*/ 2147483647 w 792"/>
              <a:gd name="T109" fmla="*/ 2147483647 h 1355"/>
              <a:gd name="T110" fmla="*/ 2147483647 w 792"/>
              <a:gd name="T111" fmla="*/ 2147483647 h 1355"/>
              <a:gd name="T112" fmla="*/ 2147483647 w 792"/>
              <a:gd name="T113" fmla="*/ 2147483647 h 1355"/>
              <a:gd name="T114" fmla="*/ 2147483647 w 792"/>
              <a:gd name="T115" fmla="*/ 2147483647 h 1355"/>
              <a:gd name="T116" fmla="*/ 2147483647 w 792"/>
              <a:gd name="T117" fmla="*/ 2147483647 h 135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92"/>
              <a:gd name="T178" fmla="*/ 0 h 1355"/>
              <a:gd name="T179" fmla="*/ 792 w 792"/>
              <a:gd name="T180" fmla="*/ 1355 h 135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92" h="1355">
                <a:moveTo>
                  <a:pt x="608" y="1259"/>
                </a:moveTo>
                <a:lnTo>
                  <a:pt x="612" y="1255"/>
                </a:lnTo>
                <a:lnTo>
                  <a:pt x="615" y="1251"/>
                </a:lnTo>
                <a:lnTo>
                  <a:pt x="606" y="1240"/>
                </a:lnTo>
                <a:lnTo>
                  <a:pt x="598" y="1228"/>
                </a:lnTo>
                <a:lnTo>
                  <a:pt x="598" y="1224"/>
                </a:lnTo>
                <a:lnTo>
                  <a:pt x="598" y="1219"/>
                </a:lnTo>
                <a:lnTo>
                  <a:pt x="594" y="1215"/>
                </a:lnTo>
                <a:lnTo>
                  <a:pt x="589" y="1209"/>
                </a:lnTo>
                <a:lnTo>
                  <a:pt x="575" y="1209"/>
                </a:lnTo>
                <a:lnTo>
                  <a:pt x="560" y="1209"/>
                </a:lnTo>
                <a:lnTo>
                  <a:pt x="554" y="1215"/>
                </a:lnTo>
                <a:lnTo>
                  <a:pt x="550" y="1219"/>
                </a:lnTo>
                <a:lnTo>
                  <a:pt x="539" y="1222"/>
                </a:lnTo>
                <a:lnTo>
                  <a:pt x="533" y="1224"/>
                </a:lnTo>
                <a:lnTo>
                  <a:pt x="527" y="1230"/>
                </a:lnTo>
                <a:lnTo>
                  <a:pt x="521" y="1238"/>
                </a:lnTo>
                <a:lnTo>
                  <a:pt x="510" y="1238"/>
                </a:lnTo>
                <a:lnTo>
                  <a:pt x="496" y="1238"/>
                </a:lnTo>
                <a:lnTo>
                  <a:pt x="495" y="1236"/>
                </a:lnTo>
                <a:lnTo>
                  <a:pt x="493" y="1234"/>
                </a:lnTo>
                <a:lnTo>
                  <a:pt x="487" y="1232"/>
                </a:lnTo>
                <a:lnTo>
                  <a:pt x="473" y="1230"/>
                </a:lnTo>
                <a:lnTo>
                  <a:pt x="460" y="1232"/>
                </a:lnTo>
                <a:lnTo>
                  <a:pt x="454" y="1234"/>
                </a:lnTo>
                <a:lnTo>
                  <a:pt x="452" y="1236"/>
                </a:lnTo>
                <a:lnTo>
                  <a:pt x="449" y="1238"/>
                </a:lnTo>
                <a:lnTo>
                  <a:pt x="437" y="1242"/>
                </a:lnTo>
                <a:lnTo>
                  <a:pt x="425" y="1244"/>
                </a:lnTo>
                <a:lnTo>
                  <a:pt x="422" y="1245"/>
                </a:lnTo>
                <a:lnTo>
                  <a:pt x="420" y="1249"/>
                </a:lnTo>
                <a:lnTo>
                  <a:pt x="418" y="1249"/>
                </a:lnTo>
                <a:lnTo>
                  <a:pt x="416" y="1251"/>
                </a:lnTo>
                <a:lnTo>
                  <a:pt x="414" y="1257"/>
                </a:lnTo>
                <a:lnTo>
                  <a:pt x="414" y="1267"/>
                </a:lnTo>
                <a:lnTo>
                  <a:pt x="402" y="1267"/>
                </a:lnTo>
                <a:lnTo>
                  <a:pt x="391" y="1267"/>
                </a:lnTo>
                <a:lnTo>
                  <a:pt x="389" y="1265"/>
                </a:lnTo>
                <a:lnTo>
                  <a:pt x="385" y="1263"/>
                </a:lnTo>
                <a:lnTo>
                  <a:pt x="383" y="1255"/>
                </a:lnTo>
                <a:lnTo>
                  <a:pt x="381" y="1249"/>
                </a:lnTo>
                <a:lnTo>
                  <a:pt x="379" y="1245"/>
                </a:lnTo>
                <a:lnTo>
                  <a:pt x="376" y="1244"/>
                </a:lnTo>
                <a:lnTo>
                  <a:pt x="374" y="1242"/>
                </a:lnTo>
                <a:lnTo>
                  <a:pt x="372" y="1238"/>
                </a:lnTo>
                <a:lnTo>
                  <a:pt x="370" y="1236"/>
                </a:lnTo>
                <a:lnTo>
                  <a:pt x="366" y="1234"/>
                </a:lnTo>
                <a:lnTo>
                  <a:pt x="364" y="1232"/>
                </a:lnTo>
                <a:lnTo>
                  <a:pt x="362" y="1228"/>
                </a:lnTo>
                <a:lnTo>
                  <a:pt x="360" y="1226"/>
                </a:lnTo>
                <a:lnTo>
                  <a:pt x="356" y="1224"/>
                </a:lnTo>
                <a:lnTo>
                  <a:pt x="355" y="1222"/>
                </a:lnTo>
                <a:lnTo>
                  <a:pt x="353" y="1219"/>
                </a:lnTo>
                <a:lnTo>
                  <a:pt x="349" y="1217"/>
                </a:lnTo>
                <a:lnTo>
                  <a:pt x="347" y="1215"/>
                </a:lnTo>
                <a:lnTo>
                  <a:pt x="335" y="1213"/>
                </a:lnTo>
                <a:lnTo>
                  <a:pt x="324" y="1209"/>
                </a:lnTo>
                <a:lnTo>
                  <a:pt x="320" y="1207"/>
                </a:lnTo>
                <a:lnTo>
                  <a:pt x="318" y="1205"/>
                </a:lnTo>
                <a:lnTo>
                  <a:pt x="310" y="1201"/>
                </a:lnTo>
                <a:lnTo>
                  <a:pt x="305" y="1199"/>
                </a:lnTo>
                <a:lnTo>
                  <a:pt x="301" y="1197"/>
                </a:lnTo>
                <a:lnTo>
                  <a:pt x="299" y="1196"/>
                </a:lnTo>
                <a:lnTo>
                  <a:pt x="297" y="1174"/>
                </a:lnTo>
                <a:lnTo>
                  <a:pt x="297" y="1153"/>
                </a:lnTo>
                <a:lnTo>
                  <a:pt x="295" y="1134"/>
                </a:lnTo>
                <a:lnTo>
                  <a:pt x="293" y="1113"/>
                </a:lnTo>
                <a:lnTo>
                  <a:pt x="291" y="1111"/>
                </a:lnTo>
                <a:lnTo>
                  <a:pt x="289" y="1107"/>
                </a:lnTo>
                <a:lnTo>
                  <a:pt x="291" y="1105"/>
                </a:lnTo>
                <a:lnTo>
                  <a:pt x="293" y="1103"/>
                </a:lnTo>
                <a:lnTo>
                  <a:pt x="297" y="1102"/>
                </a:lnTo>
                <a:lnTo>
                  <a:pt x="299" y="1098"/>
                </a:lnTo>
                <a:lnTo>
                  <a:pt x="301" y="1096"/>
                </a:lnTo>
                <a:lnTo>
                  <a:pt x="305" y="1094"/>
                </a:lnTo>
                <a:lnTo>
                  <a:pt x="307" y="1086"/>
                </a:lnTo>
                <a:lnTo>
                  <a:pt x="308" y="1079"/>
                </a:lnTo>
                <a:lnTo>
                  <a:pt x="310" y="1077"/>
                </a:lnTo>
                <a:lnTo>
                  <a:pt x="314" y="1075"/>
                </a:lnTo>
                <a:lnTo>
                  <a:pt x="316" y="1061"/>
                </a:lnTo>
                <a:lnTo>
                  <a:pt x="318" y="1050"/>
                </a:lnTo>
                <a:lnTo>
                  <a:pt x="320" y="1048"/>
                </a:lnTo>
                <a:lnTo>
                  <a:pt x="324" y="1046"/>
                </a:lnTo>
                <a:lnTo>
                  <a:pt x="326" y="1032"/>
                </a:lnTo>
                <a:lnTo>
                  <a:pt x="328" y="1021"/>
                </a:lnTo>
                <a:lnTo>
                  <a:pt x="330" y="1019"/>
                </a:lnTo>
                <a:lnTo>
                  <a:pt x="333" y="1017"/>
                </a:lnTo>
                <a:lnTo>
                  <a:pt x="333" y="1011"/>
                </a:lnTo>
                <a:lnTo>
                  <a:pt x="333" y="1006"/>
                </a:lnTo>
                <a:lnTo>
                  <a:pt x="330" y="1004"/>
                </a:lnTo>
                <a:lnTo>
                  <a:pt x="328" y="1002"/>
                </a:lnTo>
                <a:lnTo>
                  <a:pt x="326" y="1000"/>
                </a:lnTo>
                <a:lnTo>
                  <a:pt x="324" y="996"/>
                </a:lnTo>
                <a:lnTo>
                  <a:pt x="320" y="994"/>
                </a:lnTo>
                <a:lnTo>
                  <a:pt x="318" y="992"/>
                </a:lnTo>
                <a:lnTo>
                  <a:pt x="318" y="984"/>
                </a:lnTo>
                <a:lnTo>
                  <a:pt x="318" y="977"/>
                </a:lnTo>
                <a:lnTo>
                  <a:pt x="347" y="977"/>
                </a:lnTo>
                <a:lnTo>
                  <a:pt x="360" y="977"/>
                </a:lnTo>
                <a:lnTo>
                  <a:pt x="364" y="977"/>
                </a:lnTo>
                <a:lnTo>
                  <a:pt x="366" y="975"/>
                </a:lnTo>
                <a:lnTo>
                  <a:pt x="366" y="973"/>
                </a:lnTo>
                <a:lnTo>
                  <a:pt x="370" y="969"/>
                </a:lnTo>
                <a:lnTo>
                  <a:pt x="372" y="967"/>
                </a:lnTo>
                <a:lnTo>
                  <a:pt x="372" y="944"/>
                </a:lnTo>
                <a:lnTo>
                  <a:pt x="372" y="919"/>
                </a:lnTo>
                <a:lnTo>
                  <a:pt x="370" y="917"/>
                </a:lnTo>
                <a:lnTo>
                  <a:pt x="366" y="913"/>
                </a:lnTo>
                <a:lnTo>
                  <a:pt x="364" y="908"/>
                </a:lnTo>
                <a:lnTo>
                  <a:pt x="362" y="900"/>
                </a:lnTo>
                <a:lnTo>
                  <a:pt x="360" y="898"/>
                </a:lnTo>
                <a:lnTo>
                  <a:pt x="356" y="896"/>
                </a:lnTo>
                <a:lnTo>
                  <a:pt x="355" y="892"/>
                </a:lnTo>
                <a:lnTo>
                  <a:pt x="353" y="890"/>
                </a:lnTo>
                <a:lnTo>
                  <a:pt x="349" y="889"/>
                </a:lnTo>
                <a:lnTo>
                  <a:pt x="347" y="885"/>
                </a:lnTo>
                <a:lnTo>
                  <a:pt x="337" y="885"/>
                </a:lnTo>
                <a:lnTo>
                  <a:pt x="328" y="885"/>
                </a:lnTo>
                <a:lnTo>
                  <a:pt x="326" y="889"/>
                </a:lnTo>
                <a:lnTo>
                  <a:pt x="324" y="890"/>
                </a:lnTo>
                <a:lnTo>
                  <a:pt x="316" y="892"/>
                </a:lnTo>
                <a:lnTo>
                  <a:pt x="308" y="896"/>
                </a:lnTo>
                <a:lnTo>
                  <a:pt x="307" y="898"/>
                </a:lnTo>
                <a:lnTo>
                  <a:pt x="305" y="900"/>
                </a:lnTo>
                <a:lnTo>
                  <a:pt x="301" y="902"/>
                </a:lnTo>
                <a:lnTo>
                  <a:pt x="299" y="906"/>
                </a:lnTo>
                <a:lnTo>
                  <a:pt x="297" y="908"/>
                </a:lnTo>
                <a:lnTo>
                  <a:pt x="293" y="910"/>
                </a:lnTo>
                <a:lnTo>
                  <a:pt x="291" y="912"/>
                </a:lnTo>
                <a:lnTo>
                  <a:pt x="289" y="913"/>
                </a:lnTo>
                <a:lnTo>
                  <a:pt x="287" y="917"/>
                </a:lnTo>
                <a:lnTo>
                  <a:pt x="285" y="919"/>
                </a:lnTo>
                <a:lnTo>
                  <a:pt x="282" y="921"/>
                </a:lnTo>
                <a:lnTo>
                  <a:pt x="280" y="925"/>
                </a:lnTo>
                <a:lnTo>
                  <a:pt x="278" y="927"/>
                </a:lnTo>
                <a:lnTo>
                  <a:pt x="274" y="929"/>
                </a:lnTo>
                <a:lnTo>
                  <a:pt x="272" y="937"/>
                </a:lnTo>
                <a:lnTo>
                  <a:pt x="270" y="944"/>
                </a:lnTo>
                <a:lnTo>
                  <a:pt x="266" y="946"/>
                </a:lnTo>
                <a:lnTo>
                  <a:pt x="264" y="948"/>
                </a:lnTo>
                <a:lnTo>
                  <a:pt x="262" y="956"/>
                </a:lnTo>
                <a:lnTo>
                  <a:pt x="260" y="963"/>
                </a:lnTo>
                <a:lnTo>
                  <a:pt x="259" y="965"/>
                </a:lnTo>
                <a:lnTo>
                  <a:pt x="255" y="967"/>
                </a:lnTo>
                <a:lnTo>
                  <a:pt x="247" y="969"/>
                </a:lnTo>
                <a:lnTo>
                  <a:pt x="241" y="973"/>
                </a:lnTo>
                <a:lnTo>
                  <a:pt x="237" y="975"/>
                </a:lnTo>
                <a:lnTo>
                  <a:pt x="236" y="977"/>
                </a:lnTo>
                <a:lnTo>
                  <a:pt x="234" y="981"/>
                </a:lnTo>
                <a:lnTo>
                  <a:pt x="232" y="983"/>
                </a:lnTo>
                <a:lnTo>
                  <a:pt x="228" y="984"/>
                </a:lnTo>
                <a:lnTo>
                  <a:pt x="226" y="986"/>
                </a:lnTo>
                <a:lnTo>
                  <a:pt x="216" y="986"/>
                </a:lnTo>
                <a:lnTo>
                  <a:pt x="207" y="986"/>
                </a:lnTo>
                <a:lnTo>
                  <a:pt x="205" y="984"/>
                </a:lnTo>
                <a:lnTo>
                  <a:pt x="203" y="983"/>
                </a:lnTo>
                <a:lnTo>
                  <a:pt x="199" y="981"/>
                </a:lnTo>
                <a:lnTo>
                  <a:pt x="197" y="977"/>
                </a:lnTo>
                <a:lnTo>
                  <a:pt x="195" y="975"/>
                </a:lnTo>
                <a:lnTo>
                  <a:pt x="193" y="973"/>
                </a:lnTo>
                <a:lnTo>
                  <a:pt x="166" y="969"/>
                </a:lnTo>
                <a:lnTo>
                  <a:pt x="140" y="967"/>
                </a:lnTo>
                <a:lnTo>
                  <a:pt x="138" y="965"/>
                </a:lnTo>
                <a:lnTo>
                  <a:pt x="134" y="963"/>
                </a:lnTo>
                <a:lnTo>
                  <a:pt x="138" y="960"/>
                </a:lnTo>
                <a:lnTo>
                  <a:pt x="140" y="958"/>
                </a:lnTo>
                <a:lnTo>
                  <a:pt x="142" y="931"/>
                </a:lnTo>
                <a:lnTo>
                  <a:pt x="143" y="906"/>
                </a:lnTo>
                <a:lnTo>
                  <a:pt x="147" y="902"/>
                </a:lnTo>
                <a:lnTo>
                  <a:pt x="149" y="900"/>
                </a:lnTo>
                <a:lnTo>
                  <a:pt x="151" y="889"/>
                </a:lnTo>
                <a:lnTo>
                  <a:pt x="153" y="875"/>
                </a:lnTo>
                <a:lnTo>
                  <a:pt x="157" y="873"/>
                </a:lnTo>
                <a:lnTo>
                  <a:pt x="159" y="871"/>
                </a:lnTo>
                <a:lnTo>
                  <a:pt x="161" y="860"/>
                </a:lnTo>
                <a:lnTo>
                  <a:pt x="165" y="846"/>
                </a:lnTo>
                <a:lnTo>
                  <a:pt x="166" y="844"/>
                </a:lnTo>
                <a:lnTo>
                  <a:pt x="168" y="843"/>
                </a:lnTo>
                <a:lnTo>
                  <a:pt x="170" y="837"/>
                </a:lnTo>
                <a:lnTo>
                  <a:pt x="172" y="827"/>
                </a:lnTo>
                <a:lnTo>
                  <a:pt x="170" y="818"/>
                </a:lnTo>
                <a:lnTo>
                  <a:pt x="168" y="814"/>
                </a:lnTo>
                <a:lnTo>
                  <a:pt x="166" y="810"/>
                </a:lnTo>
                <a:lnTo>
                  <a:pt x="165" y="808"/>
                </a:lnTo>
                <a:lnTo>
                  <a:pt x="157" y="806"/>
                </a:lnTo>
                <a:lnTo>
                  <a:pt x="140" y="804"/>
                </a:lnTo>
                <a:lnTo>
                  <a:pt x="122" y="806"/>
                </a:lnTo>
                <a:lnTo>
                  <a:pt x="115" y="808"/>
                </a:lnTo>
                <a:lnTo>
                  <a:pt x="113" y="810"/>
                </a:lnTo>
                <a:lnTo>
                  <a:pt x="111" y="814"/>
                </a:lnTo>
                <a:lnTo>
                  <a:pt x="105" y="814"/>
                </a:lnTo>
                <a:lnTo>
                  <a:pt x="101" y="814"/>
                </a:lnTo>
                <a:lnTo>
                  <a:pt x="97" y="810"/>
                </a:lnTo>
                <a:lnTo>
                  <a:pt x="95" y="808"/>
                </a:lnTo>
                <a:lnTo>
                  <a:pt x="94" y="806"/>
                </a:lnTo>
                <a:lnTo>
                  <a:pt x="92" y="804"/>
                </a:lnTo>
                <a:lnTo>
                  <a:pt x="88" y="800"/>
                </a:lnTo>
                <a:lnTo>
                  <a:pt x="86" y="798"/>
                </a:lnTo>
                <a:lnTo>
                  <a:pt x="84" y="796"/>
                </a:lnTo>
                <a:lnTo>
                  <a:pt x="82" y="795"/>
                </a:lnTo>
                <a:lnTo>
                  <a:pt x="78" y="791"/>
                </a:lnTo>
                <a:lnTo>
                  <a:pt x="76" y="789"/>
                </a:lnTo>
                <a:lnTo>
                  <a:pt x="74" y="768"/>
                </a:lnTo>
                <a:lnTo>
                  <a:pt x="72" y="747"/>
                </a:lnTo>
                <a:lnTo>
                  <a:pt x="69" y="743"/>
                </a:lnTo>
                <a:lnTo>
                  <a:pt x="67" y="741"/>
                </a:lnTo>
                <a:lnTo>
                  <a:pt x="59" y="737"/>
                </a:lnTo>
                <a:lnTo>
                  <a:pt x="53" y="735"/>
                </a:lnTo>
                <a:lnTo>
                  <a:pt x="49" y="733"/>
                </a:lnTo>
                <a:lnTo>
                  <a:pt x="48" y="731"/>
                </a:lnTo>
                <a:lnTo>
                  <a:pt x="40" y="727"/>
                </a:lnTo>
                <a:lnTo>
                  <a:pt x="32" y="725"/>
                </a:lnTo>
                <a:lnTo>
                  <a:pt x="30" y="724"/>
                </a:lnTo>
                <a:lnTo>
                  <a:pt x="28" y="722"/>
                </a:lnTo>
                <a:lnTo>
                  <a:pt x="28" y="712"/>
                </a:lnTo>
                <a:lnTo>
                  <a:pt x="28" y="702"/>
                </a:lnTo>
                <a:lnTo>
                  <a:pt x="30" y="699"/>
                </a:lnTo>
                <a:lnTo>
                  <a:pt x="32" y="697"/>
                </a:lnTo>
                <a:lnTo>
                  <a:pt x="36" y="697"/>
                </a:lnTo>
                <a:lnTo>
                  <a:pt x="38" y="693"/>
                </a:lnTo>
                <a:lnTo>
                  <a:pt x="38" y="685"/>
                </a:lnTo>
                <a:lnTo>
                  <a:pt x="38" y="668"/>
                </a:lnTo>
                <a:lnTo>
                  <a:pt x="30" y="668"/>
                </a:lnTo>
                <a:lnTo>
                  <a:pt x="23" y="668"/>
                </a:lnTo>
                <a:lnTo>
                  <a:pt x="21" y="666"/>
                </a:lnTo>
                <a:lnTo>
                  <a:pt x="19" y="664"/>
                </a:lnTo>
                <a:lnTo>
                  <a:pt x="11" y="660"/>
                </a:lnTo>
                <a:lnTo>
                  <a:pt x="3" y="658"/>
                </a:lnTo>
                <a:lnTo>
                  <a:pt x="1" y="656"/>
                </a:lnTo>
                <a:lnTo>
                  <a:pt x="0" y="653"/>
                </a:lnTo>
                <a:lnTo>
                  <a:pt x="0" y="649"/>
                </a:lnTo>
                <a:lnTo>
                  <a:pt x="0" y="643"/>
                </a:lnTo>
                <a:lnTo>
                  <a:pt x="1" y="641"/>
                </a:lnTo>
                <a:lnTo>
                  <a:pt x="3" y="639"/>
                </a:lnTo>
                <a:lnTo>
                  <a:pt x="3" y="624"/>
                </a:lnTo>
                <a:lnTo>
                  <a:pt x="3" y="610"/>
                </a:lnTo>
                <a:lnTo>
                  <a:pt x="3" y="595"/>
                </a:lnTo>
                <a:lnTo>
                  <a:pt x="3" y="582"/>
                </a:lnTo>
                <a:lnTo>
                  <a:pt x="1" y="578"/>
                </a:lnTo>
                <a:lnTo>
                  <a:pt x="0" y="576"/>
                </a:lnTo>
                <a:lnTo>
                  <a:pt x="0" y="557"/>
                </a:lnTo>
                <a:lnTo>
                  <a:pt x="0" y="537"/>
                </a:lnTo>
                <a:lnTo>
                  <a:pt x="1" y="536"/>
                </a:lnTo>
                <a:lnTo>
                  <a:pt x="3" y="532"/>
                </a:lnTo>
                <a:lnTo>
                  <a:pt x="11" y="530"/>
                </a:lnTo>
                <a:lnTo>
                  <a:pt x="19" y="528"/>
                </a:lnTo>
                <a:lnTo>
                  <a:pt x="21" y="526"/>
                </a:lnTo>
                <a:lnTo>
                  <a:pt x="23" y="522"/>
                </a:lnTo>
                <a:lnTo>
                  <a:pt x="26" y="520"/>
                </a:lnTo>
                <a:lnTo>
                  <a:pt x="28" y="518"/>
                </a:lnTo>
                <a:lnTo>
                  <a:pt x="30" y="516"/>
                </a:lnTo>
                <a:lnTo>
                  <a:pt x="32" y="514"/>
                </a:lnTo>
                <a:lnTo>
                  <a:pt x="36" y="511"/>
                </a:lnTo>
                <a:lnTo>
                  <a:pt x="38" y="509"/>
                </a:lnTo>
                <a:lnTo>
                  <a:pt x="40" y="507"/>
                </a:lnTo>
                <a:lnTo>
                  <a:pt x="44" y="503"/>
                </a:lnTo>
                <a:lnTo>
                  <a:pt x="49" y="501"/>
                </a:lnTo>
                <a:lnTo>
                  <a:pt x="57" y="499"/>
                </a:lnTo>
                <a:lnTo>
                  <a:pt x="59" y="495"/>
                </a:lnTo>
                <a:lnTo>
                  <a:pt x="61" y="493"/>
                </a:lnTo>
                <a:lnTo>
                  <a:pt x="65" y="476"/>
                </a:lnTo>
                <a:lnTo>
                  <a:pt x="67" y="461"/>
                </a:lnTo>
                <a:lnTo>
                  <a:pt x="69" y="457"/>
                </a:lnTo>
                <a:lnTo>
                  <a:pt x="72" y="455"/>
                </a:lnTo>
                <a:lnTo>
                  <a:pt x="74" y="453"/>
                </a:lnTo>
                <a:lnTo>
                  <a:pt x="76" y="449"/>
                </a:lnTo>
                <a:lnTo>
                  <a:pt x="78" y="447"/>
                </a:lnTo>
                <a:lnTo>
                  <a:pt x="82" y="445"/>
                </a:lnTo>
                <a:lnTo>
                  <a:pt x="94" y="443"/>
                </a:lnTo>
                <a:lnTo>
                  <a:pt x="105" y="441"/>
                </a:lnTo>
                <a:lnTo>
                  <a:pt x="107" y="438"/>
                </a:lnTo>
                <a:lnTo>
                  <a:pt x="111" y="436"/>
                </a:lnTo>
                <a:lnTo>
                  <a:pt x="113" y="434"/>
                </a:lnTo>
                <a:lnTo>
                  <a:pt x="115" y="432"/>
                </a:lnTo>
                <a:lnTo>
                  <a:pt x="117" y="428"/>
                </a:lnTo>
                <a:lnTo>
                  <a:pt x="120" y="426"/>
                </a:lnTo>
                <a:lnTo>
                  <a:pt x="122" y="405"/>
                </a:lnTo>
                <a:lnTo>
                  <a:pt x="124" y="382"/>
                </a:lnTo>
                <a:lnTo>
                  <a:pt x="128" y="380"/>
                </a:lnTo>
                <a:lnTo>
                  <a:pt x="130" y="378"/>
                </a:lnTo>
                <a:lnTo>
                  <a:pt x="132" y="353"/>
                </a:lnTo>
                <a:lnTo>
                  <a:pt x="134" y="330"/>
                </a:lnTo>
                <a:lnTo>
                  <a:pt x="126" y="330"/>
                </a:lnTo>
                <a:lnTo>
                  <a:pt x="120" y="330"/>
                </a:lnTo>
                <a:lnTo>
                  <a:pt x="117" y="326"/>
                </a:lnTo>
                <a:lnTo>
                  <a:pt x="115" y="324"/>
                </a:lnTo>
                <a:lnTo>
                  <a:pt x="113" y="323"/>
                </a:lnTo>
                <a:lnTo>
                  <a:pt x="111" y="321"/>
                </a:lnTo>
                <a:lnTo>
                  <a:pt x="107" y="317"/>
                </a:lnTo>
                <a:lnTo>
                  <a:pt x="105" y="315"/>
                </a:lnTo>
                <a:lnTo>
                  <a:pt x="103" y="313"/>
                </a:lnTo>
                <a:lnTo>
                  <a:pt x="101" y="311"/>
                </a:lnTo>
                <a:lnTo>
                  <a:pt x="97" y="307"/>
                </a:lnTo>
                <a:lnTo>
                  <a:pt x="95" y="305"/>
                </a:lnTo>
                <a:lnTo>
                  <a:pt x="94" y="303"/>
                </a:lnTo>
                <a:lnTo>
                  <a:pt x="92" y="299"/>
                </a:lnTo>
                <a:lnTo>
                  <a:pt x="88" y="298"/>
                </a:lnTo>
                <a:lnTo>
                  <a:pt x="86" y="296"/>
                </a:lnTo>
                <a:lnTo>
                  <a:pt x="84" y="284"/>
                </a:lnTo>
                <a:lnTo>
                  <a:pt x="82" y="271"/>
                </a:lnTo>
                <a:lnTo>
                  <a:pt x="78" y="269"/>
                </a:lnTo>
                <a:lnTo>
                  <a:pt x="76" y="267"/>
                </a:lnTo>
                <a:lnTo>
                  <a:pt x="76" y="252"/>
                </a:lnTo>
                <a:lnTo>
                  <a:pt x="76" y="238"/>
                </a:lnTo>
                <a:lnTo>
                  <a:pt x="78" y="234"/>
                </a:lnTo>
                <a:lnTo>
                  <a:pt x="82" y="232"/>
                </a:lnTo>
                <a:lnTo>
                  <a:pt x="82" y="219"/>
                </a:lnTo>
                <a:lnTo>
                  <a:pt x="82" y="204"/>
                </a:lnTo>
                <a:lnTo>
                  <a:pt x="82" y="188"/>
                </a:lnTo>
                <a:lnTo>
                  <a:pt x="82" y="175"/>
                </a:lnTo>
                <a:lnTo>
                  <a:pt x="78" y="173"/>
                </a:lnTo>
                <a:lnTo>
                  <a:pt x="76" y="171"/>
                </a:lnTo>
                <a:lnTo>
                  <a:pt x="74" y="158"/>
                </a:lnTo>
                <a:lnTo>
                  <a:pt x="72" y="146"/>
                </a:lnTo>
                <a:lnTo>
                  <a:pt x="69" y="144"/>
                </a:lnTo>
                <a:lnTo>
                  <a:pt x="67" y="140"/>
                </a:lnTo>
                <a:lnTo>
                  <a:pt x="67" y="127"/>
                </a:lnTo>
                <a:lnTo>
                  <a:pt x="67" y="111"/>
                </a:lnTo>
                <a:lnTo>
                  <a:pt x="69" y="110"/>
                </a:lnTo>
                <a:lnTo>
                  <a:pt x="72" y="108"/>
                </a:lnTo>
                <a:lnTo>
                  <a:pt x="92" y="106"/>
                </a:lnTo>
                <a:lnTo>
                  <a:pt x="113" y="104"/>
                </a:lnTo>
                <a:lnTo>
                  <a:pt x="134" y="104"/>
                </a:lnTo>
                <a:lnTo>
                  <a:pt x="153" y="102"/>
                </a:lnTo>
                <a:lnTo>
                  <a:pt x="157" y="100"/>
                </a:lnTo>
                <a:lnTo>
                  <a:pt x="159" y="98"/>
                </a:lnTo>
                <a:lnTo>
                  <a:pt x="161" y="90"/>
                </a:lnTo>
                <a:lnTo>
                  <a:pt x="165" y="83"/>
                </a:lnTo>
                <a:lnTo>
                  <a:pt x="166" y="81"/>
                </a:lnTo>
                <a:lnTo>
                  <a:pt x="168" y="79"/>
                </a:lnTo>
                <a:lnTo>
                  <a:pt x="176" y="75"/>
                </a:lnTo>
                <a:lnTo>
                  <a:pt x="182" y="73"/>
                </a:lnTo>
                <a:lnTo>
                  <a:pt x="186" y="71"/>
                </a:lnTo>
                <a:lnTo>
                  <a:pt x="188" y="67"/>
                </a:lnTo>
                <a:lnTo>
                  <a:pt x="205" y="67"/>
                </a:lnTo>
                <a:lnTo>
                  <a:pt x="222" y="67"/>
                </a:lnTo>
                <a:lnTo>
                  <a:pt x="218" y="56"/>
                </a:lnTo>
                <a:lnTo>
                  <a:pt x="214" y="44"/>
                </a:lnTo>
                <a:lnTo>
                  <a:pt x="211" y="37"/>
                </a:lnTo>
                <a:lnTo>
                  <a:pt x="209" y="27"/>
                </a:lnTo>
                <a:lnTo>
                  <a:pt x="216" y="25"/>
                </a:lnTo>
                <a:lnTo>
                  <a:pt x="222" y="25"/>
                </a:lnTo>
                <a:lnTo>
                  <a:pt x="224" y="23"/>
                </a:lnTo>
                <a:lnTo>
                  <a:pt x="226" y="19"/>
                </a:lnTo>
                <a:lnTo>
                  <a:pt x="228" y="17"/>
                </a:lnTo>
                <a:lnTo>
                  <a:pt x="232" y="16"/>
                </a:lnTo>
                <a:lnTo>
                  <a:pt x="234" y="12"/>
                </a:lnTo>
                <a:lnTo>
                  <a:pt x="236" y="10"/>
                </a:lnTo>
                <a:lnTo>
                  <a:pt x="237" y="8"/>
                </a:lnTo>
                <a:lnTo>
                  <a:pt x="241" y="6"/>
                </a:lnTo>
                <a:lnTo>
                  <a:pt x="243" y="2"/>
                </a:lnTo>
                <a:lnTo>
                  <a:pt x="245" y="0"/>
                </a:lnTo>
                <a:lnTo>
                  <a:pt x="249" y="2"/>
                </a:lnTo>
                <a:lnTo>
                  <a:pt x="251" y="6"/>
                </a:lnTo>
                <a:lnTo>
                  <a:pt x="268" y="8"/>
                </a:lnTo>
                <a:lnTo>
                  <a:pt x="285" y="10"/>
                </a:lnTo>
                <a:lnTo>
                  <a:pt x="287" y="12"/>
                </a:lnTo>
                <a:lnTo>
                  <a:pt x="289" y="16"/>
                </a:lnTo>
                <a:lnTo>
                  <a:pt x="291" y="17"/>
                </a:lnTo>
                <a:lnTo>
                  <a:pt x="293" y="19"/>
                </a:lnTo>
                <a:lnTo>
                  <a:pt x="297" y="23"/>
                </a:lnTo>
                <a:lnTo>
                  <a:pt x="299" y="25"/>
                </a:lnTo>
                <a:lnTo>
                  <a:pt x="301" y="27"/>
                </a:lnTo>
                <a:lnTo>
                  <a:pt x="305" y="29"/>
                </a:lnTo>
                <a:lnTo>
                  <a:pt x="307" y="31"/>
                </a:lnTo>
                <a:lnTo>
                  <a:pt x="308" y="35"/>
                </a:lnTo>
                <a:lnTo>
                  <a:pt x="310" y="42"/>
                </a:lnTo>
                <a:lnTo>
                  <a:pt x="314" y="50"/>
                </a:lnTo>
                <a:lnTo>
                  <a:pt x="316" y="52"/>
                </a:lnTo>
                <a:lnTo>
                  <a:pt x="318" y="54"/>
                </a:lnTo>
                <a:lnTo>
                  <a:pt x="318" y="63"/>
                </a:lnTo>
                <a:lnTo>
                  <a:pt x="318" y="73"/>
                </a:lnTo>
                <a:lnTo>
                  <a:pt x="316" y="75"/>
                </a:lnTo>
                <a:lnTo>
                  <a:pt x="314" y="79"/>
                </a:lnTo>
                <a:lnTo>
                  <a:pt x="314" y="88"/>
                </a:lnTo>
                <a:lnTo>
                  <a:pt x="314" y="98"/>
                </a:lnTo>
                <a:lnTo>
                  <a:pt x="316" y="100"/>
                </a:lnTo>
                <a:lnTo>
                  <a:pt x="318" y="102"/>
                </a:lnTo>
                <a:lnTo>
                  <a:pt x="339" y="104"/>
                </a:lnTo>
                <a:lnTo>
                  <a:pt x="362" y="108"/>
                </a:lnTo>
                <a:lnTo>
                  <a:pt x="364" y="110"/>
                </a:lnTo>
                <a:lnTo>
                  <a:pt x="366" y="111"/>
                </a:lnTo>
                <a:lnTo>
                  <a:pt x="381" y="113"/>
                </a:lnTo>
                <a:lnTo>
                  <a:pt x="397" y="117"/>
                </a:lnTo>
                <a:lnTo>
                  <a:pt x="391" y="131"/>
                </a:lnTo>
                <a:lnTo>
                  <a:pt x="385" y="146"/>
                </a:lnTo>
                <a:lnTo>
                  <a:pt x="368" y="156"/>
                </a:lnTo>
                <a:lnTo>
                  <a:pt x="351" y="165"/>
                </a:lnTo>
                <a:lnTo>
                  <a:pt x="335" y="177"/>
                </a:lnTo>
                <a:lnTo>
                  <a:pt x="324" y="188"/>
                </a:lnTo>
                <a:lnTo>
                  <a:pt x="312" y="200"/>
                </a:lnTo>
                <a:lnTo>
                  <a:pt x="303" y="213"/>
                </a:lnTo>
                <a:lnTo>
                  <a:pt x="295" y="227"/>
                </a:lnTo>
                <a:lnTo>
                  <a:pt x="287" y="242"/>
                </a:lnTo>
                <a:lnTo>
                  <a:pt x="284" y="257"/>
                </a:lnTo>
                <a:lnTo>
                  <a:pt x="280" y="273"/>
                </a:lnTo>
                <a:lnTo>
                  <a:pt x="278" y="290"/>
                </a:lnTo>
                <a:lnTo>
                  <a:pt x="276" y="307"/>
                </a:lnTo>
                <a:lnTo>
                  <a:pt x="276" y="324"/>
                </a:lnTo>
                <a:lnTo>
                  <a:pt x="278" y="344"/>
                </a:lnTo>
                <a:lnTo>
                  <a:pt x="280" y="363"/>
                </a:lnTo>
                <a:lnTo>
                  <a:pt x="284" y="382"/>
                </a:lnTo>
                <a:lnTo>
                  <a:pt x="278" y="478"/>
                </a:lnTo>
                <a:lnTo>
                  <a:pt x="272" y="555"/>
                </a:lnTo>
                <a:lnTo>
                  <a:pt x="266" y="614"/>
                </a:lnTo>
                <a:lnTo>
                  <a:pt x="262" y="658"/>
                </a:lnTo>
                <a:lnTo>
                  <a:pt x="259" y="693"/>
                </a:lnTo>
                <a:lnTo>
                  <a:pt x="257" y="720"/>
                </a:lnTo>
                <a:lnTo>
                  <a:pt x="257" y="743"/>
                </a:lnTo>
                <a:lnTo>
                  <a:pt x="255" y="764"/>
                </a:lnTo>
                <a:lnTo>
                  <a:pt x="262" y="764"/>
                </a:lnTo>
                <a:lnTo>
                  <a:pt x="270" y="764"/>
                </a:lnTo>
                <a:lnTo>
                  <a:pt x="274" y="764"/>
                </a:lnTo>
                <a:lnTo>
                  <a:pt x="280" y="764"/>
                </a:lnTo>
                <a:lnTo>
                  <a:pt x="280" y="773"/>
                </a:lnTo>
                <a:lnTo>
                  <a:pt x="280" y="785"/>
                </a:lnTo>
                <a:lnTo>
                  <a:pt x="295" y="785"/>
                </a:lnTo>
                <a:lnTo>
                  <a:pt x="308" y="785"/>
                </a:lnTo>
                <a:lnTo>
                  <a:pt x="308" y="779"/>
                </a:lnTo>
                <a:lnTo>
                  <a:pt x="308" y="775"/>
                </a:lnTo>
                <a:lnTo>
                  <a:pt x="312" y="775"/>
                </a:lnTo>
                <a:lnTo>
                  <a:pt x="318" y="775"/>
                </a:lnTo>
                <a:lnTo>
                  <a:pt x="322" y="770"/>
                </a:lnTo>
                <a:lnTo>
                  <a:pt x="328" y="764"/>
                </a:lnTo>
                <a:lnTo>
                  <a:pt x="333" y="764"/>
                </a:lnTo>
                <a:lnTo>
                  <a:pt x="337" y="764"/>
                </a:lnTo>
                <a:lnTo>
                  <a:pt x="343" y="764"/>
                </a:lnTo>
                <a:lnTo>
                  <a:pt x="347" y="764"/>
                </a:lnTo>
                <a:lnTo>
                  <a:pt x="347" y="760"/>
                </a:lnTo>
                <a:lnTo>
                  <a:pt x="347" y="754"/>
                </a:lnTo>
                <a:lnTo>
                  <a:pt x="356" y="754"/>
                </a:lnTo>
                <a:lnTo>
                  <a:pt x="366" y="754"/>
                </a:lnTo>
                <a:lnTo>
                  <a:pt x="372" y="760"/>
                </a:lnTo>
                <a:lnTo>
                  <a:pt x="376" y="764"/>
                </a:lnTo>
                <a:lnTo>
                  <a:pt x="381" y="773"/>
                </a:lnTo>
                <a:lnTo>
                  <a:pt x="385" y="785"/>
                </a:lnTo>
                <a:lnTo>
                  <a:pt x="387" y="795"/>
                </a:lnTo>
                <a:lnTo>
                  <a:pt x="387" y="800"/>
                </a:lnTo>
                <a:lnTo>
                  <a:pt x="391" y="802"/>
                </a:lnTo>
                <a:lnTo>
                  <a:pt x="397" y="804"/>
                </a:lnTo>
                <a:lnTo>
                  <a:pt x="397" y="795"/>
                </a:lnTo>
                <a:lnTo>
                  <a:pt x="397" y="785"/>
                </a:lnTo>
                <a:lnTo>
                  <a:pt x="401" y="779"/>
                </a:lnTo>
                <a:lnTo>
                  <a:pt x="406" y="775"/>
                </a:lnTo>
                <a:lnTo>
                  <a:pt x="410" y="775"/>
                </a:lnTo>
                <a:lnTo>
                  <a:pt x="414" y="775"/>
                </a:lnTo>
                <a:lnTo>
                  <a:pt x="420" y="779"/>
                </a:lnTo>
                <a:lnTo>
                  <a:pt x="425" y="785"/>
                </a:lnTo>
                <a:lnTo>
                  <a:pt x="435" y="789"/>
                </a:lnTo>
                <a:lnTo>
                  <a:pt x="445" y="795"/>
                </a:lnTo>
                <a:lnTo>
                  <a:pt x="449" y="789"/>
                </a:lnTo>
                <a:lnTo>
                  <a:pt x="454" y="785"/>
                </a:lnTo>
                <a:lnTo>
                  <a:pt x="454" y="779"/>
                </a:lnTo>
                <a:lnTo>
                  <a:pt x="454" y="775"/>
                </a:lnTo>
                <a:lnTo>
                  <a:pt x="458" y="775"/>
                </a:lnTo>
                <a:lnTo>
                  <a:pt x="464" y="775"/>
                </a:lnTo>
                <a:lnTo>
                  <a:pt x="464" y="754"/>
                </a:lnTo>
                <a:lnTo>
                  <a:pt x="464" y="735"/>
                </a:lnTo>
                <a:lnTo>
                  <a:pt x="458" y="735"/>
                </a:lnTo>
                <a:lnTo>
                  <a:pt x="454" y="735"/>
                </a:lnTo>
                <a:lnTo>
                  <a:pt x="454" y="722"/>
                </a:lnTo>
                <a:lnTo>
                  <a:pt x="454" y="706"/>
                </a:lnTo>
                <a:lnTo>
                  <a:pt x="458" y="702"/>
                </a:lnTo>
                <a:lnTo>
                  <a:pt x="464" y="697"/>
                </a:lnTo>
                <a:lnTo>
                  <a:pt x="464" y="693"/>
                </a:lnTo>
                <a:lnTo>
                  <a:pt x="464" y="687"/>
                </a:lnTo>
                <a:lnTo>
                  <a:pt x="468" y="687"/>
                </a:lnTo>
                <a:lnTo>
                  <a:pt x="473" y="687"/>
                </a:lnTo>
                <a:lnTo>
                  <a:pt x="475" y="687"/>
                </a:lnTo>
                <a:lnTo>
                  <a:pt x="477" y="687"/>
                </a:lnTo>
                <a:lnTo>
                  <a:pt x="481" y="689"/>
                </a:lnTo>
                <a:lnTo>
                  <a:pt x="483" y="693"/>
                </a:lnTo>
                <a:lnTo>
                  <a:pt x="485" y="689"/>
                </a:lnTo>
                <a:lnTo>
                  <a:pt x="487" y="687"/>
                </a:lnTo>
                <a:lnTo>
                  <a:pt x="485" y="685"/>
                </a:lnTo>
                <a:lnTo>
                  <a:pt x="483" y="681"/>
                </a:lnTo>
                <a:lnTo>
                  <a:pt x="483" y="679"/>
                </a:lnTo>
                <a:lnTo>
                  <a:pt x="483" y="677"/>
                </a:lnTo>
                <a:lnTo>
                  <a:pt x="496" y="677"/>
                </a:lnTo>
                <a:lnTo>
                  <a:pt x="512" y="677"/>
                </a:lnTo>
                <a:lnTo>
                  <a:pt x="516" y="677"/>
                </a:lnTo>
                <a:lnTo>
                  <a:pt x="521" y="677"/>
                </a:lnTo>
                <a:lnTo>
                  <a:pt x="531" y="677"/>
                </a:lnTo>
                <a:lnTo>
                  <a:pt x="541" y="677"/>
                </a:lnTo>
                <a:lnTo>
                  <a:pt x="556" y="679"/>
                </a:lnTo>
                <a:lnTo>
                  <a:pt x="569" y="683"/>
                </a:lnTo>
                <a:lnTo>
                  <a:pt x="585" y="685"/>
                </a:lnTo>
                <a:lnTo>
                  <a:pt x="598" y="687"/>
                </a:lnTo>
                <a:lnTo>
                  <a:pt x="598" y="693"/>
                </a:lnTo>
                <a:lnTo>
                  <a:pt x="598" y="697"/>
                </a:lnTo>
                <a:lnTo>
                  <a:pt x="594" y="702"/>
                </a:lnTo>
                <a:lnTo>
                  <a:pt x="589" y="706"/>
                </a:lnTo>
                <a:lnTo>
                  <a:pt x="585" y="712"/>
                </a:lnTo>
                <a:lnTo>
                  <a:pt x="579" y="716"/>
                </a:lnTo>
                <a:lnTo>
                  <a:pt x="585" y="722"/>
                </a:lnTo>
                <a:lnTo>
                  <a:pt x="589" y="725"/>
                </a:lnTo>
                <a:lnTo>
                  <a:pt x="598" y="725"/>
                </a:lnTo>
                <a:lnTo>
                  <a:pt x="608" y="725"/>
                </a:lnTo>
                <a:lnTo>
                  <a:pt x="614" y="731"/>
                </a:lnTo>
                <a:lnTo>
                  <a:pt x="617" y="735"/>
                </a:lnTo>
                <a:lnTo>
                  <a:pt x="623" y="735"/>
                </a:lnTo>
                <a:lnTo>
                  <a:pt x="629" y="735"/>
                </a:lnTo>
                <a:lnTo>
                  <a:pt x="633" y="741"/>
                </a:lnTo>
                <a:lnTo>
                  <a:pt x="638" y="747"/>
                </a:lnTo>
                <a:lnTo>
                  <a:pt x="642" y="750"/>
                </a:lnTo>
                <a:lnTo>
                  <a:pt x="646" y="754"/>
                </a:lnTo>
                <a:lnTo>
                  <a:pt x="646" y="760"/>
                </a:lnTo>
                <a:lnTo>
                  <a:pt x="646" y="764"/>
                </a:lnTo>
                <a:lnTo>
                  <a:pt x="652" y="770"/>
                </a:lnTo>
                <a:lnTo>
                  <a:pt x="658" y="775"/>
                </a:lnTo>
                <a:lnTo>
                  <a:pt x="658" y="779"/>
                </a:lnTo>
                <a:lnTo>
                  <a:pt x="658" y="785"/>
                </a:lnTo>
                <a:lnTo>
                  <a:pt x="654" y="785"/>
                </a:lnTo>
                <a:lnTo>
                  <a:pt x="652" y="791"/>
                </a:lnTo>
                <a:lnTo>
                  <a:pt x="652" y="796"/>
                </a:lnTo>
                <a:lnTo>
                  <a:pt x="656" y="804"/>
                </a:lnTo>
                <a:lnTo>
                  <a:pt x="660" y="812"/>
                </a:lnTo>
                <a:lnTo>
                  <a:pt x="665" y="821"/>
                </a:lnTo>
                <a:lnTo>
                  <a:pt x="671" y="827"/>
                </a:lnTo>
                <a:lnTo>
                  <a:pt x="677" y="833"/>
                </a:lnTo>
                <a:lnTo>
                  <a:pt x="681" y="833"/>
                </a:lnTo>
                <a:lnTo>
                  <a:pt x="686" y="833"/>
                </a:lnTo>
                <a:lnTo>
                  <a:pt x="686" y="837"/>
                </a:lnTo>
                <a:lnTo>
                  <a:pt x="686" y="843"/>
                </a:lnTo>
                <a:lnTo>
                  <a:pt x="683" y="844"/>
                </a:lnTo>
                <a:lnTo>
                  <a:pt x="679" y="848"/>
                </a:lnTo>
                <a:lnTo>
                  <a:pt x="686" y="860"/>
                </a:lnTo>
                <a:lnTo>
                  <a:pt x="696" y="871"/>
                </a:lnTo>
                <a:lnTo>
                  <a:pt x="700" y="875"/>
                </a:lnTo>
                <a:lnTo>
                  <a:pt x="706" y="881"/>
                </a:lnTo>
                <a:lnTo>
                  <a:pt x="709" y="881"/>
                </a:lnTo>
                <a:lnTo>
                  <a:pt x="715" y="881"/>
                </a:lnTo>
                <a:lnTo>
                  <a:pt x="715" y="885"/>
                </a:lnTo>
                <a:lnTo>
                  <a:pt x="715" y="890"/>
                </a:lnTo>
                <a:lnTo>
                  <a:pt x="719" y="894"/>
                </a:lnTo>
                <a:lnTo>
                  <a:pt x="725" y="900"/>
                </a:lnTo>
                <a:lnTo>
                  <a:pt x="729" y="904"/>
                </a:lnTo>
                <a:lnTo>
                  <a:pt x="734" y="910"/>
                </a:lnTo>
                <a:lnTo>
                  <a:pt x="738" y="915"/>
                </a:lnTo>
                <a:lnTo>
                  <a:pt x="744" y="919"/>
                </a:lnTo>
                <a:lnTo>
                  <a:pt x="748" y="925"/>
                </a:lnTo>
                <a:lnTo>
                  <a:pt x="754" y="929"/>
                </a:lnTo>
                <a:lnTo>
                  <a:pt x="754" y="935"/>
                </a:lnTo>
                <a:lnTo>
                  <a:pt x="754" y="938"/>
                </a:lnTo>
                <a:lnTo>
                  <a:pt x="757" y="944"/>
                </a:lnTo>
                <a:lnTo>
                  <a:pt x="763" y="948"/>
                </a:lnTo>
                <a:lnTo>
                  <a:pt x="769" y="954"/>
                </a:lnTo>
                <a:lnTo>
                  <a:pt x="773" y="958"/>
                </a:lnTo>
                <a:lnTo>
                  <a:pt x="777" y="967"/>
                </a:lnTo>
                <a:lnTo>
                  <a:pt x="782" y="977"/>
                </a:lnTo>
                <a:lnTo>
                  <a:pt x="782" y="983"/>
                </a:lnTo>
                <a:lnTo>
                  <a:pt x="782" y="986"/>
                </a:lnTo>
                <a:lnTo>
                  <a:pt x="786" y="992"/>
                </a:lnTo>
                <a:lnTo>
                  <a:pt x="792" y="996"/>
                </a:lnTo>
                <a:lnTo>
                  <a:pt x="792" y="1002"/>
                </a:lnTo>
                <a:lnTo>
                  <a:pt x="792" y="1006"/>
                </a:lnTo>
                <a:lnTo>
                  <a:pt x="790" y="1008"/>
                </a:lnTo>
                <a:lnTo>
                  <a:pt x="788" y="1008"/>
                </a:lnTo>
                <a:lnTo>
                  <a:pt x="788" y="1013"/>
                </a:lnTo>
                <a:lnTo>
                  <a:pt x="786" y="1021"/>
                </a:lnTo>
                <a:lnTo>
                  <a:pt x="784" y="1055"/>
                </a:lnTo>
                <a:lnTo>
                  <a:pt x="782" y="1123"/>
                </a:lnTo>
                <a:lnTo>
                  <a:pt x="780" y="1123"/>
                </a:lnTo>
                <a:lnTo>
                  <a:pt x="779" y="1123"/>
                </a:lnTo>
                <a:lnTo>
                  <a:pt x="775" y="1121"/>
                </a:lnTo>
                <a:lnTo>
                  <a:pt x="773" y="1117"/>
                </a:lnTo>
                <a:lnTo>
                  <a:pt x="771" y="1115"/>
                </a:lnTo>
                <a:lnTo>
                  <a:pt x="767" y="1113"/>
                </a:lnTo>
                <a:lnTo>
                  <a:pt x="765" y="1111"/>
                </a:lnTo>
                <a:lnTo>
                  <a:pt x="763" y="1107"/>
                </a:lnTo>
                <a:lnTo>
                  <a:pt x="754" y="1107"/>
                </a:lnTo>
                <a:lnTo>
                  <a:pt x="744" y="1107"/>
                </a:lnTo>
                <a:lnTo>
                  <a:pt x="742" y="1111"/>
                </a:lnTo>
                <a:lnTo>
                  <a:pt x="738" y="1113"/>
                </a:lnTo>
                <a:lnTo>
                  <a:pt x="736" y="1115"/>
                </a:lnTo>
                <a:lnTo>
                  <a:pt x="734" y="1117"/>
                </a:lnTo>
                <a:lnTo>
                  <a:pt x="731" y="1121"/>
                </a:lnTo>
                <a:lnTo>
                  <a:pt x="729" y="1123"/>
                </a:lnTo>
                <a:lnTo>
                  <a:pt x="727" y="1125"/>
                </a:lnTo>
                <a:lnTo>
                  <a:pt x="725" y="1128"/>
                </a:lnTo>
                <a:lnTo>
                  <a:pt x="723" y="1130"/>
                </a:lnTo>
                <a:lnTo>
                  <a:pt x="719" y="1132"/>
                </a:lnTo>
                <a:lnTo>
                  <a:pt x="717" y="1134"/>
                </a:lnTo>
                <a:lnTo>
                  <a:pt x="715" y="1138"/>
                </a:lnTo>
                <a:lnTo>
                  <a:pt x="711" y="1140"/>
                </a:lnTo>
                <a:lnTo>
                  <a:pt x="709" y="1142"/>
                </a:lnTo>
                <a:lnTo>
                  <a:pt x="709" y="1151"/>
                </a:lnTo>
                <a:lnTo>
                  <a:pt x="709" y="1161"/>
                </a:lnTo>
                <a:lnTo>
                  <a:pt x="711" y="1163"/>
                </a:lnTo>
                <a:lnTo>
                  <a:pt x="715" y="1167"/>
                </a:lnTo>
                <a:lnTo>
                  <a:pt x="717" y="1169"/>
                </a:lnTo>
                <a:lnTo>
                  <a:pt x="719" y="1171"/>
                </a:lnTo>
                <a:lnTo>
                  <a:pt x="723" y="1173"/>
                </a:lnTo>
                <a:lnTo>
                  <a:pt x="725" y="1176"/>
                </a:lnTo>
                <a:lnTo>
                  <a:pt x="746" y="1178"/>
                </a:lnTo>
                <a:lnTo>
                  <a:pt x="767" y="1180"/>
                </a:lnTo>
                <a:lnTo>
                  <a:pt x="771" y="1184"/>
                </a:lnTo>
                <a:lnTo>
                  <a:pt x="773" y="1186"/>
                </a:lnTo>
                <a:lnTo>
                  <a:pt x="773" y="1196"/>
                </a:lnTo>
                <a:lnTo>
                  <a:pt x="773" y="1205"/>
                </a:lnTo>
                <a:lnTo>
                  <a:pt x="771" y="1207"/>
                </a:lnTo>
                <a:lnTo>
                  <a:pt x="767" y="1209"/>
                </a:lnTo>
                <a:lnTo>
                  <a:pt x="765" y="1213"/>
                </a:lnTo>
                <a:lnTo>
                  <a:pt x="763" y="1215"/>
                </a:lnTo>
                <a:lnTo>
                  <a:pt x="761" y="1217"/>
                </a:lnTo>
                <a:lnTo>
                  <a:pt x="757" y="1219"/>
                </a:lnTo>
                <a:lnTo>
                  <a:pt x="756" y="1222"/>
                </a:lnTo>
                <a:lnTo>
                  <a:pt x="754" y="1224"/>
                </a:lnTo>
                <a:lnTo>
                  <a:pt x="752" y="1226"/>
                </a:lnTo>
                <a:lnTo>
                  <a:pt x="750" y="1228"/>
                </a:lnTo>
                <a:lnTo>
                  <a:pt x="746" y="1234"/>
                </a:lnTo>
                <a:lnTo>
                  <a:pt x="746" y="1244"/>
                </a:lnTo>
                <a:lnTo>
                  <a:pt x="746" y="1253"/>
                </a:lnTo>
                <a:lnTo>
                  <a:pt x="750" y="1259"/>
                </a:lnTo>
                <a:lnTo>
                  <a:pt x="752" y="1261"/>
                </a:lnTo>
                <a:lnTo>
                  <a:pt x="754" y="1263"/>
                </a:lnTo>
                <a:lnTo>
                  <a:pt x="754" y="1268"/>
                </a:lnTo>
                <a:lnTo>
                  <a:pt x="754" y="1272"/>
                </a:lnTo>
                <a:lnTo>
                  <a:pt x="752" y="1274"/>
                </a:lnTo>
                <a:lnTo>
                  <a:pt x="750" y="1278"/>
                </a:lnTo>
                <a:lnTo>
                  <a:pt x="746" y="1280"/>
                </a:lnTo>
                <a:lnTo>
                  <a:pt x="744" y="1282"/>
                </a:lnTo>
                <a:lnTo>
                  <a:pt x="742" y="1284"/>
                </a:lnTo>
                <a:lnTo>
                  <a:pt x="738" y="1288"/>
                </a:lnTo>
                <a:lnTo>
                  <a:pt x="736" y="1290"/>
                </a:lnTo>
                <a:lnTo>
                  <a:pt x="734" y="1291"/>
                </a:lnTo>
                <a:lnTo>
                  <a:pt x="731" y="1293"/>
                </a:lnTo>
                <a:lnTo>
                  <a:pt x="729" y="1297"/>
                </a:lnTo>
                <a:lnTo>
                  <a:pt x="713" y="1297"/>
                </a:lnTo>
                <a:lnTo>
                  <a:pt x="698" y="1299"/>
                </a:lnTo>
                <a:lnTo>
                  <a:pt x="683" y="1301"/>
                </a:lnTo>
                <a:lnTo>
                  <a:pt x="667" y="1301"/>
                </a:lnTo>
                <a:lnTo>
                  <a:pt x="663" y="1303"/>
                </a:lnTo>
                <a:lnTo>
                  <a:pt x="661" y="1307"/>
                </a:lnTo>
                <a:lnTo>
                  <a:pt x="660" y="1309"/>
                </a:lnTo>
                <a:lnTo>
                  <a:pt x="658" y="1311"/>
                </a:lnTo>
                <a:lnTo>
                  <a:pt x="654" y="1313"/>
                </a:lnTo>
                <a:lnTo>
                  <a:pt x="652" y="1316"/>
                </a:lnTo>
                <a:lnTo>
                  <a:pt x="650" y="1318"/>
                </a:lnTo>
                <a:lnTo>
                  <a:pt x="646" y="1320"/>
                </a:lnTo>
                <a:lnTo>
                  <a:pt x="644" y="1324"/>
                </a:lnTo>
                <a:lnTo>
                  <a:pt x="642" y="1326"/>
                </a:lnTo>
                <a:lnTo>
                  <a:pt x="640" y="1339"/>
                </a:lnTo>
                <a:lnTo>
                  <a:pt x="638" y="1355"/>
                </a:lnTo>
                <a:lnTo>
                  <a:pt x="633" y="1355"/>
                </a:lnTo>
                <a:lnTo>
                  <a:pt x="629" y="1355"/>
                </a:lnTo>
                <a:lnTo>
                  <a:pt x="629" y="1332"/>
                </a:lnTo>
                <a:lnTo>
                  <a:pt x="629" y="1311"/>
                </a:lnTo>
                <a:lnTo>
                  <a:pt x="629" y="1290"/>
                </a:lnTo>
                <a:lnTo>
                  <a:pt x="629" y="1267"/>
                </a:lnTo>
                <a:lnTo>
                  <a:pt x="617" y="1267"/>
                </a:lnTo>
                <a:lnTo>
                  <a:pt x="612" y="1267"/>
                </a:lnTo>
                <a:lnTo>
                  <a:pt x="608" y="1263"/>
                </a:lnTo>
                <a:lnTo>
                  <a:pt x="608" y="1259"/>
                </a:lnTo>
              </a:path>
            </a:pathLst>
          </a:custGeom>
          <a:solidFill>
            <a:schemeClr val="accent3"/>
          </a:solidFill>
          <a:ln w="12700">
            <a:solidFill>
              <a:schemeClr val="bg1"/>
            </a:solidFill>
            <a:round/>
            <a:headEnd/>
            <a:tailEnd/>
          </a:ln>
        </p:spPr>
        <p:txBody>
          <a:bodyPr/>
          <a:lstStyle/>
          <a:p>
            <a:endParaRPr lang="en-GB"/>
          </a:p>
        </p:txBody>
      </p:sp>
      <p:sp>
        <p:nvSpPr>
          <p:cNvPr id="91" name="Freeform 356"/>
          <p:cNvSpPr>
            <a:spLocks noChangeArrowheads="1"/>
          </p:cNvSpPr>
          <p:nvPr>
            <p:custDataLst>
              <p:tags r:id="rId72"/>
            </p:custDataLst>
          </p:nvPr>
        </p:nvSpPr>
        <p:spPr bwMode="auto">
          <a:xfrm>
            <a:off x="7094945" y="1376363"/>
            <a:ext cx="982423" cy="1315471"/>
          </a:xfrm>
          <a:custGeom>
            <a:avLst/>
            <a:gdLst>
              <a:gd name="T0" fmla="*/ 0 w 1168661"/>
              <a:gd name="T1" fmla="*/ 0 h 1565910"/>
              <a:gd name="T2" fmla="*/ 1168661 w 1168661"/>
              <a:gd name="T3" fmla="*/ 1565910 h 1565910"/>
            </a:gdLst>
            <a:ahLst/>
            <a:cxnLst/>
            <a:rect l="T0" t="T1" r="T2" b="T3"/>
            <a:pathLst>
              <a:path w="1168661" h="1565910">
                <a:moveTo>
                  <a:pt x="10421" y="1154430"/>
                </a:moveTo>
                <a:cubicBezTo>
                  <a:pt x="12961" y="1151890"/>
                  <a:pt x="15769" y="1146976"/>
                  <a:pt x="18041" y="1143000"/>
                </a:cubicBezTo>
                <a:cubicBezTo>
                  <a:pt x="20859" y="1138069"/>
                  <a:pt x="23424" y="1132980"/>
                  <a:pt x="25661" y="1127760"/>
                </a:cubicBezTo>
                <a:cubicBezTo>
                  <a:pt x="28238" y="1121747"/>
                  <a:pt x="32263" y="1106687"/>
                  <a:pt x="33281" y="1101090"/>
                </a:cubicBezTo>
                <a:cubicBezTo>
                  <a:pt x="41433" y="1056251"/>
                  <a:pt x="31185" y="1091439"/>
                  <a:pt x="44711" y="1055370"/>
                </a:cubicBezTo>
                <a:cubicBezTo>
                  <a:pt x="46121" y="1051610"/>
                  <a:pt x="46111" y="1047153"/>
                  <a:pt x="48521" y="1043940"/>
                </a:cubicBezTo>
                <a:cubicBezTo>
                  <a:pt x="53909" y="1036756"/>
                  <a:pt x="62058" y="1031979"/>
                  <a:pt x="67571" y="1024890"/>
                </a:cubicBezTo>
                <a:cubicBezTo>
                  <a:pt x="71058" y="1020407"/>
                  <a:pt x="71594" y="1014046"/>
                  <a:pt x="75191" y="1009650"/>
                </a:cubicBezTo>
                <a:cubicBezTo>
                  <a:pt x="83152" y="999920"/>
                  <a:pt x="92971" y="991870"/>
                  <a:pt x="101861" y="982980"/>
                </a:cubicBezTo>
                <a:cubicBezTo>
                  <a:pt x="105671" y="979170"/>
                  <a:pt x="110302" y="976033"/>
                  <a:pt x="113291" y="971550"/>
                </a:cubicBezTo>
                <a:cubicBezTo>
                  <a:pt x="123900" y="955637"/>
                  <a:pt x="117673" y="963358"/>
                  <a:pt x="132341" y="948690"/>
                </a:cubicBezTo>
                <a:cubicBezTo>
                  <a:pt x="133611" y="944880"/>
                  <a:pt x="135280" y="941180"/>
                  <a:pt x="136151" y="937260"/>
                </a:cubicBezTo>
                <a:cubicBezTo>
                  <a:pt x="137827" y="929719"/>
                  <a:pt x="136506" y="921310"/>
                  <a:pt x="139961" y="914400"/>
                </a:cubicBezTo>
                <a:cubicBezTo>
                  <a:pt x="142009" y="910304"/>
                  <a:pt x="147295" y="908828"/>
                  <a:pt x="151391" y="906780"/>
                </a:cubicBezTo>
                <a:cubicBezTo>
                  <a:pt x="154983" y="904984"/>
                  <a:pt x="158925" y="903944"/>
                  <a:pt x="162821" y="902970"/>
                </a:cubicBezTo>
                <a:cubicBezTo>
                  <a:pt x="189122" y="896395"/>
                  <a:pt x="203566" y="897610"/>
                  <a:pt x="235211" y="895350"/>
                </a:cubicBezTo>
                <a:cubicBezTo>
                  <a:pt x="241038" y="891465"/>
                  <a:pt x="253514" y="885265"/>
                  <a:pt x="254261" y="876300"/>
                </a:cubicBezTo>
                <a:cubicBezTo>
                  <a:pt x="255682" y="859247"/>
                  <a:pt x="255853" y="839557"/>
                  <a:pt x="239021" y="830580"/>
                </a:cubicBezTo>
                <a:cubicBezTo>
                  <a:pt x="205418" y="812658"/>
                  <a:pt x="202393" y="813348"/>
                  <a:pt x="174251" y="807720"/>
                </a:cubicBezTo>
                <a:cubicBezTo>
                  <a:pt x="160512" y="799476"/>
                  <a:pt x="154016" y="794917"/>
                  <a:pt x="139961" y="788670"/>
                </a:cubicBezTo>
                <a:cubicBezTo>
                  <a:pt x="133711" y="785892"/>
                  <a:pt x="127261" y="783590"/>
                  <a:pt x="120911" y="781050"/>
                </a:cubicBezTo>
                <a:cubicBezTo>
                  <a:pt x="117101" y="777240"/>
                  <a:pt x="112470" y="774103"/>
                  <a:pt x="109481" y="769620"/>
                </a:cubicBezTo>
                <a:cubicBezTo>
                  <a:pt x="101910" y="758263"/>
                  <a:pt x="106508" y="737224"/>
                  <a:pt x="109481" y="727710"/>
                </a:cubicBezTo>
                <a:cubicBezTo>
                  <a:pt x="112869" y="716868"/>
                  <a:pt x="113945" y="700822"/>
                  <a:pt x="124721" y="697230"/>
                </a:cubicBezTo>
                <a:lnTo>
                  <a:pt x="136151" y="693420"/>
                </a:lnTo>
                <a:cubicBezTo>
                  <a:pt x="146828" y="680074"/>
                  <a:pt x="153637" y="670125"/>
                  <a:pt x="166631" y="659130"/>
                </a:cubicBezTo>
                <a:cubicBezTo>
                  <a:pt x="177685" y="649777"/>
                  <a:pt x="190682" y="642699"/>
                  <a:pt x="200921" y="632460"/>
                </a:cubicBezTo>
                <a:cubicBezTo>
                  <a:pt x="206001" y="627380"/>
                  <a:pt x="210791" y="621993"/>
                  <a:pt x="216161" y="617220"/>
                </a:cubicBezTo>
                <a:cubicBezTo>
                  <a:pt x="222239" y="611817"/>
                  <a:pt x="228705" y="606859"/>
                  <a:pt x="235211" y="601980"/>
                </a:cubicBezTo>
                <a:cubicBezTo>
                  <a:pt x="238874" y="599233"/>
                  <a:pt x="243123" y="597291"/>
                  <a:pt x="246641" y="594360"/>
                </a:cubicBezTo>
                <a:cubicBezTo>
                  <a:pt x="261307" y="582138"/>
                  <a:pt x="261575" y="575616"/>
                  <a:pt x="277121" y="560070"/>
                </a:cubicBezTo>
                <a:cubicBezTo>
                  <a:pt x="281611" y="555580"/>
                  <a:pt x="287871" y="553130"/>
                  <a:pt x="292361" y="548640"/>
                </a:cubicBezTo>
                <a:cubicBezTo>
                  <a:pt x="298111" y="542890"/>
                  <a:pt x="302085" y="535565"/>
                  <a:pt x="307601" y="529590"/>
                </a:cubicBezTo>
                <a:cubicBezTo>
                  <a:pt x="317347" y="519032"/>
                  <a:pt x="330111" y="511065"/>
                  <a:pt x="338081" y="499110"/>
                </a:cubicBezTo>
                <a:cubicBezTo>
                  <a:pt x="340621" y="495300"/>
                  <a:pt x="342721" y="491157"/>
                  <a:pt x="345701" y="487680"/>
                </a:cubicBezTo>
                <a:cubicBezTo>
                  <a:pt x="350376" y="482225"/>
                  <a:pt x="356630" y="478187"/>
                  <a:pt x="360941" y="472440"/>
                </a:cubicBezTo>
                <a:cubicBezTo>
                  <a:pt x="376634" y="451515"/>
                  <a:pt x="358734" y="460476"/>
                  <a:pt x="379991" y="453390"/>
                </a:cubicBezTo>
                <a:cubicBezTo>
                  <a:pt x="400311" y="422910"/>
                  <a:pt x="373641" y="459740"/>
                  <a:pt x="399041" y="434340"/>
                </a:cubicBezTo>
                <a:cubicBezTo>
                  <a:pt x="402279" y="431102"/>
                  <a:pt x="403646" y="426356"/>
                  <a:pt x="406661" y="422910"/>
                </a:cubicBezTo>
                <a:cubicBezTo>
                  <a:pt x="438701" y="386293"/>
                  <a:pt x="412517" y="418495"/>
                  <a:pt x="440951" y="392430"/>
                </a:cubicBezTo>
                <a:cubicBezTo>
                  <a:pt x="451543" y="382721"/>
                  <a:pt x="461271" y="372110"/>
                  <a:pt x="471431" y="361950"/>
                </a:cubicBezTo>
                <a:cubicBezTo>
                  <a:pt x="475241" y="358140"/>
                  <a:pt x="478378" y="353509"/>
                  <a:pt x="482861" y="350520"/>
                </a:cubicBezTo>
                <a:cubicBezTo>
                  <a:pt x="498664" y="339985"/>
                  <a:pt x="497132" y="342086"/>
                  <a:pt x="513341" y="323850"/>
                </a:cubicBezTo>
                <a:cubicBezTo>
                  <a:pt x="517560" y="319104"/>
                  <a:pt x="519950" y="312743"/>
                  <a:pt x="524771" y="308610"/>
                </a:cubicBezTo>
                <a:cubicBezTo>
                  <a:pt x="529083" y="304914"/>
                  <a:pt x="535141" y="303912"/>
                  <a:pt x="540011" y="300990"/>
                </a:cubicBezTo>
                <a:cubicBezTo>
                  <a:pt x="547864" y="296278"/>
                  <a:pt x="555368" y="291002"/>
                  <a:pt x="562871" y="285750"/>
                </a:cubicBezTo>
                <a:cubicBezTo>
                  <a:pt x="568073" y="282109"/>
                  <a:pt x="572598" y="277470"/>
                  <a:pt x="578111" y="274320"/>
                </a:cubicBezTo>
                <a:cubicBezTo>
                  <a:pt x="581598" y="272327"/>
                  <a:pt x="585949" y="272306"/>
                  <a:pt x="589541" y="270510"/>
                </a:cubicBezTo>
                <a:cubicBezTo>
                  <a:pt x="594365" y="268098"/>
                  <a:pt x="613795" y="253531"/>
                  <a:pt x="616211" y="251460"/>
                </a:cubicBezTo>
                <a:cubicBezTo>
                  <a:pt x="620302" y="247953"/>
                  <a:pt x="623158" y="243019"/>
                  <a:pt x="627641" y="240030"/>
                </a:cubicBezTo>
                <a:cubicBezTo>
                  <a:pt x="630983" y="237802"/>
                  <a:pt x="635479" y="238016"/>
                  <a:pt x="639071" y="236220"/>
                </a:cubicBezTo>
                <a:cubicBezTo>
                  <a:pt x="643167" y="234172"/>
                  <a:pt x="646691" y="231140"/>
                  <a:pt x="650501" y="228600"/>
                </a:cubicBezTo>
                <a:cubicBezTo>
                  <a:pt x="661931" y="229870"/>
                  <a:pt x="673291" y="232410"/>
                  <a:pt x="684791" y="232410"/>
                </a:cubicBezTo>
                <a:cubicBezTo>
                  <a:pt x="694531" y="232410"/>
                  <a:pt x="755938" y="226057"/>
                  <a:pt x="768611" y="224790"/>
                </a:cubicBezTo>
                <a:cubicBezTo>
                  <a:pt x="769881" y="220980"/>
                  <a:pt x="774487" y="216804"/>
                  <a:pt x="772421" y="213360"/>
                </a:cubicBezTo>
                <a:cubicBezTo>
                  <a:pt x="769499" y="208490"/>
                  <a:pt x="762621" y="207372"/>
                  <a:pt x="757181" y="205740"/>
                </a:cubicBezTo>
                <a:cubicBezTo>
                  <a:pt x="749782" y="203520"/>
                  <a:pt x="741922" y="203312"/>
                  <a:pt x="734321" y="201930"/>
                </a:cubicBezTo>
                <a:cubicBezTo>
                  <a:pt x="716586" y="198705"/>
                  <a:pt x="716338" y="198387"/>
                  <a:pt x="700031" y="194310"/>
                </a:cubicBezTo>
                <a:cubicBezTo>
                  <a:pt x="698761" y="190500"/>
                  <a:pt x="696221" y="186896"/>
                  <a:pt x="696221" y="182880"/>
                </a:cubicBezTo>
                <a:cubicBezTo>
                  <a:pt x="696221" y="176404"/>
                  <a:pt x="698327" y="170078"/>
                  <a:pt x="700031" y="163830"/>
                </a:cubicBezTo>
                <a:cubicBezTo>
                  <a:pt x="706908" y="138614"/>
                  <a:pt x="705006" y="144496"/>
                  <a:pt x="719081" y="125730"/>
                </a:cubicBezTo>
                <a:cubicBezTo>
                  <a:pt x="721621" y="118110"/>
                  <a:pt x="722246" y="109553"/>
                  <a:pt x="726701" y="102870"/>
                </a:cubicBezTo>
                <a:cubicBezTo>
                  <a:pt x="737321" y="86940"/>
                  <a:pt x="739942" y="79771"/>
                  <a:pt x="753371" y="68580"/>
                </a:cubicBezTo>
                <a:cubicBezTo>
                  <a:pt x="756889" y="65649"/>
                  <a:pt x="760991" y="63500"/>
                  <a:pt x="764801" y="60960"/>
                </a:cubicBezTo>
                <a:cubicBezTo>
                  <a:pt x="767341" y="57150"/>
                  <a:pt x="769441" y="53007"/>
                  <a:pt x="772421" y="49530"/>
                </a:cubicBezTo>
                <a:cubicBezTo>
                  <a:pt x="779503" y="41267"/>
                  <a:pt x="793093" y="28465"/>
                  <a:pt x="802901" y="22860"/>
                </a:cubicBezTo>
                <a:cubicBezTo>
                  <a:pt x="806388" y="20867"/>
                  <a:pt x="810739" y="20846"/>
                  <a:pt x="814331" y="19050"/>
                </a:cubicBezTo>
                <a:cubicBezTo>
                  <a:pt x="824940" y="13746"/>
                  <a:pt x="828765" y="8426"/>
                  <a:pt x="837191" y="0"/>
                </a:cubicBezTo>
                <a:cubicBezTo>
                  <a:pt x="845971" y="1463"/>
                  <a:pt x="862102" y="2930"/>
                  <a:pt x="871481" y="7620"/>
                </a:cubicBezTo>
                <a:cubicBezTo>
                  <a:pt x="901024" y="22392"/>
                  <a:pt x="865611" y="9473"/>
                  <a:pt x="894341" y="19050"/>
                </a:cubicBezTo>
                <a:cubicBezTo>
                  <a:pt x="898876" y="32656"/>
                  <a:pt x="900795" y="36431"/>
                  <a:pt x="901961" y="53340"/>
                </a:cubicBezTo>
                <a:cubicBezTo>
                  <a:pt x="903973" y="82508"/>
                  <a:pt x="885523" y="119878"/>
                  <a:pt x="905771" y="140970"/>
                </a:cubicBezTo>
                <a:cubicBezTo>
                  <a:pt x="926076" y="162121"/>
                  <a:pt x="993401" y="148590"/>
                  <a:pt x="993401" y="148590"/>
                </a:cubicBezTo>
                <a:cubicBezTo>
                  <a:pt x="1010014" y="154128"/>
                  <a:pt x="1015616" y="153767"/>
                  <a:pt x="1027691" y="163830"/>
                </a:cubicBezTo>
                <a:cubicBezTo>
                  <a:pt x="1031830" y="167279"/>
                  <a:pt x="1035311" y="171450"/>
                  <a:pt x="1039121" y="175260"/>
                </a:cubicBezTo>
                <a:cubicBezTo>
                  <a:pt x="1040391" y="179070"/>
                  <a:pt x="1041957" y="182794"/>
                  <a:pt x="1042931" y="186690"/>
                </a:cubicBezTo>
                <a:cubicBezTo>
                  <a:pt x="1048440" y="208726"/>
                  <a:pt x="1049606" y="222618"/>
                  <a:pt x="1042931" y="247650"/>
                </a:cubicBezTo>
                <a:cubicBezTo>
                  <a:pt x="1041295" y="253786"/>
                  <a:pt x="1035634" y="258069"/>
                  <a:pt x="1031501" y="262890"/>
                </a:cubicBezTo>
                <a:cubicBezTo>
                  <a:pt x="1019564" y="276817"/>
                  <a:pt x="1014410" y="278094"/>
                  <a:pt x="997211" y="289560"/>
                </a:cubicBezTo>
                <a:cubicBezTo>
                  <a:pt x="993401" y="292100"/>
                  <a:pt x="989444" y="294433"/>
                  <a:pt x="985781" y="297180"/>
                </a:cubicBezTo>
                <a:cubicBezTo>
                  <a:pt x="980701" y="300990"/>
                  <a:pt x="976054" y="305460"/>
                  <a:pt x="970541" y="308610"/>
                </a:cubicBezTo>
                <a:cubicBezTo>
                  <a:pt x="967054" y="310603"/>
                  <a:pt x="962921" y="311150"/>
                  <a:pt x="959111" y="312420"/>
                </a:cubicBezTo>
                <a:cubicBezTo>
                  <a:pt x="937397" y="334134"/>
                  <a:pt x="959304" y="316147"/>
                  <a:pt x="932441" y="327660"/>
                </a:cubicBezTo>
                <a:cubicBezTo>
                  <a:pt x="928232" y="329464"/>
                  <a:pt x="925107" y="333232"/>
                  <a:pt x="921011" y="335280"/>
                </a:cubicBezTo>
                <a:cubicBezTo>
                  <a:pt x="917419" y="337076"/>
                  <a:pt x="913391" y="337820"/>
                  <a:pt x="909581" y="339090"/>
                </a:cubicBezTo>
                <a:cubicBezTo>
                  <a:pt x="904501" y="342900"/>
                  <a:pt x="899543" y="346879"/>
                  <a:pt x="894341" y="350520"/>
                </a:cubicBezTo>
                <a:cubicBezTo>
                  <a:pt x="886838" y="355772"/>
                  <a:pt x="877957" y="359284"/>
                  <a:pt x="871481" y="365760"/>
                </a:cubicBezTo>
                <a:cubicBezTo>
                  <a:pt x="861383" y="375858"/>
                  <a:pt x="847800" y="386452"/>
                  <a:pt x="841001" y="400050"/>
                </a:cubicBezTo>
                <a:cubicBezTo>
                  <a:pt x="839205" y="403642"/>
                  <a:pt x="838461" y="407670"/>
                  <a:pt x="837191" y="411480"/>
                </a:cubicBezTo>
                <a:cubicBezTo>
                  <a:pt x="838461" y="422910"/>
                  <a:pt x="841001" y="434270"/>
                  <a:pt x="841001" y="445770"/>
                </a:cubicBezTo>
                <a:cubicBezTo>
                  <a:pt x="841001" y="452246"/>
                  <a:pt x="841337" y="459845"/>
                  <a:pt x="837191" y="464820"/>
                </a:cubicBezTo>
                <a:cubicBezTo>
                  <a:pt x="833839" y="468843"/>
                  <a:pt x="827171" y="468212"/>
                  <a:pt x="821951" y="468630"/>
                </a:cubicBezTo>
                <a:cubicBezTo>
                  <a:pt x="795336" y="470759"/>
                  <a:pt x="768611" y="471170"/>
                  <a:pt x="741941" y="472440"/>
                </a:cubicBezTo>
                <a:cubicBezTo>
                  <a:pt x="740671" y="476250"/>
                  <a:pt x="738131" y="479854"/>
                  <a:pt x="738131" y="483870"/>
                </a:cubicBezTo>
                <a:cubicBezTo>
                  <a:pt x="738131" y="489106"/>
                  <a:pt x="738493" y="495169"/>
                  <a:pt x="741941" y="499110"/>
                </a:cubicBezTo>
                <a:cubicBezTo>
                  <a:pt x="768055" y="528954"/>
                  <a:pt x="816786" y="516713"/>
                  <a:pt x="848621" y="518160"/>
                </a:cubicBezTo>
                <a:cubicBezTo>
                  <a:pt x="854195" y="526521"/>
                  <a:pt x="860638" y="535162"/>
                  <a:pt x="863861" y="544830"/>
                </a:cubicBezTo>
                <a:cubicBezTo>
                  <a:pt x="865909" y="550973"/>
                  <a:pt x="866100" y="557598"/>
                  <a:pt x="867671" y="563880"/>
                </a:cubicBezTo>
                <a:cubicBezTo>
                  <a:pt x="868645" y="567776"/>
                  <a:pt x="870424" y="571435"/>
                  <a:pt x="871481" y="575310"/>
                </a:cubicBezTo>
                <a:cubicBezTo>
                  <a:pt x="874237" y="585414"/>
                  <a:pt x="879101" y="605790"/>
                  <a:pt x="879101" y="605790"/>
                </a:cubicBezTo>
                <a:cubicBezTo>
                  <a:pt x="879005" y="607510"/>
                  <a:pt x="881840" y="665081"/>
                  <a:pt x="871481" y="685800"/>
                </a:cubicBezTo>
                <a:cubicBezTo>
                  <a:pt x="868169" y="692424"/>
                  <a:pt x="863115" y="698108"/>
                  <a:pt x="860051" y="704850"/>
                </a:cubicBezTo>
                <a:cubicBezTo>
                  <a:pt x="856727" y="712162"/>
                  <a:pt x="852431" y="727710"/>
                  <a:pt x="852431" y="727710"/>
                </a:cubicBezTo>
                <a:cubicBezTo>
                  <a:pt x="859151" y="754590"/>
                  <a:pt x="854706" y="758309"/>
                  <a:pt x="905771" y="735330"/>
                </a:cubicBezTo>
                <a:cubicBezTo>
                  <a:pt x="917236" y="730171"/>
                  <a:pt x="920768" y="713329"/>
                  <a:pt x="932441" y="708660"/>
                </a:cubicBezTo>
                <a:cubicBezTo>
                  <a:pt x="938791" y="706120"/>
                  <a:pt x="945003" y="703203"/>
                  <a:pt x="951491" y="701040"/>
                </a:cubicBezTo>
                <a:cubicBezTo>
                  <a:pt x="956459" y="699384"/>
                  <a:pt x="961619" y="698366"/>
                  <a:pt x="966731" y="697230"/>
                </a:cubicBezTo>
                <a:cubicBezTo>
                  <a:pt x="1013970" y="686732"/>
                  <a:pt x="1024992" y="690716"/>
                  <a:pt x="1096271" y="685800"/>
                </a:cubicBezTo>
                <a:cubicBezTo>
                  <a:pt x="1100081" y="684530"/>
                  <a:pt x="1104109" y="683786"/>
                  <a:pt x="1107701" y="681990"/>
                </a:cubicBezTo>
                <a:cubicBezTo>
                  <a:pt x="1137244" y="667218"/>
                  <a:pt x="1101831" y="680137"/>
                  <a:pt x="1130561" y="670560"/>
                </a:cubicBezTo>
                <a:cubicBezTo>
                  <a:pt x="1137081" y="672733"/>
                  <a:pt x="1149201" y="675659"/>
                  <a:pt x="1153421" y="681990"/>
                </a:cubicBezTo>
                <a:cubicBezTo>
                  <a:pt x="1156326" y="686347"/>
                  <a:pt x="1155792" y="692195"/>
                  <a:pt x="1157231" y="697230"/>
                </a:cubicBezTo>
                <a:cubicBezTo>
                  <a:pt x="1161175" y="711032"/>
                  <a:pt x="1160312" y="707567"/>
                  <a:pt x="1168661" y="720090"/>
                </a:cubicBezTo>
                <a:cubicBezTo>
                  <a:pt x="1167391" y="726440"/>
                  <a:pt x="1168328" y="733677"/>
                  <a:pt x="1164851" y="739140"/>
                </a:cubicBezTo>
                <a:cubicBezTo>
                  <a:pt x="1151013" y="760886"/>
                  <a:pt x="1147794" y="760066"/>
                  <a:pt x="1130561" y="765810"/>
                </a:cubicBezTo>
                <a:cubicBezTo>
                  <a:pt x="1128021" y="770890"/>
                  <a:pt x="1125863" y="776180"/>
                  <a:pt x="1122941" y="781050"/>
                </a:cubicBezTo>
                <a:cubicBezTo>
                  <a:pt x="1118229" y="788903"/>
                  <a:pt x="1110597" y="795222"/>
                  <a:pt x="1107701" y="803910"/>
                </a:cubicBezTo>
                <a:lnTo>
                  <a:pt x="1100081" y="826770"/>
                </a:lnTo>
                <a:cubicBezTo>
                  <a:pt x="1101351" y="855980"/>
                  <a:pt x="1101649" y="885249"/>
                  <a:pt x="1103891" y="914400"/>
                </a:cubicBezTo>
                <a:cubicBezTo>
                  <a:pt x="1104199" y="918404"/>
                  <a:pt x="1106830" y="921910"/>
                  <a:pt x="1107701" y="925830"/>
                </a:cubicBezTo>
                <a:cubicBezTo>
                  <a:pt x="1109377" y="933371"/>
                  <a:pt x="1109996" y="941115"/>
                  <a:pt x="1111511" y="948690"/>
                </a:cubicBezTo>
                <a:cubicBezTo>
                  <a:pt x="1112538" y="953825"/>
                  <a:pt x="1114185" y="958818"/>
                  <a:pt x="1115321" y="963930"/>
                </a:cubicBezTo>
                <a:cubicBezTo>
                  <a:pt x="1116726" y="970252"/>
                  <a:pt x="1117560" y="976698"/>
                  <a:pt x="1119131" y="982980"/>
                </a:cubicBezTo>
                <a:cubicBezTo>
                  <a:pt x="1130847" y="1029843"/>
                  <a:pt x="1112708" y="943245"/>
                  <a:pt x="1126751" y="1013460"/>
                </a:cubicBezTo>
                <a:cubicBezTo>
                  <a:pt x="1115351" y="1047661"/>
                  <a:pt x="1130996" y="1012517"/>
                  <a:pt x="1058171" y="1028700"/>
                </a:cubicBezTo>
                <a:cubicBezTo>
                  <a:pt x="1054251" y="1029571"/>
                  <a:pt x="1055494" y="1036277"/>
                  <a:pt x="1054361" y="1040130"/>
                </a:cubicBezTo>
                <a:cubicBezTo>
                  <a:pt x="1049143" y="1057870"/>
                  <a:pt x="1044969" y="1075927"/>
                  <a:pt x="1039121" y="1093470"/>
                </a:cubicBezTo>
                <a:cubicBezTo>
                  <a:pt x="1037851" y="1097280"/>
                  <a:pt x="1036893" y="1101209"/>
                  <a:pt x="1035311" y="1104900"/>
                </a:cubicBezTo>
                <a:cubicBezTo>
                  <a:pt x="1029510" y="1118435"/>
                  <a:pt x="1027724" y="1120091"/>
                  <a:pt x="1020071" y="1131570"/>
                </a:cubicBezTo>
                <a:cubicBezTo>
                  <a:pt x="1011458" y="1174637"/>
                  <a:pt x="1021501" y="1121558"/>
                  <a:pt x="1012451" y="1184910"/>
                </a:cubicBezTo>
                <a:cubicBezTo>
                  <a:pt x="1007770" y="1217677"/>
                  <a:pt x="1010741" y="1191752"/>
                  <a:pt x="1004831" y="1215390"/>
                </a:cubicBezTo>
                <a:cubicBezTo>
                  <a:pt x="1004410" y="1217074"/>
                  <a:pt x="1001582" y="1244507"/>
                  <a:pt x="993401" y="1245870"/>
                </a:cubicBezTo>
                <a:cubicBezTo>
                  <a:pt x="965813" y="1250468"/>
                  <a:pt x="937521" y="1248410"/>
                  <a:pt x="909581" y="1249680"/>
                </a:cubicBezTo>
                <a:cubicBezTo>
                  <a:pt x="905771" y="1250950"/>
                  <a:pt x="900991" y="1250650"/>
                  <a:pt x="898151" y="1253490"/>
                </a:cubicBezTo>
                <a:cubicBezTo>
                  <a:pt x="877831" y="1273810"/>
                  <a:pt x="913391" y="1258570"/>
                  <a:pt x="882911" y="1268730"/>
                </a:cubicBezTo>
                <a:cubicBezTo>
                  <a:pt x="849506" y="1260379"/>
                  <a:pt x="882270" y="1271899"/>
                  <a:pt x="841001" y="1230630"/>
                </a:cubicBezTo>
                <a:cubicBezTo>
                  <a:pt x="831128" y="1220757"/>
                  <a:pt x="817495" y="1203637"/>
                  <a:pt x="802901" y="1196340"/>
                </a:cubicBezTo>
                <a:cubicBezTo>
                  <a:pt x="799309" y="1194544"/>
                  <a:pt x="795281" y="1193800"/>
                  <a:pt x="791471" y="1192530"/>
                </a:cubicBezTo>
                <a:cubicBezTo>
                  <a:pt x="762456" y="1199784"/>
                  <a:pt x="780915" y="1193998"/>
                  <a:pt x="738131" y="1215390"/>
                </a:cubicBezTo>
                <a:cubicBezTo>
                  <a:pt x="730511" y="1217930"/>
                  <a:pt x="723063" y="1221062"/>
                  <a:pt x="715271" y="1223010"/>
                </a:cubicBezTo>
                <a:cubicBezTo>
                  <a:pt x="693749" y="1228391"/>
                  <a:pt x="705166" y="1225793"/>
                  <a:pt x="680981" y="1230630"/>
                </a:cubicBezTo>
                <a:cubicBezTo>
                  <a:pt x="659265" y="1252346"/>
                  <a:pt x="669726" y="1239892"/>
                  <a:pt x="650501" y="1268730"/>
                </a:cubicBezTo>
                <a:cubicBezTo>
                  <a:pt x="647961" y="1272540"/>
                  <a:pt x="644329" y="1275816"/>
                  <a:pt x="642881" y="1280160"/>
                </a:cubicBezTo>
                <a:cubicBezTo>
                  <a:pt x="641611" y="1283970"/>
                  <a:pt x="641299" y="1288248"/>
                  <a:pt x="639071" y="1291590"/>
                </a:cubicBezTo>
                <a:cubicBezTo>
                  <a:pt x="602800" y="1345997"/>
                  <a:pt x="634516" y="1292548"/>
                  <a:pt x="608591" y="1325880"/>
                </a:cubicBezTo>
                <a:cubicBezTo>
                  <a:pt x="585185" y="1355974"/>
                  <a:pt x="604653" y="1343089"/>
                  <a:pt x="578111" y="1356360"/>
                </a:cubicBezTo>
                <a:cubicBezTo>
                  <a:pt x="559192" y="1384739"/>
                  <a:pt x="583507" y="1349884"/>
                  <a:pt x="559061" y="1379220"/>
                </a:cubicBezTo>
                <a:cubicBezTo>
                  <a:pt x="556130" y="1382738"/>
                  <a:pt x="553981" y="1386840"/>
                  <a:pt x="551441" y="1390650"/>
                </a:cubicBezTo>
                <a:cubicBezTo>
                  <a:pt x="550171" y="1395730"/>
                  <a:pt x="549694" y="1401077"/>
                  <a:pt x="547631" y="1405890"/>
                </a:cubicBezTo>
                <a:cubicBezTo>
                  <a:pt x="545827" y="1410099"/>
                  <a:pt x="541619" y="1413033"/>
                  <a:pt x="540011" y="1417320"/>
                </a:cubicBezTo>
                <a:cubicBezTo>
                  <a:pt x="537737" y="1423383"/>
                  <a:pt x="538475" y="1430307"/>
                  <a:pt x="536201" y="1436370"/>
                </a:cubicBezTo>
                <a:cubicBezTo>
                  <a:pt x="534593" y="1440657"/>
                  <a:pt x="530629" y="1443704"/>
                  <a:pt x="528581" y="1447800"/>
                </a:cubicBezTo>
                <a:cubicBezTo>
                  <a:pt x="511119" y="1482724"/>
                  <a:pt x="532013" y="1452114"/>
                  <a:pt x="509531" y="1482090"/>
                </a:cubicBezTo>
                <a:cubicBezTo>
                  <a:pt x="508261" y="1485900"/>
                  <a:pt x="508561" y="1490680"/>
                  <a:pt x="505721" y="1493520"/>
                </a:cubicBezTo>
                <a:cubicBezTo>
                  <a:pt x="502881" y="1496360"/>
                  <a:pt x="498153" y="1496227"/>
                  <a:pt x="494291" y="1497330"/>
                </a:cubicBezTo>
                <a:cubicBezTo>
                  <a:pt x="474712" y="1502924"/>
                  <a:pt x="473308" y="1501858"/>
                  <a:pt x="448571" y="1504950"/>
                </a:cubicBezTo>
                <a:cubicBezTo>
                  <a:pt x="444761" y="1506220"/>
                  <a:pt x="440733" y="1506964"/>
                  <a:pt x="437141" y="1508760"/>
                </a:cubicBezTo>
                <a:cubicBezTo>
                  <a:pt x="420839" y="1516911"/>
                  <a:pt x="426879" y="1521816"/>
                  <a:pt x="402851" y="1524000"/>
                </a:cubicBezTo>
                <a:lnTo>
                  <a:pt x="360941" y="1527810"/>
                </a:lnTo>
                <a:cubicBezTo>
                  <a:pt x="340788" y="1534528"/>
                  <a:pt x="356155" y="1530066"/>
                  <a:pt x="326651" y="1535430"/>
                </a:cubicBezTo>
                <a:cubicBezTo>
                  <a:pt x="288252" y="1542412"/>
                  <a:pt x="328745" y="1536597"/>
                  <a:pt x="277121" y="1543050"/>
                </a:cubicBezTo>
                <a:cubicBezTo>
                  <a:pt x="269501" y="1548130"/>
                  <a:pt x="262949" y="1555394"/>
                  <a:pt x="254261" y="1558290"/>
                </a:cubicBezTo>
                <a:lnTo>
                  <a:pt x="231401" y="1565910"/>
                </a:lnTo>
                <a:cubicBezTo>
                  <a:pt x="228302" y="1556614"/>
                  <a:pt x="227357" y="1550436"/>
                  <a:pt x="219971" y="1543050"/>
                </a:cubicBezTo>
                <a:cubicBezTo>
                  <a:pt x="216733" y="1539812"/>
                  <a:pt x="212351" y="1537970"/>
                  <a:pt x="208541" y="1535430"/>
                </a:cubicBezTo>
                <a:cubicBezTo>
                  <a:pt x="188221" y="1504950"/>
                  <a:pt x="214891" y="1541780"/>
                  <a:pt x="189491" y="1516380"/>
                </a:cubicBezTo>
                <a:cubicBezTo>
                  <a:pt x="186253" y="1513142"/>
                  <a:pt x="186404" y="1505598"/>
                  <a:pt x="181871" y="1504950"/>
                </a:cubicBezTo>
                <a:cubicBezTo>
                  <a:pt x="149159" y="1500277"/>
                  <a:pt x="115831" y="1502410"/>
                  <a:pt x="82811" y="1501140"/>
                </a:cubicBezTo>
                <a:cubicBezTo>
                  <a:pt x="79001" y="1499870"/>
                  <a:pt x="74221" y="1500170"/>
                  <a:pt x="71381" y="1497330"/>
                </a:cubicBezTo>
                <a:cubicBezTo>
                  <a:pt x="68541" y="1494490"/>
                  <a:pt x="68289" y="1489851"/>
                  <a:pt x="67571" y="1485900"/>
                </a:cubicBezTo>
                <a:cubicBezTo>
                  <a:pt x="65739" y="1475826"/>
                  <a:pt x="67564" y="1464927"/>
                  <a:pt x="63761" y="1455420"/>
                </a:cubicBezTo>
                <a:cubicBezTo>
                  <a:pt x="62060" y="1451168"/>
                  <a:pt x="56141" y="1450340"/>
                  <a:pt x="52331" y="1447800"/>
                </a:cubicBezTo>
                <a:cubicBezTo>
                  <a:pt x="49335" y="1443306"/>
                  <a:pt x="40150" y="1431700"/>
                  <a:pt x="40901" y="1424940"/>
                </a:cubicBezTo>
                <a:cubicBezTo>
                  <a:pt x="41788" y="1416957"/>
                  <a:pt x="48521" y="1402080"/>
                  <a:pt x="48521" y="1402080"/>
                </a:cubicBezTo>
                <a:cubicBezTo>
                  <a:pt x="49791" y="1391920"/>
                  <a:pt x="49637" y="1381478"/>
                  <a:pt x="52331" y="1371600"/>
                </a:cubicBezTo>
                <a:cubicBezTo>
                  <a:pt x="53536" y="1367182"/>
                  <a:pt x="57679" y="1364146"/>
                  <a:pt x="59951" y="1360170"/>
                </a:cubicBezTo>
                <a:cubicBezTo>
                  <a:pt x="62769" y="1355239"/>
                  <a:pt x="64649" y="1349800"/>
                  <a:pt x="67571" y="1344930"/>
                </a:cubicBezTo>
                <a:cubicBezTo>
                  <a:pt x="72283" y="1337077"/>
                  <a:pt x="82811" y="1322070"/>
                  <a:pt x="82811" y="1322070"/>
                </a:cubicBezTo>
                <a:cubicBezTo>
                  <a:pt x="84081" y="1316990"/>
                  <a:pt x="85182" y="1311865"/>
                  <a:pt x="86621" y="1306830"/>
                </a:cubicBezTo>
                <a:cubicBezTo>
                  <a:pt x="87724" y="1302968"/>
                  <a:pt x="90431" y="1299416"/>
                  <a:pt x="90431" y="1295400"/>
                </a:cubicBezTo>
                <a:cubicBezTo>
                  <a:pt x="90431" y="1281372"/>
                  <a:pt x="87697" y="1267476"/>
                  <a:pt x="86621" y="1253490"/>
                </a:cubicBezTo>
                <a:cubicBezTo>
                  <a:pt x="85157" y="1234454"/>
                  <a:pt x="86953" y="1214978"/>
                  <a:pt x="82811" y="1196340"/>
                </a:cubicBezTo>
                <a:cubicBezTo>
                  <a:pt x="81642" y="1191080"/>
                  <a:pt x="74830" y="1189049"/>
                  <a:pt x="71381" y="1184910"/>
                </a:cubicBezTo>
                <a:cubicBezTo>
                  <a:pt x="60495" y="1171847"/>
                  <a:pt x="68297" y="1173843"/>
                  <a:pt x="52331" y="1165860"/>
                </a:cubicBezTo>
                <a:cubicBezTo>
                  <a:pt x="37913" y="1158651"/>
                  <a:pt x="15913" y="1160425"/>
                  <a:pt x="2801" y="1158240"/>
                </a:cubicBezTo>
                <a:cubicBezTo>
                  <a:pt x="0" y="1157773"/>
                  <a:pt x="7881" y="1156970"/>
                  <a:pt x="10421" y="1154430"/>
                </a:cubicBezTo>
                <a:close/>
              </a:path>
            </a:pathLst>
          </a:custGeom>
          <a:solidFill>
            <a:schemeClr val="accent3"/>
          </a:solidFill>
          <a:ln w="12700">
            <a:solidFill>
              <a:schemeClr val="bg1"/>
            </a:solidFill>
            <a:round/>
            <a:headEnd/>
            <a:tailEnd/>
          </a:ln>
        </p:spPr>
        <p:txBody>
          <a:bodyPr/>
          <a:lstStyle/>
          <a:p>
            <a:endParaRPr lang="en-GB"/>
          </a:p>
        </p:txBody>
      </p:sp>
      <p:sp>
        <p:nvSpPr>
          <p:cNvPr id="92" name="Freeform 357"/>
          <p:cNvSpPr>
            <a:spLocks noChangeArrowheads="1"/>
          </p:cNvSpPr>
          <p:nvPr>
            <p:custDataLst>
              <p:tags r:id="rId73"/>
            </p:custDataLst>
          </p:nvPr>
        </p:nvSpPr>
        <p:spPr bwMode="auto">
          <a:xfrm>
            <a:off x="7131176" y="2626339"/>
            <a:ext cx="698147" cy="1007505"/>
          </a:xfrm>
          <a:custGeom>
            <a:avLst/>
            <a:gdLst>
              <a:gd name="T0" fmla="*/ 0 w 832722"/>
              <a:gd name="T1" fmla="*/ 0 h 1199594"/>
              <a:gd name="T2" fmla="*/ 832722 w 832722"/>
              <a:gd name="T3" fmla="*/ 1199594 h 1199594"/>
            </a:gdLst>
            <a:ahLst/>
            <a:cxnLst/>
            <a:rect l="T0" t="T1" r="T2" b="T3"/>
            <a:pathLst>
              <a:path w="832722" h="1199594">
                <a:moveTo>
                  <a:pt x="209550" y="85169"/>
                </a:moveTo>
                <a:cubicBezTo>
                  <a:pt x="214312" y="83185"/>
                  <a:pt x="206637" y="86417"/>
                  <a:pt x="242887" y="70881"/>
                </a:cubicBezTo>
                <a:cubicBezTo>
                  <a:pt x="249110" y="68214"/>
                  <a:pt x="252845" y="68132"/>
                  <a:pt x="259556" y="66119"/>
                </a:cubicBezTo>
                <a:cubicBezTo>
                  <a:pt x="264364" y="64676"/>
                  <a:pt x="269081" y="62944"/>
                  <a:pt x="273843" y="61356"/>
                </a:cubicBezTo>
                <a:cubicBezTo>
                  <a:pt x="276224" y="60562"/>
                  <a:pt x="278511" y="59388"/>
                  <a:pt x="280987" y="58975"/>
                </a:cubicBezTo>
                <a:cubicBezTo>
                  <a:pt x="285750" y="58181"/>
                  <a:pt x="290540" y="57541"/>
                  <a:pt x="295275" y="56594"/>
                </a:cubicBezTo>
                <a:cubicBezTo>
                  <a:pt x="302261" y="55197"/>
                  <a:pt x="309587" y="52424"/>
                  <a:pt x="316706" y="51831"/>
                </a:cubicBezTo>
                <a:cubicBezTo>
                  <a:pt x="331756" y="50577"/>
                  <a:pt x="346869" y="50244"/>
                  <a:pt x="361950" y="49450"/>
                </a:cubicBezTo>
                <a:cubicBezTo>
                  <a:pt x="384091" y="43915"/>
                  <a:pt x="356545" y="50532"/>
                  <a:pt x="385762" y="44688"/>
                </a:cubicBezTo>
                <a:cubicBezTo>
                  <a:pt x="388971" y="44046"/>
                  <a:pt x="392078" y="42948"/>
                  <a:pt x="395287" y="42306"/>
                </a:cubicBezTo>
                <a:cubicBezTo>
                  <a:pt x="421185" y="37126"/>
                  <a:pt x="398455" y="42660"/>
                  <a:pt x="421481" y="37544"/>
                </a:cubicBezTo>
                <a:cubicBezTo>
                  <a:pt x="438242" y="33820"/>
                  <a:pt x="424219" y="36762"/>
                  <a:pt x="438150" y="32781"/>
                </a:cubicBezTo>
                <a:cubicBezTo>
                  <a:pt x="441297" y="31882"/>
                  <a:pt x="444500" y="31194"/>
                  <a:pt x="447675" y="30400"/>
                </a:cubicBezTo>
                <a:cubicBezTo>
                  <a:pt x="450850" y="28019"/>
                  <a:pt x="453650" y="25031"/>
                  <a:pt x="457200" y="23256"/>
                </a:cubicBezTo>
                <a:cubicBezTo>
                  <a:pt x="461690" y="21011"/>
                  <a:pt x="471487" y="18494"/>
                  <a:pt x="471487" y="18494"/>
                </a:cubicBezTo>
                <a:cubicBezTo>
                  <a:pt x="473868" y="16906"/>
                  <a:pt x="476071" y="15011"/>
                  <a:pt x="478631" y="13731"/>
                </a:cubicBezTo>
                <a:cubicBezTo>
                  <a:pt x="480876" y="12608"/>
                  <a:pt x="483686" y="12742"/>
                  <a:pt x="485775" y="11350"/>
                </a:cubicBezTo>
                <a:cubicBezTo>
                  <a:pt x="502799" y="0"/>
                  <a:pt x="482297" y="6861"/>
                  <a:pt x="502443" y="1825"/>
                </a:cubicBezTo>
                <a:cubicBezTo>
                  <a:pt x="512762" y="2619"/>
                  <a:pt x="523177" y="2592"/>
                  <a:pt x="533400" y="4206"/>
                </a:cubicBezTo>
                <a:cubicBezTo>
                  <a:pt x="538359" y="4989"/>
                  <a:pt x="547687" y="8969"/>
                  <a:pt x="547687" y="8969"/>
                </a:cubicBezTo>
                <a:cubicBezTo>
                  <a:pt x="549275" y="12144"/>
                  <a:pt x="551052" y="15231"/>
                  <a:pt x="552450" y="18494"/>
                </a:cubicBezTo>
                <a:cubicBezTo>
                  <a:pt x="553439" y="20801"/>
                  <a:pt x="553709" y="23393"/>
                  <a:pt x="554831" y="25638"/>
                </a:cubicBezTo>
                <a:cubicBezTo>
                  <a:pt x="558146" y="32268"/>
                  <a:pt x="561471" y="34659"/>
                  <a:pt x="566737" y="39925"/>
                </a:cubicBezTo>
                <a:cubicBezTo>
                  <a:pt x="570485" y="51171"/>
                  <a:pt x="566527" y="44907"/>
                  <a:pt x="578643" y="51831"/>
                </a:cubicBezTo>
                <a:cubicBezTo>
                  <a:pt x="581128" y="53251"/>
                  <a:pt x="583227" y="55314"/>
                  <a:pt x="585787" y="56594"/>
                </a:cubicBezTo>
                <a:cubicBezTo>
                  <a:pt x="594367" y="60884"/>
                  <a:pt x="609919" y="60674"/>
                  <a:pt x="616743" y="61356"/>
                </a:cubicBezTo>
                <a:cubicBezTo>
                  <a:pt x="621506" y="64531"/>
                  <a:pt x="628905" y="65566"/>
                  <a:pt x="631031" y="70881"/>
                </a:cubicBezTo>
                <a:cubicBezTo>
                  <a:pt x="637043" y="85915"/>
                  <a:pt x="632770" y="79766"/>
                  <a:pt x="642937" y="89931"/>
                </a:cubicBezTo>
                <a:cubicBezTo>
                  <a:pt x="644525" y="94694"/>
                  <a:pt x="646990" y="99249"/>
                  <a:pt x="647700" y="104219"/>
                </a:cubicBezTo>
                <a:cubicBezTo>
                  <a:pt x="648494" y="109775"/>
                  <a:pt x="647996" y="115677"/>
                  <a:pt x="650081" y="120888"/>
                </a:cubicBezTo>
                <a:cubicBezTo>
                  <a:pt x="651332" y="124015"/>
                  <a:pt x="653900" y="127499"/>
                  <a:pt x="657225" y="128031"/>
                </a:cubicBezTo>
                <a:cubicBezTo>
                  <a:pt x="674486" y="130793"/>
                  <a:pt x="692150" y="129619"/>
                  <a:pt x="709612" y="130413"/>
                </a:cubicBezTo>
                <a:cubicBezTo>
                  <a:pt x="711993" y="132794"/>
                  <a:pt x="714564" y="134999"/>
                  <a:pt x="716756" y="137556"/>
                </a:cubicBezTo>
                <a:cubicBezTo>
                  <a:pt x="719339" y="140569"/>
                  <a:pt x="721094" y="144275"/>
                  <a:pt x="723900" y="147081"/>
                </a:cubicBezTo>
                <a:cubicBezTo>
                  <a:pt x="728274" y="151455"/>
                  <a:pt x="735582" y="153490"/>
                  <a:pt x="740568" y="156606"/>
                </a:cubicBezTo>
                <a:cubicBezTo>
                  <a:pt x="743934" y="158709"/>
                  <a:pt x="746864" y="161443"/>
                  <a:pt x="750093" y="163750"/>
                </a:cubicBezTo>
                <a:cubicBezTo>
                  <a:pt x="761697" y="172039"/>
                  <a:pt x="753262" y="164539"/>
                  <a:pt x="764381" y="175656"/>
                </a:cubicBezTo>
                <a:cubicBezTo>
                  <a:pt x="769565" y="186024"/>
                  <a:pt x="770622" y="189124"/>
                  <a:pt x="778668" y="199469"/>
                </a:cubicBezTo>
                <a:cubicBezTo>
                  <a:pt x="780736" y="202127"/>
                  <a:pt x="783854" y="203873"/>
                  <a:pt x="785812" y="206613"/>
                </a:cubicBezTo>
                <a:cubicBezTo>
                  <a:pt x="801484" y="228553"/>
                  <a:pt x="779146" y="204709"/>
                  <a:pt x="797718" y="223281"/>
                </a:cubicBezTo>
                <a:cubicBezTo>
                  <a:pt x="798512" y="225662"/>
                  <a:pt x="798977" y="228180"/>
                  <a:pt x="800100" y="230425"/>
                </a:cubicBezTo>
                <a:cubicBezTo>
                  <a:pt x="802233" y="234692"/>
                  <a:pt x="809843" y="243849"/>
                  <a:pt x="812006" y="247094"/>
                </a:cubicBezTo>
                <a:cubicBezTo>
                  <a:pt x="816160" y="253325"/>
                  <a:pt x="823912" y="266144"/>
                  <a:pt x="823912" y="266144"/>
                </a:cubicBezTo>
                <a:cubicBezTo>
                  <a:pt x="828883" y="325795"/>
                  <a:pt x="822631" y="305159"/>
                  <a:pt x="831056" y="330438"/>
                </a:cubicBezTo>
                <a:cubicBezTo>
                  <a:pt x="830262" y="355044"/>
                  <a:pt x="832722" y="379972"/>
                  <a:pt x="828675" y="404256"/>
                </a:cubicBezTo>
                <a:cubicBezTo>
                  <a:pt x="828137" y="407484"/>
                  <a:pt x="822285" y="402815"/>
                  <a:pt x="819150" y="401875"/>
                </a:cubicBezTo>
                <a:cubicBezTo>
                  <a:pt x="814341" y="400433"/>
                  <a:pt x="809785" y="398098"/>
                  <a:pt x="804862" y="397113"/>
                </a:cubicBezTo>
                <a:lnTo>
                  <a:pt x="792956" y="394731"/>
                </a:lnTo>
                <a:cubicBezTo>
                  <a:pt x="788206" y="393867"/>
                  <a:pt x="783403" y="393297"/>
                  <a:pt x="778668" y="392350"/>
                </a:cubicBezTo>
                <a:cubicBezTo>
                  <a:pt x="775459" y="391708"/>
                  <a:pt x="772318" y="390763"/>
                  <a:pt x="769143" y="389969"/>
                </a:cubicBezTo>
                <a:cubicBezTo>
                  <a:pt x="756913" y="359392"/>
                  <a:pt x="772805" y="397293"/>
                  <a:pt x="757237" y="366156"/>
                </a:cubicBezTo>
                <a:cubicBezTo>
                  <a:pt x="756115" y="363911"/>
                  <a:pt x="756248" y="361101"/>
                  <a:pt x="754856" y="359013"/>
                </a:cubicBezTo>
                <a:cubicBezTo>
                  <a:pt x="752988" y="356211"/>
                  <a:pt x="749868" y="354456"/>
                  <a:pt x="747712" y="351869"/>
                </a:cubicBezTo>
                <a:cubicBezTo>
                  <a:pt x="739427" y="341926"/>
                  <a:pt x="747534" y="346253"/>
                  <a:pt x="735806" y="342344"/>
                </a:cubicBezTo>
                <a:cubicBezTo>
                  <a:pt x="731043" y="343138"/>
                  <a:pt x="726231" y="343678"/>
                  <a:pt x="721518" y="344725"/>
                </a:cubicBezTo>
                <a:cubicBezTo>
                  <a:pt x="719068" y="345269"/>
                  <a:pt x="716303" y="345499"/>
                  <a:pt x="714375" y="347106"/>
                </a:cubicBezTo>
                <a:cubicBezTo>
                  <a:pt x="708167" y="352279"/>
                  <a:pt x="706264" y="359514"/>
                  <a:pt x="702468" y="366156"/>
                </a:cubicBezTo>
                <a:cubicBezTo>
                  <a:pt x="696733" y="376192"/>
                  <a:pt x="698676" y="371170"/>
                  <a:pt x="690562" y="380444"/>
                </a:cubicBezTo>
                <a:cubicBezTo>
                  <a:pt x="687215" y="384269"/>
                  <a:pt x="684212" y="388381"/>
                  <a:pt x="681037" y="392350"/>
                </a:cubicBezTo>
                <a:cubicBezTo>
                  <a:pt x="679450" y="396319"/>
                  <a:pt x="678351" y="400520"/>
                  <a:pt x="676275" y="404256"/>
                </a:cubicBezTo>
                <a:cubicBezTo>
                  <a:pt x="674348" y="407725"/>
                  <a:pt x="671438" y="410552"/>
                  <a:pt x="669131" y="413781"/>
                </a:cubicBezTo>
                <a:cubicBezTo>
                  <a:pt x="663520" y="421636"/>
                  <a:pt x="664257" y="421146"/>
                  <a:pt x="659606" y="430450"/>
                </a:cubicBezTo>
                <a:cubicBezTo>
                  <a:pt x="658958" y="433692"/>
                  <a:pt x="656287" y="448031"/>
                  <a:pt x="654843" y="451881"/>
                </a:cubicBezTo>
                <a:cubicBezTo>
                  <a:pt x="653597" y="455205"/>
                  <a:pt x="651668" y="458231"/>
                  <a:pt x="650081" y="461406"/>
                </a:cubicBezTo>
                <a:cubicBezTo>
                  <a:pt x="649287" y="466169"/>
                  <a:pt x="649227" y="471113"/>
                  <a:pt x="647700" y="475694"/>
                </a:cubicBezTo>
                <a:cubicBezTo>
                  <a:pt x="646795" y="478409"/>
                  <a:pt x="644357" y="480353"/>
                  <a:pt x="642937" y="482838"/>
                </a:cubicBezTo>
                <a:cubicBezTo>
                  <a:pt x="641176" y="485920"/>
                  <a:pt x="639762" y="489188"/>
                  <a:pt x="638175" y="492363"/>
                </a:cubicBezTo>
                <a:cubicBezTo>
                  <a:pt x="638969" y="511413"/>
                  <a:pt x="638594" y="530548"/>
                  <a:pt x="640556" y="549513"/>
                </a:cubicBezTo>
                <a:cubicBezTo>
                  <a:pt x="640996" y="553765"/>
                  <a:pt x="644692" y="557191"/>
                  <a:pt x="645318" y="561419"/>
                </a:cubicBezTo>
                <a:cubicBezTo>
                  <a:pt x="658196" y="648341"/>
                  <a:pt x="644369" y="590958"/>
                  <a:pt x="652462" y="623331"/>
                </a:cubicBezTo>
                <a:cubicBezTo>
                  <a:pt x="654644" y="664788"/>
                  <a:pt x="652554" y="666560"/>
                  <a:pt x="661987" y="704294"/>
                </a:cubicBezTo>
                <a:cubicBezTo>
                  <a:pt x="662751" y="707352"/>
                  <a:pt x="665040" y="717543"/>
                  <a:pt x="666750" y="720963"/>
                </a:cubicBezTo>
                <a:cubicBezTo>
                  <a:pt x="668030" y="723522"/>
                  <a:pt x="670232" y="725547"/>
                  <a:pt x="671512" y="728106"/>
                </a:cubicBezTo>
                <a:cubicBezTo>
                  <a:pt x="673424" y="731929"/>
                  <a:pt x="673651" y="736639"/>
                  <a:pt x="676275" y="740013"/>
                </a:cubicBezTo>
                <a:cubicBezTo>
                  <a:pt x="682679" y="748247"/>
                  <a:pt x="688309" y="748453"/>
                  <a:pt x="695325" y="754300"/>
                </a:cubicBezTo>
                <a:cubicBezTo>
                  <a:pt x="697912" y="756456"/>
                  <a:pt x="699911" y="759252"/>
                  <a:pt x="702468" y="761444"/>
                </a:cubicBezTo>
                <a:cubicBezTo>
                  <a:pt x="705481" y="764027"/>
                  <a:pt x="709187" y="765782"/>
                  <a:pt x="711993" y="768588"/>
                </a:cubicBezTo>
                <a:cubicBezTo>
                  <a:pt x="714017" y="770612"/>
                  <a:pt x="714732" y="773707"/>
                  <a:pt x="716756" y="775731"/>
                </a:cubicBezTo>
                <a:cubicBezTo>
                  <a:pt x="719562" y="778537"/>
                  <a:pt x="723268" y="780292"/>
                  <a:pt x="726281" y="782875"/>
                </a:cubicBezTo>
                <a:cubicBezTo>
                  <a:pt x="737632" y="792604"/>
                  <a:pt x="728418" y="788350"/>
                  <a:pt x="740568" y="792400"/>
                </a:cubicBezTo>
                <a:cubicBezTo>
                  <a:pt x="752573" y="791066"/>
                  <a:pt x="763459" y="791785"/>
                  <a:pt x="773906" y="785256"/>
                </a:cubicBezTo>
                <a:cubicBezTo>
                  <a:pt x="776762" y="783471"/>
                  <a:pt x="778106" y="779748"/>
                  <a:pt x="781050" y="778113"/>
                </a:cubicBezTo>
                <a:cubicBezTo>
                  <a:pt x="785438" y="775675"/>
                  <a:pt x="795337" y="773350"/>
                  <a:pt x="795337" y="773350"/>
                </a:cubicBezTo>
                <a:cubicBezTo>
                  <a:pt x="798512" y="774144"/>
                  <a:pt x="802377" y="773601"/>
                  <a:pt x="804862" y="775731"/>
                </a:cubicBezTo>
                <a:cubicBezTo>
                  <a:pt x="817040" y="786169"/>
                  <a:pt x="811616" y="786959"/>
                  <a:pt x="807243" y="797163"/>
                </a:cubicBezTo>
                <a:cubicBezTo>
                  <a:pt x="806254" y="799470"/>
                  <a:pt x="805984" y="802061"/>
                  <a:pt x="804862" y="804306"/>
                </a:cubicBezTo>
                <a:cubicBezTo>
                  <a:pt x="803509" y="807013"/>
                  <a:pt x="794037" y="819894"/>
                  <a:pt x="792956" y="820975"/>
                </a:cubicBezTo>
                <a:cubicBezTo>
                  <a:pt x="790150" y="823781"/>
                  <a:pt x="786606" y="825738"/>
                  <a:pt x="783431" y="828119"/>
                </a:cubicBezTo>
                <a:cubicBezTo>
                  <a:pt x="771612" y="857664"/>
                  <a:pt x="786237" y="827623"/>
                  <a:pt x="771525" y="844788"/>
                </a:cubicBezTo>
                <a:cubicBezTo>
                  <a:pt x="768513" y="848302"/>
                  <a:pt x="766948" y="852843"/>
                  <a:pt x="764381" y="856694"/>
                </a:cubicBezTo>
                <a:cubicBezTo>
                  <a:pt x="762179" y="859996"/>
                  <a:pt x="759340" y="862853"/>
                  <a:pt x="757237" y="866219"/>
                </a:cubicBezTo>
                <a:cubicBezTo>
                  <a:pt x="755356" y="869229"/>
                  <a:pt x="754236" y="872662"/>
                  <a:pt x="752475" y="875744"/>
                </a:cubicBezTo>
                <a:cubicBezTo>
                  <a:pt x="751055" y="878229"/>
                  <a:pt x="749300" y="880507"/>
                  <a:pt x="747712" y="882888"/>
                </a:cubicBezTo>
                <a:cubicBezTo>
                  <a:pt x="746918" y="894794"/>
                  <a:pt x="746649" y="906747"/>
                  <a:pt x="745331" y="918606"/>
                </a:cubicBezTo>
                <a:cubicBezTo>
                  <a:pt x="745054" y="921101"/>
                  <a:pt x="743671" y="923346"/>
                  <a:pt x="742950" y="925750"/>
                </a:cubicBezTo>
                <a:cubicBezTo>
                  <a:pt x="741289" y="931285"/>
                  <a:pt x="739886" y="936896"/>
                  <a:pt x="738187" y="942419"/>
                </a:cubicBezTo>
                <a:cubicBezTo>
                  <a:pt x="736711" y="947217"/>
                  <a:pt x="735012" y="951944"/>
                  <a:pt x="733425" y="956706"/>
                </a:cubicBezTo>
                <a:lnTo>
                  <a:pt x="731043" y="963850"/>
                </a:lnTo>
                <a:cubicBezTo>
                  <a:pt x="726036" y="1008918"/>
                  <a:pt x="731436" y="969026"/>
                  <a:pt x="726281" y="994806"/>
                </a:cubicBezTo>
                <a:cubicBezTo>
                  <a:pt x="725334" y="999541"/>
                  <a:pt x="725071" y="1004410"/>
                  <a:pt x="723900" y="1009094"/>
                </a:cubicBezTo>
                <a:cubicBezTo>
                  <a:pt x="722682" y="1013964"/>
                  <a:pt x="723899" y="1021793"/>
                  <a:pt x="719137" y="1023381"/>
                </a:cubicBezTo>
                <a:cubicBezTo>
                  <a:pt x="701172" y="1029371"/>
                  <a:pt x="723322" y="1021289"/>
                  <a:pt x="704850" y="1030525"/>
                </a:cubicBezTo>
                <a:cubicBezTo>
                  <a:pt x="702605" y="1031647"/>
                  <a:pt x="700087" y="1032112"/>
                  <a:pt x="697706" y="1032906"/>
                </a:cubicBezTo>
                <a:cubicBezTo>
                  <a:pt x="690562" y="1032112"/>
                  <a:pt x="683094" y="1032798"/>
                  <a:pt x="676275" y="1030525"/>
                </a:cubicBezTo>
                <a:cubicBezTo>
                  <a:pt x="673080" y="1029460"/>
                  <a:pt x="671718" y="1025537"/>
                  <a:pt x="669131" y="1023381"/>
                </a:cubicBezTo>
                <a:cubicBezTo>
                  <a:pt x="666932" y="1021549"/>
                  <a:pt x="664368" y="1020206"/>
                  <a:pt x="661987" y="1018619"/>
                </a:cubicBezTo>
                <a:cubicBezTo>
                  <a:pt x="661193" y="1016238"/>
                  <a:pt x="659606" y="1013985"/>
                  <a:pt x="659606" y="1011475"/>
                </a:cubicBezTo>
                <a:cubicBezTo>
                  <a:pt x="659606" y="998642"/>
                  <a:pt x="660999" y="998670"/>
                  <a:pt x="666750" y="990044"/>
                </a:cubicBezTo>
                <a:cubicBezTo>
                  <a:pt x="665162" y="984488"/>
                  <a:pt x="664794" y="978426"/>
                  <a:pt x="661987" y="973375"/>
                </a:cubicBezTo>
                <a:cubicBezTo>
                  <a:pt x="659335" y="968602"/>
                  <a:pt x="649368" y="967244"/>
                  <a:pt x="645318" y="966231"/>
                </a:cubicBezTo>
                <a:cubicBezTo>
                  <a:pt x="604843" y="977797"/>
                  <a:pt x="659885" y="963331"/>
                  <a:pt x="592931" y="973375"/>
                </a:cubicBezTo>
                <a:cubicBezTo>
                  <a:pt x="587597" y="974175"/>
                  <a:pt x="578403" y="979132"/>
                  <a:pt x="573881" y="982900"/>
                </a:cubicBezTo>
                <a:cubicBezTo>
                  <a:pt x="571294" y="985056"/>
                  <a:pt x="569118" y="987663"/>
                  <a:pt x="566737" y="990044"/>
                </a:cubicBezTo>
                <a:cubicBezTo>
                  <a:pt x="565943" y="993219"/>
                  <a:pt x="565645" y="996561"/>
                  <a:pt x="564356" y="999569"/>
                </a:cubicBezTo>
                <a:cubicBezTo>
                  <a:pt x="563229" y="1002200"/>
                  <a:pt x="561013" y="1004228"/>
                  <a:pt x="559593" y="1006713"/>
                </a:cubicBezTo>
                <a:cubicBezTo>
                  <a:pt x="549132" y="1025020"/>
                  <a:pt x="561348" y="1007548"/>
                  <a:pt x="547687" y="1025763"/>
                </a:cubicBezTo>
                <a:cubicBezTo>
                  <a:pt x="546893" y="1028144"/>
                  <a:pt x="545850" y="1030456"/>
                  <a:pt x="545306" y="1032906"/>
                </a:cubicBezTo>
                <a:cubicBezTo>
                  <a:pt x="544259" y="1037619"/>
                  <a:pt x="544312" y="1042569"/>
                  <a:pt x="542925" y="1047194"/>
                </a:cubicBezTo>
                <a:cubicBezTo>
                  <a:pt x="541905" y="1050594"/>
                  <a:pt x="539560" y="1053456"/>
                  <a:pt x="538162" y="1056719"/>
                </a:cubicBezTo>
                <a:cubicBezTo>
                  <a:pt x="537173" y="1059026"/>
                  <a:pt x="536575" y="1061482"/>
                  <a:pt x="535781" y="1063863"/>
                </a:cubicBezTo>
                <a:cubicBezTo>
                  <a:pt x="538314" y="1076529"/>
                  <a:pt x="540543" y="1085661"/>
                  <a:pt x="540543" y="1099581"/>
                </a:cubicBezTo>
                <a:cubicBezTo>
                  <a:pt x="540543" y="1102091"/>
                  <a:pt x="539151" y="1104418"/>
                  <a:pt x="538162" y="1106725"/>
                </a:cubicBezTo>
                <a:cubicBezTo>
                  <a:pt x="536764" y="1109988"/>
                  <a:pt x="536240" y="1114120"/>
                  <a:pt x="533400" y="1116250"/>
                </a:cubicBezTo>
                <a:cubicBezTo>
                  <a:pt x="529384" y="1119262"/>
                  <a:pt x="519112" y="1121013"/>
                  <a:pt x="519112" y="1121013"/>
                </a:cubicBezTo>
                <a:cubicBezTo>
                  <a:pt x="516731" y="1123394"/>
                  <a:pt x="514574" y="1126024"/>
                  <a:pt x="511968" y="1128156"/>
                </a:cubicBezTo>
                <a:cubicBezTo>
                  <a:pt x="504178" y="1134529"/>
                  <a:pt x="491000" y="1144594"/>
                  <a:pt x="481012" y="1149588"/>
                </a:cubicBezTo>
                <a:cubicBezTo>
                  <a:pt x="478767" y="1150711"/>
                  <a:pt x="476249" y="1151175"/>
                  <a:pt x="473868" y="1151969"/>
                </a:cubicBezTo>
                <a:cubicBezTo>
                  <a:pt x="460773" y="1160699"/>
                  <a:pt x="471884" y="1151969"/>
                  <a:pt x="461962" y="1163875"/>
                </a:cubicBezTo>
                <a:cubicBezTo>
                  <a:pt x="459806" y="1166462"/>
                  <a:pt x="456886" y="1168361"/>
                  <a:pt x="454818" y="1171019"/>
                </a:cubicBezTo>
                <a:cubicBezTo>
                  <a:pt x="451304" y="1175537"/>
                  <a:pt x="448468" y="1180544"/>
                  <a:pt x="445293" y="1185306"/>
                </a:cubicBezTo>
                <a:cubicBezTo>
                  <a:pt x="443706" y="1187687"/>
                  <a:pt x="443246" y="1191545"/>
                  <a:pt x="440531" y="1192450"/>
                </a:cubicBezTo>
                <a:lnTo>
                  <a:pt x="433387" y="1194831"/>
                </a:lnTo>
                <a:cubicBezTo>
                  <a:pt x="431006" y="1196419"/>
                  <a:pt x="429105" y="1199594"/>
                  <a:pt x="426243" y="1199594"/>
                </a:cubicBezTo>
                <a:cubicBezTo>
                  <a:pt x="421223" y="1199594"/>
                  <a:pt x="416718" y="1196419"/>
                  <a:pt x="411956" y="1194831"/>
                </a:cubicBezTo>
                <a:lnTo>
                  <a:pt x="404812" y="1192450"/>
                </a:lnTo>
                <a:cubicBezTo>
                  <a:pt x="402431" y="1191656"/>
                  <a:pt x="400163" y="1190346"/>
                  <a:pt x="397668" y="1190069"/>
                </a:cubicBezTo>
                <a:lnTo>
                  <a:pt x="376237" y="1187688"/>
                </a:lnTo>
                <a:cubicBezTo>
                  <a:pt x="371475" y="1186100"/>
                  <a:pt x="366127" y="1185709"/>
                  <a:pt x="361950" y="1182925"/>
                </a:cubicBezTo>
                <a:cubicBezTo>
                  <a:pt x="357043" y="1179654"/>
                  <a:pt x="353727" y="1176539"/>
                  <a:pt x="347662" y="1175781"/>
                </a:cubicBezTo>
                <a:cubicBezTo>
                  <a:pt x="337393" y="1174497"/>
                  <a:pt x="327025" y="1174194"/>
                  <a:pt x="316706" y="1173400"/>
                </a:cubicBezTo>
                <a:cubicBezTo>
                  <a:pt x="312963" y="1170905"/>
                  <a:pt x="305367" y="1167165"/>
                  <a:pt x="304800" y="1161494"/>
                </a:cubicBezTo>
                <a:cubicBezTo>
                  <a:pt x="304435" y="1157840"/>
                  <a:pt x="306793" y="1143218"/>
                  <a:pt x="309562" y="1137681"/>
                </a:cubicBezTo>
                <a:cubicBezTo>
                  <a:pt x="310842" y="1135121"/>
                  <a:pt x="312737" y="1132919"/>
                  <a:pt x="314325" y="1130538"/>
                </a:cubicBezTo>
                <a:cubicBezTo>
                  <a:pt x="311220" y="1102601"/>
                  <a:pt x="313686" y="1116079"/>
                  <a:pt x="307181" y="1090056"/>
                </a:cubicBezTo>
                <a:cubicBezTo>
                  <a:pt x="306416" y="1086996"/>
                  <a:pt x="304129" y="1076810"/>
                  <a:pt x="302418" y="1073388"/>
                </a:cubicBezTo>
                <a:cubicBezTo>
                  <a:pt x="297981" y="1064515"/>
                  <a:pt x="297099" y="1067005"/>
                  <a:pt x="290512" y="1059100"/>
                </a:cubicBezTo>
                <a:cubicBezTo>
                  <a:pt x="288680" y="1056901"/>
                  <a:pt x="287582" y="1054155"/>
                  <a:pt x="285750" y="1051956"/>
                </a:cubicBezTo>
                <a:cubicBezTo>
                  <a:pt x="278757" y="1043565"/>
                  <a:pt x="274271" y="1041924"/>
                  <a:pt x="264318" y="1035288"/>
                </a:cubicBezTo>
                <a:lnTo>
                  <a:pt x="257175" y="1030525"/>
                </a:lnTo>
                <a:cubicBezTo>
                  <a:pt x="252678" y="1027527"/>
                  <a:pt x="248592" y="1023900"/>
                  <a:pt x="242887" y="1023381"/>
                </a:cubicBezTo>
                <a:cubicBezTo>
                  <a:pt x="227847" y="1022014"/>
                  <a:pt x="212724" y="1021794"/>
                  <a:pt x="197643" y="1021000"/>
                </a:cubicBezTo>
                <a:cubicBezTo>
                  <a:pt x="190318" y="1018558"/>
                  <a:pt x="187062" y="1016161"/>
                  <a:pt x="178593" y="1021000"/>
                </a:cubicBezTo>
                <a:cubicBezTo>
                  <a:pt x="176108" y="1022420"/>
                  <a:pt x="175855" y="1026120"/>
                  <a:pt x="173831" y="1028144"/>
                </a:cubicBezTo>
                <a:cubicBezTo>
                  <a:pt x="171807" y="1030168"/>
                  <a:pt x="169247" y="1031626"/>
                  <a:pt x="166687" y="1032906"/>
                </a:cubicBezTo>
                <a:cubicBezTo>
                  <a:pt x="160034" y="1036233"/>
                  <a:pt x="149026" y="1036790"/>
                  <a:pt x="142875" y="1037669"/>
                </a:cubicBezTo>
                <a:cubicBezTo>
                  <a:pt x="137318" y="1054337"/>
                  <a:pt x="142874" y="1053543"/>
                  <a:pt x="130968" y="1049575"/>
                </a:cubicBezTo>
                <a:lnTo>
                  <a:pt x="121443" y="1035288"/>
                </a:lnTo>
                <a:cubicBezTo>
                  <a:pt x="119856" y="1032907"/>
                  <a:pt x="117586" y="1030859"/>
                  <a:pt x="116681" y="1028144"/>
                </a:cubicBezTo>
                <a:cubicBezTo>
                  <a:pt x="115887" y="1025763"/>
                  <a:pt x="115907" y="1022928"/>
                  <a:pt x="114300" y="1021000"/>
                </a:cubicBezTo>
                <a:cubicBezTo>
                  <a:pt x="103444" y="1007972"/>
                  <a:pt x="102293" y="1020691"/>
                  <a:pt x="95250" y="999569"/>
                </a:cubicBezTo>
                <a:cubicBezTo>
                  <a:pt x="94456" y="997188"/>
                  <a:pt x="93477" y="994860"/>
                  <a:pt x="92868" y="992425"/>
                </a:cubicBezTo>
                <a:cubicBezTo>
                  <a:pt x="91886" y="988499"/>
                  <a:pt x="92297" y="984139"/>
                  <a:pt x="90487" y="980519"/>
                </a:cubicBezTo>
                <a:cubicBezTo>
                  <a:pt x="88732" y="977008"/>
                  <a:pt x="79847" y="970437"/>
                  <a:pt x="76200" y="968613"/>
                </a:cubicBezTo>
                <a:cubicBezTo>
                  <a:pt x="73955" y="967490"/>
                  <a:pt x="71250" y="967450"/>
                  <a:pt x="69056" y="966231"/>
                </a:cubicBezTo>
                <a:cubicBezTo>
                  <a:pt x="64052" y="963451"/>
                  <a:pt x="54768" y="956706"/>
                  <a:pt x="54768" y="956706"/>
                </a:cubicBezTo>
                <a:cubicBezTo>
                  <a:pt x="51593" y="951944"/>
                  <a:pt x="47803" y="947538"/>
                  <a:pt x="45243" y="942419"/>
                </a:cubicBezTo>
                <a:cubicBezTo>
                  <a:pt x="42068" y="936069"/>
                  <a:pt x="37963" y="930104"/>
                  <a:pt x="35718" y="923369"/>
                </a:cubicBezTo>
                <a:cubicBezTo>
                  <a:pt x="32432" y="913510"/>
                  <a:pt x="34729" y="918314"/>
                  <a:pt x="28575" y="909081"/>
                </a:cubicBezTo>
                <a:cubicBezTo>
                  <a:pt x="24975" y="894685"/>
                  <a:pt x="27228" y="902662"/>
                  <a:pt x="21431" y="885269"/>
                </a:cubicBezTo>
                <a:cubicBezTo>
                  <a:pt x="21429" y="885264"/>
                  <a:pt x="16671" y="870985"/>
                  <a:pt x="16668" y="870981"/>
                </a:cubicBezTo>
                <a:cubicBezTo>
                  <a:pt x="10038" y="861036"/>
                  <a:pt x="13929" y="865861"/>
                  <a:pt x="4762" y="856694"/>
                </a:cubicBezTo>
                <a:cubicBezTo>
                  <a:pt x="1037" y="845516"/>
                  <a:pt x="0" y="844069"/>
                  <a:pt x="0" y="828119"/>
                </a:cubicBezTo>
                <a:cubicBezTo>
                  <a:pt x="0" y="823291"/>
                  <a:pt x="524" y="818288"/>
                  <a:pt x="2381" y="813831"/>
                </a:cubicBezTo>
                <a:cubicBezTo>
                  <a:pt x="4582" y="808548"/>
                  <a:pt x="8731" y="804306"/>
                  <a:pt x="11906" y="799544"/>
                </a:cubicBezTo>
                <a:cubicBezTo>
                  <a:pt x="13493" y="797163"/>
                  <a:pt x="15763" y="795115"/>
                  <a:pt x="16668" y="792400"/>
                </a:cubicBezTo>
                <a:cubicBezTo>
                  <a:pt x="17462" y="790019"/>
                  <a:pt x="18360" y="787670"/>
                  <a:pt x="19050" y="785256"/>
                </a:cubicBezTo>
                <a:cubicBezTo>
                  <a:pt x="19949" y="782109"/>
                  <a:pt x="19807" y="778572"/>
                  <a:pt x="21431" y="775731"/>
                </a:cubicBezTo>
                <a:cubicBezTo>
                  <a:pt x="23102" y="772807"/>
                  <a:pt x="25917" y="770655"/>
                  <a:pt x="28575" y="768588"/>
                </a:cubicBezTo>
                <a:cubicBezTo>
                  <a:pt x="33093" y="765074"/>
                  <a:pt x="38100" y="762238"/>
                  <a:pt x="42862" y="759063"/>
                </a:cubicBezTo>
                <a:lnTo>
                  <a:pt x="57150" y="749538"/>
                </a:lnTo>
                <a:lnTo>
                  <a:pt x="64293" y="744775"/>
                </a:lnTo>
                <a:lnTo>
                  <a:pt x="71437" y="740013"/>
                </a:lnTo>
                <a:cubicBezTo>
                  <a:pt x="73025" y="737632"/>
                  <a:pt x="76761" y="735676"/>
                  <a:pt x="76200" y="732869"/>
                </a:cubicBezTo>
                <a:cubicBezTo>
                  <a:pt x="75639" y="730062"/>
                  <a:pt x="70941" y="730260"/>
                  <a:pt x="69056" y="728106"/>
                </a:cubicBezTo>
                <a:cubicBezTo>
                  <a:pt x="65287" y="723799"/>
                  <a:pt x="62965" y="718398"/>
                  <a:pt x="59531" y="713819"/>
                </a:cubicBezTo>
                <a:lnTo>
                  <a:pt x="52387" y="704294"/>
                </a:lnTo>
                <a:cubicBezTo>
                  <a:pt x="50800" y="699531"/>
                  <a:pt x="46408" y="694876"/>
                  <a:pt x="47625" y="690006"/>
                </a:cubicBezTo>
                <a:cubicBezTo>
                  <a:pt x="48419" y="686831"/>
                  <a:pt x="48717" y="683489"/>
                  <a:pt x="50006" y="680481"/>
                </a:cubicBezTo>
                <a:cubicBezTo>
                  <a:pt x="51605" y="676749"/>
                  <a:pt x="58665" y="668049"/>
                  <a:pt x="61912" y="666194"/>
                </a:cubicBezTo>
                <a:cubicBezTo>
                  <a:pt x="64754" y="664570"/>
                  <a:pt x="68262" y="664607"/>
                  <a:pt x="71437" y="663813"/>
                </a:cubicBezTo>
                <a:cubicBezTo>
                  <a:pt x="74434" y="661815"/>
                  <a:pt x="84734" y="655622"/>
                  <a:pt x="85725" y="651906"/>
                </a:cubicBezTo>
                <a:cubicBezTo>
                  <a:pt x="87475" y="645345"/>
                  <a:pt x="80413" y="621187"/>
                  <a:pt x="95250" y="618569"/>
                </a:cubicBezTo>
                <a:cubicBezTo>
                  <a:pt x="106221" y="616633"/>
                  <a:pt x="117475" y="616982"/>
                  <a:pt x="128587" y="616188"/>
                </a:cubicBezTo>
                <a:cubicBezTo>
                  <a:pt x="148480" y="602926"/>
                  <a:pt x="138826" y="610711"/>
                  <a:pt x="157162" y="592375"/>
                </a:cubicBezTo>
                <a:lnTo>
                  <a:pt x="164306" y="585231"/>
                </a:lnTo>
                <a:cubicBezTo>
                  <a:pt x="165100" y="582850"/>
                  <a:pt x="166027" y="580509"/>
                  <a:pt x="166687" y="578088"/>
                </a:cubicBezTo>
                <a:cubicBezTo>
                  <a:pt x="168409" y="571773"/>
                  <a:pt x="169380" y="565248"/>
                  <a:pt x="171450" y="559038"/>
                </a:cubicBezTo>
                <a:lnTo>
                  <a:pt x="176212" y="544750"/>
                </a:lnTo>
                <a:cubicBezTo>
                  <a:pt x="176214" y="544745"/>
                  <a:pt x="180971" y="530468"/>
                  <a:pt x="180975" y="530463"/>
                </a:cubicBezTo>
                <a:cubicBezTo>
                  <a:pt x="182562" y="528082"/>
                  <a:pt x="184575" y="525934"/>
                  <a:pt x="185737" y="523319"/>
                </a:cubicBezTo>
                <a:cubicBezTo>
                  <a:pt x="187776" y="518731"/>
                  <a:pt x="190500" y="509031"/>
                  <a:pt x="190500" y="509031"/>
                </a:cubicBezTo>
                <a:cubicBezTo>
                  <a:pt x="189706" y="497919"/>
                  <a:pt x="190054" y="486665"/>
                  <a:pt x="188118" y="475694"/>
                </a:cubicBezTo>
                <a:cubicBezTo>
                  <a:pt x="187324" y="471192"/>
                  <a:pt x="178513" y="464167"/>
                  <a:pt x="176212" y="461406"/>
                </a:cubicBezTo>
                <a:cubicBezTo>
                  <a:pt x="174380" y="459208"/>
                  <a:pt x="173282" y="456461"/>
                  <a:pt x="171450" y="454263"/>
                </a:cubicBezTo>
                <a:cubicBezTo>
                  <a:pt x="169294" y="451676"/>
                  <a:pt x="166462" y="449706"/>
                  <a:pt x="164306" y="447119"/>
                </a:cubicBezTo>
                <a:cubicBezTo>
                  <a:pt x="162474" y="444920"/>
                  <a:pt x="161567" y="441999"/>
                  <a:pt x="159543" y="439975"/>
                </a:cubicBezTo>
                <a:cubicBezTo>
                  <a:pt x="157520" y="437952"/>
                  <a:pt x="154781" y="436800"/>
                  <a:pt x="152400" y="435213"/>
                </a:cubicBezTo>
                <a:cubicBezTo>
                  <a:pt x="151606" y="432038"/>
                  <a:pt x="151895" y="428369"/>
                  <a:pt x="150018" y="425688"/>
                </a:cubicBezTo>
                <a:cubicBezTo>
                  <a:pt x="146156" y="420170"/>
                  <a:pt x="135731" y="411400"/>
                  <a:pt x="135731" y="411400"/>
                </a:cubicBezTo>
                <a:cubicBezTo>
                  <a:pt x="129746" y="393443"/>
                  <a:pt x="137820" y="415577"/>
                  <a:pt x="128587" y="397113"/>
                </a:cubicBezTo>
                <a:cubicBezTo>
                  <a:pt x="127464" y="394868"/>
                  <a:pt x="126896" y="392383"/>
                  <a:pt x="126206" y="389969"/>
                </a:cubicBezTo>
                <a:cubicBezTo>
                  <a:pt x="125307" y="386822"/>
                  <a:pt x="125702" y="383125"/>
                  <a:pt x="123825" y="380444"/>
                </a:cubicBezTo>
                <a:cubicBezTo>
                  <a:pt x="119963" y="374926"/>
                  <a:pt x="109537" y="366156"/>
                  <a:pt x="109537" y="366156"/>
                </a:cubicBezTo>
                <a:cubicBezTo>
                  <a:pt x="107950" y="362981"/>
                  <a:pt x="106838" y="359519"/>
                  <a:pt x="104775" y="356631"/>
                </a:cubicBezTo>
                <a:cubicBezTo>
                  <a:pt x="102818" y="353891"/>
                  <a:pt x="99266" y="352432"/>
                  <a:pt x="97631" y="349488"/>
                </a:cubicBezTo>
                <a:cubicBezTo>
                  <a:pt x="95193" y="345100"/>
                  <a:pt x="94456" y="339963"/>
                  <a:pt x="92868" y="335200"/>
                </a:cubicBezTo>
                <a:lnTo>
                  <a:pt x="90487" y="328056"/>
                </a:lnTo>
                <a:cubicBezTo>
                  <a:pt x="89693" y="312975"/>
                  <a:pt x="89414" y="297858"/>
                  <a:pt x="88106" y="282813"/>
                </a:cubicBezTo>
                <a:cubicBezTo>
                  <a:pt x="87823" y="279553"/>
                  <a:pt x="85725" y="276561"/>
                  <a:pt x="85725" y="273288"/>
                </a:cubicBezTo>
                <a:cubicBezTo>
                  <a:pt x="85725" y="261355"/>
                  <a:pt x="86144" y="249339"/>
                  <a:pt x="88106" y="237569"/>
                </a:cubicBezTo>
                <a:cubicBezTo>
                  <a:pt x="88576" y="234746"/>
                  <a:pt x="90714" y="232310"/>
                  <a:pt x="92868" y="230425"/>
                </a:cubicBezTo>
                <a:cubicBezTo>
                  <a:pt x="97176" y="226656"/>
                  <a:pt x="102577" y="224334"/>
                  <a:pt x="107156" y="220900"/>
                </a:cubicBezTo>
                <a:cubicBezTo>
                  <a:pt x="113506" y="216138"/>
                  <a:pt x="119107" y="210163"/>
                  <a:pt x="126206" y="206613"/>
                </a:cubicBezTo>
                <a:lnTo>
                  <a:pt x="145256" y="197088"/>
                </a:lnTo>
                <a:cubicBezTo>
                  <a:pt x="152771" y="193330"/>
                  <a:pt x="163322" y="188546"/>
                  <a:pt x="169068" y="182800"/>
                </a:cubicBezTo>
                <a:cubicBezTo>
                  <a:pt x="171449" y="180419"/>
                  <a:pt x="173606" y="177789"/>
                  <a:pt x="176212" y="175656"/>
                </a:cubicBezTo>
                <a:cubicBezTo>
                  <a:pt x="182355" y="170630"/>
                  <a:pt x="195262" y="161369"/>
                  <a:pt x="195262" y="161369"/>
                </a:cubicBezTo>
                <a:cubicBezTo>
                  <a:pt x="197147" y="155712"/>
                  <a:pt x="199029" y="150673"/>
                  <a:pt x="200025" y="144700"/>
                </a:cubicBezTo>
                <a:cubicBezTo>
                  <a:pt x="201077" y="138388"/>
                  <a:pt x="201433" y="131975"/>
                  <a:pt x="202406" y="125650"/>
                </a:cubicBezTo>
                <a:cubicBezTo>
                  <a:pt x="203021" y="121650"/>
                  <a:pt x="203993" y="117713"/>
                  <a:pt x="204787" y="113744"/>
                </a:cubicBezTo>
                <a:cubicBezTo>
                  <a:pt x="205581" y="105013"/>
                  <a:pt x="204590" y="95930"/>
                  <a:pt x="207168" y="87550"/>
                </a:cubicBezTo>
                <a:cubicBezTo>
                  <a:pt x="208010" y="84815"/>
                  <a:pt x="211571" y="83610"/>
                  <a:pt x="214312" y="82788"/>
                </a:cubicBezTo>
                <a:cubicBezTo>
                  <a:pt x="247212" y="72918"/>
                  <a:pt x="204788" y="87153"/>
                  <a:pt x="209550" y="85169"/>
                </a:cubicBezTo>
                <a:close/>
              </a:path>
            </a:pathLst>
          </a:custGeom>
          <a:solidFill>
            <a:schemeClr val="accent3"/>
          </a:solidFill>
          <a:ln w="12700">
            <a:solidFill>
              <a:schemeClr val="bg1"/>
            </a:solidFill>
            <a:round/>
            <a:headEnd/>
            <a:tailEnd/>
          </a:ln>
        </p:spPr>
        <p:txBody>
          <a:bodyPr/>
          <a:lstStyle/>
          <a:p>
            <a:endParaRPr lang="en-GB"/>
          </a:p>
        </p:txBody>
      </p:sp>
      <p:sp>
        <p:nvSpPr>
          <p:cNvPr id="93" name="Freeform 358"/>
          <p:cNvSpPr>
            <a:spLocks noChangeArrowheads="1"/>
          </p:cNvSpPr>
          <p:nvPr>
            <p:custDataLst>
              <p:tags r:id="rId74"/>
            </p:custDataLst>
          </p:nvPr>
        </p:nvSpPr>
        <p:spPr bwMode="auto">
          <a:xfrm>
            <a:off x="7545048" y="2243124"/>
            <a:ext cx="994964" cy="1517530"/>
          </a:xfrm>
          <a:custGeom>
            <a:avLst/>
            <a:gdLst>
              <a:gd name="T0" fmla="*/ 0 w 1184627"/>
              <a:gd name="T1" fmla="*/ 0 h 1806875"/>
              <a:gd name="T2" fmla="*/ 1184627 w 1184627"/>
              <a:gd name="T3" fmla="*/ 1806875 h 1806875"/>
            </a:gdLst>
            <a:ahLst/>
            <a:cxnLst/>
            <a:rect l="T0" t="T1" r="T2" b="T3"/>
            <a:pathLst>
              <a:path w="1184627" h="1806875">
                <a:moveTo>
                  <a:pt x="593725" y="10054"/>
                </a:moveTo>
                <a:cubicBezTo>
                  <a:pt x="596371" y="20108"/>
                  <a:pt x="593471" y="31349"/>
                  <a:pt x="603250" y="67204"/>
                </a:cubicBezTo>
                <a:cubicBezTo>
                  <a:pt x="604398" y="71414"/>
                  <a:pt x="605226" y="75708"/>
                  <a:pt x="606425" y="79904"/>
                </a:cubicBezTo>
                <a:cubicBezTo>
                  <a:pt x="607344" y="83122"/>
                  <a:pt x="608681" y="86211"/>
                  <a:pt x="609600" y="89429"/>
                </a:cubicBezTo>
                <a:cubicBezTo>
                  <a:pt x="610799" y="93625"/>
                  <a:pt x="611056" y="98118"/>
                  <a:pt x="612775" y="102129"/>
                </a:cubicBezTo>
                <a:cubicBezTo>
                  <a:pt x="614278" y="105636"/>
                  <a:pt x="617008" y="108479"/>
                  <a:pt x="619125" y="111654"/>
                </a:cubicBezTo>
                <a:cubicBezTo>
                  <a:pt x="620779" y="119925"/>
                  <a:pt x="622913" y="131902"/>
                  <a:pt x="625475" y="140229"/>
                </a:cubicBezTo>
                <a:cubicBezTo>
                  <a:pt x="628428" y="149825"/>
                  <a:pt x="631825" y="159279"/>
                  <a:pt x="635000" y="168804"/>
                </a:cubicBezTo>
                <a:cubicBezTo>
                  <a:pt x="636058" y="171979"/>
                  <a:pt x="637519" y="175047"/>
                  <a:pt x="638175" y="178329"/>
                </a:cubicBezTo>
                <a:cubicBezTo>
                  <a:pt x="647886" y="226885"/>
                  <a:pt x="632992" y="150406"/>
                  <a:pt x="644525" y="219604"/>
                </a:cubicBezTo>
                <a:cubicBezTo>
                  <a:pt x="646299" y="230250"/>
                  <a:pt x="649349" y="240670"/>
                  <a:pt x="650875" y="251354"/>
                </a:cubicBezTo>
                <a:cubicBezTo>
                  <a:pt x="653308" y="268384"/>
                  <a:pt x="655436" y="285609"/>
                  <a:pt x="660400" y="302154"/>
                </a:cubicBezTo>
                <a:cubicBezTo>
                  <a:pt x="662323" y="308565"/>
                  <a:pt x="666750" y="321204"/>
                  <a:pt x="666750" y="321204"/>
                </a:cubicBezTo>
                <a:cubicBezTo>
                  <a:pt x="667808" y="328612"/>
                  <a:pt x="668457" y="336091"/>
                  <a:pt x="669925" y="343429"/>
                </a:cubicBezTo>
                <a:cubicBezTo>
                  <a:pt x="670581" y="346711"/>
                  <a:pt x="674822" y="350084"/>
                  <a:pt x="673100" y="352954"/>
                </a:cubicBezTo>
                <a:cubicBezTo>
                  <a:pt x="670665" y="357013"/>
                  <a:pt x="664096" y="356347"/>
                  <a:pt x="660400" y="359304"/>
                </a:cubicBezTo>
                <a:cubicBezTo>
                  <a:pt x="653388" y="364914"/>
                  <a:pt x="647700" y="372004"/>
                  <a:pt x="641350" y="378354"/>
                </a:cubicBezTo>
                <a:cubicBezTo>
                  <a:pt x="638175" y="381529"/>
                  <a:pt x="635561" y="385388"/>
                  <a:pt x="631825" y="387879"/>
                </a:cubicBezTo>
                <a:lnTo>
                  <a:pt x="622300" y="394229"/>
                </a:lnTo>
                <a:cubicBezTo>
                  <a:pt x="621242" y="398462"/>
                  <a:pt x="620324" y="402733"/>
                  <a:pt x="619125" y="406929"/>
                </a:cubicBezTo>
                <a:cubicBezTo>
                  <a:pt x="618206" y="410147"/>
                  <a:pt x="616676" y="413187"/>
                  <a:pt x="615950" y="416454"/>
                </a:cubicBezTo>
                <a:cubicBezTo>
                  <a:pt x="614553" y="422738"/>
                  <a:pt x="614038" y="429191"/>
                  <a:pt x="612775" y="435504"/>
                </a:cubicBezTo>
                <a:cubicBezTo>
                  <a:pt x="610782" y="445471"/>
                  <a:pt x="609451" y="448651"/>
                  <a:pt x="606425" y="457729"/>
                </a:cubicBezTo>
                <a:cubicBezTo>
                  <a:pt x="605367" y="465137"/>
                  <a:pt x="603250" y="472470"/>
                  <a:pt x="603250" y="479954"/>
                </a:cubicBezTo>
                <a:cubicBezTo>
                  <a:pt x="603250" y="503574"/>
                  <a:pt x="606295" y="527124"/>
                  <a:pt x="612775" y="549804"/>
                </a:cubicBezTo>
                <a:cubicBezTo>
                  <a:pt x="613694" y="553022"/>
                  <a:pt x="614892" y="556154"/>
                  <a:pt x="615950" y="559329"/>
                </a:cubicBezTo>
                <a:cubicBezTo>
                  <a:pt x="613833" y="565679"/>
                  <a:pt x="615047" y="574488"/>
                  <a:pt x="609600" y="578379"/>
                </a:cubicBezTo>
                <a:cubicBezTo>
                  <a:pt x="605209" y="581516"/>
                  <a:pt x="599034" y="576169"/>
                  <a:pt x="593725" y="575204"/>
                </a:cubicBezTo>
                <a:cubicBezTo>
                  <a:pt x="565181" y="570014"/>
                  <a:pt x="584438" y="574470"/>
                  <a:pt x="561975" y="568854"/>
                </a:cubicBezTo>
                <a:cubicBezTo>
                  <a:pt x="540441" y="554498"/>
                  <a:pt x="560783" y="567662"/>
                  <a:pt x="568325" y="575204"/>
                </a:cubicBezTo>
                <a:cubicBezTo>
                  <a:pt x="571023" y="577902"/>
                  <a:pt x="572558" y="581554"/>
                  <a:pt x="574675" y="584729"/>
                </a:cubicBezTo>
                <a:cubicBezTo>
                  <a:pt x="575733" y="588962"/>
                  <a:pt x="578024" y="593069"/>
                  <a:pt x="577850" y="597429"/>
                </a:cubicBezTo>
                <a:cubicBezTo>
                  <a:pt x="576958" y="619737"/>
                  <a:pt x="576915" y="642445"/>
                  <a:pt x="571500" y="664104"/>
                </a:cubicBezTo>
                <a:cubicBezTo>
                  <a:pt x="570442" y="668337"/>
                  <a:pt x="569857" y="672718"/>
                  <a:pt x="568325" y="676804"/>
                </a:cubicBezTo>
                <a:cubicBezTo>
                  <a:pt x="565388" y="684637"/>
                  <a:pt x="560473" y="692242"/>
                  <a:pt x="555625" y="699029"/>
                </a:cubicBezTo>
                <a:cubicBezTo>
                  <a:pt x="552549" y="703335"/>
                  <a:pt x="548905" y="707242"/>
                  <a:pt x="546100" y="711729"/>
                </a:cubicBezTo>
                <a:cubicBezTo>
                  <a:pt x="543592" y="715743"/>
                  <a:pt x="541867" y="720196"/>
                  <a:pt x="539750" y="724429"/>
                </a:cubicBezTo>
                <a:cubicBezTo>
                  <a:pt x="539885" y="725506"/>
                  <a:pt x="541582" y="752577"/>
                  <a:pt x="546100" y="759354"/>
                </a:cubicBezTo>
                <a:cubicBezTo>
                  <a:pt x="548591" y="763090"/>
                  <a:pt x="552450" y="765704"/>
                  <a:pt x="555625" y="768879"/>
                </a:cubicBezTo>
                <a:cubicBezTo>
                  <a:pt x="557742" y="774171"/>
                  <a:pt x="559043" y="779867"/>
                  <a:pt x="561975" y="784754"/>
                </a:cubicBezTo>
                <a:cubicBezTo>
                  <a:pt x="576727" y="809341"/>
                  <a:pt x="570382" y="792388"/>
                  <a:pt x="584200" y="810154"/>
                </a:cubicBezTo>
                <a:cubicBezTo>
                  <a:pt x="588885" y="816178"/>
                  <a:pt x="590941" y="824436"/>
                  <a:pt x="596900" y="829204"/>
                </a:cubicBezTo>
                <a:cubicBezTo>
                  <a:pt x="605478" y="836066"/>
                  <a:pt x="615142" y="842839"/>
                  <a:pt x="622300" y="851429"/>
                </a:cubicBezTo>
                <a:cubicBezTo>
                  <a:pt x="644402" y="877951"/>
                  <a:pt x="610348" y="842652"/>
                  <a:pt x="638175" y="870479"/>
                </a:cubicBezTo>
                <a:cubicBezTo>
                  <a:pt x="639233" y="874712"/>
                  <a:pt x="639399" y="879276"/>
                  <a:pt x="641350" y="883179"/>
                </a:cubicBezTo>
                <a:cubicBezTo>
                  <a:pt x="643717" y="887912"/>
                  <a:pt x="647431" y="891861"/>
                  <a:pt x="650875" y="895879"/>
                </a:cubicBezTo>
                <a:cubicBezTo>
                  <a:pt x="658715" y="905025"/>
                  <a:pt x="668701" y="912729"/>
                  <a:pt x="679450" y="918104"/>
                </a:cubicBezTo>
                <a:lnTo>
                  <a:pt x="692150" y="924454"/>
                </a:lnTo>
                <a:cubicBezTo>
                  <a:pt x="703048" y="920821"/>
                  <a:pt x="704764" y="921365"/>
                  <a:pt x="714375" y="911754"/>
                </a:cubicBezTo>
                <a:cubicBezTo>
                  <a:pt x="718117" y="908012"/>
                  <a:pt x="720158" y="902796"/>
                  <a:pt x="723900" y="899054"/>
                </a:cubicBezTo>
                <a:cubicBezTo>
                  <a:pt x="733794" y="889160"/>
                  <a:pt x="749299" y="888471"/>
                  <a:pt x="762000" y="886354"/>
                </a:cubicBezTo>
                <a:cubicBezTo>
                  <a:pt x="768350" y="887412"/>
                  <a:pt x="775694" y="885958"/>
                  <a:pt x="781050" y="889529"/>
                </a:cubicBezTo>
                <a:cubicBezTo>
                  <a:pt x="790951" y="896130"/>
                  <a:pt x="789353" y="906136"/>
                  <a:pt x="793750" y="914929"/>
                </a:cubicBezTo>
                <a:cubicBezTo>
                  <a:pt x="797649" y="922727"/>
                  <a:pt x="804517" y="930666"/>
                  <a:pt x="812800" y="933979"/>
                </a:cubicBezTo>
                <a:cubicBezTo>
                  <a:pt x="818777" y="936370"/>
                  <a:pt x="825462" y="936356"/>
                  <a:pt x="831850" y="937154"/>
                </a:cubicBezTo>
                <a:cubicBezTo>
                  <a:pt x="839899" y="938160"/>
                  <a:pt x="888734" y="942387"/>
                  <a:pt x="908050" y="946679"/>
                </a:cubicBezTo>
                <a:cubicBezTo>
                  <a:pt x="911317" y="947405"/>
                  <a:pt x="914400" y="948796"/>
                  <a:pt x="917575" y="949854"/>
                </a:cubicBezTo>
                <a:cubicBezTo>
                  <a:pt x="919692" y="953029"/>
                  <a:pt x="923504" y="955586"/>
                  <a:pt x="923925" y="959379"/>
                </a:cubicBezTo>
                <a:cubicBezTo>
                  <a:pt x="924636" y="965777"/>
                  <a:pt x="921936" y="972102"/>
                  <a:pt x="920750" y="978429"/>
                </a:cubicBezTo>
                <a:cubicBezTo>
                  <a:pt x="909331" y="1039329"/>
                  <a:pt x="918445" y="985911"/>
                  <a:pt x="911225" y="1029229"/>
                </a:cubicBezTo>
                <a:cubicBezTo>
                  <a:pt x="913430" y="1071119"/>
                  <a:pt x="909776" y="1074958"/>
                  <a:pt x="917575" y="1102254"/>
                </a:cubicBezTo>
                <a:cubicBezTo>
                  <a:pt x="918494" y="1105472"/>
                  <a:pt x="918894" y="1108994"/>
                  <a:pt x="920750" y="1111779"/>
                </a:cubicBezTo>
                <a:cubicBezTo>
                  <a:pt x="924477" y="1117369"/>
                  <a:pt x="948259" y="1136433"/>
                  <a:pt x="949325" y="1137179"/>
                </a:cubicBezTo>
                <a:cubicBezTo>
                  <a:pt x="953202" y="1139893"/>
                  <a:pt x="957433" y="1142381"/>
                  <a:pt x="962025" y="1143529"/>
                </a:cubicBezTo>
                <a:cubicBezTo>
                  <a:pt x="974516" y="1146652"/>
                  <a:pt x="987500" y="1147354"/>
                  <a:pt x="1000125" y="1149879"/>
                </a:cubicBezTo>
                <a:cubicBezTo>
                  <a:pt x="1003407" y="1150535"/>
                  <a:pt x="1006657" y="1151557"/>
                  <a:pt x="1009650" y="1153054"/>
                </a:cubicBezTo>
                <a:cubicBezTo>
                  <a:pt x="1013063" y="1154761"/>
                  <a:pt x="1016000" y="1157287"/>
                  <a:pt x="1019175" y="1159404"/>
                </a:cubicBezTo>
                <a:cubicBezTo>
                  <a:pt x="1021292" y="1163637"/>
                  <a:pt x="1024028" y="1167614"/>
                  <a:pt x="1025525" y="1172104"/>
                </a:cubicBezTo>
                <a:cubicBezTo>
                  <a:pt x="1028285" y="1180383"/>
                  <a:pt x="1029115" y="1189225"/>
                  <a:pt x="1031875" y="1197504"/>
                </a:cubicBezTo>
                <a:lnTo>
                  <a:pt x="1035050" y="1207029"/>
                </a:lnTo>
                <a:cubicBezTo>
                  <a:pt x="1029502" y="1245864"/>
                  <a:pt x="1036299" y="1215019"/>
                  <a:pt x="1025525" y="1241954"/>
                </a:cubicBezTo>
                <a:cubicBezTo>
                  <a:pt x="1023039" y="1248169"/>
                  <a:pt x="1019175" y="1261004"/>
                  <a:pt x="1019175" y="1261004"/>
                </a:cubicBezTo>
                <a:cubicBezTo>
                  <a:pt x="1020233" y="1290637"/>
                  <a:pt x="1016885" y="1320760"/>
                  <a:pt x="1022350" y="1349904"/>
                </a:cubicBezTo>
                <a:cubicBezTo>
                  <a:pt x="1023599" y="1356565"/>
                  <a:pt x="1032478" y="1359012"/>
                  <a:pt x="1038225" y="1362604"/>
                </a:cubicBezTo>
                <a:cubicBezTo>
                  <a:pt x="1042063" y="1365003"/>
                  <a:pt x="1057316" y="1367779"/>
                  <a:pt x="1060450" y="1368954"/>
                </a:cubicBezTo>
                <a:cubicBezTo>
                  <a:pt x="1064882" y="1370616"/>
                  <a:pt x="1068917" y="1373187"/>
                  <a:pt x="1073150" y="1375304"/>
                </a:cubicBezTo>
                <a:cubicBezTo>
                  <a:pt x="1075267" y="1379537"/>
                  <a:pt x="1077578" y="1383679"/>
                  <a:pt x="1079500" y="1388004"/>
                </a:cubicBezTo>
                <a:cubicBezTo>
                  <a:pt x="1081815" y="1393212"/>
                  <a:pt x="1083301" y="1398781"/>
                  <a:pt x="1085850" y="1403879"/>
                </a:cubicBezTo>
                <a:cubicBezTo>
                  <a:pt x="1090270" y="1412720"/>
                  <a:pt x="1094703" y="1415907"/>
                  <a:pt x="1101725" y="1422929"/>
                </a:cubicBezTo>
                <a:cubicBezTo>
                  <a:pt x="1100667" y="1432454"/>
                  <a:pt x="1098550" y="1441920"/>
                  <a:pt x="1098550" y="1451504"/>
                </a:cubicBezTo>
                <a:cubicBezTo>
                  <a:pt x="1098550" y="1458988"/>
                  <a:pt x="1100587" y="1466332"/>
                  <a:pt x="1101725" y="1473729"/>
                </a:cubicBezTo>
                <a:cubicBezTo>
                  <a:pt x="1104918" y="1494484"/>
                  <a:pt x="1103141" y="1487502"/>
                  <a:pt x="1108075" y="1502304"/>
                </a:cubicBezTo>
                <a:cubicBezTo>
                  <a:pt x="1109133" y="1513946"/>
                  <a:pt x="1110026" y="1525604"/>
                  <a:pt x="1111250" y="1537229"/>
                </a:cubicBezTo>
                <a:cubicBezTo>
                  <a:pt x="1112126" y="1545547"/>
                  <a:pt x="1112791" y="1562537"/>
                  <a:pt x="1117600" y="1572154"/>
                </a:cubicBezTo>
                <a:cubicBezTo>
                  <a:pt x="1119307" y="1575567"/>
                  <a:pt x="1122057" y="1578366"/>
                  <a:pt x="1123950" y="1581679"/>
                </a:cubicBezTo>
                <a:cubicBezTo>
                  <a:pt x="1131587" y="1595044"/>
                  <a:pt x="1129840" y="1598410"/>
                  <a:pt x="1143000" y="1610254"/>
                </a:cubicBezTo>
                <a:cubicBezTo>
                  <a:pt x="1153373" y="1619589"/>
                  <a:pt x="1165014" y="1622743"/>
                  <a:pt x="1174750" y="1632479"/>
                </a:cubicBezTo>
                <a:cubicBezTo>
                  <a:pt x="1177448" y="1635177"/>
                  <a:pt x="1178983" y="1638829"/>
                  <a:pt x="1181100" y="1642004"/>
                </a:cubicBezTo>
                <a:cubicBezTo>
                  <a:pt x="1180042" y="1694921"/>
                  <a:pt x="1184627" y="1748253"/>
                  <a:pt x="1177925" y="1800754"/>
                </a:cubicBezTo>
                <a:cubicBezTo>
                  <a:pt x="1177144" y="1806875"/>
                  <a:pt x="1167445" y="1794226"/>
                  <a:pt x="1162050" y="1791229"/>
                </a:cubicBezTo>
                <a:cubicBezTo>
                  <a:pt x="1157913" y="1788930"/>
                  <a:pt x="1153331" y="1787438"/>
                  <a:pt x="1149350" y="1784879"/>
                </a:cubicBezTo>
                <a:cubicBezTo>
                  <a:pt x="1118446" y="1765012"/>
                  <a:pt x="1122853" y="1762726"/>
                  <a:pt x="1092200" y="1749954"/>
                </a:cubicBezTo>
                <a:cubicBezTo>
                  <a:pt x="1088172" y="1748276"/>
                  <a:pt x="1083733" y="1747837"/>
                  <a:pt x="1079500" y="1746779"/>
                </a:cubicBezTo>
                <a:cubicBezTo>
                  <a:pt x="1073150" y="1742546"/>
                  <a:pt x="1067150" y="1737733"/>
                  <a:pt x="1060450" y="1734079"/>
                </a:cubicBezTo>
                <a:cubicBezTo>
                  <a:pt x="1025419" y="1714971"/>
                  <a:pt x="1061931" y="1739413"/>
                  <a:pt x="1031875" y="1721379"/>
                </a:cubicBezTo>
                <a:cubicBezTo>
                  <a:pt x="1025331" y="1717452"/>
                  <a:pt x="1019264" y="1712776"/>
                  <a:pt x="1012825" y="1708679"/>
                </a:cubicBezTo>
                <a:cubicBezTo>
                  <a:pt x="977923" y="1686469"/>
                  <a:pt x="1013950" y="1709775"/>
                  <a:pt x="984250" y="1692804"/>
                </a:cubicBezTo>
                <a:cubicBezTo>
                  <a:pt x="980937" y="1690911"/>
                  <a:pt x="978038" y="1688347"/>
                  <a:pt x="974725" y="1686454"/>
                </a:cubicBezTo>
                <a:cubicBezTo>
                  <a:pt x="963740" y="1680177"/>
                  <a:pt x="963186" y="1680491"/>
                  <a:pt x="952500" y="1676929"/>
                </a:cubicBezTo>
                <a:cubicBezTo>
                  <a:pt x="939744" y="1666724"/>
                  <a:pt x="935207" y="1661933"/>
                  <a:pt x="920750" y="1654704"/>
                </a:cubicBezTo>
                <a:cubicBezTo>
                  <a:pt x="915652" y="1652155"/>
                  <a:pt x="910063" y="1650712"/>
                  <a:pt x="904875" y="1648354"/>
                </a:cubicBezTo>
                <a:cubicBezTo>
                  <a:pt x="889666" y="1641441"/>
                  <a:pt x="883776" y="1637813"/>
                  <a:pt x="869950" y="1629304"/>
                </a:cubicBezTo>
                <a:cubicBezTo>
                  <a:pt x="861447" y="1624071"/>
                  <a:pt x="852346" y="1619666"/>
                  <a:pt x="844550" y="1613429"/>
                </a:cubicBezTo>
                <a:cubicBezTo>
                  <a:pt x="839258" y="1609196"/>
                  <a:pt x="834314" y="1604488"/>
                  <a:pt x="828675" y="1600729"/>
                </a:cubicBezTo>
                <a:cubicBezTo>
                  <a:pt x="820828" y="1595498"/>
                  <a:pt x="814917" y="1594026"/>
                  <a:pt x="806450" y="1591204"/>
                </a:cubicBezTo>
                <a:cubicBezTo>
                  <a:pt x="802217" y="1588029"/>
                  <a:pt x="798237" y="1584484"/>
                  <a:pt x="793750" y="1581679"/>
                </a:cubicBezTo>
                <a:cubicBezTo>
                  <a:pt x="784130" y="1575667"/>
                  <a:pt x="775597" y="1573611"/>
                  <a:pt x="765175" y="1568979"/>
                </a:cubicBezTo>
                <a:cubicBezTo>
                  <a:pt x="760850" y="1567057"/>
                  <a:pt x="756584" y="1564977"/>
                  <a:pt x="752475" y="1562629"/>
                </a:cubicBezTo>
                <a:cubicBezTo>
                  <a:pt x="749162" y="1560736"/>
                  <a:pt x="746003" y="1558569"/>
                  <a:pt x="742950" y="1556279"/>
                </a:cubicBezTo>
                <a:cubicBezTo>
                  <a:pt x="737529" y="1552213"/>
                  <a:pt x="732886" y="1547066"/>
                  <a:pt x="727075" y="1543579"/>
                </a:cubicBezTo>
                <a:cubicBezTo>
                  <a:pt x="722188" y="1540647"/>
                  <a:pt x="716492" y="1539346"/>
                  <a:pt x="711200" y="1537229"/>
                </a:cubicBezTo>
                <a:cubicBezTo>
                  <a:pt x="687183" y="1505207"/>
                  <a:pt x="717748" y="1544713"/>
                  <a:pt x="688975" y="1511829"/>
                </a:cubicBezTo>
                <a:cubicBezTo>
                  <a:pt x="685490" y="1507847"/>
                  <a:pt x="683192" y="1502871"/>
                  <a:pt x="679450" y="1499129"/>
                </a:cubicBezTo>
                <a:cubicBezTo>
                  <a:pt x="675708" y="1495387"/>
                  <a:pt x="670768" y="1493048"/>
                  <a:pt x="666750" y="1489604"/>
                </a:cubicBezTo>
                <a:cubicBezTo>
                  <a:pt x="657463" y="1481644"/>
                  <a:pt x="655229" y="1477417"/>
                  <a:pt x="647700" y="1467379"/>
                </a:cubicBezTo>
                <a:cubicBezTo>
                  <a:pt x="644336" y="1457286"/>
                  <a:pt x="642998" y="1450977"/>
                  <a:pt x="635000" y="1441979"/>
                </a:cubicBezTo>
                <a:cubicBezTo>
                  <a:pt x="630498" y="1436914"/>
                  <a:pt x="624417" y="1433512"/>
                  <a:pt x="619125" y="1429279"/>
                </a:cubicBezTo>
                <a:cubicBezTo>
                  <a:pt x="618067" y="1425046"/>
                  <a:pt x="617901" y="1420482"/>
                  <a:pt x="615950" y="1416579"/>
                </a:cubicBezTo>
                <a:cubicBezTo>
                  <a:pt x="613583" y="1411846"/>
                  <a:pt x="609230" y="1408366"/>
                  <a:pt x="606425" y="1403879"/>
                </a:cubicBezTo>
                <a:cubicBezTo>
                  <a:pt x="603917" y="1399865"/>
                  <a:pt x="602192" y="1395412"/>
                  <a:pt x="600075" y="1391179"/>
                </a:cubicBezTo>
                <a:cubicBezTo>
                  <a:pt x="599017" y="1381654"/>
                  <a:pt x="597696" y="1372155"/>
                  <a:pt x="596900" y="1362604"/>
                </a:cubicBezTo>
                <a:cubicBezTo>
                  <a:pt x="596870" y="1362246"/>
                  <a:pt x="595657" y="1312722"/>
                  <a:pt x="590550" y="1299104"/>
                </a:cubicBezTo>
                <a:cubicBezTo>
                  <a:pt x="587046" y="1289759"/>
                  <a:pt x="575450" y="1281629"/>
                  <a:pt x="568325" y="1276879"/>
                </a:cubicBezTo>
                <a:cubicBezTo>
                  <a:pt x="557058" y="1269368"/>
                  <a:pt x="553129" y="1270030"/>
                  <a:pt x="539750" y="1267354"/>
                </a:cubicBezTo>
                <a:cubicBezTo>
                  <a:pt x="538730" y="1266334"/>
                  <a:pt x="523195" y="1252044"/>
                  <a:pt x="523875" y="1248304"/>
                </a:cubicBezTo>
                <a:cubicBezTo>
                  <a:pt x="525568" y="1238991"/>
                  <a:pt x="532342" y="1231371"/>
                  <a:pt x="536575" y="1222904"/>
                </a:cubicBezTo>
                <a:cubicBezTo>
                  <a:pt x="554254" y="1187546"/>
                  <a:pt x="533131" y="1232087"/>
                  <a:pt x="546100" y="1197504"/>
                </a:cubicBezTo>
                <a:cubicBezTo>
                  <a:pt x="547762" y="1193072"/>
                  <a:pt x="550333" y="1189037"/>
                  <a:pt x="552450" y="1184804"/>
                </a:cubicBezTo>
                <a:cubicBezTo>
                  <a:pt x="551392" y="1168929"/>
                  <a:pt x="552960" y="1152657"/>
                  <a:pt x="549275" y="1137179"/>
                </a:cubicBezTo>
                <a:cubicBezTo>
                  <a:pt x="547507" y="1129755"/>
                  <a:pt x="538988" y="1125369"/>
                  <a:pt x="536575" y="1118129"/>
                </a:cubicBezTo>
                <a:lnTo>
                  <a:pt x="530225" y="1099079"/>
                </a:lnTo>
                <a:cubicBezTo>
                  <a:pt x="525378" y="1074846"/>
                  <a:pt x="524000" y="1069726"/>
                  <a:pt x="520700" y="1048279"/>
                </a:cubicBezTo>
                <a:cubicBezTo>
                  <a:pt x="519562" y="1040882"/>
                  <a:pt x="518864" y="1033417"/>
                  <a:pt x="517525" y="1026054"/>
                </a:cubicBezTo>
                <a:cubicBezTo>
                  <a:pt x="516100" y="1018216"/>
                  <a:pt x="509159" y="995767"/>
                  <a:pt x="508000" y="991129"/>
                </a:cubicBezTo>
                <a:cubicBezTo>
                  <a:pt x="507096" y="987513"/>
                  <a:pt x="503606" y="967117"/>
                  <a:pt x="501650" y="962554"/>
                </a:cubicBezTo>
                <a:cubicBezTo>
                  <a:pt x="500147" y="959047"/>
                  <a:pt x="497417" y="956204"/>
                  <a:pt x="495300" y="953029"/>
                </a:cubicBezTo>
                <a:cubicBezTo>
                  <a:pt x="492587" y="942176"/>
                  <a:pt x="487069" y="912814"/>
                  <a:pt x="479425" y="899054"/>
                </a:cubicBezTo>
                <a:cubicBezTo>
                  <a:pt x="468652" y="879662"/>
                  <a:pt x="464339" y="889511"/>
                  <a:pt x="457200" y="860954"/>
                </a:cubicBezTo>
                <a:cubicBezTo>
                  <a:pt x="449925" y="831852"/>
                  <a:pt x="455691" y="842816"/>
                  <a:pt x="444500" y="826029"/>
                </a:cubicBezTo>
                <a:cubicBezTo>
                  <a:pt x="443442" y="820737"/>
                  <a:pt x="442146" y="815488"/>
                  <a:pt x="441325" y="810154"/>
                </a:cubicBezTo>
                <a:cubicBezTo>
                  <a:pt x="440028" y="801721"/>
                  <a:pt x="439722" y="793140"/>
                  <a:pt x="438150" y="784754"/>
                </a:cubicBezTo>
                <a:cubicBezTo>
                  <a:pt x="433335" y="759073"/>
                  <a:pt x="430951" y="763563"/>
                  <a:pt x="428625" y="740304"/>
                </a:cubicBezTo>
                <a:cubicBezTo>
                  <a:pt x="426089" y="714942"/>
                  <a:pt x="426010" y="689317"/>
                  <a:pt x="422275" y="664104"/>
                </a:cubicBezTo>
                <a:cubicBezTo>
                  <a:pt x="421716" y="660329"/>
                  <a:pt x="417632" y="657992"/>
                  <a:pt x="415925" y="654579"/>
                </a:cubicBezTo>
                <a:cubicBezTo>
                  <a:pt x="414428" y="651586"/>
                  <a:pt x="414841" y="647667"/>
                  <a:pt x="412750" y="645054"/>
                </a:cubicBezTo>
                <a:cubicBezTo>
                  <a:pt x="372238" y="594414"/>
                  <a:pt x="404920" y="638007"/>
                  <a:pt x="381000" y="616479"/>
                </a:cubicBezTo>
                <a:cubicBezTo>
                  <a:pt x="351981" y="590362"/>
                  <a:pt x="366615" y="601853"/>
                  <a:pt x="346075" y="578379"/>
                </a:cubicBezTo>
                <a:cubicBezTo>
                  <a:pt x="343118" y="575000"/>
                  <a:pt x="339425" y="572303"/>
                  <a:pt x="336550" y="568854"/>
                </a:cubicBezTo>
                <a:cubicBezTo>
                  <a:pt x="334107" y="565923"/>
                  <a:pt x="332643" y="562260"/>
                  <a:pt x="330200" y="559329"/>
                </a:cubicBezTo>
                <a:cubicBezTo>
                  <a:pt x="309828" y="534883"/>
                  <a:pt x="330091" y="563928"/>
                  <a:pt x="314325" y="540279"/>
                </a:cubicBezTo>
                <a:cubicBezTo>
                  <a:pt x="318813" y="517840"/>
                  <a:pt x="315793" y="529524"/>
                  <a:pt x="323850" y="505354"/>
                </a:cubicBezTo>
                <a:lnTo>
                  <a:pt x="327025" y="495829"/>
                </a:lnTo>
                <a:cubicBezTo>
                  <a:pt x="325967" y="489479"/>
                  <a:pt x="328040" y="481667"/>
                  <a:pt x="323850" y="476779"/>
                </a:cubicBezTo>
                <a:cubicBezTo>
                  <a:pt x="320338" y="472682"/>
                  <a:pt x="313284" y="474569"/>
                  <a:pt x="307975" y="473604"/>
                </a:cubicBezTo>
                <a:cubicBezTo>
                  <a:pt x="283389" y="469134"/>
                  <a:pt x="296194" y="472852"/>
                  <a:pt x="279400" y="467254"/>
                </a:cubicBezTo>
                <a:cubicBezTo>
                  <a:pt x="276225" y="471487"/>
                  <a:pt x="273319" y="475936"/>
                  <a:pt x="269875" y="479954"/>
                </a:cubicBezTo>
                <a:cubicBezTo>
                  <a:pt x="266953" y="483363"/>
                  <a:pt x="263107" y="485935"/>
                  <a:pt x="260350" y="489479"/>
                </a:cubicBezTo>
                <a:cubicBezTo>
                  <a:pt x="253168" y="498713"/>
                  <a:pt x="246013" y="510233"/>
                  <a:pt x="241300" y="521229"/>
                </a:cubicBezTo>
                <a:cubicBezTo>
                  <a:pt x="239982" y="524305"/>
                  <a:pt x="239183" y="527579"/>
                  <a:pt x="238125" y="530754"/>
                </a:cubicBezTo>
                <a:cubicBezTo>
                  <a:pt x="239183" y="539221"/>
                  <a:pt x="238018" y="548278"/>
                  <a:pt x="241300" y="556154"/>
                </a:cubicBezTo>
                <a:cubicBezTo>
                  <a:pt x="243603" y="561680"/>
                  <a:pt x="249211" y="565262"/>
                  <a:pt x="254000" y="568854"/>
                </a:cubicBezTo>
                <a:cubicBezTo>
                  <a:pt x="257786" y="571694"/>
                  <a:pt x="262350" y="573340"/>
                  <a:pt x="266700" y="575204"/>
                </a:cubicBezTo>
                <a:cubicBezTo>
                  <a:pt x="273077" y="577937"/>
                  <a:pt x="282480" y="579943"/>
                  <a:pt x="288925" y="581554"/>
                </a:cubicBezTo>
                <a:cubicBezTo>
                  <a:pt x="293158" y="584729"/>
                  <a:pt x="298237" y="587014"/>
                  <a:pt x="301625" y="591079"/>
                </a:cubicBezTo>
                <a:cubicBezTo>
                  <a:pt x="303768" y="593650"/>
                  <a:pt x="303303" y="597611"/>
                  <a:pt x="304800" y="600604"/>
                </a:cubicBezTo>
                <a:cubicBezTo>
                  <a:pt x="306507" y="604017"/>
                  <a:pt x="309443" y="606716"/>
                  <a:pt x="311150" y="610129"/>
                </a:cubicBezTo>
                <a:cubicBezTo>
                  <a:pt x="314779" y="617387"/>
                  <a:pt x="315689" y="628283"/>
                  <a:pt x="317500" y="635529"/>
                </a:cubicBezTo>
                <a:cubicBezTo>
                  <a:pt x="318312" y="638776"/>
                  <a:pt x="319617" y="641879"/>
                  <a:pt x="320675" y="645054"/>
                </a:cubicBezTo>
                <a:cubicBezTo>
                  <a:pt x="322049" y="654674"/>
                  <a:pt x="327412" y="676223"/>
                  <a:pt x="320675" y="686329"/>
                </a:cubicBezTo>
                <a:cubicBezTo>
                  <a:pt x="318819" y="689114"/>
                  <a:pt x="319356" y="679589"/>
                  <a:pt x="317500" y="676804"/>
                </a:cubicBezTo>
                <a:cubicBezTo>
                  <a:pt x="315009" y="673068"/>
                  <a:pt x="310850" y="670728"/>
                  <a:pt x="307975" y="667279"/>
                </a:cubicBezTo>
                <a:cubicBezTo>
                  <a:pt x="305532" y="664348"/>
                  <a:pt x="304068" y="660685"/>
                  <a:pt x="301625" y="657754"/>
                </a:cubicBezTo>
                <a:cubicBezTo>
                  <a:pt x="298750" y="654305"/>
                  <a:pt x="294975" y="651678"/>
                  <a:pt x="292100" y="648229"/>
                </a:cubicBezTo>
                <a:cubicBezTo>
                  <a:pt x="289657" y="645298"/>
                  <a:pt x="288448" y="641402"/>
                  <a:pt x="285750" y="638704"/>
                </a:cubicBezTo>
                <a:cubicBezTo>
                  <a:pt x="283052" y="636006"/>
                  <a:pt x="279400" y="634471"/>
                  <a:pt x="276225" y="632354"/>
                </a:cubicBezTo>
                <a:cubicBezTo>
                  <a:pt x="270044" y="613811"/>
                  <a:pt x="277886" y="630840"/>
                  <a:pt x="263525" y="616479"/>
                </a:cubicBezTo>
                <a:cubicBezTo>
                  <a:pt x="251811" y="604765"/>
                  <a:pt x="263254" y="607832"/>
                  <a:pt x="247650" y="597429"/>
                </a:cubicBezTo>
                <a:cubicBezTo>
                  <a:pt x="244865" y="595573"/>
                  <a:pt x="241118" y="595751"/>
                  <a:pt x="238125" y="594254"/>
                </a:cubicBezTo>
                <a:cubicBezTo>
                  <a:pt x="234712" y="592547"/>
                  <a:pt x="232013" y="589611"/>
                  <a:pt x="228600" y="587904"/>
                </a:cubicBezTo>
                <a:cubicBezTo>
                  <a:pt x="217158" y="582183"/>
                  <a:pt x="196431" y="582465"/>
                  <a:pt x="187325" y="581554"/>
                </a:cubicBezTo>
                <a:cubicBezTo>
                  <a:pt x="184150" y="580496"/>
                  <a:pt x="180585" y="580235"/>
                  <a:pt x="177800" y="578379"/>
                </a:cubicBezTo>
                <a:cubicBezTo>
                  <a:pt x="170756" y="573683"/>
                  <a:pt x="157377" y="555210"/>
                  <a:pt x="155575" y="549804"/>
                </a:cubicBezTo>
                <a:cubicBezTo>
                  <a:pt x="152993" y="542057"/>
                  <a:pt x="152205" y="536909"/>
                  <a:pt x="146050" y="530754"/>
                </a:cubicBezTo>
                <a:cubicBezTo>
                  <a:pt x="143352" y="528056"/>
                  <a:pt x="139700" y="526521"/>
                  <a:pt x="136525" y="524404"/>
                </a:cubicBezTo>
                <a:cubicBezTo>
                  <a:pt x="132058" y="517704"/>
                  <a:pt x="127727" y="509857"/>
                  <a:pt x="120650" y="505354"/>
                </a:cubicBezTo>
                <a:cubicBezTo>
                  <a:pt x="112664" y="500272"/>
                  <a:pt x="103126" y="497905"/>
                  <a:pt x="95250" y="492654"/>
                </a:cubicBezTo>
                <a:cubicBezTo>
                  <a:pt x="71601" y="476888"/>
                  <a:pt x="100646" y="497151"/>
                  <a:pt x="76200" y="476779"/>
                </a:cubicBezTo>
                <a:cubicBezTo>
                  <a:pt x="73269" y="474336"/>
                  <a:pt x="69850" y="472546"/>
                  <a:pt x="66675" y="470429"/>
                </a:cubicBezTo>
                <a:cubicBezTo>
                  <a:pt x="64558" y="467254"/>
                  <a:pt x="63197" y="463417"/>
                  <a:pt x="60325" y="460904"/>
                </a:cubicBezTo>
                <a:cubicBezTo>
                  <a:pt x="54582" y="455878"/>
                  <a:pt x="47625" y="452437"/>
                  <a:pt x="41275" y="448204"/>
                </a:cubicBezTo>
                <a:cubicBezTo>
                  <a:pt x="38100" y="446087"/>
                  <a:pt x="35370" y="443061"/>
                  <a:pt x="31750" y="441854"/>
                </a:cubicBezTo>
                <a:cubicBezTo>
                  <a:pt x="8560" y="434124"/>
                  <a:pt x="19194" y="437127"/>
                  <a:pt x="0" y="432329"/>
                </a:cubicBezTo>
                <a:cubicBezTo>
                  <a:pt x="236" y="431386"/>
                  <a:pt x="4672" y="412262"/>
                  <a:pt x="6350" y="410104"/>
                </a:cubicBezTo>
                <a:cubicBezTo>
                  <a:pt x="11863" y="403015"/>
                  <a:pt x="25400" y="391054"/>
                  <a:pt x="25400" y="391054"/>
                </a:cubicBezTo>
                <a:lnTo>
                  <a:pt x="31750" y="372004"/>
                </a:lnTo>
                <a:cubicBezTo>
                  <a:pt x="32808" y="368829"/>
                  <a:pt x="32558" y="364846"/>
                  <a:pt x="34925" y="362479"/>
                </a:cubicBezTo>
                <a:cubicBezTo>
                  <a:pt x="52981" y="344423"/>
                  <a:pt x="35595" y="358969"/>
                  <a:pt x="53975" y="349779"/>
                </a:cubicBezTo>
                <a:cubicBezTo>
                  <a:pt x="78594" y="337469"/>
                  <a:pt x="49084" y="348234"/>
                  <a:pt x="73025" y="340254"/>
                </a:cubicBezTo>
                <a:cubicBezTo>
                  <a:pt x="76200" y="336021"/>
                  <a:pt x="78808" y="331296"/>
                  <a:pt x="82550" y="327554"/>
                </a:cubicBezTo>
                <a:cubicBezTo>
                  <a:pt x="106539" y="303565"/>
                  <a:pt x="85019" y="333551"/>
                  <a:pt x="104775" y="305329"/>
                </a:cubicBezTo>
                <a:cubicBezTo>
                  <a:pt x="109152" y="299077"/>
                  <a:pt x="113242" y="292629"/>
                  <a:pt x="117475" y="286279"/>
                </a:cubicBezTo>
                <a:lnTo>
                  <a:pt x="123825" y="276754"/>
                </a:lnTo>
                <a:cubicBezTo>
                  <a:pt x="132224" y="243159"/>
                  <a:pt x="120821" y="282720"/>
                  <a:pt x="133350" y="254529"/>
                </a:cubicBezTo>
                <a:cubicBezTo>
                  <a:pt x="136068" y="248412"/>
                  <a:pt x="134131" y="239192"/>
                  <a:pt x="139700" y="235479"/>
                </a:cubicBezTo>
                <a:lnTo>
                  <a:pt x="158750" y="222779"/>
                </a:lnTo>
                <a:cubicBezTo>
                  <a:pt x="161925" y="220662"/>
                  <a:pt x="164655" y="217636"/>
                  <a:pt x="168275" y="216429"/>
                </a:cubicBezTo>
                <a:lnTo>
                  <a:pt x="187325" y="210079"/>
                </a:lnTo>
                <a:cubicBezTo>
                  <a:pt x="190500" y="209021"/>
                  <a:pt x="193857" y="208401"/>
                  <a:pt x="196850" y="206904"/>
                </a:cubicBezTo>
                <a:cubicBezTo>
                  <a:pt x="201083" y="204787"/>
                  <a:pt x="205491" y="202989"/>
                  <a:pt x="209550" y="200554"/>
                </a:cubicBezTo>
                <a:cubicBezTo>
                  <a:pt x="236843" y="184178"/>
                  <a:pt x="218966" y="191065"/>
                  <a:pt x="238125" y="184679"/>
                </a:cubicBezTo>
                <a:cubicBezTo>
                  <a:pt x="252942" y="185737"/>
                  <a:pt x="268115" y="184452"/>
                  <a:pt x="282575" y="187854"/>
                </a:cubicBezTo>
                <a:cubicBezTo>
                  <a:pt x="293383" y="190397"/>
                  <a:pt x="291488" y="200087"/>
                  <a:pt x="295275" y="206904"/>
                </a:cubicBezTo>
                <a:cubicBezTo>
                  <a:pt x="298981" y="213575"/>
                  <a:pt x="305562" y="218714"/>
                  <a:pt x="307975" y="225954"/>
                </a:cubicBezTo>
                <a:cubicBezTo>
                  <a:pt x="309033" y="229129"/>
                  <a:pt x="309294" y="232694"/>
                  <a:pt x="311150" y="235479"/>
                </a:cubicBezTo>
                <a:cubicBezTo>
                  <a:pt x="313641" y="239215"/>
                  <a:pt x="316750" y="242823"/>
                  <a:pt x="320675" y="245004"/>
                </a:cubicBezTo>
                <a:cubicBezTo>
                  <a:pt x="326526" y="248255"/>
                  <a:pt x="339725" y="251354"/>
                  <a:pt x="339725" y="251354"/>
                </a:cubicBezTo>
                <a:cubicBezTo>
                  <a:pt x="347133" y="250296"/>
                  <a:pt x="355002" y="250958"/>
                  <a:pt x="361950" y="248179"/>
                </a:cubicBezTo>
                <a:cubicBezTo>
                  <a:pt x="382420" y="239991"/>
                  <a:pt x="360821" y="237313"/>
                  <a:pt x="381000" y="235479"/>
                </a:cubicBezTo>
                <a:cubicBezTo>
                  <a:pt x="401053" y="233656"/>
                  <a:pt x="421217" y="233362"/>
                  <a:pt x="441325" y="232304"/>
                </a:cubicBezTo>
                <a:cubicBezTo>
                  <a:pt x="444500" y="230187"/>
                  <a:pt x="447998" y="228489"/>
                  <a:pt x="450850" y="225954"/>
                </a:cubicBezTo>
                <a:cubicBezTo>
                  <a:pt x="457562" y="219988"/>
                  <a:pt x="469900" y="206904"/>
                  <a:pt x="469900" y="206904"/>
                </a:cubicBezTo>
                <a:cubicBezTo>
                  <a:pt x="470958" y="203729"/>
                  <a:pt x="471450" y="200305"/>
                  <a:pt x="473075" y="197379"/>
                </a:cubicBezTo>
                <a:cubicBezTo>
                  <a:pt x="476781" y="190708"/>
                  <a:pt x="481542" y="184679"/>
                  <a:pt x="485775" y="178329"/>
                </a:cubicBezTo>
                <a:cubicBezTo>
                  <a:pt x="487892" y="175154"/>
                  <a:pt x="489427" y="171502"/>
                  <a:pt x="492125" y="168804"/>
                </a:cubicBezTo>
                <a:lnTo>
                  <a:pt x="501650" y="159279"/>
                </a:lnTo>
                <a:cubicBezTo>
                  <a:pt x="502708" y="144462"/>
                  <a:pt x="503089" y="129582"/>
                  <a:pt x="504825" y="114829"/>
                </a:cubicBezTo>
                <a:cubicBezTo>
                  <a:pt x="505216" y="111505"/>
                  <a:pt x="507630" y="108630"/>
                  <a:pt x="508000" y="105304"/>
                </a:cubicBezTo>
                <a:cubicBezTo>
                  <a:pt x="509757" y="89491"/>
                  <a:pt x="509509" y="73502"/>
                  <a:pt x="511175" y="57679"/>
                </a:cubicBezTo>
                <a:cubicBezTo>
                  <a:pt x="512002" y="49821"/>
                  <a:pt x="515393" y="42915"/>
                  <a:pt x="517525" y="35454"/>
                </a:cubicBezTo>
                <a:cubicBezTo>
                  <a:pt x="518724" y="31258"/>
                  <a:pt x="518749" y="26657"/>
                  <a:pt x="520700" y="22754"/>
                </a:cubicBezTo>
                <a:cubicBezTo>
                  <a:pt x="524113" y="15928"/>
                  <a:pt x="533400" y="3704"/>
                  <a:pt x="533400" y="3704"/>
                </a:cubicBezTo>
                <a:cubicBezTo>
                  <a:pt x="551392" y="4762"/>
                  <a:pt x="569552" y="4205"/>
                  <a:pt x="587375" y="6879"/>
                </a:cubicBezTo>
                <a:cubicBezTo>
                  <a:pt x="591149" y="7445"/>
                  <a:pt x="591079" y="0"/>
                  <a:pt x="593725" y="10054"/>
                </a:cubicBezTo>
                <a:close/>
              </a:path>
            </a:pathLst>
          </a:custGeom>
          <a:solidFill>
            <a:schemeClr val="accent3"/>
          </a:solidFill>
          <a:ln w="12700">
            <a:solidFill>
              <a:schemeClr val="bg1"/>
            </a:solidFill>
            <a:round/>
            <a:headEnd/>
            <a:tailEnd/>
          </a:ln>
        </p:spPr>
        <p:txBody>
          <a:bodyPr/>
          <a:lstStyle/>
          <a:p>
            <a:endParaRPr lang="en-GB"/>
          </a:p>
        </p:txBody>
      </p:sp>
      <p:sp>
        <p:nvSpPr>
          <p:cNvPr id="94" name="Freeform 359"/>
          <p:cNvSpPr>
            <a:spLocks noChangeArrowheads="1"/>
          </p:cNvSpPr>
          <p:nvPr>
            <p:custDataLst>
              <p:tags r:id="rId75"/>
            </p:custDataLst>
          </p:nvPr>
        </p:nvSpPr>
        <p:spPr bwMode="auto">
          <a:xfrm>
            <a:off x="7755467" y="4230265"/>
            <a:ext cx="642407" cy="735772"/>
          </a:xfrm>
          <a:custGeom>
            <a:avLst/>
            <a:gdLst>
              <a:gd name="T0" fmla="*/ 0 w 765001"/>
              <a:gd name="T1" fmla="*/ 0 h 876121"/>
              <a:gd name="T2" fmla="*/ 765001 w 765001"/>
              <a:gd name="T3" fmla="*/ 876121 h 876121"/>
            </a:gdLst>
            <a:ahLst/>
            <a:cxnLst/>
            <a:rect l="T0" t="T1" r="T2" b="T3"/>
            <a:pathLst>
              <a:path w="765001" h="876121">
                <a:moveTo>
                  <a:pt x="25400" y="174625"/>
                </a:moveTo>
                <a:cubicBezTo>
                  <a:pt x="26458" y="174096"/>
                  <a:pt x="38511" y="162760"/>
                  <a:pt x="47625" y="146050"/>
                </a:cubicBezTo>
                <a:cubicBezTo>
                  <a:pt x="50354" y="141047"/>
                  <a:pt x="51858" y="135467"/>
                  <a:pt x="53975" y="130175"/>
                </a:cubicBezTo>
                <a:cubicBezTo>
                  <a:pt x="49758" y="94332"/>
                  <a:pt x="59499" y="81053"/>
                  <a:pt x="34925" y="63500"/>
                </a:cubicBezTo>
                <a:cubicBezTo>
                  <a:pt x="32202" y="61555"/>
                  <a:pt x="28575" y="61383"/>
                  <a:pt x="25400" y="60325"/>
                </a:cubicBezTo>
                <a:cubicBezTo>
                  <a:pt x="89" y="35014"/>
                  <a:pt x="5716" y="48264"/>
                  <a:pt x="0" y="25400"/>
                </a:cubicBezTo>
                <a:cubicBezTo>
                  <a:pt x="1058" y="21167"/>
                  <a:pt x="1010" y="16489"/>
                  <a:pt x="3175" y="12700"/>
                </a:cubicBezTo>
                <a:cubicBezTo>
                  <a:pt x="10061" y="650"/>
                  <a:pt x="16055" y="2504"/>
                  <a:pt x="28575" y="0"/>
                </a:cubicBezTo>
                <a:cubicBezTo>
                  <a:pt x="34925" y="1058"/>
                  <a:pt x="41648" y="784"/>
                  <a:pt x="47625" y="3175"/>
                </a:cubicBezTo>
                <a:cubicBezTo>
                  <a:pt x="52538" y="5140"/>
                  <a:pt x="56343" y="9215"/>
                  <a:pt x="60325" y="12700"/>
                </a:cubicBezTo>
                <a:cubicBezTo>
                  <a:pt x="64831" y="16642"/>
                  <a:pt x="69704" y="20419"/>
                  <a:pt x="73025" y="25400"/>
                </a:cubicBezTo>
                <a:cubicBezTo>
                  <a:pt x="80263" y="36257"/>
                  <a:pt x="83364" y="50162"/>
                  <a:pt x="92075" y="60325"/>
                </a:cubicBezTo>
                <a:cubicBezTo>
                  <a:pt x="106369" y="77002"/>
                  <a:pt x="100806" y="69850"/>
                  <a:pt x="117475" y="79375"/>
                </a:cubicBezTo>
                <a:cubicBezTo>
                  <a:pt x="139668" y="92057"/>
                  <a:pt x="111619" y="79572"/>
                  <a:pt x="142875" y="92075"/>
                </a:cubicBezTo>
                <a:cubicBezTo>
                  <a:pt x="146050" y="95250"/>
                  <a:pt x="148951" y="98725"/>
                  <a:pt x="152400" y="101600"/>
                </a:cubicBezTo>
                <a:cubicBezTo>
                  <a:pt x="155331" y="104043"/>
                  <a:pt x="159358" y="105126"/>
                  <a:pt x="161925" y="107950"/>
                </a:cubicBezTo>
                <a:cubicBezTo>
                  <a:pt x="170042" y="116879"/>
                  <a:pt x="184150" y="136525"/>
                  <a:pt x="184150" y="136525"/>
                </a:cubicBezTo>
                <a:cubicBezTo>
                  <a:pt x="185208" y="139700"/>
                  <a:pt x="185828" y="143057"/>
                  <a:pt x="187325" y="146050"/>
                </a:cubicBezTo>
                <a:cubicBezTo>
                  <a:pt x="191650" y="154700"/>
                  <a:pt x="207466" y="172521"/>
                  <a:pt x="212725" y="174625"/>
                </a:cubicBezTo>
                <a:cubicBezTo>
                  <a:pt x="231707" y="182218"/>
                  <a:pt x="223193" y="179173"/>
                  <a:pt x="238125" y="184150"/>
                </a:cubicBezTo>
                <a:cubicBezTo>
                  <a:pt x="274354" y="220379"/>
                  <a:pt x="228546" y="175768"/>
                  <a:pt x="263525" y="206375"/>
                </a:cubicBezTo>
                <a:cubicBezTo>
                  <a:pt x="268031" y="210317"/>
                  <a:pt x="271719" y="215133"/>
                  <a:pt x="276225" y="219075"/>
                </a:cubicBezTo>
                <a:cubicBezTo>
                  <a:pt x="279432" y="221881"/>
                  <a:pt x="293569" y="232161"/>
                  <a:pt x="298450" y="234950"/>
                </a:cubicBezTo>
                <a:cubicBezTo>
                  <a:pt x="302559" y="237298"/>
                  <a:pt x="306800" y="239436"/>
                  <a:pt x="311150" y="241300"/>
                </a:cubicBezTo>
                <a:cubicBezTo>
                  <a:pt x="323003" y="246380"/>
                  <a:pt x="320739" y="242401"/>
                  <a:pt x="333375" y="250825"/>
                </a:cubicBezTo>
                <a:cubicBezTo>
                  <a:pt x="342181" y="256696"/>
                  <a:pt x="350308" y="263525"/>
                  <a:pt x="358775" y="269875"/>
                </a:cubicBezTo>
                <a:cubicBezTo>
                  <a:pt x="361651" y="272032"/>
                  <a:pt x="376357" y="283429"/>
                  <a:pt x="381000" y="285750"/>
                </a:cubicBezTo>
                <a:cubicBezTo>
                  <a:pt x="393272" y="291886"/>
                  <a:pt x="395408" y="291153"/>
                  <a:pt x="406400" y="295275"/>
                </a:cubicBezTo>
                <a:cubicBezTo>
                  <a:pt x="411736" y="297276"/>
                  <a:pt x="416919" y="299677"/>
                  <a:pt x="422275" y="301625"/>
                </a:cubicBezTo>
                <a:cubicBezTo>
                  <a:pt x="428565" y="303912"/>
                  <a:pt x="434975" y="305858"/>
                  <a:pt x="441325" y="307975"/>
                </a:cubicBezTo>
                <a:cubicBezTo>
                  <a:pt x="444500" y="309033"/>
                  <a:pt x="447857" y="309653"/>
                  <a:pt x="450850" y="311150"/>
                </a:cubicBezTo>
                <a:cubicBezTo>
                  <a:pt x="455083" y="313267"/>
                  <a:pt x="459441" y="315152"/>
                  <a:pt x="463550" y="317500"/>
                </a:cubicBezTo>
                <a:cubicBezTo>
                  <a:pt x="479493" y="326610"/>
                  <a:pt x="466586" y="321976"/>
                  <a:pt x="485775" y="330200"/>
                </a:cubicBezTo>
                <a:cubicBezTo>
                  <a:pt x="496139" y="334642"/>
                  <a:pt x="497470" y="332203"/>
                  <a:pt x="508000" y="339725"/>
                </a:cubicBezTo>
                <a:cubicBezTo>
                  <a:pt x="518019" y="346882"/>
                  <a:pt x="518658" y="352859"/>
                  <a:pt x="527050" y="361950"/>
                </a:cubicBezTo>
                <a:cubicBezTo>
                  <a:pt x="536187" y="371848"/>
                  <a:pt x="555625" y="390525"/>
                  <a:pt x="555625" y="390525"/>
                </a:cubicBezTo>
                <a:cubicBezTo>
                  <a:pt x="511831" y="419721"/>
                  <a:pt x="556784" y="389243"/>
                  <a:pt x="523875" y="412750"/>
                </a:cubicBezTo>
                <a:cubicBezTo>
                  <a:pt x="520770" y="414968"/>
                  <a:pt x="517247" y="416617"/>
                  <a:pt x="514350" y="419100"/>
                </a:cubicBezTo>
                <a:cubicBezTo>
                  <a:pt x="489719" y="440213"/>
                  <a:pt x="510856" y="423176"/>
                  <a:pt x="495300" y="441325"/>
                </a:cubicBezTo>
                <a:cubicBezTo>
                  <a:pt x="472549" y="467868"/>
                  <a:pt x="491543" y="439120"/>
                  <a:pt x="473075" y="469900"/>
                </a:cubicBezTo>
                <a:cubicBezTo>
                  <a:pt x="474638" y="479279"/>
                  <a:pt x="476267" y="492177"/>
                  <a:pt x="479425" y="501650"/>
                </a:cubicBezTo>
                <a:cubicBezTo>
                  <a:pt x="486135" y="521780"/>
                  <a:pt x="484491" y="511444"/>
                  <a:pt x="488950" y="527050"/>
                </a:cubicBezTo>
                <a:cubicBezTo>
                  <a:pt x="495259" y="549131"/>
                  <a:pt x="489502" y="533262"/>
                  <a:pt x="495300" y="565150"/>
                </a:cubicBezTo>
                <a:cubicBezTo>
                  <a:pt x="495899" y="568443"/>
                  <a:pt x="496619" y="571890"/>
                  <a:pt x="498475" y="574675"/>
                </a:cubicBezTo>
                <a:cubicBezTo>
                  <a:pt x="516671" y="601968"/>
                  <a:pt x="514238" y="598404"/>
                  <a:pt x="533400" y="612775"/>
                </a:cubicBezTo>
                <a:cubicBezTo>
                  <a:pt x="540564" y="634267"/>
                  <a:pt x="530469" y="612449"/>
                  <a:pt x="546100" y="625475"/>
                </a:cubicBezTo>
                <a:cubicBezTo>
                  <a:pt x="550165" y="628863"/>
                  <a:pt x="551883" y="634433"/>
                  <a:pt x="555625" y="638175"/>
                </a:cubicBezTo>
                <a:cubicBezTo>
                  <a:pt x="558323" y="640873"/>
                  <a:pt x="562219" y="642082"/>
                  <a:pt x="565150" y="644525"/>
                </a:cubicBezTo>
                <a:cubicBezTo>
                  <a:pt x="581005" y="657738"/>
                  <a:pt x="567461" y="651645"/>
                  <a:pt x="584200" y="657225"/>
                </a:cubicBezTo>
                <a:cubicBezTo>
                  <a:pt x="606255" y="673766"/>
                  <a:pt x="587186" y="660648"/>
                  <a:pt x="609600" y="673100"/>
                </a:cubicBezTo>
                <a:cubicBezTo>
                  <a:pt x="614995" y="676097"/>
                  <a:pt x="619857" y="680071"/>
                  <a:pt x="625475" y="682625"/>
                </a:cubicBezTo>
                <a:cubicBezTo>
                  <a:pt x="631569" y="685395"/>
                  <a:pt x="638310" y="686489"/>
                  <a:pt x="644525" y="688975"/>
                </a:cubicBezTo>
                <a:cubicBezTo>
                  <a:pt x="648919" y="690733"/>
                  <a:pt x="652916" y="693366"/>
                  <a:pt x="657225" y="695325"/>
                </a:cubicBezTo>
                <a:cubicBezTo>
                  <a:pt x="664563" y="698660"/>
                  <a:pt x="672112" y="701515"/>
                  <a:pt x="679450" y="704850"/>
                </a:cubicBezTo>
                <a:cubicBezTo>
                  <a:pt x="683759" y="706809"/>
                  <a:pt x="687584" y="709955"/>
                  <a:pt x="692150" y="711200"/>
                </a:cubicBezTo>
                <a:cubicBezTo>
                  <a:pt x="699370" y="713169"/>
                  <a:pt x="706993" y="713145"/>
                  <a:pt x="714375" y="714375"/>
                </a:cubicBezTo>
                <a:cubicBezTo>
                  <a:pt x="719698" y="715262"/>
                  <a:pt x="724958" y="716492"/>
                  <a:pt x="730250" y="717550"/>
                </a:cubicBezTo>
                <a:cubicBezTo>
                  <a:pt x="735542" y="720725"/>
                  <a:pt x="741440" y="723059"/>
                  <a:pt x="746125" y="727075"/>
                </a:cubicBezTo>
                <a:cubicBezTo>
                  <a:pt x="751870" y="731999"/>
                  <a:pt x="753428" y="739458"/>
                  <a:pt x="755650" y="746125"/>
                </a:cubicBezTo>
                <a:cubicBezTo>
                  <a:pt x="748248" y="812747"/>
                  <a:pt x="765001" y="747823"/>
                  <a:pt x="663575" y="777875"/>
                </a:cubicBezTo>
                <a:cubicBezTo>
                  <a:pt x="656400" y="780001"/>
                  <a:pt x="663653" y="793287"/>
                  <a:pt x="666750" y="800100"/>
                </a:cubicBezTo>
                <a:cubicBezTo>
                  <a:pt x="669227" y="805550"/>
                  <a:pt x="675508" y="808294"/>
                  <a:pt x="679450" y="812800"/>
                </a:cubicBezTo>
                <a:cubicBezTo>
                  <a:pt x="684963" y="819101"/>
                  <a:pt x="690583" y="827913"/>
                  <a:pt x="695325" y="835025"/>
                </a:cubicBezTo>
                <a:cubicBezTo>
                  <a:pt x="694267" y="846667"/>
                  <a:pt x="700416" y="861684"/>
                  <a:pt x="692150" y="869950"/>
                </a:cubicBezTo>
                <a:cubicBezTo>
                  <a:pt x="685979" y="876121"/>
                  <a:pt x="674896" y="866733"/>
                  <a:pt x="666750" y="863600"/>
                </a:cubicBezTo>
                <a:cubicBezTo>
                  <a:pt x="655377" y="859226"/>
                  <a:pt x="651203" y="853099"/>
                  <a:pt x="641350" y="847725"/>
                </a:cubicBezTo>
                <a:cubicBezTo>
                  <a:pt x="633040" y="843192"/>
                  <a:pt x="622643" y="841718"/>
                  <a:pt x="615950" y="835025"/>
                </a:cubicBezTo>
                <a:lnTo>
                  <a:pt x="593725" y="812800"/>
                </a:lnTo>
                <a:lnTo>
                  <a:pt x="584200" y="803275"/>
                </a:lnTo>
                <a:cubicBezTo>
                  <a:pt x="572134" y="773110"/>
                  <a:pt x="585069" y="799404"/>
                  <a:pt x="568325" y="777875"/>
                </a:cubicBezTo>
                <a:cubicBezTo>
                  <a:pt x="558954" y="765827"/>
                  <a:pt x="552083" y="751986"/>
                  <a:pt x="542925" y="739775"/>
                </a:cubicBezTo>
                <a:cubicBezTo>
                  <a:pt x="539750" y="735542"/>
                  <a:pt x="536205" y="731562"/>
                  <a:pt x="533400" y="727075"/>
                </a:cubicBezTo>
                <a:cubicBezTo>
                  <a:pt x="530892" y="723061"/>
                  <a:pt x="529349" y="718512"/>
                  <a:pt x="527050" y="714375"/>
                </a:cubicBezTo>
                <a:cubicBezTo>
                  <a:pt x="524053" y="708980"/>
                  <a:pt x="520079" y="704118"/>
                  <a:pt x="517525" y="698500"/>
                </a:cubicBezTo>
                <a:cubicBezTo>
                  <a:pt x="514755" y="692406"/>
                  <a:pt x="514168" y="685437"/>
                  <a:pt x="511175" y="679450"/>
                </a:cubicBezTo>
                <a:cubicBezTo>
                  <a:pt x="496454" y="650008"/>
                  <a:pt x="491553" y="661754"/>
                  <a:pt x="466725" y="628650"/>
                </a:cubicBezTo>
                <a:cubicBezTo>
                  <a:pt x="463550" y="624417"/>
                  <a:pt x="460644" y="619968"/>
                  <a:pt x="457200" y="615950"/>
                </a:cubicBezTo>
                <a:cubicBezTo>
                  <a:pt x="454278" y="612541"/>
                  <a:pt x="450597" y="609834"/>
                  <a:pt x="447675" y="606425"/>
                </a:cubicBezTo>
                <a:cubicBezTo>
                  <a:pt x="444231" y="602407"/>
                  <a:pt x="441635" y="597707"/>
                  <a:pt x="438150" y="593725"/>
                </a:cubicBezTo>
                <a:cubicBezTo>
                  <a:pt x="434208" y="589219"/>
                  <a:pt x="429392" y="585531"/>
                  <a:pt x="425450" y="581025"/>
                </a:cubicBezTo>
                <a:cubicBezTo>
                  <a:pt x="421965" y="577043"/>
                  <a:pt x="419803" y="571926"/>
                  <a:pt x="415925" y="568325"/>
                </a:cubicBezTo>
                <a:cubicBezTo>
                  <a:pt x="404903" y="558090"/>
                  <a:pt x="381000" y="539750"/>
                  <a:pt x="381000" y="539750"/>
                </a:cubicBezTo>
                <a:cubicBezTo>
                  <a:pt x="365705" y="514259"/>
                  <a:pt x="374406" y="527317"/>
                  <a:pt x="349250" y="495300"/>
                </a:cubicBezTo>
                <a:cubicBezTo>
                  <a:pt x="345063" y="489971"/>
                  <a:pt x="336550" y="479425"/>
                  <a:pt x="336550" y="479425"/>
                </a:cubicBezTo>
                <a:cubicBezTo>
                  <a:pt x="334433" y="473075"/>
                  <a:pt x="333451" y="466226"/>
                  <a:pt x="330200" y="460375"/>
                </a:cubicBezTo>
                <a:cubicBezTo>
                  <a:pt x="328019" y="456450"/>
                  <a:pt x="323632" y="454229"/>
                  <a:pt x="320675" y="450850"/>
                </a:cubicBezTo>
                <a:cubicBezTo>
                  <a:pt x="316213" y="445750"/>
                  <a:pt x="311527" y="440746"/>
                  <a:pt x="307975" y="434975"/>
                </a:cubicBezTo>
                <a:cubicBezTo>
                  <a:pt x="291879" y="408819"/>
                  <a:pt x="299460" y="407410"/>
                  <a:pt x="276225" y="384175"/>
                </a:cubicBezTo>
                <a:cubicBezTo>
                  <a:pt x="266379" y="374329"/>
                  <a:pt x="262485" y="369237"/>
                  <a:pt x="250825" y="361950"/>
                </a:cubicBezTo>
                <a:cubicBezTo>
                  <a:pt x="233820" y="351322"/>
                  <a:pt x="224623" y="354798"/>
                  <a:pt x="206375" y="336550"/>
                </a:cubicBezTo>
                <a:cubicBezTo>
                  <a:pt x="203200" y="333375"/>
                  <a:pt x="200259" y="329947"/>
                  <a:pt x="196850" y="327025"/>
                </a:cubicBezTo>
                <a:cubicBezTo>
                  <a:pt x="186474" y="318131"/>
                  <a:pt x="184676" y="318329"/>
                  <a:pt x="174625" y="311150"/>
                </a:cubicBezTo>
                <a:cubicBezTo>
                  <a:pt x="147058" y="291459"/>
                  <a:pt x="174848" y="310240"/>
                  <a:pt x="152400" y="295275"/>
                </a:cubicBezTo>
                <a:cubicBezTo>
                  <a:pt x="150283" y="292100"/>
                  <a:pt x="148981" y="288193"/>
                  <a:pt x="146050" y="285750"/>
                </a:cubicBezTo>
                <a:cubicBezTo>
                  <a:pt x="115870" y="260600"/>
                  <a:pt x="151388" y="300613"/>
                  <a:pt x="120650" y="269875"/>
                </a:cubicBezTo>
                <a:cubicBezTo>
                  <a:pt x="116908" y="266133"/>
                  <a:pt x="115080" y="260691"/>
                  <a:pt x="111125" y="257175"/>
                </a:cubicBezTo>
                <a:cubicBezTo>
                  <a:pt x="105421" y="252105"/>
                  <a:pt x="92075" y="244475"/>
                  <a:pt x="92075" y="244475"/>
                </a:cubicBezTo>
                <a:lnTo>
                  <a:pt x="79375" y="225425"/>
                </a:lnTo>
                <a:cubicBezTo>
                  <a:pt x="77258" y="222250"/>
                  <a:pt x="75723" y="218598"/>
                  <a:pt x="73025" y="215900"/>
                </a:cubicBezTo>
                <a:cubicBezTo>
                  <a:pt x="51277" y="194152"/>
                  <a:pt x="61447" y="201831"/>
                  <a:pt x="44450" y="190500"/>
                </a:cubicBezTo>
                <a:cubicBezTo>
                  <a:pt x="33858" y="174612"/>
                  <a:pt x="33099" y="177840"/>
                  <a:pt x="41275" y="149225"/>
                </a:cubicBezTo>
                <a:cubicBezTo>
                  <a:pt x="42729" y="144137"/>
                  <a:pt x="24342" y="175154"/>
                  <a:pt x="25400" y="174625"/>
                </a:cubicBezTo>
                <a:close/>
              </a:path>
            </a:pathLst>
          </a:custGeom>
          <a:solidFill>
            <a:schemeClr val="accent3"/>
          </a:solidFill>
          <a:ln w="12700">
            <a:solidFill>
              <a:schemeClr val="bg1"/>
            </a:solidFill>
            <a:round/>
            <a:headEnd/>
            <a:tailEnd/>
          </a:ln>
        </p:spPr>
        <p:txBody>
          <a:bodyPr/>
          <a:lstStyle/>
          <a:p>
            <a:endParaRPr lang="en-GB"/>
          </a:p>
        </p:txBody>
      </p:sp>
      <p:sp>
        <p:nvSpPr>
          <p:cNvPr id="104" name="Freeform 192"/>
          <p:cNvSpPr>
            <a:spLocks noChangeArrowheads="1"/>
          </p:cNvSpPr>
          <p:nvPr>
            <p:custDataLst>
              <p:tags r:id="rId76"/>
            </p:custDataLst>
          </p:nvPr>
        </p:nvSpPr>
        <p:spPr bwMode="auto">
          <a:xfrm>
            <a:off x="806048" y="5000875"/>
            <a:ext cx="121235" cy="188123"/>
          </a:xfrm>
          <a:custGeom>
            <a:avLst/>
            <a:gdLst>
              <a:gd name="T0" fmla="*/ 28353 w 138370"/>
              <a:gd name="T1" fmla="*/ 204787 h 214312"/>
              <a:gd name="T2" fmla="*/ 51768 w 138370"/>
              <a:gd name="T3" fmla="*/ 176212 h 214312"/>
              <a:gd name="T4" fmla="*/ 65818 w 138370"/>
              <a:gd name="T5" fmla="*/ 166687 h 214312"/>
              <a:gd name="T6" fmla="*/ 70501 w 138370"/>
              <a:gd name="T7" fmla="*/ 152400 h 214312"/>
              <a:gd name="T8" fmla="*/ 75184 w 138370"/>
              <a:gd name="T9" fmla="*/ 166687 h 214312"/>
              <a:gd name="T10" fmla="*/ 84551 w 138370"/>
              <a:gd name="T11" fmla="*/ 185737 h 214312"/>
              <a:gd name="T12" fmla="*/ 103284 w 138370"/>
              <a:gd name="T13" fmla="*/ 214312 h 214312"/>
              <a:gd name="T14" fmla="*/ 117332 w 138370"/>
              <a:gd name="T15" fmla="*/ 209550 h 214312"/>
              <a:gd name="T16" fmla="*/ 136064 w 138370"/>
              <a:gd name="T17" fmla="*/ 180975 h 214312"/>
              <a:gd name="T18" fmla="*/ 131383 w 138370"/>
              <a:gd name="T19" fmla="*/ 104775 h 214312"/>
              <a:gd name="T20" fmla="*/ 117332 w 138370"/>
              <a:gd name="T21" fmla="*/ 57150 h 214312"/>
              <a:gd name="T22" fmla="*/ 107966 w 138370"/>
              <a:gd name="T23" fmla="*/ 28575 h 214312"/>
              <a:gd name="T24" fmla="*/ 75184 w 138370"/>
              <a:gd name="T25" fmla="*/ 14287 h 214312"/>
              <a:gd name="T26" fmla="*/ 47086 w 138370"/>
              <a:gd name="T27" fmla="*/ 0 h 214312"/>
              <a:gd name="T28" fmla="*/ 33035 w 138370"/>
              <a:gd name="T29" fmla="*/ 4762 h 214312"/>
              <a:gd name="T30" fmla="*/ 28353 w 138370"/>
              <a:gd name="T31" fmla="*/ 19050 h 214312"/>
              <a:gd name="T32" fmla="*/ 61135 w 138370"/>
              <a:gd name="T33" fmla="*/ 38100 h 214312"/>
              <a:gd name="T34" fmla="*/ 75184 w 138370"/>
              <a:gd name="T35" fmla="*/ 47625 h 214312"/>
              <a:gd name="T36" fmla="*/ 61135 w 138370"/>
              <a:gd name="T37" fmla="*/ 95250 h 214312"/>
              <a:gd name="T38" fmla="*/ 56452 w 138370"/>
              <a:gd name="T39" fmla="*/ 109537 h 214312"/>
              <a:gd name="T40" fmla="*/ 23669 w 138370"/>
              <a:gd name="T41" fmla="*/ 119062 h 214312"/>
              <a:gd name="T42" fmla="*/ 9621 w 138370"/>
              <a:gd name="T43" fmla="*/ 133350 h 214312"/>
              <a:gd name="T44" fmla="*/ 9621 w 138370"/>
              <a:gd name="T45" fmla="*/ 190500 h 214312"/>
              <a:gd name="T46" fmla="*/ 28353 w 138370"/>
              <a:gd name="T47" fmla="*/ 204787 h 2143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8370"/>
              <a:gd name="T73" fmla="*/ 0 h 214312"/>
              <a:gd name="T74" fmla="*/ 138370 w 138370"/>
              <a:gd name="T75" fmla="*/ 214312 h 2143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8370" h="214312">
                <a:moveTo>
                  <a:pt x="28833" y="204787"/>
                </a:moveTo>
                <a:cubicBezTo>
                  <a:pt x="35977" y="202406"/>
                  <a:pt x="38896" y="187669"/>
                  <a:pt x="52645" y="176212"/>
                </a:cubicBezTo>
                <a:cubicBezTo>
                  <a:pt x="57042" y="172548"/>
                  <a:pt x="62170" y="169862"/>
                  <a:pt x="66933" y="166687"/>
                </a:cubicBezTo>
                <a:cubicBezTo>
                  <a:pt x="68520" y="161925"/>
                  <a:pt x="66675" y="152400"/>
                  <a:pt x="71695" y="152400"/>
                </a:cubicBezTo>
                <a:cubicBezTo>
                  <a:pt x="76715" y="152400"/>
                  <a:pt x="74480" y="162073"/>
                  <a:pt x="76458" y="166687"/>
                </a:cubicBezTo>
                <a:cubicBezTo>
                  <a:pt x="79255" y="173212"/>
                  <a:pt x="82330" y="179649"/>
                  <a:pt x="85983" y="185737"/>
                </a:cubicBezTo>
                <a:cubicBezTo>
                  <a:pt x="91873" y="195553"/>
                  <a:pt x="105033" y="214312"/>
                  <a:pt x="105033" y="214312"/>
                </a:cubicBezTo>
                <a:cubicBezTo>
                  <a:pt x="109795" y="212725"/>
                  <a:pt x="115770" y="213100"/>
                  <a:pt x="119320" y="209550"/>
                </a:cubicBezTo>
                <a:cubicBezTo>
                  <a:pt x="127415" y="201455"/>
                  <a:pt x="138370" y="180975"/>
                  <a:pt x="138370" y="180975"/>
                </a:cubicBezTo>
                <a:cubicBezTo>
                  <a:pt x="136783" y="155575"/>
                  <a:pt x="136140" y="130098"/>
                  <a:pt x="133608" y="104775"/>
                </a:cubicBezTo>
                <a:cubicBezTo>
                  <a:pt x="132580" y="94496"/>
                  <a:pt x="121450" y="63540"/>
                  <a:pt x="119320" y="57150"/>
                </a:cubicBezTo>
                <a:cubicBezTo>
                  <a:pt x="119319" y="57148"/>
                  <a:pt x="109797" y="28577"/>
                  <a:pt x="109795" y="28575"/>
                </a:cubicBezTo>
                <a:cubicBezTo>
                  <a:pt x="90062" y="15419"/>
                  <a:pt x="101061" y="20438"/>
                  <a:pt x="76458" y="14287"/>
                </a:cubicBezTo>
                <a:cubicBezTo>
                  <a:pt x="69234" y="9471"/>
                  <a:pt x="57742" y="0"/>
                  <a:pt x="47883" y="0"/>
                </a:cubicBezTo>
                <a:cubicBezTo>
                  <a:pt x="42863" y="0"/>
                  <a:pt x="38358" y="3175"/>
                  <a:pt x="33595" y="4762"/>
                </a:cubicBezTo>
                <a:cubicBezTo>
                  <a:pt x="32008" y="9525"/>
                  <a:pt x="28008" y="14098"/>
                  <a:pt x="28833" y="19050"/>
                </a:cubicBezTo>
                <a:cubicBezTo>
                  <a:pt x="31974" y="37897"/>
                  <a:pt x="48123" y="35290"/>
                  <a:pt x="62170" y="38100"/>
                </a:cubicBezTo>
                <a:cubicBezTo>
                  <a:pt x="66933" y="41275"/>
                  <a:pt x="75216" y="42037"/>
                  <a:pt x="76458" y="47625"/>
                </a:cubicBezTo>
                <a:cubicBezTo>
                  <a:pt x="81565" y="70608"/>
                  <a:pt x="72476" y="79791"/>
                  <a:pt x="62170" y="95250"/>
                </a:cubicBezTo>
                <a:cubicBezTo>
                  <a:pt x="60583" y="100012"/>
                  <a:pt x="60958" y="105987"/>
                  <a:pt x="57408" y="109537"/>
                </a:cubicBezTo>
                <a:cubicBezTo>
                  <a:pt x="55129" y="111816"/>
                  <a:pt x="24237" y="119020"/>
                  <a:pt x="24070" y="119062"/>
                </a:cubicBezTo>
                <a:cubicBezTo>
                  <a:pt x="19308" y="123825"/>
                  <a:pt x="13519" y="127746"/>
                  <a:pt x="9783" y="133350"/>
                </a:cubicBezTo>
                <a:cubicBezTo>
                  <a:pt x="0" y="148024"/>
                  <a:pt x="5820" y="180593"/>
                  <a:pt x="9783" y="190500"/>
                </a:cubicBezTo>
                <a:cubicBezTo>
                  <a:pt x="12089" y="196266"/>
                  <a:pt x="21689" y="207168"/>
                  <a:pt x="28833" y="204787"/>
                </a:cubicBezTo>
                <a:close/>
              </a:path>
            </a:pathLst>
          </a:custGeom>
          <a:solidFill>
            <a:schemeClr val="accent3"/>
          </a:solidFill>
          <a:ln w="12700">
            <a:solidFill>
              <a:schemeClr val="bg1"/>
            </a:solidFill>
            <a:round/>
            <a:headEnd/>
            <a:tailEnd/>
          </a:ln>
        </p:spPr>
        <p:txBody>
          <a:bodyPr/>
          <a:lstStyle/>
          <a:p>
            <a:endParaRPr lang="nl-NL"/>
          </a:p>
        </p:txBody>
      </p:sp>
      <p:sp>
        <p:nvSpPr>
          <p:cNvPr id="105" name="Freeform 129"/>
          <p:cNvSpPr>
            <a:spLocks noChangeArrowheads="1"/>
          </p:cNvSpPr>
          <p:nvPr>
            <p:custDataLst>
              <p:tags r:id="rId77"/>
            </p:custDataLst>
          </p:nvPr>
        </p:nvSpPr>
        <p:spPr bwMode="auto">
          <a:xfrm>
            <a:off x="7469799" y="5083092"/>
            <a:ext cx="342803" cy="334442"/>
          </a:xfrm>
          <a:custGeom>
            <a:avLst/>
            <a:gdLst>
              <a:gd name="T0" fmla="*/ 0 w 389784"/>
              <a:gd name="T1" fmla="*/ 0 h 381000"/>
              <a:gd name="T2" fmla="*/ 389784 w 389784"/>
              <a:gd name="T3" fmla="*/ 381000 h 381000"/>
            </a:gdLst>
            <a:ahLst/>
            <a:cxnLst/>
            <a:rect l="T0" t="T1" r="T2" b="T3"/>
            <a:pathLst>
              <a:path w="389784" h="381000">
                <a:moveTo>
                  <a:pt x="14298" y="154782"/>
                </a:moveTo>
                <a:cubicBezTo>
                  <a:pt x="14695" y="152401"/>
                  <a:pt x="16428" y="148520"/>
                  <a:pt x="16679" y="145257"/>
                </a:cubicBezTo>
                <a:cubicBezTo>
                  <a:pt x="21757" y="79243"/>
                  <a:pt x="0" y="93990"/>
                  <a:pt x="59542" y="90488"/>
                </a:cubicBezTo>
                <a:cubicBezTo>
                  <a:pt x="60362" y="83925"/>
                  <a:pt x="60634" y="71634"/>
                  <a:pt x="64304" y="64294"/>
                </a:cubicBezTo>
                <a:cubicBezTo>
                  <a:pt x="65584" y="61734"/>
                  <a:pt x="66832" y="58938"/>
                  <a:pt x="69067" y="57150"/>
                </a:cubicBezTo>
                <a:cubicBezTo>
                  <a:pt x="71027" y="55582"/>
                  <a:pt x="73730" y="55151"/>
                  <a:pt x="76211" y="54769"/>
                </a:cubicBezTo>
                <a:cubicBezTo>
                  <a:pt x="84095" y="53556"/>
                  <a:pt x="92086" y="53182"/>
                  <a:pt x="100023" y="52388"/>
                </a:cubicBezTo>
                <a:cubicBezTo>
                  <a:pt x="111343" y="44840"/>
                  <a:pt x="104452" y="48530"/>
                  <a:pt x="121454" y="42863"/>
                </a:cubicBezTo>
                <a:lnTo>
                  <a:pt x="128598" y="40482"/>
                </a:lnTo>
                <a:cubicBezTo>
                  <a:pt x="143547" y="30515"/>
                  <a:pt x="133382" y="35153"/>
                  <a:pt x="164317" y="38100"/>
                </a:cubicBezTo>
                <a:cubicBezTo>
                  <a:pt x="182303" y="39813"/>
                  <a:pt x="185678" y="40472"/>
                  <a:pt x="202417" y="42863"/>
                </a:cubicBezTo>
                <a:cubicBezTo>
                  <a:pt x="211199" y="45790"/>
                  <a:pt x="210650" y="46920"/>
                  <a:pt x="221467" y="42863"/>
                </a:cubicBezTo>
                <a:cubicBezTo>
                  <a:pt x="224147" y="41858"/>
                  <a:pt x="226051" y="39380"/>
                  <a:pt x="228611" y="38100"/>
                </a:cubicBezTo>
                <a:cubicBezTo>
                  <a:pt x="239350" y="32730"/>
                  <a:pt x="232661" y="39487"/>
                  <a:pt x="242898" y="30957"/>
                </a:cubicBezTo>
                <a:cubicBezTo>
                  <a:pt x="245485" y="28801"/>
                  <a:pt x="247384" y="25881"/>
                  <a:pt x="250042" y="23813"/>
                </a:cubicBezTo>
                <a:cubicBezTo>
                  <a:pt x="254560" y="20299"/>
                  <a:pt x="259567" y="17463"/>
                  <a:pt x="264329" y="14288"/>
                </a:cubicBezTo>
                <a:cubicBezTo>
                  <a:pt x="266710" y="12700"/>
                  <a:pt x="269449" y="11549"/>
                  <a:pt x="271473" y="9525"/>
                </a:cubicBezTo>
                <a:cubicBezTo>
                  <a:pt x="273854" y="7144"/>
                  <a:pt x="275452" y="3533"/>
                  <a:pt x="278617" y="2382"/>
                </a:cubicBezTo>
                <a:cubicBezTo>
                  <a:pt x="284631" y="195"/>
                  <a:pt x="291317" y="794"/>
                  <a:pt x="297667" y="0"/>
                </a:cubicBezTo>
                <a:cubicBezTo>
                  <a:pt x="305604" y="794"/>
                  <a:pt x="313595" y="1169"/>
                  <a:pt x="321479" y="2382"/>
                </a:cubicBezTo>
                <a:cubicBezTo>
                  <a:pt x="323960" y="2764"/>
                  <a:pt x="326663" y="3195"/>
                  <a:pt x="328623" y="4763"/>
                </a:cubicBezTo>
                <a:cubicBezTo>
                  <a:pt x="330858" y="6551"/>
                  <a:pt x="331798" y="9526"/>
                  <a:pt x="333386" y="11907"/>
                </a:cubicBezTo>
                <a:cubicBezTo>
                  <a:pt x="334180" y="16669"/>
                  <a:pt x="333608" y="21876"/>
                  <a:pt x="335767" y="26194"/>
                </a:cubicBezTo>
                <a:cubicBezTo>
                  <a:pt x="337047" y="28754"/>
                  <a:pt x="340712" y="29125"/>
                  <a:pt x="342911" y="30957"/>
                </a:cubicBezTo>
                <a:cubicBezTo>
                  <a:pt x="349786" y="36686"/>
                  <a:pt x="350134" y="38220"/>
                  <a:pt x="354817" y="45244"/>
                </a:cubicBezTo>
                <a:cubicBezTo>
                  <a:pt x="356404" y="50007"/>
                  <a:pt x="361166" y="54769"/>
                  <a:pt x="359579" y="59532"/>
                </a:cubicBezTo>
                <a:lnTo>
                  <a:pt x="354817" y="73819"/>
                </a:lnTo>
                <a:cubicBezTo>
                  <a:pt x="355611" y="77788"/>
                  <a:pt x="354953" y="82357"/>
                  <a:pt x="357198" y="85725"/>
                </a:cubicBezTo>
                <a:cubicBezTo>
                  <a:pt x="358590" y="87814"/>
                  <a:pt x="361907" y="87498"/>
                  <a:pt x="364342" y="88107"/>
                </a:cubicBezTo>
                <a:cubicBezTo>
                  <a:pt x="368268" y="89089"/>
                  <a:pt x="372279" y="89694"/>
                  <a:pt x="376248" y="90488"/>
                </a:cubicBezTo>
                <a:cubicBezTo>
                  <a:pt x="389784" y="131091"/>
                  <a:pt x="378326" y="92159"/>
                  <a:pt x="383392" y="183357"/>
                </a:cubicBezTo>
                <a:cubicBezTo>
                  <a:pt x="383531" y="185863"/>
                  <a:pt x="385084" y="188087"/>
                  <a:pt x="385773" y="190500"/>
                </a:cubicBezTo>
                <a:cubicBezTo>
                  <a:pt x="386672" y="193647"/>
                  <a:pt x="387360" y="196850"/>
                  <a:pt x="388154" y="200025"/>
                </a:cubicBezTo>
                <a:cubicBezTo>
                  <a:pt x="387360" y="207963"/>
                  <a:pt x="388119" y="216213"/>
                  <a:pt x="385773" y="223838"/>
                </a:cubicBezTo>
                <a:cubicBezTo>
                  <a:pt x="384240" y="228820"/>
                  <a:pt x="374944" y="232670"/>
                  <a:pt x="371486" y="235744"/>
                </a:cubicBezTo>
                <a:cubicBezTo>
                  <a:pt x="366452" y="240219"/>
                  <a:pt x="363222" y="247020"/>
                  <a:pt x="357198" y="250032"/>
                </a:cubicBezTo>
                <a:cubicBezTo>
                  <a:pt x="354023" y="251619"/>
                  <a:pt x="350755" y="253033"/>
                  <a:pt x="347673" y="254794"/>
                </a:cubicBezTo>
                <a:cubicBezTo>
                  <a:pt x="345188" y="256214"/>
                  <a:pt x="343089" y="258277"/>
                  <a:pt x="340529" y="259557"/>
                </a:cubicBezTo>
                <a:cubicBezTo>
                  <a:pt x="338284" y="260679"/>
                  <a:pt x="335767" y="261144"/>
                  <a:pt x="333386" y="261938"/>
                </a:cubicBezTo>
                <a:cubicBezTo>
                  <a:pt x="317752" y="277572"/>
                  <a:pt x="334475" y="262004"/>
                  <a:pt x="302429" y="283369"/>
                </a:cubicBezTo>
                <a:cubicBezTo>
                  <a:pt x="297667" y="286544"/>
                  <a:pt x="292189" y="288847"/>
                  <a:pt x="288142" y="292894"/>
                </a:cubicBezTo>
                <a:cubicBezTo>
                  <a:pt x="285761" y="295275"/>
                  <a:pt x="283555" y="297846"/>
                  <a:pt x="280998" y="300038"/>
                </a:cubicBezTo>
                <a:cubicBezTo>
                  <a:pt x="277985" y="302621"/>
                  <a:pt x="274279" y="304376"/>
                  <a:pt x="271473" y="307182"/>
                </a:cubicBezTo>
                <a:cubicBezTo>
                  <a:pt x="250581" y="328074"/>
                  <a:pt x="288318" y="298119"/>
                  <a:pt x="257186" y="321469"/>
                </a:cubicBezTo>
                <a:cubicBezTo>
                  <a:pt x="251803" y="337612"/>
                  <a:pt x="259406" y="318360"/>
                  <a:pt x="245279" y="338138"/>
                </a:cubicBezTo>
                <a:cubicBezTo>
                  <a:pt x="243820" y="340181"/>
                  <a:pt x="244117" y="343088"/>
                  <a:pt x="242898" y="345282"/>
                </a:cubicBezTo>
                <a:cubicBezTo>
                  <a:pt x="240118" y="350285"/>
                  <a:pt x="233373" y="359569"/>
                  <a:pt x="233373" y="359569"/>
                </a:cubicBezTo>
                <a:cubicBezTo>
                  <a:pt x="231551" y="366857"/>
                  <a:pt x="231711" y="370756"/>
                  <a:pt x="226229" y="376238"/>
                </a:cubicBezTo>
                <a:cubicBezTo>
                  <a:pt x="224206" y="378261"/>
                  <a:pt x="221467" y="379413"/>
                  <a:pt x="219086" y="381000"/>
                </a:cubicBezTo>
                <a:cubicBezTo>
                  <a:pt x="213530" y="380206"/>
                  <a:pt x="207886" y="379881"/>
                  <a:pt x="202417" y="378619"/>
                </a:cubicBezTo>
                <a:cubicBezTo>
                  <a:pt x="171243" y="371426"/>
                  <a:pt x="200143" y="376264"/>
                  <a:pt x="180986" y="371475"/>
                </a:cubicBezTo>
                <a:cubicBezTo>
                  <a:pt x="177811" y="370681"/>
                  <a:pt x="174608" y="369993"/>
                  <a:pt x="171461" y="369094"/>
                </a:cubicBezTo>
                <a:cubicBezTo>
                  <a:pt x="164923" y="367226"/>
                  <a:pt x="158709" y="364470"/>
                  <a:pt x="152411" y="361950"/>
                </a:cubicBezTo>
                <a:cubicBezTo>
                  <a:pt x="131531" y="341073"/>
                  <a:pt x="158023" y="366628"/>
                  <a:pt x="138123" y="350044"/>
                </a:cubicBezTo>
                <a:cubicBezTo>
                  <a:pt x="130783" y="343927"/>
                  <a:pt x="116378" y="325603"/>
                  <a:pt x="114311" y="321469"/>
                </a:cubicBezTo>
                <a:cubicBezTo>
                  <a:pt x="112723" y="318294"/>
                  <a:pt x="110946" y="315207"/>
                  <a:pt x="109548" y="311944"/>
                </a:cubicBezTo>
                <a:cubicBezTo>
                  <a:pt x="108559" y="309637"/>
                  <a:pt x="108386" y="306994"/>
                  <a:pt x="107167" y="304800"/>
                </a:cubicBezTo>
                <a:cubicBezTo>
                  <a:pt x="104387" y="299797"/>
                  <a:pt x="100817" y="295275"/>
                  <a:pt x="97642" y="290513"/>
                </a:cubicBezTo>
                <a:cubicBezTo>
                  <a:pt x="96054" y="288132"/>
                  <a:pt x="94351" y="285823"/>
                  <a:pt x="92879" y="283369"/>
                </a:cubicBezTo>
                <a:cubicBezTo>
                  <a:pt x="90498" y="279400"/>
                  <a:pt x="88303" y="275314"/>
                  <a:pt x="85736" y="271463"/>
                </a:cubicBezTo>
                <a:cubicBezTo>
                  <a:pt x="83535" y="268161"/>
                  <a:pt x="80899" y="265167"/>
                  <a:pt x="78592" y="261938"/>
                </a:cubicBezTo>
                <a:cubicBezTo>
                  <a:pt x="76928" y="259609"/>
                  <a:pt x="75417" y="257175"/>
                  <a:pt x="73829" y="254794"/>
                </a:cubicBezTo>
                <a:cubicBezTo>
                  <a:pt x="73131" y="251302"/>
                  <a:pt x="71379" y="239982"/>
                  <a:pt x="69067" y="235744"/>
                </a:cubicBezTo>
                <a:cubicBezTo>
                  <a:pt x="65481" y="229170"/>
                  <a:pt x="63151" y="221187"/>
                  <a:pt x="57161" y="216694"/>
                </a:cubicBezTo>
                <a:lnTo>
                  <a:pt x="47636" y="209550"/>
                </a:lnTo>
                <a:cubicBezTo>
                  <a:pt x="45173" y="202163"/>
                  <a:pt x="44903" y="200235"/>
                  <a:pt x="40492" y="192882"/>
                </a:cubicBezTo>
                <a:cubicBezTo>
                  <a:pt x="37547" y="187974"/>
                  <a:pt x="32777" y="184024"/>
                  <a:pt x="30967" y="178594"/>
                </a:cubicBezTo>
                <a:cubicBezTo>
                  <a:pt x="30173" y="176213"/>
                  <a:pt x="30154" y="173410"/>
                  <a:pt x="28586" y="171450"/>
                </a:cubicBezTo>
                <a:cubicBezTo>
                  <a:pt x="26798" y="169215"/>
                  <a:pt x="23641" y="168520"/>
                  <a:pt x="21442" y="166688"/>
                </a:cubicBezTo>
                <a:cubicBezTo>
                  <a:pt x="18855" y="164532"/>
                  <a:pt x="16679" y="161925"/>
                  <a:pt x="14298" y="159544"/>
                </a:cubicBezTo>
                <a:cubicBezTo>
                  <a:pt x="17064" y="148479"/>
                  <a:pt x="13901" y="157163"/>
                  <a:pt x="14298" y="154782"/>
                </a:cubicBezTo>
                <a:close/>
              </a:path>
            </a:pathLst>
          </a:custGeom>
          <a:solidFill>
            <a:schemeClr val="accent3"/>
          </a:solidFill>
          <a:ln w="12700">
            <a:solidFill>
              <a:schemeClr val="bg1"/>
            </a:solidFill>
            <a:round/>
            <a:headEnd/>
            <a:tailEnd/>
          </a:ln>
        </p:spPr>
        <p:txBody>
          <a:bodyPr/>
          <a:lstStyle/>
          <a:p>
            <a:endParaRPr lang="nl-NL"/>
          </a:p>
        </p:txBody>
      </p:sp>
      <p:sp>
        <p:nvSpPr>
          <p:cNvPr id="106" name="Freeform 131"/>
          <p:cNvSpPr>
            <a:spLocks noChangeArrowheads="1"/>
          </p:cNvSpPr>
          <p:nvPr>
            <p:custDataLst>
              <p:tags r:id="rId78"/>
            </p:custDataLst>
          </p:nvPr>
        </p:nvSpPr>
        <p:spPr bwMode="auto">
          <a:xfrm>
            <a:off x="1558542" y="3409490"/>
            <a:ext cx="85003" cy="73855"/>
          </a:xfrm>
          <a:custGeom>
            <a:avLst/>
            <a:gdLst>
              <a:gd name="T0" fmla="*/ 29748 w 96538"/>
              <a:gd name="T1" fmla="*/ 747 h 84078"/>
              <a:gd name="T2" fmla="*/ 47099 w 96538"/>
              <a:gd name="T3" fmla="*/ 3142 h 84078"/>
              <a:gd name="T4" fmla="*/ 54535 w 96538"/>
              <a:gd name="T5" fmla="*/ 5549 h 84078"/>
              <a:gd name="T6" fmla="*/ 69410 w 96538"/>
              <a:gd name="T7" fmla="*/ 7956 h 84078"/>
              <a:gd name="T8" fmla="*/ 76846 w 96538"/>
              <a:gd name="T9" fmla="*/ 12758 h 84078"/>
              <a:gd name="T10" fmla="*/ 84283 w 96538"/>
              <a:gd name="T11" fmla="*/ 27175 h 84078"/>
              <a:gd name="T12" fmla="*/ 91720 w 96538"/>
              <a:gd name="T13" fmla="*/ 34384 h 84078"/>
              <a:gd name="T14" fmla="*/ 96679 w 96538"/>
              <a:gd name="T15" fmla="*/ 48801 h 84078"/>
              <a:gd name="T16" fmla="*/ 99157 w 96538"/>
              <a:gd name="T17" fmla="*/ 56010 h 84078"/>
              <a:gd name="T18" fmla="*/ 96679 w 96538"/>
              <a:gd name="T19" fmla="*/ 75237 h 84078"/>
              <a:gd name="T20" fmla="*/ 66930 w 96538"/>
              <a:gd name="T21" fmla="*/ 82446 h 84078"/>
              <a:gd name="T22" fmla="*/ 59495 w 96538"/>
              <a:gd name="T23" fmla="*/ 84845 h 84078"/>
              <a:gd name="T24" fmla="*/ 29748 w 96538"/>
              <a:gd name="T25" fmla="*/ 77636 h 84078"/>
              <a:gd name="T26" fmla="*/ 22310 w 96538"/>
              <a:gd name="T27" fmla="*/ 75237 h 84078"/>
              <a:gd name="T28" fmla="*/ 14873 w 96538"/>
              <a:gd name="T29" fmla="*/ 72835 h 84078"/>
              <a:gd name="T30" fmla="*/ 4957 w 96538"/>
              <a:gd name="T31" fmla="*/ 60817 h 84078"/>
              <a:gd name="T32" fmla="*/ 0 w 96538"/>
              <a:gd name="T33" fmla="*/ 44000 h 84078"/>
              <a:gd name="T34" fmla="*/ 2479 w 96538"/>
              <a:gd name="T35" fmla="*/ 22374 h 84078"/>
              <a:gd name="T36" fmla="*/ 4957 w 96538"/>
              <a:gd name="T37" fmla="*/ 15165 h 84078"/>
              <a:gd name="T38" fmla="*/ 12394 w 96538"/>
              <a:gd name="T39" fmla="*/ 10350 h 84078"/>
              <a:gd name="T40" fmla="*/ 22310 w 96538"/>
              <a:gd name="T41" fmla="*/ 5549 h 84078"/>
              <a:gd name="T42" fmla="*/ 29748 w 96538"/>
              <a:gd name="T43" fmla="*/ 747 h 8407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6538"/>
              <a:gd name="T67" fmla="*/ 0 h 84078"/>
              <a:gd name="T68" fmla="*/ 96538 w 96538"/>
              <a:gd name="T69" fmla="*/ 84078 h 8407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6538" h="84078">
                <a:moveTo>
                  <a:pt x="28575" y="734"/>
                </a:moveTo>
                <a:cubicBezTo>
                  <a:pt x="32544" y="337"/>
                  <a:pt x="39740" y="2015"/>
                  <a:pt x="45243" y="3116"/>
                </a:cubicBezTo>
                <a:cubicBezTo>
                  <a:pt x="47704" y="3608"/>
                  <a:pt x="49937" y="4953"/>
                  <a:pt x="52387" y="5497"/>
                </a:cubicBezTo>
                <a:cubicBezTo>
                  <a:pt x="57100" y="6544"/>
                  <a:pt x="61912" y="7084"/>
                  <a:pt x="66675" y="7878"/>
                </a:cubicBezTo>
                <a:cubicBezTo>
                  <a:pt x="69056" y="9466"/>
                  <a:pt x="71794" y="10617"/>
                  <a:pt x="73818" y="12641"/>
                </a:cubicBezTo>
                <a:cubicBezTo>
                  <a:pt x="85063" y="23886"/>
                  <a:pt x="73212" y="15303"/>
                  <a:pt x="80962" y="26928"/>
                </a:cubicBezTo>
                <a:cubicBezTo>
                  <a:pt x="82830" y="29730"/>
                  <a:pt x="85725" y="31691"/>
                  <a:pt x="88106" y="34072"/>
                </a:cubicBezTo>
                <a:lnTo>
                  <a:pt x="92868" y="48359"/>
                </a:lnTo>
                <a:lnTo>
                  <a:pt x="95250" y="55503"/>
                </a:lnTo>
                <a:cubicBezTo>
                  <a:pt x="94456" y="61853"/>
                  <a:pt x="96538" y="69310"/>
                  <a:pt x="92868" y="74553"/>
                </a:cubicBezTo>
                <a:cubicBezTo>
                  <a:pt x="90375" y="78114"/>
                  <a:pt x="67783" y="81115"/>
                  <a:pt x="64293" y="81697"/>
                </a:cubicBezTo>
                <a:cubicBezTo>
                  <a:pt x="61912" y="82491"/>
                  <a:pt x="59660" y="84078"/>
                  <a:pt x="57150" y="84078"/>
                </a:cubicBezTo>
                <a:cubicBezTo>
                  <a:pt x="47527" y="84078"/>
                  <a:pt x="37444" y="79891"/>
                  <a:pt x="28575" y="76934"/>
                </a:cubicBezTo>
                <a:lnTo>
                  <a:pt x="21431" y="74553"/>
                </a:lnTo>
                <a:lnTo>
                  <a:pt x="14287" y="72172"/>
                </a:lnTo>
                <a:cubicBezTo>
                  <a:pt x="8302" y="54215"/>
                  <a:pt x="17072" y="75653"/>
                  <a:pt x="4762" y="60266"/>
                </a:cubicBezTo>
                <a:cubicBezTo>
                  <a:pt x="3520" y="58714"/>
                  <a:pt x="155" y="44219"/>
                  <a:pt x="0" y="43597"/>
                </a:cubicBezTo>
                <a:cubicBezTo>
                  <a:pt x="794" y="36453"/>
                  <a:pt x="1199" y="29256"/>
                  <a:pt x="2381" y="22166"/>
                </a:cubicBezTo>
                <a:cubicBezTo>
                  <a:pt x="2794" y="19690"/>
                  <a:pt x="3194" y="16982"/>
                  <a:pt x="4762" y="15022"/>
                </a:cubicBezTo>
                <a:cubicBezTo>
                  <a:pt x="6550" y="12787"/>
                  <a:pt x="9421" y="11679"/>
                  <a:pt x="11906" y="10259"/>
                </a:cubicBezTo>
                <a:cubicBezTo>
                  <a:pt x="14988" y="8498"/>
                  <a:pt x="18031" y="6517"/>
                  <a:pt x="21431" y="5497"/>
                </a:cubicBezTo>
                <a:cubicBezTo>
                  <a:pt x="39758" y="0"/>
                  <a:pt x="24606" y="1131"/>
                  <a:pt x="28575" y="734"/>
                </a:cubicBezTo>
                <a:close/>
              </a:path>
            </a:pathLst>
          </a:custGeom>
          <a:solidFill>
            <a:schemeClr val="accent3"/>
          </a:solidFill>
          <a:ln w="12700">
            <a:solidFill>
              <a:schemeClr val="bg1"/>
            </a:solidFill>
            <a:round/>
            <a:headEnd/>
            <a:tailEnd/>
          </a:ln>
        </p:spPr>
        <p:txBody>
          <a:bodyPr/>
          <a:lstStyle/>
          <a:p>
            <a:endParaRPr lang="nl-NL"/>
          </a:p>
        </p:txBody>
      </p:sp>
      <p:sp>
        <p:nvSpPr>
          <p:cNvPr id="107" name="Freeform 132"/>
          <p:cNvSpPr>
            <a:spLocks noChangeArrowheads="1"/>
          </p:cNvSpPr>
          <p:nvPr>
            <p:custDataLst>
              <p:tags r:id="rId79"/>
            </p:custDataLst>
          </p:nvPr>
        </p:nvSpPr>
        <p:spPr bwMode="auto">
          <a:xfrm>
            <a:off x="1529278" y="4107637"/>
            <a:ext cx="72462" cy="78036"/>
          </a:xfrm>
          <a:custGeom>
            <a:avLst/>
            <a:gdLst>
              <a:gd name="T0" fmla="*/ 34197 w 81962"/>
              <a:gd name="T1" fmla="*/ 0 h 88938"/>
              <a:gd name="T2" fmla="*/ 13292 w 81962"/>
              <a:gd name="T3" fmla="*/ 12635 h 88938"/>
              <a:gd name="T4" fmla="*/ 13292 w 81962"/>
              <a:gd name="T5" fmla="*/ 63149 h 88938"/>
              <a:gd name="T6" fmla="*/ 20256 w 81962"/>
              <a:gd name="T7" fmla="*/ 82095 h 88938"/>
              <a:gd name="T8" fmla="*/ 41165 w 81962"/>
              <a:gd name="T9" fmla="*/ 88406 h 88938"/>
              <a:gd name="T10" fmla="*/ 82973 w 81962"/>
              <a:gd name="T11" fmla="*/ 82095 h 88938"/>
              <a:gd name="T12" fmla="*/ 89944 w 81962"/>
              <a:gd name="T13" fmla="*/ 63149 h 88938"/>
              <a:gd name="T14" fmla="*/ 62074 w 81962"/>
              <a:gd name="T15" fmla="*/ 18946 h 88938"/>
              <a:gd name="T16" fmla="*/ 48133 w 81962"/>
              <a:gd name="T17" fmla="*/ 0 h 88938"/>
              <a:gd name="T18" fmla="*/ 34197 w 81962"/>
              <a:gd name="T19" fmla="*/ 0 h 889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962"/>
              <a:gd name="T31" fmla="*/ 0 h 88938"/>
              <a:gd name="T32" fmla="*/ 81962 w 81962"/>
              <a:gd name="T33" fmla="*/ 88938 h 889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962" h="88938">
                <a:moveTo>
                  <a:pt x="31162" y="0"/>
                </a:moveTo>
                <a:cubicBezTo>
                  <a:pt x="24812" y="4233"/>
                  <a:pt x="16880" y="6741"/>
                  <a:pt x="12112" y="12700"/>
                </a:cubicBezTo>
                <a:cubicBezTo>
                  <a:pt x="0" y="27840"/>
                  <a:pt x="8237" y="48001"/>
                  <a:pt x="12112" y="63500"/>
                </a:cubicBezTo>
                <a:cubicBezTo>
                  <a:pt x="13735" y="69994"/>
                  <a:pt x="13729" y="77817"/>
                  <a:pt x="18462" y="82550"/>
                </a:cubicBezTo>
                <a:cubicBezTo>
                  <a:pt x="23195" y="87283"/>
                  <a:pt x="31162" y="86783"/>
                  <a:pt x="37512" y="88900"/>
                </a:cubicBezTo>
                <a:cubicBezTo>
                  <a:pt x="50212" y="86783"/>
                  <a:pt x="64433" y="88938"/>
                  <a:pt x="75612" y="82550"/>
                </a:cubicBezTo>
                <a:cubicBezTo>
                  <a:pt x="81424" y="79229"/>
                  <a:pt x="81962" y="70193"/>
                  <a:pt x="81962" y="63500"/>
                </a:cubicBezTo>
                <a:cubicBezTo>
                  <a:pt x="81962" y="34719"/>
                  <a:pt x="73008" y="38785"/>
                  <a:pt x="56562" y="19050"/>
                </a:cubicBezTo>
                <a:cubicBezTo>
                  <a:pt x="51676" y="13187"/>
                  <a:pt x="48095" y="6350"/>
                  <a:pt x="43862" y="0"/>
                </a:cubicBezTo>
                <a:lnTo>
                  <a:pt x="31162" y="0"/>
                </a:lnTo>
                <a:close/>
              </a:path>
            </a:pathLst>
          </a:custGeom>
          <a:solidFill>
            <a:schemeClr val="accent3"/>
          </a:solidFill>
          <a:ln w="12700">
            <a:solidFill>
              <a:schemeClr val="bg1"/>
            </a:solidFill>
            <a:round/>
            <a:headEnd/>
            <a:tailEnd/>
          </a:ln>
        </p:spPr>
        <p:txBody>
          <a:bodyPr/>
          <a:lstStyle/>
          <a:p>
            <a:endParaRPr lang="nl-NL"/>
          </a:p>
        </p:txBody>
      </p:sp>
      <p:sp>
        <p:nvSpPr>
          <p:cNvPr id="101" name="Text Placeholder 12"/>
          <p:cNvSpPr>
            <a:spLocks/>
          </p:cNvSpPr>
          <p:nvPr>
            <p:custDataLst>
              <p:tags r:id="rId80"/>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0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825" name="Title 1"/>
          <p:cNvSpPr>
            <a:spLocks noGrp="1"/>
          </p:cNvSpPr>
          <p:nvPr>
            <p:ph type="title"/>
          </p:nvPr>
        </p:nvSpPr>
        <p:spPr>
          <a:xfrm>
            <a:off x="414338" y="446038"/>
            <a:ext cx="8330184" cy="333425"/>
          </a:xfrm>
        </p:spPr>
        <p:txBody>
          <a:bodyPr/>
          <a:lstStyle/>
          <a:p>
            <a:r>
              <a:rPr lang="nl-NL"/>
              <a:t>Maps </a:t>
            </a:r>
            <a:r>
              <a:rPr lang="en-US"/>
              <a:t>—</a:t>
            </a:r>
            <a:r>
              <a:rPr lang="nl-NL" smtClean="0"/>
              <a:t> </a:t>
            </a:r>
            <a:r>
              <a:rPr lang="nl-NL"/>
              <a:t>Tunisia and Greece</a:t>
            </a:r>
          </a:p>
        </p:txBody>
      </p:sp>
      <p:sp>
        <p:nvSpPr>
          <p:cNvPr id="15" name="Freeform 9"/>
          <p:cNvSpPr>
            <a:spLocks/>
          </p:cNvSpPr>
          <p:nvPr/>
        </p:nvSpPr>
        <p:spPr bwMode="auto">
          <a:xfrm>
            <a:off x="6477177" y="5253158"/>
            <a:ext cx="1169836" cy="426935"/>
          </a:xfrm>
          <a:custGeom>
            <a:avLst/>
            <a:gdLst>
              <a:gd name="T0" fmla="*/ 705 w 705"/>
              <a:gd name="T1" fmla="*/ 137 h 229"/>
              <a:gd name="T2" fmla="*/ 688 w 705"/>
              <a:gd name="T3" fmla="*/ 192 h 229"/>
              <a:gd name="T4" fmla="*/ 652 w 705"/>
              <a:gd name="T5" fmla="*/ 196 h 229"/>
              <a:gd name="T6" fmla="*/ 630 w 705"/>
              <a:gd name="T7" fmla="*/ 189 h 229"/>
              <a:gd name="T8" fmla="*/ 600 w 705"/>
              <a:gd name="T9" fmla="*/ 194 h 229"/>
              <a:gd name="T10" fmla="*/ 567 w 705"/>
              <a:gd name="T11" fmla="*/ 194 h 229"/>
              <a:gd name="T12" fmla="*/ 549 w 705"/>
              <a:gd name="T13" fmla="*/ 196 h 229"/>
              <a:gd name="T14" fmla="*/ 517 w 705"/>
              <a:gd name="T15" fmla="*/ 205 h 229"/>
              <a:gd name="T16" fmla="*/ 474 w 705"/>
              <a:gd name="T17" fmla="*/ 206 h 229"/>
              <a:gd name="T18" fmla="*/ 439 w 705"/>
              <a:gd name="T19" fmla="*/ 208 h 229"/>
              <a:gd name="T20" fmla="*/ 419 w 705"/>
              <a:gd name="T21" fmla="*/ 220 h 229"/>
              <a:gd name="T22" fmla="*/ 381 w 705"/>
              <a:gd name="T23" fmla="*/ 224 h 229"/>
              <a:gd name="T24" fmla="*/ 345 w 705"/>
              <a:gd name="T25" fmla="*/ 228 h 229"/>
              <a:gd name="T26" fmla="*/ 314 w 705"/>
              <a:gd name="T27" fmla="*/ 197 h 229"/>
              <a:gd name="T28" fmla="*/ 272 w 705"/>
              <a:gd name="T29" fmla="*/ 167 h 229"/>
              <a:gd name="T30" fmla="*/ 243 w 705"/>
              <a:gd name="T31" fmla="*/ 158 h 229"/>
              <a:gd name="T32" fmla="*/ 214 w 705"/>
              <a:gd name="T33" fmla="*/ 152 h 229"/>
              <a:gd name="T34" fmla="*/ 184 w 705"/>
              <a:gd name="T35" fmla="*/ 152 h 229"/>
              <a:gd name="T36" fmla="*/ 158 w 705"/>
              <a:gd name="T37" fmla="*/ 145 h 229"/>
              <a:gd name="T38" fmla="*/ 126 w 705"/>
              <a:gd name="T39" fmla="*/ 140 h 229"/>
              <a:gd name="T40" fmla="*/ 92 w 705"/>
              <a:gd name="T41" fmla="*/ 132 h 229"/>
              <a:gd name="T42" fmla="*/ 76 w 705"/>
              <a:gd name="T43" fmla="*/ 131 h 229"/>
              <a:gd name="T44" fmla="*/ 40 w 705"/>
              <a:gd name="T45" fmla="*/ 137 h 229"/>
              <a:gd name="T46" fmla="*/ 17 w 705"/>
              <a:gd name="T47" fmla="*/ 133 h 229"/>
              <a:gd name="T48" fmla="*/ 2 w 705"/>
              <a:gd name="T49" fmla="*/ 101 h 229"/>
              <a:gd name="T50" fmla="*/ 11 w 705"/>
              <a:gd name="T51" fmla="*/ 61 h 229"/>
              <a:gd name="T52" fmla="*/ 22 w 705"/>
              <a:gd name="T53" fmla="*/ 35 h 229"/>
              <a:gd name="T54" fmla="*/ 42 w 705"/>
              <a:gd name="T55" fmla="*/ 52 h 229"/>
              <a:gd name="T56" fmla="*/ 58 w 705"/>
              <a:gd name="T57" fmla="*/ 25 h 229"/>
              <a:gd name="T58" fmla="*/ 58 w 705"/>
              <a:gd name="T59" fmla="*/ 2 h 229"/>
              <a:gd name="T60" fmla="*/ 78 w 705"/>
              <a:gd name="T61" fmla="*/ 29 h 229"/>
              <a:gd name="T62" fmla="*/ 105 w 705"/>
              <a:gd name="T63" fmla="*/ 38 h 229"/>
              <a:gd name="T64" fmla="*/ 128 w 705"/>
              <a:gd name="T65" fmla="*/ 35 h 229"/>
              <a:gd name="T66" fmla="*/ 164 w 705"/>
              <a:gd name="T67" fmla="*/ 15 h 229"/>
              <a:gd name="T68" fmla="*/ 153 w 705"/>
              <a:gd name="T69" fmla="*/ 56 h 229"/>
              <a:gd name="T70" fmla="*/ 182 w 705"/>
              <a:gd name="T71" fmla="*/ 53 h 229"/>
              <a:gd name="T72" fmla="*/ 194 w 705"/>
              <a:gd name="T73" fmla="*/ 77 h 229"/>
              <a:gd name="T74" fmla="*/ 217 w 705"/>
              <a:gd name="T75" fmla="*/ 97 h 229"/>
              <a:gd name="T76" fmla="*/ 257 w 705"/>
              <a:gd name="T77" fmla="*/ 86 h 229"/>
              <a:gd name="T78" fmla="*/ 282 w 705"/>
              <a:gd name="T79" fmla="*/ 82 h 229"/>
              <a:gd name="T80" fmla="*/ 314 w 705"/>
              <a:gd name="T81" fmla="*/ 71 h 229"/>
              <a:gd name="T82" fmla="*/ 366 w 705"/>
              <a:gd name="T83" fmla="*/ 77 h 229"/>
              <a:gd name="T84" fmla="*/ 403 w 705"/>
              <a:gd name="T85" fmla="*/ 90 h 229"/>
              <a:gd name="T86" fmla="*/ 433 w 705"/>
              <a:gd name="T87" fmla="*/ 91 h 229"/>
              <a:gd name="T88" fmla="*/ 464 w 705"/>
              <a:gd name="T89" fmla="*/ 94 h 229"/>
              <a:gd name="T90" fmla="*/ 499 w 705"/>
              <a:gd name="T91" fmla="*/ 108 h 229"/>
              <a:gd name="T92" fmla="*/ 529 w 705"/>
              <a:gd name="T93" fmla="*/ 99 h 229"/>
              <a:gd name="T94" fmla="*/ 556 w 705"/>
              <a:gd name="T95" fmla="*/ 94 h 229"/>
              <a:gd name="T96" fmla="*/ 569 w 705"/>
              <a:gd name="T97" fmla="*/ 113 h 229"/>
              <a:gd name="T98" fmla="*/ 561 w 705"/>
              <a:gd name="T99" fmla="*/ 145 h 229"/>
              <a:gd name="T100" fmla="*/ 587 w 705"/>
              <a:gd name="T101" fmla="*/ 152 h 229"/>
              <a:gd name="T102" fmla="*/ 628 w 705"/>
              <a:gd name="T103" fmla="*/ 135 h 229"/>
              <a:gd name="T104" fmla="*/ 656 w 705"/>
              <a:gd name="T105" fmla="*/ 126 h 229"/>
              <a:gd name="T106" fmla="*/ 684 w 705"/>
              <a:gd name="T107" fmla="*/ 128 h 2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5"/>
              <a:gd name="T163" fmla="*/ 0 h 229"/>
              <a:gd name="T164" fmla="*/ 705 w 705"/>
              <a:gd name="T165" fmla="*/ 229 h 22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5" h="229">
                <a:moveTo>
                  <a:pt x="688" y="113"/>
                </a:moveTo>
                <a:lnTo>
                  <a:pt x="690" y="114"/>
                </a:lnTo>
                <a:lnTo>
                  <a:pt x="697" y="118"/>
                </a:lnTo>
                <a:lnTo>
                  <a:pt x="703" y="125"/>
                </a:lnTo>
                <a:lnTo>
                  <a:pt x="705" y="137"/>
                </a:lnTo>
                <a:lnTo>
                  <a:pt x="703" y="153"/>
                </a:lnTo>
                <a:lnTo>
                  <a:pt x="698" y="171"/>
                </a:lnTo>
                <a:lnTo>
                  <a:pt x="693" y="186"/>
                </a:lnTo>
                <a:lnTo>
                  <a:pt x="691" y="192"/>
                </a:lnTo>
                <a:lnTo>
                  <a:pt x="688" y="192"/>
                </a:lnTo>
                <a:lnTo>
                  <a:pt x="680" y="192"/>
                </a:lnTo>
                <a:lnTo>
                  <a:pt x="669" y="193"/>
                </a:lnTo>
                <a:lnTo>
                  <a:pt x="660" y="196"/>
                </a:lnTo>
                <a:lnTo>
                  <a:pt x="656" y="196"/>
                </a:lnTo>
                <a:lnTo>
                  <a:pt x="652" y="196"/>
                </a:lnTo>
                <a:lnTo>
                  <a:pt x="648" y="194"/>
                </a:lnTo>
                <a:lnTo>
                  <a:pt x="644" y="192"/>
                </a:lnTo>
                <a:lnTo>
                  <a:pt x="639" y="190"/>
                </a:lnTo>
                <a:lnTo>
                  <a:pt x="635" y="189"/>
                </a:lnTo>
                <a:lnTo>
                  <a:pt x="630" y="189"/>
                </a:lnTo>
                <a:lnTo>
                  <a:pt x="624" y="189"/>
                </a:lnTo>
                <a:lnTo>
                  <a:pt x="618" y="190"/>
                </a:lnTo>
                <a:lnTo>
                  <a:pt x="613" y="192"/>
                </a:lnTo>
                <a:lnTo>
                  <a:pt x="606" y="193"/>
                </a:lnTo>
                <a:lnTo>
                  <a:pt x="600" y="194"/>
                </a:lnTo>
                <a:lnTo>
                  <a:pt x="593" y="196"/>
                </a:lnTo>
                <a:lnTo>
                  <a:pt x="586" y="197"/>
                </a:lnTo>
                <a:lnTo>
                  <a:pt x="579" y="197"/>
                </a:lnTo>
                <a:lnTo>
                  <a:pt x="572" y="196"/>
                </a:lnTo>
                <a:lnTo>
                  <a:pt x="567" y="194"/>
                </a:lnTo>
                <a:lnTo>
                  <a:pt x="563" y="193"/>
                </a:lnTo>
                <a:lnTo>
                  <a:pt x="560" y="193"/>
                </a:lnTo>
                <a:lnTo>
                  <a:pt x="556" y="193"/>
                </a:lnTo>
                <a:lnTo>
                  <a:pt x="553" y="194"/>
                </a:lnTo>
                <a:lnTo>
                  <a:pt x="549" y="196"/>
                </a:lnTo>
                <a:lnTo>
                  <a:pt x="545" y="197"/>
                </a:lnTo>
                <a:lnTo>
                  <a:pt x="538" y="199"/>
                </a:lnTo>
                <a:lnTo>
                  <a:pt x="530" y="201"/>
                </a:lnTo>
                <a:lnTo>
                  <a:pt x="524" y="202"/>
                </a:lnTo>
                <a:lnTo>
                  <a:pt x="517" y="205"/>
                </a:lnTo>
                <a:lnTo>
                  <a:pt x="511" y="205"/>
                </a:lnTo>
                <a:lnTo>
                  <a:pt x="504" y="206"/>
                </a:lnTo>
                <a:lnTo>
                  <a:pt x="496" y="206"/>
                </a:lnTo>
                <a:lnTo>
                  <a:pt x="486" y="206"/>
                </a:lnTo>
                <a:lnTo>
                  <a:pt x="474" y="206"/>
                </a:lnTo>
                <a:lnTo>
                  <a:pt x="463" y="206"/>
                </a:lnTo>
                <a:lnTo>
                  <a:pt x="455" y="206"/>
                </a:lnTo>
                <a:lnTo>
                  <a:pt x="448" y="206"/>
                </a:lnTo>
                <a:lnTo>
                  <a:pt x="443" y="207"/>
                </a:lnTo>
                <a:lnTo>
                  <a:pt x="439" y="208"/>
                </a:lnTo>
                <a:lnTo>
                  <a:pt x="435" y="209"/>
                </a:lnTo>
                <a:lnTo>
                  <a:pt x="432" y="212"/>
                </a:lnTo>
                <a:lnTo>
                  <a:pt x="428" y="214"/>
                </a:lnTo>
                <a:lnTo>
                  <a:pt x="423" y="217"/>
                </a:lnTo>
                <a:lnTo>
                  <a:pt x="419" y="220"/>
                </a:lnTo>
                <a:lnTo>
                  <a:pt x="413" y="221"/>
                </a:lnTo>
                <a:lnTo>
                  <a:pt x="404" y="221"/>
                </a:lnTo>
                <a:lnTo>
                  <a:pt x="397" y="221"/>
                </a:lnTo>
                <a:lnTo>
                  <a:pt x="389" y="222"/>
                </a:lnTo>
                <a:lnTo>
                  <a:pt x="381" y="224"/>
                </a:lnTo>
                <a:lnTo>
                  <a:pt x="373" y="226"/>
                </a:lnTo>
                <a:lnTo>
                  <a:pt x="365" y="227"/>
                </a:lnTo>
                <a:lnTo>
                  <a:pt x="358" y="228"/>
                </a:lnTo>
                <a:lnTo>
                  <a:pt x="351" y="229"/>
                </a:lnTo>
                <a:lnTo>
                  <a:pt x="345" y="228"/>
                </a:lnTo>
                <a:lnTo>
                  <a:pt x="335" y="226"/>
                </a:lnTo>
                <a:lnTo>
                  <a:pt x="327" y="223"/>
                </a:lnTo>
                <a:lnTo>
                  <a:pt x="320" y="219"/>
                </a:lnTo>
                <a:lnTo>
                  <a:pt x="317" y="209"/>
                </a:lnTo>
                <a:lnTo>
                  <a:pt x="314" y="197"/>
                </a:lnTo>
                <a:lnTo>
                  <a:pt x="312" y="183"/>
                </a:lnTo>
                <a:lnTo>
                  <a:pt x="304" y="173"/>
                </a:lnTo>
                <a:lnTo>
                  <a:pt x="289" y="168"/>
                </a:lnTo>
                <a:lnTo>
                  <a:pt x="280" y="168"/>
                </a:lnTo>
                <a:lnTo>
                  <a:pt x="272" y="167"/>
                </a:lnTo>
                <a:lnTo>
                  <a:pt x="266" y="164"/>
                </a:lnTo>
                <a:lnTo>
                  <a:pt x="260" y="162"/>
                </a:lnTo>
                <a:lnTo>
                  <a:pt x="256" y="161"/>
                </a:lnTo>
                <a:lnTo>
                  <a:pt x="250" y="159"/>
                </a:lnTo>
                <a:lnTo>
                  <a:pt x="243" y="158"/>
                </a:lnTo>
                <a:lnTo>
                  <a:pt x="236" y="158"/>
                </a:lnTo>
                <a:lnTo>
                  <a:pt x="229" y="156"/>
                </a:lnTo>
                <a:lnTo>
                  <a:pt x="223" y="155"/>
                </a:lnTo>
                <a:lnTo>
                  <a:pt x="217" y="154"/>
                </a:lnTo>
                <a:lnTo>
                  <a:pt x="214" y="152"/>
                </a:lnTo>
                <a:lnTo>
                  <a:pt x="209" y="149"/>
                </a:lnTo>
                <a:lnTo>
                  <a:pt x="204" y="148"/>
                </a:lnTo>
                <a:lnTo>
                  <a:pt x="198" y="149"/>
                </a:lnTo>
                <a:lnTo>
                  <a:pt x="191" y="151"/>
                </a:lnTo>
                <a:lnTo>
                  <a:pt x="184" y="152"/>
                </a:lnTo>
                <a:lnTo>
                  <a:pt x="177" y="152"/>
                </a:lnTo>
                <a:lnTo>
                  <a:pt x="173" y="151"/>
                </a:lnTo>
                <a:lnTo>
                  <a:pt x="167" y="148"/>
                </a:lnTo>
                <a:lnTo>
                  <a:pt x="162" y="146"/>
                </a:lnTo>
                <a:lnTo>
                  <a:pt x="158" y="145"/>
                </a:lnTo>
                <a:lnTo>
                  <a:pt x="152" y="144"/>
                </a:lnTo>
                <a:lnTo>
                  <a:pt x="146" y="144"/>
                </a:lnTo>
                <a:lnTo>
                  <a:pt x="136" y="145"/>
                </a:lnTo>
                <a:lnTo>
                  <a:pt x="131" y="143"/>
                </a:lnTo>
                <a:lnTo>
                  <a:pt x="126" y="140"/>
                </a:lnTo>
                <a:lnTo>
                  <a:pt x="117" y="137"/>
                </a:lnTo>
                <a:lnTo>
                  <a:pt x="110" y="136"/>
                </a:lnTo>
                <a:lnTo>
                  <a:pt x="105" y="135"/>
                </a:lnTo>
                <a:lnTo>
                  <a:pt x="98" y="133"/>
                </a:lnTo>
                <a:lnTo>
                  <a:pt x="92" y="132"/>
                </a:lnTo>
                <a:lnTo>
                  <a:pt x="86" y="131"/>
                </a:lnTo>
                <a:lnTo>
                  <a:pt x="83" y="131"/>
                </a:lnTo>
                <a:lnTo>
                  <a:pt x="80" y="130"/>
                </a:lnTo>
                <a:lnTo>
                  <a:pt x="79" y="130"/>
                </a:lnTo>
                <a:lnTo>
                  <a:pt x="76" y="131"/>
                </a:lnTo>
                <a:lnTo>
                  <a:pt x="68" y="133"/>
                </a:lnTo>
                <a:lnTo>
                  <a:pt x="57" y="136"/>
                </a:lnTo>
                <a:lnTo>
                  <a:pt x="48" y="137"/>
                </a:lnTo>
                <a:lnTo>
                  <a:pt x="44" y="137"/>
                </a:lnTo>
                <a:lnTo>
                  <a:pt x="40" y="137"/>
                </a:lnTo>
                <a:lnTo>
                  <a:pt x="35" y="137"/>
                </a:lnTo>
                <a:lnTo>
                  <a:pt x="31" y="137"/>
                </a:lnTo>
                <a:lnTo>
                  <a:pt x="26" y="137"/>
                </a:lnTo>
                <a:lnTo>
                  <a:pt x="23" y="136"/>
                </a:lnTo>
                <a:lnTo>
                  <a:pt x="17" y="133"/>
                </a:lnTo>
                <a:lnTo>
                  <a:pt x="12" y="130"/>
                </a:lnTo>
                <a:lnTo>
                  <a:pt x="4" y="123"/>
                </a:lnTo>
                <a:lnTo>
                  <a:pt x="1" y="117"/>
                </a:lnTo>
                <a:lnTo>
                  <a:pt x="0" y="110"/>
                </a:lnTo>
                <a:lnTo>
                  <a:pt x="2" y="101"/>
                </a:lnTo>
                <a:lnTo>
                  <a:pt x="5" y="90"/>
                </a:lnTo>
                <a:lnTo>
                  <a:pt x="9" y="77"/>
                </a:lnTo>
                <a:lnTo>
                  <a:pt x="11" y="67"/>
                </a:lnTo>
                <a:lnTo>
                  <a:pt x="12" y="63"/>
                </a:lnTo>
                <a:lnTo>
                  <a:pt x="11" y="61"/>
                </a:lnTo>
                <a:lnTo>
                  <a:pt x="10" y="55"/>
                </a:lnTo>
                <a:lnTo>
                  <a:pt x="9" y="47"/>
                </a:lnTo>
                <a:lnTo>
                  <a:pt x="12" y="39"/>
                </a:lnTo>
                <a:lnTo>
                  <a:pt x="17" y="34"/>
                </a:lnTo>
                <a:lnTo>
                  <a:pt x="22" y="35"/>
                </a:lnTo>
                <a:lnTo>
                  <a:pt x="25" y="38"/>
                </a:lnTo>
                <a:lnTo>
                  <a:pt x="26" y="39"/>
                </a:lnTo>
                <a:lnTo>
                  <a:pt x="29" y="42"/>
                </a:lnTo>
                <a:lnTo>
                  <a:pt x="34" y="48"/>
                </a:lnTo>
                <a:lnTo>
                  <a:pt x="42" y="52"/>
                </a:lnTo>
                <a:lnTo>
                  <a:pt x="48" y="49"/>
                </a:lnTo>
                <a:lnTo>
                  <a:pt x="55" y="44"/>
                </a:lnTo>
                <a:lnTo>
                  <a:pt x="61" y="39"/>
                </a:lnTo>
                <a:lnTo>
                  <a:pt x="64" y="33"/>
                </a:lnTo>
                <a:lnTo>
                  <a:pt x="58" y="25"/>
                </a:lnTo>
                <a:lnTo>
                  <a:pt x="50" y="15"/>
                </a:lnTo>
                <a:lnTo>
                  <a:pt x="48" y="6"/>
                </a:lnTo>
                <a:lnTo>
                  <a:pt x="49" y="0"/>
                </a:lnTo>
                <a:lnTo>
                  <a:pt x="55" y="0"/>
                </a:lnTo>
                <a:lnTo>
                  <a:pt x="58" y="2"/>
                </a:lnTo>
                <a:lnTo>
                  <a:pt x="62" y="7"/>
                </a:lnTo>
                <a:lnTo>
                  <a:pt x="65" y="11"/>
                </a:lnTo>
                <a:lnTo>
                  <a:pt x="70" y="17"/>
                </a:lnTo>
                <a:lnTo>
                  <a:pt x="73" y="24"/>
                </a:lnTo>
                <a:lnTo>
                  <a:pt x="78" y="29"/>
                </a:lnTo>
                <a:lnTo>
                  <a:pt x="84" y="33"/>
                </a:lnTo>
                <a:lnTo>
                  <a:pt x="90" y="35"/>
                </a:lnTo>
                <a:lnTo>
                  <a:pt x="95" y="37"/>
                </a:lnTo>
                <a:lnTo>
                  <a:pt x="100" y="38"/>
                </a:lnTo>
                <a:lnTo>
                  <a:pt x="105" y="38"/>
                </a:lnTo>
                <a:lnTo>
                  <a:pt x="109" y="38"/>
                </a:lnTo>
                <a:lnTo>
                  <a:pt x="113" y="38"/>
                </a:lnTo>
                <a:lnTo>
                  <a:pt x="117" y="38"/>
                </a:lnTo>
                <a:lnTo>
                  <a:pt x="122" y="37"/>
                </a:lnTo>
                <a:lnTo>
                  <a:pt x="128" y="35"/>
                </a:lnTo>
                <a:lnTo>
                  <a:pt x="140" y="32"/>
                </a:lnTo>
                <a:lnTo>
                  <a:pt x="150" y="26"/>
                </a:lnTo>
                <a:lnTo>
                  <a:pt x="156" y="20"/>
                </a:lnTo>
                <a:lnTo>
                  <a:pt x="160" y="15"/>
                </a:lnTo>
                <a:lnTo>
                  <a:pt x="164" y="15"/>
                </a:lnTo>
                <a:lnTo>
                  <a:pt x="171" y="22"/>
                </a:lnTo>
                <a:lnTo>
                  <a:pt x="174" y="32"/>
                </a:lnTo>
                <a:lnTo>
                  <a:pt x="167" y="42"/>
                </a:lnTo>
                <a:lnTo>
                  <a:pt x="158" y="50"/>
                </a:lnTo>
                <a:lnTo>
                  <a:pt x="153" y="56"/>
                </a:lnTo>
                <a:lnTo>
                  <a:pt x="155" y="61"/>
                </a:lnTo>
                <a:lnTo>
                  <a:pt x="163" y="63"/>
                </a:lnTo>
                <a:lnTo>
                  <a:pt x="171" y="61"/>
                </a:lnTo>
                <a:lnTo>
                  <a:pt x="177" y="56"/>
                </a:lnTo>
                <a:lnTo>
                  <a:pt x="182" y="53"/>
                </a:lnTo>
                <a:lnTo>
                  <a:pt x="188" y="53"/>
                </a:lnTo>
                <a:lnTo>
                  <a:pt x="193" y="56"/>
                </a:lnTo>
                <a:lnTo>
                  <a:pt x="197" y="62"/>
                </a:lnTo>
                <a:lnTo>
                  <a:pt x="197" y="69"/>
                </a:lnTo>
                <a:lnTo>
                  <a:pt x="194" y="77"/>
                </a:lnTo>
                <a:lnTo>
                  <a:pt x="193" y="85"/>
                </a:lnTo>
                <a:lnTo>
                  <a:pt x="193" y="91"/>
                </a:lnTo>
                <a:lnTo>
                  <a:pt x="198" y="95"/>
                </a:lnTo>
                <a:lnTo>
                  <a:pt x="208" y="98"/>
                </a:lnTo>
                <a:lnTo>
                  <a:pt x="217" y="97"/>
                </a:lnTo>
                <a:lnTo>
                  <a:pt x="221" y="92"/>
                </a:lnTo>
                <a:lnTo>
                  <a:pt x="227" y="88"/>
                </a:lnTo>
                <a:lnTo>
                  <a:pt x="241" y="87"/>
                </a:lnTo>
                <a:lnTo>
                  <a:pt x="249" y="87"/>
                </a:lnTo>
                <a:lnTo>
                  <a:pt x="257" y="86"/>
                </a:lnTo>
                <a:lnTo>
                  <a:pt x="262" y="86"/>
                </a:lnTo>
                <a:lnTo>
                  <a:pt x="268" y="85"/>
                </a:lnTo>
                <a:lnTo>
                  <a:pt x="273" y="84"/>
                </a:lnTo>
                <a:lnTo>
                  <a:pt x="277" y="83"/>
                </a:lnTo>
                <a:lnTo>
                  <a:pt x="282" y="82"/>
                </a:lnTo>
                <a:lnTo>
                  <a:pt x="285" y="80"/>
                </a:lnTo>
                <a:lnTo>
                  <a:pt x="290" y="79"/>
                </a:lnTo>
                <a:lnTo>
                  <a:pt x="297" y="77"/>
                </a:lnTo>
                <a:lnTo>
                  <a:pt x="305" y="73"/>
                </a:lnTo>
                <a:lnTo>
                  <a:pt x="314" y="71"/>
                </a:lnTo>
                <a:lnTo>
                  <a:pt x="323" y="70"/>
                </a:lnTo>
                <a:lnTo>
                  <a:pt x="334" y="70"/>
                </a:lnTo>
                <a:lnTo>
                  <a:pt x="345" y="71"/>
                </a:lnTo>
                <a:lnTo>
                  <a:pt x="356" y="73"/>
                </a:lnTo>
                <a:lnTo>
                  <a:pt x="366" y="77"/>
                </a:lnTo>
                <a:lnTo>
                  <a:pt x="374" y="80"/>
                </a:lnTo>
                <a:lnTo>
                  <a:pt x="383" y="84"/>
                </a:lnTo>
                <a:lnTo>
                  <a:pt x="390" y="86"/>
                </a:lnTo>
                <a:lnTo>
                  <a:pt x="397" y="88"/>
                </a:lnTo>
                <a:lnTo>
                  <a:pt x="403" y="90"/>
                </a:lnTo>
                <a:lnTo>
                  <a:pt x="409" y="91"/>
                </a:lnTo>
                <a:lnTo>
                  <a:pt x="415" y="91"/>
                </a:lnTo>
                <a:lnTo>
                  <a:pt x="420" y="91"/>
                </a:lnTo>
                <a:lnTo>
                  <a:pt x="426" y="91"/>
                </a:lnTo>
                <a:lnTo>
                  <a:pt x="433" y="91"/>
                </a:lnTo>
                <a:lnTo>
                  <a:pt x="440" y="91"/>
                </a:lnTo>
                <a:lnTo>
                  <a:pt x="446" y="92"/>
                </a:lnTo>
                <a:lnTo>
                  <a:pt x="453" y="92"/>
                </a:lnTo>
                <a:lnTo>
                  <a:pt x="458" y="93"/>
                </a:lnTo>
                <a:lnTo>
                  <a:pt x="464" y="94"/>
                </a:lnTo>
                <a:lnTo>
                  <a:pt x="470" y="97"/>
                </a:lnTo>
                <a:lnTo>
                  <a:pt x="477" y="99"/>
                </a:lnTo>
                <a:lnTo>
                  <a:pt x="484" y="102"/>
                </a:lnTo>
                <a:lnTo>
                  <a:pt x="492" y="106"/>
                </a:lnTo>
                <a:lnTo>
                  <a:pt x="499" y="108"/>
                </a:lnTo>
                <a:lnTo>
                  <a:pt x="506" y="109"/>
                </a:lnTo>
                <a:lnTo>
                  <a:pt x="511" y="110"/>
                </a:lnTo>
                <a:lnTo>
                  <a:pt x="516" y="108"/>
                </a:lnTo>
                <a:lnTo>
                  <a:pt x="523" y="103"/>
                </a:lnTo>
                <a:lnTo>
                  <a:pt x="529" y="99"/>
                </a:lnTo>
                <a:lnTo>
                  <a:pt x="534" y="95"/>
                </a:lnTo>
                <a:lnTo>
                  <a:pt x="541" y="94"/>
                </a:lnTo>
                <a:lnTo>
                  <a:pt x="546" y="94"/>
                </a:lnTo>
                <a:lnTo>
                  <a:pt x="550" y="94"/>
                </a:lnTo>
                <a:lnTo>
                  <a:pt x="556" y="94"/>
                </a:lnTo>
                <a:lnTo>
                  <a:pt x="562" y="95"/>
                </a:lnTo>
                <a:lnTo>
                  <a:pt x="565" y="98"/>
                </a:lnTo>
                <a:lnTo>
                  <a:pt x="569" y="100"/>
                </a:lnTo>
                <a:lnTo>
                  <a:pt x="570" y="106"/>
                </a:lnTo>
                <a:lnTo>
                  <a:pt x="569" y="113"/>
                </a:lnTo>
                <a:lnTo>
                  <a:pt x="565" y="122"/>
                </a:lnTo>
                <a:lnTo>
                  <a:pt x="563" y="124"/>
                </a:lnTo>
                <a:lnTo>
                  <a:pt x="562" y="125"/>
                </a:lnTo>
                <a:lnTo>
                  <a:pt x="562" y="133"/>
                </a:lnTo>
                <a:lnTo>
                  <a:pt x="561" y="145"/>
                </a:lnTo>
                <a:lnTo>
                  <a:pt x="561" y="154"/>
                </a:lnTo>
                <a:lnTo>
                  <a:pt x="563" y="159"/>
                </a:lnTo>
                <a:lnTo>
                  <a:pt x="572" y="161"/>
                </a:lnTo>
                <a:lnTo>
                  <a:pt x="582" y="159"/>
                </a:lnTo>
                <a:lnTo>
                  <a:pt x="587" y="152"/>
                </a:lnTo>
                <a:lnTo>
                  <a:pt x="592" y="145"/>
                </a:lnTo>
                <a:lnTo>
                  <a:pt x="600" y="140"/>
                </a:lnTo>
                <a:lnTo>
                  <a:pt x="610" y="138"/>
                </a:lnTo>
                <a:lnTo>
                  <a:pt x="621" y="136"/>
                </a:lnTo>
                <a:lnTo>
                  <a:pt x="628" y="135"/>
                </a:lnTo>
                <a:lnTo>
                  <a:pt x="631" y="133"/>
                </a:lnTo>
                <a:lnTo>
                  <a:pt x="632" y="131"/>
                </a:lnTo>
                <a:lnTo>
                  <a:pt x="637" y="128"/>
                </a:lnTo>
                <a:lnTo>
                  <a:pt x="645" y="124"/>
                </a:lnTo>
                <a:lnTo>
                  <a:pt x="656" y="126"/>
                </a:lnTo>
                <a:lnTo>
                  <a:pt x="663" y="129"/>
                </a:lnTo>
                <a:lnTo>
                  <a:pt x="669" y="130"/>
                </a:lnTo>
                <a:lnTo>
                  <a:pt x="675" y="131"/>
                </a:lnTo>
                <a:lnTo>
                  <a:pt x="680" y="130"/>
                </a:lnTo>
                <a:lnTo>
                  <a:pt x="684" y="128"/>
                </a:lnTo>
                <a:lnTo>
                  <a:pt x="686" y="124"/>
                </a:lnTo>
                <a:lnTo>
                  <a:pt x="688" y="120"/>
                </a:lnTo>
                <a:lnTo>
                  <a:pt x="688" y="113"/>
                </a:lnTo>
                <a:close/>
              </a:path>
            </a:pathLst>
          </a:custGeom>
          <a:solidFill>
            <a:schemeClr val="accent3"/>
          </a:solidFill>
          <a:ln w="12700">
            <a:solidFill>
              <a:schemeClr val="bg1"/>
            </a:solidFill>
            <a:round/>
            <a:headEnd/>
            <a:tailEnd/>
          </a:ln>
        </p:spPr>
        <p:txBody>
          <a:bodyPr/>
          <a:lstStyle/>
          <a:p>
            <a:pPr>
              <a:defRPr/>
            </a:pPr>
            <a:endParaRPr lang="nl-NL"/>
          </a:p>
        </p:txBody>
      </p:sp>
      <p:sp>
        <p:nvSpPr>
          <p:cNvPr id="16" name="Freeform 10"/>
          <p:cNvSpPr>
            <a:spLocks/>
          </p:cNvSpPr>
          <p:nvPr/>
        </p:nvSpPr>
        <p:spPr bwMode="auto">
          <a:xfrm>
            <a:off x="6239577" y="3285843"/>
            <a:ext cx="679504" cy="631864"/>
          </a:xfrm>
          <a:custGeom>
            <a:avLst/>
            <a:gdLst>
              <a:gd name="T0" fmla="*/ 379 w 409"/>
              <a:gd name="T1" fmla="*/ 273 h 339"/>
              <a:gd name="T2" fmla="*/ 397 w 409"/>
              <a:gd name="T3" fmla="*/ 278 h 339"/>
              <a:gd name="T4" fmla="*/ 409 w 409"/>
              <a:gd name="T5" fmla="*/ 290 h 339"/>
              <a:gd name="T6" fmla="*/ 409 w 409"/>
              <a:gd name="T7" fmla="*/ 315 h 339"/>
              <a:gd name="T8" fmla="*/ 402 w 409"/>
              <a:gd name="T9" fmla="*/ 334 h 339"/>
              <a:gd name="T10" fmla="*/ 370 w 409"/>
              <a:gd name="T11" fmla="*/ 335 h 339"/>
              <a:gd name="T12" fmla="*/ 360 w 409"/>
              <a:gd name="T13" fmla="*/ 325 h 339"/>
              <a:gd name="T14" fmla="*/ 327 w 409"/>
              <a:gd name="T15" fmla="*/ 304 h 339"/>
              <a:gd name="T16" fmla="*/ 318 w 409"/>
              <a:gd name="T17" fmla="*/ 288 h 339"/>
              <a:gd name="T18" fmla="*/ 307 w 409"/>
              <a:gd name="T19" fmla="*/ 262 h 339"/>
              <a:gd name="T20" fmla="*/ 291 w 409"/>
              <a:gd name="T21" fmla="*/ 241 h 339"/>
              <a:gd name="T22" fmla="*/ 282 w 409"/>
              <a:gd name="T23" fmla="*/ 220 h 339"/>
              <a:gd name="T24" fmla="*/ 254 w 409"/>
              <a:gd name="T25" fmla="*/ 210 h 339"/>
              <a:gd name="T26" fmla="*/ 228 w 409"/>
              <a:gd name="T27" fmla="*/ 210 h 339"/>
              <a:gd name="T28" fmla="*/ 207 w 409"/>
              <a:gd name="T29" fmla="*/ 205 h 339"/>
              <a:gd name="T30" fmla="*/ 182 w 409"/>
              <a:gd name="T31" fmla="*/ 179 h 339"/>
              <a:gd name="T32" fmla="*/ 179 w 409"/>
              <a:gd name="T33" fmla="*/ 168 h 339"/>
              <a:gd name="T34" fmla="*/ 169 w 409"/>
              <a:gd name="T35" fmla="*/ 157 h 339"/>
              <a:gd name="T36" fmla="*/ 152 w 409"/>
              <a:gd name="T37" fmla="*/ 139 h 339"/>
              <a:gd name="T38" fmla="*/ 136 w 409"/>
              <a:gd name="T39" fmla="*/ 121 h 339"/>
              <a:gd name="T40" fmla="*/ 107 w 409"/>
              <a:gd name="T41" fmla="*/ 96 h 339"/>
              <a:gd name="T42" fmla="*/ 87 w 409"/>
              <a:gd name="T43" fmla="*/ 81 h 339"/>
              <a:gd name="T44" fmla="*/ 68 w 409"/>
              <a:gd name="T45" fmla="*/ 73 h 339"/>
              <a:gd name="T46" fmla="*/ 43 w 409"/>
              <a:gd name="T47" fmla="*/ 70 h 339"/>
              <a:gd name="T48" fmla="*/ 30 w 409"/>
              <a:gd name="T49" fmla="*/ 65 h 339"/>
              <a:gd name="T50" fmla="*/ 10 w 409"/>
              <a:gd name="T51" fmla="*/ 65 h 339"/>
              <a:gd name="T52" fmla="*/ 0 w 409"/>
              <a:gd name="T53" fmla="*/ 63 h 339"/>
              <a:gd name="T54" fmla="*/ 14 w 409"/>
              <a:gd name="T55" fmla="*/ 50 h 339"/>
              <a:gd name="T56" fmla="*/ 32 w 409"/>
              <a:gd name="T57" fmla="*/ 40 h 339"/>
              <a:gd name="T58" fmla="*/ 45 w 409"/>
              <a:gd name="T59" fmla="*/ 33 h 339"/>
              <a:gd name="T60" fmla="*/ 58 w 409"/>
              <a:gd name="T61" fmla="*/ 25 h 339"/>
              <a:gd name="T62" fmla="*/ 73 w 409"/>
              <a:gd name="T63" fmla="*/ 13 h 339"/>
              <a:gd name="T64" fmla="*/ 90 w 409"/>
              <a:gd name="T65" fmla="*/ 1 h 339"/>
              <a:gd name="T66" fmla="*/ 106 w 409"/>
              <a:gd name="T67" fmla="*/ 5 h 339"/>
              <a:gd name="T68" fmla="*/ 126 w 409"/>
              <a:gd name="T69" fmla="*/ 37 h 339"/>
              <a:gd name="T70" fmla="*/ 135 w 409"/>
              <a:gd name="T71" fmla="*/ 55 h 339"/>
              <a:gd name="T72" fmla="*/ 152 w 409"/>
              <a:gd name="T73" fmla="*/ 74 h 339"/>
              <a:gd name="T74" fmla="*/ 174 w 409"/>
              <a:gd name="T75" fmla="*/ 89 h 339"/>
              <a:gd name="T76" fmla="*/ 192 w 409"/>
              <a:gd name="T77" fmla="*/ 95 h 339"/>
              <a:gd name="T78" fmla="*/ 202 w 409"/>
              <a:gd name="T79" fmla="*/ 96 h 339"/>
              <a:gd name="T80" fmla="*/ 214 w 409"/>
              <a:gd name="T81" fmla="*/ 107 h 339"/>
              <a:gd name="T82" fmla="*/ 228 w 409"/>
              <a:gd name="T83" fmla="*/ 114 h 339"/>
              <a:gd name="T84" fmla="*/ 247 w 409"/>
              <a:gd name="T85" fmla="*/ 116 h 339"/>
              <a:gd name="T86" fmla="*/ 270 w 409"/>
              <a:gd name="T87" fmla="*/ 115 h 339"/>
              <a:gd name="T88" fmla="*/ 294 w 409"/>
              <a:gd name="T89" fmla="*/ 114 h 339"/>
              <a:gd name="T90" fmla="*/ 304 w 409"/>
              <a:gd name="T91" fmla="*/ 123 h 339"/>
              <a:gd name="T92" fmla="*/ 300 w 409"/>
              <a:gd name="T93" fmla="*/ 154 h 339"/>
              <a:gd name="T94" fmla="*/ 318 w 409"/>
              <a:gd name="T95" fmla="*/ 179 h 339"/>
              <a:gd name="T96" fmla="*/ 318 w 409"/>
              <a:gd name="T97" fmla="*/ 206 h 339"/>
              <a:gd name="T98" fmla="*/ 321 w 409"/>
              <a:gd name="T99" fmla="*/ 230 h 339"/>
              <a:gd name="T100" fmla="*/ 334 w 409"/>
              <a:gd name="T101" fmla="*/ 256 h 339"/>
              <a:gd name="T102" fmla="*/ 361 w 409"/>
              <a:gd name="T103" fmla="*/ 273 h 33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09"/>
              <a:gd name="T157" fmla="*/ 0 h 339"/>
              <a:gd name="T158" fmla="*/ 409 w 409"/>
              <a:gd name="T159" fmla="*/ 339 h 33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09" h="339">
                <a:moveTo>
                  <a:pt x="373" y="273"/>
                </a:moveTo>
                <a:lnTo>
                  <a:pt x="374" y="273"/>
                </a:lnTo>
                <a:lnTo>
                  <a:pt x="379" y="273"/>
                </a:lnTo>
                <a:lnTo>
                  <a:pt x="385" y="274"/>
                </a:lnTo>
                <a:lnTo>
                  <a:pt x="391" y="275"/>
                </a:lnTo>
                <a:lnTo>
                  <a:pt x="397" y="278"/>
                </a:lnTo>
                <a:lnTo>
                  <a:pt x="403" y="280"/>
                </a:lnTo>
                <a:lnTo>
                  <a:pt x="408" y="285"/>
                </a:lnTo>
                <a:lnTo>
                  <a:pt x="409" y="290"/>
                </a:lnTo>
                <a:lnTo>
                  <a:pt x="409" y="301"/>
                </a:lnTo>
                <a:lnTo>
                  <a:pt x="409" y="309"/>
                </a:lnTo>
                <a:lnTo>
                  <a:pt x="409" y="315"/>
                </a:lnTo>
                <a:lnTo>
                  <a:pt x="409" y="321"/>
                </a:lnTo>
                <a:lnTo>
                  <a:pt x="406" y="328"/>
                </a:lnTo>
                <a:lnTo>
                  <a:pt x="402" y="334"/>
                </a:lnTo>
                <a:lnTo>
                  <a:pt x="397" y="338"/>
                </a:lnTo>
                <a:lnTo>
                  <a:pt x="395" y="339"/>
                </a:lnTo>
                <a:lnTo>
                  <a:pt x="370" y="335"/>
                </a:lnTo>
                <a:lnTo>
                  <a:pt x="370" y="334"/>
                </a:lnTo>
                <a:lnTo>
                  <a:pt x="367" y="332"/>
                </a:lnTo>
                <a:lnTo>
                  <a:pt x="360" y="325"/>
                </a:lnTo>
                <a:lnTo>
                  <a:pt x="349" y="315"/>
                </a:lnTo>
                <a:lnTo>
                  <a:pt x="336" y="306"/>
                </a:lnTo>
                <a:lnTo>
                  <a:pt x="327" y="304"/>
                </a:lnTo>
                <a:lnTo>
                  <a:pt x="321" y="303"/>
                </a:lnTo>
                <a:lnTo>
                  <a:pt x="318" y="297"/>
                </a:lnTo>
                <a:lnTo>
                  <a:pt x="318" y="288"/>
                </a:lnTo>
                <a:lnTo>
                  <a:pt x="320" y="280"/>
                </a:lnTo>
                <a:lnTo>
                  <a:pt x="319" y="272"/>
                </a:lnTo>
                <a:lnTo>
                  <a:pt x="307" y="262"/>
                </a:lnTo>
                <a:lnTo>
                  <a:pt x="299" y="256"/>
                </a:lnTo>
                <a:lnTo>
                  <a:pt x="295" y="249"/>
                </a:lnTo>
                <a:lnTo>
                  <a:pt x="291" y="241"/>
                </a:lnTo>
                <a:lnTo>
                  <a:pt x="289" y="234"/>
                </a:lnTo>
                <a:lnTo>
                  <a:pt x="285" y="226"/>
                </a:lnTo>
                <a:lnTo>
                  <a:pt x="282" y="220"/>
                </a:lnTo>
                <a:lnTo>
                  <a:pt x="275" y="214"/>
                </a:lnTo>
                <a:lnTo>
                  <a:pt x="265" y="211"/>
                </a:lnTo>
                <a:lnTo>
                  <a:pt x="254" y="210"/>
                </a:lnTo>
                <a:lnTo>
                  <a:pt x="244" y="209"/>
                </a:lnTo>
                <a:lnTo>
                  <a:pt x="236" y="209"/>
                </a:lnTo>
                <a:lnTo>
                  <a:pt x="228" y="210"/>
                </a:lnTo>
                <a:lnTo>
                  <a:pt x="221" y="210"/>
                </a:lnTo>
                <a:lnTo>
                  <a:pt x="214" y="209"/>
                </a:lnTo>
                <a:lnTo>
                  <a:pt x="207" y="205"/>
                </a:lnTo>
                <a:lnTo>
                  <a:pt x="199" y="200"/>
                </a:lnTo>
                <a:lnTo>
                  <a:pt x="186" y="188"/>
                </a:lnTo>
                <a:lnTo>
                  <a:pt x="182" y="179"/>
                </a:lnTo>
                <a:lnTo>
                  <a:pt x="181" y="172"/>
                </a:lnTo>
                <a:lnTo>
                  <a:pt x="181" y="169"/>
                </a:lnTo>
                <a:lnTo>
                  <a:pt x="179" y="168"/>
                </a:lnTo>
                <a:lnTo>
                  <a:pt x="177" y="166"/>
                </a:lnTo>
                <a:lnTo>
                  <a:pt x="174" y="161"/>
                </a:lnTo>
                <a:lnTo>
                  <a:pt x="169" y="157"/>
                </a:lnTo>
                <a:lnTo>
                  <a:pt x="163" y="151"/>
                </a:lnTo>
                <a:lnTo>
                  <a:pt x="158" y="145"/>
                </a:lnTo>
                <a:lnTo>
                  <a:pt x="152" y="139"/>
                </a:lnTo>
                <a:lnTo>
                  <a:pt x="146" y="134"/>
                </a:lnTo>
                <a:lnTo>
                  <a:pt x="139" y="126"/>
                </a:lnTo>
                <a:lnTo>
                  <a:pt x="136" y="121"/>
                </a:lnTo>
                <a:lnTo>
                  <a:pt x="130" y="114"/>
                </a:lnTo>
                <a:lnTo>
                  <a:pt x="116" y="103"/>
                </a:lnTo>
                <a:lnTo>
                  <a:pt x="107" y="96"/>
                </a:lnTo>
                <a:lnTo>
                  <a:pt x="99" y="90"/>
                </a:lnTo>
                <a:lnTo>
                  <a:pt x="93" y="84"/>
                </a:lnTo>
                <a:lnTo>
                  <a:pt x="87" y="81"/>
                </a:lnTo>
                <a:lnTo>
                  <a:pt x="82" y="77"/>
                </a:lnTo>
                <a:lnTo>
                  <a:pt x="76" y="75"/>
                </a:lnTo>
                <a:lnTo>
                  <a:pt x="68" y="73"/>
                </a:lnTo>
                <a:lnTo>
                  <a:pt x="60" y="71"/>
                </a:lnTo>
                <a:lnTo>
                  <a:pt x="48" y="70"/>
                </a:lnTo>
                <a:lnTo>
                  <a:pt x="43" y="70"/>
                </a:lnTo>
                <a:lnTo>
                  <a:pt x="41" y="70"/>
                </a:lnTo>
                <a:lnTo>
                  <a:pt x="35" y="67"/>
                </a:lnTo>
                <a:lnTo>
                  <a:pt x="30" y="65"/>
                </a:lnTo>
                <a:lnTo>
                  <a:pt x="23" y="65"/>
                </a:lnTo>
                <a:lnTo>
                  <a:pt x="17" y="65"/>
                </a:lnTo>
                <a:lnTo>
                  <a:pt x="10" y="65"/>
                </a:lnTo>
                <a:lnTo>
                  <a:pt x="5" y="66"/>
                </a:lnTo>
                <a:lnTo>
                  <a:pt x="1" y="65"/>
                </a:lnTo>
                <a:lnTo>
                  <a:pt x="0" y="63"/>
                </a:lnTo>
                <a:lnTo>
                  <a:pt x="1" y="60"/>
                </a:lnTo>
                <a:lnTo>
                  <a:pt x="7" y="54"/>
                </a:lnTo>
                <a:lnTo>
                  <a:pt x="14" y="50"/>
                </a:lnTo>
                <a:lnTo>
                  <a:pt x="20" y="47"/>
                </a:lnTo>
                <a:lnTo>
                  <a:pt x="29" y="43"/>
                </a:lnTo>
                <a:lnTo>
                  <a:pt x="32" y="40"/>
                </a:lnTo>
                <a:lnTo>
                  <a:pt x="37" y="38"/>
                </a:lnTo>
                <a:lnTo>
                  <a:pt x="40" y="36"/>
                </a:lnTo>
                <a:lnTo>
                  <a:pt x="45" y="33"/>
                </a:lnTo>
                <a:lnTo>
                  <a:pt x="49" y="31"/>
                </a:lnTo>
                <a:lnTo>
                  <a:pt x="54" y="29"/>
                </a:lnTo>
                <a:lnTo>
                  <a:pt x="58" y="25"/>
                </a:lnTo>
                <a:lnTo>
                  <a:pt x="63" y="22"/>
                </a:lnTo>
                <a:lnTo>
                  <a:pt x="69" y="17"/>
                </a:lnTo>
                <a:lnTo>
                  <a:pt x="73" y="13"/>
                </a:lnTo>
                <a:lnTo>
                  <a:pt x="79" y="8"/>
                </a:lnTo>
                <a:lnTo>
                  <a:pt x="85" y="5"/>
                </a:lnTo>
                <a:lnTo>
                  <a:pt x="90" y="1"/>
                </a:lnTo>
                <a:lnTo>
                  <a:pt x="95" y="0"/>
                </a:lnTo>
                <a:lnTo>
                  <a:pt x="100" y="1"/>
                </a:lnTo>
                <a:lnTo>
                  <a:pt x="106" y="5"/>
                </a:lnTo>
                <a:lnTo>
                  <a:pt x="115" y="15"/>
                </a:lnTo>
                <a:lnTo>
                  <a:pt x="122" y="27"/>
                </a:lnTo>
                <a:lnTo>
                  <a:pt x="126" y="37"/>
                </a:lnTo>
                <a:lnTo>
                  <a:pt x="129" y="46"/>
                </a:lnTo>
                <a:lnTo>
                  <a:pt x="131" y="51"/>
                </a:lnTo>
                <a:lnTo>
                  <a:pt x="135" y="55"/>
                </a:lnTo>
                <a:lnTo>
                  <a:pt x="139" y="61"/>
                </a:lnTo>
                <a:lnTo>
                  <a:pt x="145" y="67"/>
                </a:lnTo>
                <a:lnTo>
                  <a:pt x="152" y="74"/>
                </a:lnTo>
                <a:lnTo>
                  <a:pt x="159" y="80"/>
                </a:lnTo>
                <a:lnTo>
                  <a:pt x="166" y="84"/>
                </a:lnTo>
                <a:lnTo>
                  <a:pt x="174" y="89"/>
                </a:lnTo>
                <a:lnTo>
                  <a:pt x="181" y="92"/>
                </a:lnTo>
                <a:lnTo>
                  <a:pt x="188" y="93"/>
                </a:lnTo>
                <a:lnTo>
                  <a:pt x="192" y="95"/>
                </a:lnTo>
                <a:lnTo>
                  <a:pt x="196" y="95"/>
                </a:lnTo>
                <a:lnTo>
                  <a:pt x="199" y="95"/>
                </a:lnTo>
                <a:lnTo>
                  <a:pt x="202" y="96"/>
                </a:lnTo>
                <a:lnTo>
                  <a:pt x="206" y="98"/>
                </a:lnTo>
                <a:lnTo>
                  <a:pt x="209" y="103"/>
                </a:lnTo>
                <a:lnTo>
                  <a:pt x="214" y="107"/>
                </a:lnTo>
                <a:lnTo>
                  <a:pt x="217" y="111"/>
                </a:lnTo>
                <a:lnTo>
                  <a:pt x="223" y="113"/>
                </a:lnTo>
                <a:lnTo>
                  <a:pt x="228" y="114"/>
                </a:lnTo>
                <a:lnTo>
                  <a:pt x="234" y="115"/>
                </a:lnTo>
                <a:lnTo>
                  <a:pt x="241" y="116"/>
                </a:lnTo>
                <a:lnTo>
                  <a:pt x="247" y="116"/>
                </a:lnTo>
                <a:lnTo>
                  <a:pt x="254" y="116"/>
                </a:lnTo>
                <a:lnTo>
                  <a:pt x="262" y="116"/>
                </a:lnTo>
                <a:lnTo>
                  <a:pt x="270" y="115"/>
                </a:lnTo>
                <a:lnTo>
                  <a:pt x="280" y="114"/>
                </a:lnTo>
                <a:lnTo>
                  <a:pt x="287" y="113"/>
                </a:lnTo>
                <a:lnTo>
                  <a:pt x="294" y="114"/>
                </a:lnTo>
                <a:lnTo>
                  <a:pt x="299" y="115"/>
                </a:lnTo>
                <a:lnTo>
                  <a:pt x="303" y="118"/>
                </a:lnTo>
                <a:lnTo>
                  <a:pt x="304" y="123"/>
                </a:lnTo>
                <a:lnTo>
                  <a:pt x="303" y="136"/>
                </a:lnTo>
                <a:lnTo>
                  <a:pt x="300" y="146"/>
                </a:lnTo>
                <a:lnTo>
                  <a:pt x="300" y="154"/>
                </a:lnTo>
                <a:lnTo>
                  <a:pt x="307" y="161"/>
                </a:lnTo>
                <a:lnTo>
                  <a:pt x="314" y="169"/>
                </a:lnTo>
                <a:lnTo>
                  <a:pt x="318" y="179"/>
                </a:lnTo>
                <a:lnTo>
                  <a:pt x="318" y="188"/>
                </a:lnTo>
                <a:lnTo>
                  <a:pt x="318" y="197"/>
                </a:lnTo>
                <a:lnTo>
                  <a:pt x="318" y="206"/>
                </a:lnTo>
                <a:lnTo>
                  <a:pt x="320" y="218"/>
                </a:lnTo>
                <a:lnTo>
                  <a:pt x="321" y="227"/>
                </a:lnTo>
                <a:lnTo>
                  <a:pt x="321" y="230"/>
                </a:lnTo>
                <a:lnTo>
                  <a:pt x="323" y="234"/>
                </a:lnTo>
                <a:lnTo>
                  <a:pt x="328" y="244"/>
                </a:lnTo>
                <a:lnTo>
                  <a:pt x="334" y="256"/>
                </a:lnTo>
                <a:lnTo>
                  <a:pt x="342" y="266"/>
                </a:lnTo>
                <a:lnTo>
                  <a:pt x="351" y="272"/>
                </a:lnTo>
                <a:lnTo>
                  <a:pt x="361" y="273"/>
                </a:lnTo>
                <a:lnTo>
                  <a:pt x="370" y="273"/>
                </a:lnTo>
                <a:lnTo>
                  <a:pt x="373" y="273"/>
                </a:lnTo>
                <a:close/>
              </a:path>
            </a:pathLst>
          </a:custGeom>
          <a:solidFill>
            <a:schemeClr val="accent3"/>
          </a:solidFill>
          <a:ln w="12700">
            <a:solidFill>
              <a:schemeClr val="bg1"/>
            </a:solidFill>
            <a:round/>
            <a:headEnd/>
            <a:tailEnd/>
          </a:ln>
        </p:spPr>
        <p:txBody>
          <a:bodyPr/>
          <a:lstStyle/>
          <a:p>
            <a:pPr>
              <a:defRPr/>
            </a:pPr>
            <a:endParaRPr lang="nl-NL"/>
          </a:p>
        </p:txBody>
      </p:sp>
      <p:sp>
        <p:nvSpPr>
          <p:cNvPr id="17" name="Freeform 11"/>
          <p:cNvSpPr>
            <a:spLocks/>
          </p:cNvSpPr>
          <p:nvPr/>
        </p:nvSpPr>
        <p:spPr bwMode="auto">
          <a:xfrm>
            <a:off x="5519213" y="3693992"/>
            <a:ext cx="985205" cy="1125400"/>
          </a:xfrm>
          <a:custGeom>
            <a:avLst/>
            <a:gdLst>
              <a:gd name="T0" fmla="*/ 151 w 595"/>
              <a:gd name="T1" fmla="*/ 34 h 601"/>
              <a:gd name="T2" fmla="*/ 119 w 595"/>
              <a:gd name="T3" fmla="*/ 48 h 601"/>
              <a:gd name="T4" fmla="*/ 81 w 595"/>
              <a:gd name="T5" fmla="*/ 42 h 601"/>
              <a:gd name="T6" fmla="*/ 61 w 595"/>
              <a:gd name="T7" fmla="*/ 70 h 601"/>
              <a:gd name="T8" fmla="*/ 27 w 595"/>
              <a:gd name="T9" fmla="*/ 110 h 601"/>
              <a:gd name="T10" fmla="*/ 6 w 595"/>
              <a:gd name="T11" fmla="*/ 145 h 601"/>
              <a:gd name="T12" fmla="*/ 35 w 595"/>
              <a:gd name="T13" fmla="*/ 166 h 601"/>
              <a:gd name="T14" fmla="*/ 60 w 595"/>
              <a:gd name="T15" fmla="*/ 202 h 601"/>
              <a:gd name="T16" fmla="*/ 96 w 595"/>
              <a:gd name="T17" fmla="*/ 232 h 601"/>
              <a:gd name="T18" fmla="*/ 126 w 595"/>
              <a:gd name="T19" fmla="*/ 272 h 601"/>
              <a:gd name="T20" fmla="*/ 103 w 595"/>
              <a:gd name="T21" fmla="*/ 348 h 601"/>
              <a:gd name="T22" fmla="*/ 134 w 595"/>
              <a:gd name="T23" fmla="*/ 427 h 601"/>
              <a:gd name="T24" fmla="*/ 152 w 595"/>
              <a:gd name="T25" fmla="*/ 471 h 601"/>
              <a:gd name="T26" fmla="*/ 191 w 595"/>
              <a:gd name="T27" fmla="*/ 488 h 601"/>
              <a:gd name="T28" fmla="*/ 198 w 595"/>
              <a:gd name="T29" fmla="*/ 431 h 601"/>
              <a:gd name="T30" fmla="*/ 241 w 595"/>
              <a:gd name="T31" fmla="*/ 413 h 601"/>
              <a:gd name="T32" fmla="*/ 267 w 595"/>
              <a:gd name="T33" fmla="*/ 456 h 601"/>
              <a:gd name="T34" fmla="*/ 289 w 595"/>
              <a:gd name="T35" fmla="*/ 485 h 601"/>
              <a:gd name="T36" fmla="*/ 296 w 595"/>
              <a:gd name="T37" fmla="*/ 546 h 601"/>
              <a:gd name="T38" fmla="*/ 330 w 595"/>
              <a:gd name="T39" fmla="*/ 596 h 601"/>
              <a:gd name="T40" fmla="*/ 327 w 595"/>
              <a:gd name="T41" fmla="*/ 534 h 601"/>
              <a:gd name="T42" fmla="*/ 353 w 595"/>
              <a:gd name="T43" fmla="*/ 485 h 601"/>
              <a:gd name="T44" fmla="*/ 393 w 595"/>
              <a:gd name="T45" fmla="*/ 479 h 601"/>
              <a:gd name="T46" fmla="*/ 412 w 595"/>
              <a:gd name="T47" fmla="*/ 510 h 601"/>
              <a:gd name="T48" fmla="*/ 446 w 595"/>
              <a:gd name="T49" fmla="*/ 562 h 601"/>
              <a:gd name="T50" fmla="*/ 482 w 595"/>
              <a:gd name="T51" fmla="*/ 590 h 601"/>
              <a:gd name="T52" fmla="*/ 513 w 595"/>
              <a:gd name="T53" fmla="*/ 595 h 601"/>
              <a:gd name="T54" fmla="*/ 491 w 595"/>
              <a:gd name="T55" fmla="*/ 562 h 601"/>
              <a:gd name="T56" fmla="*/ 467 w 595"/>
              <a:gd name="T57" fmla="*/ 534 h 601"/>
              <a:gd name="T58" fmla="*/ 471 w 595"/>
              <a:gd name="T59" fmla="*/ 499 h 601"/>
              <a:gd name="T60" fmla="*/ 467 w 595"/>
              <a:gd name="T61" fmla="*/ 447 h 601"/>
              <a:gd name="T62" fmla="*/ 459 w 595"/>
              <a:gd name="T63" fmla="*/ 395 h 601"/>
              <a:gd name="T64" fmla="*/ 438 w 595"/>
              <a:gd name="T65" fmla="*/ 352 h 601"/>
              <a:gd name="T66" fmla="*/ 415 w 595"/>
              <a:gd name="T67" fmla="*/ 313 h 601"/>
              <a:gd name="T68" fmla="*/ 388 w 595"/>
              <a:gd name="T69" fmla="*/ 247 h 601"/>
              <a:gd name="T70" fmla="*/ 412 w 595"/>
              <a:gd name="T71" fmla="*/ 249 h 601"/>
              <a:gd name="T72" fmla="*/ 437 w 595"/>
              <a:gd name="T73" fmla="*/ 255 h 601"/>
              <a:gd name="T74" fmla="*/ 461 w 595"/>
              <a:gd name="T75" fmla="*/ 269 h 601"/>
              <a:gd name="T76" fmla="*/ 490 w 595"/>
              <a:gd name="T77" fmla="*/ 303 h 601"/>
              <a:gd name="T78" fmla="*/ 507 w 595"/>
              <a:gd name="T79" fmla="*/ 314 h 601"/>
              <a:gd name="T80" fmla="*/ 549 w 595"/>
              <a:gd name="T81" fmla="*/ 296 h 601"/>
              <a:gd name="T82" fmla="*/ 592 w 595"/>
              <a:gd name="T83" fmla="*/ 285 h 601"/>
              <a:gd name="T84" fmla="*/ 594 w 595"/>
              <a:gd name="T85" fmla="*/ 267 h 601"/>
              <a:gd name="T86" fmla="*/ 550 w 595"/>
              <a:gd name="T87" fmla="*/ 253 h 601"/>
              <a:gd name="T88" fmla="*/ 522 w 595"/>
              <a:gd name="T89" fmla="*/ 251 h 601"/>
              <a:gd name="T90" fmla="*/ 503 w 595"/>
              <a:gd name="T91" fmla="*/ 201 h 601"/>
              <a:gd name="T92" fmla="*/ 483 w 595"/>
              <a:gd name="T93" fmla="*/ 162 h 601"/>
              <a:gd name="T94" fmla="*/ 462 w 595"/>
              <a:gd name="T95" fmla="*/ 133 h 601"/>
              <a:gd name="T96" fmla="*/ 425 w 595"/>
              <a:gd name="T97" fmla="*/ 125 h 601"/>
              <a:gd name="T98" fmla="*/ 391 w 595"/>
              <a:gd name="T99" fmla="*/ 97 h 601"/>
              <a:gd name="T100" fmla="*/ 352 w 595"/>
              <a:gd name="T101" fmla="*/ 72 h 601"/>
              <a:gd name="T102" fmla="*/ 326 w 595"/>
              <a:gd name="T103" fmla="*/ 72 h 601"/>
              <a:gd name="T104" fmla="*/ 293 w 595"/>
              <a:gd name="T105" fmla="*/ 44 h 601"/>
              <a:gd name="T106" fmla="*/ 255 w 595"/>
              <a:gd name="T107" fmla="*/ 40 h 601"/>
              <a:gd name="T108" fmla="*/ 233 w 595"/>
              <a:gd name="T109" fmla="*/ 16 h 601"/>
              <a:gd name="T110" fmla="*/ 209 w 595"/>
              <a:gd name="T111" fmla="*/ 3 h 60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95"/>
              <a:gd name="T169" fmla="*/ 0 h 601"/>
              <a:gd name="T170" fmla="*/ 595 w 595"/>
              <a:gd name="T171" fmla="*/ 601 h 60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95" h="601">
                <a:moveTo>
                  <a:pt x="198" y="0"/>
                </a:moveTo>
                <a:lnTo>
                  <a:pt x="167" y="6"/>
                </a:lnTo>
                <a:lnTo>
                  <a:pt x="165" y="10"/>
                </a:lnTo>
                <a:lnTo>
                  <a:pt x="159" y="22"/>
                </a:lnTo>
                <a:lnTo>
                  <a:pt x="151" y="34"/>
                </a:lnTo>
                <a:lnTo>
                  <a:pt x="143" y="44"/>
                </a:lnTo>
                <a:lnTo>
                  <a:pt x="138" y="46"/>
                </a:lnTo>
                <a:lnTo>
                  <a:pt x="133" y="48"/>
                </a:lnTo>
                <a:lnTo>
                  <a:pt x="126" y="48"/>
                </a:lnTo>
                <a:lnTo>
                  <a:pt x="119" y="48"/>
                </a:lnTo>
                <a:lnTo>
                  <a:pt x="112" y="48"/>
                </a:lnTo>
                <a:lnTo>
                  <a:pt x="104" y="47"/>
                </a:lnTo>
                <a:lnTo>
                  <a:pt x="97" y="45"/>
                </a:lnTo>
                <a:lnTo>
                  <a:pt x="90" y="44"/>
                </a:lnTo>
                <a:lnTo>
                  <a:pt x="81" y="42"/>
                </a:lnTo>
                <a:lnTo>
                  <a:pt x="76" y="46"/>
                </a:lnTo>
                <a:lnTo>
                  <a:pt x="73" y="52"/>
                </a:lnTo>
                <a:lnTo>
                  <a:pt x="69" y="59"/>
                </a:lnTo>
                <a:lnTo>
                  <a:pt x="66" y="63"/>
                </a:lnTo>
                <a:lnTo>
                  <a:pt x="61" y="70"/>
                </a:lnTo>
                <a:lnTo>
                  <a:pt x="55" y="79"/>
                </a:lnTo>
                <a:lnTo>
                  <a:pt x="49" y="87"/>
                </a:lnTo>
                <a:lnTo>
                  <a:pt x="42" y="97"/>
                </a:lnTo>
                <a:lnTo>
                  <a:pt x="35" y="103"/>
                </a:lnTo>
                <a:lnTo>
                  <a:pt x="27" y="110"/>
                </a:lnTo>
                <a:lnTo>
                  <a:pt x="20" y="114"/>
                </a:lnTo>
                <a:lnTo>
                  <a:pt x="8" y="121"/>
                </a:lnTo>
                <a:lnTo>
                  <a:pt x="1" y="129"/>
                </a:lnTo>
                <a:lnTo>
                  <a:pt x="0" y="138"/>
                </a:lnTo>
                <a:lnTo>
                  <a:pt x="6" y="145"/>
                </a:lnTo>
                <a:lnTo>
                  <a:pt x="12" y="148"/>
                </a:lnTo>
                <a:lnTo>
                  <a:pt x="17" y="152"/>
                </a:lnTo>
                <a:lnTo>
                  <a:pt x="23" y="156"/>
                </a:lnTo>
                <a:lnTo>
                  <a:pt x="29" y="161"/>
                </a:lnTo>
                <a:lnTo>
                  <a:pt x="35" y="166"/>
                </a:lnTo>
                <a:lnTo>
                  <a:pt x="39" y="170"/>
                </a:lnTo>
                <a:lnTo>
                  <a:pt x="44" y="176"/>
                </a:lnTo>
                <a:lnTo>
                  <a:pt x="49" y="181"/>
                </a:lnTo>
                <a:lnTo>
                  <a:pt x="54" y="191"/>
                </a:lnTo>
                <a:lnTo>
                  <a:pt x="60" y="202"/>
                </a:lnTo>
                <a:lnTo>
                  <a:pt x="66" y="212"/>
                </a:lnTo>
                <a:lnTo>
                  <a:pt x="76" y="219"/>
                </a:lnTo>
                <a:lnTo>
                  <a:pt x="83" y="222"/>
                </a:lnTo>
                <a:lnTo>
                  <a:pt x="89" y="227"/>
                </a:lnTo>
                <a:lnTo>
                  <a:pt x="96" y="232"/>
                </a:lnTo>
                <a:lnTo>
                  <a:pt x="102" y="239"/>
                </a:lnTo>
                <a:lnTo>
                  <a:pt x="108" y="247"/>
                </a:lnTo>
                <a:lnTo>
                  <a:pt x="114" y="255"/>
                </a:lnTo>
                <a:lnTo>
                  <a:pt x="120" y="264"/>
                </a:lnTo>
                <a:lnTo>
                  <a:pt x="126" y="272"/>
                </a:lnTo>
                <a:lnTo>
                  <a:pt x="134" y="288"/>
                </a:lnTo>
                <a:lnTo>
                  <a:pt x="137" y="305"/>
                </a:lnTo>
                <a:lnTo>
                  <a:pt x="133" y="321"/>
                </a:lnTo>
                <a:lnTo>
                  <a:pt x="118" y="334"/>
                </a:lnTo>
                <a:lnTo>
                  <a:pt x="103" y="348"/>
                </a:lnTo>
                <a:lnTo>
                  <a:pt x="99" y="365"/>
                </a:lnTo>
                <a:lnTo>
                  <a:pt x="104" y="383"/>
                </a:lnTo>
                <a:lnTo>
                  <a:pt x="114" y="401"/>
                </a:lnTo>
                <a:lnTo>
                  <a:pt x="126" y="414"/>
                </a:lnTo>
                <a:lnTo>
                  <a:pt x="134" y="427"/>
                </a:lnTo>
                <a:lnTo>
                  <a:pt x="137" y="439"/>
                </a:lnTo>
                <a:lnTo>
                  <a:pt x="136" y="450"/>
                </a:lnTo>
                <a:lnTo>
                  <a:pt x="137" y="459"/>
                </a:lnTo>
                <a:lnTo>
                  <a:pt x="143" y="467"/>
                </a:lnTo>
                <a:lnTo>
                  <a:pt x="152" y="471"/>
                </a:lnTo>
                <a:lnTo>
                  <a:pt x="160" y="471"/>
                </a:lnTo>
                <a:lnTo>
                  <a:pt x="167" y="474"/>
                </a:lnTo>
                <a:lnTo>
                  <a:pt x="174" y="485"/>
                </a:lnTo>
                <a:lnTo>
                  <a:pt x="182" y="493"/>
                </a:lnTo>
                <a:lnTo>
                  <a:pt x="191" y="488"/>
                </a:lnTo>
                <a:lnTo>
                  <a:pt x="198" y="475"/>
                </a:lnTo>
                <a:lnTo>
                  <a:pt x="201" y="464"/>
                </a:lnTo>
                <a:lnTo>
                  <a:pt x="200" y="454"/>
                </a:lnTo>
                <a:lnTo>
                  <a:pt x="198" y="442"/>
                </a:lnTo>
                <a:lnTo>
                  <a:pt x="198" y="431"/>
                </a:lnTo>
                <a:lnTo>
                  <a:pt x="200" y="418"/>
                </a:lnTo>
                <a:lnTo>
                  <a:pt x="205" y="410"/>
                </a:lnTo>
                <a:lnTo>
                  <a:pt x="219" y="408"/>
                </a:lnTo>
                <a:lnTo>
                  <a:pt x="233" y="410"/>
                </a:lnTo>
                <a:lnTo>
                  <a:pt x="241" y="413"/>
                </a:lnTo>
                <a:lnTo>
                  <a:pt x="246" y="421"/>
                </a:lnTo>
                <a:lnTo>
                  <a:pt x="251" y="435"/>
                </a:lnTo>
                <a:lnTo>
                  <a:pt x="256" y="443"/>
                </a:lnTo>
                <a:lnTo>
                  <a:pt x="262" y="450"/>
                </a:lnTo>
                <a:lnTo>
                  <a:pt x="267" y="456"/>
                </a:lnTo>
                <a:lnTo>
                  <a:pt x="274" y="461"/>
                </a:lnTo>
                <a:lnTo>
                  <a:pt x="280" y="465"/>
                </a:lnTo>
                <a:lnTo>
                  <a:pt x="285" y="471"/>
                </a:lnTo>
                <a:lnTo>
                  <a:pt x="288" y="477"/>
                </a:lnTo>
                <a:lnTo>
                  <a:pt x="289" y="485"/>
                </a:lnTo>
                <a:lnTo>
                  <a:pt x="292" y="500"/>
                </a:lnTo>
                <a:lnTo>
                  <a:pt x="296" y="511"/>
                </a:lnTo>
                <a:lnTo>
                  <a:pt x="300" y="522"/>
                </a:lnTo>
                <a:lnTo>
                  <a:pt x="300" y="533"/>
                </a:lnTo>
                <a:lnTo>
                  <a:pt x="296" y="546"/>
                </a:lnTo>
                <a:lnTo>
                  <a:pt x="293" y="556"/>
                </a:lnTo>
                <a:lnTo>
                  <a:pt x="296" y="568"/>
                </a:lnTo>
                <a:lnTo>
                  <a:pt x="310" y="583"/>
                </a:lnTo>
                <a:lnTo>
                  <a:pt x="325" y="595"/>
                </a:lnTo>
                <a:lnTo>
                  <a:pt x="330" y="596"/>
                </a:lnTo>
                <a:lnTo>
                  <a:pt x="330" y="588"/>
                </a:lnTo>
                <a:lnTo>
                  <a:pt x="329" y="572"/>
                </a:lnTo>
                <a:lnTo>
                  <a:pt x="327" y="554"/>
                </a:lnTo>
                <a:lnTo>
                  <a:pt x="326" y="542"/>
                </a:lnTo>
                <a:lnTo>
                  <a:pt x="327" y="534"/>
                </a:lnTo>
                <a:lnTo>
                  <a:pt x="332" y="526"/>
                </a:lnTo>
                <a:lnTo>
                  <a:pt x="337" y="516"/>
                </a:lnTo>
                <a:lnTo>
                  <a:pt x="338" y="503"/>
                </a:lnTo>
                <a:lnTo>
                  <a:pt x="341" y="492"/>
                </a:lnTo>
                <a:lnTo>
                  <a:pt x="353" y="485"/>
                </a:lnTo>
                <a:lnTo>
                  <a:pt x="362" y="484"/>
                </a:lnTo>
                <a:lnTo>
                  <a:pt x="370" y="481"/>
                </a:lnTo>
                <a:lnTo>
                  <a:pt x="379" y="479"/>
                </a:lnTo>
                <a:lnTo>
                  <a:pt x="386" y="478"/>
                </a:lnTo>
                <a:lnTo>
                  <a:pt x="393" y="479"/>
                </a:lnTo>
                <a:lnTo>
                  <a:pt x="399" y="481"/>
                </a:lnTo>
                <a:lnTo>
                  <a:pt x="402" y="487"/>
                </a:lnTo>
                <a:lnTo>
                  <a:pt x="405" y="495"/>
                </a:lnTo>
                <a:lnTo>
                  <a:pt x="407" y="508"/>
                </a:lnTo>
                <a:lnTo>
                  <a:pt x="412" y="510"/>
                </a:lnTo>
                <a:lnTo>
                  <a:pt x="418" y="512"/>
                </a:lnTo>
                <a:lnTo>
                  <a:pt x="430" y="523"/>
                </a:lnTo>
                <a:lnTo>
                  <a:pt x="439" y="540"/>
                </a:lnTo>
                <a:lnTo>
                  <a:pt x="443" y="553"/>
                </a:lnTo>
                <a:lnTo>
                  <a:pt x="446" y="562"/>
                </a:lnTo>
                <a:lnTo>
                  <a:pt x="454" y="569"/>
                </a:lnTo>
                <a:lnTo>
                  <a:pt x="463" y="571"/>
                </a:lnTo>
                <a:lnTo>
                  <a:pt x="467" y="572"/>
                </a:lnTo>
                <a:lnTo>
                  <a:pt x="471" y="577"/>
                </a:lnTo>
                <a:lnTo>
                  <a:pt x="482" y="590"/>
                </a:lnTo>
                <a:lnTo>
                  <a:pt x="490" y="596"/>
                </a:lnTo>
                <a:lnTo>
                  <a:pt x="498" y="601"/>
                </a:lnTo>
                <a:lnTo>
                  <a:pt x="505" y="601"/>
                </a:lnTo>
                <a:lnTo>
                  <a:pt x="509" y="600"/>
                </a:lnTo>
                <a:lnTo>
                  <a:pt x="513" y="595"/>
                </a:lnTo>
                <a:lnTo>
                  <a:pt x="514" y="590"/>
                </a:lnTo>
                <a:lnTo>
                  <a:pt x="512" y="584"/>
                </a:lnTo>
                <a:lnTo>
                  <a:pt x="506" y="576"/>
                </a:lnTo>
                <a:lnTo>
                  <a:pt x="498" y="569"/>
                </a:lnTo>
                <a:lnTo>
                  <a:pt x="491" y="562"/>
                </a:lnTo>
                <a:lnTo>
                  <a:pt x="484" y="556"/>
                </a:lnTo>
                <a:lnTo>
                  <a:pt x="478" y="552"/>
                </a:lnTo>
                <a:lnTo>
                  <a:pt x="474" y="546"/>
                </a:lnTo>
                <a:lnTo>
                  <a:pt x="469" y="540"/>
                </a:lnTo>
                <a:lnTo>
                  <a:pt x="467" y="534"/>
                </a:lnTo>
                <a:lnTo>
                  <a:pt x="465" y="526"/>
                </a:lnTo>
                <a:lnTo>
                  <a:pt x="462" y="514"/>
                </a:lnTo>
                <a:lnTo>
                  <a:pt x="461" y="505"/>
                </a:lnTo>
                <a:lnTo>
                  <a:pt x="465" y="501"/>
                </a:lnTo>
                <a:lnTo>
                  <a:pt x="471" y="499"/>
                </a:lnTo>
                <a:lnTo>
                  <a:pt x="478" y="493"/>
                </a:lnTo>
                <a:lnTo>
                  <a:pt x="481" y="482"/>
                </a:lnTo>
                <a:lnTo>
                  <a:pt x="477" y="471"/>
                </a:lnTo>
                <a:lnTo>
                  <a:pt x="471" y="457"/>
                </a:lnTo>
                <a:lnTo>
                  <a:pt x="467" y="447"/>
                </a:lnTo>
                <a:lnTo>
                  <a:pt x="467" y="440"/>
                </a:lnTo>
                <a:lnTo>
                  <a:pt x="466" y="431"/>
                </a:lnTo>
                <a:lnTo>
                  <a:pt x="461" y="411"/>
                </a:lnTo>
                <a:lnTo>
                  <a:pt x="458" y="396"/>
                </a:lnTo>
                <a:lnTo>
                  <a:pt x="459" y="395"/>
                </a:lnTo>
                <a:lnTo>
                  <a:pt x="458" y="393"/>
                </a:lnTo>
                <a:lnTo>
                  <a:pt x="451" y="376"/>
                </a:lnTo>
                <a:lnTo>
                  <a:pt x="445" y="365"/>
                </a:lnTo>
                <a:lnTo>
                  <a:pt x="441" y="357"/>
                </a:lnTo>
                <a:lnTo>
                  <a:pt x="438" y="352"/>
                </a:lnTo>
                <a:lnTo>
                  <a:pt x="435" y="349"/>
                </a:lnTo>
                <a:lnTo>
                  <a:pt x="431" y="344"/>
                </a:lnTo>
                <a:lnTo>
                  <a:pt x="428" y="338"/>
                </a:lnTo>
                <a:lnTo>
                  <a:pt x="422" y="328"/>
                </a:lnTo>
                <a:lnTo>
                  <a:pt x="415" y="313"/>
                </a:lnTo>
                <a:lnTo>
                  <a:pt x="407" y="296"/>
                </a:lnTo>
                <a:lnTo>
                  <a:pt x="401" y="280"/>
                </a:lnTo>
                <a:lnTo>
                  <a:pt x="395" y="267"/>
                </a:lnTo>
                <a:lnTo>
                  <a:pt x="391" y="255"/>
                </a:lnTo>
                <a:lnTo>
                  <a:pt x="388" y="247"/>
                </a:lnTo>
                <a:lnTo>
                  <a:pt x="388" y="243"/>
                </a:lnTo>
                <a:lnTo>
                  <a:pt x="392" y="241"/>
                </a:lnTo>
                <a:lnTo>
                  <a:pt x="398" y="243"/>
                </a:lnTo>
                <a:lnTo>
                  <a:pt x="405" y="246"/>
                </a:lnTo>
                <a:lnTo>
                  <a:pt x="412" y="249"/>
                </a:lnTo>
                <a:lnTo>
                  <a:pt x="417" y="251"/>
                </a:lnTo>
                <a:lnTo>
                  <a:pt x="423" y="252"/>
                </a:lnTo>
                <a:lnTo>
                  <a:pt x="428" y="253"/>
                </a:lnTo>
                <a:lnTo>
                  <a:pt x="432" y="254"/>
                </a:lnTo>
                <a:lnTo>
                  <a:pt x="437" y="255"/>
                </a:lnTo>
                <a:lnTo>
                  <a:pt x="440" y="258"/>
                </a:lnTo>
                <a:lnTo>
                  <a:pt x="445" y="260"/>
                </a:lnTo>
                <a:lnTo>
                  <a:pt x="450" y="264"/>
                </a:lnTo>
                <a:lnTo>
                  <a:pt x="455" y="266"/>
                </a:lnTo>
                <a:lnTo>
                  <a:pt x="461" y="269"/>
                </a:lnTo>
                <a:lnTo>
                  <a:pt x="467" y="273"/>
                </a:lnTo>
                <a:lnTo>
                  <a:pt x="473" y="277"/>
                </a:lnTo>
                <a:lnTo>
                  <a:pt x="477" y="283"/>
                </a:lnTo>
                <a:lnTo>
                  <a:pt x="482" y="289"/>
                </a:lnTo>
                <a:lnTo>
                  <a:pt x="490" y="303"/>
                </a:lnTo>
                <a:lnTo>
                  <a:pt x="496" y="318"/>
                </a:lnTo>
                <a:lnTo>
                  <a:pt x="500" y="329"/>
                </a:lnTo>
                <a:lnTo>
                  <a:pt x="503" y="334"/>
                </a:lnTo>
                <a:lnTo>
                  <a:pt x="504" y="328"/>
                </a:lnTo>
                <a:lnTo>
                  <a:pt x="507" y="314"/>
                </a:lnTo>
                <a:lnTo>
                  <a:pt x="513" y="302"/>
                </a:lnTo>
                <a:lnTo>
                  <a:pt x="521" y="296"/>
                </a:lnTo>
                <a:lnTo>
                  <a:pt x="527" y="296"/>
                </a:lnTo>
                <a:lnTo>
                  <a:pt x="537" y="296"/>
                </a:lnTo>
                <a:lnTo>
                  <a:pt x="549" y="296"/>
                </a:lnTo>
                <a:lnTo>
                  <a:pt x="562" y="296"/>
                </a:lnTo>
                <a:lnTo>
                  <a:pt x="574" y="295"/>
                </a:lnTo>
                <a:lnTo>
                  <a:pt x="584" y="292"/>
                </a:lnTo>
                <a:lnTo>
                  <a:pt x="591" y="290"/>
                </a:lnTo>
                <a:lnTo>
                  <a:pt x="592" y="285"/>
                </a:lnTo>
                <a:lnTo>
                  <a:pt x="592" y="281"/>
                </a:lnTo>
                <a:lnTo>
                  <a:pt x="594" y="276"/>
                </a:lnTo>
                <a:lnTo>
                  <a:pt x="595" y="274"/>
                </a:lnTo>
                <a:lnTo>
                  <a:pt x="595" y="270"/>
                </a:lnTo>
                <a:lnTo>
                  <a:pt x="594" y="267"/>
                </a:lnTo>
                <a:lnTo>
                  <a:pt x="590" y="265"/>
                </a:lnTo>
                <a:lnTo>
                  <a:pt x="583" y="261"/>
                </a:lnTo>
                <a:lnTo>
                  <a:pt x="572" y="258"/>
                </a:lnTo>
                <a:lnTo>
                  <a:pt x="559" y="254"/>
                </a:lnTo>
                <a:lnTo>
                  <a:pt x="550" y="253"/>
                </a:lnTo>
                <a:lnTo>
                  <a:pt x="543" y="253"/>
                </a:lnTo>
                <a:lnTo>
                  <a:pt x="537" y="253"/>
                </a:lnTo>
                <a:lnTo>
                  <a:pt x="532" y="253"/>
                </a:lnTo>
                <a:lnTo>
                  <a:pt x="528" y="253"/>
                </a:lnTo>
                <a:lnTo>
                  <a:pt x="522" y="251"/>
                </a:lnTo>
                <a:lnTo>
                  <a:pt x="516" y="246"/>
                </a:lnTo>
                <a:lnTo>
                  <a:pt x="508" y="236"/>
                </a:lnTo>
                <a:lnTo>
                  <a:pt x="507" y="223"/>
                </a:lnTo>
                <a:lnTo>
                  <a:pt x="507" y="212"/>
                </a:lnTo>
                <a:lnTo>
                  <a:pt x="503" y="201"/>
                </a:lnTo>
                <a:lnTo>
                  <a:pt x="498" y="191"/>
                </a:lnTo>
                <a:lnTo>
                  <a:pt x="499" y="179"/>
                </a:lnTo>
                <a:lnTo>
                  <a:pt x="498" y="170"/>
                </a:lnTo>
                <a:lnTo>
                  <a:pt x="492" y="163"/>
                </a:lnTo>
                <a:lnTo>
                  <a:pt x="483" y="162"/>
                </a:lnTo>
                <a:lnTo>
                  <a:pt x="476" y="164"/>
                </a:lnTo>
                <a:lnTo>
                  <a:pt x="471" y="166"/>
                </a:lnTo>
                <a:lnTo>
                  <a:pt x="468" y="160"/>
                </a:lnTo>
                <a:lnTo>
                  <a:pt x="466" y="147"/>
                </a:lnTo>
                <a:lnTo>
                  <a:pt x="462" y="133"/>
                </a:lnTo>
                <a:lnTo>
                  <a:pt x="455" y="124"/>
                </a:lnTo>
                <a:lnTo>
                  <a:pt x="444" y="124"/>
                </a:lnTo>
                <a:lnTo>
                  <a:pt x="433" y="128"/>
                </a:lnTo>
                <a:lnTo>
                  <a:pt x="429" y="128"/>
                </a:lnTo>
                <a:lnTo>
                  <a:pt x="425" y="125"/>
                </a:lnTo>
                <a:lnTo>
                  <a:pt x="418" y="121"/>
                </a:lnTo>
                <a:lnTo>
                  <a:pt x="409" y="116"/>
                </a:lnTo>
                <a:lnTo>
                  <a:pt x="402" y="111"/>
                </a:lnTo>
                <a:lnTo>
                  <a:pt x="397" y="105"/>
                </a:lnTo>
                <a:lnTo>
                  <a:pt x="391" y="97"/>
                </a:lnTo>
                <a:lnTo>
                  <a:pt x="386" y="87"/>
                </a:lnTo>
                <a:lnTo>
                  <a:pt x="382" y="79"/>
                </a:lnTo>
                <a:lnTo>
                  <a:pt x="373" y="75"/>
                </a:lnTo>
                <a:lnTo>
                  <a:pt x="360" y="72"/>
                </a:lnTo>
                <a:lnTo>
                  <a:pt x="352" y="72"/>
                </a:lnTo>
                <a:lnTo>
                  <a:pt x="346" y="72"/>
                </a:lnTo>
                <a:lnTo>
                  <a:pt x="340" y="73"/>
                </a:lnTo>
                <a:lnTo>
                  <a:pt x="335" y="73"/>
                </a:lnTo>
                <a:lnTo>
                  <a:pt x="331" y="73"/>
                </a:lnTo>
                <a:lnTo>
                  <a:pt x="326" y="72"/>
                </a:lnTo>
                <a:lnTo>
                  <a:pt x="320" y="71"/>
                </a:lnTo>
                <a:lnTo>
                  <a:pt x="314" y="69"/>
                </a:lnTo>
                <a:lnTo>
                  <a:pt x="302" y="61"/>
                </a:lnTo>
                <a:lnTo>
                  <a:pt x="297" y="50"/>
                </a:lnTo>
                <a:lnTo>
                  <a:pt x="293" y="44"/>
                </a:lnTo>
                <a:lnTo>
                  <a:pt x="286" y="44"/>
                </a:lnTo>
                <a:lnTo>
                  <a:pt x="277" y="49"/>
                </a:lnTo>
                <a:lnTo>
                  <a:pt x="269" y="52"/>
                </a:lnTo>
                <a:lnTo>
                  <a:pt x="262" y="49"/>
                </a:lnTo>
                <a:lnTo>
                  <a:pt x="255" y="40"/>
                </a:lnTo>
                <a:lnTo>
                  <a:pt x="247" y="29"/>
                </a:lnTo>
                <a:lnTo>
                  <a:pt x="241" y="22"/>
                </a:lnTo>
                <a:lnTo>
                  <a:pt x="236" y="17"/>
                </a:lnTo>
                <a:lnTo>
                  <a:pt x="234" y="16"/>
                </a:lnTo>
                <a:lnTo>
                  <a:pt x="233" y="16"/>
                </a:lnTo>
                <a:lnTo>
                  <a:pt x="229" y="14"/>
                </a:lnTo>
                <a:lnTo>
                  <a:pt x="226" y="11"/>
                </a:lnTo>
                <a:lnTo>
                  <a:pt x="220" y="9"/>
                </a:lnTo>
                <a:lnTo>
                  <a:pt x="214" y="7"/>
                </a:lnTo>
                <a:lnTo>
                  <a:pt x="209" y="3"/>
                </a:lnTo>
                <a:lnTo>
                  <a:pt x="203" y="1"/>
                </a:lnTo>
                <a:lnTo>
                  <a:pt x="198" y="0"/>
                </a:lnTo>
                <a:close/>
              </a:path>
            </a:pathLst>
          </a:custGeom>
          <a:solidFill>
            <a:schemeClr val="accent3"/>
          </a:solidFill>
          <a:ln w="12700">
            <a:solidFill>
              <a:schemeClr val="bg1"/>
            </a:solidFill>
            <a:round/>
            <a:headEnd/>
            <a:tailEnd/>
          </a:ln>
        </p:spPr>
        <p:txBody>
          <a:bodyPr/>
          <a:lstStyle/>
          <a:p>
            <a:pPr>
              <a:defRPr/>
            </a:pPr>
            <a:endParaRPr lang="nl-NL"/>
          </a:p>
        </p:txBody>
      </p:sp>
      <p:sp>
        <p:nvSpPr>
          <p:cNvPr id="18" name="Freeform 12"/>
          <p:cNvSpPr>
            <a:spLocks/>
          </p:cNvSpPr>
          <p:nvPr/>
        </p:nvSpPr>
        <p:spPr bwMode="auto">
          <a:xfrm>
            <a:off x="5104549" y="1711307"/>
            <a:ext cx="2609052" cy="2385712"/>
          </a:xfrm>
          <a:custGeom>
            <a:avLst/>
            <a:gdLst>
              <a:gd name="T0" fmla="*/ 902 w 1573"/>
              <a:gd name="T1" fmla="*/ 479 h 1276"/>
              <a:gd name="T2" fmla="*/ 937 w 1573"/>
              <a:gd name="T3" fmla="*/ 560 h 1276"/>
              <a:gd name="T4" fmla="*/ 839 w 1573"/>
              <a:gd name="T5" fmla="*/ 472 h 1276"/>
              <a:gd name="T6" fmla="*/ 742 w 1573"/>
              <a:gd name="T7" fmla="*/ 450 h 1276"/>
              <a:gd name="T8" fmla="*/ 710 w 1573"/>
              <a:gd name="T9" fmla="*/ 371 h 1276"/>
              <a:gd name="T10" fmla="*/ 632 w 1573"/>
              <a:gd name="T11" fmla="*/ 460 h 1276"/>
              <a:gd name="T12" fmla="*/ 686 w 1573"/>
              <a:gd name="T13" fmla="*/ 630 h 1276"/>
              <a:gd name="T14" fmla="*/ 781 w 1573"/>
              <a:gd name="T15" fmla="*/ 764 h 1276"/>
              <a:gd name="T16" fmla="*/ 758 w 1573"/>
              <a:gd name="T17" fmla="*/ 787 h 1276"/>
              <a:gd name="T18" fmla="*/ 690 w 1573"/>
              <a:gd name="T19" fmla="*/ 766 h 1276"/>
              <a:gd name="T20" fmla="*/ 714 w 1573"/>
              <a:gd name="T21" fmla="*/ 867 h 1276"/>
              <a:gd name="T22" fmla="*/ 650 w 1573"/>
              <a:gd name="T23" fmla="*/ 894 h 1276"/>
              <a:gd name="T24" fmla="*/ 640 w 1573"/>
              <a:gd name="T25" fmla="*/ 911 h 1276"/>
              <a:gd name="T26" fmla="*/ 727 w 1573"/>
              <a:gd name="T27" fmla="*/ 948 h 1276"/>
              <a:gd name="T28" fmla="*/ 801 w 1573"/>
              <a:gd name="T29" fmla="*/ 1015 h 1276"/>
              <a:gd name="T30" fmla="*/ 898 w 1573"/>
              <a:gd name="T31" fmla="*/ 1070 h 1276"/>
              <a:gd name="T32" fmla="*/ 957 w 1573"/>
              <a:gd name="T33" fmla="*/ 1099 h 1276"/>
              <a:gd name="T34" fmla="*/ 976 w 1573"/>
              <a:gd name="T35" fmla="*/ 1237 h 1276"/>
              <a:gd name="T36" fmla="*/ 901 w 1573"/>
              <a:gd name="T37" fmla="*/ 1223 h 1276"/>
              <a:gd name="T38" fmla="*/ 828 w 1573"/>
              <a:gd name="T39" fmla="*/ 1201 h 1276"/>
              <a:gd name="T40" fmla="*/ 749 w 1573"/>
              <a:gd name="T41" fmla="*/ 1189 h 1276"/>
              <a:gd name="T42" fmla="*/ 696 w 1573"/>
              <a:gd name="T43" fmla="*/ 1171 h 1276"/>
              <a:gd name="T44" fmla="*/ 742 w 1573"/>
              <a:gd name="T45" fmla="*/ 1144 h 1276"/>
              <a:gd name="T46" fmla="*/ 699 w 1573"/>
              <a:gd name="T47" fmla="*/ 1098 h 1276"/>
              <a:gd name="T48" fmla="*/ 610 w 1573"/>
              <a:gd name="T49" fmla="*/ 1059 h 1276"/>
              <a:gd name="T50" fmla="*/ 519 w 1573"/>
              <a:gd name="T51" fmla="*/ 1060 h 1276"/>
              <a:gd name="T52" fmla="*/ 427 w 1573"/>
              <a:gd name="T53" fmla="*/ 1045 h 1276"/>
              <a:gd name="T54" fmla="*/ 330 w 1573"/>
              <a:gd name="T55" fmla="*/ 1037 h 1276"/>
              <a:gd name="T56" fmla="*/ 247 w 1573"/>
              <a:gd name="T57" fmla="*/ 1022 h 1276"/>
              <a:gd name="T58" fmla="*/ 178 w 1573"/>
              <a:gd name="T59" fmla="*/ 913 h 1276"/>
              <a:gd name="T60" fmla="*/ 242 w 1573"/>
              <a:gd name="T61" fmla="*/ 881 h 1276"/>
              <a:gd name="T62" fmla="*/ 225 w 1573"/>
              <a:gd name="T63" fmla="*/ 842 h 1276"/>
              <a:gd name="T64" fmla="*/ 126 w 1573"/>
              <a:gd name="T65" fmla="*/ 795 h 1276"/>
              <a:gd name="T66" fmla="*/ 59 w 1573"/>
              <a:gd name="T67" fmla="*/ 722 h 1276"/>
              <a:gd name="T68" fmla="*/ 0 w 1573"/>
              <a:gd name="T69" fmla="*/ 601 h 1276"/>
              <a:gd name="T70" fmla="*/ 83 w 1573"/>
              <a:gd name="T71" fmla="*/ 558 h 1276"/>
              <a:gd name="T72" fmla="*/ 157 w 1573"/>
              <a:gd name="T73" fmla="*/ 506 h 1276"/>
              <a:gd name="T74" fmla="*/ 225 w 1573"/>
              <a:gd name="T75" fmla="*/ 384 h 1276"/>
              <a:gd name="T76" fmla="*/ 279 w 1573"/>
              <a:gd name="T77" fmla="*/ 271 h 1276"/>
              <a:gd name="T78" fmla="*/ 391 w 1573"/>
              <a:gd name="T79" fmla="*/ 259 h 1276"/>
              <a:gd name="T80" fmla="*/ 462 w 1573"/>
              <a:gd name="T81" fmla="*/ 219 h 1276"/>
              <a:gd name="T82" fmla="*/ 552 w 1573"/>
              <a:gd name="T83" fmla="*/ 177 h 1276"/>
              <a:gd name="T84" fmla="*/ 665 w 1573"/>
              <a:gd name="T85" fmla="*/ 151 h 1276"/>
              <a:gd name="T86" fmla="*/ 775 w 1573"/>
              <a:gd name="T87" fmla="*/ 126 h 1276"/>
              <a:gd name="T88" fmla="*/ 875 w 1573"/>
              <a:gd name="T89" fmla="*/ 122 h 1276"/>
              <a:gd name="T90" fmla="*/ 992 w 1573"/>
              <a:gd name="T91" fmla="*/ 70 h 1276"/>
              <a:gd name="T92" fmla="*/ 1072 w 1573"/>
              <a:gd name="T93" fmla="*/ 62 h 1276"/>
              <a:gd name="T94" fmla="*/ 1150 w 1573"/>
              <a:gd name="T95" fmla="*/ 107 h 1276"/>
              <a:gd name="T96" fmla="*/ 1261 w 1573"/>
              <a:gd name="T97" fmla="*/ 157 h 1276"/>
              <a:gd name="T98" fmla="*/ 1367 w 1573"/>
              <a:gd name="T99" fmla="*/ 141 h 1276"/>
              <a:gd name="T100" fmla="*/ 1456 w 1573"/>
              <a:gd name="T101" fmla="*/ 123 h 1276"/>
              <a:gd name="T102" fmla="*/ 1456 w 1573"/>
              <a:gd name="T103" fmla="*/ 1 h 1276"/>
              <a:gd name="T104" fmla="*/ 1553 w 1573"/>
              <a:gd name="T105" fmla="*/ 41 h 1276"/>
              <a:gd name="T106" fmla="*/ 1520 w 1573"/>
              <a:gd name="T107" fmla="*/ 147 h 1276"/>
              <a:gd name="T108" fmla="*/ 1477 w 1573"/>
              <a:gd name="T109" fmla="*/ 279 h 1276"/>
              <a:gd name="T110" fmla="*/ 1397 w 1573"/>
              <a:gd name="T111" fmla="*/ 285 h 1276"/>
              <a:gd name="T112" fmla="*/ 1273 w 1573"/>
              <a:gd name="T113" fmla="*/ 255 h 1276"/>
              <a:gd name="T114" fmla="*/ 1226 w 1573"/>
              <a:gd name="T115" fmla="*/ 232 h 1276"/>
              <a:gd name="T116" fmla="*/ 1150 w 1573"/>
              <a:gd name="T117" fmla="*/ 267 h 1276"/>
              <a:gd name="T118" fmla="*/ 1090 w 1573"/>
              <a:gd name="T119" fmla="*/ 266 h 1276"/>
              <a:gd name="T120" fmla="*/ 990 w 1573"/>
              <a:gd name="T121" fmla="*/ 319 h 1276"/>
              <a:gd name="T122" fmla="*/ 905 w 1573"/>
              <a:gd name="T123" fmla="*/ 316 h 1276"/>
              <a:gd name="T124" fmla="*/ 928 w 1573"/>
              <a:gd name="T125" fmla="*/ 389 h 127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573"/>
              <a:gd name="T190" fmla="*/ 0 h 1276"/>
              <a:gd name="T191" fmla="*/ 1573 w 1573"/>
              <a:gd name="T192" fmla="*/ 1276 h 127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573" h="1276">
                <a:moveTo>
                  <a:pt x="922" y="431"/>
                </a:moveTo>
                <a:lnTo>
                  <a:pt x="921" y="431"/>
                </a:lnTo>
                <a:lnTo>
                  <a:pt x="916" y="432"/>
                </a:lnTo>
                <a:lnTo>
                  <a:pt x="911" y="433"/>
                </a:lnTo>
                <a:lnTo>
                  <a:pt x="905" y="435"/>
                </a:lnTo>
                <a:lnTo>
                  <a:pt x="898" y="438"/>
                </a:lnTo>
                <a:lnTo>
                  <a:pt x="891" y="441"/>
                </a:lnTo>
                <a:lnTo>
                  <a:pt x="886" y="445"/>
                </a:lnTo>
                <a:lnTo>
                  <a:pt x="884" y="448"/>
                </a:lnTo>
                <a:lnTo>
                  <a:pt x="883" y="456"/>
                </a:lnTo>
                <a:lnTo>
                  <a:pt x="886" y="463"/>
                </a:lnTo>
                <a:lnTo>
                  <a:pt x="891" y="470"/>
                </a:lnTo>
                <a:lnTo>
                  <a:pt x="898" y="476"/>
                </a:lnTo>
                <a:lnTo>
                  <a:pt x="902" y="479"/>
                </a:lnTo>
                <a:lnTo>
                  <a:pt x="907" y="483"/>
                </a:lnTo>
                <a:lnTo>
                  <a:pt x="913" y="487"/>
                </a:lnTo>
                <a:lnTo>
                  <a:pt x="919" y="491"/>
                </a:lnTo>
                <a:lnTo>
                  <a:pt x="924" y="495"/>
                </a:lnTo>
                <a:lnTo>
                  <a:pt x="930" y="500"/>
                </a:lnTo>
                <a:lnTo>
                  <a:pt x="935" y="503"/>
                </a:lnTo>
                <a:lnTo>
                  <a:pt x="939" y="507"/>
                </a:lnTo>
                <a:lnTo>
                  <a:pt x="947" y="518"/>
                </a:lnTo>
                <a:lnTo>
                  <a:pt x="954" y="537"/>
                </a:lnTo>
                <a:lnTo>
                  <a:pt x="957" y="554"/>
                </a:lnTo>
                <a:lnTo>
                  <a:pt x="953" y="563"/>
                </a:lnTo>
                <a:lnTo>
                  <a:pt x="949" y="563"/>
                </a:lnTo>
                <a:lnTo>
                  <a:pt x="943" y="562"/>
                </a:lnTo>
                <a:lnTo>
                  <a:pt x="937" y="560"/>
                </a:lnTo>
                <a:lnTo>
                  <a:pt x="930" y="556"/>
                </a:lnTo>
                <a:lnTo>
                  <a:pt x="924" y="553"/>
                </a:lnTo>
                <a:lnTo>
                  <a:pt x="920" y="549"/>
                </a:lnTo>
                <a:lnTo>
                  <a:pt x="916" y="547"/>
                </a:lnTo>
                <a:lnTo>
                  <a:pt x="915" y="546"/>
                </a:lnTo>
                <a:lnTo>
                  <a:pt x="898" y="507"/>
                </a:lnTo>
                <a:lnTo>
                  <a:pt x="897" y="502"/>
                </a:lnTo>
                <a:lnTo>
                  <a:pt x="892" y="491"/>
                </a:lnTo>
                <a:lnTo>
                  <a:pt x="885" y="480"/>
                </a:lnTo>
                <a:lnTo>
                  <a:pt x="874" y="476"/>
                </a:lnTo>
                <a:lnTo>
                  <a:pt x="866" y="476"/>
                </a:lnTo>
                <a:lnTo>
                  <a:pt x="858" y="475"/>
                </a:lnTo>
                <a:lnTo>
                  <a:pt x="847" y="473"/>
                </a:lnTo>
                <a:lnTo>
                  <a:pt x="839" y="472"/>
                </a:lnTo>
                <a:lnTo>
                  <a:pt x="830" y="471"/>
                </a:lnTo>
                <a:lnTo>
                  <a:pt x="823" y="470"/>
                </a:lnTo>
                <a:lnTo>
                  <a:pt x="818" y="469"/>
                </a:lnTo>
                <a:lnTo>
                  <a:pt x="817" y="469"/>
                </a:lnTo>
                <a:lnTo>
                  <a:pt x="814" y="470"/>
                </a:lnTo>
                <a:lnTo>
                  <a:pt x="806" y="473"/>
                </a:lnTo>
                <a:lnTo>
                  <a:pt x="796" y="476"/>
                </a:lnTo>
                <a:lnTo>
                  <a:pt x="787" y="476"/>
                </a:lnTo>
                <a:lnTo>
                  <a:pt x="783" y="473"/>
                </a:lnTo>
                <a:lnTo>
                  <a:pt x="776" y="470"/>
                </a:lnTo>
                <a:lnTo>
                  <a:pt x="768" y="467"/>
                </a:lnTo>
                <a:lnTo>
                  <a:pt x="760" y="461"/>
                </a:lnTo>
                <a:lnTo>
                  <a:pt x="750" y="456"/>
                </a:lnTo>
                <a:lnTo>
                  <a:pt x="742" y="450"/>
                </a:lnTo>
                <a:lnTo>
                  <a:pt x="735" y="446"/>
                </a:lnTo>
                <a:lnTo>
                  <a:pt x="731" y="441"/>
                </a:lnTo>
                <a:lnTo>
                  <a:pt x="724" y="435"/>
                </a:lnTo>
                <a:lnTo>
                  <a:pt x="719" y="431"/>
                </a:lnTo>
                <a:lnTo>
                  <a:pt x="714" y="429"/>
                </a:lnTo>
                <a:lnTo>
                  <a:pt x="707" y="424"/>
                </a:lnTo>
                <a:lnTo>
                  <a:pt x="699" y="418"/>
                </a:lnTo>
                <a:lnTo>
                  <a:pt x="692" y="412"/>
                </a:lnTo>
                <a:lnTo>
                  <a:pt x="689" y="404"/>
                </a:lnTo>
                <a:lnTo>
                  <a:pt x="693" y="395"/>
                </a:lnTo>
                <a:lnTo>
                  <a:pt x="701" y="387"/>
                </a:lnTo>
                <a:lnTo>
                  <a:pt x="707" y="382"/>
                </a:lnTo>
                <a:lnTo>
                  <a:pt x="710" y="379"/>
                </a:lnTo>
                <a:lnTo>
                  <a:pt x="710" y="371"/>
                </a:lnTo>
                <a:lnTo>
                  <a:pt x="707" y="359"/>
                </a:lnTo>
                <a:lnTo>
                  <a:pt x="701" y="350"/>
                </a:lnTo>
                <a:lnTo>
                  <a:pt x="694" y="347"/>
                </a:lnTo>
                <a:lnTo>
                  <a:pt x="686" y="354"/>
                </a:lnTo>
                <a:lnTo>
                  <a:pt x="677" y="366"/>
                </a:lnTo>
                <a:lnTo>
                  <a:pt x="666" y="376"/>
                </a:lnTo>
                <a:lnTo>
                  <a:pt x="657" y="382"/>
                </a:lnTo>
                <a:lnTo>
                  <a:pt x="654" y="385"/>
                </a:lnTo>
                <a:lnTo>
                  <a:pt x="649" y="387"/>
                </a:lnTo>
                <a:lnTo>
                  <a:pt x="641" y="394"/>
                </a:lnTo>
                <a:lnTo>
                  <a:pt x="633" y="405"/>
                </a:lnTo>
                <a:lnTo>
                  <a:pt x="633" y="420"/>
                </a:lnTo>
                <a:lnTo>
                  <a:pt x="635" y="439"/>
                </a:lnTo>
                <a:lnTo>
                  <a:pt x="632" y="460"/>
                </a:lnTo>
                <a:lnTo>
                  <a:pt x="625" y="480"/>
                </a:lnTo>
                <a:lnTo>
                  <a:pt x="619" y="496"/>
                </a:lnTo>
                <a:lnTo>
                  <a:pt x="618" y="513"/>
                </a:lnTo>
                <a:lnTo>
                  <a:pt x="622" y="530"/>
                </a:lnTo>
                <a:lnTo>
                  <a:pt x="632" y="548"/>
                </a:lnTo>
                <a:lnTo>
                  <a:pt x="643" y="563"/>
                </a:lnTo>
                <a:lnTo>
                  <a:pt x="650" y="570"/>
                </a:lnTo>
                <a:lnTo>
                  <a:pt x="657" y="577"/>
                </a:lnTo>
                <a:lnTo>
                  <a:pt x="664" y="585"/>
                </a:lnTo>
                <a:lnTo>
                  <a:pt x="671" y="593"/>
                </a:lnTo>
                <a:lnTo>
                  <a:pt x="677" y="602"/>
                </a:lnTo>
                <a:lnTo>
                  <a:pt x="681" y="612"/>
                </a:lnTo>
                <a:lnTo>
                  <a:pt x="685" y="621"/>
                </a:lnTo>
                <a:lnTo>
                  <a:pt x="686" y="630"/>
                </a:lnTo>
                <a:lnTo>
                  <a:pt x="687" y="649"/>
                </a:lnTo>
                <a:lnTo>
                  <a:pt x="692" y="666"/>
                </a:lnTo>
                <a:lnTo>
                  <a:pt x="699" y="680"/>
                </a:lnTo>
                <a:lnTo>
                  <a:pt x="710" y="689"/>
                </a:lnTo>
                <a:lnTo>
                  <a:pt x="717" y="692"/>
                </a:lnTo>
                <a:lnTo>
                  <a:pt x="725" y="699"/>
                </a:lnTo>
                <a:lnTo>
                  <a:pt x="733" y="707"/>
                </a:lnTo>
                <a:lnTo>
                  <a:pt x="742" y="716"/>
                </a:lnTo>
                <a:lnTo>
                  <a:pt x="750" y="727"/>
                </a:lnTo>
                <a:lnTo>
                  <a:pt x="758" y="736"/>
                </a:lnTo>
                <a:lnTo>
                  <a:pt x="765" y="745"/>
                </a:lnTo>
                <a:lnTo>
                  <a:pt x="770" y="752"/>
                </a:lnTo>
                <a:lnTo>
                  <a:pt x="775" y="758"/>
                </a:lnTo>
                <a:lnTo>
                  <a:pt x="781" y="764"/>
                </a:lnTo>
                <a:lnTo>
                  <a:pt x="787" y="769"/>
                </a:lnTo>
                <a:lnTo>
                  <a:pt x="794" y="774"/>
                </a:lnTo>
                <a:lnTo>
                  <a:pt x="799" y="780"/>
                </a:lnTo>
                <a:lnTo>
                  <a:pt x="801" y="786"/>
                </a:lnTo>
                <a:lnTo>
                  <a:pt x="801" y="791"/>
                </a:lnTo>
                <a:lnTo>
                  <a:pt x="798" y="797"/>
                </a:lnTo>
                <a:lnTo>
                  <a:pt x="791" y="806"/>
                </a:lnTo>
                <a:lnTo>
                  <a:pt x="791" y="810"/>
                </a:lnTo>
                <a:lnTo>
                  <a:pt x="790" y="812"/>
                </a:lnTo>
                <a:lnTo>
                  <a:pt x="780" y="816"/>
                </a:lnTo>
                <a:lnTo>
                  <a:pt x="769" y="816"/>
                </a:lnTo>
                <a:lnTo>
                  <a:pt x="764" y="807"/>
                </a:lnTo>
                <a:lnTo>
                  <a:pt x="762" y="797"/>
                </a:lnTo>
                <a:lnTo>
                  <a:pt x="758" y="787"/>
                </a:lnTo>
                <a:lnTo>
                  <a:pt x="756" y="783"/>
                </a:lnTo>
                <a:lnTo>
                  <a:pt x="753" y="779"/>
                </a:lnTo>
                <a:lnTo>
                  <a:pt x="749" y="774"/>
                </a:lnTo>
                <a:lnTo>
                  <a:pt x="745" y="771"/>
                </a:lnTo>
                <a:lnTo>
                  <a:pt x="741" y="767"/>
                </a:lnTo>
                <a:lnTo>
                  <a:pt x="735" y="765"/>
                </a:lnTo>
                <a:lnTo>
                  <a:pt x="730" y="764"/>
                </a:lnTo>
                <a:lnTo>
                  <a:pt x="724" y="763"/>
                </a:lnTo>
                <a:lnTo>
                  <a:pt x="718" y="763"/>
                </a:lnTo>
                <a:lnTo>
                  <a:pt x="711" y="763"/>
                </a:lnTo>
                <a:lnTo>
                  <a:pt x="705" y="763"/>
                </a:lnTo>
                <a:lnTo>
                  <a:pt x="701" y="764"/>
                </a:lnTo>
                <a:lnTo>
                  <a:pt x="695" y="764"/>
                </a:lnTo>
                <a:lnTo>
                  <a:pt x="690" y="766"/>
                </a:lnTo>
                <a:lnTo>
                  <a:pt x="687" y="767"/>
                </a:lnTo>
                <a:lnTo>
                  <a:pt x="682" y="769"/>
                </a:lnTo>
                <a:lnTo>
                  <a:pt x="675" y="775"/>
                </a:lnTo>
                <a:lnTo>
                  <a:pt x="673" y="782"/>
                </a:lnTo>
                <a:lnTo>
                  <a:pt x="674" y="789"/>
                </a:lnTo>
                <a:lnTo>
                  <a:pt x="682" y="797"/>
                </a:lnTo>
                <a:lnTo>
                  <a:pt x="693" y="809"/>
                </a:lnTo>
                <a:lnTo>
                  <a:pt x="702" y="822"/>
                </a:lnTo>
                <a:lnTo>
                  <a:pt x="708" y="834"/>
                </a:lnTo>
                <a:lnTo>
                  <a:pt x="710" y="840"/>
                </a:lnTo>
                <a:lnTo>
                  <a:pt x="710" y="842"/>
                </a:lnTo>
                <a:lnTo>
                  <a:pt x="712" y="847"/>
                </a:lnTo>
                <a:lnTo>
                  <a:pt x="714" y="856"/>
                </a:lnTo>
                <a:lnTo>
                  <a:pt x="714" y="867"/>
                </a:lnTo>
                <a:lnTo>
                  <a:pt x="712" y="873"/>
                </a:lnTo>
                <a:lnTo>
                  <a:pt x="710" y="875"/>
                </a:lnTo>
                <a:lnTo>
                  <a:pt x="707" y="878"/>
                </a:lnTo>
                <a:lnTo>
                  <a:pt x="703" y="879"/>
                </a:lnTo>
                <a:lnTo>
                  <a:pt x="697" y="879"/>
                </a:lnTo>
                <a:lnTo>
                  <a:pt x="692" y="880"/>
                </a:lnTo>
                <a:lnTo>
                  <a:pt x="686" y="881"/>
                </a:lnTo>
                <a:lnTo>
                  <a:pt x="679" y="885"/>
                </a:lnTo>
                <a:lnTo>
                  <a:pt x="673" y="888"/>
                </a:lnTo>
                <a:lnTo>
                  <a:pt x="667" y="890"/>
                </a:lnTo>
                <a:lnTo>
                  <a:pt x="663" y="893"/>
                </a:lnTo>
                <a:lnTo>
                  <a:pt x="659" y="893"/>
                </a:lnTo>
                <a:lnTo>
                  <a:pt x="655" y="894"/>
                </a:lnTo>
                <a:lnTo>
                  <a:pt x="650" y="894"/>
                </a:lnTo>
                <a:lnTo>
                  <a:pt x="646" y="893"/>
                </a:lnTo>
                <a:lnTo>
                  <a:pt x="640" y="892"/>
                </a:lnTo>
                <a:lnTo>
                  <a:pt x="633" y="890"/>
                </a:lnTo>
                <a:lnTo>
                  <a:pt x="626" y="890"/>
                </a:lnTo>
                <a:lnTo>
                  <a:pt x="620" y="892"/>
                </a:lnTo>
                <a:lnTo>
                  <a:pt x="614" y="893"/>
                </a:lnTo>
                <a:lnTo>
                  <a:pt x="611" y="895"/>
                </a:lnTo>
                <a:lnTo>
                  <a:pt x="610" y="898"/>
                </a:lnTo>
                <a:lnTo>
                  <a:pt x="611" y="902"/>
                </a:lnTo>
                <a:lnTo>
                  <a:pt x="616" y="905"/>
                </a:lnTo>
                <a:lnTo>
                  <a:pt x="622" y="909"/>
                </a:lnTo>
                <a:lnTo>
                  <a:pt x="628" y="910"/>
                </a:lnTo>
                <a:lnTo>
                  <a:pt x="634" y="911"/>
                </a:lnTo>
                <a:lnTo>
                  <a:pt x="640" y="911"/>
                </a:lnTo>
                <a:lnTo>
                  <a:pt x="646" y="912"/>
                </a:lnTo>
                <a:lnTo>
                  <a:pt x="650" y="913"/>
                </a:lnTo>
                <a:lnTo>
                  <a:pt x="654" y="916"/>
                </a:lnTo>
                <a:lnTo>
                  <a:pt x="657" y="920"/>
                </a:lnTo>
                <a:lnTo>
                  <a:pt x="662" y="925"/>
                </a:lnTo>
                <a:lnTo>
                  <a:pt x="667" y="927"/>
                </a:lnTo>
                <a:lnTo>
                  <a:pt x="677" y="928"/>
                </a:lnTo>
                <a:lnTo>
                  <a:pt x="686" y="928"/>
                </a:lnTo>
                <a:lnTo>
                  <a:pt x="695" y="930"/>
                </a:lnTo>
                <a:lnTo>
                  <a:pt x="704" y="931"/>
                </a:lnTo>
                <a:lnTo>
                  <a:pt x="711" y="933"/>
                </a:lnTo>
                <a:lnTo>
                  <a:pt x="717" y="938"/>
                </a:lnTo>
                <a:lnTo>
                  <a:pt x="722" y="942"/>
                </a:lnTo>
                <a:lnTo>
                  <a:pt x="727" y="948"/>
                </a:lnTo>
                <a:lnTo>
                  <a:pt x="733" y="953"/>
                </a:lnTo>
                <a:lnTo>
                  <a:pt x="740" y="956"/>
                </a:lnTo>
                <a:lnTo>
                  <a:pt x="746" y="961"/>
                </a:lnTo>
                <a:lnTo>
                  <a:pt x="750" y="963"/>
                </a:lnTo>
                <a:lnTo>
                  <a:pt x="754" y="964"/>
                </a:lnTo>
                <a:lnTo>
                  <a:pt x="755" y="965"/>
                </a:lnTo>
                <a:lnTo>
                  <a:pt x="758" y="964"/>
                </a:lnTo>
                <a:lnTo>
                  <a:pt x="767" y="962"/>
                </a:lnTo>
                <a:lnTo>
                  <a:pt x="777" y="966"/>
                </a:lnTo>
                <a:lnTo>
                  <a:pt x="787" y="983"/>
                </a:lnTo>
                <a:lnTo>
                  <a:pt x="791" y="1002"/>
                </a:lnTo>
                <a:lnTo>
                  <a:pt x="787" y="1013"/>
                </a:lnTo>
                <a:lnTo>
                  <a:pt x="787" y="1016"/>
                </a:lnTo>
                <a:lnTo>
                  <a:pt x="801" y="1015"/>
                </a:lnTo>
                <a:lnTo>
                  <a:pt x="811" y="1014"/>
                </a:lnTo>
                <a:lnTo>
                  <a:pt x="821" y="1011"/>
                </a:lnTo>
                <a:lnTo>
                  <a:pt x="830" y="1010"/>
                </a:lnTo>
                <a:lnTo>
                  <a:pt x="837" y="1009"/>
                </a:lnTo>
                <a:lnTo>
                  <a:pt x="843" y="1009"/>
                </a:lnTo>
                <a:lnTo>
                  <a:pt x="847" y="1011"/>
                </a:lnTo>
                <a:lnTo>
                  <a:pt x="849" y="1015"/>
                </a:lnTo>
                <a:lnTo>
                  <a:pt x="852" y="1022"/>
                </a:lnTo>
                <a:lnTo>
                  <a:pt x="855" y="1039"/>
                </a:lnTo>
                <a:lnTo>
                  <a:pt x="861" y="1056"/>
                </a:lnTo>
                <a:lnTo>
                  <a:pt x="870" y="1069"/>
                </a:lnTo>
                <a:lnTo>
                  <a:pt x="884" y="1072"/>
                </a:lnTo>
                <a:lnTo>
                  <a:pt x="891" y="1071"/>
                </a:lnTo>
                <a:lnTo>
                  <a:pt x="898" y="1070"/>
                </a:lnTo>
                <a:lnTo>
                  <a:pt x="904" y="1069"/>
                </a:lnTo>
                <a:lnTo>
                  <a:pt x="908" y="1068"/>
                </a:lnTo>
                <a:lnTo>
                  <a:pt x="912" y="1068"/>
                </a:lnTo>
                <a:lnTo>
                  <a:pt x="915" y="1068"/>
                </a:lnTo>
                <a:lnTo>
                  <a:pt x="917" y="1070"/>
                </a:lnTo>
                <a:lnTo>
                  <a:pt x="919" y="1072"/>
                </a:lnTo>
                <a:lnTo>
                  <a:pt x="923" y="1077"/>
                </a:lnTo>
                <a:lnTo>
                  <a:pt x="929" y="1077"/>
                </a:lnTo>
                <a:lnTo>
                  <a:pt x="935" y="1078"/>
                </a:lnTo>
                <a:lnTo>
                  <a:pt x="939" y="1086"/>
                </a:lnTo>
                <a:lnTo>
                  <a:pt x="942" y="1092"/>
                </a:lnTo>
                <a:lnTo>
                  <a:pt x="946" y="1095"/>
                </a:lnTo>
                <a:lnTo>
                  <a:pt x="952" y="1098"/>
                </a:lnTo>
                <a:lnTo>
                  <a:pt x="957" y="1099"/>
                </a:lnTo>
                <a:lnTo>
                  <a:pt x="962" y="1101"/>
                </a:lnTo>
                <a:lnTo>
                  <a:pt x="965" y="1105"/>
                </a:lnTo>
                <a:lnTo>
                  <a:pt x="966" y="1110"/>
                </a:lnTo>
                <a:lnTo>
                  <a:pt x="964" y="1119"/>
                </a:lnTo>
                <a:lnTo>
                  <a:pt x="957" y="1131"/>
                </a:lnTo>
                <a:lnTo>
                  <a:pt x="951" y="1137"/>
                </a:lnTo>
                <a:lnTo>
                  <a:pt x="949" y="1144"/>
                </a:lnTo>
                <a:lnTo>
                  <a:pt x="953" y="1157"/>
                </a:lnTo>
                <a:lnTo>
                  <a:pt x="958" y="1174"/>
                </a:lnTo>
                <a:lnTo>
                  <a:pt x="960" y="1188"/>
                </a:lnTo>
                <a:lnTo>
                  <a:pt x="962" y="1201"/>
                </a:lnTo>
                <a:lnTo>
                  <a:pt x="967" y="1213"/>
                </a:lnTo>
                <a:lnTo>
                  <a:pt x="974" y="1224"/>
                </a:lnTo>
                <a:lnTo>
                  <a:pt x="976" y="1237"/>
                </a:lnTo>
                <a:lnTo>
                  <a:pt x="977" y="1249"/>
                </a:lnTo>
                <a:lnTo>
                  <a:pt x="975" y="1258"/>
                </a:lnTo>
                <a:lnTo>
                  <a:pt x="974" y="1266"/>
                </a:lnTo>
                <a:lnTo>
                  <a:pt x="973" y="1273"/>
                </a:lnTo>
                <a:lnTo>
                  <a:pt x="968" y="1276"/>
                </a:lnTo>
                <a:lnTo>
                  <a:pt x="957" y="1275"/>
                </a:lnTo>
                <a:lnTo>
                  <a:pt x="944" y="1269"/>
                </a:lnTo>
                <a:lnTo>
                  <a:pt x="936" y="1264"/>
                </a:lnTo>
                <a:lnTo>
                  <a:pt x="931" y="1257"/>
                </a:lnTo>
                <a:lnTo>
                  <a:pt x="929" y="1248"/>
                </a:lnTo>
                <a:lnTo>
                  <a:pt x="923" y="1238"/>
                </a:lnTo>
                <a:lnTo>
                  <a:pt x="914" y="1230"/>
                </a:lnTo>
                <a:lnTo>
                  <a:pt x="905" y="1226"/>
                </a:lnTo>
                <a:lnTo>
                  <a:pt x="901" y="1223"/>
                </a:lnTo>
                <a:lnTo>
                  <a:pt x="877" y="1195"/>
                </a:lnTo>
                <a:lnTo>
                  <a:pt x="859" y="1181"/>
                </a:lnTo>
                <a:lnTo>
                  <a:pt x="860" y="1177"/>
                </a:lnTo>
                <a:lnTo>
                  <a:pt x="860" y="1168"/>
                </a:lnTo>
                <a:lnTo>
                  <a:pt x="858" y="1160"/>
                </a:lnTo>
                <a:lnTo>
                  <a:pt x="848" y="1157"/>
                </a:lnTo>
                <a:lnTo>
                  <a:pt x="839" y="1158"/>
                </a:lnTo>
                <a:lnTo>
                  <a:pt x="837" y="1160"/>
                </a:lnTo>
                <a:lnTo>
                  <a:pt x="837" y="1166"/>
                </a:lnTo>
                <a:lnTo>
                  <a:pt x="838" y="1174"/>
                </a:lnTo>
                <a:lnTo>
                  <a:pt x="838" y="1184"/>
                </a:lnTo>
                <a:lnTo>
                  <a:pt x="837" y="1192"/>
                </a:lnTo>
                <a:lnTo>
                  <a:pt x="833" y="1199"/>
                </a:lnTo>
                <a:lnTo>
                  <a:pt x="828" y="1201"/>
                </a:lnTo>
                <a:lnTo>
                  <a:pt x="824" y="1200"/>
                </a:lnTo>
                <a:lnTo>
                  <a:pt x="821" y="1197"/>
                </a:lnTo>
                <a:lnTo>
                  <a:pt x="817" y="1191"/>
                </a:lnTo>
                <a:lnTo>
                  <a:pt x="814" y="1185"/>
                </a:lnTo>
                <a:lnTo>
                  <a:pt x="809" y="1181"/>
                </a:lnTo>
                <a:lnTo>
                  <a:pt x="803" y="1175"/>
                </a:lnTo>
                <a:lnTo>
                  <a:pt x="796" y="1171"/>
                </a:lnTo>
                <a:lnTo>
                  <a:pt x="787" y="1170"/>
                </a:lnTo>
                <a:lnTo>
                  <a:pt x="777" y="1171"/>
                </a:lnTo>
                <a:lnTo>
                  <a:pt x="769" y="1174"/>
                </a:lnTo>
                <a:lnTo>
                  <a:pt x="763" y="1177"/>
                </a:lnTo>
                <a:lnTo>
                  <a:pt x="757" y="1181"/>
                </a:lnTo>
                <a:lnTo>
                  <a:pt x="753" y="1185"/>
                </a:lnTo>
                <a:lnTo>
                  <a:pt x="749" y="1189"/>
                </a:lnTo>
                <a:lnTo>
                  <a:pt x="745" y="1192"/>
                </a:lnTo>
                <a:lnTo>
                  <a:pt x="741" y="1195"/>
                </a:lnTo>
                <a:lnTo>
                  <a:pt x="737" y="1196"/>
                </a:lnTo>
                <a:lnTo>
                  <a:pt x="732" y="1196"/>
                </a:lnTo>
                <a:lnTo>
                  <a:pt x="726" y="1196"/>
                </a:lnTo>
                <a:lnTo>
                  <a:pt x="720" y="1196"/>
                </a:lnTo>
                <a:lnTo>
                  <a:pt x="715" y="1196"/>
                </a:lnTo>
                <a:lnTo>
                  <a:pt x="710" y="1195"/>
                </a:lnTo>
                <a:lnTo>
                  <a:pt x="708" y="1195"/>
                </a:lnTo>
                <a:lnTo>
                  <a:pt x="707" y="1195"/>
                </a:lnTo>
                <a:lnTo>
                  <a:pt x="693" y="1184"/>
                </a:lnTo>
                <a:lnTo>
                  <a:pt x="694" y="1182"/>
                </a:lnTo>
                <a:lnTo>
                  <a:pt x="695" y="1177"/>
                </a:lnTo>
                <a:lnTo>
                  <a:pt x="696" y="1171"/>
                </a:lnTo>
                <a:lnTo>
                  <a:pt x="693" y="1163"/>
                </a:lnTo>
                <a:lnTo>
                  <a:pt x="688" y="1157"/>
                </a:lnTo>
                <a:lnTo>
                  <a:pt x="686" y="1150"/>
                </a:lnTo>
                <a:lnTo>
                  <a:pt x="687" y="1145"/>
                </a:lnTo>
                <a:lnTo>
                  <a:pt x="693" y="1139"/>
                </a:lnTo>
                <a:lnTo>
                  <a:pt x="696" y="1138"/>
                </a:lnTo>
                <a:lnTo>
                  <a:pt x="701" y="1138"/>
                </a:lnTo>
                <a:lnTo>
                  <a:pt x="705" y="1140"/>
                </a:lnTo>
                <a:lnTo>
                  <a:pt x="710" y="1143"/>
                </a:lnTo>
                <a:lnTo>
                  <a:pt x="715" y="1145"/>
                </a:lnTo>
                <a:lnTo>
                  <a:pt x="720" y="1147"/>
                </a:lnTo>
                <a:lnTo>
                  <a:pt x="727" y="1147"/>
                </a:lnTo>
                <a:lnTo>
                  <a:pt x="734" y="1146"/>
                </a:lnTo>
                <a:lnTo>
                  <a:pt x="742" y="1144"/>
                </a:lnTo>
                <a:lnTo>
                  <a:pt x="749" y="1143"/>
                </a:lnTo>
                <a:lnTo>
                  <a:pt x="756" y="1142"/>
                </a:lnTo>
                <a:lnTo>
                  <a:pt x="761" y="1140"/>
                </a:lnTo>
                <a:lnTo>
                  <a:pt x="764" y="1138"/>
                </a:lnTo>
                <a:lnTo>
                  <a:pt x="765" y="1135"/>
                </a:lnTo>
                <a:lnTo>
                  <a:pt x="763" y="1130"/>
                </a:lnTo>
                <a:lnTo>
                  <a:pt x="758" y="1122"/>
                </a:lnTo>
                <a:lnTo>
                  <a:pt x="752" y="1114"/>
                </a:lnTo>
                <a:lnTo>
                  <a:pt x="743" y="1108"/>
                </a:lnTo>
                <a:lnTo>
                  <a:pt x="735" y="1104"/>
                </a:lnTo>
                <a:lnTo>
                  <a:pt x="726" y="1101"/>
                </a:lnTo>
                <a:lnTo>
                  <a:pt x="717" y="1099"/>
                </a:lnTo>
                <a:lnTo>
                  <a:pt x="708" y="1099"/>
                </a:lnTo>
                <a:lnTo>
                  <a:pt x="699" y="1098"/>
                </a:lnTo>
                <a:lnTo>
                  <a:pt x="689" y="1097"/>
                </a:lnTo>
                <a:lnTo>
                  <a:pt x="681" y="1095"/>
                </a:lnTo>
                <a:lnTo>
                  <a:pt x="675" y="1095"/>
                </a:lnTo>
                <a:lnTo>
                  <a:pt x="672" y="1095"/>
                </a:lnTo>
                <a:lnTo>
                  <a:pt x="670" y="1095"/>
                </a:lnTo>
                <a:lnTo>
                  <a:pt x="666" y="1094"/>
                </a:lnTo>
                <a:lnTo>
                  <a:pt x="662" y="1092"/>
                </a:lnTo>
                <a:lnTo>
                  <a:pt x="656" y="1087"/>
                </a:lnTo>
                <a:lnTo>
                  <a:pt x="647" y="1079"/>
                </a:lnTo>
                <a:lnTo>
                  <a:pt x="633" y="1064"/>
                </a:lnTo>
                <a:lnTo>
                  <a:pt x="628" y="1055"/>
                </a:lnTo>
                <a:lnTo>
                  <a:pt x="625" y="1053"/>
                </a:lnTo>
                <a:lnTo>
                  <a:pt x="619" y="1056"/>
                </a:lnTo>
                <a:lnTo>
                  <a:pt x="610" y="1059"/>
                </a:lnTo>
                <a:lnTo>
                  <a:pt x="604" y="1055"/>
                </a:lnTo>
                <a:lnTo>
                  <a:pt x="597" y="1049"/>
                </a:lnTo>
                <a:lnTo>
                  <a:pt x="588" y="1042"/>
                </a:lnTo>
                <a:lnTo>
                  <a:pt x="580" y="1040"/>
                </a:lnTo>
                <a:lnTo>
                  <a:pt x="575" y="1041"/>
                </a:lnTo>
                <a:lnTo>
                  <a:pt x="571" y="1046"/>
                </a:lnTo>
                <a:lnTo>
                  <a:pt x="563" y="1053"/>
                </a:lnTo>
                <a:lnTo>
                  <a:pt x="557" y="1056"/>
                </a:lnTo>
                <a:lnTo>
                  <a:pt x="552" y="1059"/>
                </a:lnTo>
                <a:lnTo>
                  <a:pt x="546" y="1061"/>
                </a:lnTo>
                <a:lnTo>
                  <a:pt x="541" y="1062"/>
                </a:lnTo>
                <a:lnTo>
                  <a:pt x="534" y="1062"/>
                </a:lnTo>
                <a:lnTo>
                  <a:pt x="527" y="1061"/>
                </a:lnTo>
                <a:lnTo>
                  <a:pt x="519" y="1060"/>
                </a:lnTo>
                <a:lnTo>
                  <a:pt x="511" y="1056"/>
                </a:lnTo>
                <a:lnTo>
                  <a:pt x="503" y="1053"/>
                </a:lnTo>
                <a:lnTo>
                  <a:pt x="497" y="1048"/>
                </a:lnTo>
                <a:lnTo>
                  <a:pt x="492" y="1045"/>
                </a:lnTo>
                <a:lnTo>
                  <a:pt x="489" y="1041"/>
                </a:lnTo>
                <a:lnTo>
                  <a:pt x="485" y="1039"/>
                </a:lnTo>
                <a:lnTo>
                  <a:pt x="481" y="1038"/>
                </a:lnTo>
                <a:lnTo>
                  <a:pt x="475" y="1038"/>
                </a:lnTo>
                <a:lnTo>
                  <a:pt x="468" y="1039"/>
                </a:lnTo>
                <a:lnTo>
                  <a:pt x="460" y="1041"/>
                </a:lnTo>
                <a:lnTo>
                  <a:pt x="452" y="1042"/>
                </a:lnTo>
                <a:lnTo>
                  <a:pt x="443" y="1044"/>
                </a:lnTo>
                <a:lnTo>
                  <a:pt x="435" y="1044"/>
                </a:lnTo>
                <a:lnTo>
                  <a:pt x="427" y="1045"/>
                </a:lnTo>
                <a:lnTo>
                  <a:pt x="420" y="1046"/>
                </a:lnTo>
                <a:lnTo>
                  <a:pt x="414" y="1047"/>
                </a:lnTo>
                <a:lnTo>
                  <a:pt x="409" y="1049"/>
                </a:lnTo>
                <a:lnTo>
                  <a:pt x="405" y="1052"/>
                </a:lnTo>
                <a:lnTo>
                  <a:pt x="398" y="1054"/>
                </a:lnTo>
                <a:lnTo>
                  <a:pt x="391" y="1056"/>
                </a:lnTo>
                <a:lnTo>
                  <a:pt x="382" y="1057"/>
                </a:lnTo>
                <a:lnTo>
                  <a:pt x="374" y="1059"/>
                </a:lnTo>
                <a:lnTo>
                  <a:pt x="364" y="1057"/>
                </a:lnTo>
                <a:lnTo>
                  <a:pt x="356" y="1056"/>
                </a:lnTo>
                <a:lnTo>
                  <a:pt x="349" y="1053"/>
                </a:lnTo>
                <a:lnTo>
                  <a:pt x="340" y="1047"/>
                </a:lnTo>
                <a:lnTo>
                  <a:pt x="334" y="1042"/>
                </a:lnTo>
                <a:lnTo>
                  <a:pt x="330" y="1037"/>
                </a:lnTo>
                <a:lnTo>
                  <a:pt x="322" y="1029"/>
                </a:lnTo>
                <a:lnTo>
                  <a:pt x="313" y="1019"/>
                </a:lnTo>
                <a:lnTo>
                  <a:pt x="304" y="1013"/>
                </a:lnTo>
                <a:lnTo>
                  <a:pt x="300" y="1011"/>
                </a:lnTo>
                <a:lnTo>
                  <a:pt x="298" y="1018"/>
                </a:lnTo>
                <a:lnTo>
                  <a:pt x="298" y="1029"/>
                </a:lnTo>
                <a:lnTo>
                  <a:pt x="296" y="1040"/>
                </a:lnTo>
                <a:lnTo>
                  <a:pt x="292" y="1049"/>
                </a:lnTo>
                <a:lnTo>
                  <a:pt x="280" y="1056"/>
                </a:lnTo>
                <a:lnTo>
                  <a:pt x="266" y="1059"/>
                </a:lnTo>
                <a:lnTo>
                  <a:pt x="257" y="1056"/>
                </a:lnTo>
                <a:lnTo>
                  <a:pt x="251" y="1048"/>
                </a:lnTo>
                <a:lnTo>
                  <a:pt x="248" y="1036"/>
                </a:lnTo>
                <a:lnTo>
                  <a:pt x="247" y="1022"/>
                </a:lnTo>
                <a:lnTo>
                  <a:pt x="247" y="1010"/>
                </a:lnTo>
                <a:lnTo>
                  <a:pt x="246" y="1000"/>
                </a:lnTo>
                <a:lnTo>
                  <a:pt x="241" y="989"/>
                </a:lnTo>
                <a:lnTo>
                  <a:pt x="234" y="979"/>
                </a:lnTo>
                <a:lnTo>
                  <a:pt x="228" y="966"/>
                </a:lnTo>
                <a:lnTo>
                  <a:pt x="223" y="955"/>
                </a:lnTo>
                <a:lnTo>
                  <a:pt x="213" y="945"/>
                </a:lnTo>
                <a:lnTo>
                  <a:pt x="208" y="934"/>
                </a:lnTo>
                <a:lnTo>
                  <a:pt x="207" y="924"/>
                </a:lnTo>
                <a:lnTo>
                  <a:pt x="204" y="918"/>
                </a:lnTo>
                <a:lnTo>
                  <a:pt x="196" y="917"/>
                </a:lnTo>
                <a:lnTo>
                  <a:pt x="189" y="917"/>
                </a:lnTo>
                <a:lnTo>
                  <a:pt x="184" y="916"/>
                </a:lnTo>
                <a:lnTo>
                  <a:pt x="178" y="913"/>
                </a:lnTo>
                <a:lnTo>
                  <a:pt x="174" y="909"/>
                </a:lnTo>
                <a:lnTo>
                  <a:pt x="171" y="905"/>
                </a:lnTo>
                <a:lnTo>
                  <a:pt x="170" y="901"/>
                </a:lnTo>
                <a:lnTo>
                  <a:pt x="171" y="896"/>
                </a:lnTo>
                <a:lnTo>
                  <a:pt x="175" y="892"/>
                </a:lnTo>
                <a:lnTo>
                  <a:pt x="184" y="886"/>
                </a:lnTo>
                <a:lnTo>
                  <a:pt x="189" y="882"/>
                </a:lnTo>
                <a:lnTo>
                  <a:pt x="196" y="880"/>
                </a:lnTo>
                <a:lnTo>
                  <a:pt x="207" y="878"/>
                </a:lnTo>
                <a:lnTo>
                  <a:pt x="213" y="877"/>
                </a:lnTo>
                <a:lnTo>
                  <a:pt x="220" y="878"/>
                </a:lnTo>
                <a:lnTo>
                  <a:pt x="227" y="878"/>
                </a:lnTo>
                <a:lnTo>
                  <a:pt x="235" y="879"/>
                </a:lnTo>
                <a:lnTo>
                  <a:pt x="242" y="881"/>
                </a:lnTo>
                <a:lnTo>
                  <a:pt x="248" y="881"/>
                </a:lnTo>
                <a:lnTo>
                  <a:pt x="254" y="882"/>
                </a:lnTo>
                <a:lnTo>
                  <a:pt x="258" y="881"/>
                </a:lnTo>
                <a:lnTo>
                  <a:pt x="265" y="878"/>
                </a:lnTo>
                <a:lnTo>
                  <a:pt x="270" y="871"/>
                </a:lnTo>
                <a:lnTo>
                  <a:pt x="271" y="863"/>
                </a:lnTo>
                <a:lnTo>
                  <a:pt x="265" y="854"/>
                </a:lnTo>
                <a:lnTo>
                  <a:pt x="261" y="849"/>
                </a:lnTo>
                <a:lnTo>
                  <a:pt x="256" y="847"/>
                </a:lnTo>
                <a:lnTo>
                  <a:pt x="251" y="846"/>
                </a:lnTo>
                <a:lnTo>
                  <a:pt x="245" y="844"/>
                </a:lnTo>
                <a:lnTo>
                  <a:pt x="239" y="843"/>
                </a:lnTo>
                <a:lnTo>
                  <a:pt x="232" y="843"/>
                </a:lnTo>
                <a:lnTo>
                  <a:pt x="225" y="842"/>
                </a:lnTo>
                <a:lnTo>
                  <a:pt x="217" y="840"/>
                </a:lnTo>
                <a:lnTo>
                  <a:pt x="208" y="835"/>
                </a:lnTo>
                <a:lnTo>
                  <a:pt x="204" y="833"/>
                </a:lnTo>
                <a:lnTo>
                  <a:pt x="200" y="833"/>
                </a:lnTo>
                <a:lnTo>
                  <a:pt x="186" y="836"/>
                </a:lnTo>
                <a:lnTo>
                  <a:pt x="177" y="839"/>
                </a:lnTo>
                <a:lnTo>
                  <a:pt x="169" y="839"/>
                </a:lnTo>
                <a:lnTo>
                  <a:pt x="163" y="836"/>
                </a:lnTo>
                <a:lnTo>
                  <a:pt x="158" y="834"/>
                </a:lnTo>
                <a:lnTo>
                  <a:pt x="152" y="828"/>
                </a:lnTo>
                <a:lnTo>
                  <a:pt x="148" y="822"/>
                </a:lnTo>
                <a:lnTo>
                  <a:pt x="141" y="814"/>
                </a:lnTo>
                <a:lnTo>
                  <a:pt x="133" y="804"/>
                </a:lnTo>
                <a:lnTo>
                  <a:pt x="126" y="795"/>
                </a:lnTo>
                <a:lnTo>
                  <a:pt x="121" y="787"/>
                </a:lnTo>
                <a:lnTo>
                  <a:pt x="118" y="781"/>
                </a:lnTo>
                <a:lnTo>
                  <a:pt x="117" y="776"/>
                </a:lnTo>
                <a:lnTo>
                  <a:pt x="114" y="772"/>
                </a:lnTo>
                <a:lnTo>
                  <a:pt x="111" y="768"/>
                </a:lnTo>
                <a:lnTo>
                  <a:pt x="104" y="764"/>
                </a:lnTo>
                <a:lnTo>
                  <a:pt x="95" y="759"/>
                </a:lnTo>
                <a:lnTo>
                  <a:pt x="84" y="755"/>
                </a:lnTo>
                <a:lnTo>
                  <a:pt x="75" y="750"/>
                </a:lnTo>
                <a:lnTo>
                  <a:pt x="69" y="745"/>
                </a:lnTo>
                <a:lnTo>
                  <a:pt x="65" y="741"/>
                </a:lnTo>
                <a:lnTo>
                  <a:pt x="61" y="735"/>
                </a:lnTo>
                <a:lnTo>
                  <a:pt x="60" y="729"/>
                </a:lnTo>
                <a:lnTo>
                  <a:pt x="59" y="722"/>
                </a:lnTo>
                <a:lnTo>
                  <a:pt x="59" y="714"/>
                </a:lnTo>
                <a:lnTo>
                  <a:pt x="60" y="693"/>
                </a:lnTo>
                <a:lnTo>
                  <a:pt x="60" y="674"/>
                </a:lnTo>
                <a:lnTo>
                  <a:pt x="56" y="657"/>
                </a:lnTo>
                <a:lnTo>
                  <a:pt x="45" y="647"/>
                </a:lnTo>
                <a:lnTo>
                  <a:pt x="37" y="644"/>
                </a:lnTo>
                <a:lnTo>
                  <a:pt x="29" y="640"/>
                </a:lnTo>
                <a:lnTo>
                  <a:pt x="22" y="637"/>
                </a:lnTo>
                <a:lnTo>
                  <a:pt x="15" y="632"/>
                </a:lnTo>
                <a:lnTo>
                  <a:pt x="10" y="629"/>
                </a:lnTo>
                <a:lnTo>
                  <a:pt x="5" y="625"/>
                </a:lnTo>
                <a:lnTo>
                  <a:pt x="1" y="624"/>
                </a:lnTo>
                <a:lnTo>
                  <a:pt x="0" y="623"/>
                </a:lnTo>
                <a:lnTo>
                  <a:pt x="0" y="601"/>
                </a:lnTo>
                <a:lnTo>
                  <a:pt x="1" y="602"/>
                </a:lnTo>
                <a:lnTo>
                  <a:pt x="4" y="607"/>
                </a:lnTo>
                <a:lnTo>
                  <a:pt x="8" y="612"/>
                </a:lnTo>
                <a:lnTo>
                  <a:pt x="15" y="617"/>
                </a:lnTo>
                <a:lnTo>
                  <a:pt x="23" y="623"/>
                </a:lnTo>
                <a:lnTo>
                  <a:pt x="34" y="627"/>
                </a:lnTo>
                <a:lnTo>
                  <a:pt x="45" y="629"/>
                </a:lnTo>
                <a:lnTo>
                  <a:pt x="59" y="627"/>
                </a:lnTo>
                <a:lnTo>
                  <a:pt x="84" y="591"/>
                </a:lnTo>
                <a:lnTo>
                  <a:pt x="87" y="587"/>
                </a:lnTo>
                <a:lnTo>
                  <a:pt x="91" y="579"/>
                </a:lnTo>
                <a:lnTo>
                  <a:pt x="95" y="570"/>
                </a:lnTo>
                <a:lnTo>
                  <a:pt x="91" y="563"/>
                </a:lnTo>
                <a:lnTo>
                  <a:pt x="83" y="558"/>
                </a:lnTo>
                <a:lnTo>
                  <a:pt x="76" y="553"/>
                </a:lnTo>
                <a:lnTo>
                  <a:pt x="75" y="546"/>
                </a:lnTo>
                <a:lnTo>
                  <a:pt x="81" y="539"/>
                </a:lnTo>
                <a:lnTo>
                  <a:pt x="86" y="534"/>
                </a:lnTo>
                <a:lnTo>
                  <a:pt x="90" y="529"/>
                </a:lnTo>
                <a:lnTo>
                  <a:pt x="94" y="522"/>
                </a:lnTo>
                <a:lnTo>
                  <a:pt x="98" y="516"/>
                </a:lnTo>
                <a:lnTo>
                  <a:pt x="104" y="510"/>
                </a:lnTo>
                <a:lnTo>
                  <a:pt x="111" y="506"/>
                </a:lnTo>
                <a:lnTo>
                  <a:pt x="119" y="503"/>
                </a:lnTo>
                <a:lnTo>
                  <a:pt x="129" y="503"/>
                </a:lnTo>
                <a:lnTo>
                  <a:pt x="140" y="505"/>
                </a:lnTo>
                <a:lnTo>
                  <a:pt x="149" y="506"/>
                </a:lnTo>
                <a:lnTo>
                  <a:pt x="157" y="506"/>
                </a:lnTo>
                <a:lnTo>
                  <a:pt x="163" y="506"/>
                </a:lnTo>
                <a:lnTo>
                  <a:pt x="166" y="503"/>
                </a:lnTo>
                <a:lnTo>
                  <a:pt x="170" y="501"/>
                </a:lnTo>
                <a:lnTo>
                  <a:pt x="172" y="496"/>
                </a:lnTo>
                <a:lnTo>
                  <a:pt x="172" y="490"/>
                </a:lnTo>
                <a:lnTo>
                  <a:pt x="175" y="472"/>
                </a:lnTo>
                <a:lnTo>
                  <a:pt x="185" y="453"/>
                </a:lnTo>
                <a:lnTo>
                  <a:pt x="194" y="434"/>
                </a:lnTo>
                <a:lnTo>
                  <a:pt x="200" y="417"/>
                </a:lnTo>
                <a:lnTo>
                  <a:pt x="202" y="402"/>
                </a:lnTo>
                <a:lnTo>
                  <a:pt x="203" y="392"/>
                </a:lnTo>
                <a:lnTo>
                  <a:pt x="208" y="385"/>
                </a:lnTo>
                <a:lnTo>
                  <a:pt x="217" y="385"/>
                </a:lnTo>
                <a:lnTo>
                  <a:pt x="225" y="384"/>
                </a:lnTo>
                <a:lnTo>
                  <a:pt x="233" y="379"/>
                </a:lnTo>
                <a:lnTo>
                  <a:pt x="242" y="372"/>
                </a:lnTo>
                <a:lnTo>
                  <a:pt x="251" y="363"/>
                </a:lnTo>
                <a:lnTo>
                  <a:pt x="258" y="354"/>
                </a:lnTo>
                <a:lnTo>
                  <a:pt x="264" y="343"/>
                </a:lnTo>
                <a:lnTo>
                  <a:pt x="265" y="334"/>
                </a:lnTo>
                <a:lnTo>
                  <a:pt x="262" y="326"/>
                </a:lnTo>
                <a:lnTo>
                  <a:pt x="251" y="311"/>
                </a:lnTo>
                <a:lnTo>
                  <a:pt x="246" y="297"/>
                </a:lnTo>
                <a:lnTo>
                  <a:pt x="246" y="285"/>
                </a:lnTo>
                <a:lnTo>
                  <a:pt x="255" y="276"/>
                </a:lnTo>
                <a:lnTo>
                  <a:pt x="263" y="274"/>
                </a:lnTo>
                <a:lnTo>
                  <a:pt x="271" y="272"/>
                </a:lnTo>
                <a:lnTo>
                  <a:pt x="279" y="271"/>
                </a:lnTo>
                <a:lnTo>
                  <a:pt x="287" y="270"/>
                </a:lnTo>
                <a:lnTo>
                  <a:pt x="294" y="268"/>
                </a:lnTo>
                <a:lnTo>
                  <a:pt x="301" y="268"/>
                </a:lnTo>
                <a:lnTo>
                  <a:pt x="308" y="268"/>
                </a:lnTo>
                <a:lnTo>
                  <a:pt x="315" y="270"/>
                </a:lnTo>
                <a:lnTo>
                  <a:pt x="322" y="270"/>
                </a:lnTo>
                <a:lnTo>
                  <a:pt x="329" y="267"/>
                </a:lnTo>
                <a:lnTo>
                  <a:pt x="336" y="263"/>
                </a:lnTo>
                <a:lnTo>
                  <a:pt x="344" y="259"/>
                </a:lnTo>
                <a:lnTo>
                  <a:pt x="353" y="255"/>
                </a:lnTo>
                <a:lnTo>
                  <a:pt x="362" y="252"/>
                </a:lnTo>
                <a:lnTo>
                  <a:pt x="371" y="252"/>
                </a:lnTo>
                <a:lnTo>
                  <a:pt x="382" y="256"/>
                </a:lnTo>
                <a:lnTo>
                  <a:pt x="391" y="259"/>
                </a:lnTo>
                <a:lnTo>
                  <a:pt x="399" y="259"/>
                </a:lnTo>
                <a:lnTo>
                  <a:pt x="405" y="257"/>
                </a:lnTo>
                <a:lnTo>
                  <a:pt x="409" y="253"/>
                </a:lnTo>
                <a:lnTo>
                  <a:pt x="414" y="250"/>
                </a:lnTo>
                <a:lnTo>
                  <a:pt x="419" y="247"/>
                </a:lnTo>
                <a:lnTo>
                  <a:pt x="424" y="243"/>
                </a:lnTo>
                <a:lnTo>
                  <a:pt x="430" y="242"/>
                </a:lnTo>
                <a:lnTo>
                  <a:pt x="436" y="241"/>
                </a:lnTo>
                <a:lnTo>
                  <a:pt x="442" y="240"/>
                </a:lnTo>
                <a:lnTo>
                  <a:pt x="447" y="237"/>
                </a:lnTo>
                <a:lnTo>
                  <a:pt x="451" y="233"/>
                </a:lnTo>
                <a:lnTo>
                  <a:pt x="455" y="229"/>
                </a:lnTo>
                <a:lnTo>
                  <a:pt x="459" y="225"/>
                </a:lnTo>
                <a:lnTo>
                  <a:pt x="462" y="219"/>
                </a:lnTo>
                <a:lnTo>
                  <a:pt x="465" y="214"/>
                </a:lnTo>
                <a:lnTo>
                  <a:pt x="469" y="208"/>
                </a:lnTo>
                <a:lnTo>
                  <a:pt x="475" y="204"/>
                </a:lnTo>
                <a:lnTo>
                  <a:pt x="483" y="199"/>
                </a:lnTo>
                <a:lnTo>
                  <a:pt x="491" y="196"/>
                </a:lnTo>
                <a:lnTo>
                  <a:pt x="500" y="192"/>
                </a:lnTo>
                <a:lnTo>
                  <a:pt x="510" y="189"/>
                </a:lnTo>
                <a:lnTo>
                  <a:pt x="518" y="187"/>
                </a:lnTo>
                <a:lnTo>
                  <a:pt x="525" y="185"/>
                </a:lnTo>
                <a:lnTo>
                  <a:pt x="530" y="184"/>
                </a:lnTo>
                <a:lnTo>
                  <a:pt x="536" y="182"/>
                </a:lnTo>
                <a:lnTo>
                  <a:pt x="542" y="180"/>
                </a:lnTo>
                <a:lnTo>
                  <a:pt x="548" y="179"/>
                </a:lnTo>
                <a:lnTo>
                  <a:pt x="552" y="177"/>
                </a:lnTo>
                <a:lnTo>
                  <a:pt x="558" y="177"/>
                </a:lnTo>
                <a:lnTo>
                  <a:pt x="564" y="179"/>
                </a:lnTo>
                <a:lnTo>
                  <a:pt x="571" y="182"/>
                </a:lnTo>
                <a:lnTo>
                  <a:pt x="579" y="185"/>
                </a:lnTo>
                <a:lnTo>
                  <a:pt x="589" y="189"/>
                </a:lnTo>
                <a:lnTo>
                  <a:pt x="601" y="192"/>
                </a:lnTo>
                <a:lnTo>
                  <a:pt x="614" y="194"/>
                </a:lnTo>
                <a:lnTo>
                  <a:pt x="627" y="194"/>
                </a:lnTo>
                <a:lnTo>
                  <a:pt x="639" y="191"/>
                </a:lnTo>
                <a:lnTo>
                  <a:pt x="649" y="187"/>
                </a:lnTo>
                <a:lnTo>
                  <a:pt x="657" y="179"/>
                </a:lnTo>
                <a:lnTo>
                  <a:pt x="662" y="169"/>
                </a:lnTo>
                <a:lnTo>
                  <a:pt x="664" y="160"/>
                </a:lnTo>
                <a:lnTo>
                  <a:pt x="665" y="151"/>
                </a:lnTo>
                <a:lnTo>
                  <a:pt x="666" y="143"/>
                </a:lnTo>
                <a:lnTo>
                  <a:pt x="670" y="136"/>
                </a:lnTo>
                <a:lnTo>
                  <a:pt x="674" y="131"/>
                </a:lnTo>
                <a:lnTo>
                  <a:pt x="685" y="129"/>
                </a:lnTo>
                <a:lnTo>
                  <a:pt x="700" y="130"/>
                </a:lnTo>
                <a:lnTo>
                  <a:pt x="717" y="132"/>
                </a:lnTo>
                <a:lnTo>
                  <a:pt x="731" y="135"/>
                </a:lnTo>
                <a:lnTo>
                  <a:pt x="743" y="137"/>
                </a:lnTo>
                <a:lnTo>
                  <a:pt x="754" y="138"/>
                </a:lnTo>
                <a:lnTo>
                  <a:pt x="762" y="138"/>
                </a:lnTo>
                <a:lnTo>
                  <a:pt x="768" y="137"/>
                </a:lnTo>
                <a:lnTo>
                  <a:pt x="771" y="135"/>
                </a:lnTo>
                <a:lnTo>
                  <a:pt x="773" y="130"/>
                </a:lnTo>
                <a:lnTo>
                  <a:pt x="775" y="126"/>
                </a:lnTo>
                <a:lnTo>
                  <a:pt x="775" y="121"/>
                </a:lnTo>
                <a:lnTo>
                  <a:pt x="776" y="116"/>
                </a:lnTo>
                <a:lnTo>
                  <a:pt x="778" y="113"/>
                </a:lnTo>
                <a:lnTo>
                  <a:pt x="783" y="111"/>
                </a:lnTo>
                <a:lnTo>
                  <a:pt x="790" y="109"/>
                </a:lnTo>
                <a:lnTo>
                  <a:pt x="800" y="109"/>
                </a:lnTo>
                <a:lnTo>
                  <a:pt x="814" y="112"/>
                </a:lnTo>
                <a:lnTo>
                  <a:pt x="829" y="115"/>
                </a:lnTo>
                <a:lnTo>
                  <a:pt x="840" y="117"/>
                </a:lnTo>
                <a:lnTo>
                  <a:pt x="849" y="120"/>
                </a:lnTo>
                <a:lnTo>
                  <a:pt x="858" y="121"/>
                </a:lnTo>
                <a:lnTo>
                  <a:pt x="863" y="122"/>
                </a:lnTo>
                <a:lnTo>
                  <a:pt x="869" y="122"/>
                </a:lnTo>
                <a:lnTo>
                  <a:pt x="875" y="122"/>
                </a:lnTo>
                <a:lnTo>
                  <a:pt x="881" y="120"/>
                </a:lnTo>
                <a:lnTo>
                  <a:pt x="887" y="116"/>
                </a:lnTo>
                <a:lnTo>
                  <a:pt x="893" y="113"/>
                </a:lnTo>
                <a:lnTo>
                  <a:pt x="900" y="108"/>
                </a:lnTo>
                <a:lnTo>
                  <a:pt x="908" y="104"/>
                </a:lnTo>
                <a:lnTo>
                  <a:pt x="915" y="99"/>
                </a:lnTo>
                <a:lnTo>
                  <a:pt x="924" y="96"/>
                </a:lnTo>
                <a:lnTo>
                  <a:pt x="932" y="93"/>
                </a:lnTo>
                <a:lnTo>
                  <a:pt x="943" y="91"/>
                </a:lnTo>
                <a:lnTo>
                  <a:pt x="960" y="86"/>
                </a:lnTo>
                <a:lnTo>
                  <a:pt x="969" y="81"/>
                </a:lnTo>
                <a:lnTo>
                  <a:pt x="974" y="76"/>
                </a:lnTo>
                <a:lnTo>
                  <a:pt x="975" y="74"/>
                </a:lnTo>
                <a:lnTo>
                  <a:pt x="992" y="70"/>
                </a:lnTo>
                <a:lnTo>
                  <a:pt x="993" y="70"/>
                </a:lnTo>
                <a:lnTo>
                  <a:pt x="996" y="69"/>
                </a:lnTo>
                <a:lnTo>
                  <a:pt x="999" y="67"/>
                </a:lnTo>
                <a:lnTo>
                  <a:pt x="1005" y="66"/>
                </a:lnTo>
                <a:lnTo>
                  <a:pt x="1010" y="65"/>
                </a:lnTo>
                <a:lnTo>
                  <a:pt x="1015" y="65"/>
                </a:lnTo>
                <a:lnTo>
                  <a:pt x="1021" y="65"/>
                </a:lnTo>
                <a:lnTo>
                  <a:pt x="1027" y="67"/>
                </a:lnTo>
                <a:lnTo>
                  <a:pt x="1033" y="68"/>
                </a:lnTo>
                <a:lnTo>
                  <a:pt x="1040" y="68"/>
                </a:lnTo>
                <a:lnTo>
                  <a:pt x="1048" y="67"/>
                </a:lnTo>
                <a:lnTo>
                  <a:pt x="1057" y="65"/>
                </a:lnTo>
                <a:lnTo>
                  <a:pt x="1065" y="63"/>
                </a:lnTo>
                <a:lnTo>
                  <a:pt x="1072" y="62"/>
                </a:lnTo>
                <a:lnTo>
                  <a:pt x="1079" y="62"/>
                </a:lnTo>
                <a:lnTo>
                  <a:pt x="1083" y="63"/>
                </a:lnTo>
                <a:lnTo>
                  <a:pt x="1088" y="71"/>
                </a:lnTo>
                <a:lnTo>
                  <a:pt x="1090" y="82"/>
                </a:lnTo>
                <a:lnTo>
                  <a:pt x="1095" y="91"/>
                </a:lnTo>
                <a:lnTo>
                  <a:pt x="1108" y="94"/>
                </a:lnTo>
                <a:lnTo>
                  <a:pt x="1121" y="98"/>
                </a:lnTo>
                <a:lnTo>
                  <a:pt x="1128" y="105"/>
                </a:lnTo>
                <a:lnTo>
                  <a:pt x="1132" y="113"/>
                </a:lnTo>
                <a:lnTo>
                  <a:pt x="1132" y="116"/>
                </a:lnTo>
                <a:lnTo>
                  <a:pt x="1133" y="115"/>
                </a:lnTo>
                <a:lnTo>
                  <a:pt x="1136" y="113"/>
                </a:lnTo>
                <a:lnTo>
                  <a:pt x="1142" y="111"/>
                </a:lnTo>
                <a:lnTo>
                  <a:pt x="1150" y="107"/>
                </a:lnTo>
                <a:lnTo>
                  <a:pt x="1157" y="106"/>
                </a:lnTo>
                <a:lnTo>
                  <a:pt x="1166" y="105"/>
                </a:lnTo>
                <a:lnTo>
                  <a:pt x="1174" y="107"/>
                </a:lnTo>
                <a:lnTo>
                  <a:pt x="1181" y="112"/>
                </a:lnTo>
                <a:lnTo>
                  <a:pt x="1188" y="119"/>
                </a:lnTo>
                <a:lnTo>
                  <a:pt x="1196" y="124"/>
                </a:lnTo>
                <a:lnTo>
                  <a:pt x="1205" y="129"/>
                </a:lnTo>
                <a:lnTo>
                  <a:pt x="1215" y="135"/>
                </a:lnTo>
                <a:lnTo>
                  <a:pt x="1223" y="139"/>
                </a:lnTo>
                <a:lnTo>
                  <a:pt x="1232" y="143"/>
                </a:lnTo>
                <a:lnTo>
                  <a:pt x="1240" y="147"/>
                </a:lnTo>
                <a:lnTo>
                  <a:pt x="1247" y="151"/>
                </a:lnTo>
                <a:lnTo>
                  <a:pt x="1254" y="154"/>
                </a:lnTo>
                <a:lnTo>
                  <a:pt x="1261" y="157"/>
                </a:lnTo>
                <a:lnTo>
                  <a:pt x="1268" y="158"/>
                </a:lnTo>
                <a:lnTo>
                  <a:pt x="1275" y="158"/>
                </a:lnTo>
                <a:lnTo>
                  <a:pt x="1282" y="157"/>
                </a:lnTo>
                <a:lnTo>
                  <a:pt x="1288" y="156"/>
                </a:lnTo>
                <a:lnTo>
                  <a:pt x="1294" y="153"/>
                </a:lnTo>
                <a:lnTo>
                  <a:pt x="1300" y="151"/>
                </a:lnTo>
                <a:lnTo>
                  <a:pt x="1307" y="149"/>
                </a:lnTo>
                <a:lnTo>
                  <a:pt x="1316" y="146"/>
                </a:lnTo>
                <a:lnTo>
                  <a:pt x="1328" y="145"/>
                </a:lnTo>
                <a:lnTo>
                  <a:pt x="1339" y="143"/>
                </a:lnTo>
                <a:lnTo>
                  <a:pt x="1350" y="142"/>
                </a:lnTo>
                <a:lnTo>
                  <a:pt x="1359" y="142"/>
                </a:lnTo>
                <a:lnTo>
                  <a:pt x="1364" y="141"/>
                </a:lnTo>
                <a:lnTo>
                  <a:pt x="1367" y="141"/>
                </a:lnTo>
                <a:lnTo>
                  <a:pt x="1369" y="137"/>
                </a:lnTo>
                <a:lnTo>
                  <a:pt x="1374" y="130"/>
                </a:lnTo>
                <a:lnTo>
                  <a:pt x="1382" y="128"/>
                </a:lnTo>
                <a:lnTo>
                  <a:pt x="1391" y="134"/>
                </a:lnTo>
                <a:lnTo>
                  <a:pt x="1397" y="138"/>
                </a:lnTo>
                <a:lnTo>
                  <a:pt x="1401" y="139"/>
                </a:lnTo>
                <a:lnTo>
                  <a:pt x="1407" y="139"/>
                </a:lnTo>
                <a:lnTo>
                  <a:pt x="1414" y="136"/>
                </a:lnTo>
                <a:lnTo>
                  <a:pt x="1420" y="132"/>
                </a:lnTo>
                <a:lnTo>
                  <a:pt x="1426" y="129"/>
                </a:lnTo>
                <a:lnTo>
                  <a:pt x="1430" y="126"/>
                </a:lnTo>
                <a:lnTo>
                  <a:pt x="1436" y="123"/>
                </a:lnTo>
                <a:lnTo>
                  <a:pt x="1446" y="122"/>
                </a:lnTo>
                <a:lnTo>
                  <a:pt x="1456" y="123"/>
                </a:lnTo>
                <a:lnTo>
                  <a:pt x="1461" y="121"/>
                </a:lnTo>
                <a:lnTo>
                  <a:pt x="1464" y="112"/>
                </a:lnTo>
                <a:lnTo>
                  <a:pt x="1464" y="97"/>
                </a:lnTo>
                <a:lnTo>
                  <a:pt x="1462" y="81"/>
                </a:lnTo>
                <a:lnTo>
                  <a:pt x="1458" y="66"/>
                </a:lnTo>
                <a:lnTo>
                  <a:pt x="1450" y="53"/>
                </a:lnTo>
                <a:lnTo>
                  <a:pt x="1441" y="45"/>
                </a:lnTo>
                <a:lnTo>
                  <a:pt x="1435" y="39"/>
                </a:lnTo>
                <a:lnTo>
                  <a:pt x="1431" y="33"/>
                </a:lnTo>
                <a:lnTo>
                  <a:pt x="1432" y="25"/>
                </a:lnTo>
                <a:lnTo>
                  <a:pt x="1435" y="17"/>
                </a:lnTo>
                <a:lnTo>
                  <a:pt x="1439" y="10"/>
                </a:lnTo>
                <a:lnTo>
                  <a:pt x="1446" y="5"/>
                </a:lnTo>
                <a:lnTo>
                  <a:pt x="1456" y="1"/>
                </a:lnTo>
                <a:lnTo>
                  <a:pt x="1459" y="0"/>
                </a:lnTo>
                <a:lnTo>
                  <a:pt x="1464" y="0"/>
                </a:lnTo>
                <a:lnTo>
                  <a:pt x="1469" y="0"/>
                </a:lnTo>
                <a:lnTo>
                  <a:pt x="1475" y="0"/>
                </a:lnTo>
                <a:lnTo>
                  <a:pt x="1485" y="2"/>
                </a:lnTo>
                <a:lnTo>
                  <a:pt x="1498" y="6"/>
                </a:lnTo>
                <a:lnTo>
                  <a:pt x="1510" y="9"/>
                </a:lnTo>
                <a:lnTo>
                  <a:pt x="1520" y="14"/>
                </a:lnTo>
                <a:lnTo>
                  <a:pt x="1529" y="18"/>
                </a:lnTo>
                <a:lnTo>
                  <a:pt x="1537" y="22"/>
                </a:lnTo>
                <a:lnTo>
                  <a:pt x="1542" y="24"/>
                </a:lnTo>
                <a:lnTo>
                  <a:pt x="1544" y="25"/>
                </a:lnTo>
                <a:lnTo>
                  <a:pt x="1547" y="30"/>
                </a:lnTo>
                <a:lnTo>
                  <a:pt x="1553" y="41"/>
                </a:lnTo>
                <a:lnTo>
                  <a:pt x="1563" y="56"/>
                </a:lnTo>
                <a:lnTo>
                  <a:pt x="1570" y="70"/>
                </a:lnTo>
                <a:lnTo>
                  <a:pt x="1573" y="85"/>
                </a:lnTo>
                <a:lnTo>
                  <a:pt x="1573" y="101"/>
                </a:lnTo>
                <a:lnTo>
                  <a:pt x="1568" y="116"/>
                </a:lnTo>
                <a:lnTo>
                  <a:pt x="1562" y="123"/>
                </a:lnTo>
                <a:lnTo>
                  <a:pt x="1558" y="126"/>
                </a:lnTo>
                <a:lnTo>
                  <a:pt x="1553" y="128"/>
                </a:lnTo>
                <a:lnTo>
                  <a:pt x="1549" y="130"/>
                </a:lnTo>
                <a:lnTo>
                  <a:pt x="1544" y="134"/>
                </a:lnTo>
                <a:lnTo>
                  <a:pt x="1540" y="138"/>
                </a:lnTo>
                <a:lnTo>
                  <a:pt x="1534" y="142"/>
                </a:lnTo>
                <a:lnTo>
                  <a:pt x="1527" y="144"/>
                </a:lnTo>
                <a:lnTo>
                  <a:pt x="1520" y="147"/>
                </a:lnTo>
                <a:lnTo>
                  <a:pt x="1507" y="153"/>
                </a:lnTo>
                <a:lnTo>
                  <a:pt x="1500" y="160"/>
                </a:lnTo>
                <a:lnTo>
                  <a:pt x="1497" y="167"/>
                </a:lnTo>
                <a:lnTo>
                  <a:pt x="1496" y="175"/>
                </a:lnTo>
                <a:lnTo>
                  <a:pt x="1497" y="185"/>
                </a:lnTo>
                <a:lnTo>
                  <a:pt x="1502" y="198"/>
                </a:lnTo>
                <a:lnTo>
                  <a:pt x="1505" y="212"/>
                </a:lnTo>
                <a:lnTo>
                  <a:pt x="1506" y="225"/>
                </a:lnTo>
                <a:lnTo>
                  <a:pt x="1504" y="235"/>
                </a:lnTo>
                <a:lnTo>
                  <a:pt x="1498" y="247"/>
                </a:lnTo>
                <a:lnTo>
                  <a:pt x="1491" y="257"/>
                </a:lnTo>
                <a:lnTo>
                  <a:pt x="1485" y="266"/>
                </a:lnTo>
                <a:lnTo>
                  <a:pt x="1482" y="271"/>
                </a:lnTo>
                <a:lnTo>
                  <a:pt x="1477" y="279"/>
                </a:lnTo>
                <a:lnTo>
                  <a:pt x="1473" y="287"/>
                </a:lnTo>
                <a:lnTo>
                  <a:pt x="1467" y="295"/>
                </a:lnTo>
                <a:lnTo>
                  <a:pt x="1461" y="303"/>
                </a:lnTo>
                <a:lnTo>
                  <a:pt x="1456" y="310"/>
                </a:lnTo>
                <a:lnTo>
                  <a:pt x="1451" y="314"/>
                </a:lnTo>
                <a:lnTo>
                  <a:pt x="1446" y="316"/>
                </a:lnTo>
                <a:lnTo>
                  <a:pt x="1439" y="312"/>
                </a:lnTo>
                <a:lnTo>
                  <a:pt x="1432" y="305"/>
                </a:lnTo>
                <a:lnTo>
                  <a:pt x="1424" y="297"/>
                </a:lnTo>
                <a:lnTo>
                  <a:pt x="1415" y="290"/>
                </a:lnTo>
                <a:lnTo>
                  <a:pt x="1411" y="288"/>
                </a:lnTo>
                <a:lnTo>
                  <a:pt x="1406" y="287"/>
                </a:lnTo>
                <a:lnTo>
                  <a:pt x="1401" y="285"/>
                </a:lnTo>
                <a:lnTo>
                  <a:pt x="1397" y="285"/>
                </a:lnTo>
                <a:lnTo>
                  <a:pt x="1391" y="283"/>
                </a:lnTo>
                <a:lnTo>
                  <a:pt x="1385" y="283"/>
                </a:lnTo>
                <a:lnTo>
                  <a:pt x="1378" y="283"/>
                </a:lnTo>
                <a:lnTo>
                  <a:pt x="1370" y="283"/>
                </a:lnTo>
                <a:lnTo>
                  <a:pt x="1361" y="283"/>
                </a:lnTo>
                <a:lnTo>
                  <a:pt x="1351" y="281"/>
                </a:lnTo>
                <a:lnTo>
                  <a:pt x="1340" y="280"/>
                </a:lnTo>
                <a:lnTo>
                  <a:pt x="1330" y="276"/>
                </a:lnTo>
                <a:lnTo>
                  <a:pt x="1320" y="274"/>
                </a:lnTo>
                <a:lnTo>
                  <a:pt x="1309" y="271"/>
                </a:lnTo>
                <a:lnTo>
                  <a:pt x="1299" y="266"/>
                </a:lnTo>
                <a:lnTo>
                  <a:pt x="1290" y="263"/>
                </a:lnTo>
                <a:lnTo>
                  <a:pt x="1280" y="259"/>
                </a:lnTo>
                <a:lnTo>
                  <a:pt x="1273" y="255"/>
                </a:lnTo>
                <a:lnTo>
                  <a:pt x="1267" y="252"/>
                </a:lnTo>
                <a:lnTo>
                  <a:pt x="1261" y="249"/>
                </a:lnTo>
                <a:lnTo>
                  <a:pt x="1255" y="248"/>
                </a:lnTo>
                <a:lnTo>
                  <a:pt x="1250" y="247"/>
                </a:lnTo>
                <a:lnTo>
                  <a:pt x="1245" y="247"/>
                </a:lnTo>
                <a:lnTo>
                  <a:pt x="1240" y="249"/>
                </a:lnTo>
                <a:lnTo>
                  <a:pt x="1232" y="252"/>
                </a:lnTo>
                <a:lnTo>
                  <a:pt x="1229" y="255"/>
                </a:lnTo>
                <a:lnTo>
                  <a:pt x="1226" y="256"/>
                </a:lnTo>
                <a:lnTo>
                  <a:pt x="1226" y="253"/>
                </a:lnTo>
                <a:lnTo>
                  <a:pt x="1226" y="248"/>
                </a:lnTo>
                <a:lnTo>
                  <a:pt x="1226" y="240"/>
                </a:lnTo>
                <a:lnTo>
                  <a:pt x="1226" y="232"/>
                </a:lnTo>
                <a:lnTo>
                  <a:pt x="1224" y="222"/>
                </a:lnTo>
                <a:lnTo>
                  <a:pt x="1217" y="213"/>
                </a:lnTo>
                <a:lnTo>
                  <a:pt x="1209" y="211"/>
                </a:lnTo>
                <a:lnTo>
                  <a:pt x="1202" y="221"/>
                </a:lnTo>
                <a:lnTo>
                  <a:pt x="1200" y="229"/>
                </a:lnTo>
                <a:lnTo>
                  <a:pt x="1197" y="237"/>
                </a:lnTo>
                <a:lnTo>
                  <a:pt x="1194" y="244"/>
                </a:lnTo>
                <a:lnTo>
                  <a:pt x="1191" y="250"/>
                </a:lnTo>
                <a:lnTo>
                  <a:pt x="1186" y="255"/>
                </a:lnTo>
                <a:lnTo>
                  <a:pt x="1180" y="258"/>
                </a:lnTo>
                <a:lnTo>
                  <a:pt x="1172" y="260"/>
                </a:lnTo>
                <a:lnTo>
                  <a:pt x="1163" y="263"/>
                </a:lnTo>
                <a:lnTo>
                  <a:pt x="1155" y="265"/>
                </a:lnTo>
                <a:lnTo>
                  <a:pt x="1150" y="267"/>
                </a:lnTo>
                <a:lnTo>
                  <a:pt x="1148" y="272"/>
                </a:lnTo>
                <a:lnTo>
                  <a:pt x="1147" y="275"/>
                </a:lnTo>
                <a:lnTo>
                  <a:pt x="1146" y="279"/>
                </a:lnTo>
                <a:lnTo>
                  <a:pt x="1143" y="282"/>
                </a:lnTo>
                <a:lnTo>
                  <a:pt x="1138" y="283"/>
                </a:lnTo>
                <a:lnTo>
                  <a:pt x="1128" y="283"/>
                </a:lnTo>
                <a:lnTo>
                  <a:pt x="1118" y="281"/>
                </a:lnTo>
                <a:lnTo>
                  <a:pt x="1109" y="279"/>
                </a:lnTo>
                <a:lnTo>
                  <a:pt x="1103" y="276"/>
                </a:lnTo>
                <a:lnTo>
                  <a:pt x="1097" y="273"/>
                </a:lnTo>
                <a:lnTo>
                  <a:pt x="1094" y="271"/>
                </a:lnTo>
                <a:lnTo>
                  <a:pt x="1091" y="268"/>
                </a:lnTo>
                <a:lnTo>
                  <a:pt x="1090" y="267"/>
                </a:lnTo>
                <a:lnTo>
                  <a:pt x="1090" y="266"/>
                </a:lnTo>
                <a:lnTo>
                  <a:pt x="1089" y="263"/>
                </a:lnTo>
                <a:lnTo>
                  <a:pt x="1085" y="256"/>
                </a:lnTo>
                <a:lnTo>
                  <a:pt x="1075" y="251"/>
                </a:lnTo>
                <a:lnTo>
                  <a:pt x="1058" y="256"/>
                </a:lnTo>
                <a:lnTo>
                  <a:pt x="1042" y="264"/>
                </a:lnTo>
                <a:lnTo>
                  <a:pt x="1034" y="270"/>
                </a:lnTo>
                <a:lnTo>
                  <a:pt x="1029" y="275"/>
                </a:lnTo>
                <a:lnTo>
                  <a:pt x="1027" y="283"/>
                </a:lnTo>
                <a:lnTo>
                  <a:pt x="1023" y="294"/>
                </a:lnTo>
                <a:lnTo>
                  <a:pt x="1019" y="303"/>
                </a:lnTo>
                <a:lnTo>
                  <a:pt x="1011" y="311"/>
                </a:lnTo>
                <a:lnTo>
                  <a:pt x="999" y="316"/>
                </a:lnTo>
                <a:lnTo>
                  <a:pt x="993" y="317"/>
                </a:lnTo>
                <a:lnTo>
                  <a:pt x="990" y="319"/>
                </a:lnTo>
                <a:lnTo>
                  <a:pt x="987" y="321"/>
                </a:lnTo>
                <a:lnTo>
                  <a:pt x="983" y="324"/>
                </a:lnTo>
                <a:lnTo>
                  <a:pt x="980" y="325"/>
                </a:lnTo>
                <a:lnTo>
                  <a:pt x="976" y="326"/>
                </a:lnTo>
                <a:lnTo>
                  <a:pt x="970" y="327"/>
                </a:lnTo>
                <a:lnTo>
                  <a:pt x="964" y="326"/>
                </a:lnTo>
                <a:lnTo>
                  <a:pt x="955" y="324"/>
                </a:lnTo>
                <a:lnTo>
                  <a:pt x="949" y="321"/>
                </a:lnTo>
                <a:lnTo>
                  <a:pt x="942" y="319"/>
                </a:lnTo>
                <a:lnTo>
                  <a:pt x="935" y="317"/>
                </a:lnTo>
                <a:lnTo>
                  <a:pt x="927" y="314"/>
                </a:lnTo>
                <a:lnTo>
                  <a:pt x="920" y="313"/>
                </a:lnTo>
                <a:lnTo>
                  <a:pt x="913" y="313"/>
                </a:lnTo>
                <a:lnTo>
                  <a:pt x="905" y="316"/>
                </a:lnTo>
                <a:lnTo>
                  <a:pt x="891" y="320"/>
                </a:lnTo>
                <a:lnTo>
                  <a:pt x="884" y="324"/>
                </a:lnTo>
                <a:lnTo>
                  <a:pt x="884" y="331"/>
                </a:lnTo>
                <a:lnTo>
                  <a:pt x="894" y="343"/>
                </a:lnTo>
                <a:lnTo>
                  <a:pt x="902" y="351"/>
                </a:lnTo>
                <a:lnTo>
                  <a:pt x="909" y="358"/>
                </a:lnTo>
                <a:lnTo>
                  <a:pt x="915" y="365"/>
                </a:lnTo>
                <a:lnTo>
                  <a:pt x="921" y="372"/>
                </a:lnTo>
                <a:lnTo>
                  <a:pt x="926" y="377"/>
                </a:lnTo>
                <a:lnTo>
                  <a:pt x="929" y="381"/>
                </a:lnTo>
                <a:lnTo>
                  <a:pt x="931" y="384"/>
                </a:lnTo>
                <a:lnTo>
                  <a:pt x="932" y="385"/>
                </a:lnTo>
                <a:lnTo>
                  <a:pt x="931" y="386"/>
                </a:lnTo>
                <a:lnTo>
                  <a:pt x="928" y="389"/>
                </a:lnTo>
                <a:lnTo>
                  <a:pt x="923" y="396"/>
                </a:lnTo>
                <a:lnTo>
                  <a:pt x="922" y="409"/>
                </a:lnTo>
                <a:lnTo>
                  <a:pt x="922" y="422"/>
                </a:lnTo>
                <a:lnTo>
                  <a:pt x="922" y="429"/>
                </a:lnTo>
                <a:lnTo>
                  <a:pt x="922" y="431"/>
                </a:lnTo>
                <a:close/>
              </a:path>
            </a:pathLst>
          </a:custGeom>
          <a:solidFill>
            <a:schemeClr val="accent3"/>
          </a:solidFill>
          <a:ln w="12700">
            <a:solidFill>
              <a:schemeClr val="bg1"/>
            </a:solidFill>
            <a:round/>
            <a:headEnd/>
            <a:tailEnd/>
          </a:ln>
        </p:spPr>
        <p:txBody>
          <a:bodyPr/>
          <a:lstStyle/>
          <a:p>
            <a:pPr>
              <a:defRPr/>
            </a:pPr>
            <a:endParaRPr lang="nl-NL"/>
          </a:p>
        </p:txBody>
      </p:sp>
      <p:sp>
        <p:nvSpPr>
          <p:cNvPr id="19" name="Freeform 13"/>
          <p:cNvSpPr>
            <a:spLocks/>
          </p:cNvSpPr>
          <p:nvPr/>
        </p:nvSpPr>
        <p:spPr bwMode="auto">
          <a:xfrm>
            <a:off x="5976251" y="4954304"/>
            <a:ext cx="7567" cy="6831"/>
          </a:xfrm>
          <a:custGeom>
            <a:avLst/>
            <a:gdLst>
              <a:gd name="T0" fmla="*/ 2 w 2"/>
              <a:gd name="T1" fmla="*/ 2 h 2"/>
              <a:gd name="T2" fmla="*/ 1 w 2"/>
              <a:gd name="T3" fmla="*/ 1 h 2"/>
              <a:gd name="T4" fmla="*/ 1 w 2"/>
              <a:gd name="T5" fmla="*/ 1 h 2"/>
              <a:gd name="T6" fmla="*/ 1 w 2"/>
              <a:gd name="T7" fmla="*/ 1 h 2"/>
              <a:gd name="T8" fmla="*/ 0 w 2"/>
              <a:gd name="T9" fmla="*/ 0 h 2"/>
              <a:gd name="T10" fmla="*/ 1 w 2"/>
              <a:gd name="T11" fmla="*/ 1 h 2"/>
              <a:gd name="T12" fmla="*/ 1 w 2"/>
              <a:gd name="T13" fmla="*/ 1 h 2"/>
              <a:gd name="T14" fmla="*/ 1 w 2"/>
              <a:gd name="T15" fmla="*/ 2 h 2"/>
              <a:gd name="T16" fmla="*/ 2 w 2"/>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2"/>
                </a:moveTo>
                <a:lnTo>
                  <a:pt x="1" y="1"/>
                </a:lnTo>
                <a:lnTo>
                  <a:pt x="0" y="0"/>
                </a:lnTo>
                <a:lnTo>
                  <a:pt x="1" y="1"/>
                </a:lnTo>
                <a:lnTo>
                  <a:pt x="1" y="2"/>
                </a:lnTo>
                <a:lnTo>
                  <a:pt x="2" y="2"/>
                </a:lnTo>
                <a:close/>
              </a:path>
            </a:pathLst>
          </a:custGeom>
          <a:solidFill>
            <a:schemeClr val="accent3"/>
          </a:solidFill>
          <a:ln w="12700">
            <a:solidFill>
              <a:schemeClr val="bg1"/>
            </a:solidFill>
            <a:round/>
            <a:headEnd/>
            <a:tailEnd/>
          </a:ln>
        </p:spPr>
        <p:txBody>
          <a:bodyPr/>
          <a:lstStyle/>
          <a:p>
            <a:pPr>
              <a:defRPr/>
            </a:pPr>
            <a:endParaRPr lang="nl-NL"/>
          </a:p>
        </p:txBody>
      </p:sp>
      <p:sp>
        <p:nvSpPr>
          <p:cNvPr id="20" name="Freeform 14"/>
          <p:cNvSpPr>
            <a:spLocks/>
          </p:cNvSpPr>
          <p:nvPr/>
        </p:nvSpPr>
        <p:spPr bwMode="auto">
          <a:xfrm>
            <a:off x="7880072" y="5359038"/>
            <a:ext cx="62048" cy="51232"/>
          </a:xfrm>
          <a:custGeom>
            <a:avLst/>
            <a:gdLst>
              <a:gd name="T0" fmla="*/ 35 w 37"/>
              <a:gd name="T1" fmla="*/ 0 h 28"/>
              <a:gd name="T2" fmla="*/ 36 w 37"/>
              <a:gd name="T3" fmla="*/ 2 h 28"/>
              <a:gd name="T4" fmla="*/ 37 w 37"/>
              <a:gd name="T5" fmla="*/ 7 h 28"/>
              <a:gd name="T6" fmla="*/ 35 w 37"/>
              <a:gd name="T7" fmla="*/ 12 h 28"/>
              <a:gd name="T8" fmla="*/ 28 w 37"/>
              <a:gd name="T9" fmla="*/ 14 h 28"/>
              <a:gd name="T10" fmla="*/ 18 w 37"/>
              <a:gd name="T11" fmla="*/ 16 h 28"/>
              <a:gd name="T12" fmla="*/ 10 w 37"/>
              <a:gd name="T13" fmla="*/ 21 h 28"/>
              <a:gd name="T14" fmla="*/ 3 w 37"/>
              <a:gd name="T15" fmla="*/ 26 h 28"/>
              <a:gd name="T16" fmla="*/ 0 w 37"/>
              <a:gd name="T17" fmla="*/ 28 h 28"/>
              <a:gd name="T18" fmla="*/ 4 w 37"/>
              <a:gd name="T19" fmla="*/ 11 h 28"/>
              <a:gd name="T20" fmla="*/ 7 w 37"/>
              <a:gd name="T21" fmla="*/ 9 h 28"/>
              <a:gd name="T22" fmla="*/ 15 w 37"/>
              <a:gd name="T23" fmla="*/ 5 h 28"/>
              <a:gd name="T24" fmla="*/ 26 w 37"/>
              <a:gd name="T25" fmla="*/ 1 h 28"/>
              <a:gd name="T26" fmla="*/ 35 w 37"/>
              <a:gd name="T27" fmla="*/ 0 h 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
              <a:gd name="T43" fmla="*/ 0 h 28"/>
              <a:gd name="T44" fmla="*/ 37 w 37"/>
              <a:gd name="T45" fmla="*/ 28 h 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 h="28">
                <a:moveTo>
                  <a:pt x="35" y="0"/>
                </a:moveTo>
                <a:lnTo>
                  <a:pt x="36" y="2"/>
                </a:lnTo>
                <a:lnTo>
                  <a:pt x="37" y="7"/>
                </a:lnTo>
                <a:lnTo>
                  <a:pt x="35" y="12"/>
                </a:lnTo>
                <a:lnTo>
                  <a:pt x="28" y="14"/>
                </a:lnTo>
                <a:lnTo>
                  <a:pt x="18" y="16"/>
                </a:lnTo>
                <a:lnTo>
                  <a:pt x="10" y="21"/>
                </a:lnTo>
                <a:lnTo>
                  <a:pt x="3" y="26"/>
                </a:lnTo>
                <a:lnTo>
                  <a:pt x="0" y="28"/>
                </a:lnTo>
                <a:lnTo>
                  <a:pt x="4" y="11"/>
                </a:lnTo>
                <a:lnTo>
                  <a:pt x="7" y="9"/>
                </a:lnTo>
                <a:lnTo>
                  <a:pt x="15" y="5"/>
                </a:lnTo>
                <a:lnTo>
                  <a:pt x="26" y="1"/>
                </a:lnTo>
                <a:lnTo>
                  <a:pt x="35" y="0"/>
                </a:lnTo>
                <a:close/>
              </a:path>
            </a:pathLst>
          </a:custGeom>
          <a:solidFill>
            <a:schemeClr val="accent3"/>
          </a:solidFill>
          <a:ln w="12700">
            <a:solidFill>
              <a:schemeClr val="bg1"/>
            </a:solidFill>
            <a:round/>
            <a:headEnd/>
            <a:tailEnd/>
          </a:ln>
        </p:spPr>
        <p:txBody>
          <a:bodyPr/>
          <a:lstStyle/>
          <a:p>
            <a:pPr>
              <a:defRPr/>
            </a:pPr>
            <a:endParaRPr lang="nl-NL"/>
          </a:p>
        </p:txBody>
      </p:sp>
      <p:sp>
        <p:nvSpPr>
          <p:cNvPr id="21" name="Freeform 15"/>
          <p:cNvSpPr>
            <a:spLocks/>
          </p:cNvSpPr>
          <p:nvPr/>
        </p:nvSpPr>
        <p:spPr bwMode="auto">
          <a:xfrm>
            <a:off x="7958767" y="5137032"/>
            <a:ext cx="74155" cy="213467"/>
          </a:xfrm>
          <a:custGeom>
            <a:avLst/>
            <a:gdLst>
              <a:gd name="T0" fmla="*/ 35 w 43"/>
              <a:gd name="T1" fmla="*/ 80 h 115"/>
              <a:gd name="T2" fmla="*/ 38 w 43"/>
              <a:gd name="T3" fmla="*/ 82 h 115"/>
              <a:gd name="T4" fmla="*/ 41 w 43"/>
              <a:gd name="T5" fmla="*/ 88 h 115"/>
              <a:gd name="T6" fmla="*/ 43 w 43"/>
              <a:gd name="T7" fmla="*/ 95 h 115"/>
              <a:gd name="T8" fmla="*/ 39 w 43"/>
              <a:gd name="T9" fmla="*/ 101 h 115"/>
              <a:gd name="T10" fmla="*/ 31 w 43"/>
              <a:gd name="T11" fmla="*/ 106 h 115"/>
              <a:gd name="T12" fmla="*/ 25 w 43"/>
              <a:gd name="T13" fmla="*/ 110 h 115"/>
              <a:gd name="T14" fmla="*/ 20 w 43"/>
              <a:gd name="T15" fmla="*/ 114 h 115"/>
              <a:gd name="T16" fmla="*/ 18 w 43"/>
              <a:gd name="T17" fmla="*/ 115 h 115"/>
              <a:gd name="T18" fmla="*/ 17 w 43"/>
              <a:gd name="T19" fmla="*/ 109 h 115"/>
              <a:gd name="T20" fmla="*/ 15 w 43"/>
              <a:gd name="T21" fmla="*/ 96 h 115"/>
              <a:gd name="T22" fmla="*/ 11 w 43"/>
              <a:gd name="T23" fmla="*/ 82 h 115"/>
              <a:gd name="T24" fmla="*/ 4 w 43"/>
              <a:gd name="T25" fmla="*/ 73 h 115"/>
              <a:gd name="T26" fmla="*/ 0 w 43"/>
              <a:gd name="T27" fmla="*/ 66 h 115"/>
              <a:gd name="T28" fmla="*/ 1 w 43"/>
              <a:gd name="T29" fmla="*/ 59 h 115"/>
              <a:gd name="T30" fmla="*/ 3 w 43"/>
              <a:gd name="T31" fmla="*/ 54 h 115"/>
              <a:gd name="T32" fmla="*/ 4 w 43"/>
              <a:gd name="T33" fmla="*/ 51 h 115"/>
              <a:gd name="T34" fmla="*/ 8 w 43"/>
              <a:gd name="T35" fmla="*/ 46 h 115"/>
              <a:gd name="T36" fmla="*/ 16 w 43"/>
              <a:gd name="T37" fmla="*/ 33 h 115"/>
              <a:gd name="T38" fmla="*/ 23 w 43"/>
              <a:gd name="T39" fmla="*/ 18 h 115"/>
              <a:gd name="T40" fmla="*/ 25 w 43"/>
              <a:gd name="T41" fmla="*/ 6 h 115"/>
              <a:gd name="T42" fmla="*/ 26 w 43"/>
              <a:gd name="T43" fmla="*/ 1 h 115"/>
              <a:gd name="T44" fmla="*/ 32 w 43"/>
              <a:gd name="T45" fmla="*/ 0 h 115"/>
              <a:gd name="T46" fmla="*/ 38 w 43"/>
              <a:gd name="T47" fmla="*/ 3 h 115"/>
              <a:gd name="T48" fmla="*/ 39 w 43"/>
              <a:gd name="T49" fmla="*/ 13 h 115"/>
              <a:gd name="T50" fmla="*/ 35 w 43"/>
              <a:gd name="T51" fmla="*/ 27 h 115"/>
              <a:gd name="T52" fmla="*/ 31 w 43"/>
              <a:gd name="T53" fmla="*/ 42 h 115"/>
              <a:gd name="T54" fmla="*/ 26 w 43"/>
              <a:gd name="T55" fmla="*/ 54 h 115"/>
              <a:gd name="T56" fmla="*/ 25 w 43"/>
              <a:gd name="T57" fmla="*/ 58 h 115"/>
              <a:gd name="T58" fmla="*/ 35 w 43"/>
              <a:gd name="T59" fmla="*/ 80 h 11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
              <a:gd name="T91" fmla="*/ 0 h 115"/>
              <a:gd name="T92" fmla="*/ 43 w 43"/>
              <a:gd name="T93" fmla="*/ 115 h 11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 h="115">
                <a:moveTo>
                  <a:pt x="35" y="80"/>
                </a:moveTo>
                <a:lnTo>
                  <a:pt x="38" y="82"/>
                </a:lnTo>
                <a:lnTo>
                  <a:pt x="41" y="88"/>
                </a:lnTo>
                <a:lnTo>
                  <a:pt x="43" y="95"/>
                </a:lnTo>
                <a:lnTo>
                  <a:pt x="39" y="101"/>
                </a:lnTo>
                <a:lnTo>
                  <a:pt x="31" y="106"/>
                </a:lnTo>
                <a:lnTo>
                  <a:pt x="25" y="110"/>
                </a:lnTo>
                <a:lnTo>
                  <a:pt x="20" y="114"/>
                </a:lnTo>
                <a:lnTo>
                  <a:pt x="18" y="115"/>
                </a:lnTo>
                <a:lnTo>
                  <a:pt x="17" y="109"/>
                </a:lnTo>
                <a:lnTo>
                  <a:pt x="15" y="96"/>
                </a:lnTo>
                <a:lnTo>
                  <a:pt x="11" y="82"/>
                </a:lnTo>
                <a:lnTo>
                  <a:pt x="4" y="73"/>
                </a:lnTo>
                <a:lnTo>
                  <a:pt x="0" y="66"/>
                </a:lnTo>
                <a:lnTo>
                  <a:pt x="1" y="59"/>
                </a:lnTo>
                <a:lnTo>
                  <a:pt x="3" y="54"/>
                </a:lnTo>
                <a:lnTo>
                  <a:pt x="4" y="51"/>
                </a:lnTo>
                <a:lnTo>
                  <a:pt x="8" y="46"/>
                </a:lnTo>
                <a:lnTo>
                  <a:pt x="16" y="33"/>
                </a:lnTo>
                <a:lnTo>
                  <a:pt x="23" y="18"/>
                </a:lnTo>
                <a:lnTo>
                  <a:pt x="25" y="6"/>
                </a:lnTo>
                <a:lnTo>
                  <a:pt x="26" y="1"/>
                </a:lnTo>
                <a:lnTo>
                  <a:pt x="32" y="0"/>
                </a:lnTo>
                <a:lnTo>
                  <a:pt x="38" y="3"/>
                </a:lnTo>
                <a:lnTo>
                  <a:pt x="39" y="13"/>
                </a:lnTo>
                <a:lnTo>
                  <a:pt x="35" y="27"/>
                </a:lnTo>
                <a:lnTo>
                  <a:pt x="31" y="42"/>
                </a:lnTo>
                <a:lnTo>
                  <a:pt x="26" y="54"/>
                </a:lnTo>
                <a:lnTo>
                  <a:pt x="25" y="58"/>
                </a:lnTo>
                <a:lnTo>
                  <a:pt x="35" y="80"/>
                </a:lnTo>
                <a:close/>
              </a:path>
            </a:pathLst>
          </a:custGeom>
          <a:solidFill>
            <a:schemeClr val="accent3"/>
          </a:solidFill>
          <a:ln w="12700">
            <a:solidFill>
              <a:schemeClr val="bg1"/>
            </a:solidFill>
            <a:round/>
            <a:headEnd/>
            <a:tailEnd/>
          </a:ln>
        </p:spPr>
        <p:txBody>
          <a:bodyPr/>
          <a:lstStyle/>
          <a:p>
            <a:pPr>
              <a:defRPr/>
            </a:pPr>
            <a:endParaRPr lang="nl-NL"/>
          </a:p>
        </p:txBody>
      </p:sp>
      <p:sp>
        <p:nvSpPr>
          <p:cNvPr id="22" name="Freeform 16"/>
          <p:cNvSpPr>
            <a:spLocks/>
          </p:cNvSpPr>
          <p:nvPr/>
        </p:nvSpPr>
        <p:spPr bwMode="auto">
          <a:xfrm>
            <a:off x="8225120" y="4756206"/>
            <a:ext cx="214899" cy="321055"/>
          </a:xfrm>
          <a:custGeom>
            <a:avLst/>
            <a:gdLst>
              <a:gd name="T0" fmla="*/ 39 w 129"/>
              <a:gd name="T1" fmla="*/ 160 h 171"/>
              <a:gd name="T2" fmla="*/ 21 w 129"/>
              <a:gd name="T3" fmla="*/ 171 h 171"/>
              <a:gd name="T4" fmla="*/ 6 w 129"/>
              <a:gd name="T5" fmla="*/ 165 h 171"/>
              <a:gd name="T6" fmla="*/ 2 w 129"/>
              <a:gd name="T7" fmla="*/ 152 h 171"/>
              <a:gd name="T8" fmla="*/ 8 w 129"/>
              <a:gd name="T9" fmla="*/ 133 h 171"/>
              <a:gd name="T10" fmla="*/ 9 w 129"/>
              <a:gd name="T11" fmla="*/ 117 h 171"/>
              <a:gd name="T12" fmla="*/ 0 w 129"/>
              <a:gd name="T13" fmla="*/ 105 h 171"/>
              <a:gd name="T14" fmla="*/ 3 w 129"/>
              <a:gd name="T15" fmla="*/ 87 h 171"/>
              <a:gd name="T16" fmla="*/ 7 w 129"/>
              <a:gd name="T17" fmla="*/ 77 h 171"/>
              <a:gd name="T18" fmla="*/ 22 w 129"/>
              <a:gd name="T19" fmla="*/ 47 h 171"/>
              <a:gd name="T20" fmla="*/ 38 w 129"/>
              <a:gd name="T21" fmla="*/ 37 h 171"/>
              <a:gd name="T22" fmla="*/ 48 w 129"/>
              <a:gd name="T23" fmla="*/ 32 h 171"/>
              <a:gd name="T24" fmla="*/ 59 w 129"/>
              <a:gd name="T25" fmla="*/ 26 h 171"/>
              <a:gd name="T26" fmla="*/ 69 w 129"/>
              <a:gd name="T27" fmla="*/ 19 h 171"/>
              <a:gd name="T28" fmla="*/ 79 w 129"/>
              <a:gd name="T29" fmla="*/ 14 h 171"/>
              <a:gd name="T30" fmla="*/ 92 w 129"/>
              <a:gd name="T31" fmla="*/ 7 h 171"/>
              <a:gd name="T32" fmla="*/ 106 w 129"/>
              <a:gd name="T33" fmla="*/ 1 h 171"/>
              <a:gd name="T34" fmla="*/ 117 w 129"/>
              <a:gd name="T35" fmla="*/ 1 h 171"/>
              <a:gd name="T36" fmla="*/ 126 w 129"/>
              <a:gd name="T37" fmla="*/ 6 h 171"/>
              <a:gd name="T38" fmla="*/ 128 w 129"/>
              <a:gd name="T39" fmla="*/ 9 h 171"/>
              <a:gd name="T40" fmla="*/ 129 w 129"/>
              <a:gd name="T41" fmla="*/ 11 h 171"/>
              <a:gd name="T42" fmla="*/ 129 w 129"/>
              <a:gd name="T43" fmla="*/ 12 h 171"/>
              <a:gd name="T44" fmla="*/ 128 w 129"/>
              <a:gd name="T45" fmla="*/ 18 h 171"/>
              <a:gd name="T46" fmla="*/ 122 w 129"/>
              <a:gd name="T47" fmla="*/ 29 h 171"/>
              <a:gd name="T48" fmla="*/ 115 w 129"/>
              <a:gd name="T49" fmla="*/ 45 h 171"/>
              <a:gd name="T50" fmla="*/ 105 w 129"/>
              <a:gd name="T51" fmla="*/ 68 h 171"/>
              <a:gd name="T52" fmla="*/ 101 w 129"/>
              <a:gd name="T53" fmla="*/ 75 h 171"/>
              <a:gd name="T54" fmla="*/ 93 w 129"/>
              <a:gd name="T55" fmla="*/ 90 h 171"/>
              <a:gd name="T56" fmla="*/ 92 w 129"/>
              <a:gd name="T57" fmla="*/ 106 h 171"/>
              <a:gd name="T58" fmla="*/ 96 w 129"/>
              <a:gd name="T59" fmla="*/ 120 h 171"/>
              <a:gd name="T60" fmla="*/ 91 w 129"/>
              <a:gd name="T61" fmla="*/ 121 h 171"/>
              <a:gd name="T62" fmla="*/ 71 w 129"/>
              <a:gd name="T63" fmla="*/ 117 h 171"/>
              <a:gd name="T64" fmla="*/ 58 w 129"/>
              <a:gd name="T65" fmla="*/ 131 h 171"/>
              <a:gd name="T66" fmla="*/ 45 w 129"/>
              <a:gd name="T67" fmla="*/ 153 h 1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9"/>
              <a:gd name="T103" fmla="*/ 0 h 171"/>
              <a:gd name="T104" fmla="*/ 129 w 129"/>
              <a:gd name="T105" fmla="*/ 171 h 17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9" h="171">
                <a:moveTo>
                  <a:pt x="43" y="156"/>
                </a:moveTo>
                <a:lnTo>
                  <a:pt x="39" y="160"/>
                </a:lnTo>
                <a:lnTo>
                  <a:pt x="31" y="166"/>
                </a:lnTo>
                <a:lnTo>
                  <a:pt x="21" y="171"/>
                </a:lnTo>
                <a:lnTo>
                  <a:pt x="11" y="170"/>
                </a:lnTo>
                <a:lnTo>
                  <a:pt x="6" y="165"/>
                </a:lnTo>
                <a:lnTo>
                  <a:pt x="3" y="159"/>
                </a:lnTo>
                <a:lnTo>
                  <a:pt x="2" y="152"/>
                </a:lnTo>
                <a:lnTo>
                  <a:pt x="5" y="143"/>
                </a:lnTo>
                <a:lnTo>
                  <a:pt x="8" y="133"/>
                </a:lnTo>
                <a:lnTo>
                  <a:pt x="10" y="124"/>
                </a:lnTo>
                <a:lnTo>
                  <a:pt x="9" y="117"/>
                </a:lnTo>
                <a:lnTo>
                  <a:pt x="5" y="112"/>
                </a:lnTo>
                <a:lnTo>
                  <a:pt x="0" y="105"/>
                </a:lnTo>
                <a:lnTo>
                  <a:pt x="1" y="95"/>
                </a:lnTo>
                <a:lnTo>
                  <a:pt x="3" y="87"/>
                </a:lnTo>
                <a:lnTo>
                  <a:pt x="5" y="84"/>
                </a:lnTo>
                <a:lnTo>
                  <a:pt x="7" y="77"/>
                </a:lnTo>
                <a:lnTo>
                  <a:pt x="14" y="62"/>
                </a:lnTo>
                <a:lnTo>
                  <a:pt x="22" y="47"/>
                </a:lnTo>
                <a:lnTo>
                  <a:pt x="32" y="38"/>
                </a:lnTo>
                <a:lnTo>
                  <a:pt x="38" y="37"/>
                </a:lnTo>
                <a:lnTo>
                  <a:pt x="43" y="34"/>
                </a:lnTo>
                <a:lnTo>
                  <a:pt x="48" y="32"/>
                </a:lnTo>
                <a:lnTo>
                  <a:pt x="53" y="29"/>
                </a:lnTo>
                <a:lnTo>
                  <a:pt x="59" y="26"/>
                </a:lnTo>
                <a:lnTo>
                  <a:pt x="63" y="23"/>
                </a:lnTo>
                <a:lnTo>
                  <a:pt x="69" y="19"/>
                </a:lnTo>
                <a:lnTo>
                  <a:pt x="74" y="17"/>
                </a:lnTo>
                <a:lnTo>
                  <a:pt x="79" y="14"/>
                </a:lnTo>
                <a:lnTo>
                  <a:pt x="86" y="10"/>
                </a:lnTo>
                <a:lnTo>
                  <a:pt x="92" y="7"/>
                </a:lnTo>
                <a:lnTo>
                  <a:pt x="99" y="3"/>
                </a:lnTo>
                <a:lnTo>
                  <a:pt x="106" y="1"/>
                </a:lnTo>
                <a:lnTo>
                  <a:pt x="112" y="0"/>
                </a:lnTo>
                <a:lnTo>
                  <a:pt x="117" y="1"/>
                </a:lnTo>
                <a:lnTo>
                  <a:pt x="123" y="3"/>
                </a:lnTo>
                <a:lnTo>
                  <a:pt x="126" y="6"/>
                </a:lnTo>
                <a:lnTo>
                  <a:pt x="127" y="7"/>
                </a:lnTo>
                <a:lnTo>
                  <a:pt x="128" y="9"/>
                </a:lnTo>
                <a:lnTo>
                  <a:pt x="129" y="11"/>
                </a:lnTo>
                <a:lnTo>
                  <a:pt x="129" y="12"/>
                </a:lnTo>
                <a:lnTo>
                  <a:pt x="129" y="14"/>
                </a:lnTo>
                <a:lnTo>
                  <a:pt x="128" y="18"/>
                </a:lnTo>
                <a:lnTo>
                  <a:pt x="126" y="24"/>
                </a:lnTo>
                <a:lnTo>
                  <a:pt x="122" y="29"/>
                </a:lnTo>
                <a:lnTo>
                  <a:pt x="120" y="34"/>
                </a:lnTo>
                <a:lnTo>
                  <a:pt x="115" y="45"/>
                </a:lnTo>
                <a:lnTo>
                  <a:pt x="109" y="57"/>
                </a:lnTo>
                <a:lnTo>
                  <a:pt x="105" y="68"/>
                </a:lnTo>
                <a:lnTo>
                  <a:pt x="103" y="72"/>
                </a:lnTo>
                <a:lnTo>
                  <a:pt x="101" y="75"/>
                </a:lnTo>
                <a:lnTo>
                  <a:pt x="98" y="82"/>
                </a:lnTo>
                <a:lnTo>
                  <a:pt x="93" y="90"/>
                </a:lnTo>
                <a:lnTo>
                  <a:pt x="92" y="98"/>
                </a:lnTo>
                <a:lnTo>
                  <a:pt x="92" y="106"/>
                </a:lnTo>
                <a:lnTo>
                  <a:pt x="94" y="114"/>
                </a:lnTo>
                <a:lnTo>
                  <a:pt x="96" y="120"/>
                </a:lnTo>
                <a:lnTo>
                  <a:pt x="96" y="122"/>
                </a:lnTo>
                <a:lnTo>
                  <a:pt x="91" y="121"/>
                </a:lnTo>
                <a:lnTo>
                  <a:pt x="82" y="118"/>
                </a:lnTo>
                <a:lnTo>
                  <a:pt x="71" y="117"/>
                </a:lnTo>
                <a:lnTo>
                  <a:pt x="63" y="122"/>
                </a:lnTo>
                <a:lnTo>
                  <a:pt x="58" y="131"/>
                </a:lnTo>
                <a:lnTo>
                  <a:pt x="51" y="143"/>
                </a:lnTo>
                <a:lnTo>
                  <a:pt x="45" y="153"/>
                </a:lnTo>
                <a:lnTo>
                  <a:pt x="43" y="156"/>
                </a:lnTo>
                <a:close/>
              </a:path>
            </a:pathLst>
          </a:custGeom>
          <a:solidFill>
            <a:schemeClr val="accent3"/>
          </a:solidFill>
          <a:ln w="12700">
            <a:solidFill>
              <a:schemeClr val="bg1"/>
            </a:solidFill>
            <a:round/>
            <a:headEnd/>
            <a:tailEnd/>
          </a:ln>
        </p:spPr>
        <p:txBody>
          <a:bodyPr/>
          <a:lstStyle/>
          <a:p>
            <a:pPr>
              <a:defRPr/>
            </a:pPr>
            <a:endParaRPr lang="nl-NL"/>
          </a:p>
        </p:txBody>
      </p:sp>
      <p:sp>
        <p:nvSpPr>
          <p:cNvPr id="23" name="Freeform 17"/>
          <p:cNvSpPr>
            <a:spLocks/>
          </p:cNvSpPr>
          <p:nvPr/>
        </p:nvSpPr>
        <p:spPr bwMode="auto">
          <a:xfrm>
            <a:off x="8161559" y="4875748"/>
            <a:ext cx="22701" cy="34155"/>
          </a:xfrm>
          <a:custGeom>
            <a:avLst/>
            <a:gdLst>
              <a:gd name="T0" fmla="*/ 4 w 15"/>
              <a:gd name="T1" fmla="*/ 0 h 18"/>
              <a:gd name="T2" fmla="*/ 7 w 15"/>
              <a:gd name="T3" fmla="*/ 2 h 18"/>
              <a:gd name="T4" fmla="*/ 12 w 15"/>
              <a:gd name="T5" fmla="*/ 6 h 18"/>
              <a:gd name="T6" fmla="*/ 15 w 15"/>
              <a:gd name="T7" fmla="*/ 13 h 18"/>
              <a:gd name="T8" fmla="*/ 11 w 15"/>
              <a:gd name="T9" fmla="*/ 18 h 18"/>
              <a:gd name="T10" fmla="*/ 4 w 15"/>
              <a:gd name="T11" fmla="*/ 18 h 18"/>
              <a:gd name="T12" fmla="*/ 0 w 15"/>
              <a:gd name="T13" fmla="*/ 12 h 18"/>
              <a:gd name="T14" fmla="*/ 0 w 15"/>
              <a:gd name="T15" fmla="*/ 3 h 18"/>
              <a:gd name="T16" fmla="*/ 4 w 15"/>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8"/>
              <a:gd name="T29" fmla="*/ 15 w 15"/>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8">
                <a:moveTo>
                  <a:pt x="4" y="0"/>
                </a:moveTo>
                <a:lnTo>
                  <a:pt x="7" y="2"/>
                </a:lnTo>
                <a:lnTo>
                  <a:pt x="12" y="6"/>
                </a:lnTo>
                <a:lnTo>
                  <a:pt x="15" y="13"/>
                </a:lnTo>
                <a:lnTo>
                  <a:pt x="11" y="18"/>
                </a:lnTo>
                <a:lnTo>
                  <a:pt x="4" y="18"/>
                </a:lnTo>
                <a:lnTo>
                  <a:pt x="0" y="12"/>
                </a:lnTo>
                <a:lnTo>
                  <a:pt x="0" y="3"/>
                </a:lnTo>
                <a:lnTo>
                  <a:pt x="4" y="0"/>
                </a:lnTo>
                <a:close/>
              </a:path>
            </a:pathLst>
          </a:custGeom>
          <a:solidFill>
            <a:schemeClr val="accent3"/>
          </a:solidFill>
          <a:ln w="12700">
            <a:solidFill>
              <a:schemeClr val="bg1"/>
            </a:solidFill>
            <a:round/>
            <a:headEnd/>
            <a:tailEnd/>
          </a:ln>
        </p:spPr>
        <p:txBody>
          <a:bodyPr/>
          <a:lstStyle/>
          <a:p>
            <a:pPr>
              <a:defRPr/>
            </a:pPr>
            <a:endParaRPr lang="nl-NL"/>
          </a:p>
        </p:txBody>
      </p:sp>
      <p:sp>
        <p:nvSpPr>
          <p:cNvPr id="24" name="Freeform 18"/>
          <p:cNvSpPr>
            <a:spLocks/>
          </p:cNvSpPr>
          <p:nvPr/>
        </p:nvSpPr>
        <p:spPr bwMode="auto">
          <a:xfrm>
            <a:off x="8244794" y="4658865"/>
            <a:ext cx="36321" cy="34155"/>
          </a:xfrm>
          <a:custGeom>
            <a:avLst/>
            <a:gdLst>
              <a:gd name="T0" fmla="*/ 18 w 21"/>
              <a:gd name="T1" fmla="*/ 0 h 17"/>
              <a:gd name="T2" fmla="*/ 19 w 21"/>
              <a:gd name="T3" fmla="*/ 2 h 17"/>
              <a:gd name="T4" fmla="*/ 21 w 21"/>
              <a:gd name="T5" fmla="*/ 7 h 17"/>
              <a:gd name="T6" fmla="*/ 21 w 21"/>
              <a:gd name="T7" fmla="*/ 12 h 17"/>
              <a:gd name="T8" fmla="*/ 14 w 21"/>
              <a:gd name="T9" fmla="*/ 17 h 17"/>
              <a:gd name="T10" fmla="*/ 5 w 21"/>
              <a:gd name="T11" fmla="*/ 16 h 17"/>
              <a:gd name="T12" fmla="*/ 0 w 21"/>
              <a:gd name="T13" fmla="*/ 11 h 17"/>
              <a:gd name="T14" fmla="*/ 4 w 21"/>
              <a:gd name="T15" fmla="*/ 4 h 17"/>
              <a:gd name="T16" fmla="*/ 18 w 21"/>
              <a:gd name="T17" fmla="*/ 0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7"/>
              <a:gd name="T29" fmla="*/ 21 w 21"/>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7">
                <a:moveTo>
                  <a:pt x="18" y="0"/>
                </a:moveTo>
                <a:lnTo>
                  <a:pt x="19" y="2"/>
                </a:lnTo>
                <a:lnTo>
                  <a:pt x="21" y="7"/>
                </a:lnTo>
                <a:lnTo>
                  <a:pt x="21" y="12"/>
                </a:lnTo>
                <a:lnTo>
                  <a:pt x="14" y="17"/>
                </a:lnTo>
                <a:lnTo>
                  <a:pt x="5" y="16"/>
                </a:lnTo>
                <a:lnTo>
                  <a:pt x="0" y="11"/>
                </a:lnTo>
                <a:lnTo>
                  <a:pt x="4" y="4"/>
                </a:lnTo>
                <a:lnTo>
                  <a:pt x="18" y="0"/>
                </a:lnTo>
                <a:close/>
              </a:path>
            </a:pathLst>
          </a:custGeom>
          <a:solidFill>
            <a:schemeClr val="accent3"/>
          </a:solidFill>
          <a:ln w="12700">
            <a:solidFill>
              <a:schemeClr val="bg1"/>
            </a:solidFill>
            <a:round/>
            <a:headEnd/>
            <a:tailEnd/>
          </a:ln>
        </p:spPr>
        <p:txBody>
          <a:bodyPr/>
          <a:lstStyle/>
          <a:p>
            <a:pPr>
              <a:defRPr/>
            </a:pPr>
            <a:endParaRPr lang="nl-NL"/>
          </a:p>
        </p:txBody>
      </p:sp>
      <p:sp>
        <p:nvSpPr>
          <p:cNvPr id="25" name="Freeform 19"/>
          <p:cNvSpPr>
            <a:spLocks/>
          </p:cNvSpPr>
          <p:nvPr/>
        </p:nvSpPr>
        <p:spPr bwMode="auto">
          <a:xfrm>
            <a:off x="8088917" y="4542739"/>
            <a:ext cx="234573" cy="100757"/>
          </a:xfrm>
          <a:custGeom>
            <a:avLst/>
            <a:gdLst>
              <a:gd name="T0" fmla="*/ 143 w 143"/>
              <a:gd name="T1" fmla="*/ 13 h 55"/>
              <a:gd name="T2" fmla="*/ 141 w 143"/>
              <a:gd name="T3" fmla="*/ 13 h 55"/>
              <a:gd name="T4" fmla="*/ 134 w 143"/>
              <a:gd name="T5" fmla="*/ 15 h 55"/>
              <a:gd name="T6" fmla="*/ 124 w 143"/>
              <a:gd name="T7" fmla="*/ 17 h 55"/>
              <a:gd name="T8" fmla="*/ 112 w 143"/>
              <a:gd name="T9" fmla="*/ 17 h 55"/>
              <a:gd name="T10" fmla="*/ 101 w 143"/>
              <a:gd name="T11" fmla="*/ 17 h 55"/>
              <a:gd name="T12" fmla="*/ 96 w 143"/>
              <a:gd name="T13" fmla="*/ 16 h 55"/>
              <a:gd name="T14" fmla="*/ 90 w 143"/>
              <a:gd name="T15" fmla="*/ 17 h 55"/>
              <a:gd name="T16" fmla="*/ 84 w 143"/>
              <a:gd name="T17" fmla="*/ 20 h 55"/>
              <a:gd name="T18" fmla="*/ 76 w 143"/>
              <a:gd name="T19" fmla="*/ 27 h 55"/>
              <a:gd name="T20" fmla="*/ 70 w 143"/>
              <a:gd name="T21" fmla="*/ 35 h 55"/>
              <a:gd name="T22" fmla="*/ 66 w 143"/>
              <a:gd name="T23" fmla="*/ 42 h 55"/>
              <a:gd name="T24" fmla="*/ 63 w 143"/>
              <a:gd name="T25" fmla="*/ 45 h 55"/>
              <a:gd name="T26" fmla="*/ 63 w 143"/>
              <a:gd name="T27" fmla="*/ 46 h 55"/>
              <a:gd name="T28" fmla="*/ 60 w 143"/>
              <a:gd name="T29" fmla="*/ 49 h 55"/>
              <a:gd name="T30" fmla="*/ 54 w 143"/>
              <a:gd name="T31" fmla="*/ 54 h 55"/>
              <a:gd name="T32" fmla="*/ 41 w 143"/>
              <a:gd name="T33" fmla="*/ 55 h 55"/>
              <a:gd name="T34" fmla="*/ 33 w 143"/>
              <a:gd name="T35" fmla="*/ 55 h 55"/>
              <a:gd name="T36" fmla="*/ 27 w 143"/>
              <a:gd name="T37" fmla="*/ 55 h 55"/>
              <a:gd name="T38" fmla="*/ 20 w 143"/>
              <a:gd name="T39" fmla="*/ 55 h 55"/>
              <a:gd name="T40" fmla="*/ 13 w 143"/>
              <a:gd name="T41" fmla="*/ 55 h 55"/>
              <a:gd name="T42" fmla="*/ 8 w 143"/>
              <a:gd name="T43" fmla="*/ 55 h 55"/>
              <a:gd name="T44" fmla="*/ 3 w 143"/>
              <a:gd name="T45" fmla="*/ 55 h 55"/>
              <a:gd name="T46" fmla="*/ 1 w 143"/>
              <a:gd name="T47" fmla="*/ 55 h 55"/>
              <a:gd name="T48" fmla="*/ 0 w 143"/>
              <a:gd name="T49" fmla="*/ 55 h 55"/>
              <a:gd name="T50" fmla="*/ 7 w 143"/>
              <a:gd name="T51" fmla="*/ 27 h 55"/>
              <a:gd name="T52" fmla="*/ 9 w 143"/>
              <a:gd name="T53" fmla="*/ 26 h 55"/>
              <a:gd name="T54" fmla="*/ 14 w 143"/>
              <a:gd name="T55" fmla="*/ 24 h 55"/>
              <a:gd name="T56" fmla="*/ 22 w 143"/>
              <a:gd name="T57" fmla="*/ 21 h 55"/>
              <a:gd name="T58" fmla="*/ 31 w 143"/>
              <a:gd name="T59" fmla="*/ 20 h 55"/>
              <a:gd name="T60" fmla="*/ 38 w 143"/>
              <a:gd name="T61" fmla="*/ 18 h 55"/>
              <a:gd name="T62" fmla="*/ 41 w 143"/>
              <a:gd name="T63" fmla="*/ 12 h 55"/>
              <a:gd name="T64" fmla="*/ 46 w 143"/>
              <a:gd name="T65" fmla="*/ 8 h 55"/>
              <a:gd name="T66" fmla="*/ 55 w 143"/>
              <a:gd name="T67" fmla="*/ 7 h 55"/>
              <a:gd name="T68" fmla="*/ 62 w 143"/>
              <a:gd name="T69" fmla="*/ 8 h 55"/>
              <a:gd name="T70" fmla="*/ 69 w 143"/>
              <a:gd name="T71" fmla="*/ 8 h 55"/>
              <a:gd name="T72" fmla="*/ 76 w 143"/>
              <a:gd name="T73" fmla="*/ 8 h 55"/>
              <a:gd name="T74" fmla="*/ 82 w 143"/>
              <a:gd name="T75" fmla="*/ 8 h 55"/>
              <a:gd name="T76" fmla="*/ 86 w 143"/>
              <a:gd name="T77" fmla="*/ 8 h 55"/>
              <a:gd name="T78" fmla="*/ 91 w 143"/>
              <a:gd name="T79" fmla="*/ 7 h 55"/>
              <a:gd name="T80" fmla="*/ 93 w 143"/>
              <a:gd name="T81" fmla="*/ 7 h 55"/>
              <a:gd name="T82" fmla="*/ 94 w 143"/>
              <a:gd name="T83" fmla="*/ 7 h 55"/>
              <a:gd name="T84" fmla="*/ 96 w 143"/>
              <a:gd name="T85" fmla="*/ 5 h 55"/>
              <a:gd name="T86" fmla="*/ 98 w 143"/>
              <a:gd name="T87" fmla="*/ 2 h 55"/>
              <a:gd name="T88" fmla="*/ 104 w 143"/>
              <a:gd name="T89" fmla="*/ 0 h 55"/>
              <a:gd name="T90" fmla="*/ 112 w 143"/>
              <a:gd name="T91" fmla="*/ 0 h 55"/>
              <a:gd name="T92" fmla="*/ 122 w 143"/>
              <a:gd name="T93" fmla="*/ 3 h 55"/>
              <a:gd name="T94" fmla="*/ 133 w 143"/>
              <a:gd name="T95" fmla="*/ 8 h 55"/>
              <a:gd name="T96" fmla="*/ 139 w 143"/>
              <a:gd name="T97" fmla="*/ 12 h 55"/>
              <a:gd name="T98" fmla="*/ 143 w 143"/>
              <a:gd name="T99" fmla="*/ 13 h 5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3"/>
              <a:gd name="T151" fmla="*/ 0 h 55"/>
              <a:gd name="T152" fmla="*/ 143 w 143"/>
              <a:gd name="T153" fmla="*/ 55 h 5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3" h="55">
                <a:moveTo>
                  <a:pt x="143" y="13"/>
                </a:moveTo>
                <a:lnTo>
                  <a:pt x="141" y="13"/>
                </a:lnTo>
                <a:lnTo>
                  <a:pt x="134" y="15"/>
                </a:lnTo>
                <a:lnTo>
                  <a:pt x="124" y="17"/>
                </a:lnTo>
                <a:lnTo>
                  <a:pt x="112" y="17"/>
                </a:lnTo>
                <a:lnTo>
                  <a:pt x="101" y="17"/>
                </a:lnTo>
                <a:lnTo>
                  <a:pt x="96" y="16"/>
                </a:lnTo>
                <a:lnTo>
                  <a:pt x="90" y="17"/>
                </a:lnTo>
                <a:lnTo>
                  <a:pt x="84" y="20"/>
                </a:lnTo>
                <a:lnTo>
                  <a:pt x="76" y="27"/>
                </a:lnTo>
                <a:lnTo>
                  <a:pt x="70" y="35"/>
                </a:lnTo>
                <a:lnTo>
                  <a:pt x="66" y="42"/>
                </a:lnTo>
                <a:lnTo>
                  <a:pt x="63" y="45"/>
                </a:lnTo>
                <a:lnTo>
                  <a:pt x="63" y="46"/>
                </a:lnTo>
                <a:lnTo>
                  <a:pt x="60" y="49"/>
                </a:lnTo>
                <a:lnTo>
                  <a:pt x="54" y="54"/>
                </a:lnTo>
                <a:lnTo>
                  <a:pt x="41" y="55"/>
                </a:lnTo>
                <a:lnTo>
                  <a:pt x="33" y="55"/>
                </a:lnTo>
                <a:lnTo>
                  <a:pt x="27" y="55"/>
                </a:lnTo>
                <a:lnTo>
                  <a:pt x="20" y="55"/>
                </a:lnTo>
                <a:lnTo>
                  <a:pt x="13" y="55"/>
                </a:lnTo>
                <a:lnTo>
                  <a:pt x="8" y="55"/>
                </a:lnTo>
                <a:lnTo>
                  <a:pt x="3" y="55"/>
                </a:lnTo>
                <a:lnTo>
                  <a:pt x="1" y="55"/>
                </a:lnTo>
                <a:lnTo>
                  <a:pt x="0" y="55"/>
                </a:lnTo>
                <a:lnTo>
                  <a:pt x="7" y="27"/>
                </a:lnTo>
                <a:lnTo>
                  <a:pt x="9" y="26"/>
                </a:lnTo>
                <a:lnTo>
                  <a:pt x="14" y="24"/>
                </a:lnTo>
                <a:lnTo>
                  <a:pt x="22" y="21"/>
                </a:lnTo>
                <a:lnTo>
                  <a:pt x="31" y="20"/>
                </a:lnTo>
                <a:lnTo>
                  <a:pt x="38" y="18"/>
                </a:lnTo>
                <a:lnTo>
                  <a:pt x="41" y="12"/>
                </a:lnTo>
                <a:lnTo>
                  <a:pt x="46" y="8"/>
                </a:lnTo>
                <a:lnTo>
                  <a:pt x="55" y="7"/>
                </a:lnTo>
                <a:lnTo>
                  <a:pt x="62" y="8"/>
                </a:lnTo>
                <a:lnTo>
                  <a:pt x="69" y="8"/>
                </a:lnTo>
                <a:lnTo>
                  <a:pt x="76" y="8"/>
                </a:lnTo>
                <a:lnTo>
                  <a:pt x="82" y="8"/>
                </a:lnTo>
                <a:lnTo>
                  <a:pt x="86" y="8"/>
                </a:lnTo>
                <a:lnTo>
                  <a:pt x="91" y="7"/>
                </a:lnTo>
                <a:lnTo>
                  <a:pt x="93" y="7"/>
                </a:lnTo>
                <a:lnTo>
                  <a:pt x="94" y="7"/>
                </a:lnTo>
                <a:lnTo>
                  <a:pt x="96" y="5"/>
                </a:lnTo>
                <a:lnTo>
                  <a:pt x="98" y="2"/>
                </a:lnTo>
                <a:lnTo>
                  <a:pt x="104" y="0"/>
                </a:lnTo>
                <a:lnTo>
                  <a:pt x="112" y="0"/>
                </a:lnTo>
                <a:lnTo>
                  <a:pt x="122" y="3"/>
                </a:lnTo>
                <a:lnTo>
                  <a:pt x="133" y="8"/>
                </a:lnTo>
                <a:lnTo>
                  <a:pt x="139" y="12"/>
                </a:lnTo>
                <a:lnTo>
                  <a:pt x="143" y="13"/>
                </a:lnTo>
                <a:close/>
              </a:path>
            </a:pathLst>
          </a:custGeom>
          <a:solidFill>
            <a:schemeClr val="accent3"/>
          </a:solidFill>
          <a:ln w="12700">
            <a:solidFill>
              <a:schemeClr val="bg1"/>
            </a:solidFill>
            <a:round/>
            <a:headEnd/>
            <a:tailEnd/>
          </a:ln>
        </p:spPr>
        <p:txBody>
          <a:bodyPr/>
          <a:lstStyle/>
          <a:p>
            <a:pPr>
              <a:defRPr/>
            </a:pPr>
            <a:endParaRPr lang="nl-NL"/>
          </a:p>
        </p:txBody>
      </p:sp>
      <p:sp>
        <p:nvSpPr>
          <p:cNvPr id="26" name="Freeform 20"/>
          <p:cNvSpPr>
            <a:spLocks/>
          </p:cNvSpPr>
          <p:nvPr/>
        </p:nvSpPr>
        <p:spPr bwMode="auto">
          <a:xfrm>
            <a:off x="8055623" y="4756206"/>
            <a:ext cx="33294" cy="52940"/>
          </a:xfrm>
          <a:custGeom>
            <a:avLst/>
            <a:gdLst>
              <a:gd name="T0" fmla="*/ 18 w 21"/>
              <a:gd name="T1" fmla="*/ 0 h 27"/>
              <a:gd name="T2" fmla="*/ 14 w 21"/>
              <a:gd name="T3" fmla="*/ 0 h 27"/>
              <a:gd name="T4" fmla="*/ 6 w 21"/>
              <a:gd name="T5" fmla="*/ 1 h 27"/>
              <a:gd name="T6" fmla="*/ 0 w 21"/>
              <a:gd name="T7" fmla="*/ 4 h 27"/>
              <a:gd name="T8" fmla="*/ 0 w 21"/>
              <a:gd name="T9" fmla="*/ 10 h 27"/>
              <a:gd name="T10" fmla="*/ 6 w 21"/>
              <a:gd name="T11" fmla="*/ 17 h 27"/>
              <a:gd name="T12" fmla="*/ 13 w 21"/>
              <a:gd name="T13" fmla="*/ 23 h 27"/>
              <a:gd name="T14" fmla="*/ 19 w 21"/>
              <a:gd name="T15" fmla="*/ 26 h 27"/>
              <a:gd name="T16" fmla="*/ 21 w 21"/>
              <a:gd name="T17" fmla="*/ 27 h 27"/>
              <a:gd name="T18" fmla="*/ 18 w 21"/>
              <a:gd name="T19" fmla="*/ 0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
              <a:gd name="T31" fmla="*/ 0 h 27"/>
              <a:gd name="T32" fmla="*/ 21 w 21"/>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 h="27">
                <a:moveTo>
                  <a:pt x="18" y="0"/>
                </a:moveTo>
                <a:lnTo>
                  <a:pt x="14" y="0"/>
                </a:lnTo>
                <a:lnTo>
                  <a:pt x="6" y="1"/>
                </a:lnTo>
                <a:lnTo>
                  <a:pt x="0" y="4"/>
                </a:lnTo>
                <a:lnTo>
                  <a:pt x="0" y="10"/>
                </a:lnTo>
                <a:lnTo>
                  <a:pt x="6" y="17"/>
                </a:lnTo>
                <a:lnTo>
                  <a:pt x="13" y="23"/>
                </a:lnTo>
                <a:lnTo>
                  <a:pt x="19" y="26"/>
                </a:lnTo>
                <a:lnTo>
                  <a:pt x="21" y="27"/>
                </a:lnTo>
                <a:lnTo>
                  <a:pt x="18" y="0"/>
                </a:lnTo>
                <a:close/>
              </a:path>
            </a:pathLst>
          </a:custGeom>
          <a:solidFill>
            <a:schemeClr val="accent3"/>
          </a:solidFill>
          <a:ln w="12700">
            <a:solidFill>
              <a:schemeClr val="bg1"/>
            </a:solidFill>
            <a:round/>
            <a:headEnd/>
            <a:tailEnd/>
          </a:ln>
        </p:spPr>
        <p:txBody>
          <a:bodyPr/>
          <a:lstStyle/>
          <a:p>
            <a:pPr>
              <a:defRPr/>
            </a:pPr>
            <a:endParaRPr lang="nl-NL"/>
          </a:p>
        </p:txBody>
      </p:sp>
      <p:sp>
        <p:nvSpPr>
          <p:cNvPr id="27" name="Freeform 21"/>
          <p:cNvSpPr>
            <a:spLocks/>
          </p:cNvSpPr>
          <p:nvPr/>
        </p:nvSpPr>
        <p:spPr bwMode="auto">
          <a:xfrm>
            <a:off x="7972387" y="4665696"/>
            <a:ext cx="46915" cy="37570"/>
          </a:xfrm>
          <a:custGeom>
            <a:avLst/>
            <a:gdLst>
              <a:gd name="T0" fmla="*/ 27 w 27"/>
              <a:gd name="T1" fmla="*/ 18 h 21"/>
              <a:gd name="T2" fmla="*/ 25 w 27"/>
              <a:gd name="T3" fmla="*/ 19 h 21"/>
              <a:gd name="T4" fmla="*/ 20 w 27"/>
              <a:gd name="T5" fmla="*/ 20 h 21"/>
              <a:gd name="T6" fmla="*/ 15 w 27"/>
              <a:gd name="T7" fmla="*/ 21 h 21"/>
              <a:gd name="T8" fmla="*/ 7 w 27"/>
              <a:gd name="T9" fmla="*/ 18 h 21"/>
              <a:gd name="T10" fmla="*/ 1 w 27"/>
              <a:gd name="T11" fmla="*/ 12 h 21"/>
              <a:gd name="T12" fmla="*/ 0 w 27"/>
              <a:gd name="T13" fmla="*/ 6 h 21"/>
              <a:gd name="T14" fmla="*/ 2 w 27"/>
              <a:gd name="T15" fmla="*/ 1 h 21"/>
              <a:gd name="T16" fmla="*/ 10 w 27"/>
              <a:gd name="T17" fmla="*/ 0 h 21"/>
              <a:gd name="T18" fmla="*/ 18 w 27"/>
              <a:gd name="T19" fmla="*/ 3 h 21"/>
              <a:gd name="T20" fmla="*/ 24 w 27"/>
              <a:gd name="T21" fmla="*/ 8 h 21"/>
              <a:gd name="T22" fmla="*/ 26 w 27"/>
              <a:gd name="T23" fmla="*/ 15 h 21"/>
              <a:gd name="T24" fmla="*/ 27 w 27"/>
              <a:gd name="T25" fmla="*/ 18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
              <a:gd name="T40" fmla="*/ 0 h 21"/>
              <a:gd name="T41" fmla="*/ 27 w 27"/>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 h="21">
                <a:moveTo>
                  <a:pt x="27" y="18"/>
                </a:moveTo>
                <a:lnTo>
                  <a:pt x="25" y="19"/>
                </a:lnTo>
                <a:lnTo>
                  <a:pt x="20" y="20"/>
                </a:lnTo>
                <a:lnTo>
                  <a:pt x="15" y="21"/>
                </a:lnTo>
                <a:lnTo>
                  <a:pt x="7" y="18"/>
                </a:lnTo>
                <a:lnTo>
                  <a:pt x="1" y="12"/>
                </a:lnTo>
                <a:lnTo>
                  <a:pt x="0" y="6"/>
                </a:lnTo>
                <a:lnTo>
                  <a:pt x="2" y="1"/>
                </a:lnTo>
                <a:lnTo>
                  <a:pt x="10" y="0"/>
                </a:lnTo>
                <a:lnTo>
                  <a:pt x="18" y="3"/>
                </a:lnTo>
                <a:lnTo>
                  <a:pt x="24" y="8"/>
                </a:lnTo>
                <a:lnTo>
                  <a:pt x="26" y="15"/>
                </a:lnTo>
                <a:lnTo>
                  <a:pt x="27" y="18"/>
                </a:lnTo>
                <a:close/>
              </a:path>
            </a:pathLst>
          </a:custGeom>
          <a:solidFill>
            <a:schemeClr val="accent3"/>
          </a:solidFill>
          <a:ln w="12700">
            <a:solidFill>
              <a:schemeClr val="bg1"/>
            </a:solidFill>
            <a:round/>
            <a:headEnd/>
            <a:tailEnd/>
          </a:ln>
        </p:spPr>
        <p:txBody>
          <a:bodyPr/>
          <a:lstStyle/>
          <a:p>
            <a:pPr>
              <a:defRPr/>
            </a:pPr>
            <a:endParaRPr lang="nl-NL"/>
          </a:p>
        </p:txBody>
      </p:sp>
      <p:sp>
        <p:nvSpPr>
          <p:cNvPr id="28" name="Freeform 22"/>
          <p:cNvSpPr>
            <a:spLocks/>
          </p:cNvSpPr>
          <p:nvPr/>
        </p:nvSpPr>
        <p:spPr bwMode="auto">
          <a:xfrm>
            <a:off x="7886125" y="4501753"/>
            <a:ext cx="178578" cy="112711"/>
          </a:xfrm>
          <a:custGeom>
            <a:avLst/>
            <a:gdLst>
              <a:gd name="T0" fmla="*/ 108 w 108"/>
              <a:gd name="T1" fmla="*/ 0 h 60"/>
              <a:gd name="T2" fmla="*/ 107 w 108"/>
              <a:gd name="T3" fmla="*/ 2 h 60"/>
              <a:gd name="T4" fmla="*/ 105 w 108"/>
              <a:gd name="T5" fmla="*/ 8 h 60"/>
              <a:gd name="T6" fmla="*/ 98 w 108"/>
              <a:gd name="T7" fmla="*/ 15 h 60"/>
              <a:gd name="T8" fmla="*/ 87 w 108"/>
              <a:gd name="T9" fmla="*/ 22 h 60"/>
              <a:gd name="T10" fmla="*/ 81 w 108"/>
              <a:gd name="T11" fmla="*/ 24 h 60"/>
              <a:gd name="T12" fmla="*/ 75 w 108"/>
              <a:gd name="T13" fmla="*/ 26 h 60"/>
              <a:gd name="T14" fmla="*/ 68 w 108"/>
              <a:gd name="T15" fmla="*/ 30 h 60"/>
              <a:gd name="T16" fmla="*/ 63 w 108"/>
              <a:gd name="T17" fmla="*/ 32 h 60"/>
              <a:gd name="T18" fmla="*/ 57 w 108"/>
              <a:gd name="T19" fmla="*/ 34 h 60"/>
              <a:gd name="T20" fmla="*/ 52 w 108"/>
              <a:gd name="T21" fmla="*/ 37 h 60"/>
              <a:gd name="T22" fmla="*/ 47 w 108"/>
              <a:gd name="T23" fmla="*/ 40 h 60"/>
              <a:gd name="T24" fmla="*/ 41 w 108"/>
              <a:gd name="T25" fmla="*/ 42 h 60"/>
              <a:gd name="T26" fmla="*/ 31 w 108"/>
              <a:gd name="T27" fmla="*/ 48 h 60"/>
              <a:gd name="T28" fmla="*/ 23 w 108"/>
              <a:gd name="T29" fmla="*/ 54 h 60"/>
              <a:gd name="T30" fmla="*/ 16 w 108"/>
              <a:gd name="T31" fmla="*/ 57 h 60"/>
              <a:gd name="T32" fmla="*/ 14 w 108"/>
              <a:gd name="T33" fmla="*/ 60 h 60"/>
              <a:gd name="T34" fmla="*/ 0 w 108"/>
              <a:gd name="T35" fmla="*/ 49 h 60"/>
              <a:gd name="T36" fmla="*/ 2 w 108"/>
              <a:gd name="T37" fmla="*/ 48 h 60"/>
              <a:gd name="T38" fmla="*/ 8 w 108"/>
              <a:gd name="T39" fmla="*/ 46 h 60"/>
              <a:gd name="T40" fmla="*/ 16 w 108"/>
              <a:gd name="T41" fmla="*/ 40 h 60"/>
              <a:gd name="T42" fmla="*/ 24 w 108"/>
              <a:gd name="T43" fmla="*/ 32 h 60"/>
              <a:gd name="T44" fmla="*/ 31 w 108"/>
              <a:gd name="T45" fmla="*/ 23 h 60"/>
              <a:gd name="T46" fmla="*/ 37 w 108"/>
              <a:gd name="T47" fmla="*/ 16 h 60"/>
              <a:gd name="T48" fmla="*/ 43 w 108"/>
              <a:gd name="T49" fmla="*/ 11 h 60"/>
              <a:gd name="T50" fmla="*/ 52 w 108"/>
              <a:gd name="T51" fmla="*/ 10 h 60"/>
              <a:gd name="T52" fmla="*/ 59 w 108"/>
              <a:gd name="T53" fmla="*/ 10 h 60"/>
              <a:gd name="T54" fmla="*/ 67 w 108"/>
              <a:gd name="T55" fmla="*/ 9 h 60"/>
              <a:gd name="T56" fmla="*/ 76 w 108"/>
              <a:gd name="T57" fmla="*/ 7 h 60"/>
              <a:gd name="T58" fmla="*/ 85 w 108"/>
              <a:gd name="T59" fmla="*/ 4 h 60"/>
              <a:gd name="T60" fmla="*/ 94 w 108"/>
              <a:gd name="T61" fmla="*/ 3 h 60"/>
              <a:gd name="T62" fmla="*/ 101 w 108"/>
              <a:gd name="T63" fmla="*/ 1 h 60"/>
              <a:gd name="T64" fmla="*/ 106 w 108"/>
              <a:gd name="T65" fmla="*/ 0 h 60"/>
              <a:gd name="T66" fmla="*/ 108 w 108"/>
              <a:gd name="T67" fmla="*/ 0 h 6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8"/>
              <a:gd name="T103" fmla="*/ 0 h 60"/>
              <a:gd name="T104" fmla="*/ 108 w 108"/>
              <a:gd name="T105" fmla="*/ 60 h 6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8" h="60">
                <a:moveTo>
                  <a:pt x="108" y="0"/>
                </a:moveTo>
                <a:lnTo>
                  <a:pt x="107" y="2"/>
                </a:lnTo>
                <a:lnTo>
                  <a:pt x="105" y="8"/>
                </a:lnTo>
                <a:lnTo>
                  <a:pt x="98" y="15"/>
                </a:lnTo>
                <a:lnTo>
                  <a:pt x="87" y="22"/>
                </a:lnTo>
                <a:lnTo>
                  <a:pt x="81" y="24"/>
                </a:lnTo>
                <a:lnTo>
                  <a:pt x="75" y="26"/>
                </a:lnTo>
                <a:lnTo>
                  <a:pt x="68" y="30"/>
                </a:lnTo>
                <a:lnTo>
                  <a:pt x="63" y="32"/>
                </a:lnTo>
                <a:lnTo>
                  <a:pt x="57" y="34"/>
                </a:lnTo>
                <a:lnTo>
                  <a:pt x="52" y="37"/>
                </a:lnTo>
                <a:lnTo>
                  <a:pt x="47" y="40"/>
                </a:lnTo>
                <a:lnTo>
                  <a:pt x="41" y="42"/>
                </a:lnTo>
                <a:lnTo>
                  <a:pt x="31" y="48"/>
                </a:lnTo>
                <a:lnTo>
                  <a:pt x="23" y="54"/>
                </a:lnTo>
                <a:lnTo>
                  <a:pt x="16" y="57"/>
                </a:lnTo>
                <a:lnTo>
                  <a:pt x="14" y="60"/>
                </a:lnTo>
                <a:lnTo>
                  <a:pt x="0" y="49"/>
                </a:lnTo>
                <a:lnTo>
                  <a:pt x="2" y="48"/>
                </a:lnTo>
                <a:lnTo>
                  <a:pt x="8" y="46"/>
                </a:lnTo>
                <a:lnTo>
                  <a:pt x="16" y="40"/>
                </a:lnTo>
                <a:lnTo>
                  <a:pt x="24" y="32"/>
                </a:lnTo>
                <a:lnTo>
                  <a:pt x="31" y="23"/>
                </a:lnTo>
                <a:lnTo>
                  <a:pt x="37" y="16"/>
                </a:lnTo>
                <a:lnTo>
                  <a:pt x="43" y="11"/>
                </a:lnTo>
                <a:lnTo>
                  <a:pt x="52" y="10"/>
                </a:lnTo>
                <a:lnTo>
                  <a:pt x="59" y="10"/>
                </a:lnTo>
                <a:lnTo>
                  <a:pt x="67" y="9"/>
                </a:lnTo>
                <a:lnTo>
                  <a:pt x="76" y="7"/>
                </a:lnTo>
                <a:lnTo>
                  <a:pt x="85" y="4"/>
                </a:lnTo>
                <a:lnTo>
                  <a:pt x="94" y="3"/>
                </a:lnTo>
                <a:lnTo>
                  <a:pt x="101" y="1"/>
                </a:lnTo>
                <a:lnTo>
                  <a:pt x="106" y="0"/>
                </a:lnTo>
                <a:lnTo>
                  <a:pt x="108" y="0"/>
                </a:lnTo>
                <a:close/>
              </a:path>
            </a:pathLst>
          </a:custGeom>
          <a:solidFill>
            <a:schemeClr val="accent3"/>
          </a:solidFill>
          <a:ln w="12700">
            <a:solidFill>
              <a:schemeClr val="bg1"/>
            </a:solidFill>
            <a:round/>
            <a:headEnd/>
            <a:tailEnd/>
          </a:ln>
        </p:spPr>
        <p:txBody>
          <a:bodyPr/>
          <a:lstStyle/>
          <a:p>
            <a:pPr>
              <a:defRPr/>
            </a:pPr>
            <a:endParaRPr lang="nl-NL"/>
          </a:p>
        </p:txBody>
      </p:sp>
      <p:sp>
        <p:nvSpPr>
          <p:cNvPr id="29" name="Freeform 23"/>
          <p:cNvSpPr>
            <a:spLocks/>
          </p:cNvSpPr>
          <p:nvPr/>
        </p:nvSpPr>
        <p:spPr bwMode="auto">
          <a:xfrm>
            <a:off x="7671226" y="4652034"/>
            <a:ext cx="30267" cy="66602"/>
          </a:xfrm>
          <a:custGeom>
            <a:avLst/>
            <a:gdLst>
              <a:gd name="T0" fmla="*/ 3 w 18"/>
              <a:gd name="T1" fmla="*/ 0 h 36"/>
              <a:gd name="T2" fmla="*/ 18 w 18"/>
              <a:gd name="T3" fmla="*/ 18 h 36"/>
              <a:gd name="T4" fmla="*/ 0 w 18"/>
              <a:gd name="T5" fmla="*/ 36 h 36"/>
              <a:gd name="T6" fmla="*/ 3 w 18"/>
              <a:gd name="T7" fmla="*/ 0 h 36"/>
              <a:gd name="T8" fmla="*/ 0 60000 65536"/>
              <a:gd name="T9" fmla="*/ 0 60000 65536"/>
              <a:gd name="T10" fmla="*/ 0 60000 65536"/>
              <a:gd name="T11" fmla="*/ 0 60000 65536"/>
              <a:gd name="T12" fmla="*/ 0 w 18"/>
              <a:gd name="T13" fmla="*/ 0 h 36"/>
              <a:gd name="T14" fmla="*/ 18 w 18"/>
              <a:gd name="T15" fmla="*/ 36 h 36"/>
            </a:gdLst>
            <a:ahLst/>
            <a:cxnLst>
              <a:cxn ang="T8">
                <a:pos x="T0" y="T1"/>
              </a:cxn>
              <a:cxn ang="T9">
                <a:pos x="T2" y="T3"/>
              </a:cxn>
              <a:cxn ang="T10">
                <a:pos x="T4" y="T5"/>
              </a:cxn>
              <a:cxn ang="T11">
                <a:pos x="T6" y="T7"/>
              </a:cxn>
            </a:cxnLst>
            <a:rect l="T12" t="T13" r="T14" b="T15"/>
            <a:pathLst>
              <a:path w="18" h="36">
                <a:moveTo>
                  <a:pt x="3" y="0"/>
                </a:moveTo>
                <a:lnTo>
                  <a:pt x="18" y="18"/>
                </a:lnTo>
                <a:lnTo>
                  <a:pt x="0" y="36"/>
                </a:lnTo>
                <a:lnTo>
                  <a:pt x="3" y="0"/>
                </a:lnTo>
                <a:close/>
              </a:path>
            </a:pathLst>
          </a:custGeom>
          <a:solidFill>
            <a:schemeClr val="accent3"/>
          </a:solidFill>
          <a:ln w="12700">
            <a:solidFill>
              <a:schemeClr val="bg1"/>
            </a:solidFill>
            <a:round/>
            <a:headEnd/>
            <a:tailEnd/>
          </a:ln>
        </p:spPr>
        <p:txBody>
          <a:bodyPr/>
          <a:lstStyle/>
          <a:p>
            <a:pPr>
              <a:defRPr/>
            </a:pPr>
            <a:endParaRPr lang="nl-NL"/>
          </a:p>
        </p:txBody>
      </p:sp>
      <p:sp>
        <p:nvSpPr>
          <p:cNvPr id="30" name="Freeform 24"/>
          <p:cNvSpPr>
            <a:spLocks/>
          </p:cNvSpPr>
          <p:nvPr/>
        </p:nvSpPr>
        <p:spPr bwMode="auto">
          <a:xfrm>
            <a:off x="7607665" y="4696435"/>
            <a:ext cx="39348" cy="34155"/>
          </a:xfrm>
          <a:custGeom>
            <a:avLst/>
            <a:gdLst>
              <a:gd name="T0" fmla="*/ 0 w 24"/>
              <a:gd name="T1" fmla="*/ 0 h 18"/>
              <a:gd name="T2" fmla="*/ 24 w 24"/>
              <a:gd name="T3" fmla="*/ 6 h 18"/>
              <a:gd name="T4" fmla="*/ 24 w 24"/>
              <a:gd name="T5" fmla="*/ 9 h 18"/>
              <a:gd name="T6" fmla="*/ 23 w 24"/>
              <a:gd name="T7" fmla="*/ 12 h 18"/>
              <a:gd name="T8" fmla="*/ 19 w 24"/>
              <a:gd name="T9" fmla="*/ 16 h 18"/>
              <a:gd name="T10" fmla="*/ 13 w 24"/>
              <a:gd name="T11" fmla="*/ 18 h 18"/>
              <a:gd name="T12" fmla="*/ 7 w 24"/>
              <a:gd name="T13" fmla="*/ 15 h 18"/>
              <a:gd name="T14" fmla="*/ 3 w 24"/>
              <a:gd name="T15" fmla="*/ 9 h 18"/>
              <a:gd name="T16" fmla="*/ 1 w 24"/>
              <a:gd name="T17" fmla="*/ 2 h 18"/>
              <a:gd name="T18" fmla="*/ 0 w 24"/>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18"/>
              <a:gd name="T32" fmla="*/ 24 w 24"/>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18">
                <a:moveTo>
                  <a:pt x="0" y="0"/>
                </a:moveTo>
                <a:lnTo>
                  <a:pt x="24" y="6"/>
                </a:lnTo>
                <a:lnTo>
                  <a:pt x="24" y="9"/>
                </a:lnTo>
                <a:lnTo>
                  <a:pt x="23" y="12"/>
                </a:lnTo>
                <a:lnTo>
                  <a:pt x="19" y="16"/>
                </a:lnTo>
                <a:lnTo>
                  <a:pt x="13" y="18"/>
                </a:lnTo>
                <a:lnTo>
                  <a:pt x="7" y="15"/>
                </a:lnTo>
                <a:lnTo>
                  <a:pt x="3" y="9"/>
                </a:lnTo>
                <a:lnTo>
                  <a:pt x="1" y="2"/>
                </a:lnTo>
                <a:lnTo>
                  <a:pt x="0" y="0"/>
                </a:lnTo>
                <a:close/>
              </a:path>
            </a:pathLst>
          </a:custGeom>
          <a:solidFill>
            <a:schemeClr val="accent3"/>
          </a:solidFill>
          <a:ln w="12700">
            <a:solidFill>
              <a:schemeClr val="bg1"/>
            </a:solidFill>
            <a:round/>
            <a:headEnd/>
            <a:tailEnd/>
          </a:ln>
        </p:spPr>
        <p:txBody>
          <a:bodyPr/>
          <a:lstStyle/>
          <a:p>
            <a:pPr>
              <a:defRPr/>
            </a:pPr>
            <a:endParaRPr lang="nl-NL"/>
          </a:p>
        </p:txBody>
      </p:sp>
      <p:sp>
        <p:nvSpPr>
          <p:cNvPr id="31" name="Freeform 25"/>
          <p:cNvSpPr>
            <a:spLocks/>
          </p:cNvSpPr>
          <p:nvPr/>
        </p:nvSpPr>
        <p:spPr bwMode="auto">
          <a:xfrm>
            <a:off x="7398820" y="4809146"/>
            <a:ext cx="39348" cy="44401"/>
          </a:xfrm>
          <a:custGeom>
            <a:avLst/>
            <a:gdLst>
              <a:gd name="T0" fmla="*/ 10 w 23"/>
              <a:gd name="T1" fmla="*/ 0 h 25"/>
              <a:gd name="T2" fmla="*/ 14 w 23"/>
              <a:gd name="T3" fmla="*/ 4 h 25"/>
              <a:gd name="T4" fmla="*/ 20 w 23"/>
              <a:gd name="T5" fmla="*/ 12 h 25"/>
              <a:gd name="T6" fmla="*/ 23 w 23"/>
              <a:gd name="T7" fmla="*/ 21 h 25"/>
              <a:gd name="T8" fmla="*/ 21 w 23"/>
              <a:gd name="T9" fmla="*/ 25 h 25"/>
              <a:gd name="T10" fmla="*/ 13 w 23"/>
              <a:gd name="T11" fmla="*/ 23 h 25"/>
              <a:gd name="T12" fmla="*/ 7 w 23"/>
              <a:gd name="T13" fmla="*/ 21 h 25"/>
              <a:gd name="T14" fmla="*/ 2 w 23"/>
              <a:gd name="T15" fmla="*/ 19 h 25"/>
              <a:gd name="T16" fmla="*/ 0 w 23"/>
              <a:gd name="T17" fmla="*/ 18 h 25"/>
              <a:gd name="T18" fmla="*/ 10 w 23"/>
              <a:gd name="T19" fmla="*/ 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25"/>
              <a:gd name="T32" fmla="*/ 23 w 2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25">
                <a:moveTo>
                  <a:pt x="10" y="0"/>
                </a:moveTo>
                <a:lnTo>
                  <a:pt x="14" y="4"/>
                </a:lnTo>
                <a:lnTo>
                  <a:pt x="20" y="12"/>
                </a:lnTo>
                <a:lnTo>
                  <a:pt x="23" y="21"/>
                </a:lnTo>
                <a:lnTo>
                  <a:pt x="21" y="25"/>
                </a:lnTo>
                <a:lnTo>
                  <a:pt x="13" y="23"/>
                </a:lnTo>
                <a:lnTo>
                  <a:pt x="7" y="21"/>
                </a:lnTo>
                <a:lnTo>
                  <a:pt x="2" y="19"/>
                </a:lnTo>
                <a:lnTo>
                  <a:pt x="0" y="18"/>
                </a:lnTo>
                <a:lnTo>
                  <a:pt x="10" y="0"/>
                </a:lnTo>
                <a:close/>
              </a:path>
            </a:pathLst>
          </a:custGeom>
          <a:solidFill>
            <a:schemeClr val="accent3"/>
          </a:solidFill>
          <a:ln w="12700">
            <a:solidFill>
              <a:schemeClr val="bg1"/>
            </a:solidFill>
            <a:round/>
            <a:headEnd/>
            <a:tailEnd/>
          </a:ln>
        </p:spPr>
        <p:txBody>
          <a:bodyPr/>
          <a:lstStyle/>
          <a:p>
            <a:pPr>
              <a:defRPr/>
            </a:pPr>
            <a:endParaRPr lang="nl-NL"/>
          </a:p>
        </p:txBody>
      </p:sp>
      <p:sp>
        <p:nvSpPr>
          <p:cNvPr id="32" name="Freeform 26"/>
          <p:cNvSpPr>
            <a:spLocks/>
          </p:cNvSpPr>
          <p:nvPr/>
        </p:nvSpPr>
        <p:spPr bwMode="auto">
          <a:xfrm>
            <a:off x="7267156" y="4781822"/>
            <a:ext cx="39348" cy="71725"/>
          </a:xfrm>
          <a:custGeom>
            <a:avLst/>
            <a:gdLst>
              <a:gd name="T0" fmla="*/ 5 w 23"/>
              <a:gd name="T1" fmla="*/ 0 h 38"/>
              <a:gd name="T2" fmla="*/ 8 w 23"/>
              <a:gd name="T3" fmla="*/ 2 h 38"/>
              <a:gd name="T4" fmla="*/ 15 w 23"/>
              <a:gd name="T5" fmla="*/ 8 h 38"/>
              <a:gd name="T6" fmla="*/ 20 w 23"/>
              <a:gd name="T7" fmla="*/ 17 h 38"/>
              <a:gd name="T8" fmla="*/ 23 w 23"/>
              <a:gd name="T9" fmla="*/ 27 h 38"/>
              <a:gd name="T10" fmla="*/ 21 w 23"/>
              <a:gd name="T11" fmla="*/ 34 h 38"/>
              <a:gd name="T12" fmla="*/ 19 w 23"/>
              <a:gd name="T13" fmla="*/ 38 h 38"/>
              <a:gd name="T14" fmla="*/ 16 w 23"/>
              <a:gd name="T15" fmla="*/ 38 h 38"/>
              <a:gd name="T16" fmla="*/ 9 w 23"/>
              <a:gd name="T17" fmla="*/ 38 h 38"/>
              <a:gd name="T18" fmla="*/ 4 w 23"/>
              <a:gd name="T19" fmla="*/ 35 h 38"/>
              <a:gd name="T20" fmla="*/ 3 w 23"/>
              <a:gd name="T21" fmla="*/ 28 h 38"/>
              <a:gd name="T22" fmla="*/ 4 w 23"/>
              <a:gd name="T23" fmla="*/ 23 h 38"/>
              <a:gd name="T24" fmla="*/ 5 w 23"/>
              <a:gd name="T25" fmla="*/ 20 h 38"/>
              <a:gd name="T26" fmla="*/ 3 w 23"/>
              <a:gd name="T27" fmla="*/ 18 h 38"/>
              <a:gd name="T28" fmla="*/ 1 w 23"/>
              <a:gd name="T29" fmla="*/ 12 h 38"/>
              <a:gd name="T30" fmla="*/ 0 w 23"/>
              <a:gd name="T31" fmla="*/ 5 h 38"/>
              <a:gd name="T32" fmla="*/ 5 w 23"/>
              <a:gd name="T33" fmla="*/ 0 h 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
              <a:gd name="T52" fmla="*/ 0 h 38"/>
              <a:gd name="T53" fmla="*/ 23 w 23"/>
              <a:gd name="T54" fmla="*/ 38 h 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 h="38">
                <a:moveTo>
                  <a:pt x="5" y="0"/>
                </a:moveTo>
                <a:lnTo>
                  <a:pt x="8" y="2"/>
                </a:lnTo>
                <a:lnTo>
                  <a:pt x="15" y="8"/>
                </a:lnTo>
                <a:lnTo>
                  <a:pt x="20" y="17"/>
                </a:lnTo>
                <a:lnTo>
                  <a:pt x="23" y="27"/>
                </a:lnTo>
                <a:lnTo>
                  <a:pt x="21" y="34"/>
                </a:lnTo>
                <a:lnTo>
                  <a:pt x="19" y="38"/>
                </a:lnTo>
                <a:lnTo>
                  <a:pt x="16" y="38"/>
                </a:lnTo>
                <a:lnTo>
                  <a:pt x="9" y="38"/>
                </a:lnTo>
                <a:lnTo>
                  <a:pt x="4" y="35"/>
                </a:lnTo>
                <a:lnTo>
                  <a:pt x="3" y="28"/>
                </a:lnTo>
                <a:lnTo>
                  <a:pt x="4" y="23"/>
                </a:lnTo>
                <a:lnTo>
                  <a:pt x="5" y="20"/>
                </a:lnTo>
                <a:lnTo>
                  <a:pt x="3" y="18"/>
                </a:lnTo>
                <a:lnTo>
                  <a:pt x="1" y="12"/>
                </a:lnTo>
                <a:lnTo>
                  <a:pt x="0" y="5"/>
                </a:lnTo>
                <a:lnTo>
                  <a:pt x="5" y="0"/>
                </a:lnTo>
                <a:close/>
              </a:path>
            </a:pathLst>
          </a:custGeom>
          <a:solidFill>
            <a:schemeClr val="accent3"/>
          </a:solidFill>
          <a:ln w="12700">
            <a:solidFill>
              <a:schemeClr val="bg1"/>
            </a:solidFill>
            <a:round/>
            <a:headEnd/>
            <a:tailEnd/>
          </a:ln>
        </p:spPr>
        <p:txBody>
          <a:bodyPr/>
          <a:lstStyle/>
          <a:p>
            <a:pPr>
              <a:defRPr/>
            </a:pPr>
            <a:endParaRPr lang="nl-NL"/>
          </a:p>
        </p:txBody>
      </p:sp>
      <p:sp>
        <p:nvSpPr>
          <p:cNvPr id="33" name="Freeform 27"/>
          <p:cNvSpPr>
            <a:spLocks/>
          </p:cNvSpPr>
          <p:nvPr/>
        </p:nvSpPr>
        <p:spPr bwMode="auto">
          <a:xfrm>
            <a:off x="7495675" y="4501753"/>
            <a:ext cx="28754" cy="25616"/>
          </a:xfrm>
          <a:custGeom>
            <a:avLst/>
            <a:gdLst>
              <a:gd name="T0" fmla="*/ 17 w 17"/>
              <a:gd name="T1" fmla="*/ 7 h 14"/>
              <a:gd name="T2" fmla="*/ 15 w 17"/>
              <a:gd name="T3" fmla="*/ 4 h 14"/>
              <a:gd name="T4" fmla="*/ 10 w 17"/>
              <a:gd name="T5" fmla="*/ 1 h 14"/>
              <a:gd name="T6" fmla="*/ 4 w 17"/>
              <a:gd name="T7" fmla="*/ 0 h 14"/>
              <a:gd name="T8" fmla="*/ 0 w 17"/>
              <a:gd name="T9" fmla="*/ 3 h 14"/>
              <a:gd name="T10" fmla="*/ 2 w 17"/>
              <a:gd name="T11" fmla="*/ 10 h 14"/>
              <a:gd name="T12" fmla="*/ 9 w 17"/>
              <a:gd name="T13" fmla="*/ 14 h 14"/>
              <a:gd name="T14" fmla="*/ 16 w 17"/>
              <a:gd name="T15" fmla="*/ 12 h 14"/>
              <a:gd name="T16" fmla="*/ 17 w 17"/>
              <a:gd name="T17" fmla="*/ 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4"/>
              <a:gd name="T29" fmla="*/ 17 w 17"/>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4">
                <a:moveTo>
                  <a:pt x="17" y="7"/>
                </a:moveTo>
                <a:lnTo>
                  <a:pt x="15" y="4"/>
                </a:lnTo>
                <a:lnTo>
                  <a:pt x="10" y="1"/>
                </a:lnTo>
                <a:lnTo>
                  <a:pt x="4" y="0"/>
                </a:lnTo>
                <a:lnTo>
                  <a:pt x="0" y="3"/>
                </a:lnTo>
                <a:lnTo>
                  <a:pt x="2" y="10"/>
                </a:lnTo>
                <a:lnTo>
                  <a:pt x="9" y="14"/>
                </a:lnTo>
                <a:lnTo>
                  <a:pt x="16" y="12"/>
                </a:lnTo>
                <a:lnTo>
                  <a:pt x="17" y="7"/>
                </a:lnTo>
                <a:close/>
              </a:path>
            </a:pathLst>
          </a:custGeom>
          <a:solidFill>
            <a:schemeClr val="accent3"/>
          </a:solidFill>
          <a:ln w="12700">
            <a:solidFill>
              <a:schemeClr val="bg1"/>
            </a:solidFill>
            <a:round/>
            <a:headEnd/>
            <a:tailEnd/>
          </a:ln>
        </p:spPr>
        <p:txBody>
          <a:bodyPr/>
          <a:lstStyle/>
          <a:p>
            <a:pPr>
              <a:defRPr/>
            </a:pPr>
            <a:endParaRPr lang="nl-NL"/>
          </a:p>
        </p:txBody>
      </p:sp>
      <p:sp>
        <p:nvSpPr>
          <p:cNvPr id="34" name="Freeform 28"/>
          <p:cNvSpPr>
            <a:spLocks/>
          </p:cNvSpPr>
          <p:nvPr/>
        </p:nvSpPr>
        <p:spPr bwMode="auto">
          <a:xfrm>
            <a:off x="7568317" y="3565912"/>
            <a:ext cx="33294" cy="23908"/>
          </a:xfrm>
          <a:custGeom>
            <a:avLst/>
            <a:gdLst>
              <a:gd name="T0" fmla="*/ 18 w 18"/>
              <a:gd name="T1" fmla="*/ 7 h 12"/>
              <a:gd name="T2" fmla="*/ 16 w 18"/>
              <a:gd name="T3" fmla="*/ 4 h 12"/>
              <a:gd name="T4" fmla="*/ 10 w 18"/>
              <a:gd name="T5" fmla="*/ 1 h 12"/>
              <a:gd name="T6" fmla="*/ 4 w 18"/>
              <a:gd name="T7" fmla="*/ 0 h 12"/>
              <a:gd name="T8" fmla="*/ 0 w 18"/>
              <a:gd name="T9" fmla="*/ 3 h 12"/>
              <a:gd name="T10" fmla="*/ 2 w 18"/>
              <a:gd name="T11" fmla="*/ 10 h 12"/>
              <a:gd name="T12" fmla="*/ 9 w 18"/>
              <a:gd name="T13" fmla="*/ 12 h 12"/>
              <a:gd name="T14" fmla="*/ 16 w 18"/>
              <a:gd name="T15" fmla="*/ 12 h 12"/>
              <a:gd name="T16" fmla="*/ 18 w 18"/>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2"/>
              <a:gd name="T29" fmla="*/ 18 w 18"/>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2">
                <a:moveTo>
                  <a:pt x="18" y="7"/>
                </a:moveTo>
                <a:lnTo>
                  <a:pt x="16" y="4"/>
                </a:lnTo>
                <a:lnTo>
                  <a:pt x="10" y="1"/>
                </a:lnTo>
                <a:lnTo>
                  <a:pt x="4" y="0"/>
                </a:lnTo>
                <a:lnTo>
                  <a:pt x="0" y="3"/>
                </a:lnTo>
                <a:lnTo>
                  <a:pt x="2" y="10"/>
                </a:lnTo>
                <a:lnTo>
                  <a:pt x="9" y="12"/>
                </a:lnTo>
                <a:lnTo>
                  <a:pt x="16" y="12"/>
                </a:lnTo>
                <a:lnTo>
                  <a:pt x="18" y="7"/>
                </a:lnTo>
                <a:close/>
              </a:path>
            </a:pathLst>
          </a:custGeom>
          <a:solidFill>
            <a:schemeClr val="accent3"/>
          </a:solidFill>
          <a:ln w="12700">
            <a:solidFill>
              <a:schemeClr val="bg1"/>
            </a:solidFill>
            <a:round/>
            <a:headEnd/>
            <a:tailEnd/>
          </a:ln>
        </p:spPr>
        <p:txBody>
          <a:bodyPr/>
          <a:lstStyle/>
          <a:p>
            <a:pPr>
              <a:defRPr/>
            </a:pPr>
            <a:endParaRPr lang="nl-NL"/>
          </a:p>
        </p:txBody>
      </p:sp>
      <p:sp>
        <p:nvSpPr>
          <p:cNvPr id="35" name="Freeform 29"/>
          <p:cNvSpPr>
            <a:spLocks/>
          </p:cNvSpPr>
          <p:nvPr/>
        </p:nvSpPr>
        <p:spPr bwMode="auto">
          <a:xfrm>
            <a:off x="6702669" y="3109945"/>
            <a:ext cx="27241" cy="22201"/>
          </a:xfrm>
          <a:custGeom>
            <a:avLst/>
            <a:gdLst>
              <a:gd name="T0" fmla="*/ 17 w 17"/>
              <a:gd name="T1" fmla="*/ 7 h 12"/>
              <a:gd name="T2" fmla="*/ 15 w 17"/>
              <a:gd name="T3" fmla="*/ 4 h 12"/>
              <a:gd name="T4" fmla="*/ 10 w 17"/>
              <a:gd name="T5" fmla="*/ 1 h 12"/>
              <a:gd name="T6" fmla="*/ 4 w 17"/>
              <a:gd name="T7" fmla="*/ 0 h 12"/>
              <a:gd name="T8" fmla="*/ 0 w 17"/>
              <a:gd name="T9" fmla="*/ 3 h 12"/>
              <a:gd name="T10" fmla="*/ 2 w 17"/>
              <a:gd name="T11" fmla="*/ 10 h 12"/>
              <a:gd name="T12" fmla="*/ 9 w 17"/>
              <a:gd name="T13" fmla="*/ 12 h 12"/>
              <a:gd name="T14" fmla="*/ 16 w 17"/>
              <a:gd name="T15" fmla="*/ 12 h 12"/>
              <a:gd name="T16" fmla="*/ 17 w 17"/>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2"/>
              <a:gd name="T29" fmla="*/ 17 w 17"/>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2">
                <a:moveTo>
                  <a:pt x="17" y="7"/>
                </a:moveTo>
                <a:lnTo>
                  <a:pt x="15" y="4"/>
                </a:lnTo>
                <a:lnTo>
                  <a:pt x="10" y="1"/>
                </a:lnTo>
                <a:lnTo>
                  <a:pt x="4" y="0"/>
                </a:lnTo>
                <a:lnTo>
                  <a:pt x="0" y="3"/>
                </a:lnTo>
                <a:lnTo>
                  <a:pt x="2" y="10"/>
                </a:lnTo>
                <a:lnTo>
                  <a:pt x="9" y="12"/>
                </a:lnTo>
                <a:lnTo>
                  <a:pt x="16" y="12"/>
                </a:lnTo>
                <a:lnTo>
                  <a:pt x="17" y="7"/>
                </a:lnTo>
                <a:close/>
              </a:path>
            </a:pathLst>
          </a:custGeom>
          <a:solidFill>
            <a:schemeClr val="accent3"/>
          </a:solidFill>
          <a:ln w="12700">
            <a:solidFill>
              <a:schemeClr val="bg1"/>
            </a:solidFill>
            <a:round/>
            <a:headEnd/>
            <a:tailEnd/>
          </a:ln>
        </p:spPr>
        <p:txBody>
          <a:bodyPr/>
          <a:lstStyle/>
          <a:p>
            <a:pPr>
              <a:defRPr/>
            </a:pPr>
            <a:endParaRPr lang="nl-NL"/>
          </a:p>
        </p:txBody>
      </p:sp>
      <p:sp>
        <p:nvSpPr>
          <p:cNvPr id="36" name="Freeform 30"/>
          <p:cNvSpPr>
            <a:spLocks/>
          </p:cNvSpPr>
          <p:nvPr/>
        </p:nvSpPr>
        <p:spPr bwMode="auto">
          <a:xfrm>
            <a:off x="6975076" y="4102142"/>
            <a:ext cx="30267" cy="25616"/>
          </a:xfrm>
          <a:custGeom>
            <a:avLst/>
            <a:gdLst>
              <a:gd name="T0" fmla="*/ 18 w 18"/>
              <a:gd name="T1" fmla="*/ 7 h 12"/>
              <a:gd name="T2" fmla="*/ 15 w 18"/>
              <a:gd name="T3" fmla="*/ 4 h 12"/>
              <a:gd name="T4" fmla="*/ 11 w 18"/>
              <a:gd name="T5" fmla="*/ 1 h 12"/>
              <a:gd name="T6" fmla="*/ 5 w 18"/>
              <a:gd name="T7" fmla="*/ 0 h 12"/>
              <a:gd name="T8" fmla="*/ 0 w 18"/>
              <a:gd name="T9" fmla="*/ 3 h 12"/>
              <a:gd name="T10" fmla="*/ 3 w 18"/>
              <a:gd name="T11" fmla="*/ 10 h 12"/>
              <a:gd name="T12" fmla="*/ 10 w 18"/>
              <a:gd name="T13" fmla="*/ 12 h 12"/>
              <a:gd name="T14" fmla="*/ 16 w 18"/>
              <a:gd name="T15" fmla="*/ 12 h 12"/>
              <a:gd name="T16" fmla="*/ 18 w 18"/>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2"/>
              <a:gd name="T29" fmla="*/ 18 w 18"/>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2">
                <a:moveTo>
                  <a:pt x="18" y="7"/>
                </a:moveTo>
                <a:lnTo>
                  <a:pt x="15" y="4"/>
                </a:lnTo>
                <a:lnTo>
                  <a:pt x="11" y="1"/>
                </a:lnTo>
                <a:lnTo>
                  <a:pt x="5" y="0"/>
                </a:lnTo>
                <a:lnTo>
                  <a:pt x="0" y="3"/>
                </a:lnTo>
                <a:lnTo>
                  <a:pt x="3" y="10"/>
                </a:lnTo>
                <a:lnTo>
                  <a:pt x="10" y="12"/>
                </a:lnTo>
                <a:lnTo>
                  <a:pt x="16" y="12"/>
                </a:lnTo>
                <a:lnTo>
                  <a:pt x="18" y="7"/>
                </a:lnTo>
                <a:close/>
              </a:path>
            </a:pathLst>
          </a:custGeom>
          <a:solidFill>
            <a:schemeClr val="accent3"/>
          </a:solidFill>
          <a:ln w="12700">
            <a:solidFill>
              <a:schemeClr val="bg1"/>
            </a:solidFill>
            <a:round/>
            <a:headEnd/>
            <a:tailEnd/>
          </a:ln>
        </p:spPr>
        <p:txBody>
          <a:bodyPr/>
          <a:lstStyle/>
          <a:p>
            <a:pPr>
              <a:defRPr/>
            </a:pPr>
            <a:endParaRPr lang="nl-NL"/>
          </a:p>
        </p:txBody>
      </p:sp>
      <p:sp>
        <p:nvSpPr>
          <p:cNvPr id="37" name="Freeform 31"/>
          <p:cNvSpPr>
            <a:spLocks/>
          </p:cNvSpPr>
          <p:nvPr/>
        </p:nvSpPr>
        <p:spPr bwMode="auto">
          <a:xfrm>
            <a:off x="6738990" y="4045787"/>
            <a:ext cx="27241" cy="25616"/>
          </a:xfrm>
          <a:custGeom>
            <a:avLst/>
            <a:gdLst>
              <a:gd name="T0" fmla="*/ 18 w 18"/>
              <a:gd name="T1" fmla="*/ 8 h 13"/>
              <a:gd name="T2" fmla="*/ 15 w 18"/>
              <a:gd name="T3" fmla="*/ 5 h 13"/>
              <a:gd name="T4" fmla="*/ 11 w 18"/>
              <a:gd name="T5" fmla="*/ 2 h 13"/>
              <a:gd name="T6" fmla="*/ 5 w 18"/>
              <a:gd name="T7" fmla="*/ 0 h 13"/>
              <a:gd name="T8" fmla="*/ 0 w 18"/>
              <a:gd name="T9" fmla="*/ 4 h 13"/>
              <a:gd name="T10" fmla="*/ 3 w 18"/>
              <a:gd name="T11" fmla="*/ 11 h 13"/>
              <a:gd name="T12" fmla="*/ 10 w 18"/>
              <a:gd name="T13" fmla="*/ 13 h 13"/>
              <a:gd name="T14" fmla="*/ 17 w 18"/>
              <a:gd name="T15" fmla="*/ 13 h 13"/>
              <a:gd name="T16" fmla="*/ 18 w 18"/>
              <a:gd name="T17" fmla="*/ 8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3"/>
              <a:gd name="T29" fmla="*/ 18 w 18"/>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3">
                <a:moveTo>
                  <a:pt x="18" y="8"/>
                </a:moveTo>
                <a:lnTo>
                  <a:pt x="15" y="5"/>
                </a:lnTo>
                <a:lnTo>
                  <a:pt x="11" y="2"/>
                </a:lnTo>
                <a:lnTo>
                  <a:pt x="5" y="0"/>
                </a:lnTo>
                <a:lnTo>
                  <a:pt x="0" y="4"/>
                </a:lnTo>
                <a:lnTo>
                  <a:pt x="3" y="11"/>
                </a:lnTo>
                <a:lnTo>
                  <a:pt x="10" y="13"/>
                </a:lnTo>
                <a:lnTo>
                  <a:pt x="17" y="13"/>
                </a:lnTo>
                <a:lnTo>
                  <a:pt x="18" y="8"/>
                </a:lnTo>
                <a:close/>
              </a:path>
            </a:pathLst>
          </a:custGeom>
          <a:solidFill>
            <a:schemeClr val="accent3"/>
          </a:solidFill>
          <a:ln w="12700">
            <a:solidFill>
              <a:schemeClr val="bg1"/>
            </a:solidFill>
            <a:round/>
            <a:headEnd/>
            <a:tailEnd/>
          </a:ln>
        </p:spPr>
        <p:txBody>
          <a:bodyPr/>
          <a:lstStyle/>
          <a:p>
            <a:pPr>
              <a:defRPr/>
            </a:pPr>
            <a:endParaRPr lang="nl-NL"/>
          </a:p>
        </p:txBody>
      </p:sp>
      <p:sp>
        <p:nvSpPr>
          <p:cNvPr id="38" name="Freeform 32"/>
          <p:cNvSpPr>
            <a:spLocks/>
          </p:cNvSpPr>
          <p:nvPr/>
        </p:nvSpPr>
        <p:spPr bwMode="auto">
          <a:xfrm>
            <a:off x="6779851" y="3880136"/>
            <a:ext cx="25727" cy="27324"/>
          </a:xfrm>
          <a:custGeom>
            <a:avLst/>
            <a:gdLst>
              <a:gd name="T0" fmla="*/ 17 w 17"/>
              <a:gd name="T1" fmla="*/ 7 h 14"/>
              <a:gd name="T2" fmla="*/ 15 w 17"/>
              <a:gd name="T3" fmla="*/ 5 h 14"/>
              <a:gd name="T4" fmla="*/ 10 w 17"/>
              <a:gd name="T5" fmla="*/ 1 h 14"/>
              <a:gd name="T6" fmla="*/ 4 w 17"/>
              <a:gd name="T7" fmla="*/ 0 h 14"/>
              <a:gd name="T8" fmla="*/ 0 w 17"/>
              <a:gd name="T9" fmla="*/ 3 h 14"/>
              <a:gd name="T10" fmla="*/ 2 w 17"/>
              <a:gd name="T11" fmla="*/ 10 h 14"/>
              <a:gd name="T12" fmla="*/ 9 w 17"/>
              <a:gd name="T13" fmla="*/ 14 h 14"/>
              <a:gd name="T14" fmla="*/ 16 w 17"/>
              <a:gd name="T15" fmla="*/ 13 h 14"/>
              <a:gd name="T16" fmla="*/ 17 w 17"/>
              <a:gd name="T17" fmla="*/ 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4"/>
              <a:gd name="T29" fmla="*/ 17 w 17"/>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4">
                <a:moveTo>
                  <a:pt x="17" y="7"/>
                </a:moveTo>
                <a:lnTo>
                  <a:pt x="15" y="5"/>
                </a:lnTo>
                <a:lnTo>
                  <a:pt x="10" y="1"/>
                </a:lnTo>
                <a:lnTo>
                  <a:pt x="4" y="0"/>
                </a:lnTo>
                <a:lnTo>
                  <a:pt x="0" y="3"/>
                </a:lnTo>
                <a:lnTo>
                  <a:pt x="2" y="10"/>
                </a:lnTo>
                <a:lnTo>
                  <a:pt x="9" y="14"/>
                </a:lnTo>
                <a:lnTo>
                  <a:pt x="16" y="13"/>
                </a:lnTo>
                <a:lnTo>
                  <a:pt x="17" y="7"/>
                </a:lnTo>
                <a:close/>
              </a:path>
            </a:pathLst>
          </a:custGeom>
          <a:solidFill>
            <a:schemeClr val="accent3"/>
          </a:solidFill>
          <a:ln w="12700">
            <a:solidFill>
              <a:schemeClr val="bg1"/>
            </a:solidFill>
            <a:round/>
            <a:headEnd/>
            <a:tailEnd/>
          </a:ln>
        </p:spPr>
        <p:txBody>
          <a:bodyPr/>
          <a:lstStyle/>
          <a:p>
            <a:pPr>
              <a:defRPr/>
            </a:pPr>
            <a:endParaRPr lang="nl-NL"/>
          </a:p>
        </p:txBody>
      </p:sp>
      <p:sp>
        <p:nvSpPr>
          <p:cNvPr id="39" name="Freeform 33"/>
          <p:cNvSpPr>
            <a:spLocks/>
          </p:cNvSpPr>
          <p:nvPr/>
        </p:nvSpPr>
        <p:spPr bwMode="auto">
          <a:xfrm>
            <a:off x="5432951" y="3492479"/>
            <a:ext cx="16647" cy="29032"/>
          </a:xfrm>
          <a:custGeom>
            <a:avLst/>
            <a:gdLst>
              <a:gd name="T0" fmla="*/ 10 w 12"/>
              <a:gd name="T1" fmla="*/ 18 h 18"/>
              <a:gd name="T2" fmla="*/ 11 w 12"/>
              <a:gd name="T3" fmla="*/ 14 h 18"/>
              <a:gd name="T4" fmla="*/ 12 w 12"/>
              <a:gd name="T5" fmla="*/ 9 h 18"/>
              <a:gd name="T6" fmla="*/ 11 w 12"/>
              <a:gd name="T7" fmla="*/ 2 h 18"/>
              <a:gd name="T8" fmla="*/ 5 w 12"/>
              <a:gd name="T9" fmla="*/ 0 h 18"/>
              <a:gd name="T10" fmla="*/ 0 w 12"/>
              <a:gd name="T11" fmla="*/ 5 h 18"/>
              <a:gd name="T12" fmla="*/ 0 w 12"/>
              <a:gd name="T13" fmla="*/ 12 h 18"/>
              <a:gd name="T14" fmla="*/ 4 w 12"/>
              <a:gd name="T15" fmla="*/ 18 h 18"/>
              <a:gd name="T16" fmla="*/ 10 w 12"/>
              <a:gd name="T17" fmla="*/ 1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8"/>
              <a:gd name="T29" fmla="*/ 12 w 12"/>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8">
                <a:moveTo>
                  <a:pt x="10" y="18"/>
                </a:moveTo>
                <a:lnTo>
                  <a:pt x="11" y="14"/>
                </a:lnTo>
                <a:lnTo>
                  <a:pt x="12" y="9"/>
                </a:lnTo>
                <a:lnTo>
                  <a:pt x="11" y="2"/>
                </a:lnTo>
                <a:lnTo>
                  <a:pt x="5" y="0"/>
                </a:lnTo>
                <a:lnTo>
                  <a:pt x="0" y="5"/>
                </a:lnTo>
                <a:lnTo>
                  <a:pt x="0" y="12"/>
                </a:lnTo>
                <a:lnTo>
                  <a:pt x="4" y="18"/>
                </a:lnTo>
                <a:lnTo>
                  <a:pt x="10" y="18"/>
                </a:lnTo>
                <a:close/>
              </a:path>
            </a:pathLst>
          </a:custGeom>
          <a:solidFill>
            <a:schemeClr val="accent3"/>
          </a:solidFill>
          <a:ln w="12700">
            <a:solidFill>
              <a:schemeClr val="bg1"/>
            </a:solidFill>
            <a:round/>
            <a:headEnd/>
            <a:tailEnd/>
          </a:ln>
        </p:spPr>
        <p:txBody>
          <a:bodyPr/>
          <a:lstStyle/>
          <a:p>
            <a:pPr>
              <a:defRPr/>
            </a:pPr>
            <a:endParaRPr lang="nl-NL"/>
          </a:p>
        </p:txBody>
      </p:sp>
      <p:sp>
        <p:nvSpPr>
          <p:cNvPr id="40" name="Freeform 34"/>
          <p:cNvSpPr>
            <a:spLocks/>
          </p:cNvSpPr>
          <p:nvPr/>
        </p:nvSpPr>
        <p:spPr bwMode="auto">
          <a:xfrm>
            <a:off x="7627339" y="5418809"/>
            <a:ext cx="27241" cy="25616"/>
          </a:xfrm>
          <a:custGeom>
            <a:avLst/>
            <a:gdLst>
              <a:gd name="T0" fmla="*/ 17 w 17"/>
              <a:gd name="T1" fmla="*/ 7 h 13"/>
              <a:gd name="T2" fmla="*/ 15 w 17"/>
              <a:gd name="T3" fmla="*/ 5 h 13"/>
              <a:gd name="T4" fmla="*/ 11 w 17"/>
              <a:gd name="T5" fmla="*/ 2 h 13"/>
              <a:gd name="T6" fmla="*/ 5 w 17"/>
              <a:gd name="T7" fmla="*/ 0 h 13"/>
              <a:gd name="T8" fmla="*/ 0 w 17"/>
              <a:gd name="T9" fmla="*/ 4 h 13"/>
              <a:gd name="T10" fmla="*/ 2 w 17"/>
              <a:gd name="T11" fmla="*/ 11 h 13"/>
              <a:gd name="T12" fmla="*/ 9 w 17"/>
              <a:gd name="T13" fmla="*/ 13 h 13"/>
              <a:gd name="T14" fmla="*/ 16 w 17"/>
              <a:gd name="T15" fmla="*/ 13 h 13"/>
              <a:gd name="T16" fmla="*/ 17 w 17"/>
              <a:gd name="T17" fmla="*/ 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3"/>
              <a:gd name="T29" fmla="*/ 17 w 17"/>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3">
                <a:moveTo>
                  <a:pt x="17" y="7"/>
                </a:moveTo>
                <a:lnTo>
                  <a:pt x="15" y="5"/>
                </a:lnTo>
                <a:lnTo>
                  <a:pt x="11" y="2"/>
                </a:lnTo>
                <a:lnTo>
                  <a:pt x="5" y="0"/>
                </a:lnTo>
                <a:lnTo>
                  <a:pt x="0" y="4"/>
                </a:lnTo>
                <a:lnTo>
                  <a:pt x="2" y="11"/>
                </a:lnTo>
                <a:lnTo>
                  <a:pt x="9" y="13"/>
                </a:lnTo>
                <a:lnTo>
                  <a:pt x="16" y="13"/>
                </a:lnTo>
                <a:lnTo>
                  <a:pt x="17" y="7"/>
                </a:lnTo>
                <a:close/>
              </a:path>
            </a:pathLst>
          </a:custGeom>
          <a:solidFill>
            <a:schemeClr val="accent3"/>
          </a:solidFill>
          <a:ln w="12700">
            <a:solidFill>
              <a:schemeClr val="bg1"/>
            </a:solidFill>
            <a:round/>
            <a:headEnd/>
            <a:tailEnd/>
          </a:ln>
        </p:spPr>
        <p:txBody>
          <a:bodyPr/>
          <a:lstStyle/>
          <a:p>
            <a:pPr>
              <a:defRPr/>
            </a:pPr>
            <a:endParaRPr lang="nl-NL"/>
          </a:p>
        </p:txBody>
      </p:sp>
      <p:sp>
        <p:nvSpPr>
          <p:cNvPr id="41" name="Freeform 35"/>
          <p:cNvSpPr>
            <a:spLocks/>
          </p:cNvSpPr>
          <p:nvPr/>
        </p:nvSpPr>
        <p:spPr bwMode="auto">
          <a:xfrm>
            <a:off x="8011735" y="5096046"/>
            <a:ext cx="30267" cy="22201"/>
          </a:xfrm>
          <a:custGeom>
            <a:avLst/>
            <a:gdLst>
              <a:gd name="T0" fmla="*/ 17 w 17"/>
              <a:gd name="T1" fmla="*/ 7 h 12"/>
              <a:gd name="T2" fmla="*/ 15 w 17"/>
              <a:gd name="T3" fmla="*/ 4 h 12"/>
              <a:gd name="T4" fmla="*/ 10 w 17"/>
              <a:gd name="T5" fmla="*/ 1 h 12"/>
              <a:gd name="T6" fmla="*/ 5 w 17"/>
              <a:gd name="T7" fmla="*/ 0 h 12"/>
              <a:gd name="T8" fmla="*/ 0 w 17"/>
              <a:gd name="T9" fmla="*/ 3 h 12"/>
              <a:gd name="T10" fmla="*/ 2 w 17"/>
              <a:gd name="T11" fmla="*/ 10 h 12"/>
              <a:gd name="T12" fmla="*/ 9 w 17"/>
              <a:gd name="T13" fmla="*/ 12 h 12"/>
              <a:gd name="T14" fmla="*/ 16 w 17"/>
              <a:gd name="T15" fmla="*/ 12 h 12"/>
              <a:gd name="T16" fmla="*/ 17 w 17"/>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2"/>
              <a:gd name="T29" fmla="*/ 17 w 17"/>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2">
                <a:moveTo>
                  <a:pt x="17" y="7"/>
                </a:moveTo>
                <a:lnTo>
                  <a:pt x="15" y="4"/>
                </a:lnTo>
                <a:lnTo>
                  <a:pt x="10" y="1"/>
                </a:lnTo>
                <a:lnTo>
                  <a:pt x="5" y="0"/>
                </a:lnTo>
                <a:lnTo>
                  <a:pt x="0" y="3"/>
                </a:lnTo>
                <a:lnTo>
                  <a:pt x="2" y="10"/>
                </a:lnTo>
                <a:lnTo>
                  <a:pt x="9" y="12"/>
                </a:lnTo>
                <a:lnTo>
                  <a:pt x="16" y="12"/>
                </a:lnTo>
                <a:lnTo>
                  <a:pt x="17" y="7"/>
                </a:lnTo>
                <a:close/>
              </a:path>
            </a:pathLst>
          </a:custGeom>
          <a:solidFill>
            <a:schemeClr val="accent3"/>
          </a:solidFill>
          <a:ln w="12700">
            <a:solidFill>
              <a:schemeClr val="bg1"/>
            </a:solidFill>
            <a:round/>
            <a:headEnd/>
            <a:tailEnd/>
          </a:ln>
        </p:spPr>
        <p:txBody>
          <a:bodyPr/>
          <a:lstStyle/>
          <a:p>
            <a:pPr>
              <a:defRPr/>
            </a:pPr>
            <a:endParaRPr lang="nl-NL"/>
          </a:p>
        </p:txBody>
      </p:sp>
      <p:sp>
        <p:nvSpPr>
          <p:cNvPr id="42" name="Freeform 36"/>
          <p:cNvSpPr>
            <a:spLocks/>
          </p:cNvSpPr>
          <p:nvPr/>
        </p:nvSpPr>
        <p:spPr bwMode="auto">
          <a:xfrm>
            <a:off x="6387888" y="5111416"/>
            <a:ext cx="30267" cy="22201"/>
          </a:xfrm>
          <a:custGeom>
            <a:avLst/>
            <a:gdLst>
              <a:gd name="T0" fmla="*/ 19 w 19"/>
              <a:gd name="T1" fmla="*/ 7 h 12"/>
              <a:gd name="T2" fmla="*/ 17 w 19"/>
              <a:gd name="T3" fmla="*/ 4 h 12"/>
              <a:gd name="T4" fmla="*/ 11 w 19"/>
              <a:gd name="T5" fmla="*/ 1 h 12"/>
              <a:gd name="T6" fmla="*/ 5 w 19"/>
              <a:gd name="T7" fmla="*/ 0 h 12"/>
              <a:gd name="T8" fmla="*/ 0 w 19"/>
              <a:gd name="T9" fmla="*/ 3 h 12"/>
              <a:gd name="T10" fmla="*/ 3 w 19"/>
              <a:gd name="T11" fmla="*/ 10 h 12"/>
              <a:gd name="T12" fmla="*/ 10 w 19"/>
              <a:gd name="T13" fmla="*/ 12 h 12"/>
              <a:gd name="T14" fmla="*/ 17 w 19"/>
              <a:gd name="T15" fmla="*/ 12 h 12"/>
              <a:gd name="T16" fmla="*/ 19 w 19"/>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2"/>
              <a:gd name="T29" fmla="*/ 19 w 19"/>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2">
                <a:moveTo>
                  <a:pt x="19" y="7"/>
                </a:moveTo>
                <a:lnTo>
                  <a:pt x="17" y="4"/>
                </a:lnTo>
                <a:lnTo>
                  <a:pt x="11" y="1"/>
                </a:lnTo>
                <a:lnTo>
                  <a:pt x="5" y="0"/>
                </a:lnTo>
                <a:lnTo>
                  <a:pt x="0" y="3"/>
                </a:lnTo>
                <a:lnTo>
                  <a:pt x="3" y="10"/>
                </a:lnTo>
                <a:lnTo>
                  <a:pt x="10" y="12"/>
                </a:lnTo>
                <a:lnTo>
                  <a:pt x="17" y="12"/>
                </a:lnTo>
                <a:lnTo>
                  <a:pt x="19" y="7"/>
                </a:lnTo>
                <a:close/>
              </a:path>
            </a:pathLst>
          </a:custGeom>
          <a:solidFill>
            <a:schemeClr val="accent3"/>
          </a:solidFill>
          <a:ln w="12700">
            <a:solidFill>
              <a:schemeClr val="bg1"/>
            </a:solidFill>
            <a:round/>
            <a:headEnd/>
            <a:tailEnd/>
          </a:ln>
        </p:spPr>
        <p:txBody>
          <a:bodyPr/>
          <a:lstStyle/>
          <a:p>
            <a:pPr>
              <a:defRPr/>
            </a:pPr>
            <a:endParaRPr lang="nl-NL"/>
          </a:p>
        </p:txBody>
      </p:sp>
      <p:sp>
        <p:nvSpPr>
          <p:cNvPr id="43" name="Freeform 37"/>
          <p:cNvSpPr>
            <a:spLocks/>
          </p:cNvSpPr>
          <p:nvPr/>
        </p:nvSpPr>
        <p:spPr bwMode="auto">
          <a:xfrm>
            <a:off x="7713601" y="4247300"/>
            <a:ext cx="27241" cy="25616"/>
          </a:xfrm>
          <a:custGeom>
            <a:avLst/>
            <a:gdLst>
              <a:gd name="T0" fmla="*/ 17 w 17"/>
              <a:gd name="T1" fmla="*/ 7 h 13"/>
              <a:gd name="T2" fmla="*/ 15 w 17"/>
              <a:gd name="T3" fmla="*/ 5 h 13"/>
              <a:gd name="T4" fmla="*/ 10 w 17"/>
              <a:gd name="T5" fmla="*/ 1 h 13"/>
              <a:gd name="T6" fmla="*/ 5 w 17"/>
              <a:gd name="T7" fmla="*/ 0 h 13"/>
              <a:gd name="T8" fmla="*/ 0 w 17"/>
              <a:gd name="T9" fmla="*/ 3 h 13"/>
              <a:gd name="T10" fmla="*/ 2 w 17"/>
              <a:gd name="T11" fmla="*/ 10 h 13"/>
              <a:gd name="T12" fmla="*/ 9 w 17"/>
              <a:gd name="T13" fmla="*/ 13 h 13"/>
              <a:gd name="T14" fmla="*/ 16 w 17"/>
              <a:gd name="T15" fmla="*/ 13 h 13"/>
              <a:gd name="T16" fmla="*/ 17 w 17"/>
              <a:gd name="T17" fmla="*/ 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3"/>
              <a:gd name="T29" fmla="*/ 17 w 17"/>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3">
                <a:moveTo>
                  <a:pt x="17" y="7"/>
                </a:moveTo>
                <a:lnTo>
                  <a:pt x="15" y="5"/>
                </a:lnTo>
                <a:lnTo>
                  <a:pt x="10" y="1"/>
                </a:lnTo>
                <a:lnTo>
                  <a:pt x="5" y="0"/>
                </a:lnTo>
                <a:lnTo>
                  <a:pt x="0" y="3"/>
                </a:lnTo>
                <a:lnTo>
                  <a:pt x="2" y="10"/>
                </a:lnTo>
                <a:lnTo>
                  <a:pt x="9" y="13"/>
                </a:lnTo>
                <a:lnTo>
                  <a:pt x="16" y="13"/>
                </a:lnTo>
                <a:lnTo>
                  <a:pt x="17" y="7"/>
                </a:lnTo>
                <a:close/>
              </a:path>
            </a:pathLst>
          </a:custGeom>
          <a:solidFill>
            <a:schemeClr val="accent3"/>
          </a:solidFill>
          <a:ln w="12700">
            <a:solidFill>
              <a:schemeClr val="bg1"/>
            </a:solidFill>
            <a:round/>
            <a:headEnd/>
            <a:tailEnd/>
          </a:ln>
        </p:spPr>
        <p:txBody>
          <a:bodyPr/>
          <a:lstStyle/>
          <a:p>
            <a:pPr>
              <a:defRPr/>
            </a:pPr>
            <a:endParaRPr lang="nl-NL"/>
          </a:p>
        </p:txBody>
      </p:sp>
      <p:sp>
        <p:nvSpPr>
          <p:cNvPr id="44" name="Freeform 38"/>
          <p:cNvSpPr>
            <a:spLocks/>
          </p:cNvSpPr>
          <p:nvPr/>
        </p:nvSpPr>
        <p:spPr bwMode="auto">
          <a:xfrm>
            <a:off x="7423034" y="4542739"/>
            <a:ext cx="62048" cy="63186"/>
          </a:xfrm>
          <a:custGeom>
            <a:avLst/>
            <a:gdLst>
              <a:gd name="T0" fmla="*/ 38 w 38"/>
              <a:gd name="T1" fmla="*/ 10 h 34"/>
              <a:gd name="T2" fmla="*/ 28 w 38"/>
              <a:gd name="T3" fmla="*/ 0 h 34"/>
              <a:gd name="T4" fmla="*/ 10 w 38"/>
              <a:gd name="T5" fmla="*/ 17 h 34"/>
              <a:gd name="T6" fmla="*/ 8 w 38"/>
              <a:gd name="T7" fmla="*/ 19 h 34"/>
              <a:gd name="T8" fmla="*/ 3 w 38"/>
              <a:gd name="T9" fmla="*/ 25 h 34"/>
              <a:gd name="T10" fmla="*/ 0 w 38"/>
              <a:gd name="T11" fmla="*/ 32 h 34"/>
              <a:gd name="T12" fmla="*/ 3 w 38"/>
              <a:gd name="T13" fmla="*/ 34 h 34"/>
              <a:gd name="T14" fmla="*/ 8 w 38"/>
              <a:gd name="T15" fmla="*/ 33 h 34"/>
              <a:gd name="T16" fmla="*/ 13 w 38"/>
              <a:gd name="T17" fmla="*/ 31 h 34"/>
              <a:gd name="T18" fmla="*/ 18 w 38"/>
              <a:gd name="T19" fmla="*/ 26 h 34"/>
              <a:gd name="T20" fmla="*/ 24 w 38"/>
              <a:gd name="T21" fmla="*/ 21 h 34"/>
              <a:gd name="T22" fmla="*/ 30 w 38"/>
              <a:gd name="T23" fmla="*/ 18 h 34"/>
              <a:gd name="T24" fmla="*/ 34 w 38"/>
              <a:gd name="T25" fmla="*/ 13 h 34"/>
              <a:gd name="T26" fmla="*/ 37 w 38"/>
              <a:gd name="T27" fmla="*/ 11 h 34"/>
              <a:gd name="T28" fmla="*/ 38 w 38"/>
              <a:gd name="T29" fmla="*/ 10 h 3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34"/>
              <a:gd name="T47" fmla="*/ 38 w 38"/>
              <a:gd name="T48" fmla="*/ 34 h 3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34">
                <a:moveTo>
                  <a:pt x="38" y="10"/>
                </a:moveTo>
                <a:lnTo>
                  <a:pt x="28" y="0"/>
                </a:lnTo>
                <a:lnTo>
                  <a:pt x="10" y="17"/>
                </a:lnTo>
                <a:lnTo>
                  <a:pt x="8" y="19"/>
                </a:lnTo>
                <a:lnTo>
                  <a:pt x="3" y="25"/>
                </a:lnTo>
                <a:lnTo>
                  <a:pt x="0" y="32"/>
                </a:lnTo>
                <a:lnTo>
                  <a:pt x="3" y="34"/>
                </a:lnTo>
                <a:lnTo>
                  <a:pt x="8" y="33"/>
                </a:lnTo>
                <a:lnTo>
                  <a:pt x="13" y="31"/>
                </a:lnTo>
                <a:lnTo>
                  <a:pt x="18" y="26"/>
                </a:lnTo>
                <a:lnTo>
                  <a:pt x="24" y="21"/>
                </a:lnTo>
                <a:lnTo>
                  <a:pt x="30" y="18"/>
                </a:lnTo>
                <a:lnTo>
                  <a:pt x="34" y="13"/>
                </a:lnTo>
                <a:lnTo>
                  <a:pt x="37" y="11"/>
                </a:lnTo>
                <a:lnTo>
                  <a:pt x="38" y="10"/>
                </a:lnTo>
                <a:close/>
              </a:path>
            </a:pathLst>
          </a:custGeom>
          <a:solidFill>
            <a:schemeClr val="accent3"/>
          </a:solidFill>
          <a:ln w="12700">
            <a:solidFill>
              <a:schemeClr val="bg1"/>
            </a:solidFill>
            <a:round/>
            <a:headEnd/>
            <a:tailEnd/>
          </a:ln>
        </p:spPr>
        <p:txBody>
          <a:bodyPr/>
          <a:lstStyle/>
          <a:p>
            <a:pPr>
              <a:defRPr/>
            </a:pPr>
            <a:endParaRPr lang="nl-NL"/>
          </a:p>
        </p:txBody>
      </p:sp>
      <p:sp>
        <p:nvSpPr>
          <p:cNvPr id="45" name="Freeform 39"/>
          <p:cNvSpPr>
            <a:spLocks/>
          </p:cNvSpPr>
          <p:nvPr/>
        </p:nvSpPr>
        <p:spPr bwMode="auto">
          <a:xfrm>
            <a:off x="7886125" y="4441982"/>
            <a:ext cx="46915" cy="37570"/>
          </a:xfrm>
          <a:custGeom>
            <a:avLst/>
            <a:gdLst>
              <a:gd name="T0" fmla="*/ 28 w 28"/>
              <a:gd name="T1" fmla="*/ 13 h 19"/>
              <a:gd name="T2" fmla="*/ 25 w 28"/>
              <a:gd name="T3" fmla="*/ 11 h 19"/>
              <a:gd name="T4" fmla="*/ 19 w 28"/>
              <a:gd name="T5" fmla="*/ 5 h 19"/>
              <a:gd name="T6" fmla="*/ 11 w 28"/>
              <a:gd name="T7" fmla="*/ 1 h 19"/>
              <a:gd name="T8" fmla="*/ 3 w 28"/>
              <a:gd name="T9" fmla="*/ 0 h 19"/>
              <a:gd name="T10" fmla="*/ 1 w 28"/>
              <a:gd name="T11" fmla="*/ 2 h 19"/>
              <a:gd name="T12" fmla="*/ 0 w 28"/>
              <a:gd name="T13" fmla="*/ 5 h 19"/>
              <a:gd name="T14" fmla="*/ 2 w 28"/>
              <a:gd name="T15" fmla="*/ 10 h 19"/>
              <a:gd name="T16" fmla="*/ 6 w 28"/>
              <a:gd name="T17" fmla="*/ 15 h 19"/>
              <a:gd name="T18" fmla="*/ 9 w 28"/>
              <a:gd name="T19" fmla="*/ 18 h 19"/>
              <a:gd name="T20" fmla="*/ 15 w 28"/>
              <a:gd name="T21" fmla="*/ 19 h 19"/>
              <a:gd name="T22" fmla="*/ 21 w 28"/>
              <a:gd name="T23" fmla="*/ 18 h 19"/>
              <a:gd name="T24" fmla="*/ 28 w 28"/>
              <a:gd name="T25" fmla="*/ 13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19"/>
              <a:gd name="T41" fmla="*/ 28 w 28"/>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19">
                <a:moveTo>
                  <a:pt x="28" y="13"/>
                </a:moveTo>
                <a:lnTo>
                  <a:pt x="25" y="11"/>
                </a:lnTo>
                <a:lnTo>
                  <a:pt x="19" y="5"/>
                </a:lnTo>
                <a:lnTo>
                  <a:pt x="11" y="1"/>
                </a:lnTo>
                <a:lnTo>
                  <a:pt x="3" y="0"/>
                </a:lnTo>
                <a:lnTo>
                  <a:pt x="1" y="2"/>
                </a:lnTo>
                <a:lnTo>
                  <a:pt x="0" y="5"/>
                </a:lnTo>
                <a:lnTo>
                  <a:pt x="2" y="10"/>
                </a:lnTo>
                <a:lnTo>
                  <a:pt x="6" y="15"/>
                </a:lnTo>
                <a:lnTo>
                  <a:pt x="9" y="18"/>
                </a:lnTo>
                <a:lnTo>
                  <a:pt x="15" y="19"/>
                </a:lnTo>
                <a:lnTo>
                  <a:pt x="21" y="18"/>
                </a:lnTo>
                <a:lnTo>
                  <a:pt x="28" y="13"/>
                </a:lnTo>
                <a:close/>
              </a:path>
            </a:pathLst>
          </a:custGeom>
          <a:solidFill>
            <a:schemeClr val="accent3"/>
          </a:solidFill>
          <a:ln w="12700">
            <a:solidFill>
              <a:schemeClr val="bg1"/>
            </a:solidFill>
            <a:round/>
            <a:headEnd/>
            <a:tailEnd/>
          </a:ln>
        </p:spPr>
        <p:txBody>
          <a:bodyPr/>
          <a:lstStyle/>
          <a:p>
            <a:pPr>
              <a:defRPr/>
            </a:pPr>
            <a:endParaRPr lang="nl-NL"/>
          </a:p>
        </p:txBody>
      </p:sp>
      <p:sp>
        <p:nvSpPr>
          <p:cNvPr id="46" name="Freeform 40"/>
          <p:cNvSpPr>
            <a:spLocks/>
          </p:cNvSpPr>
          <p:nvPr/>
        </p:nvSpPr>
        <p:spPr bwMode="auto">
          <a:xfrm>
            <a:off x="7813483" y="4337810"/>
            <a:ext cx="72642" cy="73433"/>
          </a:xfrm>
          <a:custGeom>
            <a:avLst/>
            <a:gdLst>
              <a:gd name="T0" fmla="*/ 44 w 44"/>
              <a:gd name="T1" fmla="*/ 40 h 40"/>
              <a:gd name="T2" fmla="*/ 42 w 44"/>
              <a:gd name="T3" fmla="*/ 36 h 40"/>
              <a:gd name="T4" fmla="*/ 37 w 44"/>
              <a:gd name="T5" fmla="*/ 25 h 40"/>
              <a:gd name="T6" fmla="*/ 29 w 44"/>
              <a:gd name="T7" fmla="*/ 14 h 40"/>
              <a:gd name="T8" fmla="*/ 19 w 44"/>
              <a:gd name="T9" fmla="*/ 6 h 40"/>
              <a:gd name="T10" fmla="*/ 9 w 44"/>
              <a:gd name="T11" fmla="*/ 1 h 40"/>
              <a:gd name="T12" fmla="*/ 2 w 44"/>
              <a:gd name="T13" fmla="*/ 0 h 40"/>
              <a:gd name="T14" fmla="*/ 0 w 44"/>
              <a:gd name="T15" fmla="*/ 5 h 40"/>
              <a:gd name="T16" fmla="*/ 5 w 44"/>
              <a:gd name="T17" fmla="*/ 13 h 40"/>
              <a:gd name="T18" fmla="*/ 9 w 44"/>
              <a:gd name="T19" fmla="*/ 17 h 40"/>
              <a:gd name="T20" fmla="*/ 15 w 44"/>
              <a:gd name="T21" fmla="*/ 23 h 40"/>
              <a:gd name="T22" fmla="*/ 22 w 44"/>
              <a:gd name="T23" fmla="*/ 28 h 40"/>
              <a:gd name="T24" fmla="*/ 28 w 44"/>
              <a:gd name="T25" fmla="*/ 31 h 40"/>
              <a:gd name="T26" fmla="*/ 35 w 44"/>
              <a:gd name="T27" fmla="*/ 36 h 40"/>
              <a:gd name="T28" fmla="*/ 39 w 44"/>
              <a:gd name="T29" fmla="*/ 38 h 40"/>
              <a:gd name="T30" fmla="*/ 43 w 44"/>
              <a:gd name="T31" fmla="*/ 39 h 40"/>
              <a:gd name="T32" fmla="*/ 44 w 44"/>
              <a:gd name="T33" fmla="*/ 40 h 4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4"/>
              <a:gd name="T52" fmla="*/ 0 h 40"/>
              <a:gd name="T53" fmla="*/ 44 w 44"/>
              <a:gd name="T54" fmla="*/ 40 h 4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4" h="40">
                <a:moveTo>
                  <a:pt x="44" y="40"/>
                </a:moveTo>
                <a:lnTo>
                  <a:pt x="42" y="36"/>
                </a:lnTo>
                <a:lnTo>
                  <a:pt x="37" y="25"/>
                </a:lnTo>
                <a:lnTo>
                  <a:pt x="29" y="14"/>
                </a:lnTo>
                <a:lnTo>
                  <a:pt x="19" y="6"/>
                </a:lnTo>
                <a:lnTo>
                  <a:pt x="9" y="1"/>
                </a:lnTo>
                <a:lnTo>
                  <a:pt x="2" y="0"/>
                </a:lnTo>
                <a:lnTo>
                  <a:pt x="0" y="5"/>
                </a:lnTo>
                <a:lnTo>
                  <a:pt x="5" y="13"/>
                </a:lnTo>
                <a:lnTo>
                  <a:pt x="9" y="17"/>
                </a:lnTo>
                <a:lnTo>
                  <a:pt x="15" y="23"/>
                </a:lnTo>
                <a:lnTo>
                  <a:pt x="22" y="28"/>
                </a:lnTo>
                <a:lnTo>
                  <a:pt x="28" y="31"/>
                </a:lnTo>
                <a:lnTo>
                  <a:pt x="35" y="36"/>
                </a:lnTo>
                <a:lnTo>
                  <a:pt x="39" y="38"/>
                </a:lnTo>
                <a:lnTo>
                  <a:pt x="43" y="39"/>
                </a:lnTo>
                <a:lnTo>
                  <a:pt x="44" y="40"/>
                </a:lnTo>
                <a:close/>
              </a:path>
            </a:pathLst>
          </a:custGeom>
          <a:solidFill>
            <a:schemeClr val="accent3"/>
          </a:solidFill>
          <a:ln w="12700">
            <a:solidFill>
              <a:schemeClr val="bg1"/>
            </a:solidFill>
            <a:round/>
            <a:headEnd/>
            <a:tailEnd/>
          </a:ln>
        </p:spPr>
        <p:txBody>
          <a:bodyPr/>
          <a:lstStyle/>
          <a:p>
            <a:pPr>
              <a:defRPr/>
            </a:pPr>
            <a:endParaRPr lang="nl-NL"/>
          </a:p>
        </p:txBody>
      </p:sp>
      <p:sp>
        <p:nvSpPr>
          <p:cNvPr id="47" name="Freeform 41"/>
          <p:cNvSpPr>
            <a:spLocks/>
          </p:cNvSpPr>
          <p:nvPr/>
        </p:nvSpPr>
        <p:spPr bwMode="auto">
          <a:xfrm>
            <a:off x="7253536" y="4344641"/>
            <a:ext cx="89289" cy="157112"/>
          </a:xfrm>
          <a:custGeom>
            <a:avLst/>
            <a:gdLst>
              <a:gd name="T0" fmla="*/ 43 w 56"/>
              <a:gd name="T1" fmla="*/ 0 h 83"/>
              <a:gd name="T2" fmla="*/ 53 w 56"/>
              <a:gd name="T3" fmla="*/ 27 h 83"/>
              <a:gd name="T4" fmla="*/ 55 w 56"/>
              <a:gd name="T5" fmla="*/ 31 h 83"/>
              <a:gd name="T6" fmla="*/ 56 w 56"/>
              <a:gd name="T7" fmla="*/ 38 h 83"/>
              <a:gd name="T8" fmla="*/ 55 w 56"/>
              <a:gd name="T9" fmla="*/ 48 h 83"/>
              <a:gd name="T10" fmla="*/ 50 w 56"/>
              <a:gd name="T11" fmla="*/ 59 h 83"/>
              <a:gd name="T12" fmla="*/ 45 w 56"/>
              <a:gd name="T13" fmla="*/ 68 h 83"/>
              <a:gd name="T14" fmla="*/ 42 w 56"/>
              <a:gd name="T15" fmla="*/ 75 h 83"/>
              <a:gd name="T16" fmla="*/ 38 w 56"/>
              <a:gd name="T17" fmla="*/ 79 h 83"/>
              <a:gd name="T18" fmla="*/ 29 w 56"/>
              <a:gd name="T19" fmla="*/ 83 h 83"/>
              <a:gd name="T20" fmla="*/ 18 w 56"/>
              <a:gd name="T21" fmla="*/ 83 h 83"/>
              <a:gd name="T22" fmla="*/ 8 w 56"/>
              <a:gd name="T23" fmla="*/ 79 h 83"/>
              <a:gd name="T24" fmla="*/ 4 w 56"/>
              <a:gd name="T25" fmla="*/ 71 h 83"/>
              <a:gd name="T26" fmla="*/ 2 w 56"/>
              <a:gd name="T27" fmla="*/ 62 h 83"/>
              <a:gd name="T28" fmla="*/ 0 w 56"/>
              <a:gd name="T29" fmla="*/ 52 h 83"/>
              <a:gd name="T30" fmla="*/ 0 w 56"/>
              <a:gd name="T31" fmla="*/ 41 h 83"/>
              <a:gd name="T32" fmla="*/ 3 w 56"/>
              <a:gd name="T33" fmla="*/ 32 h 83"/>
              <a:gd name="T34" fmla="*/ 12 w 56"/>
              <a:gd name="T35" fmla="*/ 24 h 83"/>
              <a:gd name="T36" fmla="*/ 25 w 56"/>
              <a:gd name="T37" fmla="*/ 16 h 83"/>
              <a:gd name="T38" fmla="*/ 34 w 56"/>
              <a:gd name="T39" fmla="*/ 8 h 83"/>
              <a:gd name="T40" fmla="*/ 41 w 56"/>
              <a:gd name="T41" fmla="*/ 2 h 83"/>
              <a:gd name="T42" fmla="*/ 43 w 56"/>
              <a:gd name="T43" fmla="*/ 0 h 8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6"/>
              <a:gd name="T67" fmla="*/ 0 h 83"/>
              <a:gd name="T68" fmla="*/ 56 w 56"/>
              <a:gd name="T69" fmla="*/ 83 h 8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6" h="83">
                <a:moveTo>
                  <a:pt x="43" y="0"/>
                </a:moveTo>
                <a:lnTo>
                  <a:pt x="53" y="27"/>
                </a:lnTo>
                <a:lnTo>
                  <a:pt x="55" y="31"/>
                </a:lnTo>
                <a:lnTo>
                  <a:pt x="56" y="38"/>
                </a:lnTo>
                <a:lnTo>
                  <a:pt x="55" y="48"/>
                </a:lnTo>
                <a:lnTo>
                  <a:pt x="50" y="59"/>
                </a:lnTo>
                <a:lnTo>
                  <a:pt x="45" y="68"/>
                </a:lnTo>
                <a:lnTo>
                  <a:pt x="42" y="75"/>
                </a:lnTo>
                <a:lnTo>
                  <a:pt x="38" y="79"/>
                </a:lnTo>
                <a:lnTo>
                  <a:pt x="29" y="83"/>
                </a:lnTo>
                <a:lnTo>
                  <a:pt x="18" y="83"/>
                </a:lnTo>
                <a:lnTo>
                  <a:pt x="8" y="79"/>
                </a:lnTo>
                <a:lnTo>
                  <a:pt x="4" y="71"/>
                </a:lnTo>
                <a:lnTo>
                  <a:pt x="2" y="62"/>
                </a:lnTo>
                <a:lnTo>
                  <a:pt x="0" y="52"/>
                </a:lnTo>
                <a:lnTo>
                  <a:pt x="0" y="41"/>
                </a:lnTo>
                <a:lnTo>
                  <a:pt x="3" y="32"/>
                </a:lnTo>
                <a:lnTo>
                  <a:pt x="12" y="24"/>
                </a:lnTo>
                <a:lnTo>
                  <a:pt x="25" y="16"/>
                </a:lnTo>
                <a:lnTo>
                  <a:pt x="34" y="8"/>
                </a:lnTo>
                <a:lnTo>
                  <a:pt x="41" y="2"/>
                </a:lnTo>
                <a:lnTo>
                  <a:pt x="43" y="0"/>
                </a:lnTo>
                <a:close/>
              </a:path>
            </a:pathLst>
          </a:custGeom>
          <a:solidFill>
            <a:schemeClr val="accent3"/>
          </a:solidFill>
          <a:ln w="12700">
            <a:solidFill>
              <a:schemeClr val="bg1"/>
            </a:solidFill>
            <a:round/>
            <a:headEnd/>
            <a:tailEnd/>
          </a:ln>
        </p:spPr>
        <p:txBody>
          <a:bodyPr/>
          <a:lstStyle/>
          <a:p>
            <a:pPr>
              <a:defRPr/>
            </a:pPr>
            <a:endParaRPr lang="nl-NL"/>
          </a:p>
        </p:txBody>
      </p:sp>
      <p:sp>
        <p:nvSpPr>
          <p:cNvPr id="48" name="Freeform 42"/>
          <p:cNvSpPr>
            <a:spLocks/>
          </p:cNvSpPr>
          <p:nvPr/>
        </p:nvSpPr>
        <p:spPr bwMode="auto">
          <a:xfrm>
            <a:off x="7214188" y="4595679"/>
            <a:ext cx="45401" cy="70017"/>
          </a:xfrm>
          <a:custGeom>
            <a:avLst/>
            <a:gdLst>
              <a:gd name="T0" fmla="*/ 29 w 29"/>
              <a:gd name="T1" fmla="*/ 11 h 39"/>
              <a:gd name="T2" fmla="*/ 5 w 29"/>
              <a:gd name="T3" fmla="*/ 0 h 39"/>
              <a:gd name="T4" fmla="*/ 4 w 29"/>
              <a:gd name="T5" fmla="*/ 1 h 39"/>
              <a:gd name="T6" fmla="*/ 1 w 29"/>
              <a:gd name="T7" fmla="*/ 4 h 39"/>
              <a:gd name="T8" fmla="*/ 0 w 29"/>
              <a:gd name="T9" fmla="*/ 9 h 39"/>
              <a:gd name="T10" fmla="*/ 1 w 29"/>
              <a:gd name="T11" fmla="*/ 18 h 39"/>
              <a:gd name="T12" fmla="*/ 4 w 29"/>
              <a:gd name="T13" fmla="*/ 28 h 39"/>
              <a:gd name="T14" fmla="*/ 6 w 29"/>
              <a:gd name="T15" fmla="*/ 36 h 39"/>
              <a:gd name="T16" fmla="*/ 9 w 29"/>
              <a:gd name="T17" fmla="*/ 39 h 39"/>
              <a:gd name="T18" fmla="*/ 15 w 29"/>
              <a:gd name="T19" fmla="*/ 38 h 39"/>
              <a:gd name="T20" fmla="*/ 22 w 29"/>
              <a:gd name="T21" fmla="*/ 31 h 39"/>
              <a:gd name="T22" fmla="*/ 26 w 29"/>
              <a:gd name="T23" fmla="*/ 22 h 39"/>
              <a:gd name="T24" fmla="*/ 28 w 29"/>
              <a:gd name="T25" fmla="*/ 14 h 39"/>
              <a:gd name="T26" fmla="*/ 29 w 29"/>
              <a:gd name="T27" fmla="*/ 11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
              <a:gd name="T43" fmla="*/ 0 h 39"/>
              <a:gd name="T44" fmla="*/ 29 w 29"/>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 h="39">
                <a:moveTo>
                  <a:pt x="29" y="11"/>
                </a:moveTo>
                <a:lnTo>
                  <a:pt x="5" y="0"/>
                </a:lnTo>
                <a:lnTo>
                  <a:pt x="4" y="1"/>
                </a:lnTo>
                <a:lnTo>
                  <a:pt x="1" y="4"/>
                </a:lnTo>
                <a:lnTo>
                  <a:pt x="0" y="9"/>
                </a:lnTo>
                <a:lnTo>
                  <a:pt x="1" y="18"/>
                </a:lnTo>
                <a:lnTo>
                  <a:pt x="4" y="28"/>
                </a:lnTo>
                <a:lnTo>
                  <a:pt x="6" y="36"/>
                </a:lnTo>
                <a:lnTo>
                  <a:pt x="9" y="39"/>
                </a:lnTo>
                <a:lnTo>
                  <a:pt x="15" y="38"/>
                </a:lnTo>
                <a:lnTo>
                  <a:pt x="22" y="31"/>
                </a:lnTo>
                <a:lnTo>
                  <a:pt x="26" y="22"/>
                </a:lnTo>
                <a:lnTo>
                  <a:pt x="28" y="14"/>
                </a:lnTo>
                <a:lnTo>
                  <a:pt x="29" y="11"/>
                </a:lnTo>
                <a:close/>
              </a:path>
            </a:pathLst>
          </a:custGeom>
          <a:solidFill>
            <a:schemeClr val="accent3"/>
          </a:solidFill>
          <a:ln w="12700">
            <a:solidFill>
              <a:schemeClr val="bg1"/>
            </a:solidFill>
            <a:round/>
            <a:headEnd/>
            <a:tailEnd/>
          </a:ln>
        </p:spPr>
        <p:txBody>
          <a:bodyPr/>
          <a:lstStyle/>
          <a:p>
            <a:pPr>
              <a:defRPr/>
            </a:pPr>
            <a:endParaRPr lang="nl-NL"/>
          </a:p>
        </p:txBody>
      </p:sp>
      <p:sp>
        <p:nvSpPr>
          <p:cNvPr id="49" name="Freeform 43"/>
          <p:cNvSpPr>
            <a:spLocks/>
          </p:cNvSpPr>
          <p:nvPr/>
        </p:nvSpPr>
        <p:spPr bwMode="auto">
          <a:xfrm>
            <a:off x="7144573" y="4400996"/>
            <a:ext cx="62048" cy="75141"/>
          </a:xfrm>
          <a:custGeom>
            <a:avLst/>
            <a:gdLst>
              <a:gd name="T0" fmla="*/ 39 w 39"/>
              <a:gd name="T1" fmla="*/ 19 h 40"/>
              <a:gd name="T2" fmla="*/ 39 w 39"/>
              <a:gd name="T3" fmla="*/ 23 h 40"/>
              <a:gd name="T4" fmla="*/ 39 w 39"/>
              <a:gd name="T5" fmla="*/ 30 h 40"/>
              <a:gd name="T6" fmla="*/ 34 w 39"/>
              <a:gd name="T7" fmla="*/ 36 h 40"/>
              <a:gd name="T8" fmla="*/ 24 w 39"/>
              <a:gd name="T9" fmla="*/ 40 h 40"/>
              <a:gd name="T10" fmla="*/ 14 w 39"/>
              <a:gd name="T11" fmla="*/ 40 h 40"/>
              <a:gd name="T12" fmla="*/ 9 w 39"/>
              <a:gd name="T13" fmla="*/ 40 h 40"/>
              <a:gd name="T14" fmla="*/ 7 w 39"/>
              <a:gd name="T15" fmla="*/ 40 h 40"/>
              <a:gd name="T16" fmla="*/ 7 w 39"/>
              <a:gd name="T17" fmla="*/ 40 h 40"/>
              <a:gd name="T18" fmla="*/ 4 w 39"/>
              <a:gd name="T19" fmla="*/ 36 h 40"/>
              <a:gd name="T20" fmla="*/ 1 w 39"/>
              <a:gd name="T21" fmla="*/ 27 h 40"/>
              <a:gd name="T22" fmla="*/ 0 w 39"/>
              <a:gd name="T23" fmla="*/ 17 h 40"/>
              <a:gd name="T24" fmla="*/ 3 w 39"/>
              <a:gd name="T25" fmla="*/ 9 h 40"/>
              <a:gd name="T26" fmla="*/ 9 w 39"/>
              <a:gd name="T27" fmla="*/ 3 h 40"/>
              <a:gd name="T28" fmla="*/ 12 w 39"/>
              <a:gd name="T29" fmla="*/ 0 h 40"/>
              <a:gd name="T30" fmla="*/ 16 w 39"/>
              <a:gd name="T31" fmla="*/ 0 h 40"/>
              <a:gd name="T32" fmla="*/ 24 w 39"/>
              <a:gd name="T33" fmla="*/ 5 h 40"/>
              <a:gd name="T34" fmla="*/ 33 w 39"/>
              <a:gd name="T35" fmla="*/ 13 h 40"/>
              <a:gd name="T36" fmla="*/ 37 w 39"/>
              <a:gd name="T37" fmla="*/ 17 h 40"/>
              <a:gd name="T38" fmla="*/ 39 w 39"/>
              <a:gd name="T39" fmla="*/ 19 h 40"/>
              <a:gd name="T40" fmla="*/ 39 w 39"/>
              <a:gd name="T41" fmla="*/ 19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9"/>
              <a:gd name="T64" fmla="*/ 0 h 40"/>
              <a:gd name="T65" fmla="*/ 39 w 39"/>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9" h="40">
                <a:moveTo>
                  <a:pt x="39" y="19"/>
                </a:moveTo>
                <a:lnTo>
                  <a:pt x="39" y="23"/>
                </a:lnTo>
                <a:lnTo>
                  <a:pt x="39" y="30"/>
                </a:lnTo>
                <a:lnTo>
                  <a:pt x="34" y="36"/>
                </a:lnTo>
                <a:lnTo>
                  <a:pt x="24" y="40"/>
                </a:lnTo>
                <a:lnTo>
                  <a:pt x="14" y="40"/>
                </a:lnTo>
                <a:lnTo>
                  <a:pt x="9" y="40"/>
                </a:lnTo>
                <a:lnTo>
                  <a:pt x="7" y="40"/>
                </a:lnTo>
                <a:lnTo>
                  <a:pt x="4" y="36"/>
                </a:lnTo>
                <a:lnTo>
                  <a:pt x="1" y="27"/>
                </a:lnTo>
                <a:lnTo>
                  <a:pt x="0" y="17"/>
                </a:lnTo>
                <a:lnTo>
                  <a:pt x="3" y="9"/>
                </a:lnTo>
                <a:lnTo>
                  <a:pt x="9" y="3"/>
                </a:lnTo>
                <a:lnTo>
                  <a:pt x="12" y="0"/>
                </a:lnTo>
                <a:lnTo>
                  <a:pt x="16" y="0"/>
                </a:lnTo>
                <a:lnTo>
                  <a:pt x="24" y="5"/>
                </a:lnTo>
                <a:lnTo>
                  <a:pt x="33" y="13"/>
                </a:lnTo>
                <a:lnTo>
                  <a:pt x="37" y="17"/>
                </a:lnTo>
                <a:lnTo>
                  <a:pt x="39" y="19"/>
                </a:lnTo>
                <a:close/>
              </a:path>
            </a:pathLst>
          </a:custGeom>
          <a:solidFill>
            <a:schemeClr val="accent3"/>
          </a:solidFill>
          <a:ln w="12700">
            <a:solidFill>
              <a:schemeClr val="bg1"/>
            </a:solidFill>
            <a:round/>
            <a:headEnd/>
            <a:tailEnd/>
          </a:ln>
        </p:spPr>
        <p:txBody>
          <a:bodyPr/>
          <a:lstStyle/>
          <a:p>
            <a:pPr>
              <a:defRPr/>
            </a:pPr>
            <a:endParaRPr lang="nl-NL"/>
          </a:p>
        </p:txBody>
      </p:sp>
      <p:sp>
        <p:nvSpPr>
          <p:cNvPr id="50" name="Freeform 44"/>
          <p:cNvSpPr>
            <a:spLocks/>
          </p:cNvSpPr>
          <p:nvPr/>
        </p:nvSpPr>
        <p:spPr bwMode="auto">
          <a:xfrm>
            <a:off x="7103712" y="4467598"/>
            <a:ext cx="33294" cy="40986"/>
          </a:xfrm>
          <a:custGeom>
            <a:avLst/>
            <a:gdLst>
              <a:gd name="T0" fmla="*/ 18 w 20"/>
              <a:gd name="T1" fmla="*/ 4 h 21"/>
              <a:gd name="T2" fmla="*/ 19 w 20"/>
              <a:gd name="T3" fmla="*/ 6 h 21"/>
              <a:gd name="T4" fmla="*/ 20 w 20"/>
              <a:gd name="T5" fmla="*/ 12 h 21"/>
              <a:gd name="T6" fmla="*/ 19 w 20"/>
              <a:gd name="T7" fmla="*/ 19 h 21"/>
              <a:gd name="T8" fmla="*/ 14 w 20"/>
              <a:gd name="T9" fmla="*/ 21 h 21"/>
              <a:gd name="T10" fmla="*/ 7 w 20"/>
              <a:gd name="T11" fmla="*/ 19 h 21"/>
              <a:gd name="T12" fmla="*/ 4 w 20"/>
              <a:gd name="T13" fmla="*/ 14 h 21"/>
              <a:gd name="T14" fmla="*/ 2 w 20"/>
              <a:gd name="T15" fmla="*/ 10 h 21"/>
              <a:gd name="T16" fmla="*/ 0 w 20"/>
              <a:gd name="T17" fmla="*/ 7 h 21"/>
              <a:gd name="T18" fmla="*/ 2 w 20"/>
              <a:gd name="T19" fmla="*/ 5 h 21"/>
              <a:gd name="T20" fmla="*/ 5 w 20"/>
              <a:gd name="T21" fmla="*/ 2 h 21"/>
              <a:gd name="T22" fmla="*/ 11 w 20"/>
              <a:gd name="T23" fmla="*/ 0 h 21"/>
              <a:gd name="T24" fmla="*/ 18 w 20"/>
              <a:gd name="T25" fmla="*/ 4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21"/>
              <a:gd name="T41" fmla="*/ 20 w 20"/>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21">
                <a:moveTo>
                  <a:pt x="18" y="4"/>
                </a:moveTo>
                <a:lnTo>
                  <a:pt x="19" y="6"/>
                </a:lnTo>
                <a:lnTo>
                  <a:pt x="20" y="12"/>
                </a:lnTo>
                <a:lnTo>
                  <a:pt x="19" y="19"/>
                </a:lnTo>
                <a:lnTo>
                  <a:pt x="14" y="21"/>
                </a:lnTo>
                <a:lnTo>
                  <a:pt x="7" y="19"/>
                </a:lnTo>
                <a:lnTo>
                  <a:pt x="4" y="14"/>
                </a:lnTo>
                <a:lnTo>
                  <a:pt x="2" y="10"/>
                </a:lnTo>
                <a:lnTo>
                  <a:pt x="0" y="7"/>
                </a:lnTo>
                <a:lnTo>
                  <a:pt x="2" y="5"/>
                </a:lnTo>
                <a:lnTo>
                  <a:pt x="5" y="2"/>
                </a:lnTo>
                <a:lnTo>
                  <a:pt x="11" y="0"/>
                </a:lnTo>
                <a:lnTo>
                  <a:pt x="18" y="4"/>
                </a:lnTo>
                <a:close/>
              </a:path>
            </a:pathLst>
          </a:custGeom>
          <a:solidFill>
            <a:schemeClr val="accent3"/>
          </a:solidFill>
          <a:ln w="12700">
            <a:solidFill>
              <a:schemeClr val="bg1"/>
            </a:solidFill>
            <a:round/>
            <a:headEnd/>
            <a:tailEnd/>
          </a:ln>
        </p:spPr>
        <p:txBody>
          <a:bodyPr/>
          <a:lstStyle/>
          <a:p>
            <a:pPr>
              <a:defRPr/>
            </a:pPr>
            <a:endParaRPr lang="nl-NL"/>
          </a:p>
        </p:txBody>
      </p:sp>
      <p:sp>
        <p:nvSpPr>
          <p:cNvPr id="51" name="Freeform 45"/>
          <p:cNvSpPr>
            <a:spLocks/>
          </p:cNvSpPr>
          <p:nvPr/>
        </p:nvSpPr>
        <p:spPr bwMode="auto">
          <a:xfrm>
            <a:off x="6941782" y="4457352"/>
            <a:ext cx="55995" cy="51232"/>
          </a:xfrm>
          <a:custGeom>
            <a:avLst/>
            <a:gdLst>
              <a:gd name="T0" fmla="*/ 33 w 33"/>
              <a:gd name="T1" fmla="*/ 20 h 27"/>
              <a:gd name="T2" fmla="*/ 33 w 33"/>
              <a:gd name="T3" fmla="*/ 21 h 27"/>
              <a:gd name="T4" fmla="*/ 32 w 33"/>
              <a:gd name="T5" fmla="*/ 25 h 27"/>
              <a:gd name="T6" fmla="*/ 27 w 33"/>
              <a:gd name="T7" fmla="*/ 27 h 27"/>
              <a:gd name="T8" fmla="*/ 19 w 33"/>
              <a:gd name="T9" fmla="*/ 27 h 27"/>
              <a:gd name="T10" fmla="*/ 9 w 33"/>
              <a:gd name="T11" fmla="*/ 21 h 27"/>
              <a:gd name="T12" fmla="*/ 2 w 33"/>
              <a:gd name="T13" fmla="*/ 12 h 27"/>
              <a:gd name="T14" fmla="*/ 0 w 33"/>
              <a:gd name="T15" fmla="*/ 3 h 27"/>
              <a:gd name="T16" fmla="*/ 5 w 33"/>
              <a:gd name="T17" fmla="*/ 0 h 27"/>
              <a:gd name="T18" fmla="*/ 14 w 33"/>
              <a:gd name="T19" fmla="*/ 0 h 27"/>
              <a:gd name="T20" fmla="*/ 18 w 33"/>
              <a:gd name="T21" fmla="*/ 0 h 27"/>
              <a:gd name="T22" fmla="*/ 19 w 33"/>
              <a:gd name="T23" fmla="*/ 0 h 27"/>
              <a:gd name="T24" fmla="*/ 19 w 33"/>
              <a:gd name="T25" fmla="*/ 0 h 27"/>
              <a:gd name="T26" fmla="*/ 33 w 33"/>
              <a:gd name="T27" fmla="*/ 2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7"/>
              <a:gd name="T44" fmla="*/ 33 w 33"/>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7">
                <a:moveTo>
                  <a:pt x="33" y="20"/>
                </a:moveTo>
                <a:lnTo>
                  <a:pt x="33" y="21"/>
                </a:lnTo>
                <a:lnTo>
                  <a:pt x="32" y="25"/>
                </a:lnTo>
                <a:lnTo>
                  <a:pt x="27" y="27"/>
                </a:lnTo>
                <a:lnTo>
                  <a:pt x="19" y="27"/>
                </a:lnTo>
                <a:lnTo>
                  <a:pt x="9" y="21"/>
                </a:lnTo>
                <a:lnTo>
                  <a:pt x="2" y="12"/>
                </a:lnTo>
                <a:lnTo>
                  <a:pt x="0" y="3"/>
                </a:lnTo>
                <a:lnTo>
                  <a:pt x="5" y="0"/>
                </a:lnTo>
                <a:lnTo>
                  <a:pt x="14" y="0"/>
                </a:lnTo>
                <a:lnTo>
                  <a:pt x="18" y="0"/>
                </a:lnTo>
                <a:lnTo>
                  <a:pt x="19" y="0"/>
                </a:lnTo>
                <a:lnTo>
                  <a:pt x="33" y="20"/>
                </a:lnTo>
                <a:close/>
              </a:path>
            </a:pathLst>
          </a:custGeom>
          <a:solidFill>
            <a:schemeClr val="accent3"/>
          </a:solidFill>
          <a:ln w="12700">
            <a:solidFill>
              <a:schemeClr val="bg1"/>
            </a:solidFill>
            <a:round/>
            <a:headEnd/>
            <a:tailEnd/>
          </a:ln>
        </p:spPr>
        <p:txBody>
          <a:bodyPr/>
          <a:lstStyle/>
          <a:p>
            <a:pPr>
              <a:defRPr/>
            </a:pPr>
            <a:endParaRPr lang="nl-NL"/>
          </a:p>
        </p:txBody>
      </p:sp>
      <p:sp>
        <p:nvSpPr>
          <p:cNvPr id="52" name="Freeform 46"/>
          <p:cNvSpPr>
            <a:spLocks/>
          </p:cNvSpPr>
          <p:nvPr/>
        </p:nvSpPr>
        <p:spPr bwMode="auto">
          <a:xfrm>
            <a:off x="6894867" y="4568355"/>
            <a:ext cx="52968" cy="27324"/>
          </a:xfrm>
          <a:custGeom>
            <a:avLst/>
            <a:gdLst>
              <a:gd name="T0" fmla="*/ 31 w 31"/>
              <a:gd name="T1" fmla="*/ 11 h 14"/>
              <a:gd name="T2" fmla="*/ 29 w 31"/>
              <a:gd name="T3" fmla="*/ 8 h 14"/>
              <a:gd name="T4" fmla="*/ 23 w 31"/>
              <a:gd name="T5" fmla="*/ 4 h 14"/>
              <a:gd name="T6" fmla="*/ 14 w 31"/>
              <a:gd name="T7" fmla="*/ 0 h 14"/>
              <a:gd name="T8" fmla="*/ 0 w 31"/>
              <a:gd name="T9" fmla="*/ 4 h 14"/>
              <a:gd name="T10" fmla="*/ 3 w 31"/>
              <a:gd name="T11" fmla="*/ 6 h 14"/>
              <a:gd name="T12" fmla="*/ 13 w 31"/>
              <a:gd name="T13" fmla="*/ 11 h 14"/>
              <a:gd name="T14" fmla="*/ 23 w 31"/>
              <a:gd name="T15" fmla="*/ 14 h 14"/>
              <a:gd name="T16" fmla="*/ 31 w 31"/>
              <a:gd name="T17" fmla="*/ 11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
              <a:gd name="T28" fmla="*/ 0 h 14"/>
              <a:gd name="T29" fmla="*/ 31 w 31"/>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 h="14">
                <a:moveTo>
                  <a:pt x="31" y="11"/>
                </a:moveTo>
                <a:lnTo>
                  <a:pt x="29" y="8"/>
                </a:lnTo>
                <a:lnTo>
                  <a:pt x="23" y="4"/>
                </a:lnTo>
                <a:lnTo>
                  <a:pt x="14" y="0"/>
                </a:lnTo>
                <a:lnTo>
                  <a:pt x="0" y="4"/>
                </a:lnTo>
                <a:lnTo>
                  <a:pt x="3" y="6"/>
                </a:lnTo>
                <a:lnTo>
                  <a:pt x="13" y="11"/>
                </a:lnTo>
                <a:lnTo>
                  <a:pt x="23" y="14"/>
                </a:lnTo>
                <a:lnTo>
                  <a:pt x="31" y="11"/>
                </a:lnTo>
                <a:close/>
              </a:path>
            </a:pathLst>
          </a:custGeom>
          <a:solidFill>
            <a:schemeClr val="accent3"/>
          </a:solidFill>
          <a:ln w="12700">
            <a:solidFill>
              <a:schemeClr val="bg1"/>
            </a:solidFill>
            <a:round/>
            <a:headEnd/>
            <a:tailEnd/>
          </a:ln>
        </p:spPr>
        <p:txBody>
          <a:bodyPr/>
          <a:lstStyle/>
          <a:p>
            <a:pPr>
              <a:defRPr/>
            </a:pPr>
            <a:endParaRPr lang="nl-NL"/>
          </a:p>
        </p:txBody>
      </p:sp>
      <p:sp>
        <p:nvSpPr>
          <p:cNvPr id="53" name="Freeform 47"/>
          <p:cNvSpPr>
            <a:spLocks/>
          </p:cNvSpPr>
          <p:nvPr/>
        </p:nvSpPr>
        <p:spPr bwMode="auto">
          <a:xfrm>
            <a:off x="6825252" y="4605925"/>
            <a:ext cx="93829" cy="83679"/>
          </a:xfrm>
          <a:custGeom>
            <a:avLst/>
            <a:gdLst>
              <a:gd name="T0" fmla="*/ 53 w 58"/>
              <a:gd name="T1" fmla="*/ 0 h 44"/>
              <a:gd name="T2" fmla="*/ 54 w 58"/>
              <a:gd name="T3" fmla="*/ 2 h 44"/>
              <a:gd name="T4" fmla="*/ 57 w 58"/>
              <a:gd name="T5" fmla="*/ 9 h 44"/>
              <a:gd name="T6" fmla="*/ 58 w 58"/>
              <a:gd name="T7" fmla="*/ 17 h 44"/>
              <a:gd name="T8" fmla="*/ 53 w 58"/>
              <a:gd name="T9" fmla="*/ 24 h 44"/>
              <a:gd name="T10" fmla="*/ 45 w 58"/>
              <a:gd name="T11" fmla="*/ 29 h 44"/>
              <a:gd name="T12" fmla="*/ 39 w 58"/>
              <a:gd name="T13" fmla="*/ 32 h 44"/>
              <a:gd name="T14" fmla="*/ 35 w 58"/>
              <a:gd name="T15" fmla="*/ 34 h 44"/>
              <a:gd name="T16" fmla="*/ 33 w 58"/>
              <a:gd name="T17" fmla="*/ 35 h 44"/>
              <a:gd name="T18" fmla="*/ 31 w 58"/>
              <a:gd name="T19" fmla="*/ 37 h 44"/>
              <a:gd name="T20" fmla="*/ 27 w 58"/>
              <a:gd name="T21" fmla="*/ 40 h 44"/>
              <a:gd name="T22" fmla="*/ 21 w 58"/>
              <a:gd name="T23" fmla="*/ 44 h 44"/>
              <a:gd name="T24" fmla="*/ 14 w 58"/>
              <a:gd name="T25" fmla="*/ 42 h 44"/>
              <a:gd name="T26" fmla="*/ 9 w 58"/>
              <a:gd name="T27" fmla="*/ 40 h 44"/>
              <a:gd name="T28" fmla="*/ 7 w 58"/>
              <a:gd name="T29" fmla="*/ 42 h 44"/>
              <a:gd name="T30" fmla="*/ 7 w 58"/>
              <a:gd name="T31" fmla="*/ 42 h 44"/>
              <a:gd name="T32" fmla="*/ 4 w 58"/>
              <a:gd name="T33" fmla="*/ 35 h 44"/>
              <a:gd name="T34" fmla="*/ 0 w 58"/>
              <a:gd name="T35" fmla="*/ 23 h 44"/>
              <a:gd name="T36" fmla="*/ 0 w 58"/>
              <a:gd name="T37" fmla="*/ 14 h 44"/>
              <a:gd name="T38" fmla="*/ 4 w 58"/>
              <a:gd name="T39" fmla="*/ 9 h 44"/>
              <a:gd name="T40" fmla="*/ 11 w 58"/>
              <a:gd name="T41" fmla="*/ 11 h 44"/>
              <a:gd name="T42" fmla="*/ 15 w 58"/>
              <a:gd name="T43" fmla="*/ 17 h 44"/>
              <a:gd name="T44" fmla="*/ 18 w 58"/>
              <a:gd name="T45" fmla="*/ 23 h 44"/>
              <a:gd name="T46" fmla="*/ 18 w 58"/>
              <a:gd name="T47" fmla="*/ 24 h 44"/>
              <a:gd name="T48" fmla="*/ 21 w 58"/>
              <a:gd name="T49" fmla="*/ 17 h 44"/>
              <a:gd name="T50" fmla="*/ 29 w 58"/>
              <a:gd name="T51" fmla="*/ 7 h 44"/>
              <a:gd name="T52" fmla="*/ 39 w 58"/>
              <a:gd name="T53" fmla="*/ 2 h 44"/>
              <a:gd name="T54" fmla="*/ 49 w 58"/>
              <a:gd name="T55" fmla="*/ 0 h 44"/>
              <a:gd name="T56" fmla="*/ 53 w 58"/>
              <a:gd name="T57" fmla="*/ 0 h 4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8"/>
              <a:gd name="T88" fmla="*/ 0 h 44"/>
              <a:gd name="T89" fmla="*/ 58 w 58"/>
              <a:gd name="T90" fmla="*/ 44 h 4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8" h="44">
                <a:moveTo>
                  <a:pt x="53" y="0"/>
                </a:moveTo>
                <a:lnTo>
                  <a:pt x="54" y="2"/>
                </a:lnTo>
                <a:lnTo>
                  <a:pt x="57" y="9"/>
                </a:lnTo>
                <a:lnTo>
                  <a:pt x="58" y="17"/>
                </a:lnTo>
                <a:lnTo>
                  <a:pt x="53" y="24"/>
                </a:lnTo>
                <a:lnTo>
                  <a:pt x="45" y="29"/>
                </a:lnTo>
                <a:lnTo>
                  <a:pt x="39" y="32"/>
                </a:lnTo>
                <a:lnTo>
                  <a:pt x="35" y="34"/>
                </a:lnTo>
                <a:lnTo>
                  <a:pt x="33" y="35"/>
                </a:lnTo>
                <a:lnTo>
                  <a:pt x="31" y="37"/>
                </a:lnTo>
                <a:lnTo>
                  <a:pt x="27" y="40"/>
                </a:lnTo>
                <a:lnTo>
                  <a:pt x="21" y="44"/>
                </a:lnTo>
                <a:lnTo>
                  <a:pt x="14" y="42"/>
                </a:lnTo>
                <a:lnTo>
                  <a:pt x="9" y="40"/>
                </a:lnTo>
                <a:lnTo>
                  <a:pt x="7" y="42"/>
                </a:lnTo>
                <a:lnTo>
                  <a:pt x="4" y="35"/>
                </a:lnTo>
                <a:lnTo>
                  <a:pt x="0" y="23"/>
                </a:lnTo>
                <a:lnTo>
                  <a:pt x="0" y="14"/>
                </a:lnTo>
                <a:lnTo>
                  <a:pt x="4" y="9"/>
                </a:lnTo>
                <a:lnTo>
                  <a:pt x="11" y="11"/>
                </a:lnTo>
                <a:lnTo>
                  <a:pt x="15" y="17"/>
                </a:lnTo>
                <a:lnTo>
                  <a:pt x="18" y="23"/>
                </a:lnTo>
                <a:lnTo>
                  <a:pt x="18" y="24"/>
                </a:lnTo>
                <a:lnTo>
                  <a:pt x="21" y="17"/>
                </a:lnTo>
                <a:lnTo>
                  <a:pt x="29" y="7"/>
                </a:lnTo>
                <a:lnTo>
                  <a:pt x="39" y="2"/>
                </a:lnTo>
                <a:lnTo>
                  <a:pt x="49" y="0"/>
                </a:lnTo>
                <a:lnTo>
                  <a:pt x="53" y="0"/>
                </a:lnTo>
                <a:close/>
              </a:path>
            </a:pathLst>
          </a:custGeom>
          <a:solidFill>
            <a:schemeClr val="accent3"/>
          </a:solidFill>
          <a:ln w="12700">
            <a:solidFill>
              <a:schemeClr val="bg1"/>
            </a:solidFill>
            <a:round/>
            <a:headEnd/>
            <a:tailEnd/>
          </a:ln>
        </p:spPr>
        <p:txBody>
          <a:bodyPr/>
          <a:lstStyle/>
          <a:p>
            <a:pPr>
              <a:defRPr/>
            </a:pPr>
            <a:endParaRPr lang="nl-NL"/>
          </a:p>
        </p:txBody>
      </p:sp>
      <p:sp>
        <p:nvSpPr>
          <p:cNvPr id="54" name="Freeform 48"/>
          <p:cNvSpPr>
            <a:spLocks/>
          </p:cNvSpPr>
          <p:nvPr/>
        </p:nvSpPr>
        <p:spPr bwMode="auto">
          <a:xfrm>
            <a:off x="7730248" y="3974061"/>
            <a:ext cx="202792" cy="109295"/>
          </a:xfrm>
          <a:custGeom>
            <a:avLst/>
            <a:gdLst>
              <a:gd name="T0" fmla="*/ 76 w 124"/>
              <a:gd name="T1" fmla="*/ 48 h 58"/>
              <a:gd name="T2" fmla="*/ 75 w 124"/>
              <a:gd name="T3" fmla="*/ 49 h 58"/>
              <a:gd name="T4" fmla="*/ 72 w 124"/>
              <a:gd name="T5" fmla="*/ 52 h 58"/>
              <a:gd name="T6" fmla="*/ 66 w 124"/>
              <a:gd name="T7" fmla="*/ 57 h 58"/>
              <a:gd name="T8" fmla="*/ 59 w 124"/>
              <a:gd name="T9" fmla="*/ 58 h 58"/>
              <a:gd name="T10" fmla="*/ 55 w 124"/>
              <a:gd name="T11" fmla="*/ 56 h 58"/>
              <a:gd name="T12" fmla="*/ 52 w 124"/>
              <a:gd name="T13" fmla="*/ 51 h 58"/>
              <a:gd name="T14" fmla="*/ 46 w 124"/>
              <a:gd name="T15" fmla="*/ 47 h 58"/>
              <a:gd name="T16" fmla="*/ 32 w 124"/>
              <a:gd name="T17" fmla="*/ 44 h 58"/>
              <a:gd name="T18" fmla="*/ 15 w 124"/>
              <a:gd name="T19" fmla="*/ 42 h 58"/>
              <a:gd name="T20" fmla="*/ 6 w 124"/>
              <a:gd name="T21" fmla="*/ 38 h 58"/>
              <a:gd name="T22" fmla="*/ 2 w 124"/>
              <a:gd name="T23" fmla="*/ 33 h 58"/>
              <a:gd name="T24" fmla="*/ 0 w 124"/>
              <a:gd name="T25" fmla="*/ 31 h 58"/>
              <a:gd name="T26" fmla="*/ 0 w 124"/>
              <a:gd name="T27" fmla="*/ 29 h 58"/>
              <a:gd name="T28" fmla="*/ 3 w 124"/>
              <a:gd name="T29" fmla="*/ 28 h 58"/>
              <a:gd name="T30" fmla="*/ 7 w 124"/>
              <a:gd name="T31" fmla="*/ 25 h 58"/>
              <a:gd name="T32" fmla="*/ 18 w 124"/>
              <a:gd name="T33" fmla="*/ 20 h 58"/>
              <a:gd name="T34" fmla="*/ 23 w 124"/>
              <a:gd name="T35" fmla="*/ 17 h 58"/>
              <a:gd name="T36" fmla="*/ 28 w 124"/>
              <a:gd name="T37" fmla="*/ 13 h 58"/>
              <a:gd name="T38" fmla="*/ 33 w 124"/>
              <a:gd name="T39" fmla="*/ 9 h 58"/>
              <a:gd name="T40" fmla="*/ 37 w 124"/>
              <a:gd name="T41" fmla="*/ 4 h 58"/>
              <a:gd name="T42" fmla="*/ 42 w 124"/>
              <a:gd name="T43" fmla="*/ 2 h 58"/>
              <a:gd name="T44" fmla="*/ 46 w 124"/>
              <a:gd name="T45" fmla="*/ 0 h 58"/>
              <a:gd name="T46" fmla="*/ 52 w 124"/>
              <a:gd name="T47" fmla="*/ 1 h 58"/>
              <a:gd name="T48" fmla="*/ 59 w 124"/>
              <a:gd name="T49" fmla="*/ 3 h 58"/>
              <a:gd name="T50" fmla="*/ 71 w 124"/>
              <a:gd name="T51" fmla="*/ 10 h 58"/>
              <a:gd name="T52" fmla="*/ 75 w 124"/>
              <a:gd name="T53" fmla="*/ 13 h 58"/>
              <a:gd name="T54" fmla="*/ 80 w 124"/>
              <a:gd name="T55" fmla="*/ 16 h 58"/>
              <a:gd name="T56" fmla="*/ 91 w 124"/>
              <a:gd name="T57" fmla="*/ 17 h 58"/>
              <a:gd name="T58" fmla="*/ 99 w 124"/>
              <a:gd name="T59" fmla="*/ 17 h 58"/>
              <a:gd name="T60" fmla="*/ 106 w 124"/>
              <a:gd name="T61" fmla="*/ 18 h 58"/>
              <a:gd name="T62" fmla="*/ 113 w 124"/>
              <a:gd name="T63" fmla="*/ 19 h 58"/>
              <a:gd name="T64" fmla="*/ 119 w 124"/>
              <a:gd name="T65" fmla="*/ 21 h 58"/>
              <a:gd name="T66" fmla="*/ 123 w 124"/>
              <a:gd name="T67" fmla="*/ 24 h 58"/>
              <a:gd name="T68" fmla="*/ 124 w 124"/>
              <a:gd name="T69" fmla="*/ 27 h 58"/>
              <a:gd name="T70" fmla="*/ 121 w 124"/>
              <a:gd name="T71" fmla="*/ 31 h 58"/>
              <a:gd name="T72" fmla="*/ 116 w 124"/>
              <a:gd name="T73" fmla="*/ 34 h 58"/>
              <a:gd name="T74" fmla="*/ 108 w 124"/>
              <a:gd name="T75" fmla="*/ 38 h 58"/>
              <a:gd name="T76" fmla="*/ 101 w 124"/>
              <a:gd name="T77" fmla="*/ 41 h 58"/>
              <a:gd name="T78" fmla="*/ 94 w 124"/>
              <a:gd name="T79" fmla="*/ 43 h 58"/>
              <a:gd name="T80" fmla="*/ 88 w 124"/>
              <a:gd name="T81" fmla="*/ 44 h 58"/>
              <a:gd name="T82" fmla="*/ 83 w 124"/>
              <a:gd name="T83" fmla="*/ 47 h 58"/>
              <a:gd name="T84" fmla="*/ 80 w 124"/>
              <a:gd name="T85" fmla="*/ 47 h 58"/>
              <a:gd name="T86" fmla="*/ 78 w 124"/>
              <a:gd name="T87" fmla="*/ 48 h 58"/>
              <a:gd name="T88" fmla="*/ 76 w 124"/>
              <a:gd name="T89" fmla="*/ 48 h 5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4"/>
              <a:gd name="T136" fmla="*/ 0 h 58"/>
              <a:gd name="T137" fmla="*/ 124 w 124"/>
              <a:gd name="T138" fmla="*/ 58 h 5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4" h="58">
                <a:moveTo>
                  <a:pt x="76" y="48"/>
                </a:moveTo>
                <a:lnTo>
                  <a:pt x="75" y="49"/>
                </a:lnTo>
                <a:lnTo>
                  <a:pt x="72" y="52"/>
                </a:lnTo>
                <a:lnTo>
                  <a:pt x="66" y="57"/>
                </a:lnTo>
                <a:lnTo>
                  <a:pt x="59" y="58"/>
                </a:lnTo>
                <a:lnTo>
                  <a:pt x="55" y="56"/>
                </a:lnTo>
                <a:lnTo>
                  <a:pt x="52" y="51"/>
                </a:lnTo>
                <a:lnTo>
                  <a:pt x="46" y="47"/>
                </a:lnTo>
                <a:lnTo>
                  <a:pt x="32" y="44"/>
                </a:lnTo>
                <a:lnTo>
                  <a:pt x="15" y="42"/>
                </a:lnTo>
                <a:lnTo>
                  <a:pt x="6" y="38"/>
                </a:lnTo>
                <a:lnTo>
                  <a:pt x="2" y="33"/>
                </a:lnTo>
                <a:lnTo>
                  <a:pt x="0" y="31"/>
                </a:lnTo>
                <a:lnTo>
                  <a:pt x="0" y="29"/>
                </a:lnTo>
                <a:lnTo>
                  <a:pt x="3" y="28"/>
                </a:lnTo>
                <a:lnTo>
                  <a:pt x="7" y="25"/>
                </a:lnTo>
                <a:lnTo>
                  <a:pt x="18" y="20"/>
                </a:lnTo>
                <a:lnTo>
                  <a:pt x="23" y="17"/>
                </a:lnTo>
                <a:lnTo>
                  <a:pt x="28" y="13"/>
                </a:lnTo>
                <a:lnTo>
                  <a:pt x="33" y="9"/>
                </a:lnTo>
                <a:lnTo>
                  <a:pt x="37" y="4"/>
                </a:lnTo>
                <a:lnTo>
                  <a:pt x="42" y="2"/>
                </a:lnTo>
                <a:lnTo>
                  <a:pt x="46" y="0"/>
                </a:lnTo>
                <a:lnTo>
                  <a:pt x="52" y="1"/>
                </a:lnTo>
                <a:lnTo>
                  <a:pt x="59" y="3"/>
                </a:lnTo>
                <a:lnTo>
                  <a:pt x="71" y="10"/>
                </a:lnTo>
                <a:lnTo>
                  <a:pt x="75" y="13"/>
                </a:lnTo>
                <a:lnTo>
                  <a:pt x="80" y="16"/>
                </a:lnTo>
                <a:lnTo>
                  <a:pt x="91" y="17"/>
                </a:lnTo>
                <a:lnTo>
                  <a:pt x="99" y="17"/>
                </a:lnTo>
                <a:lnTo>
                  <a:pt x="106" y="18"/>
                </a:lnTo>
                <a:lnTo>
                  <a:pt x="113" y="19"/>
                </a:lnTo>
                <a:lnTo>
                  <a:pt x="119" y="21"/>
                </a:lnTo>
                <a:lnTo>
                  <a:pt x="123" y="24"/>
                </a:lnTo>
                <a:lnTo>
                  <a:pt x="124" y="27"/>
                </a:lnTo>
                <a:lnTo>
                  <a:pt x="121" y="31"/>
                </a:lnTo>
                <a:lnTo>
                  <a:pt x="116" y="34"/>
                </a:lnTo>
                <a:lnTo>
                  <a:pt x="108" y="38"/>
                </a:lnTo>
                <a:lnTo>
                  <a:pt x="101" y="41"/>
                </a:lnTo>
                <a:lnTo>
                  <a:pt x="94" y="43"/>
                </a:lnTo>
                <a:lnTo>
                  <a:pt x="88" y="44"/>
                </a:lnTo>
                <a:lnTo>
                  <a:pt x="83" y="47"/>
                </a:lnTo>
                <a:lnTo>
                  <a:pt x="80" y="47"/>
                </a:lnTo>
                <a:lnTo>
                  <a:pt x="78" y="48"/>
                </a:lnTo>
                <a:lnTo>
                  <a:pt x="76" y="48"/>
                </a:lnTo>
                <a:close/>
              </a:path>
            </a:pathLst>
          </a:custGeom>
          <a:solidFill>
            <a:schemeClr val="accent3"/>
          </a:solidFill>
          <a:ln w="12700">
            <a:solidFill>
              <a:schemeClr val="bg1"/>
            </a:solidFill>
            <a:round/>
            <a:headEnd/>
            <a:tailEnd/>
          </a:ln>
        </p:spPr>
        <p:txBody>
          <a:bodyPr/>
          <a:lstStyle/>
          <a:p>
            <a:pPr>
              <a:defRPr/>
            </a:pPr>
            <a:endParaRPr lang="nl-NL"/>
          </a:p>
        </p:txBody>
      </p:sp>
      <p:sp>
        <p:nvSpPr>
          <p:cNvPr id="55" name="Freeform 49"/>
          <p:cNvSpPr>
            <a:spLocks/>
          </p:cNvSpPr>
          <p:nvPr/>
        </p:nvSpPr>
        <p:spPr bwMode="auto">
          <a:xfrm>
            <a:off x="7485082" y="4052618"/>
            <a:ext cx="155877" cy="122957"/>
          </a:xfrm>
          <a:custGeom>
            <a:avLst/>
            <a:gdLst>
              <a:gd name="T0" fmla="*/ 91 w 93"/>
              <a:gd name="T1" fmla="*/ 6 h 66"/>
              <a:gd name="T2" fmla="*/ 92 w 93"/>
              <a:gd name="T3" fmla="*/ 8 h 66"/>
              <a:gd name="T4" fmla="*/ 93 w 93"/>
              <a:gd name="T5" fmla="*/ 15 h 66"/>
              <a:gd name="T6" fmla="*/ 91 w 93"/>
              <a:gd name="T7" fmla="*/ 23 h 66"/>
              <a:gd name="T8" fmla="*/ 84 w 93"/>
              <a:gd name="T9" fmla="*/ 30 h 66"/>
              <a:gd name="T10" fmla="*/ 79 w 93"/>
              <a:gd name="T11" fmla="*/ 32 h 66"/>
              <a:gd name="T12" fmla="*/ 75 w 93"/>
              <a:gd name="T13" fmla="*/ 35 h 66"/>
              <a:gd name="T14" fmla="*/ 70 w 93"/>
              <a:gd name="T15" fmla="*/ 36 h 66"/>
              <a:gd name="T16" fmla="*/ 66 w 93"/>
              <a:gd name="T17" fmla="*/ 37 h 66"/>
              <a:gd name="T18" fmla="*/ 61 w 93"/>
              <a:gd name="T19" fmla="*/ 38 h 66"/>
              <a:gd name="T20" fmla="*/ 58 w 93"/>
              <a:gd name="T21" fmla="*/ 39 h 66"/>
              <a:gd name="T22" fmla="*/ 53 w 93"/>
              <a:gd name="T23" fmla="*/ 42 h 66"/>
              <a:gd name="T24" fmla="*/ 49 w 93"/>
              <a:gd name="T25" fmla="*/ 44 h 66"/>
              <a:gd name="T26" fmla="*/ 41 w 93"/>
              <a:gd name="T27" fmla="*/ 50 h 66"/>
              <a:gd name="T28" fmla="*/ 33 w 93"/>
              <a:gd name="T29" fmla="*/ 58 h 66"/>
              <a:gd name="T30" fmla="*/ 26 w 93"/>
              <a:gd name="T31" fmla="*/ 63 h 66"/>
              <a:gd name="T32" fmla="*/ 24 w 93"/>
              <a:gd name="T33" fmla="*/ 66 h 66"/>
              <a:gd name="T34" fmla="*/ 0 w 93"/>
              <a:gd name="T35" fmla="*/ 59 h 66"/>
              <a:gd name="T36" fmla="*/ 1 w 93"/>
              <a:gd name="T37" fmla="*/ 57 h 66"/>
              <a:gd name="T38" fmla="*/ 6 w 93"/>
              <a:gd name="T39" fmla="*/ 50 h 66"/>
              <a:gd name="T40" fmla="*/ 10 w 93"/>
              <a:gd name="T41" fmla="*/ 42 h 66"/>
              <a:gd name="T42" fmla="*/ 14 w 93"/>
              <a:gd name="T43" fmla="*/ 34 h 66"/>
              <a:gd name="T44" fmla="*/ 18 w 93"/>
              <a:gd name="T45" fmla="*/ 27 h 66"/>
              <a:gd name="T46" fmla="*/ 25 w 93"/>
              <a:gd name="T47" fmla="*/ 23 h 66"/>
              <a:gd name="T48" fmla="*/ 34 w 93"/>
              <a:gd name="T49" fmla="*/ 21 h 66"/>
              <a:gd name="T50" fmla="*/ 43 w 93"/>
              <a:gd name="T51" fmla="*/ 20 h 66"/>
              <a:gd name="T52" fmla="*/ 47 w 93"/>
              <a:gd name="T53" fmla="*/ 20 h 66"/>
              <a:gd name="T54" fmla="*/ 53 w 93"/>
              <a:gd name="T55" fmla="*/ 21 h 66"/>
              <a:gd name="T56" fmla="*/ 59 w 93"/>
              <a:gd name="T57" fmla="*/ 22 h 66"/>
              <a:gd name="T58" fmla="*/ 66 w 93"/>
              <a:gd name="T59" fmla="*/ 22 h 66"/>
              <a:gd name="T60" fmla="*/ 70 w 93"/>
              <a:gd name="T61" fmla="*/ 22 h 66"/>
              <a:gd name="T62" fmla="*/ 75 w 93"/>
              <a:gd name="T63" fmla="*/ 20 h 66"/>
              <a:gd name="T64" fmla="*/ 77 w 93"/>
              <a:gd name="T65" fmla="*/ 16 h 66"/>
              <a:gd name="T66" fmla="*/ 77 w 93"/>
              <a:gd name="T67" fmla="*/ 9 h 66"/>
              <a:gd name="T68" fmla="*/ 78 w 93"/>
              <a:gd name="T69" fmla="*/ 0 h 66"/>
              <a:gd name="T70" fmla="*/ 83 w 93"/>
              <a:gd name="T71" fmla="*/ 0 h 66"/>
              <a:gd name="T72" fmla="*/ 89 w 93"/>
              <a:gd name="T73" fmla="*/ 4 h 66"/>
              <a:gd name="T74" fmla="*/ 91 w 93"/>
              <a:gd name="T75" fmla="*/ 6 h 6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3"/>
              <a:gd name="T115" fmla="*/ 0 h 66"/>
              <a:gd name="T116" fmla="*/ 93 w 93"/>
              <a:gd name="T117" fmla="*/ 66 h 6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3" h="66">
                <a:moveTo>
                  <a:pt x="91" y="6"/>
                </a:moveTo>
                <a:lnTo>
                  <a:pt x="92" y="8"/>
                </a:lnTo>
                <a:lnTo>
                  <a:pt x="93" y="15"/>
                </a:lnTo>
                <a:lnTo>
                  <a:pt x="91" y="23"/>
                </a:lnTo>
                <a:lnTo>
                  <a:pt x="84" y="30"/>
                </a:lnTo>
                <a:lnTo>
                  <a:pt x="79" y="32"/>
                </a:lnTo>
                <a:lnTo>
                  <a:pt x="75" y="35"/>
                </a:lnTo>
                <a:lnTo>
                  <a:pt x="70" y="36"/>
                </a:lnTo>
                <a:lnTo>
                  <a:pt x="66" y="37"/>
                </a:lnTo>
                <a:lnTo>
                  <a:pt x="61" y="38"/>
                </a:lnTo>
                <a:lnTo>
                  <a:pt x="58" y="39"/>
                </a:lnTo>
                <a:lnTo>
                  <a:pt x="53" y="42"/>
                </a:lnTo>
                <a:lnTo>
                  <a:pt x="49" y="44"/>
                </a:lnTo>
                <a:lnTo>
                  <a:pt x="41" y="50"/>
                </a:lnTo>
                <a:lnTo>
                  <a:pt x="33" y="58"/>
                </a:lnTo>
                <a:lnTo>
                  <a:pt x="26" y="63"/>
                </a:lnTo>
                <a:lnTo>
                  <a:pt x="24" y="66"/>
                </a:lnTo>
                <a:lnTo>
                  <a:pt x="0" y="59"/>
                </a:lnTo>
                <a:lnTo>
                  <a:pt x="1" y="57"/>
                </a:lnTo>
                <a:lnTo>
                  <a:pt x="6" y="50"/>
                </a:lnTo>
                <a:lnTo>
                  <a:pt x="10" y="42"/>
                </a:lnTo>
                <a:lnTo>
                  <a:pt x="14" y="34"/>
                </a:lnTo>
                <a:lnTo>
                  <a:pt x="18" y="27"/>
                </a:lnTo>
                <a:lnTo>
                  <a:pt x="25" y="23"/>
                </a:lnTo>
                <a:lnTo>
                  <a:pt x="34" y="21"/>
                </a:lnTo>
                <a:lnTo>
                  <a:pt x="43" y="20"/>
                </a:lnTo>
                <a:lnTo>
                  <a:pt x="47" y="20"/>
                </a:lnTo>
                <a:lnTo>
                  <a:pt x="53" y="21"/>
                </a:lnTo>
                <a:lnTo>
                  <a:pt x="59" y="22"/>
                </a:lnTo>
                <a:lnTo>
                  <a:pt x="66" y="22"/>
                </a:lnTo>
                <a:lnTo>
                  <a:pt x="70" y="22"/>
                </a:lnTo>
                <a:lnTo>
                  <a:pt x="75" y="20"/>
                </a:lnTo>
                <a:lnTo>
                  <a:pt x="77" y="16"/>
                </a:lnTo>
                <a:lnTo>
                  <a:pt x="77" y="9"/>
                </a:lnTo>
                <a:lnTo>
                  <a:pt x="78" y="0"/>
                </a:lnTo>
                <a:lnTo>
                  <a:pt x="83" y="0"/>
                </a:lnTo>
                <a:lnTo>
                  <a:pt x="89" y="4"/>
                </a:lnTo>
                <a:lnTo>
                  <a:pt x="91" y="6"/>
                </a:lnTo>
                <a:close/>
              </a:path>
            </a:pathLst>
          </a:custGeom>
          <a:solidFill>
            <a:schemeClr val="accent3"/>
          </a:solidFill>
          <a:ln w="12700">
            <a:solidFill>
              <a:schemeClr val="bg1"/>
            </a:solidFill>
            <a:round/>
            <a:headEnd/>
            <a:tailEnd/>
          </a:ln>
        </p:spPr>
        <p:txBody>
          <a:bodyPr/>
          <a:lstStyle/>
          <a:p>
            <a:pPr>
              <a:defRPr/>
            </a:pPr>
            <a:endParaRPr lang="nl-NL"/>
          </a:p>
        </p:txBody>
      </p:sp>
      <p:sp>
        <p:nvSpPr>
          <p:cNvPr id="56" name="Freeform 50"/>
          <p:cNvSpPr>
            <a:spLocks/>
          </p:cNvSpPr>
          <p:nvPr/>
        </p:nvSpPr>
        <p:spPr bwMode="auto">
          <a:xfrm>
            <a:off x="7418494" y="3543711"/>
            <a:ext cx="136203" cy="244207"/>
          </a:xfrm>
          <a:custGeom>
            <a:avLst/>
            <a:gdLst>
              <a:gd name="T0" fmla="*/ 79 w 81"/>
              <a:gd name="T1" fmla="*/ 63 h 130"/>
              <a:gd name="T2" fmla="*/ 80 w 81"/>
              <a:gd name="T3" fmla="*/ 68 h 130"/>
              <a:gd name="T4" fmla="*/ 81 w 81"/>
              <a:gd name="T5" fmla="*/ 78 h 130"/>
              <a:gd name="T6" fmla="*/ 80 w 81"/>
              <a:gd name="T7" fmla="*/ 90 h 130"/>
              <a:gd name="T8" fmla="*/ 76 w 81"/>
              <a:gd name="T9" fmla="*/ 100 h 130"/>
              <a:gd name="T10" fmla="*/ 70 w 81"/>
              <a:gd name="T11" fmla="*/ 108 h 130"/>
              <a:gd name="T12" fmla="*/ 65 w 81"/>
              <a:gd name="T13" fmla="*/ 115 h 130"/>
              <a:gd name="T14" fmla="*/ 62 w 81"/>
              <a:gd name="T15" fmla="*/ 121 h 130"/>
              <a:gd name="T16" fmla="*/ 54 w 81"/>
              <a:gd name="T17" fmla="*/ 125 h 130"/>
              <a:gd name="T18" fmla="*/ 45 w 81"/>
              <a:gd name="T19" fmla="*/ 128 h 130"/>
              <a:gd name="T20" fmla="*/ 36 w 81"/>
              <a:gd name="T21" fmla="*/ 130 h 130"/>
              <a:gd name="T22" fmla="*/ 30 w 81"/>
              <a:gd name="T23" fmla="*/ 130 h 130"/>
              <a:gd name="T24" fmla="*/ 23 w 81"/>
              <a:gd name="T25" fmla="*/ 125 h 130"/>
              <a:gd name="T26" fmla="*/ 17 w 81"/>
              <a:gd name="T27" fmla="*/ 115 h 130"/>
              <a:gd name="T28" fmla="*/ 15 w 81"/>
              <a:gd name="T29" fmla="*/ 105 h 130"/>
              <a:gd name="T30" fmla="*/ 17 w 81"/>
              <a:gd name="T31" fmla="*/ 97 h 130"/>
              <a:gd name="T32" fmla="*/ 23 w 81"/>
              <a:gd name="T33" fmla="*/ 93 h 130"/>
              <a:gd name="T34" fmla="*/ 30 w 81"/>
              <a:gd name="T35" fmla="*/ 93 h 130"/>
              <a:gd name="T36" fmla="*/ 33 w 81"/>
              <a:gd name="T37" fmla="*/ 93 h 130"/>
              <a:gd name="T38" fmla="*/ 35 w 81"/>
              <a:gd name="T39" fmla="*/ 90 h 130"/>
              <a:gd name="T40" fmla="*/ 36 w 81"/>
              <a:gd name="T41" fmla="*/ 81 h 130"/>
              <a:gd name="T42" fmla="*/ 35 w 81"/>
              <a:gd name="T43" fmla="*/ 69 h 130"/>
              <a:gd name="T44" fmla="*/ 33 w 81"/>
              <a:gd name="T45" fmla="*/ 60 h 130"/>
              <a:gd name="T46" fmla="*/ 31 w 81"/>
              <a:gd name="T47" fmla="*/ 55 h 130"/>
              <a:gd name="T48" fmla="*/ 30 w 81"/>
              <a:gd name="T49" fmla="*/ 53 h 130"/>
              <a:gd name="T50" fmla="*/ 30 w 81"/>
              <a:gd name="T51" fmla="*/ 52 h 130"/>
              <a:gd name="T52" fmla="*/ 30 w 81"/>
              <a:gd name="T53" fmla="*/ 49 h 130"/>
              <a:gd name="T54" fmla="*/ 28 w 81"/>
              <a:gd name="T55" fmla="*/ 44 h 130"/>
              <a:gd name="T56" fmla="*/ 23 w 81"/>
              <a:gd name="T57" fmla="*/ 39 h 130"/>
              <a:gd name="T58" fmla="*/ 18 w 81"/>
              <a:gd name="T59" fmla="*/ 36 h 130"/>
              <a:gd name="T60" fmla="*/ 12 w 81"/>
              <a:gd name="T61" fmla="*/ 32 h 130"/>
              <a:gd name="T62" fmla="*/ 8 w 81"/>
              <a:gd name="T63" fmla="*/ 27 h 130"/>
              <a:gd name="T64" fmla="*/ 3 w 81"/>
              <a:gd name="T65" fmla="*/ 22 h 130"/>
              <a:gd name="T66" fmla="*/ 0 w 81"/>
              <a:gd name="T67" fmla="*/ 17 h 130"/>
              <a:gd name="T68" fmla="*/ 0 w 81"/>
              <a:gd name="T69" fmla="*/ 13 h 130"/>
              <a:gd name="T70" fmla="*/ 2 w 81"/>
              <a:gd name="T71" fmla="*/ 9 h 130"/>
              <a:gd name="T72" fmla="*/ 9 w 81"/>
              <a:gd name="T73" fmla="*/ 7 h 130"/>
              <a:gd name="T74" fmla="*/ 18 w 81"/>
              <a:gd name="T75" fmla="*/ 6 h 130"/>
              <a:gd name="T76" fmla="*/ 27 w 81"/>
              <a:gd name="T77" fmla="*/ 4 h 130"/>
              <a:gd name="T78" fmla="*/ 35 w 81"/>
              <a:gd name="T79" fmla="*/ 2 h 130"/>
              <a:gd name="T80" fmla="*/ 43 w 81"/>
              <a:gd name="T81" fmla="*/ 0 h 130"/>
              <a:gd name="T82" fmla="*/ 50 w 81"/>
              <a:gd name="T83" fmla="*/ 0 h 130"/>
              <a:gd name="T84" fmla="*/ 57 w 81"/>
              <a:gd name="T85" fmla="*/ 1 h 130"/>
              <a:gd name="T86" fmla="*/ 63 w 81"/>
              <a:gd name="T87" fmla="*/ 2 h 130"/>
              <a:gd name="T88" fmla="*/ 68 w 81"/>
              <a:gd name="T89" fmla="*/ 7 h 130"/>
              <a:gd name="T90" fmla="*/ 73 w 81"/>
              <a:gd name="T91" fmla="*/ 16 h 130"/>
              <a:gd name="T92" fmla="*/ 76 w 81"/>
              <a:gd name="T93" fmla="*/ 24 h 130"/>
              <a:gd name="T94" fmla="*/ 74 w 81"/>
              <a:gd name="T95" fmla="*/ 31 h 130"/>
              <a:gd name="T96" fmla="*/ 72 w 81"/>
              <a:gd name="T97" fmla="*/ 39 h 130"/>
              <a:gd name="T98" fmla="*/ 71 w 81"/>
              <a:gd name="T99" fmla="*/ 47 h 130"/>
              <a:gd name="T100" fmla="*/ 74 w 81"/>
              <a:gd name="T101" fmla="*/ 55 h 130"/>
              <a:gd name="T102" fmla="*/ 78 w 81"/>
              <a:gd name="T103" fmla="*/ 61 h 130"/>
              <a:gd name="T104" fmla="*/ 79 w 81"/>
              <a:gd name="T105" fmla="*/ 63 h 1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1"/>
              <a:gd name="T160" fmla="*/ 0 h 130"/>
              <a:gd name="T161" fmla="*/ 81 w 81"/>
              <a:gd name="T162" fmla="*/ 130 h 1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1" h="130">
                <a:moveTo>
                  <a:pt x="79" y="63"/>
                </a:moveTo>
                <a:lnTo>
                  <a:pt x="80" y="68"/>
                </a:lnTo>
                <a:lnTo>
                  <a:pt x="81" y="78"/>
                </a:lnTo>
                <a:lnTo>
                  <a:pt x="80" y="90"/>
                </a:lnTo>
                <a:lnTo>
                  <a:pt x="76" y="100"/>
                </a:lnTo>
                <a:lnTo>
                  <a:pt x="70" y="108"/>
                </a:lnTo>
                <a:lnTo>
                  <a:pt x="65" y="115"/>
                </a:lnTo>
                <a:lnTo>
                  <a:pt x="62" y="121"/>
                </a:lnTo>
                <a:lnTo>
                  <a:pt x="54" y="125"/>
                </a:lnTo>
                <a:lnTo>
                  <a:pt x="45" y="128"/>
                </a:lnTo>
                <a:lnTo>
                  <a:pt x="36" y="130"/>
                </a:lnTo>
                <a:lnTo>
                  <a:pt x="30" y="130"/>
                </a:lnTo>
                <a:lnTo>
                  <a:pt x="23" y="125"/>
                </a:lnTo>
                <a:lnTo>
                  <a:pt x="17" y="115"/>
                </a:lnTo>
                <a:lnTo>
                  <a:pt x="15" y="105"/>
                </a:lnTo>
                <a:lnTo>
                  <a:pt x="17" y="97"/>
                </a:lnTo>
                <a:lnTo>
                  <a:pt x="23" y="93"/>
                </a:lnTo>
                <a:lnTo>
                  <a:pt x="30" y="93"/>
                </a:lnTo>
                <a:lnTo>
                  <a:pt x="33" y="93"/>
                </a:lnTo>
                <a:lnTo>
                  <a:pt x="35" y="90"/>
                </a:lnTo>
                <a:lnTo>
                  <a:pt x="36" y="81"/>
                </a:lnTo>
                <a:lnTo>
                  <a:pt x="35" y="69"/>
                </a:lnTo>
                <a:lnTo>
                  <a:pt x="33" y="60"/>
                </a:lnTo>
                <a:lnTo>
                  <a:pt x="31" y="55"/>
                </a:lnTo>
                <a:lnTo>
                  <a:pt x="30" y="53"/>
                </a:lnTo>
                <a:lnTo>
                  <a:pt x="30" y="52"/>
                </a:lnTo>
                <a:lnTo>
                  <a:pt x="30" y="49"/>
                </a:lnTo>
                <a:lnTo>
                  <a:pt x="28" y="44"/>
                </a:lnTo>
                <a:lnTo>
                  <a:pt x="23" y="39"/>
                </a:lnTo>
                <a:lnTo>
                  <a:pt x="18" y="36"/>
                </a:lnTo>
                <a:lnTo>
                  <a:pt x="12" y="32"/>
                </a:lnTo>
                <a:lnTo>
                  <a:pt x="8" y="27"/>
                </a:lnTo>
                <a:lnTo>
                  <a:pt x="3" y="22"/>
                </a:lnTo>
                <a:lnTo>
                  <a:pt x="0" y="17"/>
                </a:lnTo>
                <a:lnTo>
                  <a:pt x="0" y="13"/>
                </a:lnTo>
                <a:lnTo>
                  <a:pt x="2" y="9"/>
                </a:lnTo>
                <a:lnTo>
                  <a:pt x="9" y="7"/>
                </a:lnTo>
                <a:lnTo>
                  <a:pt x="18" y="6"/>
                </a:lnTo>
                <a:lnTo>
                  <a:pt x="27" y="4"/>
                </a:lnTo>
                <a:lnTo>
                  <a:pt x="35" y="2"/>
                </a:lnTo>
                <a:lnTo>
                  <a:pt x="43" y="0"/>
                </a:lnTo>
                <a:lnTo>
                  <a:pt x="50" y="0"/>
                </a:lnTo>
                <a:lnTo>
                  <a:pt x="57" y="1"/>
                </a:lnTo>
                <a:lnTo>
                  <a:pt x="63" y="2"/>
                </a:lnTo>
                <a:lnTo>
                  <a:pt x="68" y="7"/>
                </a:lnTo>
                <a:lnTo>
                  <a:pt x="73" y="16"/>
                </a:lnTo>
                <a:lnTo>
                  <a:pt x="76" y="24"/>
                </a:lnTo>
                <a:lnTo>
                  <a:pt x="74" y="31"/>
                </a:lnTo>
                <a:lnTo>
                  <a:pt x="72" y="39"/>
                </a:lnTo>
                <a:lnTo>
                  <a:pt x="71" y="47"/>
                </a:lnTo>
                <a:lnTo>
                  <a:pt x="74" y="55"/>
                </a:lnTo>
                <a:lnTo>
                  <a:pt x="78" y="61"/>
                </a:lnTo>
                <a:lnTo>
                  <a:pt x="79" y="63"/>
                </a:lnTo>
                <a:close/>
              </a:path>
            </a:pathLst>
          </a:custGeom>
          <a:solidFill>
            <a:schemeClr val="accent3"/>
          </a:solidFill>
          <a:ln w="12700">
            <a:solidFill>
              <a:schemeClr val="bg1"/>
            </a:solidFill>
            <a:round/>
            <a:headEnd/>
            <a:tailEnd/>
          </a:ln>
        </p:spPr>
        <p:txBody>
          <a:bodyPr/>
          <a:lstStyle/>
          <a:p>
            <a:pPr>
              <a:defRPr/>
            </a:pPr>
            <a:endParaRPr lang="nl-NL"/>
          </a:p>
        </p:txBody>
      </p:sp>
      <p:sp>
        <p:nvSpPr>
          <p:cNvPr id="57" name="Freeform 51"/>
          <p:cNvSpPr>
            <a:spLocks/>
          </p:cNvSpPr>
          <p:nvPr/>
        </p:nvSpPr>
        <p:spPr bwMode="auto">
          <a:xfrm>
            <a:off x="7220242" y="4175575"/>
            <a:ext cx="59021" cy="64894"/>
          </a:xfrm>
          <a:custGeom>
            <a:avLst/>
            <a:gdLst>
              <a:gd name="T0" fmla="*/ 27 w 37"/>
              <a:gd name="T1" fmla="*/ 0 h 34"/>
              <a:gd name="T2" fmla="*/ 30 w 37"/>
              <a:gd name="T3" fmla="*/ 4 h 34"/>
              <a:gd name="T4" fmla="*/ 34 w 37"/>
              <a:gd name="T5" fmla="*/ 14 h 34"/>
              <a:gd name="T6" fmla="*/ 37 w 37"/>
              <a:gd name="T7" fmla="*/ 25 h 34"/>
              <a:gd name="T8" fmla="*/ 31 w 37"/>
              <a:gd name="T9" fmla="*/ 31 h 34"/>
              <a:gd name="T10" fmla="*/ 23 w 37"/>
              <a:gd name="T11" fmla="*/ 33 h 34"/>
              <a:gd name="T12" fmla="*/ 19 w 37"/>
              <a:gd name="T13" fmla="*/ 34 h 34"/>
              <a:gd name="T14" fmla="*/ 17 w 37"/>
              <a:gd name="T15" fmla="*/ 34 h 34"/>
              <a:gd name="T16" fmla="*/ 17 w 37"/>
              <a:gd name="T17" fmla="*/ 34 h 34"/>
              <a:gd name="T18" fmla="*/ 0 w 37"/>
              <a:gd name="T19" fmla="*/ 17 h 34"/>
              <a:gd name="T20" fmla="*/ 14 w 37"/>
              <a:gd name="T21" fmla="*/ 10 h 34"/>
              <a:gd name="T22" fmla="*/ 27 w 37"/>
              <a:gd name="T23" fmla="*/ 0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34"/>
              <a:gd name="T38" fmla="*/ 37 w 37"/>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34">
                <a:moveTo>
                  <a:pt x="27" y="0"/>
                </a:moveTo>
                <a:lnTo>
                  <a:pt x="30" y="4"/>
                </a:lnTo>
                <a:lnTo>
                  <a:pt x="34" y="14"/>
                </a:lnTo>
                <a:lnTo>
                  <a:pt x="37" y="25"/>
                </a:lnTo>
                <a:lnTo>
                  <a:pt x="31" y="31"/>
                </a:lnTo>
                <a:lnTo>
                  <a:pt x="23" y="33"/>
                </a:lnTo>
                <a:lnTo>
                  <a:pt x="19" y="34"/>
                </a:lnTo>
                <a:lnTo>
                  <a:pt x="17" y="34"/>
                </a:lnTo>
                <a:lnTo>
                  <a:pt x="0" y="17"/>
                </a:lnTo>
                <a:lnTo>
                  <a:pt x="14" y="10"/>
                </a:lnTo>
                <a:lnTo>
                  <a:pt x="27" y="0"/>
                </a:lnTo>
                <a:close/>
              </a:path>
            </a:pathLst>
          </a:custGeom>
          <a:solidFill>
            <a:schemeClr val="accent3"/>
          </a:solidFill>
          <a:ln w="12700">
            <a:solidFill>
              <a:schemeClr val="bg1"/>
            </a:solidFill>
            <a:round/>
            <a:headEnd/>
            <a:tailEnd/>
          </a:ln>
        </p:spPr>
        <p:txBody>
          <a:bodyPr/>
          <a:lstStyle/>
          <a:p>
            <a:pPr>
              <a:defRPr/>
            </a:pPr>
            <a:endParaRPr lang="nl-NL"/>
          </a:p>
        </p:txBody>
      </p:sp>
      <p:sp>
        <p:nvSpPr>
          <p:cNvPr id="58" name="Freeform 52"/>
          <p:cNvSpPr>
            <a:spLocks/>
          </p:cNvSpPr>
          <p:nvPr/>
        </p:nvSpPr>
        <p:spPr bwMode="auto">
          <a:xfrm>
            <a:off x="7170301" y="4221684"/>
            <a:ext cx="30267" cy="37570"/>
          </a:xfrm>
          <a:custGeom>
            <a:avLst/>
            <a:gdLst>
              <a:gd name="T0" fmla="*/ 11 w 17"/>
              <a:gd name="T1" fmla="*/ 1 h 20"/>
              <a:gd name="T2" fmla="*/ 14 w 17"/>
              <a:gd name="T3" fmla="*/ 6 h 20"/>
              <a:gd name="T4" fmla="*/ 16 w 17"/>
              <a:gd name="T5" fmla="*/ 11 h 20"/>
              <a:gd name="T6" fmla="*/ 17 w 17"/>
              <a:gd name="T7" fmla="*/ 17 h 20"/>
              <a:gd name="T8" fmla="*/ 14 w 17"/>
              <a:gd name="T9" fmla="*/ 20 h 20"/>
              <a:gd name="T10" fmla="*/ 8 w 17"/>
              <a:gd name="T11" fmla="*/ 20 h 20"/>
              <a:gd name="T12" fmla="*/ 3 w 17"/>
              <a:gd name="T13" fmla="*/ 16 h 20"/>
              <a:gd name="T14" fmla="*/ 1 w 17"/>
              <a:gd name="T15" fmla="*/ 13 h 20"/>
              <a:gd name="T16" fmla="*/ 0 w 17"/>
              <a:gd name="T17" fmla="*/ 7 h 20"/>
              <a:gd name="T18" fmla="*/ 2 w 17"/>
              <a:gd name="T19" fmla="*/ 2 h 20"/>
              <a:gd name="T20" fmla="*/ 6 w 17"/>
              <a:gd name="T21" fmla="*/ 0 h 20"/>
              <a:gd name="T22" fmla="*/ 9 w 17"/>
              <a:gd name="T23" fmla="*/ 0 h 20"/>
              <a:gd name="T24" fmla="*/ 11 w 17"/>
              <a:gd name="T25" fmla="*/ 1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20"/>
              <a:gd name="T41" fmla="*/ 17 w 17"/>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20">
                <a:moveTo>
                  <a:pt x="11" y="1"/>
                </a:moveTo>
                <a:lnTo>
                  <a:pt x="14" y="6"/>
                </a:lnTo>
                <a:lnTo>
                  <a:pt x="16" y="11"/>
                </a:lnTo>
                <a:lnTo>
                  <a:pt x="17" y="17"/>
                </a:lnTo>
                <a:lnTo>
                  <a:pt x="14" y="20"/>
                </a:lnTo>
                <a:lnTo>
                  <a:pt x="8" y="20"/>
                </a:lnTo>
                <a:lnTo>
                  <a:pt x="3" y="16"/>
                </a:lnTo>
                <a:lnTo>
                  <a:pt x="1" y="13"/>
                </a:lnTo>
                <a:lnTo>
                  <a:pt x="0" y="7"/>
                </a:lnTo>
                <a:lnTo>
                  <a:pt x="2" y="2"/>
                </a:lnTo>
                <a:lnTo>
                  <a:pt x="6" y="0"/>
                </a:lnTo>
                <a:lnTo>
                  <a:pt x="9" y="0"/>
                </a:lnTo>
                <a:lnTo>
                  <a:pt x="11" y="1"/>
                </a:lnTo>
                <a:close/>
              </a:path>
            </a:pathLst>
          </a:custGeom>
          <a:solidFill>
            <a:schemeClr val="accent3"/>
          </a:solidFill>
          <a:ln w="12700">
            <a:solidFill>
              <a:schemeClr val="bg1"/>
            </a:solidFill>
            <a:round/>
            <a:headEnd/>
            <a:tailEnd/>
          </a:ln>
        </p:spPr>
        <p:txBody>
          <a:bodyPr/>
          <a:lstStyle/>
          <a:p>
            <a:pPr>
              <a:defRPr/>
            </a:pPr>
            <a:endParaRPr lang="nl-NL"/>
          </a:p>
        </p:txBody>
      </p:sp>
      <p:sp>
        <p:nvSpPr>
          <p:cNvPr id="59" name="Freeform 53"/>
          <p:cNvSpPr>
            <a:spLocks/>
          </p:cNvSpPr>
          <p:nvPr/>
        </p:nvSpPr>
        <p:spPr bwMode="auto">
          <a:xfrm>
            <a:off x="7044691" y="4202899"/>
            <a:ext cx="33294" cy="66602"/>
          </a:xfrm>
          <a:custGeom>
            <a:avLst/>
            <a:gdLst>
              <a:gd name="T0" fmla="*/ 15 w 21"/>
              <a:gd name="T1" fmla="*/ 0 h 36"/>
              <a:gd name="T2" fmla="*/ 16 w 21"/>
              <a:gd name="T3" fmla="*/ 2 h 36"/>
              <a:gd name="T4" fmla="*/ 19 w 21"/>
              <a:gd name="T5" fmla="*/ 8 h 36"/>
              <a:gd name="T6" fmla="*/ 21 w 21"/>
              <a:gd name="T7" fmla="*/ 17 h 36"/>
              <a:gd name="T8" fmla="*/ 18 w 21"/>
              <a:gd name="T9" fmla="*/ 27 h 36"/>
              <a:gd name="T10" fmla="*/ 14 w 21"/>
              <a:gd name="T11" fmla="*/ 34 h 36"/>
              <a:gd name="T12" fmla="*/ 8 w 21"/>
              <a:gd name="T13" fmla="*/ 36 h 36"/>
              <a:gd name="T14" fmla="*/ 4 w 21"/>
              <a:gd name="T15" fmla="*/ 33 h 36"/>
              <a:gd name="T16" fmla="*/ 1 w 21"/>
              <a:gd name="T17" fmla="*/ 27 h 36"/>
              <a:gd name="T18" fmla="*/ 0 w 21"/>
              <a:gd name="T19" fmla="*/ 18 h 36"/>
              <a:gd name="T20" fmla="*/ 2 w 21"/>
              <a:gd name="T21" fmla="*/ 7 h 36"/>
              <a:gd name="T22" fmla="*/ 8 w 21"/>
              <a:gd name="T23" fmla="*/ 0 h 36"/>
              <a:gd name="T24" fmla="*/ 15 w 21"/>
              <a:gd name="T25" fmla="*/ 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36"/>
              <a:gd name="T41" fmla="*/ 21 w 21"/>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36">
                <a:moveTo>
                  <a:pt x="15" y="0"/>
                </a:moveTo>
                <a:lnTo>
                  <a:pt x="16" y="2"/>
                </a:lnTo>
                <a:lnTo>
                  <a:pt x="19" y="8"/>
                </a:lnTo>
                <a:lnTo>
                  <a:pt x="21" y="17"/>
                </a:lnTo>
                <a:lnTo>
                  <a:pt x="18" y="27"/>
                </a:lnTo>
                <a:lnTo>
                  <a:pt x="14" y="34"/>
                </a:lnTo>
                <a:lnTo>
                  <a:pt x="8" y="36"/>
                </a:lnTo>
                <a:lnTo>
                  <a:pt x="4" y="33"/>
                </a:lnTo>
                <a:lnTo>
                  <a:pt x="1" y="27"/>
                </a:lnTo>
                <a:lnTo>
                  <a:pt x="0" y="18"/>
                </a:lnTo>
                <a:lnTo>
                  <a:pt x="2" y="7"/>
                </a:lnTo>
                <a:lnTo>
                  <a:pt x="8" y="0"/>
                </a:lnTo>
                <a:lnTo>
                  <a:pt x="15" y="0"/>
                </a:lnTo>
                <a:close/>
              </a:path>
            </a:pathLst>
          </a:custGeom>
          <a:solidFill>
            <a:schemeClr val="accent3"/>
          </a:solidFill>
          <a:ln w="12700">
            <a:solidFill>
              <a:schemeClr val="bg1"/>
            </a:solidFill>
            <a:round/>
            <a:headEnd/>
            <a:tailEnd/>
          </a:ln>
        </p:spPr>
        <p:txBody>
          <a:bodyPr/>
          <a:lstStyle/>
          <a:p>
            <a:pPr>
              <a:defRPr/>
            </a:pPr>
            <a:endParaRPr lang="nl-NL"/>
          </a:p>
        </p:txBody>
      </p:sp>
      <p:sp>
        <p:nvSpPr>
          <p:cNvPr id="60" name="Freeform 54"/>
          <p:cNvSpPr>
            <a:spLocks/>
          </p:cNvSpPr>
          <p:nvPr/>
        </p:nvSpPr>
        <p:spPr bwMode="auto">
          <a:xfrm>
            <a:off x="7103712" y="4090188"/>
            <a:ext cx="80209" cy="56355"/>
          </a:xfrm>
          <a:custGeom>
            <a:avLst/>
            <a:gdLst>
              <a:gd name="T0" fmla="*/ 49 w 49"/>
              <a:gd name="T1" fmla="*/ 14 h 31"/>
              <a:gd name="T2" fmla="*/ 48 w 49"/>
              <a:gd name="T3" fmla="*/ 12 h 31"/>
              <a:gd name="T4" fmla="*/ 43 w 49"/>
              <a:gd name="T5" fmla="*/ 11 h 31"/>
              <a:gd name="T6" fmla="*/ 37 w 49"/>
              <a:gd name="T7" fmla="*/ 9 h 31"/>
              <a:gd name="T8" fmla="*/ 30 w 49"/>
              <a:gd name="T9" fmla="*/ 7 h 31"/>
              <a:gd name="T10" fmla="*/ 22 w 49"/>
              <a:gd name="T11" fmla="*/ 4 h 31"/>
              <a:gd name="T12" fmla="*/ 15 w 49"/>
              <a:gd name="T13" fmla="*/ 2 h 31"/>
              <a:gd name="T14" fmla="*/ 9 w 49"/>
              <a:gd name="T15" fmla="*/ 1 h 31"/>
              <a:gd name="T16" fmla="*/ 4 w 49"/>
              <a:gd name="T17" fmla="*/ 0 h 31"/>
              <a:gd name="T18" fmla="*/ 0 w 49"/>
              <a:gd name="T19" fmla="*/ 2 h 31"/>
              <a:gd name="T20" fmla="*/ 3 w 49"/>
              <a:gd name="T21" fmla="*/ 8 h 31"/>
              <a:gd name="T22" fmla="*/ 10 w 49"/>
              <a:gd name="T23" fmla="*/ 15 h 31"/>
              <a:gd name="T24" fmla="*/ 18 w 49"/>
              <a:gd name="T25" fmla="*/ 20 h 31"/>
              <a:gd name="T26" fmla="*/ 27 w 49"/>
              <a:gd name="T27" fmla="*/ 25 h 31"/>
              <a:gd name="T28" fmla="*/ 35 w 49"/>
              <a:gd name="T29" fmla="*/ 29 h 31"/>
              <a:gd name="T30" fmla="*/ 43 w 49"/>
              <a:gd name="T31" fmla="*/ 30 h 31"/>
              <a:gd name="T32" fmla="*/ 45 w 49"/>
              <a:gd name="T33" fmla="*/ 31 h 31"/>
              <a:gd name="T34" fmla="*/ 49 w 49"/>
              <a:gd name="T35" fmla="*/ 14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9"/>
              <a:gd name="T55" fmla="*/ 0 h 31"/>
              <a:gd name="T56" fmla="*/ 49 w 49"/>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9" h="31">
                <a:moveTo>
                  <a:pt x="49" y="14"/>
                </a:moveTo>
                <a:lnTo>
                  <a:pt x="48" y="12"/>
                </a:lnTo>
                <a:lnTo>
                  <a:pt x="43" y="11"/>
                </a:lnTo>
                <a:lnTo>
                  <a:pt x="37" y="9"/>
                </a:lnTo>
                <a:lnTo>
                  <a:pt x="30" y="7"/>
                </a:lnTo>
                <a:lnTo>
                  <a:pt x="22" y="4"/>
                </a:lnTo>
                <a:lnTo>
                  <a:pt x="15" y="2"/>
                </a:lnTo>
                <a:lnTo>
                  <a:pt x="9" y="1"/>
                </a:lnTo>
                <a:lnTo>
                  <a:pt x="4" y="0"/>
                </a:lnTo>
                <a:lnTo>
                  <a:pt x="0" y="2"/>
                </a:lnTo>
                <a:lnTo>
                  <a:pt x="3" y="8"/>
                </a:lnTo>
                <a:lnTo>
                  <a:pt x="10" y="15"/>
                </a:lnTo>
                <a:lnTo>
                  <a:pt x="18" y="20"/>
                </a:lnTo>
                <a:lnTo>
                  <a:pt x="27" y="25"/>
                </a:lnTo>
                <a:lnTo>
                  <a:pt x="35" y="29"/>
                </a:lnTo>
                <a:lnTo>
                  <a:pt x="43" y="30"/>
                </a:lnTo>
                <a:lnTo>
                  <a:pt x="45" y="31"/>
                </a:lnTo>
                <a:lnTo>
                  <a:pt x="49" y="14"/>
                </a:lnTo>
                <a:close/>
              </a:path>
            </a:pathLst>
          </a:custGeom>
          <a:solidFill>
            <a:schemeClr val="accent3"/>
          </a:solidFill>
          <a:ln w="12700">
            <a:solidFill>
              <a:schemeClr val="bg1"/>
            </a:solidFill>
            <a:round/>
            <a:headEnd/>
            <a:tailEnd/>
          </a:ln>
        </p:spPr>
        <p:txBody>
          <a:bodyPr/>
          <a:lstStyle/>
          <a:p>
            <a:pPr>
              <a:defRPr/>
            </a:pPr>
            <a:endParaRPr lang="nl-NL"/>
          </a:p>
        </p:txBody>
      </p:sp>
      <p:sp>
        <p:nvSpPr>
          <p:cNvPr id="61" name="Freeform 55"/>
          <p:cNvSpPr>
            <a:spLocks/>
          </p:cNvSpPr>
          <p:nvPr/>
        </p:nvSpPr>
        <p:spPr bwMode="auto">
          <a:xfrm>
            <a:off x="6858546" y="4360011"/>
            <a:ext cx="52968" cy="37570"/>
          </a:xfrm>
          <a:custGeom>
            <a:avLst/>
            <a:gdLst>
              <a:gd name="T0" fmla="*/ 32 w 32"/>
              <a:gd name="T1" fmla="*/ 2 h 19"/>
              <a:gd name="T2" fmla="*/ 18 w 32"/>
              <a:gd name="T3" fmla="*/ 19 h 19"/>
              <a:gd name="T4" fmla="*/ 0 w 32"/>
              <a:gd name="T5" fmla="*/ 9 h 19"/>
              <a:gd name="T6" fmla="*/ 2 w 32"/>
              <a:gd name="T7" fmla="*/ 7 h 19"/>
              <a:gd name="T8" fmla="*/ 9 w 32"/>
              <a:gd name="T9" fmla="*/ 3 h 19"/>
              <a:gd name="T10" fmla="*/ 20 w 32"/>
              <a:gd name="T11" fmla="*/ 0 h 19"/>
              <a:gd name="T12" fmla="*/ 32 w 32"/>
              <a:gd name="T13" fmla="*/ 2 h 19"/>
              <a:gd name="T14" fmla="*/ 0 60000 65536"/>
              <a:gd name="T15" fmla="*/ 0 60000 65536"/>
              <a:gd name="T16" fmla="*/ 0 60000 65536"/>
              <a:gd name="T17" fmla="*/ 0 60000 65536"/>
              <a:gd name="T18" fmla="*/ 0 60000 65536"/>
              <a:gd name="T19" fmla="*/ 0 60000 65536"/>
              <a:gd name="T20" fmla="*/ 0 60000 65536"/>
              <a:gd name="T21" fmla="*/ 0 w 32"/>
              <a:gd name="T22" fmla="*/ 0 h 19"/>
              <a:gd name="T23" fmla="*/ 32 w 3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9">
                <a:moveTo>
                  <a:pt x="32" y="2"/>
                </a:moveTo>
                <a:lnTo>
                  <a:pt x="18" y="19"/>
                </a:lnTo>
                <a:lnTo>
                  <a:pt x="0" y="9"/>
                </a:lnTo>
                <a:lnTo>
                  <a:pt x="2" y="7"/>
                </a:lnTo>
                <a:lnTo>
                  <a:pt x="9" y="3"/>
                </a:lnTo>
                <a:lnTo>
                  <a:pt x="20" y="0"/>
                </a:lnTo>
                <a:lnTo>
                  <a:pt x="32" y="2"/>
                </a:lnTo>
                <a:close/>
              </a:path>
            </a:pathLst>
          </a:custGeom>
          <a:solidFill>
            <a:schemeClr val="accent3"/>
          </a:solidFill>
          <a:ln w="12700">
            <a:solidFill>
              <a:schemeClr val="bg1"/>
            </a:solidFill>
            <a:round/>
            <a:headEnd/>
            <a:tailEnd/>
          </a:ln>
        </p:spPr>
        <p:txBody>
          <a:bodyPr/>
          <a:lstStyle/>
          <a:p>
            <a:pPr>
              <a:defRPr/>
            </a:pPr>
            <a:endParaRPr lang="nl-NL"/>
          </a:p>
        </p:txBody>
      </p:sp>
      <p:sp>
        <p:nvSpPr>
          <p:cNvPr id="62" name="Freeform 56"/>
          <p:cNvSpPr>
            <a:spLocks/>
          </p:cNvSpPr>
          <p:nvPr/>
        </p:nvSpPr>
        <p:spPr bwMode="auto">
          <a:xfrm>
            <a:off x="6852493" y="4213145"/>
            <a:ext cx="25727" cy="68310"/>
          </a:xfrm>
          <a:custGeom>
            <a:avLst/>
            <a:gdLst>
              <a:gd name="T0" fmla="*/ 10 w 16"/>
              <a:gd name="T1" fmla="*/ 0 h 34"/>
              <a:gd name="T2" fmla="*/ 11 w 16"/>
              <a:gd name="T3" fmla="*/ 2 h 34"/>
              <a:gd name="T4" fmla="*/ 13 w 16"/>
              <a:gd name="T5" fmla="*/ 6 h 34"/>
              <a:gd name="T6" fmla="*/ 16 w 16"/>
              <a:gd name="T7" fmla="*/ 14 h 34"/>
              <a:gd name="T8" fmla="*/ 15 w 16"/>
              <a:gd name="T9" fmla="*/ 24 h 34"/>
              <a:gd name="T10" fmla="*/ 10 w 16"/>
              <a:gd name="T11" fmla="*/ 31 h 34"/>
              <a:gd name="T12" fmla="*/ 5 w 16"/>
              <a:gd name="T13" fmla="*/ 34 h 34"/>
              <a:gd name="T14" fmla="*/ 1 w 16"/>
              <a:gd name="T15" fmla="*/ 34 h 34"/>
              <a:gd name="T16" fmla="*/ 0 w 16"/>
              <a:gd name="T17" fmla="*/ 34 h 34"/>
              <a:gd name="T18" fmla="*/ 0 w 16"/>
              <a:gd name="T19" fmla="*/ 28 h 34"/>
              <a:gd name="T20" fmla="*/ 0 w 16"/>
              <a:gd name="T21" fmla="*/ 17 h 34"/>
              <a:gd name="T22" fmla="*/ 3 w 16"/>
              <a:gd name="T23" fmla="*/ 5 h 34"/>
              <a:gd name="T24" fmla="*/ 10 w 16"/>
              <a:gd name="T25" fmla="*/ 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34"/>
              <a:gd name="T41" fmla="*/ 16 w 16"/>
              <a:gd name="T42" fmla="*/ 34 h 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34">
                <a:moveTo>
                  <a:pt x="10" y="0"/>
                </a:moveTo>
                <a:lnTo>
                  <a:pt x="11" y="2"/>
                </a:lnTo>
                <a:lnTo>
                  <a:pt x="13" y="6"/>
                </a:lnTo>
                <a:lnTo>
                  <a:pt x="16" y="14"/>
                </a:lnTo>
                <a:lnTo>
                  <a:pt x="15" y="24"/>
                </a:lnTo>
                <a:lnTo>
                  <a:pt x="10" y="31"/>
                </a:lnTo>
                <a:lnTo>
                  <a:pt x="5" y="34"/>
                </a:lnTo>
                <a:lnTo>
                  <a:pt x="1" y="34"/>
                </a:lnTo>
                <a:lnTo>
                  <a:pt x="0" y="34"/>
                </a:lnTo>
                <a:lnTo>
                  <a:pt x="0" y="28"/>
                </a:lnTo>
                <a:lnTo>
                  <a:pt x="0" y="17"/>
                </a:lnTo>
                <a:lnTo>
                  <a:pt x="3" y="5"/>
                </a:lnTo>
                <a:lnTo>
                  <a:pt x="10" y="0"/>
                </a:lnTo>
                <a:close/>
              </a:path>
            </a:pathLst>
          </a:custGeom>
          <a:solidFill>
            <a:schemeClr val="accent3"/>
          </a:solidFill>
          <a:ln w="12700">
            <a:solidFill>
              <a:schemeClr val="bg1"/>
            </a:solidFill>
            <a:round/>
            <a:headEnd/>
            <a:tailEnd/>
          </a:ln>
        </p:spPr>
        <p:txBody>
          <a:bodyPr/>
          <a:lstStyle/>
          <a:p>
            <a:pPr>
              <a:defRPr/>
            </a:pPr>
            <a:endParaRPr lang="nl-NL"/>
          </a:p>
        </p:txBody>
      </p:sp>
      <p:sp>
        <p:nvSpPr>
          <p:cNvPr id="63" name="Freeform 57"/>
          <p:cNvSpPr>
            <a:spLocks/>
          </p:cNvSpPr>
          <p:nvPr/>
        </p:nvSpPr>
        <p:spPr bwMode="auto">
          <a:xfrm>
            <a:off x="6788931" y="4086772"/>
            <a:ext cx="55995" cy="81971"/>
          </a:xfrm>
          <a:custGeom>
            <a:avLst/>
            <a:gdLst>
              <a:gd name="T0" fmla="*/ 29 w 35"/>
              <a:gd name="T1" fmla="*/ 3 h 45"/>
              <a:gd name="T2" fmla="*/ 31 w 35"/>
              <a:gd name="T3" fmla="*/ 5 h 45"/>
              <a:gd name="T4" fmla="*/ 35 w 35"/>
              <a:gd name="T5" fmla="*/ 11 h 45"/>
              <a:gd name="T6" fmla="*/ 35 w 35"/>
              <a:gd name="T7" fmla="*/ 19 h 45"/>
              <a:gd name="T8" fmla="*/ 29 w 35"/>
              <a:gd name="T9" fmla="*/ 27 h 45"/>
              <a:gd name="T10" fmla="*/ 20 w 35"/>
              <a:gd name="T11" fmla="*/ 34 h 45"/>
              <a:gd name="T12" fmla="*/ 12 w 35"/>
              <a:gd name="T13" fmla="*/ 40 h 45"/>
              <a:gd name="T14" fmla="*/ 7 w 35"/>
              <a:gd name="T15" fmla="*/ 44 h 45"/>
              <a:gd name="T16" fmla="*/ 5 w 35"/>
              <a:gd name="T17" fmla="*/ 45 h 45"/>
              <a:gd name="T18" fmla="*/ 4 w 35"/>
              <a:gd name="T19" fmla="*/ 42 h 45"/>
              <a:gd name="T20" fmla="*/ 2 w 35"/>
              <a:gd name="T21" fmla="*/ 35 h 45"/>
              <a:gd name="T22" fmla="*/ 0 w 35"/>
              <a:gd name="T23" fmla="*/ 27 h 45"/>
              <a:gd name="T24" fmla="*/ 5 w 35"/>
              <a:gd name="T25" fmla="*/ 20 h 45"/>
              <a:gd name="T26" fmla="*/ 11 w 35"/>
              <a:gd name="T27" fmla="*/ 13 h 45"/>
              <a:gd name="T28" fmla="*/ 15 w 35"/>
              <a:gd name="T29" fmla="*/ 5 h 45"/>
              <a:gd name="T30" fmla="*/ 21 w 35"/>
              <a:gd name="T31" fmla="*/ 0 h 45"/>
              <a:gd name="T32" fmla="*/ 29 w 35"/>
              <a:gd name="T33" fmla="*/ 3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45"/>
              <a:gd name="T53" fmla="*/ 35 w 35"/>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45">
                <a:moveTo>
                  <a:pt x="29" y="3"/>
                </a:moveTo>
                <a:lnTo>
                  <a:pt x="31" y="5"/>
                </a:lnTo>
                <a:lnTo>
                  <a:pt x="35" y="11"/>
                </a:lnTo>
                <a:lnTo>
                  <a:pt x="35" y="19"/>
                </a:lnTo>
                <a:lnTo>
                  <a:pt x="29" y="27"/>
                </a:lnTo>
                <a:lnTo>
                  <a:pt x="20" y="34"/>
                </a:lnTo>
                <a:lnTo>
                  <a:pt x="12" y="40"/>
                </a:lnTo>
                <a:lnTo>
                  <a:pt x="7" y="44"/>
                </a:lnTo>
                <a:lnTo>
                  <a:pt x="5" y="45"/>
                </a:lnTo>
                <a:lnTo>
                  <a:pt x="4" y="42"/>
                </a:lnTo>
                <a:lnTo>
                  <a:pt x="2" y="35"/>
                </a:lnTo>
                <a:lnTo>
                  <a:pt x="0" y="27"/>
                </a:lnTo>
                <a:lnTo>
                  <a:pt x="5" y="20"/>
                </a:lnTo>
                <a:lnTo>
                  <a:pt x="11" y="13"/>
                </a:lnTo>
                <a:lnTo>
                  <a:pt x="15" y="5"/>
                </a:lnTo>
                <a:lnTo>
                  <a:pt x="21" y="0"/>
                </a:lnTo>
                <a:lnTo>
                  <a:pt x="29" y="3"/>
                </a:lnTo>
                <a:close/>
              </a:path>
            </a:pathLst>
          </a:custGeom>
          <a:solidFill>
            <a:schemeClr val="accent3"/>
          </a:solidFill>
          <a:ln w="12700">
            <a:solidFill>
              <a:schemeClr val="bg1"/>
            </a:solidFill>
            <a:round/>
            <a:headEnd/>
            <a:tailEnd/>
          </a:ln>
        </p:spPr>
        <p:txBody>
          <a:bodyPr/>
          <a:lstStyle/>
          <a:p>
            <a:pPr>
              <a:defRPr/>
            </a:pPr>
            <a:endParaRPr lang="nl-NL"/>
          </a:p>
        </p:txBody>
      </p:sp>
      <p:sp>
        <p:nvSpPr>
          <p:cNvPr id="64" name="Freeform 58"/>
          <p:cNvSpPr>
            <a:spLocks/>
          </p:cNvSpPr>
          <p:nvPr/>
        </p:nvSpPr>
        <p:spPr bwMode="auto">
          <a:xfrm>
            <a:off x="6961455" y="3888675"/>
            <a:ext cx="142257" cy="182728"/>
          </a:xfrm>
          <a:custGeom>
            <a:avLst/>
            <a:gdLst>
              <a:gd name="T0" fmla="*/ 86 w 86"/>
              <a:gd name="T1" fmla="*/ 78 h 98"/>
              <a:gd name="T2" fmla="*/ 73 w 86"/>
              <a:gd name="T3" fmla="*/ 98 h 98"/>
              <a:gd name="T4" fmla="*/ 44 w 86"/>
              <a:gd name="T5" fmla="*/ 88 h 98"/>
              <a:gd name="T6" fmla="*/ 45 w 86"/>
              <a:gd name="T7" fmla="*/ 86 h 98"/>
              <a:gd name="T8" fmla="*/ 47 w 86"/>
              <a:gd name="T9" fmla="*/ 80 h 98"/>
              <a:gd name="T10" fmla="*/ 44 w 86"/>
              <a:gd name="T11" fmla="*/ 72 h 98"/>
              <a:gd name="T12" fmla="*/ 33 w 86"/>
              <a:gd name="T13" fmla="*/ 64 h 98"/>
              <a:gd name="T14" fmla="*/ 22 w 86"/>
              <a:gd name="T15" fmla="*/ 56 h 98"/>
              <a:gd name="T16" fmla="*/ 16 w 86"/>
              <a:gd name="T17" fmla="*/ 47 h 98"/>
              <a:gd name="T18" fmla="*/ 12 w 86"/>
              <a:gd name="T19" fmla="*/ 38 h 98"/>
              <a:gd name="T20" fmla="*/ 6 w 86"/>
              <a:gd name="T21" fmla="*/ 32 h 98"/>
              <a:gd name="T22" fmla="*/ 0 w 86"/>
              <a:gd name="T23" fmla="*/ 23 h 98"/>
              <a:gd name="T24" fmla="*/ 0 w 86"/>
              <a:gd name="T25" fmla="*/ 12 h 98"/>
              <a:gd name="T26" fmla="*/ 5 w 86"/>
              <a:gd name="T27" fmla="*/ 3 h 98"/>
              <a:gd name="T28" fmla="*/ 13 w 86"/>
              <a:gd name="T29" fmla="*/ 0 h 98"/>
              <a:gd name="T30" fmla="*/ 21 w 86"/>
              <a:gd name="T31" fmla="*/ 6 h 98"/>
              <a:gd name="T32" fmla="*/ 27 w 86"/>
              <a:gd name="T33" fmla="*/ 14 h 98"/>
              <a:gd name="T34" fmla="*/ 33 w 86"/>
              <a:gd name="T35" fmla="*/ 22 h 98"/>
              <a:gd name="T36" fmla="*/ 44 w 86"/>
              <a:gd name="T37" fmla="*/ 28 h 98"/>
              <a:gd name="T38" fmla="*/ 51 w 86"/>
              <a:gd name="T39" fmla="*/ 29 h 98"/>
              <a:gd name="T40" fmla="*/ 58 w 86"/>
              <a:gd name="T41" fmla="*/ 30 h 98"/>
              <a:gd name="T42" fmla="*/ 63 w 86"/>
              <a:gd name="T43" fmla="*/ 32 h 98"/>
              <a:gd name="T44" fmla="*/ 69 w 86"/>
              <a:gd name="T45" fmla="*/ 33 h 98"/>
              <a:gd name="T46" fmla="*/ 73 w 86"/>
              <a:gd name="T47" fmla="*/ 34 h 98"/>
              <a:gd name="T48" fmla="*/ 75 w 86"/>
              <a:gd name="T49" fmla="*/ 36 h 98"/>
              <a:gd name="T50" fmla="*/ 75 w 86"/>
              <a:gd name="T51" fmla="*/ 38 h 98"/>
              <a:gd name="T52" fmla="*/ 73 w 86"/>
              <a:gd name="T53" fmla="*/ 42 h 98"/>
              <a:gd name="T54" fmla="*/ 66 w 86"/>
              <a:gd name="T55" fmla="*/ 48 h 98"/>
              <a:gd name="T56" fmla="*/ 61 w 86"/>
              <a:gd name="T57" fmla="*/ 52 h 98"/>
              <a:gd name="T58" fmla="*/ 61 w 86"/>
              <a:gd name="T59" fmla="*/ 56 h 98"/>
              <a:gd name="T60" fmla="*/ 69 w 86"/>
              <a:gd name="T61" fmla="*/ 64 h 98"/>
              <a:gd name="T62" fmla="*/ 80 w 86"/>
              <a:gd name="T63" fmla="*/ 72 h 98"/>
              <a:gd name="T64" fmla="*/ 84 w 86"/>
              <a:gd name="T65" fmla="*/ 75 h 98"/>
              <a:gd name="T66" fmla="*/ 86 w 86"/>
              <a:gd name="T67" fmla="*/ 78 h 98"/>
              <a:gd name="T68" fmla="*/ 86 w 86"/>
              <a:gd name="T69" fmla="*/ 78 h 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6"/>
              <a:gd name="T106" fmla="*/ 0 h 98"/>
              <a:gd name="T107" fmla="*/ 86 w 86"/>
              <a:gd name="T108" fmla="*/ 98 h 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6" h="98">
                <a:moveTo>
                  <a:pt x="86" y="78"/>
                </a:moveTo>
                <a:lnTo>
                  <a:pt x="73" y="98"/>
                </a:lnTo>
                <a:lnTo>
                  <a:pt x="44" y="88"/>
                </a:lnTo>
                <a:lnTo>
                  <a:pt x="45" y="86"/>
                </a:lnTo>
                <a:lnTo>
                  <a:pt x="47" y="80"/>
                </a:lnTo>
                <a:lnTo>
                  <a:pt x="44" y="72"/>
                </a:lnTo>
                <a:lnTo>
                  <a:pt x="33" y="64"/>
                </a:lnTo>
                <a:lnTo>
                  <a:pt x="22" y="56"/>
                </a:lnTo>
                <a:lnTo>
                  <a:pt x="16" y="47"/>
                </a:lnTo>
                <a:lnTo>
                  <a:pt x="12" y="38"/>
                </a:lnTo>
                <a:lnTo>
                  <a:pt x="6" y="32"/>
                </a:lnTo>
                <a:lnTo>
                  <a:pt x="0" y="23"/>
                </a:lnTo>
                <a:lnTo>
                  <a:pt x="0" y="12"/>
                </a:lnTo>
                <a:lnTo>
                  <a:pt x="5" y="3"/>
                </a:lnTo>
                <a:lnTo>
                  <a:pt x="13" y="0"/>
                </a:lnTo>
                <a:lnTo>
                  <a:pt x="21" y="6"/>
                </a:lnTo>
                <a:lnTo>
                  <a:pt x="27" y="14"/>
                </a:lnTo>
                <a:lnTo>
                  <a:pt x="33" y="22"/>
                </a:lnTo>
                <a:lnTo>
                  <a:pt x="44" y="28"/>
                </a:lnTo>
                <a:lnTo>
                  <a:pt x="51" y="29"/>
                </a:lnTo>
                <a:lnTo>
                  <a:pt x="58" y="30"/>
                </a:lnTo>
                <a:lnTo>
                  <a:pt x="63" y="32"/>
                </a:lnTo>
                <a:lnTo>
                  <a:pt x="69" y="33"/>
                </a:lnTo>
                <a:lnTo>
                  <a:pt x="73" y="34"/>
                </a:lnTo>
                <a:lnTo>
                  <a:pt x="75" y="36"/>
                </a:lnTo>
                <a:lnTo>
                  <a:pt x="75" y="38"/>
                </a:lnTo>
                <a:lnTo>
                  <a:pt x="73" y="42"/>
                </a:lnTo>
                <a:lnTo>
                  <a:pt x="66" y="48"/>
                </a:lnTo>
                <a:lnTo>
                  <a:pt x="61" y="52"/>
                </a:lnTo>
                <a:lnTo>
                  <a:pt x="61" y="56"/>
                </a:lnTo>
                <a:lnTo>
                  <a:pt x="69" y="64"/>
                </a:lnTo>
                <a:lnTo>
                  <a:pt x="80" y="72"/>
                </a:lnTo>
                <a:lnTo>
                  <a:pt x="84" y="75"/>
                </a:lnTo>
                <a:lnTo>
                  <a:pt x="86" y="78"/>
                </a:lnTo>
                <a:close/>
              </a:path>
            </a:pathLst>
          </a:custGeom>
          <a:solidFill>
            <a:schemeClr val="accent3"/>
          </a:solidFill>
          <a:ln w="12700">
            <a:solidFill>
              <a:schemeClr val="bg1"/>
            </a:solidFill>
            <a:round/>
            <a:headEnd/>
            <a:tailEnd/>
          </a:ln>
        </p:spPr>
        <p:txBody>
          <a:bodyPr/>
          <a:lstStyle/>
          <a:p>
            <a:pPr>
              <a:defRPr/>
            </a:pPr>
            <a:endParaRPr lang="nl-NL"/>
          </a:p>
        </p:txBody>
      </p:sp>
      <p:sp>
        <p:nvSpPr>
          <p:cNvPr id="65" name="Freeform 59"/>
          <p:cNvSpPr>
            <a:spLocks/>
          </p:cNvSpPr>
          <p:nvPr/>
        </p:nvSpPr>
        <p:spPr bwMode="auto">
          <a:xfrm>
            <a:off x="7426060" y="3091160"/>
            <a:ext cx="314781" cy="228837"/>
          </a:xfrm>
          <a:custGeom>
            <a:avLst/>
            <a:gdLst>
              <a:gd name="T0" fmla="*/ 182 w 191"/>
              <a:gd name="T1" fmla="*/ 109 h 123"/>
              <a:gd name="T2" fmla="*/ 169 w 191"/>
              <a:gd name="T3" fmla="*/ 106 h 123"/>
              <a:gd name="T4" fmla="*/ 159 w 191"/>
              <a:gd name="T5" fmla="*/ 118 h 123"/>
              <a:gd name="T6" fmla="*/ 152 w 191"/>
              <a:gd name="T7" fmla="*/ 122 h 123"/>
              <a:gd name="T8" fmla="*/ 143 w 191"/>
              <a:gd name="T9" fmla="*/ 123 h 123"/>
              <a:gd name="T10" fmla="*/ 133 w 191"/>
              <a:gd name="T11" fmla="*/ 123 h 123"/>
              <a:gd name="T12" fmla="*/ 123 w 191"/>
              <a:gd name="T13" fmla="*/ 123 h 123"/>
              <a:gd name="T14" fmla="*/ 114 w 191"/>
              <a:gd name="T15" fmla="*/ 121 h 123"/>
              <a:gd name="T16" fmla="*/ 104 w 191"/>
              <a:gd name="T17" fmla="*/ 118 h 123"/>
              <a:gd name="T18" fmla="*/ 91 w 191"/>
              <a:gd name="T19" fmla="*/ 114 h 123"/>
              <a:gd name="T20" fmla="*/ 75 w 191"/>
              <a:gd name="T21" fmla="*/ 112 h 123"/>
              <a:gd name="T22" fmla="*/ 65 w 191"/>
              <a:gd name="T23" fmla="*/ 109 h 123"/>
              <a:gd name="T24" fmla="*/ 59 w 191"/>
              <a:gd name="T25" fmla="*/ 104 h 123"/>
              <a:gd name="T26" fmla="*/ 51 w 191"/>
              <a:gd name="T27" fmla="*/ 97 h 123"/>
              <a:gd name="T28" fmla="*/ 37 w 191"/>
              <a:gd name="T29" fmla="*/ 88 h 123"/>
              <a:gd name="T30" fmla="*/ 24 w 191"/>
              <a:gd name="T31" fmla="*/ 81 h 123"/>
              <a:gd name="T32" fmla="*/ 15 w 191"/>
              <a:gd name="T33" fmla="*/ 77 h 123"/>
              <a:gd name="T34" fmla="*/ 10 w 191"/>
              <a:gd name="T35" fmla="*/ 75 h 123"/>
              <a:gd name="T36" fmla="*/ 7 w 191"/>
              <a:gd name="T37" fmla="*/ 70 h 123"/>
              <a:gd name="T38" fmla="*/ 0 w 191"/>
              <a:gd name="T39" fmla="*/ 50 h 123"/>
              <a:gd name="T40" fmla="*/ 12 w 191"/>
              <a:gd name="T41" fmla="*/ 36 h 123"/>
              <a:gd name="T42" fmla="*/ 28 w 191"/>
              <a:gd name="T43" fmla="*/ 32 h 123"/>
              <a:gd name="T44" fmla="*/ 44 w 191"/>
              <a:gd name="T45" fmla="*/ 29 h 123"/>
              <a:gd name="T46" fmla="*/ 58 w 191"/>
              <a:gd name="T47" fmla="*/ 26 h 123"/>
              <a:gd name="T48" fmla="*/ 63 w 191"/>
              <a:gd name="T49" fmla="*/ 18 h 123"/>
              <a:gd name="T50" fmla="*/ 69 w 191"/>
              <a:gd name="T51" fmla="*/ 9 h 123"/>
              <a:gd name="T52" fmla="*/ 75 w 191"/>
              <a:gd name="T53" fmla="*/ 3 h 123"/>
              <a:gd name="T54" fmla="*/ 88 w 191"/>
              <a:gd name="T55" fmla="*/ 0 h 123"/>
              <a:gd name="T56" fmla="*/ 106 w 191"/>
              <a:gd name="T57" fmla="*/ 4 h 123"/>
              <a:gd name="T58" fmla="*/ 119 w 191"/>
              <a:gd name="T59" fmla="*/ 9 h 123"/>
              <a:gd name="T60" fmla="*/ 127 w 191"/>
              <a:gd name="T61" fmla="*/ 15 h 123"/>
              <a:gd name="T62" fmla="*/ 130 w 191"/>
              <a:gd name="T63" fmla="*/ 22 h 123"/>
              <a:gd name="T64" fmla="*/ 133 w 191"/>
              <a:gd name="T65" fmla="*/ 32 h 123"/>
              <a:gd name="T66" fmla="*/ 137 w 191"/>
              <a:gd name="T67" fmla="*/ 43 h 123"/>
              <a:gd name="T68" fmla="*/ 153 w 191"/>
              <a:gd name="T69" fmla="*/ 57 h 123"/>
              <a:gd name="T70" fmla="*/ 159 w 191"/>
              <a:gd name="T71" fmla="*/ 68 h 123"/>
              <a:gd name="T72" fmla="*/ 167 w 191"/>
              <a:gd name="T73" fmla="*/ 79 h 123"/>
              <a:gd name="T74" fmla="*/ 179 w 191"/>
              <a:gd name="T75" fmla="*/ 85 h 123"/>
              <a:gd name="T76" fmla="*/ 189 w 191"/>
              <a:gd name="T77" fmla="*/ 92 h 123"/>
              <a:gd name="T78" fmla="*/ 190 w 191"/>
              <a:gd name="T79" fmla="*/ 103 h 12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91"/>
              <a:gd name="T121" fmla="*/ 0 h 123"/>
              <a:gd name="T122" fmla="*/ 191 w 191"/>
              <a:gd name="T123" fmla="*/ 123 h 12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91" h="123">
                <a:moveTo>
                  <a:pt x="184" y="110"/>
                </a:moveTo>
                <a:lnTo>
                  <a:pt x="182" y="109"/>
                </a:lnTo>
                <a:lnTo>
                  <a:pt x="176" y="106"/>
                </a:lnTo>
                <a:lnTo>
                  <a:pt x="169" y="106"/>
                </a:lnTo>
                <a:lnTo>
                  <a:pt x="163" y="113"/>
                </a:lnTo>
                <a:lnTo>
                  <a:pt x="159" y="118"/>
                </a:lnTo>
                <a:lnTo>
                  <a:pt x="156" y="120"/>
                </a:lnTo>
                <a:lnTo>
                  <a:pt x="152" y="122"/>
                </a:lnTo>
                <a:lnTo>
                  <a:pt x="148" y="123"/>
                </a:lnTo>
                <a:lnTo>
                  <a:pt x="143" y="123"/>
                </a:lnTo>
                <a:lnTo>
                  <a:pt x="138" y="123"/>
                </a:lnTo>
                <a:lnTo>
                  <a:pt x="133" y="123"/>
                </a:lnTo>
                <a:lnTo>
                  <a:pt x="128" y="123"/>
                </a:lnTo>
                <a:lnTo>
                  <a:pt x="123" y="123"/>
                </a:lnTo>
                <a:lnTo>
                  <a:pt x="119" y="122"/>
                </a:lnTo>
                <a:lnTo>
                  <a:pt x="114" y="121"/>
                </a:lnTo>
                <a:lnTo>
                  <a:pt x="110" y="120"/>
                </a:lnTo>
                <a:lnTo>
                  <a:pt x="104" y="118"/>
                </a:lnTo>
                <a:lnTo>
                  <a:pt x="98" y="117"/>
                </a:lnTo>
                <a:lnTo>
                  <a:pt x="91" y="114"/>
                </a:lnTo>
                <a:lnTo>
                  <a:pt x="83" y="113"/>
                </a:lnTo>
                <a:lnTo>
                  <a:pt x="75" y="112"/>
                </a:lnTo>
                <a:lnTo>
                  <a:pt x="69" y="111"/>
                </a:lnTo>
                <a:lnTo>
                  <a:pt x="65" y="109"/>
                </a:lnTo>
                <a:lnTo>
                  <a:pt x="62" y="106"/>
                </a:lnTo>
                <a:lnTo>
                  <a:pt x="59" y="104"/>
                </a:lnTo>
                <a:lnTo>
                  <a:pt x="55" y="100"/>
                </a:lnTo>
                <a:lnTo>
                  <a:pt x="51" y="97"/>
                </a:lnTo>
                <a:lnTo>
                  <a:pt x="44" y="92"/>
                </a:lnTo>
                <a:lnTo>
                  <a:pt x="37" y="88"/>
                </a:lnTo>
                <a:lnTo>
                  <a:pt x="30" y="84"/>
                </a:lnTo>
                <a:lnTo>
                  <a:pt x="24" y="81"/>
                </a:lnTo>
                <a:lnTo>
                  <a:pt x="18" y="79"/>
                </a:lnTo>
                <a:lnTo>
                  <a:pt x="15" y="77"/>
                </a:lnTo>
                <a:lnTo>
                  <a:pt x="12" y="76"/>
                </a:lnTo>
                <a:lnTo>
                  <a:pt x="10" y="75"/>
                </a:lnTo>
                <a:lnTo>
                  <a:pt x="9" y="75"/>
                </a:lnTo>
                <a:lnTo>
                  <a:pt x="7" y="70"/>
                </a:lnTo>
                <a:lnTo>
                  <a:pt x="2" y="61"/>
                </a:lnTo>
                <a:lnTo>
                  <a:pt x="0" y="50"/>
                </a:lnTo>
                <a:lnTo>
                  <a:pt x="6" y="39"/>
                </a:lnTo>
                <a:lnTo>
                  <a:pt x="12" y="36"/>
                </a:lnTo>
                <a:lnTo>
                  <a:pt x="20" y="34"/>
                </a:lnTo>
                <a:lnTo>
                  <a:pt x="28" y="32"/>
                </a:lnTo>
                <a:lnTo>
                  <a:pt x="36" y="30"/>
                </a:lnTo>
                <a:lnTo>
                  <a:pt x="44" y="29"/>
                </a:lnTo>
                <a:lnTo>
                  <a:pt x="52" y="28"/>
                </a:lnTo>
                <a:lnTo>
                  <a:pt x="58" y="26"/>
                </a:lnTo>
                <a:lnTo>
                  <a:pt x="61" y="22"/>
                </a:lnTo>
                <a:lnTo>
                  <a:pt x="63" y="18"/>
                </a:lnTo>
                <a:lnTo>
                  <a:pt x="66" y="14"/>
                </a:lnTo>
                <a:lnTo>
                  <a:pt x="69" y="9"/>
                </a:lnTo>
                <a:lnTo>
                  <a:pt x="71" y="5"/>
                </a:lnTo>
                <a:lnTo>
                  <a:pt x="75" y="3"/>
                </a:lnTo>
                <a:lnTo>
                  <a:pt x="81" y="0"/>
                </a:lnTo>
                <a:lnTo>
                  <a:pt x="88" y="0"/>
                </a:lnTo>
                <a:lnTo>
                  <a:pt x="97" y="1"/>
                </a:lnTo>
                <a:lnTo>
                  <a:pt x="106" y="4"/>
                </a:lnTo>
                <a:lnTo>
                  <a:pt x="113" y="7"/>
                </a:lnTo>
                <a:lnTo>
                  <a:pt x="119" y="9"/>
                </a:lnTo>
                <a:lnTo>
                  <a:pt x="123" y="12"/>
                </a:lnTo>
                <a:lnTo>
                  <a:pt x="127" y="15"/>
                </a:lnTo>
                <a:lnTo>
                  <a:pt x="128" y="19"/>
                </a:lnTo>
                <a:lnTo>
                  <a:pt x="130" y="22"/>
                </a:lnTo>
                <a:lnTo>
                  <a:pt x="131" y="26"/>
                </a:lnTo>
                <a:lnTo>
                  <a:pt x="133" y="32"/>
                </a:lnTo>
                <a:lnTo>
                  <a:pt x="135" y="37"/>
                </a:lnTo>
                <a:lnTo>
                  <a:pt x="137" y="43"/>
                </a:lnTo>
                <a:lnTo>
                  <a:pt x="145" y="50"/>
                </a:lnTo>
                <a:lnTo>
                  <a:pt x="153" y="57"/>
                </a:lnTo>
                <a:lnTo>
                  <a:pt x="157" y="62"/>
                </a:lnTo>
                <a:lnTo>
                  <a:pt x="159" y="68"/>
                </a:lnTo>
                <a:lnTo>
                  <a:pt x="163" y="75"/>
                </a:lnTo>
                <a:lnTo>
                  <a:pt x="167" y="79"/>
                </a:lnTo>
                <a:lnTo>
                  <a:pt x="172" y="82"/>
                </a:lnTo>
                <a:lnTo>
                  <a:pt x="179" y="85"/>
                </a:lnTo>
                <a:lnTo>
                  <a:pt x="184" y="89"/>
                </a:lnTo>
                <a:lnTo>
                  <a:pt x="189" y="92"/>
                </a:lnTo>
                <a:lnTo>
                  <a:pt x="191" y="97"/>
                </a:lnTo>
                <a:lnTo>
                  <a:pt x="190" y="103"/>
                </a:lnTo>
                <a:lnTo>
                  <a:pt x="184" y="110"/>
                </a:lnTo>
                <a:close/>
              </a:path>
            </a:pathLst>
          </a:custGeom>
          <a:solidFill>
            <a:schemeClr val="accent3"/>
          </a:solidFill>
          <a:ln w="12700">
            <a:solidFill>
              <a:schemeClr val="bg1"/>
            </a:solidFill>
            <a:round/>
            <a:headEnd/>
            <a:tailEnd/>
          </a:ln>
        </p:spPr>
        <p:txBody>
          <a:bodyPr/>
          <a:lstStyle/>
          <a:p>
            <a:pPr>
              <a:defRPr/>
            </a:pPr>
            <a:endParaRPr lang="nl-NL"/>
          </a:p>
        </p:txBody>
      </p:sp>
      <p:sp>
        <p:nvSpPr>
          <p:cNvPr id="66" name="Freeform 60"/>
          <p:cNvSpPr>
            <a:spLocks/>
          </p:cNvSpPr>
          <p:nvPr/>
        </p:nvSpPr>
        <p:spPr bwMode="auto">
          <a:xfrm>
            <a:off x="6239577" y="4841593"/>
            <a:ext cx="65075" cy="124665"/>
          </a:xfrm>
          <a:custGeom>
            <a:avLst/>
            <a:gdLst>
              <a:gd name="T0" fmla="*/ 8 w 39"/>
              <a:gd name="T1" fmla="*/ 0 h 67"/>
              <a:gd name="T2" fmla="*/ 9 w 39"/>
              <a:gd name="T3" fmla="*/ 1 h 67"/>
              <a:gd name="T4" fmla="*/ 11 w 39"/>
              <a:gd name="T5" fmla="*/ 4 h 67"/>
              <a:gd name="T6" fmla="*/ 17 w 39"/>
              <a:gd name="T7" fmla="*/ 9 h 67"/>
              <a:gd name="T8" fmla="*/ 25 w 39"/>
              <a:gd name="T9" fmla="*/ 14 h 67"/>
              <a:gd name="T10" fmla="*/ 33 w 39"/>
              <a:gd name="T11" fmla="*/ 20 h 67"/>
              <a:gd name="T12" fmla="*/ 38 w 39"/>
              <a:gd name="T13" fmla="*/ 29 h 67"/>
              <a:gd name="T14" fmla="*/ 39 w 39"/>
              <a:gd name="T15" fmla="*/ 35 h 67"/>
              <a:gd name="T16" fmla="*/ 39 w 39"/>
              <a:gd name="T17" fmla="*/ 39 h 67"/>
              <a:gd name="T18" fmla="*/ 38 w 39"/>
              <a:gd name="T19" fmla="*/ 44 h 67"/>
              <a:gd name="T20" fmla="*/ 34 w 39"/>
              <a:gd name="T21" fmla="*/ 53 h 67"/>
              <a:gd name="T22" fmla="*/ 29 w 39"/>
              <a:gd name="T23" fmla="*/ 62 h 67"/>
              <a:gd name="T24" fmla="*/ 22 w 39"/>
              <a:gd name="T25" fmla="*/ 67 h 67"/>
              <a:gd name="T26" fmla="*/ 15 w 39"/>
              <a:gd name="T27" fmla="*/ 64 h 67"/>
              <a:gd name="T28" fmla="*/ 9 w 39"/>
              <a:gd name="T29" fmla="*/ 58 h 67"/>
              <a:gd name="T30" fmla="*/ 4 w 39"/>
              <a:gd name="T31" fmla="*/ 50 h 67"/>
              <a:gd name="T32" fmla="*/ 1 w 39"/>
              <a:gd name="T33" fmla="*/ 42 h 67"/>
              <a:gd name="T34" fmla="*/ 0 w 39"/>
              <a:gd name="T35" fmla="*/ 34 h 67"/>
              <a:gd name="T36" fmla="*/ 0 w 39"/>
              <a:gd name="T37" fmla="*/ 26 h 67"/>
              <a:gd name="T38" fmla="*/ 1 w 39"/>
              <a:gd name="T39" fmla="*/ 19 h 67"/>
              <a:gd name="T40" fmla="*/ 1 w 39"/>
              <a:gd name="T41" fmla="*/ 17 h 67"/>
              <a:gd name="T42" fmla="*/ 0 w 39"/>
              <a:gd name="T43" fmla="*/ 15 h 67"/>
              <a:gd name="T44" fmla="*/ 0 w 39"/>
              <a:gd name="T45" fmla="*/ 10 h 67"/>
              <a:gd name="T46" fmla="*/ 1 w 39"/>
              <a:gd name="T47" fmla="*/ 4 h 67"/>
              <a:gd name="T48" fmla="*/ 8 w 39"/>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
              <a:gd name="T76" fmla="*/ 0 h 67"/>
              <a:gd name="T77" fmla="*/ 39 w 39"/>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 h="67">
                <a:moveTo>
                  <a:pt x="8" y="0"/>
                </a:moveTo>
                <a:lnTo>
                  <a:pt x="9" y="1"/>
                </a:lnTo>
                <a:lnTo>
                  <a:pt x="11" y="4"/>
                </a:lnTo>
                <a:lnTo>
                  <a:pt x="17" y="9"/>
                </a:lnTo>
                <a:lnTo>
                  <a:pt x="25" y="14"/>
                </a:lnTo>
                <a:lnTo>
                  <a:pt x="33" y="20"/>
                </a:lnTo>
                <a:lnTo>
                  <a:pt x="38" y="29"/>
                </a:lnTo>
                <a:lnTo>
                  <a:pt x="39" y="35"/>
                </a:lnTo>
                <a:lnTo>
                  <a:pt x="39" y="39"/>
                </a:lnTo>
                <a:lnTo>
                  <a:pt x="38" y="44"/>
                </a:lnTo>
                <a:lnTo>
                  <a:pt x="34" y="53"/>
                </a:lnTo>
                <a:lnTo>
                  <a:pt x="29" y="62"/>
                </a:lnTo>
                <a:lnTo>
                  <a:pt x="22" y="67"/>
                </a:lnTo>
                <a:lnTo>
                  <a:pt x="15" y="64"/>
                </a:lnTo>
                <a:lnTo>
                  <a:pt x="9" y="58"/>
                </a:lnTo>
                <a:lnTo>
                  <a:pt x="4" y="50"/>
                </a:lnTo>
                <a:lnTo>
                  <a:pt x="1" y="42"/>
                </a:lnTo>
                <a:lnTo>
                  <a:pt x="0" y="34"/>
                </a:lnTo>
                <a:lnTo>
                  <a:pt x="0" y="26"/>
                </a:lnTo>
                <a:lnTo>
                  <a:pt x="1" y="19"/>
                </a:lnTo>
                <a:lnTo>
                  <a:pt x="1" y="17"/>
                </a:lnTo>
                <a:lnTo>
                  <a:pt x="0" y="15"/>
                </a:lnTo>
                <a:lnTo>
                  <a:pt x="0" y="10"/>
                </a:lnTo>
                <a:lnTo>
                  <a:pt x="1" y="4"/>
                </a:lnTo>
                <a:lnTo>
                  <a:pt x="8" y="0"/>
                </a:lnTo>
                <a:close/>
              </a:path>
            </a:pathLst>
          </a:custGeom>
          <a:solidFill>
            <a:schemeClr val="accent3"/>
          </a:solidFill>
          <a:ln w="12700">
            <a:solidFill>
              <a:schemeClr val="bg1"/>
            </a:solidFill>
            <a:round/>
            <a:headEnd/>
            <a:tailEnd/>
          </a:ln>
        </p:spPr>
        <p:txBody>
          <a:bodyPr/>
          <a:lstStyle/>
          <a:p>
            <a:pPr>
              <a:defRPr/>
            </a:pPr>
            <a:endParaRPr lang="nl-NL"/>
          </a:p>
        </p:txBody>
      </p:sp>
      <p:sp>
        <p:nvSpPr>
          <p:cNvPr id="67" name="Freeform 61"/>
          <p:cNvSpPr>
            <a:spLocks/>
          </p:cNvSpPr>
          <p:nvPr/>
        </p:nvSpPr>
        <p:spPr bwMode="auto">
          <a:xfrm>
            <a:off x="5317934" y="3907460"/>
            <a:ext cx="115016" cy="163943"/>
          </a:xfrm>
          <a:custGeom>
            <a:avLst/>
            <a:gdLst>
              <a:gd name="T0" fmla="*/ 58 w 69"/>
              <a:gd name="T1" fmla="*/ 26 h 87"/>
              <a:gd name="T2" fmla="*/ 61 w 69"/>
              <a:gd name="T3" fmla="*/ 30 h 87"/>
              <a:gd name="T4" fmla="*/ 67 w 69"/>
              <a:gd name="T5" fmla="*/ 39 h 87"/>
              <a:gd name="T6" fmla="*/ 69 w 69"/>
              <a:gd name="T7" fmla="*/ 49 h 87"/>
              <a:gd name="T8" fmla="*/ 65 w 69"/>
              <a:gd name="T9" fmla="*/ 59 h 87"/>
              <a:gd name="T10" fmla="*/ 58 w 69"/>
              <a:gd name="T11" fmla="*/ 66 h 87"/>
              <a:gd name="T12" fmla="*/ 54 w 69"/>
              <a:gd name="T13" fmla="*/ 70 h 87"/>
              <a:gd name="T14" fmla="*/ 54 w 69"/>
              <a:gd name="T15" fmla="*/ 76 h 87"/>
              <a:gd name="T16" fmla="*/ 54 w 69"/>
              <a:gd name="T17" fmla="*/ 83 h 87"/>
              <a:gd name="T18" fmla="*/ 53 w 69"/>
              <a:gd name="T19" fmla="*/ 87 h 87"/>
              <a:gd name="T20" fmla="*/ 51 w 69"/>
              <a:gd name="T21" fmla="*/ 87 h 87"/>
              <a:gd name="T22" fmla="*/ 44 w 69"/>
              <a:gd name="T23" fmla="*/ 83 h 87"/>
              <a:gd name="T24" fmla="*/ 32 w 69"/>
              <a:gd name="T25" fmla="*/ 73 h 87"/>
              <a:gd name="T26" fmla="*/ 21 w 69"/>
              <a:gd name="T27" fmla="*/ 63 h 87"/>
              <a:gd name="T28" fmla="*/ 14 w 69"/>
              <a:gd name="T29" fmla="*/ 59 h 87"/>
              <a:gd name="T30" fmla="*/ 8 w 69"/>
              <a:gd name="T31" fmla="*/ 54 h 87"/>
              <a:gd name="T32" fmla="*/ 5 w 69"/>
              <a:gd name="T33" fmla="*/ 45 h 87"/>
              <a:gd name="T34" fmla="*/ 1 w 69"/>
              <a:gd name="T35" fmla="*/ 32 h 87"/>
              <a:gd name="T36" fmla="*/ 0 w 69"/>
              <a:gd name="T37" fmla="*/ 21 h 87"/>
              <a:gd name="T38" fmla="*/ 0 w 69"/>
              <a:gd name="T39" fmla="*/ 13 h 87"/>
              <a:gd name="T40" fmla="*/ 5 w 69"/>
              <a:gd name="T41" fmla="*/ 6 h 87"/>
              <a:gd name="T42" fmla="*/ 12 w 69"/>
              <a:gd name="T43" fmla="*/ 1 h 87"/>
              <a:gd name="T44" fmla="*/ 17 w 69"/>
              <a:gd name="T45" fmla="*/ 0 h 87"/>
              <a:gd name="T46" fmla="*/ 22 w 69"/>
              <a:gd name="T47" fmla="*/ 3 h 87"/>
              <a:gd name="T48" fmla="*/ 26 w 69"/>
              <a:gd name="T49" fmla="*/ 13 h 87"/>
              <a:gd name="T50" fmla="*/ 32 w 69"/>
              <a:gd name="T51" fmla="*/ 22 h 87"/>
              <a:gd name="T52" fmla="*/ 43 w 69"/>
              <a:gd name="T53" fmla="*/ 26 h 87"/>
              <a:gd name="T54" fmla="*/ 53 w 69"/>
              <a:gd name="T55" fmla="*/ 26 h 87"/>
              <a:gd name="T56" fmla="*/ 58 w 69"/>
              <a:gd name="T57" fmla="*/ 26 h 8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9"/>
              <a:gd name="T88" fmla="*/ 0 h 87"/>
              <a:gd name="T89" fmla="*/ 69 w 69"/>
              <a:gd name="T90" fmla="*/ 87 h 8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9" h="87">
                <a:moveTo>
                  <a:pt x="58" y="26"/>
                </a:moveTo>
                <a:lnTo>
                  <a:pt x="61" y="30"/>
                </a:lnTo>
                <a:lnTo>
                  <a:pt x="67" y="39"/>
                </a:lnTo>
                <a:lnTo>
                  <a:pt x="69" y="49"/>
                </a:lnTo>
                <a:lnTo>
                  <a:pt x="65" y="59"/>
                </a:lnTo>
                <a:lnTo>
                  <a:pt x="58" y="66"/>
                </a:lnTo>
                <a:lnTo>
                  <a:pt x="54" y="70"/>
                </a:lnTo>
                <a:lnTo>
                  <a:pt x="54" y="76"/>
                </a:lnTo>
                <a:lnTo>
                  <a:pt x="54" y="83"/>
                </a:lnTo>
                <a:lnTo>
                  <a:pt x="53" y="87"/>
                </a:lnTo>
                <a:lnTo>
                  <a:pt x="51" y="87"/>
                </a:lnTo>
                <a:lnTo>
                  <a:pt x="44" y="83"/>
                </a:lnTo>
                <a:lnTo>
                  <a:pt x="32" y="73"/>
                </a:lnTo>
                <a:lnTo>
                  <a:pt x="21" y="63"/>
                </a:lnTo>
                <a:lnTo>
                  <a:pt x="14" y="59"/>
                </a:lnTo>
                <a:lnTo>
                  <a:pt x="8" y="54"/>
                </a:lnTo>
                <a:lnTo>
                  <a:pt x="5" y="45"/>
                </a:lnTo>
                <a:lnTo>
                  <a:pt x="1" y="32"/>
                </a:lnTo>
                <a:lnTo>
                  <a:pt x="0" y="21"/>
                </a:lnTo>
                <a:lnTo>
                  <a:pt x="0" y="13"/>
                </a:lnTo>
                <a:lnTo>
                  <a:pt x="5" y="6"/>
                </a:lnTo>
                <a:lnTo>
                  <a:pt x="12" y="1"/>
                </a:lnTo>
                <a:lnTo>
                  <a:pt x="17" y="0"/>
                </a:lnTo>
                <a:lnTo>
                  <a:pt x="22" y="3"/>
                </a:lnTo>
                <a:lnTo>
                  <a:pt x="26" y="13"/>
                </a:lnTo>
                <a:lnTo>
                  <a:pt x="32" y="22"/>
                </a:lnTo>
                <a:lnTo>
                  <a:pt x="43" y="26"/>
                </a:lnTo>
                <a:lnTo>
                  <a:pt x="53" y="26"/>
                </a:lnTo>
                <a:lnTo>
                  <a:pt x="58" y="26"/>
                </a:lnTo>
                <a:close/>
              </a:path>
            </a:pathLst>
          </a:custGeom>
          <a:solidFill>
            <a:schemeClr val="accent3"/>
          </a:solidFill>
          <a:ln w="12700">
            <a:solidFill>
              <a:schemeClr val="bg1"/>
            </a:solidFill>
            <a:round/>
            <a:headEnd/>
            <a:tailEnd/>
          </a:ln>
        </p:spPr>
        <p:txBody>
          <a:bodyPr/>
          <a:lstStyle/>
          <a:p>
            <a:pPr>
              <a:defRPr/>
            </a:pPr>
            <a:endParaRPr lang="nl-NL"/>
          </a:p>
        </p:txBody>
      </p:sp>
      <p:sp>
        <p:nvSpPr>
          <p:cNvPr id="68" name="Freeform 62"/>
          <p:cNvSpPr>
            <a:spLocks/>
          </p:cNvSpPr>
          <p:nvPr/>
        </p:nvSpPr>
        <p:spPr bwMode="auto">
          <a:xfrm>
            <a:off x="5215025" y="3608605"/>
            <a:ext cx="192198" cy="220298"/>
          </a:xfrm>
          <a:custGeom>
            <a:avLst/>
            <a:gdLst>
              <a:gd name="T0" fmla="*/ 88 w 115"/>
              <a:gd name="T1" fmla="*/ 68 h 117"/>
              <a:gd name="T2" fmla="*/ 92 w 115"/>
              <a:gd name="T3" fmla="*/ 70 h 117"/>
              <a:gd name="T4" fmla="*/ 98 w 115"/>
              <a:gd name="T5" fmla="*/ 74 h 117"/>
              <a:gd name="T6" fmla="*/ 103 w 115"/>
              <a:gd name="T7" fmla="*/ 79 h 117"/>
              <a:gd name="T8" fmla="*/ 108 w 115"/>
              <a:gd name="T9" fmla="*/ 85 h 117"/>
              <a:gd name="T10" fmla="*/ 112 w 115"/>
              <a:gd name="T11" fmla="*/ 91 h 117"/>
              <a:gd name="T12" fmla="*/ 115 w 115"/>
              <a:gd name="T13" fmla="*/ 97 h 117"/>
              <a:gd name="T14" fmla="*/ 115 w 115"/>
              <a:gd name="T15" fmla="*/ 102 h 117"/>
              <a:gd name="T16" fmla="*/ 113 w 115"/>
              <a:gd name="T17" fmla="*/ 107 h 117"/>
              <a:gd name="T18" fmla="*/ 106 w 115"/>
              <a:gd name="T19" fmla="*/ 114 h 117"/>
              <a:gd name="T20" fmla="*/ 99 w 115"/>
              <a:gd name="T21" fmla="*/ 117 h 117"/>
              <a:gd name="T22" fmla="*/ 93 w 115"/>
              <a:gd name="T23" fmla="*/ 117 h 117"/>
              <a:gd name="T24" fmla="*/ 84 w 115"/>
              <a:gd name="T25" fmla="*/ 114 h 117"/>
              <a:gd name="T26" fmla="*/ 79 w 115"/>
              <a:gd name="T27" fmla="*/ 112 h 117"/>
              <a:gd name="T28" fmla="*/ 75 w 115"/>
              <a:gd name="T29" fmla="*/ 112 h 117"/>
              <a:gd name="T30" fmla="*/ 70 w 115"/>
              <a:gd name="T31" fmla="*/ 112 h 117"/>
              <a:gd name="T32" fmla="*/ 67 w 115"/>
              <a:gd name="T33" fmla="*/ 112 h 117"/>
              <a:gd name="T34" fmla="*/ 63 w 115"/>
              <a:gd name="T35" fmla="*/ 112 h 117"/>
              <a:gd name="T36" fmla="*/ 59 w 115"/>
              <a:gd name="T37" fmla="*/ 112 h 117"/>
              <a:gd name="T38" fmla="*/ 54 w 115"/>
              <a:gd name="T39" fmla="*/ 110 h 117"/>
              <a:gd name="T40" fmla="*/ 50 w 115"/>
              <a:gd name="T41" fmla="*/ 107 h 117"/>
              <a:gd name="T42" fmla="*/ 41 w 115"/>
              <a:gd name="T43" fmla="*/ 101 h 117"/>
              <a:gd name="T44" fmla="*/ 39 w 115"/>
              <a:gd name="T45" fmla="*/ 98 h 117"/>
              <a:gd name="T46" fmla="*/ 37 w 115"/>
              <a:gd name="T47" fmla="*/ 92 h 117"/>
              <a:gd name="T48" fmla="*/ 36 w 115"/>
              <a:gd name="T49" fmla="*/ 82 h 117"/>
              <a:gd name="T50" fmla="*/ 32 w 115"/>
              <a:gd name="T51" fmla="*/ 69 h 117"/>
              <a:gd name="T52" fmla="*/ 28 w 115"/>
              <a:gd name="T53" fmla="*/ 61 h 117"/>
              <a:gd name="T54" fmla="*/ 23 w 115"/>
              <a:gd name="T55" fmla="*/ 57 h 117"/>
              <a:gd name="T56" fmla="*/ 22 w 115"/>
              <a:gd name="T57" fmla="*/ 64 h 117"/>
              <a:gd name="T58" fmla="*/ 25 w 115"/>
              <a:gd name="T59" fmla="*/ 74 h 117"/>
              <a:gd name="T60" fmla="*/ 30 w 115"/>
              <a:gd name="T61" fmla="*/ 78 h 117"/>
              <a:gd name="T62" fmla="*/ 31 w 115"/>
              <a:gd name="T63" fmla="*/ 79 h 117"/>
              <a:gd name="T64" fmla="*/ 22 w 115"/>
              <a:gd name="T65" fmla="*/ 82 h 117"/>
              <a:gd name="T66" fmla="*/ 9 w 115"/>
              <a:gd name="T67" fmla="*/ 83 h 117"/>
              <a:gd name="T68" fmla="*/ 2 w 115"/>
              <a:gd name="T69" fmla="*/ 80 h 117"/>
              <a:gd name="T70" fmla="*/ 0 w 115"/>
              <a:gd name="T71" fmla="*/ 75 h 117"/>
              <a:gd name="T72" fmla="*/ 0 w 115"/>
              <a:gd name="T73" fmla="*/ 64 h 117"/>
              <a:gd name="T74" fmla="*/ 3 w 115"/>
              <a:gd name="T75" fmla="*/ 53 h 117"/>
              <a:gd name="T76" fmla="*/ 9 w 115"/>
              <a:gd name="T77" fmla="*/ 41 h 117"/>
              <a:gd name="T78" fmla="*/ 16 w 115"/>
              <a:gd name="T79" fmla="*/ 34 h 117"/>
              <a:gd name="T80" fmla="*/ 18 w 115"/>
              <a:gd name="T81" fmla="*/ 31 h 117"/>
              <a:gd name="T82" fmla="*/ 21 w 115"/>
              <a:gd name="T83" fmla="*/ 34 h 117"/>
              <a:gd name="T84" fmla="*/ 28 w 115"/>
              <a:gd name="T85" fmla="*/ 40 h 117"/>
              <a:gd name="T86" fmla="*/ 35 w 115"/>
              <a:gd name="T87" fmla="*/ 44 h 117"/>
              <a:gd name="T88" fmla="*/ 39 w 115"/>
              <a:gd name="T89" fmla="*/ 38 h 117"/>
              <a:gd name="T90" fmla="*/ 43 w 115"/>
              <a:gd name="T91" fmla="*/ 25 h 117"/>
              <a:gd name="T92" fmla="*/ 47 w 115"/>
              <a:gd name="T93" fmla="*/ 13 h 117"/>
              <a:gd name="T94" fmla="*/ 52 w 115"/>
              <a:gd name="T95" fmla="*/ 3 h 117"/>
              <a:gd name="T96" fmla="*/ 53 w 115"/>
              <a:gd name="T97" fmla="*/ 0 h 117"/>
              <a:gd name="T98" fmla="*/ 55 w 115"/>
              <a:gd name="T99" fmla="*/ 4 h 117"/>
              <a:gd name="T100" fmla="*/ 60 w 115"/>
              <a:gd name="T101" fmla="*/ 17 h 117"/>
              <a:gd name="T102" fmla="*/ 65 w 115"/>
              <a:gd name="T103" fmla="*/ 32 h 117"/>
              <a:gd name="T104" fmla="*/ 67 w 115"/>
              <a:gd name="T105" fmla="*/ 45 h 117"/>
              <a:gd name="T106" fmla="*/ 70 w 115"/>
              <a:gd name="T107" fmla="*/ 54 h 117"/>
              <a:gd name="T108" fmla="*/ 77 w 115"/>
              <a:gd name="T109" fmla="*/ 61 h 117"/>
              <a:gd name="T110" fmla="*/ 84 w 115"/>
              <a:gd name="T111" fmla="*/ 65 h 117"/>
              <a:gd name="T112" fmla="*/ 88 w 115"/>
              <a:gd name="T113" fmla="*/ 68 h 1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5"/>
              <a:gd name="T172" fmla="*/ 0 h 117"/>
              <a:gd name="T173" fmla="*/ 115 w 115"/>
              <a:gd name="T174" fmla="*/ 117 h 11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5" h="117">
                <a:moveTo>
                  <a:pt x="88" y="68"/>
                </a:moveTo>
                <a:lnTo>
                  <a:pt x="92" y="70"/>
                </a:lnTo>
                <a:lnTo>
                  <a:pt x="98" y="74"/>
                </a:lnTo>
                <a:lnTo>
                  <a:pt x="103" y="79"/>
                </a:lnTo>
                <a:lnTo>
                  <a:pt x="108" y="85"/>
                </a:lnTo>
                <a:lnTo>
                  <a:pt x="112" y="91"/>
                </a:lnTo>
                <a:lnTo>
                  <a:pt x="115" y="97"/>
                </a:lnTo>
                <a:lnTo>
                  <a:pt x="115" y="102"/>
                </a:lnTo>
                <a:lnTo>
                  <a:pt x="113" y="107"/>
                </a:lnTo>
                <a:lnTo>
                  <a:pt x="106" y="114"/>
                </a:lnTo>
                <a:lnTo>
                  <a:pt x="99" y="117"/>
                </a:lnTo>
                <a:lnTo>
                  <a:pt x="93" y="117"/>
                </a:lnTo>
                <a:lnTo>
                  <a:pt x="84" y="114"/>
                </a:lnTo>
                <a:lnTo>
                  <a:pt x="79" y="112"/>
                </a:lnTo>
                <a:lnTo>
                  <a:pt x="75" y="112"/>
                </a:lnTo>
                <a:lnTo>
                  <a:pt x="70" y="112"/>
                </a:lnTo>
                <a:lnTo>
                  <a:pt x="67" y="112"/>
                </a:lnTo>
                <a:lnTo>
                  <a:pt x="63" y="112"/>
                </a:lnTo>
                <a:lnTo>
                  <a:pt x="59" y="112"/>
                </a:lnTo>
                <a:lnTo>
                  <a:pt x="54" y="110"/>
                </a:lnTo>
                <a:lnTo>
                  <a:pt x="50" y="107"/>
                </a:lnTo>
                <a:lnTo>
                  <a:pt x="41" y="101"/>
                </a:lnTo>
                <a:lnTo>
                  <a:pt x="39" y="98"/>
                </a:lnTo>
                <a:lnTo>
                  <a:pt x="37" y="92"/>
                </a:lnTo>
                <a:lnTo>
                  <a:pt x="36" y="82"/>
                </a:lnTo>
                <a:lnTo>
                  <a:pt x="32" y="69"/>
                </a:lnTo>
                <a:lnTo>
                  <a:pt x="28" y="61"/>
                </a:lnTo>
                <a:lnTo>
                  <a:pt x="23" y="57"/>
                </a:lnTo>
                <a:lnTo>
                  <a:pt x="22" y="64"/>
                </a:lnTo>
                <a:lnTo>
                  <a:pt x="25" y="74"/>
                </a:lnTo>
                <a:lnTo>
                  <a:pt x="30" y="78"/>
                </a:lnTo>
                <a:lnTo>
                  <a:pt x="31" y="79"/>
                </a:lnTo>
                <a:lnTo>
                  <a:pt x="22" y="82"/>
                </a:lnTo>
                <a:lnTo>
                  <a:pt x="9" y="83"/>
                </a:lnTo>
                <a:lnTo>
                  <a:pt x="2" y="80"/>
                </a:lnTo>
                <a:lnTo>
                  <a:pt x="0" y="75"/>
                </a:lnTo>
                <a:lnTo>
                  <a:pt x="0" y="64"/>
                </a:lnTo>
                <a:lnTo>
                  <a:pt x="3" y="53"/>
                </a:lnTo>
                <a:lnTo>
                  <a:pt x="9" y="41"/>
                </a:lnTo>
                <a:lnTo>
                  <a:pt x="16" y="34"/>
                </a:lnTo>
                <a:lnTo>
                  <a:pt x="18" y="31"/>
                </a:lnTo>
                <a:lnTo>
                  <a:pt x="21" y="34"/>
                </a:lnTo>
                <a:lnTo>
                  <a:pt x="28" y="40"/>
                </a:lnTo>
                <a:lnTo>
                  <a:pt x="35" y="44"/>
                </a:lnTo>
                <a:lnTo>
                  <a:pt x="39" y="38"/>
                </a:lnTo>
                <a:lnTo>
                  <a:pt x="43" y="25"/>
                </a:lnTo>
                <a:lnTo>
                  <a:pt x="47" y="13"/>
                </a:lnTo>
                <a:lnTo>
                  <a:pt x="52" y="3"/>
                </a:lnTo>
                <a:lnTo>
                  <a:pt x="53" y="0"/>
                </a:lnTo>
                <a:lnTo>
                  <a:pt x="55" y="4"/>
                </a:lnTo>
                <a:lnTo>
                  <a:pt x="60" y="17"/>
                </a:lnTo>
                <a:lnTo>
                  <a:pt x="65" y="32"/>
                </a:lnTo>
                <a:lnTo>
                  <a:pt x="67" y="45"/>
                </a:lnTo>
                <a:lnTo>
                  <a:pt x="70" y="54"/>
                </a:lnTo>
                <a:lnTo>
                  <a:pt x="77" y="61"/>
                </a:lnTo>
                <a:lnTo>
                  <a:pt x="84" y="65"/>
                </a:lnTo>
                <a:lnTo>
                  <a:pt x="88" y="68"/>
                </a:lnTo>
                <a:close/>
              </a:path>
            </a:pathLst>
          </a:custGeom>
          <a:solidFill>
            <a:schemeClr val="accent3"/>
          </a:solidFill>
          <a:ln w="12700">
            <a:solidFill>
              <a:schemeClr val="bg1"/>
            </a:solidFill>
            <a:round/>
            <a:headEnd/>
            <a:tailEnd/>
          </a:ln>
        </p:spPr>
        <p:txBody>
          <a:bodyPr/>
          <a:lstStyle/>
          <a:p>
            <a:pPr>
              <a:defRPr/>
            </a:pPr>
            <a:endParaRPr lang="nl-NL"/>
          </a:p>
        </p:txBody>
      </p:sp>
      <p:sp>
        <p:nvSpPr>
          <p:cNvPr id="69" name="Freeform 63"/>
          <p:cNvSpPr>
            <a:spLocks/>
          </p:cNvSpPr>
          <p:nvPr/>
        </p:nvSpPr>
        <p:spPr bwMode="auto">
          <a:xfrm>
            <a:off x="5307341" y="3383184"/>
            <a:ext cx="89289" cy="138327"/>
          </a:xfrm>
          <a:custGeom>
            <a:avLst/>
            <a:gdLst>
              <a:gd name="T0" fmla="*/ 46 w 56"/>
              <a:gd name="T1" fmla="*/ 68 h 75"/>
              <a:gd name="T2" fmla="*/ 22 w 56"/>
              <a:gd name="T3" fmla="*/ 75 h 75"/>
              <a:gd name="T4" fmla="*/ 21 w 56"/>
              <a:gd name="T5" fmla="*/ 74 h 75"/>
              <a:gd name="T6" fmla="*/ 19 w 56"/>
              <a:gd name="T7" fmla="*/ 71 h 75"/>
              <a:gd name="T8" fmla="*/ 15 w 56"/>
              <a:gd name="T9" fmla="*/ 69 h 75"/>
              <a:gd name="T10" fmla="*/ 8 w 56"/>
              <a:gd name="T11" fmla="*/ 68 h 75"/>
              <a:gd name="T12" fmla="*/ 3 w 56"/>
              <a:gd name="T13" fmla="*/ 67 h 75"/>
              <a:gd name="T14" fmla="*/ 0 w 56"/>
              <a:gd name="T15" fmla="*/ 64 h 75"/>
              <a:gd name="T16" fmla="*/ 1 w 56"/>
              <a:gd name="T17" fmla="*/ 57 h 75"/>
              <a:gd name="T18" fmla="*/ 5 w 56"/>
              <a:gd name="T19" fmla="*/ 47 h 75"/>
              <a:gd name="T20" fmla="*/ 11 w 56"/>
              <a:gd name="T21" fmla="*/ 33 h 75"/>
              <a:gd name="T22" fmla="*/ 16 w 56"/>
              <a:gd name="T23" fmla="*/ 19 h 75"/>
              <a:gd name="T24" fmla="*/ 21 w 56"/>
              <a:gd name="T25" fmla="*/ 9 h 75"/>
              <a:gd name="T26" fmla="*/ 22 w 56"/>
              <a:gd name="T27" fmla="*/ 4 h 75"/>
              <a:gd name="T28" fmla="*/ 23 w 56"/>
              <a:gd name="T29" fmla="*/ 2 h 75"/>
              <a:gd name="T30" fmla="*/ 28 w 56"/>
              <a:gd name="T31" fmla="*/ 0 h 75"/>
              <a:gd name="T32" fmla="*/ 33 w 56"/>
              <a:gd name="T33" fmla="*/ 1 h 75"/>
              <a:gd name="T34" fmla="*/ 36 w 56"/>
              <a:gd name="T35" fmla="*/ 11 h 75"/>
              <a:gd name="T36" fmla="*/ 38 w 56"/>
              <a:gd name="T37" fmla="*/ 19 h 75"/>
              <a:gd name="T38" fmla="*/ 43 w 56"/>
              <a:gd name="T39" fmla="*/ 29 h 75"/>
              <a:gd name="T40" fmla="*/ 48 w 56"/>
              <a:gd name="T41" fmla="*/ 37 h 75"/>
              <a:gd name="T42" fmla="*/ 52 w 56"/>
              <a:gd name="T43" fmla="*/ 45 h 75"/>
              <a:gd name="T44" fmla="*/ 56 w 56"/>
              <a:gd name="T45" fmla="*/ 53 h 75"/>
              <a:gd name="T46" fmla="*/ 56 w 56"/>
              <a:gd name="T47" fmla="*/ 59 h 75"/>
              <a:gd name="T48" fmla="*/ 53 w 56"/>
              <a:gd name="T49" fmla="*/ 64 h 75"/>
              <a:gd name="T50" fmla="*/ 46 w 56"/>
              <a:gd name="T51" fmla="*/ 68 h 7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
              <a:gd name="T79" fmla="*/ 0 h 75"/>
              <a:gd name="T80" fmla="*/ 56 w 56"/>
              <a:gd name="T81" fmla="*/ 75 h 7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 h="75">
                <a:moveTo>
                  <a:pt x="46" y="68"/>
                </a:moveTo>
                <a:lnTo>
                  <a:pt x="22" y="75"/>
                </a:lnTo>
                <a:lnTo>
                  <a:pt x="21" y="74"/>
                </a:lnTo>
                <a:lnTo>
                  <a:pt x="19" y="71"/>
                </a:lnTo>
                <a:lnTo>
                  <a:pt x="15" y="69"/>
                </a:lnTo>
                <a:lnTo>
                  <a:pt x="8" y="68"/>
                </a:lnTo>
                <a:lnTo>
                  <a:pt x="3" y="67"/>
                </a:lnTo>
                <a:lnTo>
                  <a:pt x="0" y="64"/>
                </a:lnTo>
                <a:lnTo>
                  <a:pt x="1" y="57"/>
                </a:lnTo>
                <a:lnTo>
                  <a:pt x="5" y="47"/>
                </a:lnTo>
                <a:lnTo>
                  <a:pt x="11" y="33"/>
                </a:lnTo>
                <a:lnTo>
                  <a:pt x="16" y="19"/>
                </a:lnTo>
                <a:lnTo>
                  <a:pt x="21" y="9"/>
                </a:lnTo>
                <a:lnTo>
                  <a:pt x="22" y="4"/>
                </a:lnTo>
                <a:lnTo>
                  <a:pt x="23" y="2"/>
                </a:lnTo>
                <a:lnTo>
                  <a:pt x="28" y="0"/>
                </a:lnTo>
                <a:lnTo>
                  <a:pt x="33" y="1"/>
                </a:lnTo>
                <a:lnTo>
                  <a:pt x="36" y="11"/>
                </a:lnTo>
                <a:lnTo>
                  <a:pt x="38" y="19"/>
                </a:lnTo>
                <a:lnTo>
                  <a:pt x="43" y="29"/>
                </a:lnTo>
                <a:lnTo>
                  <a:pt x="48" y="37"/>
                </a:lnTo>
                <a:lnTo>
                  <a:pt x="52" y="45"/>
                </a:lnTo>
                <a:lnTo>
                  <a:pt x="56" y="53"/>
                </a:lnTo>
                <a:lnTo>
                  <a:pt x="56" y="59"/>
                </a:lnTo>
                <a:lnTo>
                  <a:pt x="53" y="64"/>
                </a:lnTo>
                <a:lnTo>
                  <a:pt x="46" y="68"/>
                </a:lnTo>
                <a:close/>
              </a:path>
            </a:pathLst>
          </a:custGeom>
          <a:solidFill>
            <a:schemeClr val="accent3"/>
          </a:solidFill>
          <a:ln w="12700">
            <a:solidFill>
              <a:schemeClr val="bg1"/>
            </a:solidFill>
            <a:round/>
            <a:headEnd/>
            <a:tailEnd/>
          </a:ln>
        </p:spPr>
        <p:txBody>
          <a:bodyPr/>
          <a:lstStyle/>
          <a:p>
            <a:pPr>
              <a:defRPr/>
            </a:pPr>
            <a:endParaRPr lang="nl-NL"/>
          </a:p>
        </p:txBody>
      </p:sp>
      <p:sp>
        <p:nvSpPr>
          <p:cNvPr id="70" name="Freeform 64"/>
          <p:cNvSpPr>
            <a:spLocks/>
          </p:cNvSpPr>
          <p:nvPr/>
        </p:nvSpPr>
        <p:spPr bwMode="auto">
          <a:xfrm>
            <a:off x="4965319" y="2799137"/>
            <a:ext cx="180091" cy="266407"/>
          </a:xfrm>
          <a:custGeom>
            <a:avLst/>
            <a:gdLst>
              <a:gd name="T0" fmla="*/ 109 w 109"/>
              <a:gd name="T1" fmla="*/ 139 h 142"/>
              <a:gd name="T2" fmla="*/ 102 w 109"/>
              <a:gd name="T3" fmla="*/ 142 h 142"/>
              <a:gd name="T4" fmla="*/ 80 w 109"/>
              <a:gd name="T5" fmla="*/ 130 h 142"/>
              <a:gd name="T6" fmla="*/ 69 w 109"/>
              <a:gd name="T7" fmla="*/ 127 h 142"/>
              <a:gd name="T8" fmla="*/ 64 w 109"/>
              <a:gd name="T9" fmla="*/ 124 h 142"/>
              <a:gd name="T10" fmla="*/ 57 w 109"/>
              <a:gd name="T11" fmla="*/ 117 h 142"/>
              <a:gd name="T12" fmla="*/ 46 w 109"/>
              <a:gd name="T13" fmla="*/ 95 h 142"/>
              <a:gd name="T14" fmla="*/ 43 w 109"/>
              <a:gd name="T15" fmla="*/ 82 h 142"/>
              <a:gd name="T16" fmla="*/ 28 w 109"/>
              <a:gd name="T17" fmla="*/ 70 h 142"/>
              <a:gd name="T18" fmla="*/ 15 w 109"/>
              <a:gd name="T19" fmla="*/ 61 h 142"/>
              <a:gd name="T20" fmla="*/ 5 w 109"/>
              <a:gd name="T21" fmla="*/ 49 h 142"/>
              <a:gd name="T22" fmla="*/ 0 w 109"/>
              <a:gd name="T23" fmla="*/ 37 h 142"/>
              <a:gd name="T24" fmla="*/ 3 w 109"/>
              <a:gd name="T25" fmla="*/ 16 h 142"/>
              <a:gd name="T26" fmla="*/ 11 w 109"/>
              <a:gd name="T27" fmla="*/ 0 h 142"/>
              <a:gd name="T28" fmla="*/ 34 w 109"/>
              <a:gd name="T29" fmla="*/ 3 h 142"/>
              <a:gd name="T30" fmla="*/ 51 w 109"/>
              <a:gd name="T31" fmla="*/ 3 h 142"/>
              <a:gd name="T32" fmla="*/ 65 w 109"/>
              <a:gd name="T33" fmla="*/ 3 h 142"/>
              <a:gd name="T34" fmla="*/ 73 w 109"/>
              <a:gd name="T35" fmla="*/ 7 h 142"/>
              <a:gd name="T36" fmla="*/ 75 w 109"/>
              <a:gd name="T37" fmla="*/ 21 h 142"/>
              <a:gd name="T38" fmla="*/ 74 w 109"/>
              <a:gd name="T39" fmla="*/ 34 h 142"/>
              <a:gd name="T40" fmla="*/ 61 w 109"/>
              <a:gd name="T41" fmla="*/ 37 h 142"/>
              <a:gd name="T42" fmla="*/ 47 w 109"/>
              <a:gd name="T43" fmla="*/ 37 h 142"/>
              <a:gd name="T44" fmla="*/ 37 w 109"/>
              <a:gd name="T45" fmla="*/ 39 h 142"/>
              <a:gd name="T46" fmla="*/ 35 w 109"/>
              <a:gd name="T47" fmla="*/ 45 h 142"/>
              <a:gd name="T48" fmla="*/ 49 w 109"/>
              <a:gd name="T49" fmla="*/ 57 h 142"/>
              <a:gd name="T50" fmla="*/ 66 w 109"/>
              <a:gd name="T51" fmla="*/ 59 h 142"/>
              <a:gd name="T52" fmla="*/ 65 w 109"/>
              <a:gd name="T53" fmla="*/ 81 h 142"/>
              <a:gd name="T54" fmla="*/ 65 w 109"/>
              <a:gd name="T55" fmla="*/ 97 h 142"/>
              <a:gd name="T56" fmla="*/ 75 w 109"/>
              <a:gd name="T57" fmla="*/ 106 h 142"/>
              <a:gd name="T58" fmla="*/ 87 w 109"/>
              <a:gd name="T59" fmla="*/ 113 h 142"/>
              <a:gd name="T60" fmla="*/ 99 w 109"/>
              <a:gd name="T61" fmla="*/ 122 h 142"/>
              <a:gd name="T62" fmla="*/ 107 w 109"/>
              <a:gd name="T63" fmla="*/ 132 h 1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9"/>
              <a:gd name="T97" fmla="*/ 0 h 142"/>
              <a:gd name="T98" fmla="*/ 109 w 109"/>
              <a:gd name="T99" fmla="*/ 142 h 1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9" h="142">
                <a:moveTo>
                  <a:pt x="109" y="138"/>
                </a:moveTo>
                <a:lnTo>
                  <a:pt x="109" y="139"/>
                </a:lnTo>
                <a:lnTo>
                  <a:pt x="107" y="142"/>
                </a:lnTo>
                <a:lnTo>
                  <a:pt x="102" y="142"/>
                </a:lnTo>
                <a:lnTo>
                  <a:pt x="88" y="135"/>
                </a:lnTo>
                <a:lnTo>
                  <a:pt x="80" y="130"/>
                </a:lnTo>
                <a:lnTo>
                  <a:pt x="74" y="128"/>
                </a:lnTo>
                <a:lnTo>
                  <a:pt x="69" y="127"/>
                </a:lnTo>
                <a:lnTo>
                  <a:pt x="67" y="125"/>
                </a:lnTo>
                <a:lnTo>
                  <a:pt x="64" y="124"/>
                </a:lnTo>
                <a:lnTo>
                  <a:pt x="60" y="122"/>
                </a:lnTo>
                <a:lnTo>
                  <a:pt x="57" y="117"/>
                </a:lnTo>
                <a:lnTo>
                  <a:pt x="52" y="109"/>
                </a:lnTo>
                <a:lnTo>
                  <a:pt x="46" y="95"/>
                </a:lnTo>
                <a:lnTo>
                  <a:pt x="45" y="86"/>
                </a:lnTo>
                <a:lnTo>
                  <a:pt x="43" y="82"/>
                </a:lnTo>
                <a:lnTo>
                  <a:pt x="35" y="75"/>
                </a:lnTo>
                <a:lnTo>
                  <a:pt x="28" y="70"/>
                </a:lnTo>
                <a:lnTo>
                  <a:pt x="22" y="66"/>
                </a:lnTo>
                <a:lnTo>
                  <a:pt x="15" y="61"/>
                </a:lnTo>
                <a:lnTo>
                  <a:pt x="9" y="55"/>
                </a:lnTo>
                <a:lnTo>
                  <a:pt x="5" y="49"/>
                </a:lnTo>
                <a:lnTo>
                  <a:pt x="1" y="42"/>
                </a:lnTo>
                <a:lnTo>
                  <a:pt x="0" y="37"/>
                </a:lnTo>
                <a:lnTo>
                  <a:pt x="0" y="30"/>
                </a:lnTo>
                <a:lnTo>
                  <a:pt x="3" y="16"/>
                </a:lnTo>
                <a:lnTo>
                  <a:pt x="5" y="6"/>
                </a:lnTo>
                <a:lnTo>
                  <a:pt x="11" y="0"/>
                </a:lnTo>
                <a:lnTo>
                  <a:pt x="24" y="1"/>
                </a:lnTo>
                <a:lnTo>
                  <a:pt x="34" y="3"/>
                </a:lnTo>
                <a:lnTo>
                  <a:pt x="43" y="3"/>
                </a:lnTo>
                <a:lnTo>
                  <a:pt x="51" y="3"/>
                </a:lnTo>
                <a:lnTo>
                  <a:pt x="58" y="3"/>
                </a:lnTo>
                <a:lnTo>
                  <a:pt x="65" y="3"/>
                </a:lnTo>
                <a:lnTo>
                  <a:pt x="69" y="4"/>
                </a:lnTo>
                <a:lnTo>
                  <a:pt x="73" y="7"/>
                </a:lnTo>
                <a:lnTo>
                  <a:pt x="74" y="11"/>
                </a:lnTo>
                <a:lnTo>
                  <a:pt x="75" y="21"/>
                </a:lnTo>
                <a:lnTo>
                  <a:pt x="76" y="29"/>
                </a:lnTo>
                <a:lnTo>
                  <a:pt x="74" y="34"/>
                </a:lnTo>
                <a:lnTo>
                  <a:pt x="67" y="37"/>
                </a:lnTo>
                <a:lnTo>
                  <a:pt x="61" y="37"/>
                </a:lnTo>
                <a:lnTo>
                  <a:pt x="54" y="37"/>
                </a:lnTo>
                <a:lnTo>
                  <a:pt x="47" y="37"/>
                </a:lnTo>
                <a:lnTo>
                  <a:pt x="42" y="37"/>
                </a:lnTo>
                <a:lnTo>
                  <a:pt x="37" y="39"/>
                </a:lnTo>
                <a:lnTo>
                  <a:pt x="35" y="41"/>
                </a:lnTo>
                <a:lnTo>
                  <a:pt x="35" y="45"/>
                </a:lnTo>
                <a:lnTo>
                  <a:pt x="38" y="51"/>
                </a:lnTo>
                <a:lnTo>
                  <a:pt x="49" y="57"/>
                </a:lnTo>
                <a:lnTo>
                  <a:pt x="59" y="57"/>
                </a:lnTo>
                <a:lnTo>
                  <a:pt x="66" y="59"/>
                </a:lnTo>
                <a:lnTo>
                  <a:pt x="67" y="68"/>
                </a:lnTo>
                <a:lnTo>
                  <a:pt x="65" y="81"/>
                </a:lnTo>
                <a:lnTo>
                  <a:pt x="64" y="90"/>
                </a:lnTo>
                <a:lnTo>
                  <a:pt x="65" y="97"/>
                </a:lnTo>
                <a:lnTo>
                  <a:pt x="70" y="102"/>
                </a:lnTo>
                <a:lnTo>
                  <a:pt x="75" y="106"/>
                </a:lnTo>
                <a:lnTo>
                  <a:pt x="81" y="109"/>
                </a:lnTo>
                <a:lnTo>
                  <a:pt x="87" y="113"/>
                </a:lnTo>
                <a:lnTo>
                  <a:pt x="94" y="117"/>
                </a:lnTo>
                <a:lnTo>
                  <a:pt x="99" y="122"/>
                </a:lnTo>
                <a:lnTo>
                  <a:pt x="104" y="128"/>
                </a:lnTo>
                <a:lnTo>
                  <a:pt x="107" y="132"/>
                </a:lnTo>
                <a:lnTo>
                  <a:pt x="109" y="138"/>
                </a:lnTo>
                <a:close/>
              </a:path>
            </a:pathLst>
          </a:custGeom>
          <a:solidFill>
            <a:schemeClr val="accent3"/>
          </a:solidFill>
          <a:ln w="12700">
            <a:solidFill>
              <a:schemeClr val="bg1"/>
            </a:solidFill>
            <a:round/>
            <a:headEnd/>
            <a:tailEnd/>
          </a:ln>
        </p:spPr>
        <p:txBody>
          <a:bodyPr/>
          <a:lstStyle/>
          <a:p>
            <a:pPr>
              <a:defRPr/>
            </a:pPr>
            <a:endParaRPr lang="nl-NL"/>
          </a:p>
        </p:txBody>
      </p:sp>
      <p:sp>
        <p:nvSpPr>
          <p:cNvPr id="71" name="Freeform 65"/>
          <p:cNvSpPr>
            <a:spLocks/>
          </p:cNvSpPr>
          <p:nvPr/>
        </p:nvSpPr>
        <p:spPr bwMode="auto">
          <a:xfrm>
            <a:off x="6855519" y="3335367"/>
            <a:ext cx="105936" cy="126373"/>
          </a:xfrm>
          <a:custGeom>
            <a:avLst/>
            <a:gdLst>
              <a:gd name="T0" fmla="*/ 61 w 62"/>
              <a:gd name="T1" fmla="*/ 51 h 66"/>
              <a:gd name="T2" fmla="*/ 62 w 62"/>
              <a:gd name="T3" fmla="*/ 55 h 66"/>
              <a:gd name="T4" fmla="*/ 62 w 62"/>
              <a:gd name="T5" fmla="*/ 61 h 66"/>
              <a:gd name="T6" fmla="*/ 60 w 62"/>
              <a:gd name="T7" fmla="*/ 66 h 66"/>
              <a:gd name="T8" fmla="*/ 51 w 62"/>
              <a:gd name="T9" fmla="*/ 65 h 66"/>
              <a:gd name="T10" fmla="*/ 40 w 62"/>
              <a:gd name="T11" fmla="*/ 59 h 66"/>
              <a:gd name="T12" fmla="*/ 33 w 62"/>
              <a:gd name="T13" fmla="*/ 53 h 66"/>
              <a:gd name="T14" fmla="*/ 31 w 62"/>
              <a:gd name="T15" fmla="*/ 47 h 66"/>
              <a:gd name="T16" fmla="*/ 30 w 62"/>
              <a:gd name="T17" fmla="*/ 44 h 66"/>
              <a:gd name="T18" fmla="*/ 29 w 62"/>
              <a:gd name="T19" fmla="*/ 42 h 66"/>
              <a:gd name="T20" fmla="*/ 26 w 62"/>
              <a:gd name="T21" fmla="*/ 39 h 66"/>
              <a:gd name="T22" fmla="*/ 23 w 62"/>
              <a:gd name="T23" fmla="*/ 35 h 66"/>
              <a:gd name="T24" fmla="*/ 16 w 62"/>
              <a:gd name="T25" fmla="*/ 33 h 66"/>
              <a:gd name="T26" fmla="*/ 8 w 62"/>
              <a:gd name="T27" fmla="*/ 33 h 66"/>
              <a:gd name="T28" fmla="*/ 3 w 62"/>
              <a:gd name="T29" fmla="*/ 31 h 66"/>
              <a:gd name="T30" fmla="*/ 0 w 62"/>
              <a:gd name="T31" fmla="*/ 27 h 66"/>
              <a:gd name="T32" fmla="*/ 1 w 62"/>
              <a:gd name="T33" fmla="*/ 19 h 66"/>
              <a:gd name="T34" fmla="*/ 3 w 62"/>
              <a:gd name="T35" fmla="*/ 10 h 66"/>
              <a:gd name="T36" fmla="*/ 7 w 62"/>
              <a:gd name="T37" fmla="*/ 3 h 66"/>
              <a:gd name="T38" fmla="*/ 13 w 62"/>
              <a:gd name="T39" fmla="*/ 0 h 66"/>
              <a:gd name="T40" fmla="*/ 19 w 62"/>
              <a:gd name="T41" fmla="*/ 2 h 66"/>
              <a:gd name="T42" fmla="*/ 28 w 62"/>
              <a:gd name="T43" fmla="*/ 5 h 66"/>
              <a:gd name="T44" fmla="*/ 33 w 62"/>
              <a:gd name="T45" fmla="*/ 8 h 66"/>
              <a:gd name="T46" fmla="*/ 37 w 62"/>
              <a:gd name="T47" fmla="*/ 11 h 66"/>
              <a:gd name="T48" fmla="*/ 37 w 62"/>
              <a:gd name="T49" fmla="*/ 19 h 66"/>
              <a:gd name="T50" fmla="*/ 39 w 62"/>
              <a:gd name="T51" fmla="*/ 28 h 66"/>
              <a:gd name="T52" fmla="*/ 47 w 62"/>
              <a:gd name="T53" fmla="*/ 36 h 66"/>
              <a:gd name="T54" fmla="*/ 56 w 62"/>
              <a:gd name="T55" fmla="*/ 43 h 66"/>
              <a:gd name="T56" fmla="*/ 61 w 62"/>
              <a:gd name="T57" fmla="*/ 51 h 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2"/>
              <a:gd name="T88" fmla="*/ 0 h 66"/>
              <a:gd name="T89" fmla="*/ 62 w 62"/>
              <a:gd name="T90" fmla="*/ 66 h 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2" h="66">
                <a:moveTo>
                  <a:pt x="61" y="51"/>
                </a:moveTo>
                <a:lnTo>
                  <a:pt x="62" y="55"/>
                </a:lnTo>
                <a:lnTo>
                  <a:pt x="62" y="61"/>
                </a:lnTo>
                <a:lnTo>
                  <a:pt x="60" y="66"/>
                </a:lnTo>
                <a:lnTo>
                  <a:pt x="51" y="65"/>
                </a:lnTo>
                <a:lnTo>
                  <a:pt x="40" y="59"/>
                </a:lnTo>
                <a:lnTo>
                  <a:pt x="33" y="53"/>
                </a:lnTo>
                <a:lnTo>
                  <a:pt x="31" y="47"/>
                </a:lnTo>
                <a:lnTo>
                  <a:pt x="30" y="44"/>
                </a:lnTo>
                <a:lnTo>
                  <a:pt x="29" y="42"/>
                </a:lnTo>
                <a:lnTo>
                  <a:pt x="26" y="39"/>
                </a:lnTo>
                <a:lnTo>
                  <a:pt x="23" y="35"/>
                </a:lnTo>
                <a:lnTo>
                  <a:pt x="16" y="33"/>
                </a:lnTo>
                <a:lnTo>
                  <a:pt x="8" y="33"/>
                </a:lnTo>
                <a:lnTo>
                  <a:pt x="3" y="31"/>
                </a:lnTo>
                <a:lnTo>
                  <a:pt x="0" y="27"/>
                </a:lnTo>
                <a:lnTo>
                  <a:pt x="1" y="19"/>
                </a:lnTo>
                <a:lnTo>
                  <a:pt x="3" y="10"/>
                </a:lnTo>
                <a:lnTo>
                  <a:pt x="7" y="3"/>
                </a:lnTo>
                <a:lnTo>
                  <a:pt x="13" y="0"/>
                </a:lnTo>
                <a:lnTo>
                  <a:pt x="19" y="2"/>
                </a:lnTo>
                <a:lnTo>
                  <a:pt x="28" y="5"/>
                </a:lnTo>
                <a:lnTo>
                  <a:pt x="33" y="8"/>
                </a:lnTo>
                <a:lnTo>
                  <a:pt x="37" y="11"/>
                </a:lnTo>
                <a:lnTo>
                  <a:pt x="37" y="19"/>
                </a:lnTo>
                <a:lnTo>
                  <a:pt x="39" y="28"/>
                </a:lnTo>
                <a:lnTo>
                  <a:pt x="47" y="36"/>
                </a:lnTo>
                <a:lnTo>
                  <a:pt x="56" y="43"/>
                </a:lnTo>
                <a:lnTo>
                  <a:pt x="61" y="51"/>
                </a:lnTo>
                <a:close/>
              </a:path>
            </a:pathLst>
          </a:custGeom>
          <a:solidFill>
            <a:schemeClr val="accent3"/>
          </a:solidFill>
          <a:ln w="12700">
            <a:solidFill>
              <a:schemeClr val="bg1"/>
            </a:solidFill>
            <a:round/>
            <a:headEnd/>
            <a:tailEnd/>
          </a:ln>
        </p:spPr>
        <p:txBody>
          <a:bodyPr/>
          <a:lstStyle/>
          <a:p>
            <a:pPr>
              <a:defRPr/>
            </a:pPr>
            <a:endParaRPr lang="nl-NL"/>
          </a:p>
        </p:txBody>
      </p:sp>
      <p:sp>
        <p:nvSpPr>
          <p:cNvPr id="72" name="Freeform 66"/>
          <p:cNvSpPr>
            <a:spLocks/>
          </p:cNvSpPr>
          <p:nvPr/>
        </p:nvSpPr>
        <p:spPr bwMode="auto">
          <a:xfrm>
            <a:off x="6627000" y="3169716"/>
            <a:ext cx="52968" cy="46109"/>
          </a:xfrm>
          <a:custGeom>
            <a:avLst/>
            <a:gdLst>
              <a:gd name="T0" fmla="*/ 31 w 31"/>
              <a:gd name="T1" fmla="*/ 2 h 23"/>
              <a:gd name="T2" fmla="*/ 30 w 31"/>
              <a:gd name="T3" fmla="*/ 3 h 23"/>
              <a:gd name="T4" fmla="*/ 26 w 31"/>
              <a:gd name="T5" fmla="*/ 6 h 23"/>
              <a:gd name="T6" fmla="*/ 21 w 31"/>
              <a:gd name="T7" fmla="*/ 9 h 23"/>
              <a:gd name="T8" fmla="*/ 17 w 31"/>
              <a:gd name="T9" fmla="*/ 16 h 23"/>
              <a:gd name="T10" fmla="*/ 11 w 31"/>
              <a:gd name="T11" fmla="*/ 22 h 23"/>
              <a:gd name="T12" fmla="*/ 5 w 31"/>
              <a:gd name="T13" fmla="*/ 23 h 23"/>
              <a:gd name="T14" fmla="*/ 2 w 31"/>
              <a:gd name="T15" fmla="*/ 23 h 23"/>
              <a:gd name="T16" fmla="*/ 0 w 31"/>
              <a:gd name="T17" fmla="*/ 23 h 23"/>
              <a:gd name="T18" fmla="*/ 3 w 31"/>
              <a:gd name="T19" fmla="*/ 17 h 23"/>
              <a:gd name="T20" fmla="*/ 10 w 31"/>
              <a:gd name="T21" fmla="*/ 7 h 23"/>
              <a:gd name="T22" fmla="*/ 20 w 31"/>
              <a:gd name="T23" fmla="*/ 0 h 23"/>
              <a:gd name="T24" fmla="*/ 31 w 31"/>
              <a:gd name="T25" fmla="*/ 2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23"/>
              <a:gd name="T41" fmla="*/ 31 w 31"/>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23">
                <a:moveTo>
                  <a:pt x="31" y="2"/>
                </a:moveTo>
                <a:lnTo>
                  <a:pt x="30" y="3"/>
                </a:lnTo>
                <a:lnTo>
                  <a:pt x="26" y="6"/>
                </a:lnTo>
                <a:lnTo>
                  <a:pt x="21" y="9"/>
                </a:lnTo>
                <a:lnTo>
                  <a:pt x="17" y="16"/>
                </a:lnTo>
                <a:lnTo>
                  <a:pt x="11" y="22"/>
                </a:lnTo>
                <a:lnTo>
                  <a:pt x="5" y="23"/>
                </a:lnTo>
                <a:lnTo>
                  <a:pt x="2" y="23"/>
                </a:lnTo>
                <a:lnTo>
                  <a:pt x="0" y="23"/>
                </a:lnTo>
                <a:lnTo>
                  <a:pt x="3" y="17"/>
                </a:lnTo>
                <a:lnTo>
                  <a:pt x="10" y="7"/>
                </a:lnTo>
                <a:lnTo>
                  <a:pt x="20" y="0"/>
                </a:lnTo>
                <a:lnTo>
                  <a:pt x="31" y="2"/>
                </a:lnTo>
                <a:close/>
              </a:path>
            </a:pathLst>
          </a:custGeom>
          <a:solidFill>
            <a:schemeClr val="accent3"/>
          </a:solidFill>
          <a:ln w="12700">
            <a:solidFill>
              <a:schemeClr val="bg1"/>
            </a:solidFill>
            <a:round/>
            <a:headEnd/>
            <a:tailEnd/>
          </a:ln>
        </p:spPr>
        <p:txBody>
          <a:bodyPr/>
          <a:lstStyle/>
          <a:p>
            <a:pPr>
              <a:defRPr/>
            </a:pPr>
            <a:endParaRPr lang="nl-NL"/>
          </a:p>
        </p:txBody>
      </p:sp>
      <p:sp>
        <p:nvSpPr>
          <p:cNvPr id="73" name="Freeform 67"/>
          <p:cNvSpPr>
            <a:spLocks/>
          </p:cNvSpPr>
          <p:nvPr/>
        </p:nvSpPr>
        <p:spPr bwMode="auto">
          <a:xfrm>
            <a:off x="6533171" y="3222656"/>
            <a:ext cx="69615" cy="52940"/>
          </a:xfrm>
          <a:custGeom>
            <a:avLst/>
            <a:gdLst>
              <a:gd name="T0" fmla="*/ 43 w 43"/>
              <a:gd name="T1" fmla="*/ 12 h 29"/>
              <a:gd name="T2" fmla="*/ 43 w 43"/>
              <a:gd name="T3" fmla="*/ 14 h 29"/>
              <a:gd name="T4" fmla="*/ 43 w 43"/>
              <a:gd name="T5" fmla="*/ 20 h 29"/>
              <a:gd name="T6" fmla="*/ 38 w 43"/>
              <a:gd name="T7" fmla="*/ 27 h 29"/>
              <a:gd name="T8" fmla="*/ 29 w 43"/>
              <a:gd name="T9" fmla="*/ 29 h 29"/>
              <a:gd name="T10" fmla="*/ 17 w 43"/>
              <a:gd name="T11" fmla="*/ 28 h 29"/>
              <a:gd name="T12" fmla="*/ 9 w 43"/>
              <a:gd name="T13" fmla="*/ 24 h 29"/>
              <a:gd name="T14" fmla="*/ 5 w 43"/>
              <a:gd name="T15" fmla="*/ 20 h 29"/>
              <a:gd name="T16" fmla="*/ 4 w 43"/>
              <a:gd name="T17" fmla="*/ 19 h 29"/>
              <a:gd name="T18" fmla="*/ 0 w 43"/>
              <a:gd name="T19" fmla="*/ 0 h 29"/>
              <a:gd name="T20" fmla="*/ 43 w 43"/>
              <a:gd name="T21" fmla="*/ 12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
              <a:gd name="T34" fmla="*/ 0 h 29"/>
              <a:gd name="T35" fmla="*/ 43 w 43"/>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 h="29">
                <a:moveTo>
                  <a:pt x="43" y="12"/>
                </a:moveTo>
                <a:lnTo>
                  <a:pt x="43" y="14"/>
                </a:lnTo>
                <a:lnTo>
                  <a:pt x="43" y="20"/>
                </a:lnTo>
                <a:lnTo>
                  <a:pt x="38" y="27"/>
                </a:lnTo>
                <a:lnTo>
                  <a:pt x="29" y="29"/>
                </a:lnTo>
                <a:lnTo>
                  <a:pt x="17" y="28"/>
                </a:lnTo>
                <a:lnTo>
                  <a:pt x="9" y="24"/>
                </a:lnTo>
                <a:lnTo>
                  <a:pt x="5" y="20"/>
                </a:lnTo>
                <a:lnTo>
                  <a:pt x="4" y="19"/>
                </a:lnTo>
                <a:lnTo>
                  <a:pt x="0" y="0"/>
                </a:lnTo>
                <a:lnTo>
                  <a:pt x="43" y="12"/>
                </a:lnTo>
                <a:close/>
              </a:path>
            </a:pathLst>
          </a:custGeom>
          <a:solidFill>
            <a:schemeClr val="accent3"/>
          </a:solidFill>
          <a:ln w="12700">
            <a:solidFill>
              <a:schemeClr val="bg1"/>
            </a:solidFill>
            <a:round/>
            <a:headEnd/>
            <a:tailEnd/>
          </a:ln>
        </p:spPr>
        <p:txBody>
          <a:bodyPr/>
          <a:lstStyle/>
          <a:p>
            <a:pPr>
              <a:defRPr/>
            </a:pPr>
            <a:endParaRPr lang="nl-NL"/>
          </a:p>
        </p:txBody>
      </p:sp>
      <p:sp>
        <p:nvSpPr>
          <p:cNvPr id="74" name="Freeform 68"/>
          <p:cNvSpPr>
            <a:spLocks/>
          </p:cNvSpPr>
          <p:nvPr/>
        </p:nvSpPr>
        <p:spPr bwMode="auto">
          <a:xfrm>
            <a:off x="6451449" y="3197040"/>
            <a:ext cx="36321" cy="59771"/>
          </a:xfrm>
          <a:custGeom>
            <a:avLst/>
            <a:gdLst>
              <a:gd name="T0" fmla="*/ 23 w 23"/>
              <a:gd name="T1" fmla="*/ 0 h 32"/>
              <a:gd name="T2" fmla="*/ 13 w 23"/>
              <a:gd name="T3" fmla="*/ 32 h 32"/>
              <a:gd name="T4" fmla="*/ 0 w 23"/>
              <a:gd name="T5" fmla="*/ 18 h 32"/>
              <a:gd name="T6" fmla="*/ 23 w 23"/>
              <a:gd name="T7" fmla="*/ 0 h 32"/>
              <a:gd name="T8" fmla="*/ 0 60000 65536"/>
              <a:gd name="T9" fmla="*/ 0 60000 65536"/>
              <a:gd name="T10" fmla="*/ 0 60000 65536"/>
              <a:gd name="T11" fmla="*/ 0 60000 65536"/>
              <a:gd name="T12" fmla="*/ 0 w 23"/>
              <a:gd name="T13" fmla="*/ 0 h 32"/>
              <a:gd name="T14" fmla="*/ 23 w 23"/>
              <a:gd name="T15" fmla="*/ 32 h 32"/>
            </a:gdLst>
            <a:ahLst/>
            <a:cxnLst>
              <a:cxn ang="T8">
                <a:pos x="T0" y="T1"/>
              </a:cxn>
              <a:cxn ang="T9">
                <a:pos x="T2" y="T3"/>
              </a:cxn>
              <a:cxn ang="T10">
                <a:pos x="T4" y="T5"/>
              </a:cxn>
              <a:cxn ang="T11">
                <a:pos x="T6" y="T7"/>
              </a:cxn>
            </a:cxnLst>
            <a:rect l="T12" t="T13" r="T14" b="T15"/>
            <a:pathLst>
              <a:path w="23" h="32">
                <a:moveTo>
                  <a:pt x="23" y="0"/>
                </a:moveTo>
                <a:lnTo>
                  <a:pt x="13" y="32"/>
                </a:lnTo>
                <a:lnTo>
                  <a:pt x="0" y="18"/>
                </a:lnTo>
                <a:lnTo>
                  <a:pt x="23" y="0"/>
                </a:lnTo>
                <a:close/>
              </a:path>
            </a:pathLst>
          </a:custGeom>
          <a:solidFill>
            <a:schemeClr val="accent3"/>
          </a:solidFill>
          <a:ln w="12700">
            <a:solidFill>
              <a:schemeClr val="bg1"/>
            </a:solidFill>
            <a:round/>
            <a:headEnd/>
            <a:tailEnd/>
          </a:ln>
        </p:spPr>
        <p:txBody>
          <a:bodyPr/>
          <a:lstStyle/>
          <a:p>
            <a:pPr>
              <a:defRPr/>
            </a:pPr>
            <a:endParaRPr lang="nl-NL"/>
          </a:p>
        </p:txBody>
      </p:sp>
      <p:sp>
        <p:nvSpPr>
          <p:cNvPr id="75" name="Freeform 69"/>
          <p:cNvSpPr>
            <a:spLocks/>
          </p:cNvSpPr>
          <p:nvPr/>
        </p:nvSpPr>
        <p:spPr bwMode="auto">
          <a:xfrm>
            <a:off x="7064365" y="2986988"/>
            <a:ext cx="42374" cy="52940"/>
          </a:xfrm>
          <a:custGeom>
            <a:avLst/>
            <a:gdLst>
              <a:gd name="T0" fmla="*/ 28 w 28"/>
              <a:gd name="T1" fmla="*/ 0 h 28"/>
              <a:gd name="T2" fmla="*/ 28 w 28"/>
              <a:gd name="T3" fmla="*/ 3 h 28"/>
              <a:gd name="T4" fmla="*/ 28 w 28"/>
              <a:gd name="T5" fmla="*/ 10 h 28"/>
              <a:gd name="T6" fmla="*/ 27 w 28"/>
              <a:gd name="T7" fmla="*/ 18 h 28"/>
              <a:gd name="T8" fmla="*/ 21 w 28"/>
              <a:gd name="T9" fmla="*/ 24 h 28"/>
              <a:gd name="T10" fmla="*/ 13 w 28"/>
              <a:gd name="T11" fmla="*/ 26 h 28"/>
              <a:gd name="T12" fmla="*/ 7 w 28"/>
              <a:gd name="T13" fmla="*/ 28 h 28"/>
              <a:gd name="T14" fmla="*/ 3 w 28"/>
              <a:gd name="T15" fmla="*/ 28 h 28"/>
              <a:gd name="T16" fmla="*/ 0 w 28"/>
              <a:gd name="T17" fmla="*/ 28 h 28"/>
              <a:gd name="T18" fmla="*/ 3 w 28"/>
              <a:gd name="T19" fmla="*/ 23 h 28"/>
              <a:gd name="T20" fmla="*/ 7 w 28"/>
              <a:gd name="T21" fmla="*/ 14 h 28"/>
              <a:gd name="T22" fmla="*/ 16 w 28"/>
              <a:gd name="T23" fmla="*/ 5 h 28"/>
              <a:gd name="T24" fmla="*/ 28 w 28"/>
              <a:gd name="T25" fmla="*/ 0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28"/>
              <a:gd name="T41" fmla="*/ 28 w 28"/>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28">
                <a:moveTo>
                  <a:pt x="28" y="0"/>
                </a:moveTo>
                <a:lnTo>
                  <a:pt x="28" y="3"/>
                </a:lnTo>
                <a:lnTo>
                  <a:pt x="28" y="10"/>
                </a:lnTo>
                <a:lnTo>
                  <a:pt x="27" y="18"/>
                </a:lnTo>
                <a:lnTo>
                  <a:pt x="21" y="24"/>
                </a:lnTo>
                <a:lnTo>
                  <a:pt x="13" y="26"/>
                </a:lnTo>
                <a:lnTo>
                  <a:pt x="7" y="28"/>
                </a:lnTo>
                <a:lnTo>
                  <a:pt x="3" y="28"/>
                </a:lnTo>
                <a:lnTo>
                  <a:pt x="0" y="28"/>
                </a:lnTo>
                <a:lnTo>
                  <a:pt x="3" y="23"/>
                </a:lnTo>
                <a:lnTo>
                  <a:pt x="7" y="14"/>
                </a:lnTo>
                <a:lnTo>
                  <a:pt x="16" y="5"/>
                </a:lnTo>
                <a:lnTo>
                  <a:pt x="28" y="0"/>
                </a:lnTo>
                <a:close/>
              </a:path>
            </a:pathLst>
          </a:custGeom>
          <a:solidFill>
            <a:schemeClr val="accent3"/>
          </a:solidFill>
          <a:ln w="12700">
            <a:solidFill>
              <a:schemeClr val="bg1"/>
            </a:solidFill>
            <a:round/>
            <a:headEnd/>
            <a:tailEnd/>
          </a:ln>
        </p:spPr>
        <p:txBody>
          <a:bodyPr/>
          <a:lstStyle/>
          <a:p>
            <a:pPr>
              <a:defRPr/>
            </a:pPr>
            <a:endParaRPr lang="nl-NL"/>
          </a:p>
        </p:txBody>
      </p:sp>
      <p:sp>
        <p:nvSpPr>
          <p:cNvPr id="76" name="Freeform 70"/>
          <p:cNvSpPr>
            <a:spLocks/>
          </p:cNvSpPr>
          <p:nvPr/>
        </p:nvSpPr>
        <p:spPr bwMode="auto">
          <a:xfrm>
            <a:off x="7087065" y="2720581"/>
            <a:ext cx="166471" cy="143450"/>
          </a:xfrm>
          <a:custGeom>
            <a:avLst/>
            <a:gdLst>
              <a:gd name="T0" fmla="*/ 102 w 102"/>
              <a:gd name="T1" fmla="*/ 0 h 77"/>
              <a:gd name="T2" fmla="*/ 99 w 102"/>
              <a:gd name="T3" fmla="*/ 4 h 77"/>
              <a:gd name="T4" fmla="*/ 95 w 102"/>
              <a:gd name="T5" fmla="*/ 14 h 77"/>
              <a:gd name="T6" fmla="*/ 89 w 102"/>
              <a:gd name="T7" fmla="*/ 27 h 77"/>
              <a:gd name="T8" fmla="*/ 84 w 102"/>
              <a:gd name="T9" fmla="*/ 38 h 77"/>
              <a:gd name="T10" fmla="*/ 82 w 102"/>
              <a:gd name="T11" fmla="*/ 50 h 77"/>
              <a:gd name="T12" fmla="*/ 80 w 102"/>
              <a:gd name="T13" fmla="*/ 61 h 77"/>
              <a:gd name="T14" fmla="*/ 78 w 102"/>
              <a:gd name="T15" fmla="*/ 70 h 77"/>
              <a:gd name="T16" fmla="*/ 77 w 102"/>
              <a:gd name="T17" fmla="*/ 74 h 77"/>
              <a:gd name="T18" fmla="*/ 75 w 102"/>
              <a:gd name="T19" fmla="*/ 74 h 77"/>
              <a:gd name="T20" fmla="*/ 70 w 102"/>
              <a:gd name="T21" fmla="*/ 72 h 77"/>
              <a:gd name="T22" fmla="*/ 65 w 102"/>
              <a:gd name="T23" fmla="*/ 68 h 77"/>
              <a:gd name="T24" fmla="*/ 62 w 102"/>
              <a:gd name="T25" fmla="*/ 59 h 77"/>
              <a:gd name="T26" fmla="*/ 60 w 102"/>
              <a:gd name="T27" fmla="*/ 51 h 77"/>
              <a:gd name="T28" fmla="*/ 55 w 102"/>
              <a:gd name="T29" fmla="*/ 45 h 77"/>
              <a:gd name="T30" fmla="*/ 51 w 102"/>
              <a:gd name="T31" fmla="*/ 43 h 77"/>
              <a:gd name="T32" fmla="*/ 49 w 102"/>
              <a:gd name="T33" fmla="*/ 42 h 77"/>
              <a:gd name="T34" fmla="*/ 50 w 102"/>
              <a:gd name="T35" fmla="*/ 45 h 77"/>
              <a:gd name="T36" fmla="*/ 52 w 102"/>
              <a:gd name="T37" fmla="*/ 54 h 77"/>
              <a:gd name="T38" fmla="*/ 52 w 102"/>
              <a:gd name="T39" fmla="*/ 66 h 77"/>
              <a:gd name="T40" fmla="*/ 45 w 102"/>
              <a:gd name="T41" fmla="*/ 74 h 77"/>
              <a:gd name="T42" fmla="*/ 37 w 102"/>
              <a:gd name="T43" fmla="*/ 77 h 77"/>
              <a:gd name="T44" fmla="*/ 34 w 102"/>
              <a:gd name="T45" fmla="*/ 77 h 77"/>
              <a:gd name="T46" fmla="*/ 30 w 102"/>
              <a:gd name="T47" fmla="*/ 73 h 77"/>
              <a:gd name="T48" fmla="*/ 24 w 102"/>
              <a:gd name="T49" fmla="*/ 62 h 77"/>
              <a:gd name="T50" fmla="*/ 20 w 102"/>
              <a:gd name="T51" fmla="*/ 52 h 77"/>
              <a:gd name="T52" fmla="*/ 20 w 102"/>
              <a:gd name="T53" fmla="*/ 44 h 77"/>
              <a:gd name="T54" fmla="*/ 19 w 102"/>
              <a:gd name="T55" fmla="*/ 38 h 77"/>
              <a:gd name="T56" fmla="*/ 14 w 102"/>
              <a:gd name="T57" fmla="*/ 31 h 77"/>
              <a:gd name="T58" fmla="*/ 6 w 102"/>
              <a:gd name="T59" fmla="*/ 22 h 77"/>
              <a:gd name="T60" fmla="*/ 0 w 102"/>
              <a:gd name="T61" fmla="*/ 14 h 77"/>
              <a:gd name="T62" fmla="*/ 1 w 102"/>
              <a:gd name="T63" fmla="*/ 8 h 77"/>
              <a:gd name="T64" fmla="*/ 10 w 102"/>
              <a:gd name="T65" fmla="*/ 7 h 77"/>
              <a:gd name="T66" fmla="*/ 22 w 102"/>
              <a:gd name="T67" fmla="*/ 9 h 77"/>
              <a:gd name="T68" fmla="*/ 29 w 102"/>
              <a:gd name="T69" fmla="*/ 12 h 77"/>
              <a:gd name="T70" fmla="*/ 34 w 102"/>
              <a:gd name="T71" fmla="*/ 13 h 77"/>
              <a:gd name="T72" fmla="*/ 42 w 102"/>
              <a:gd name="T73" fmla="*/ 14 h 77"/>
              <a:gd name="T74" fmla="*/ 46 w 102"/>
              <a:gd name="T75" fmla="*/ 14 h 77"/>
              <a:gd name="T76" fmla="*/ 46 w 102"/>
              <a:gd name="T77" fmla="*/ 13 h 77"/>
              <a:gd name="T78" fmla="*/ 46 w 102"/>
              <a:gd name="T79" fmla="*/ 13 h 77"/>
              <a:gd name="T80" fmla="*/ 55 w 102"/>
              <a:gd name="T81" fmla="*/ 14 h 77"/>
              <a:gd name="T82" fmla="*/ 62 w 102"/>
              <a:gd name="T83" fmla="*/ 14 h 77"/>
              <a:gd name="T84" fmla="*/ 69 w 102"/>
              <a:gd name="T85" fmla="*/ 13 h 77"/>
              <a:gd name="T86" fmla="*/ 74 w 102"/>
              <a:gd name="T87" fmla="*/ 10 h 77"/>
              <a:gd name="T88" fmla="*/ 78 w 102"/>
              <a:gd name="T89" fmla="*/ 7 h 77"/>
              <a:gd name="T90" fmla="*/ 83 w 102"/>
              <a:gd name="T91" fmla="*/ 4 h 77"/>
              <a:gd name="T92" fmla="*/ 89 w 102"/>
              <a:gd name="T93" fmla="*/ 1 h 77"/>
              <a:gd name="T94" fmla="*/ 95 w 102"/>
              <a:gd name="T95" fmla="*/ 0 h 77"/>
              <a:gd name="T96" fmla="*/ 102 w 102"/>
              <a:gd name="T97" fmla="*/ 0 h 7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2"/>
              <a:gd name="T148" fmla="*/ 0 h 77"/>
              <a:gd name="T149" fmla="*/ 102 w 102"/>
              <a:gd name="T150" fmla="*/ 77 h 7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2" h="77">
                <a:moveTo>
                  <a:pt x="102" y="0"/>
                </a:moveTo>
                <a:lnTo>
                  <a:pt x="99" y="4"/>
                </a:lnTo>
                <a:lnTo>
                  <a:pt x="95" y="14"/>
                </a:lnTo>
                <a:lnTo>
                  <a:pt x="89" y="27"/>
                </a:lnTo>
                <a:lnTo>
                  <a:pt x="84" y="38"/>
                </a:lnTo>
                <a:lnTo>
                  <a:pt x="82" y="50"/>
                </a:lnTo>
                <a:lnTo>
                  <a:pt x="80" y="61"/>
                </a:lnTo>
                <a:lnTo>
                  <a:pt x="78" y="70"/>
                </a:lnTo>
                <a:lnTo>
                  <a:pt x="77" y="74"/>
                </a:lnTo>
                <a:lnTo>
                  <a:pt x="75" y="74"/>
                </a:lnTo>
                <a:lnTo>
                  <a:pt x="70" y="72"/>
                </a:lnTo>
                <a:lnTo>
                  <a:pt x="65" y="68"/>
                </a:lnTo>
                <a:lnTo>
                  <a:pt x="62" y="59"/>
                </a:lnTo>
                <a:lnTo>
                  <a:pt x="60" y="51"/>
                </a:lnTo>
                <a:lnTo>
                  <a:pt x="55" y="45"/>
                </a:lnTo>
                <a:lnTo>
                  <a:pt x="51" y="43"/>
                </a:lnTo>
                <a:lnTo>
                  <a:pt x="49" y="42"/>
                </a:lnTo>
                <a:lnTo>
                  <a:pt x="50" y="45"/>
                </a:lnTo>
                <a:lnTo>
                  <a:pt x="52" y="54"/>
                </a:lnTo>
                <a:lnTo>
                  <a:pt x="52" y="66"/>
                </a:lnTo>
                <a:lnTo>
                  <a:pt x="45" y="74"/>
                </a:lnTo>
                <a:lnTo>
                  <a:pt x="37" y="77"/>
                </a:lnTo>
                <a:lnTo>
                  <a:pt x="34" y="77"/>
                </a:lnTo>
                <a:lnTo>
                  <a:pt x="30" y="73"/>
                </a:lnTo>
                <a:lnTo>
                  <a:pt x="24" y="62"/>
                </a:lnTo>
                <a:lnTo>
                  <a:pt x="20" y="52"/>
                </a:lnTo>
                <a:lnTo>
                  <a:pt x="20" y="44"/>
                </a:lnTo>
                <a:lnTo>
                  <a:pt x="19" y="38"/>
                </a:lnTo>
                <a:lnTo>
                  <a:pt x="14" y="31"/>
                </a:lnTo>
                <a:lnTo>
                  <a:pt x="6" y="22"/>
                </a:lnTo>
                <a:lnTo>
                  <a:pt x="0" y="14"/>
                </a:lnTo>
                <a:lnTo>
                  <a:pt x="1" y="8"/>
                </a:lnTo>
                <a:lnTo>
                  <a:pt x="10" y="7"/>
                </a:lnTo>
                <a:lnTo>
                  <a:pt x="22" y="9"/>
                </a:lnTo>
                <a:lnTo>
                  <a:pt x="29" y="12"/>
                </a:lnTo>
                <a:lnTo>
                  <a:pt x="34" y="13"/>
                </a:lnTo>
                <a:lnTo>
                  <a:pt x="42" y="14"/>
                </a:lnTo>
                <a:lnTo>
                  <a:pt x="46" y="14"/>
                </a:lnTo>
                <a:lnTo>
                  <a:pt x="46" y="13"/>
                </a:lnTo>
                <a:lnTo>
                  <a:pt x="55" y="14"/>
                </a:lnTo>
                <a:lnTo>
                  <a:pt x="62" y="14"/>
                </a:lnTo>
                <a:lnTo>
                  <a:pt x="69" y="13"/>
                </a:lnTo>
                <a:lnTo>
                  <a:pt x="74" y="10"/>
                </a:lnTo>
                <a:lnTo>
                  <a:pt x="78" y="7"/>
                </a:lnTo>
                <a:lnTo>
                  <a:pt x="83" y="4"/>
                </a:lnTo>
                <a:lnTo>
                  <a:pt x="89" y="1"/>
                </a:lnTo>
                <a:lnTo>
                  <a:pt x="95" y="0"/>
                </a:lnTo>
                <a:lnTo>
                  <a:pt x="102" y="0"/>
                </a:lnTo>
                <a:close/>
              </a:path>
            </a:pathLst>
          </a:custGeom>
          <a:solidFill>
            <a:schemeClr val="accent3"/>
          </a:solidFill>
          <a:ln w="12700">
            <a:solidFill>
              <a:schemeClr val="bg1"/>
            </a:solidFill>
            <a:round/>
            <a:headEnd/>
            <a:tailEnd/>
          </a:ln>
        </p:spPr>
        <p:txBody>
          <a:bodyPr/>
          <a:lstStyle/>
          <a:p>
            <a:pPr>
              <a:defRPr/>
            </a:pPr>
            <a:endParaRPr lang="nl-NL"/>
          </a:p>
        </p:txBody>
      </p:sp>
      <p:sp>
        <p:nvSpPr>
          <p:cNvPr id="77" name="Freeform 71"/>
          <p:cNvSpPr>
            <a:spLocks/>
          </p:cNvSpPr>
          <p:nvPr/>
        </p:nvSpPr>
        <p:spPr bwMode="auto">
          <a:xfrm>
            <a:off x="7253536" y="2437096"/>
            <a:ext cx="105936" cy="66602"/>
          </a:xfrm>
          <a:custGeom>
            <a:avLst/>
            <a:gdLst>
              <a:gd name="T0" fmla="*/ 58 w 63"/>
              <a:gd name="T1" fmla="*/ 36 h 36"/>
              <a:gd name="T2" fmla="*/ 57 w 63"/>
              <a:gd name="T3" fmla="*/ 36 h 36"/>
              <a:gd name="T4" fmla="*/ 55 w 63"/>
              <a:gd name="T5" fmla="*/ 36 h 36"/>
              <a:gd name="T6" fmla="*/ 51 w 63"/>
              <a:gd name="T7" fmla="*/ 36 h 36"/>
              <a:gd name="T8" fmla="*/ 48 w 63"/>
              <a:gd name="T9" fmla="*/ 35 h 36"/>
              <a:gd name="T10" fmla="*/ 42 w 63"/>
              <a:gd name="T11" fmla="*/ 35 h 36"/>
              <a:gd name="T12" fmla="*/ 36 w 63"/>
              <a:gd name="T13" fmla="*/ 32 h 36"/>
              <a:gd name="T14" fmla="*/ 31 w 63"/>
              <a:gd name="T15" fmla="*/ 31 h 36"/>
              <a:gd name="T16" fmla="*/ 24 w 63"/>
              <a:gd name="T17" fmla="*/ 29 h 36"/>
              <a:gd name="T18" fmla="*/ 12 w 63"/>
              <a:gd name="T19" fmla="*/ 23 h 36"/>
              <a:gd name="T20" fmla="*/ 5 w 63"/>
              <a:gd name="T21" fmla="*/ 16 h 36"/>
              <a:gd name="T22" fmla="*/ 1 w 63"/>
              <a:gd name="T23" fmla="*/ 13 h 36"/>
              <a:gd name="T24" fmla="*/ 0 w 63"/>
              <a:gd name="T25" fmla="*/ 11 h 36"/>
              <a:gd name="T26" fmla="*/ 1 w 63"/>
              <a:gd name="T27" fmla="*/ 8 h 36"/>
              <a:gd name="T28" fmla="*/ 5 w 63"/>
              <a:gd name="T29" fmla="*/ 4 h 36"/>
              <a:gd name="T30" fmla="*/ 12 w 63"/>
              <a:gd name="T31" fmla="*/ 0 h 36"/>
              <a:gd name="T32" fmla="*/ 24 w 63"/>
              <a:gd name="T33" fmla="*/ 0 h 36"/>
              <a:gd name="T34" fmla="*/ 31 w 63"/>
              <a:gd name="T35" fmla="*/ 2 h 36"/>
              <a:gd name="T36" fmla="*/ 39 w 63"/>
              <a:gd name="T37" fmla="*/ 5 h 36"/>
              <a:gd name="T38" fmla="*/ 47 w 63"/>
              <a:gd name="T39" fmla="*/ 9 h 36"/>
              <a:gd name="T40" fmla="*/ 55 w 63"/>
              <a:gd name="T41" fmla="*/ 14 h 36"/>
              <a:gd name="T42" fmla="*/ 59 w 63"/>
              <a:gd name="T43" fmla="*/ 19 h 36"/>
              <a:gd name="T44" fmla="*/ 63 w 63"/>
              <a:gd name="T45" fmla="*/ 24 h 36"/>
              <a:gd name="T46" fmla="*/ 63 w 63"/>
              <a:gd name="T47" fmla="*/ 30 h 36"/>
              <a:gd name="T48" fmla="*/ 58 w 63"/>
              <a:gd name="T49" fmla="*/ 36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
              <a:gd name="T76" fmla="*/ 0 h 36"/>
              <a:gd name="T77" fmla="*/ 63 w 63"/>
              <a:gd name="T78" fmla="*/ 36 h 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 h="36">
                <a:moveTo>
                  <a:pt x="58" y="36"/>
                </a:moveTo>
                <a:lnTo>
                  <a:pt x="57" y="36"/>
                </a:lnTo>
                <a:lnTo>
                  <a:pt x="55" y="36"/>
                </a:lnTo>
                <a:lnTo>
                  <a:pt x="51" y="36"/>
                </a:lnTo>
                <a:lnTo>
                  <a:pt x="48" y="35"/>
                </a:lnTo>
                <a:lnTo>
                  <a:pt x="42" y="35"/>
                </a:lnTo>
                <a:lnTo>
                  <a:pt x="36" y="32"/>
                </a:lnTo>
                <a:lnTo>
                  <a:pt x="31" y="31"/>
                </a:lnTo>
                <a:lnTo>
                  <a:pt x="24" y="29"/>
                </a:lnTo>
                <a:lnTo>
                  <a:pt x="12" y="23"/>
                </a:lnTo>
                <a:lnTo>
                  <a:pt x="5" y="16"/>
                </a:lnTo>
                <a:lnTo>
                  <a:pt x="1" y="13"/>
                </a:lnTo>
                <a:lnTo>
                  <a:pt x="0" y="11"/>
                </a:lnTo>
                <a:lnTo>
                  <a:pt x="1" y="8"/>
                </a:lnTo>
                <a:lnTo>
                  <a:pt x="5" y="4"/>
                </a:lnTo>
                <a:lnTo>
                  <a:pt x="12" y="0"/>
                </a:lnTo>
                <a:lnTo>
                  <a:pt x="24" y="0"/>
                </a:lnTo>
                <a:lnTo>
                  <a:pt x="31" y="2"/>
                </a:lnTo>
                <a:lnTo>
                  <a:pt x="39" y="5"/>
                </a:lnTo>
                <a:lnTo>
                  <a:pt x="47" y="9"/>
                </a:lnTo>
                <a:lnTo>
                  <a:pt x="55" y="14"/>
                </a:lnTo>
                <a:lnTo>
                  <a:pt x="59" y="19"/>
                </a:lnTo>
                <a:lnTo>
                  <a:pt x="63" y="24"/>
                </a:lnTo>
                <a:lnTo>
                  <a:pt x="63" y="30"/>
                </a:lnTo>
                <a:lnTo>
                  <a:pt x="58" y="36"/>
                </a:lnTo>
                <a:close/>
              </a:path>
            </a:pathLst>
          </a:custGeom>
          <a:solidFill>
            <a:schemeClr val="accent3"/>
          </a:solidFill>
          <a:ln w="12700">
            <a:solidFill>
              <a:schemeClr val="bg1"/>
            </a:solidFill>
            <a:round/>
            <a:headEnd/>
            <a:tailEnd/>
          </a:ln>
        </p:spPr>
        <p:txBody>
          <a:bodyPr/>
          <a:lstStyle/>
          <a:p>
            <a:pPr>
              <a:defRPr/>
            </a:pPr>
            <a:endParaRPr lang="nl-NL"/>
          </a:p>
        </p:txBody>
      </p:sp>
      <p:sp>
        <p:nvSpPr>
          <p:cNvPr id="78" name="Freeform 72"/>
          <p:cNvSpPr>
            <a:spLocks/>
          </p:cNvSpPr>
          <p:nvPr/>
        </p:nvSpPr>
        <p:spPr bwMode="auto">
          <a:xfrm>
            <a:off x="6878220" y="2283400"/>
            <a:ext cx="122583" cy="104172"/>
          </a:xfrm>
          <a:custGeom>
            <a:avLst/>
            <a:gdLst>
              <a:gd name="T0" fmla="*/ 64 w 73"/>
              <a:gd name="T1" fmla="*/ 13 h 57"/>
              <a:gd name="T2" fmla="*/ 62 w 73"/>
              <a:gd name="T3" fmla="*/ 12 h 57"/>
              <a:gd name="T4" fmla="*/ 54 w 73"/>
              <a:gd name="T5" fmla="*/ 8 h 57"/>
              <a:gd name="T6" fmla="*/ 46 w 73"/>
              <a:gd name="T7" fmla="*/ 5 h 57"/>
              <a:gd name="T8" fmla="*/ 37 w 73"/>
              <a:gd name="T9" fmla="*/ 2 h 57"/>
              <a:gd name="T10" fmla="*/ 30 w 73"/>
              <a:gd name="T11" fmla="*/ 0 h 57"/>
              <a:gd name="T12" fmla="*/ 25 w 73"/>
              <a:gd name="T13" fmla="*/ 2 h 57"/>
              <a:gd name="T14" fmla="*/ 19 w 73"/>
              <a:gd name="T15" fmla="*/ 6 h 57"/>
              <a:gd name="T16" fmla="*/ 12 w 73"/>
              <a:gd name="T17" fmla="*/ 13 h 57"/>
              <a:gd name="T18" fmla="*/ 5 w 73"/>
              <a:gd name="T19" fmla="*/ 21 h 57"/>
              <a:gd name="T20" fmla="*/ 1 w 73"/>
              <a:gd name="T21" fmla="*/ 30 h 57"/>
              <a:gd name="T22" fmla="*/ 0 w 73"/>
              <a:gd name="T23" fmla="*/ 38 h 57"/>
              <a:gd name="T24" fmla="*/ 5 w 73"/>
              <a:gd name="T25" fmla="*/ 44 h 57"/>
              <a:gd name="T26" fmla="*/ 12 w 73"/>
              <a:gd name="T27" fmla="*/ 46 h 57"/>
              <a:gd name="T28" fmla="*/ 19 w 73"/>
              <a:gd name="T29" fmla="*/ 46 h 57"/>
              <a:gd name="T30" fmla="*/ 24 w 73"/>
              <a:gd name="T31" fmla="*/ 46 h 57"/>
              <a:gd name="T32" fmla="*/ 30 w 73"/>
              <a:gd name="T33" fmla="*/ 51 h 57"/>
              <a:gd name="T34" fmla="*/ 38 w 73"/>
              <a:gd name="T35" fmla="*/ 56 h 57"/>
              <a:gd name="T36" fmla="*/ 48 w 73"/>
              <a:gd name="T37" fmla="*/ 57 h 57"/>
              <a:gd name="T38" fmla="*/ 57 w 73"/>
              <a:gd name="T39" fmla="*/ 56 h 57"/>
              <a:gd name="T40" fmla="*/ 61 w 73"/>
              <a:gd name="T41" fmla="*/ 55 h 57"/>
              <a:gd name="T42" fmla="*/ 60 w 73"/>
              <a:gd name="T43" fmla="*/ 52 h 57"/>
              <a:gd name="T44" fmla="*/ 57 w 73"/>
              <a:gd name="T45" fmla="*/ 46 h 57"/>
              <a:gd name="T46" fmla="*/ 56 w 73"/>
              <a:gd name="T47" fmla="*/ 40 h 57"/>
              <a:gd name="T48" fmla="*/ 61 w 73"/>
              <a:gd name="T49" fmla="*/ 34 h 57"/>
              <a:gd name="T50" fmla="*/ 68 w 73"/>
              <a:gd name="T51" fmla="*/ 29 h 57"/>
              <a:gd name="T52" fmla="*/ 73 w 73"/>
              <a:gd name="T53" fmla="*/ 25 h 57"/>
              <a:gd name="T54" fmla="*/ 72 w 73"/>
              <a:gd name="T55" fmla="*/ 20 h 57"/>
              <a:gd name="T56" fmla="*/ 64 w 73"/>
              <a:gd name="T57" fmla="*/ 13 h 5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3"/>
              <a:gd name="T88" fmla="*/ 0 h 57"/>
              <a:gd name="T89" fmla="*/ 73 w 73"/>
              <a:gd name="T90" fmla="*/ 57 h 5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3" h="57">
                <a:moveTo>
                  <a:pt x="64" y="13"/>
                </a:moveTo>
                <a:lnTo>
                  <a:pt x="62" y="12"/>
                </a:lnTo>
                <a:lnTo>
                  <a:pt x="54" y="8"/>
                </a:lnTo>
                <a:lnTo>
                  <a:pt x="46" y="5"/>
                </a:lnTo>
                <a:lnTo>
                  <a:pt x="37" y="2"/>
                </a:lnTo>
                <a:lnTo>
                  <a:pt x="30" y="0"/>
                </a:lnTo>
                <a:lnTo>
                  <a:pt x="25" y="2"/>
                </a:lnTo>
                <a:lnTo>
                  <a:pt x="19" y="6"/>
                </a:lnTo>
                <a:lnTo>
                  <a:pt x="12" y="13"/>
                </a:lnTo>
                <a:lnTo>
                  <a:pt x="5" y="21"/>
                </a:lnTo>
                <a:lnTo>
                  <a:pt x="1" y="30"/>
                </a:lnTo>
                <a:lnTo>
                  <a:pt x="0" y="38"/>
                </a:lnTo>
                <a:lnTo>
                  <a:pt x="5" y="44"/>
                </a:lnTo>
                <a:lnTo>
                  <a:pt x="12" y="46"/>
                </a:lnTo>
                <a:lnTo>
                  <a:pt x="19" y="46"/>
                </a:lnTo>
                <a:lnTo>
                  <a:pt x="24" y="46"/>
                </a:lnTo>
                <a:lnTo>
                  <a:pt x="30" y="51"/>
                </a:lnTo>
                <a:lnTo>
                  <a:pt x="38" y="56"/>
                </a:lnTo>
                <a:lnTo>
                  <a:pt x="48" y="57"/>
                </a:lnTo>
                <a:lnTo>
                  <a:pt x="57" y="56"/>
                </a:lnTo>
                <a:lnTo>
                  <a:pt x="61" y="55"/>
                </a:lnTo>
                <a:lnTo>
                  <a:pt x="60" y="52"/>
                </a:lnTo>
                <a:lnTo>
                  <a:pt x="57" y="46"/>
                </a:lnTo>
                <a:lnTo>
                  <a:pt x="56" y="40"/>
                </a:lnTo>
                <a:lnTo>
                  <a:pt x="61" y="34"/>
                </a:lnTo>
                <a:lnTo>
                  <a:pt x="68" y="29"/>
                </a:lnTo>
                <a:lnTo>
                  <a:pt x="73" y="25"/>
                </a:lnTo>
                <a:lnTo>
                  <a:pt x="72" y="20"/>
                </a:lnTo>
                <a:lnTo>
                  <a:pt x="64" y="13"/>
                </a:lnTo>
                <a:close/>
              </a:path>
            </a:pathLst>
          </a:custGeom>
          <a:solidFill>
            <a:schemeClr val="accent3"/>
          </a:solidFill>
          <a:ln w="12700">
            <a:solidFill>
              <a:schemeClr val="bg1"/>
            </a:solidFill>
            <a:round/>
            <a:headEnd/>
            <a:tailEnd/>
          </a:ln>
        </p:spPr>
        <p:txBody>
          <a:bodyPr/>
          <a:lstStyle/>
          <a:p>
            <a:pPr>
              <a:defRPr/>
            </a:pPr>
            <a:endParaRPr lang="nl-NL"/>
          </a:p>
        </p:txBody>
      </p:sp>
      <p:sp>
        <p:nvSpPr>
          <p:cNvPr id="79" name="Freeform 73"/>
          <p:cNvSpPr>
            <a:spLocks/>
          </p:cNvSpPr>
          <p:nvPr/>
        </p:nvSpPr>
        <p:spPr bwMode="auto">
          <a:xfrm>
            <a:off x="6649701" y="2512237"/>
            <a:ext cx="192198" cy="145158"/>
          </a:xfrm>
          <a:custGeom>
            <a:avLst/>
            <a:gdLst>
              <a:gd name="T0" fmla="*/ 116 w 116"/>
              <a:gd name="T1" fmla="*/ 69 h 79"/>
              <a:gd name="T2" fmla="*/ 113 w 116"/>
              <a:gd name="T3" fmla="*/ 72 h 79"/>
              <a:gd name="T4" fmla="*/ 109 w 116"/>
              <a:gd name="T5" fmla="*/ 75 h 79"/>
              <a:gd name="T6" fmla="*/ 103 w 116"/>
              <a:gd name="T7" fmla="*/ 79 h 79"/>
              <a:gd name="T8" fmla="*/ 95 w 116"/>
              <a:gd name="T9" fmla="*/ 76 h 79"/>
              <a:gd name="T10" fmla="*/ 88 w 116"/>
              <a:gd name="T11" fmla="*/ 71 h 79"/>
              <a:gd name="T12" fmla="*/ 82 w 116"/>
              <a:gd name="T13" fmla="*/ 63 h 79"/>
              <a:gd name="T14" fmla="*/ 76 w 116"/>
              <a:gd name="T15" fmla="*/ 54 h 79"/>
              <a:gd name="T16" fmla="*/ 67 w 116"/>
              <a:gd name="T17" fmla="*/ 49 h 79"/>
              <a:gd name="T18" fmla="*/ 61 w 116"/>
              <a:gd name="T19" fmla="*/ 46 h 79"/>
              <a:gd name="T20" fmla="*/ 57 w 116"/>
              <a:gd name="T21" fmla="*/ 43 h 79"/>
              <a:gd name="T22" fmla="*/ 51 w 116"/>
              <a:gd name="T23" fmla="*/ 40 h 79"/>
              <a:gd name="T24" fmla="*/ 47 w 116"/>
              <a:gd name="T25" fmla="*/ 36 h 79"/>
              <a:gd name="T26" fmla="*/ 41 w 116"/>
              <a:gd name="T27" fmla="*/ 33 h 79"/>
              <a:gd name="T28" fmla="*/ 36 w 116"/>
              <a:gd name="T29" fmla="*/ 29 h 79"/>
              <a:gd name="T30" fmla="*/ 30 w 116"/>
              <a:gd name="T31" fmla="*/ 25 h 79"/>
              <a:gd name="T32" fmla="*/ 25 w 116"/>
              <a:gd name="T33" fmla="*/ 21 h 79"/>
              <a:gd name="T34" fmla="*/ 15 w 116"/>
              <a:gd name="T35" fmla="*/ 13 h 79"/>
              <a:gd name="T36" fmla="*/ 7 w 116"/>
              <a:gd name="T37" fmla="*/ 7 h 79"/>
              <a:gd name="T38" fmla="*/ 3 w 116"/>
              <a:gd name="T39" fmla="*/ 3 h 79"/>
              <a:gd name="T40" fmla="*/ 0 w 116"/>
              <a:gd name="T41" fmla="*/ 0 h 79"/>
              <a:gd name="T42" fmla="*/ 4 w 116"/>
              <a:gd name="T43" fmla="*/ 2 h 79"/>
              <a:gd name="T44" fmla="*/ 11 w 116"/>
              <a:gd name="T45" fmla="*/ 3 h 79"/>
              <a:gd name="T46" fmla="*/ 21 w 116"/>
              <a:gd name="T47" fmla="*/ 5 h 79"/>
              <a:gd name="T48" fmla="*/ 32 w 116"/>
              <a:gd name="T49" fmla="*/ 7 h 79"/>
              <a:gd name="T50" fmla="*/ 37 w 116"/>
              <a:gd name="T51" fmla="*/ 8 h 79"/>
              <a:gd name="T52" fmla="*/ 43 w 116"/>
              <a:gd name="T53" fmla="*/ 8 h 79"/>
              <a:gd name="T54" fmla="*/ 49 w 116"/>
              <a:gd name="T55" fmla="*/ 8 h 79"/>
              <a:gd name="T56" fmla="*/ 55 w 116"/>
              <a:gd name="T57" fmla="*/ 8 h 79"/>
              <a:gd name="T58" fmla="*/ 59 w 116"/>
              <a:gd name="T59" fmla="*/ 8 h 79"/>
              <a:gd name="T60" fmla="*/ 64 w 116"/>
              <a:gd name="T61" fmla="*/ 10 h 79"/>
              <a:gd name="T62" fmla="*/ 67 w 116"/>
              <a:gd name="T63" fmla="*/ 11 h 79"/>
              <a:gd name="T64" fmla="*/ 71 w 116"/>
              <a:gd name="T65" fmla="*/ 14 h 79"/>
              <a:gd name="T66" fmla="*/ 75 w 116"/>
              <a:gd name="T67" fmla="*/ 22 h 79"/>
              <a:gd name="T68" fmla="*/ 79 w 116"/>
              <a:gd name="T69" fmla="*/ 28 h 79"/>
              <a:gd name="T70" fmla="*/ 80 w 116"/>
              <a:gd name="T71" fmla="*/ 33 h 79"/>
              <a:gd name="T72" fmla="*/ 81 w 116"/>
              <a:gd name="T73" fmla="*/ 35 h 79"/>
              <a:gd name="T74" fmla="*/ 82 w 116"/>
              <a:gd name="T75" fmla="*/ 36 h 79"/>
              <a:gd name="T76" fmla="*/ 86 w 116"/>
              <a:gd name="T77" fmla="*/ 38 h 79"/>
              <a:gd name="T78" fmla="*/ 90 w 116"/>
              <a:gd name="T79" fmla="*/ 42 h 79"/>
              <a:gd name="T80" fmla="*/ 96 w 116"/>
              <a:gd name="T81" fmla="*/ 45 h 79"/>
              <a:gd name="T82" fmla="*/ 102 w 116"/>
              <a:gd name="T83" fmla="*/ 51 h 79"/>
              <a:gd name="T84" fmla="*/ 108 w 116"/>
              <a:gd name="T85" fmla="*/ 57 h 79"/>
              <a:gd name="T86" fmla="*/ 112 w 116"/>
              <a:gd name="T87" fmla="*/ 63 h 79"/>
              <a:gd name="T88" fmla="*/ 116 w 116"/>
              <a:gd name="T89" fmla="*/ 69 h 7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6"/>
              <a:gd name="T136" fmla="*/ 0 h 79"/>
              <a:gd name="T137" fmla="*/ 116 w 116"/>
              <a:gd name="T138" fmla="*/ 79 h 7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6" h="79">
                <a:moveTo>
                  <a:pt x="116" y="69"/>
                </a:moveTo>
                <a:lnTo>
                  <a:pt x="113" y="72"/>
                </a:lnTo>
                <a:lnTo>
                  <a:pt x="109" y="75"/>
                </a:lnTo>
                <a:lnTo>
                  <a:pt x="103" y="79"/>
                </a:lnTo>
                <a:lnTo>
                  <a:pt x="95" y="76"/>
                </a:lnTo>
                <a:lnTo>
                  <a:pt x="88" y="71"/>
                </a:lnTo>
                <a:lnTo>
                  <a:pt x="82" y="63"/>
                </a:lnTo>
                <a:lnTo>
                  <a:pt x="76" y="54"/>
                </a:lnTo>
                <a:lnTo>
                  <a:pt x="67" y="49"/>
                </a:lnTo>
                <a:lnTo>
                  <a:pt x="61" y="46"/>
                </a:lnTo>
                <a:lnTo>
                  <a:pt x="57" y="43"/>
                </a:lnTo>
                <a:lnTo>
                  <a:pt x="51" y="40"/>
                </a:lnTo>
                <a:lnTo>
                  <a:pt x="47" y="36"/>
                </a:lnTo>
                <a:lnTo>
                  <a:pt x="41" y="33"/>
                </a:lnTo>
                <a:lnTo>
                  <a:pt x="36" y="29"/>
                </a:lnTo>
                <a:lnTo>
                  <a:pt x="30" y="25"/>
                </a:lnTo>
                <a:lnTo>
                  <a:pt x="25" y="21"/>
                </a:lnTo>
                <a:lnTo>
                  <a:pt x="15" y="13"/>
                </a:lnTo>
                <a:lnTo>
                  <a:pt x="7" y="7"/>
                </a:lnTo>
                <a:lnTo>
                  <a:pt x="3" y="3"/>
                </a:lnTo>
                <a:lnTo>
                  <a:pt x="0" y="0"/>
                </a:lnTo>
                <a:lnTo>
                  <a:pt x="4" y="2"/>
                </a:lnTo>
                <a:lnTo>
                  <a:pt x="11" y="3"/>
                </a:lnTo>
                <a:lnTo>
                  <a:pt x="21" y="5"/>
                </a:lnTo>
                <a:lnTo>
                  <a:pt x="32" y="7"/>
                </a:lnTo>
                <a:lnTo>
                  <a:pt x="37" y="8"/>
                </a:lnTo>
                <a:lnTo>
                  <a:pt x="43" y="8"/>
                </a:lnTo>
                <a:lnTo>
                  <a:pt x="49" y="8"/>
                </a:lnTo>
                <a:lnTo>
                  <a:pt x="55" y="8"/>
                </a:lnTo>
                <a:lnTo>
                  <a:pt x="59" y="8"/>
                </a:lnTo>
                <a:lnTo>
                  <a:pt x="64" y="10"/>
                </a:lnTo>
                <a:lnTo>
                  <a:pt x="67" y="11"/>
                </a:lnTo>
                <a:lnTo>
                  <a:pt x="71" y="14"/>
                </a:lnTo>
                <a:lnTo>
                  <a:pt x="75" y="22"/>
                </a:lnTo>
                <a:lnTo>
                  <a:pt x="79" y="28"/>
                </a:lnTo>
                <a:lnTo>
                  <a:pt x="80" y="33"/>
                </a:lnTo>
                <a:lnTo>
                  <a:pt x="81" y="35"/>
                </a:lnTo>
                <a:lnTo>
                  <a:pt x="82" y="36"/>
                </a:lnTo>
                <a:lnTo>
                  <a:pt x="86" y="38"/>
                </a:lnTo>
                <a:lnTo>
                  <a:pt x="90" y="42"/>
                </a:lnTo>
                <a:lnTo>
                  <a:pt x="96" y="45"/>
                </a:lnTo>
                <a:lnTo>
                  <a:pt x="102" y="51"/>
                </a:lnTo>
                <a:lnTo>
                  <a:pt x="108" y="57"/>
                </a:lnTo>
                <a:lnTo>
                  <a:pt x="112" y="63"/>
                </a:lnTo>
                <a:lnTo>
                  <a:pt x="116" y="69"/>
                </a:lnTo>
                <a:close/>
              </a:path>
            </a:pathLst>
          </a:custGeom>
          <a:solidFill>
            <a:schemeClr val="accent3"/>
          </a:solidFill>
          <a:ln w="12700">
            <a:solidFill>
              <a:schemeClr val="bg1"/>
            </a:solidFill>
            <a:round/>
            <a:headEnd/>
            <a:tailEnd/>
          </a:ln>
        </p:spPr>
        <p:txBody>
          <a:bodyPr/>
          <a:lstStyle/>
          <a:p>
            <a:pPr>
              <a:defRPr/>
            </a:pPr>
            <a:endParaRPr lang="nl-NL"/>
          </a:p>
        </p:txBody>
      </p:sp>
      <p:sp>
        <p:nvSpPr>
          <p:cNvPr id="80" name="Freeform 74"/>
          <p:cNvSpPr>
            <a:spLocks/>
          </p:cNvSpPr>
          <p:nvPr/>
        </p:nvSpPr>
        <p:spPr bwMode="auto">
          <a:xfrm>
            <a:off x="6404535" y="2638609"/>
            <a:ext cx="175551" cy="157112"/>
          </a:xfrm>
          <a:custGeom>
            <a:avLst/>
            <a:gdLst>
              <a:gd name="T0" fmla="*/ 106 w 106"/>
              <a:gd name="T1" fmla="*/ 74 h 83"/>
              <a:gd name="T2" fmla="*/ 104 w 106"/>
              <a:gd name="T3" fmla="*/ 74 h 83"/>
              <a:gd name="T4" fmla="*/ 99 w 106"/>
              <a:gd name="T5" fmla="*/ 73 h 83"/>
              <a:gd name="T6" fmla="*/ 90 w 106"/>
              <a:gd name="T7" fmla="*/ 70 h 83"/>
              <a:gd name="T8" fmla="*/ 77 w 106"/>
              <a:gd name="T9" fmla="*/ 64 h 83"/>
              <a:gd name="T10" fmla="*/ 66 w 106"/>
              <a:gd name="T11" fmla="*/ 56 h 83"/>
              <a:gd name="T12" fmla="*/ 58 w 106"/>
              <a:gd name="T13" fmla="*/ 48 h 83"/>
              <a:gd name="T14" fmla="*/ 52 w 106"/>
              <a:gd name="T15" fmla="*/ 41 h 83"/>
              <a:gd name="T16" fmla="*/ 46 w 106"/>
              <a:gd name="T17" fmla="*/ 33 h 83"/>
              <a:gd name="T18" fmla="*/ 43 w 106"/>
              <a:gd name="T19" fmla="*/ 28 h 83"/>
              <a:gd name="T20" fmla="*/ 38 w 106"/>
              <a:gd name="T21" fmla="*/ 24 h 83"/>
              <a:gd name="T22" fmla="*/ 32 w 106"/>
              <a:gd name="T23" fmla="*/ 19 h 83"/>
              <a:gd name="T24" fmla="*/ 25 w 106"/>
              <a:gd name="T25" fmla="*/ 14 h 83"/>
              <a:gd name="T26" fmla="*/ 18 w 106"/>
              <a:gd name="T27" fmla="*/ 10 h 83"/>
              <a:gd name="T28" fmla="*/ 13 w 106"/>
              <a:gd name="T29" fmla="*/ 5 h 83"/>
              <a:gd name="T30" fmla="*/ 7 w 106"/>
              <a:gd name="T31" fmla="*/ 3 h 83"/>
              <a:gd name="T32" fmla="*/ 2 w 106"/>
              <a:gd name="T33" fmla="*/ 0 h 83"/>
              <a:gd name="T34" fmla="*/ 0 w 106"/>
              <a:gd name="T35" fmla="*/ 3 h 83"/>
              <a:gd name="T36" fmla="*/ 3 w 106"/>
              <a:gd name="T37" fmla="*/ 11 h 83"/>
              <a:gd name="T38" fmla="*/ 9 w 106"/>
              <a:gd name="T39" fmla="*/ 22 h 83"/>
              <a:gd name="T40" fmla="*/ 13 w 106"/>
              <a:gd name="T41" fmla="*/ 33 h 83"/>
              <a:gd name="T42" fmla="*/ 13 w 106"/>
              <a:gd name="T43" fmla="*/ 41 h 83"/>
              <a:gd name="T44" fmla="*/ 15 w 106"/>
              <a:gd name="T45" fmla="*/ 50 h 83"/>
              <a:gd name="T46" fmla="*/ 18 w 106"/>
              <a:gd name="T47" fmla="*/ 58 h 83"/>
              <a:gd name="T48" fmla="*/ 26 w 106"/>
              <a:gd name="T49" fmla="*/ 64 h 83"/>
              <a:gd name="T50" fmla="*/ 35 w 106"/>
              <a:gd name="T51" fmla="*/ 67 h 83"/>
              <a:gd name="T52" fmla="*/ 43 w 106"/>
              <a:gd name="T53" fmla="*/ 68 h 83"/>
              <a:gd name="T54" fmla="*/ 51 w 106"/>
              <a:gd name="T55" fmla="*/ 71 h 83"/>
              <a:gd name="T56" fmla="*/ 60 w 106"/>
              <a:gd name="T57" fmla="*/ 74 h 83"/>
              <a:gd name="T58" fmla="*/ 66 w 106"/>
              <a:gd name="T59" fmla="*/ 77 h 83"/>
              <a:gd name="T60" fmla="*/ 71 w 106"/>
              <a:gd name="T61" fmla="*/ 80 h 83"/>
              <a:gd name="T62" fmla="*/ 78 w 106"/>
              <a:gd name="T63" fmla="*/ 82 h 83"/>
              <a:gd name="T64" fmla="*/ 85 w 106"/>
              <a:gd name="T65" fmla="*/ 83 h 83"/>
              <a:gd name="T66" fmla="*/ 92 w 106"/>
              <a:gd name="T67" fmla="*/ 83 h 83"/>
              <a:gd name="T68" fmla="*/ 98 w 106"/>
              <a:gd name="T69" fmla="*/ 82 h 83"/>
              <a:gd name="T70" fmla="*/ 102 w 106"/>
              <a:gd name="T71" fmla="*/ 80 h 83"/>
              <a:gd name="T72" fmla="*/ 106 w 106"/>
              <a:gd name="T73" fmla="*/ 74 h 8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6"/>
              <a:gd name="T112" fmla="*/ 0 h 83"/>
              <a:gd name="T113" fmla="*/ 106 w 106"/>
              <a:gd name="T114" fmla="*/ 83 h 8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6" h="83">
                <a:moveTo>
                  <a:pt x="106" y="74"/>
                </a:moveTo>
                <a:lnTo>
                  <a:pt x="104" y="74"/>
                </a:lnTo>
                <a:lnTo>
                  <a:pt x="99" y="73"/>
                </a:lnTo>
                <a:lnTo>
                  <a:pt x="90" y="70"/>
                </a:lnTo>
                <a:lnTo>
                  <a:pt x="77" y="64"/>
                </a:lnTo>
                <a:lnTo>
                  <a:pt x="66" y="56"/>
                </a:lnTo>
                <a:lnTo>
                  <a:pt x="58" y="48"/>
                </a:lnTo>
                <a:lnTo>
                  <a:pt x="52" y="41"/>
                </a:lnTo>
                <a:lnTo>
                  <a:pt x="46" y="33"/>
                </a:lnTo>
                <a:lnTo>
                  <a:pt x="43" y="28"/>
                </a:lnTo>
                <a:lnTo>
                  <a:pt x="38" y="24"/>
                </a:lnTo>
                <a:lnTo>
                  <a:pt x="32" y="19"/>
                </a:lnTo>
                <a:lnTo>
                  <a:pt x="25" y="14"/>
                </a:lnTo>
                <a:lnTo>
                  <a:pt x="18" y="10"/>
                </a:lnTo>
                <a:lnTo>
                  <a:pt x="13" y="5"/>
                </a:lnTo>
                <a:lnTo>
                  <a:pt x="7" y="3"/>
                </a:lnTo>
                <a:lnTo>
                  <a:pt x="2" y="0"/>
                </a:lnTo>
                <a:lnTo>
                  <a:pt x="0" y="3"/>
                </a:lnTo>
                <a:lnTo>
                  <a:pt x="3" y="11"/>
                </a:lnTo>
                <a:lnTo>
                  <a:pt x="9" y="22"/>
                </a:lnTo>
                <a:lnTo>
                  <a:pt x="13" y="33"/>
                </a:lnTo>
                <a:lnTo>
                  <a:pt x="13" y="41"/>
                </a:lnTo>
                <a:lnTo>
                  <a:pt x="15" y="50"/>
                </a:lnTo>
                <a:lnTo>
                  <a:pt x="18" y="58"/>
                </a:lnTo>
                <a:lnTo>
                  <a:pt x="26" y="64"/>
                </a:lnTo>
                <a:lnTo>
                  <a:pt x="35" y="67"/>
                </a:lnTo>
                <a:lnTo>
                  <a:pt x="43" y="68"/>
                </a:lnTo>
                <a:lnTo>
                  <a:pt x="51" y="71"/>
                </a:lnTo>
                <a:lnTo>
                  <a:pt x="60" y="74"/>
                </a:lnTo>
                <a:lnTo>
                  <a:pt x="66" y="77"/>
                </a:lnTo>
                <a:lnTo>
                  <a:pt x="71" y="80"/>
                </a:lnTo>
                <a:lnTo>
                  <a:pt x="78" y="82"/>
                </a:lnTo>
                <a:lnTo>
                  <a:pt x="85" y="83"/>
                </a:lnTo>
                <a:lnTo>
                  <a:pt x="92" y="83"/>
                </a:lnTo>
                <a:lnTo>
                  <a:pt x="98" y="82"/>
                </a:lnTo>
                <a:lnTo>
                  <a:pt x="102" y="80"/>
                </a:lnTo>
                <a:lnTo>
                  <a:pt x="106" y="74"/>
                </a:lnTo>
                <a:close/>
              </a:path>
            </a:pathLst>
          </a:custGeom>
          <a:solidFill>
            <a:schemeClr val="accent3"/>
          </a:solidFill>
          <a:ln w="12700">
            <a:solidFill>
              <a:schemeClr val="bg1"/>
            </a:solidFill>
            <a:round/>
            <a:headEnd/>
            <a:tailEnd/>
          </a:ln>
        </p:spPr>
        <p:txBody>
          <a:bodyPr/>
          <a:lstStyle/>
          <a:p>
            <a:pPr>
              <a:defRPr/>
            </a:pPr>
            <a:endParaRPr lang="nl-NL"/>
          </a:p>
        </p:txBody>
      </p:sp>
      <p:sp>
        <p:nvSpPr>
          <p:cNvPr id="81" name="Freeform 75"/>
          <p:cNvSpPr>
            <a:spLocks/>
          </p:cNvSpPr>
          <p:nvPr/>
        </p:nvSpPr>
        <p:spPr bwMode="auto">
          <a:xfrm>
            <a:off x="6451449" y="4030417"/>
            <a:ext cx="36321" cy="59771"/>
          </a:xfrm>
          <a:custGeom>
            <a:avLst/>
            <a:gdLst>
              <a:gd name="T0" fmla="*/ 17 w 23"/>
              <a:gd name="T1" fmla="*/ 31 h 31"/>
              <a:gd name="T2" fmla="*/ 23 w 23"/>
              <a:gd name="T3" fmla="*/ 13 h 31"/>
              <a:gd name="T4" fmla="*/ 20 w 23"/>
              <a:gd name="T5" fmla="*/ 0 h 31"/>
              <a:gd name="T6" fmla="*/ 17 w 23"/>
              <a:gd name="T7" fmla="*/ 0 h 31"/>
              <a:gd name="T8" fmla="*/ 11 w 23"/>
              <a:gd name="T9" fmla="*/ 1 h 31"/>
              <a:gd name="T10" fmla="*/ 4 w 23"/>
              <a:gd name="T11" fmla="*/ 5 h 31"/>
              <a:gd name="T12" fmla="*/ 0 w 23"/>
              <a:gd name="T13" fmla="*/ 13 h 31"/>
              <a:gd name="T14" fmla="*/ 3 w 23"/>
              <a:gd name="T15" fmla="*/ 21 h 31"/>
              <a:gd name="T16" fmla="*/ 9 w 23"/>
              <a:gd name="T17" fmla="*/ 27 h 31"/>
              <a:gd name="T18" fmla="*/ 14 w 23"/>
              <a:gd name="T19" fmla="*/ 30 h 31"/>
              <a:gd name="T20" fmla="*/ 17 w 23"/>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
              <a:gd name="T34" fmla="*/ 0 h 31"/>
              <a:gd name="T35" fmla="*/ 23 w 2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 h="31">
                <a:moveTo>
                  <a:pt x="17" y="31"/>
                </a:moveTo>
                <a:lnTo>
                  <a:pt x="23" y="13"/>
                </a:lnTo>
                <a:lnTo>
                  <a:pt x="20" y="0"/>
                </a:lnTo>
                <a:lnTo>
                  <a:pt x="17" y="0"/>
                </a:lnTo>
                <a:lnTo>
                  <a:pt x="11" y="1"/>
                </a:lnTo>
                <a:lnTo>
                  <a:pt x="4" y="5"/>
                </a:lnTo>
                <a:lnTo>
                  <a:pt x="0" y="13"/>
                </a:lnTo>
                <a:lnTo>
                  <a:pt x="3" y="21"/>
                </a:lnTo>
                <a:lnTo>
                  <a:pt x="9" y="27"/>
                </a:lnTo>
                <a:lnTo>
                  <a:pt x="14" y="30"/>
                </a:lnTo>
                <a:lnTo>
                  <a:pt x="17" y="31"/>
                </a:lnTo>
                <a:close/>
              </a:path>
            </a:pathLst>
          </a:custGeom>
          <a:solidFill>
            <a:schemeClr val="accent3"/>
          </a:solidFill>
          <a:ln w="12700">
            <a:solidFill>
              <a:schemeClr val="bg1"/>
            </a:solidFill>
            <a:round/>
            <a:headEnd/>
            <a:tailEnd/>
          </a:ln>
        </p:spPr>
        <p:txBody>
          <a:bodyPr/>
          <a:lstStyle/>
          <a:p>
            <a:pPr>
              <a:defRPr/>
            </a:pPr>
            <a:endParaRPr lang="nl-NL"/>
          </a:p>
        </p:txBody>
      </p:sp>
      <p:sp>
        <p:nvSpPr>
          <p:cNvPr id="82" name="Freeform 76"/>
          <p:cNvSpPr>
            <a:spLocks/>
          </p:cNvSpPr>
          <p:nvPr/>
        </p:nvSpPr>
        <p:spPr bwMode="auto">
          <a:xfrm>
            <a:off x="6415128" y="4108973"/>
            <a:ext cx="39348" cy="34155"/>
          </a:xfrm>
          <a:custGeom>
            <a:avLst/>
            <a:gdLst>
              <a:gd name="T0" fmla="*/ 23 w 23"/>
              <a:gd name="T1" fmla="*/ 0 h 17"/>
              <a:gd name="T2" fmla="*/ 17 w 23"/>
              <a:gd name="T3" fmla="*/ 17 h 17"/>
              <a:gd name="T4" fmla="*/ 0 w 23"/>
              <a:gd name="T5" fmla="*/ 10 h 17"/>
              <a:gd name="T6" fmla="*/ 2 w 23"/>
              <a:gd name="T7" fmla="*/ 8 h 17"/>
              <a:gd name="T8" fmla="*/ 8 w 23"/>
              <a:gd name="T9" fmla="*/ 4 h 17"/>
              <a:gd name="T10" fmla="*/ 16 w 23"/>
              <a:gd name="T11" fmla="*/ 0 h 17"/>
              <a:gd name="T12" fmla="*/ 23 w 23"/>
              <a:gd name="T13" fmla="*/ 0 h 17"/>
              <a:gd name="T14" fmla="*/ 0 60000 65536"/>
              <a:gd name="T15" fmla="*/ 0 60000 65536"/>
              <a:gd name="T16" fmla="*/ 0 60000 65536"/>
              <a:gd name="T17" fmla="*/ 0 60000 65536"/>
              <a:gd name="T18" fmla="*/ 0 60000 65536"/>
              <a:gd name="T19" fmla="*/ 0 60000 65536"/>
              <a:gd name="T20" fmla="*/ 0 60000 65536"/>
              <a:gd name="T21" fmla="*/ 0 w 23"/>
              <a:gd name="T22" fmla="*/ 0 h 17"/>
              <a:gd name="T23" fmla="*/ 23 w 2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7">
                <a:moveTo>
                  <a:pt x="23" y="0"/>
                </a:moveTo>
                <a:lnTo>
                  <a:pt x="17" y="17"/>
                </a:lnTo>
                <a:lnTo>
                  <a:pt x="0" y="10"/>
                </a:lnTo>
                <a:lnTo>
                  <a:pt x="2" y="8"/>
                </a:lnTo>
                <a:lnTo>
                  <a:pt x="8" y="4"/>
                </a:lnTo>
                <a:lnTo>
                  <a:pt x="16" y="0"/>
                </a:lnTo>
                <a:lnTo>
                  <a:pt x="23" y="0"/>
                </a:lnTo>
                <a:close/>
              </a:path>
            </a:pathLst>
          </a:custGeom>
          <a:solidFill>
            <a:schemeClr val="accent3"/>
          </a:solidFill>
          <a:ln w="12700">
            <a:solidFill>
              <a:schemeClr val="bg1"/>
            </a:solidFill>
            <a:round/>
            <a:headEnd/>
            <a:tailEnd/>
          </a:ln>
        </p:spPr>
        <p:txBody>
          <a:bodyPr/>
          <a:lstStyle/>
          <a:p>
            <a:pPr>
              <a:defRPr/>
            </a:pPr>
            <a:endParaRPr lang="nl-NL"/>
          </a:p>
        </p:txBody>
      </p:sp>
      <p:sp>
        <p:nvSpPr>
          <p:cNvPr id="83" name="Freeform 77"/>
          <p:cNvSpPr>
            <a:spLocks/>
          </p:cNvSpPr>
          <p:nvPr/>
        </p:nvSpPr>
        <p:spPr bwMode="auto">
          <a:xfrm>
            <a:off x="5337608" y="3593236"/>
            <a:ext cx="25727" cy="37570"/>
          </a:xfrm>
          <a:custGeom>
            <a:avLst/>
            <a:gdLst>
              <a:gd name="T0" fmla="*/ 14 w 16"/>
              <a:gd name="T1" fmla="*/ 0 h 18"/>
              <a:gd name="T2" fmla="*/ 0 w 16"/>
              <a:gd name="T3" fmla="*/ 4 h 18"/>
              <a:gd name="T4" fmla="*/ 0 w 16"/>
              <a:gd name="T5" fmla="*/ 7 h 18"/>
              <a:gd name="T6" fmla="*/ 1 w 16"/>
              <a:gd name="T7" fmla="*/ 12 h 18"/>
              <a:gd name="T8" fmla="*/ 4 w 16"/>
              <a:gd name="T9" fmla="*/ 17 h 18"/>
              <a:gd name="T10" fmla="*/ 10 w 16"/>
              <a:gd name="T11" fmla="*/ 18 h 18"/>
              <a:gd name="T12" fmla="*/ 15 w 16"/>
              <a:gd name="T13" fmla="*/ 14 h 18"/>
              <a:gd name="T14" fmla="*/ 16 w 16"/>
              <a:gd name="T15" fmla="*/ 8 h 18"/>
              <a:gd name="T16" fmla="*/ 15 w 16"/>
              <a:gd name="T17" fmla="*/ 2 h 18"/>
              <a:gd name="T18" fmla="*/ 14 w 16"/>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8"/>
              <a:gd name="T32" fmla="*/ 16 w 16"/>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8">
                <a:moveTo>
                  <a:pt x="14" y="0"/>
                </a:moveTo>
                <a:lnTo>
                  <a:pt x="0" y="4"/>
                </a:lnTo>
                <a:lnTo>
                  <a:pt x="0" y="7"/>
                </a:lnTo>
                <a:lnTo>
                  <a:pt x="1" y="12"/>
                </a:lnTo>
                <a:lnTo>
                  <a:pt x="4" y="17"/>
                </a:lnTo>
                <a:lnTo>
                  <a:pt x="10" y="18"/>
                </a:lnTo>
                <a:lnTo>
                  <a:pt x="15" y="14"/>
                </a:lnTo>
                <a:lnTo>
                  <a:pt x="16" y="8"/>
                </a:lnTo>
                <a:lnTo>
                  <a:pt x="15" y="2"/>
                </a:lnTo>
                <a:lnTo>
                  <a:pt x="14" y="0"/>
                </a:lnTo>
                <a:close/>
              </a:path>
            </a:pathLst>
          </a:custGeom>
          <a:solidFill>
            <a:schemeClr val="accent3"/>
          </a:solidFill>
          <a:ln w="12700">
            <a:solidFill>
              <a:schemeClr val="bg1"/>
            </a:solidFill>
            <a:round/>
            <a:headEnd/>
            <a:tailEnd/>
          </a:ln>
        </p:spPr>
        <p:txBody>
          <a:bodyPr/>
          <a:lstStyle/>
          <a:p>
            <a:pPr>
              <a:defRPr/>
            </a:pPr>
            <a:endParaRPr lang="nl-NL"/>
          </a:p>
        </p:txBody>
      </p:sp>
      <p:sp>
        <p:nvSpPr>
          <p:cNvPr id="84" name="Freeform 78"/>
          <p:cNvSpPr>
            <a:spLocks/>
          </p:cNvSpPr>
          <p:nvPr/>
        </p:nvSpPr>
        <p:spPr bwMode="auto">
          <a:xfrm>
            <a:off x="5354255" y="3653007"/>
            <a:ext cx="22701" cy="40986"/>
          </a:xfrm>
          <a:custGeom>
            <a:avLst/>
            <a:gdLst>
              <a:gd name="T0" fmla="*/ 14 w 14"/>
              <a:gd name="T1" fmla="*/ 4 h 22"/>
              <a:gd name="T2" fmla="*/ 10 w 14"/>
              <a:gd name="T3" fmla="*/ 22 h 22"/>
              <a:gd name="T4" fmla="*/ 0 w 14"/>
              <a:gd name="T5" fmla="*/ 4 h 22"/>
              <a:gd name="T6" fmla="*/ 1 w 14"/>
              <a:gd name="T7" fmla="*/ 3 h 22"/>
              <a:gd name="T8" fmla="*/ 5 w 14"/>
              <a:gd name="T9" fmla="*/ 1 h 22"/>
              <a:gd name="T10" fmla="*/ 9 w 14"/>
              <a:gd name="T11" fmla="*/ 0 h 22"/>
              <a:gd name="T12" fmla="*/ 14 w 14"/>
              <a:gd name="T13" fmla="*/ 4 h 22"/>
              <a:gd name="T14" fmla="*/ 0 60000 65536"/>
              <a:gd name="T15" fmla="*/ 0 60000 65536"/>
              <a:gd name="T16" fmla="*/ 0 60000 65536"/>
              <a:gd name="T17" fmla="*/ 0 60000 65536"/>
              <a:gd name="T18" fmla="*/ 0 60000 65536"/>
              <a:gd name="T19" fmla="*/ 0 60000 65536"/>
              <a:gd name="T20" fmla="*/ 0 60000 65536"/>
              <a:gd name="T21" fmla="*/ 0 w 14"/>
              <a:gd name="T22" fmla="*/ 0 h 22"/>
              <a:gd name="T23" fmla="*/ 14 w 1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2">
                <a:moveTo>
                  <a:pt x="14" y="4"/>
                </a:moveTo>
                <a:lnTo>
                  <a:pt x="10" y="22"/>
                </a:lnTo>
                <a:lnTo>
                  <a:pt x="0" y="4"/>
                </a:lnTo>
                <a:lnTo>
                  <a:pt x="1" y="3"/>
                </a:lnTo>
                <a:lnTo>
                  <a:pt x="5" y="1"/>
                </a:lnTo>
                <a:lnTo>
                  <a:pt x="9" y="0"/>
                </a:lnTo>
                <a:lnTo>
                  <a:pt x="14" y="4"/>
                </a:lnTo>
                <a:close/>
              </a:path>
            </a:pathLst>
          </a:custGeom>
          <a:solidFill>
            <a:schemeClr val="accent3"/>
          </a:solidFill>
          <a:ln w="12700">
            <a:solidFill>
              <a:schemeClr val="bg1"/>
            </a:solidFill>
            <a:round/>
            <a:headEnd/>
            <a:tailEnd/>
          </a:ln>
        </p:spPr>
        <p:txBody>
          <a:bodyPr/>
          <a:lstStyle/>
          <a:p>
            <a:pPr>
              <a:defRPr/>
            </a:pPr>
            <a:endParaRPr lang="nl-NL"/>
          </a:p>
        </p:txBody>
      </p:sp>
      <p:sp>
        <p:nvSpPr>
          <p:cNvPr id="85" name="Freeform 79"/>
          <p:cNvSpPr>
            <a:spLocks/>
          </p:cNvSpPr>
          <p:nvPr/>
        </p:nvSpPr>
        <p:spPr bwMode="auto">
          <a:xfrm>
            <a:off x="5151464" y="3137269"/>
            <a:ext cx="30267" cy="44401"/>
          </a:xfrm>
          <a:custGeom>
            <a:avLst/>
            <a:gdLst>
              <a:gd name="T0" fmla="*/ 7 w 17"/>
              <a:gd name="T1" fmla="*/ 0 h 24"/>
              <a:gd name="T2" fmla="*/ 9 w 17"/>
              <a:gd name="T3" fmla="*/ 1 h 24"/>
              <a:gd name="T4" fmla="*/ 14 w 17"/>
              <a:gd name="T5" fmla="*/ 5 h 24"/>
              <a:gd name="T6" fmla="*/ 17 w 17"/>
              <a:gd name="T7" fmla="*/ 11 h 24"/>
              <a:gd name="T8" fmla="*/ 14 w 17"/>
              <a:gd name="T9" fmla="*/ 17 h 24"/>
              <a:gd name="T10" fmla="*/ 8 w 17"/>
              <a:gd name="T11" fmla="*/ 20 h 24"/>
              <a:gd name="T12" fmla="*/ 5 w 17"/>
              <a:gd name="T13" fmla="*/ 23 h 24"/>
              <a:gd name="T14" fmla="*/ 3 w 17"/>
              <a:gd name="T15" fmla="*/ 24 h 24"/>
              <a:gd name="T16" fmla="*/ 3 w 17"/>
              <a:gd name="T17" fmla="*/ 24 h 24"/>
              <a:gd name="T18" fmla="*/ 2 w 17"/>
              <a:gd name="T19" fmla="*/ 20 h 24"/>
              <a:gd name="T20" fmla="*/ 0 w 17"/>
              <a:gd name="T21" fmla="*/ 11 h 24"/>
              <a:gd name="T22" fmla="*/ 0 w 17"/>
              <a:gd name="T23" fmla="*/ 3 h 24"/>
              <a:gd name="T24" fmla="*/ 7 w 17"/>
              <a:gd name="T25" fmla="*/ 0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24"/>
              <a:gd name="T41" fmla="*/ 17 w 17"/>
              <a:gd name="T42" fmla="*/ 24 h 2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24">
                <a:moveTo>
                  <a:pt x="7" y="0"/>
                </a:moveTo>
                <a:lnTo>
                  <a:pt x="9" y="1"/>
                </a:lnTo>
                <a:lnTo>
                  <a:pt x="14" y="5"/>
                </a:lnTo>
                <a:lnTo>
                  <a:pt x="17" y="11"/>
                </a:lnTo>
                <a:lnTo>
                  <a:pt x="14" y="17"/>
                </a:lnTo>
                <a:lnTo>
                  <a:pt x="8" y="20"/>
                </a:lnTo>
                <a:lnTo>
                  <a:pt x="5" y="23"/>
                </a:lnTo>
                <a:lnTo>
                  <a:pt x="3" y="24"/>
                </a:lnTo>
                <a:lnTo>
                  <a:pt x="2" y="20"/>
                </a:lnTo>
                <a:lnTo>
                  <a:pt x="0" y="11"/>
                </a:lnTo>
                <a:lnTo>
                  <a:pt x="0" y="3"/>
                </a:lnTo>
                <a:lnTo>
                  <a:pt x="7" y="0"/>
                </a:lnTo>
                <a:close/>
              </a:path>
            </a:pathLst>
          </a:custGeom>
          <a:solidFill>
            <a:schemeClr val="accent3"/>
          </a:solidFill>
          <a:ln w="12700">
            <a:solidFill>
              <a:schemeClr val="bg1"/>
            </a:solidFill>
            <a:round/>
            <a:headEnd/>
            <a:tailEnd/>
          </a:ln>
        </p:spPr>
        <p:txBody>
          <a:bodyPr/>
          <a:lstStyle/>
          <a:p>
            <a:pPr>
              <a:defRPr/>
            </a:pPr>
            <a:endParaRPr lang="nl-NL"/>
          </a:p>
        </p:txBody>
      </p:sp>
      <p:sp>
        <p:nvSpPr>
          <p:cNvPr id="86" name="Freeform 80"/>
          <p:cNvSpPr>
            <a:spLocks/>
          </p:cNvSpPr>
          <p:nvPr/>
        </p:nvSpPr>
        <p:spPr bwMode="auto">
          <a:xfrm>
            <a:off x="6772284" y="4573478"/>
            <a:ext cx="19674" cy="22201"/>
          </a:xfrm>
          <a:custGeom>
            <a:avLst/>
            <a:gdLst>
              <a:gd name="T0" fmla="*/ 8 w 13"/>
              <a:gd name="T1" fmla="*/ 0 h 11"/>
              <a:gd name="T2" fmla="*/ 9 w 13"/>
              <a:gd name="T3" fmla="*/ 1 h 11"/>
              <a:gd name="T4" fmla="*/ 13 w 13"/>
              <a:gd name="T5" fmla="*/ 3 h 11"/>
              <a:gd name="T6" fmla="*/ 13 w 13"/>
              <a:gd name="T7" fmla="*/ 8 h 11"/>
              <a:gd name="T8" fmla="*/ 8 w 13"/>
              <a:gd name="T9" fmla="*/ 11 h 11"/>
              <a:gd name="T10" fmla="*/ 1 w 13"/>
              <a:gd name="T11" fmla="*/ 11 h 11"/>
              <a:gd name="T12" fmla="*/ 0 w 13"/>
              <a:gd name="T13" fmla="*/ 8 h 11"/>
              <a:gd name="T14" fmla="*/ 2 w 13"/>
              <a:gd name="T15" fmla="*/ 3 h 11"/>
              <a:gd name="T16" fmla="*/ 8 w 13"/>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8" y="0"/>
                </a:moveTo>
                <a:lnTo>
                  <a:pt x="9" y="1"/>
                </a:lnTo>
                <a:lnTo>
                  <a:pt x="13" y="3"/>
                </a:lnTo>
                <a:lnTo>
                  <a:pt x="13" y="8"/>
                </a:lnTo>
                <a:lnTo>
                  <a:pt x="8" y="11"/>
                </a:lnTo>
                <a:lnTo>
                  <a:pt x="1" y="11"/>
                </a:lnTo>
                <a:lnTo>
                  <a:pt x="0" y="8"/>
                </a:lnTo>
                <a:lnTo>
                  <a:pt x="2" y="3"/>
                </a:lnTo>
                <a:lnTo>
                  <a:pt x="8" y="0"/>
                </a:lnTo>
                <a:close/>
              </a:path>
            </a:pathLst>
          </a:custGeom>
          <a:solidFill>
            <a:schemeClr val="accent3"/>
          </a:solidFill>
          <a:ln w="12700">
            <a:solidFill>
              <a:schemeClr val="bg1"/>
            </a:solidFill>
            <a:round/>
            <a:headEnd/>
            <a:tailEnd/>
          </a:ln>
        </p:spPr>
        <p:txBody>
          <a:bodyPr/>
          <a:lstStyle/>
          <a:p>
            <a:pPr>
              <a:defRPr/>
            </a:pPr>
            <a:endParaRPr lang="nl-NL"/>
          </a:p>
        </p:txBody>
      </p:sp>
      <p:sp>
        <p:nvSpPr>
          <p:cNvPr id="87" name="Freeform 81"/>
          <p:cNvSpPr>
            <a:spLocks/>
          </p:cNvSpPr>
          <p:nvPr/>
        </p:nvSpPr>
        <p:spPr bwMode="auto">
          <a:xfrm>
            <a:off x="7551670" y="4699851"/>
            <a:ext cx="19674" cy="22201"/>
          </a:xfrm>
          <a:custGeom>
            <a:avLst/>
            <a:gdLst>
              <a:gd name="T0" fmla="*/ 8 w 13"/>
              <a:gd name="T1" fmla="*/ 0 h 11"/>
              <a:gd name="T2" fmla="*/ 9 w 13"/>
              <a:gd name="T3" fmla="*/ 1 h 11"/>
              <a:gd name="T4" fmla="*/ 13 w 13"/>
              <a:gd name="T5" fmla="*/ 3 h 11"/>
              <a:gd name="T6" fmla="*/ 13 w 13"/>
              <a:gd name="T7" fmla="*/ 7 h 11"/>
              <a:gd name="T8" fmla="*/ 8 w 13"/>
              <a:gd name="T9" fmla="*/ 10 h 11"/>
              <a:gd name="T10" fmla="*/ 1 w 13"/>
              <a:gd name="T11" fmla="*/ 11 h 11"/>
              <a:gd name="T12" fmla="*/ 0 w 13"/>
              <a:gd name="T13" fmla="*/ 8 h 11"/>
              <a:gd name="T14" fmla="*/ 2 w 13"/>
              <a:gd name="T15" fmla="*/ 3 h 11"/>
              <a:gd name="T16" fmla="*/ 8 w 13"/>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8" y="0"/>
                </a:moveTo>
                <a:lnTo>
                  <a:pt x="9" y="1"/>
                </a:lnTo>
                <a:lnTo>
                  <a:pt x="13" y="3"/>
                </a:lnTo>
                <a:lnTo>
                  <a:pt x="13" y="7"/>
                </a:lnTo>
                <a:lnTo>
                  <a:pt x="8" y="10"/>
                </a:lnTo>
                <a:lnTo>
                  <a:pt x="1" y="11"/>
                </a:lnTo>
                <a:lnTo>
                  <a:pt x="0" y="8"/>
                </a:lnTo>
                <a:lnTo>
                  <a:pt x="2" y="3"/>
                </a:lnTo>
                <a:lnTo>
                  <a:pt x="8" y="0"/>
                </a:lnTo>
                <a:close/>
              </a:path>
            </a:pathLst>
          </a:custGeom>
          <a:solidFill>
            <a:schemeClr val="accent3"/>
          </a:solidFill>
          <a:ln w="12700">
            <a:solidFill>
              <a:schemeClr val="bg1"/>
            </a:solidFill>
            <a:round/>
            <a:headEnd/>
            <a:tailEnd/>
          </a:ln>
        </p:spPr>
        <p:txBody>
          <a:bodyPr/>
          <a:lstStyle/>
          <a:p>
            <a:pPr>
              <a:defRPr/>
            </a:pPr>
            <a:endParaRPr lang="nl-NL"/>
          </a:p>
        </p:txBody>
      </p:sp>
      <p:sp>
        <p:nvSpPr>
          <p:cNvPr id="88" name="Freeform 82"/>
          <p:cNvSpPr>
            <a:spLocks/>
          </p:cNvSpPr>
          <p:nvPr/>
        </p:nvSpPr>
        <p:spPr bwMode="auto">
          <a:xfrm>
            <a:off x="7262616" y="4551277"/>
            <a:ext cx="21187" cy="22201"/>
          </a:xfrm>
          <a:custGeom>
            <a:avLst/>
            <a:gdLst>
              <a:gd name="T0" fmla="*/ 8 w 13"/>
              <a:gd name="T1" fmla="*/ 0 h 12"/>
              <a:gd name="T2" fmla="*/ 9 w 13"/>
              <a:gd name="T3" fmla="*/ 1 h 12"/>
              <a:gd name="T4" fmla="*/ 13 w 13"/>
              <a:gd name="T5" fmla="*/ 4 h 12"/>
              <a:gd name="T6" fmla="*/ 13 w 13"/>
              <a:gd name="T7" fmla="*/ 7 h 12"/>
              <a:gd name="T8" fmla="*/ 8 w 13"/>
              <a:gd name="T9" fmla="*/ 11 h 12"/>
              <a:gd name="T10" fmla="*/ 1 w 13"/>
              <a:gd name="T11" fmla="*/ 12 h 12"/>
              <a:gd name="T12" fmla="*/ 0 w 13"/>
              <a:gd name="T13" fmla="*/ 8 h 12"/>
              <a:gd name="T14" fmla="*/ 2 w 13"/>
              <a:gd name="T15" fmla="*/ 4 h 12"/>
              <a:gd name="T16" fmla="*/ 8 w 13"/>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2"/>
              <a:gd name="T29" fmla="*/ 13 w 13"/>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2">
                <a:moveTo>
                  <a:pt x="8" y="0"/>
                </a:moveTo>
                <a:lnTo>
                  <a:pt x="9" y="1"/>
                </a:lnTo>
                <a:lnTo>
                  <a:pt x="13" y="4"/>
                </a:lnTo>
                <a:lnTo>
                  <a:pt x="13" y="7"/>
                </a:lnTo>
                <a:lnTo>
                  <a:pt x="8" y="11"/>
                </a:lnTo>
                <a:lnTo>
                  <a:pt x="1" y="12"/>
                </a:lnTo>
                <a:lnTo>
                  <a:pt x="0" y="8"/>
                </a:lnTo>
                <a:lnTo>
                  <a:pt x="2" y="4"/>
                </a:lnTo>
                <a:lnTo>
                  <a:pt x="8" y="0"/>
                </a:lnTo>
                <a:close/>
              </a:path>
            </a:pathLst>
          </a:custGeom>
          <a:solidFill>
            <a:schemeClr val="accent3"/>
          </a:solidFill>
          <a:ln w="12700">
            <a:solidFill>
              <a:schemeClr val="bg1"/>
            </a:solidFill>
            <a:round/>
            <a:headEnd/>
            <a:tailEnd/>
          </a:ln>
        </p:spPr>
        <p:txBody>
          <a:bodyPr/>
          <a:lstStyle/>
          <a:p>
            <a:pPr>
              <a:defRPr/>
            </a:pPr>
            <a:endParaRPr lang="nl-NL"/>
          </a:p>
        </p:txBody>
      </p:sp>
      <p:sp>
        <p:nvSpPr>
          <p:cNvPr id="89" name="Freeform 83"/>
          <p:cNvSpPr>
            <a:spLocks/>
          </p:cNvSpPr>
          <p:nvPr/>
        </p:nvSpPr>
        <p:spPr bwMode="auto">
          <a:xfrm>
            <a:off x="7777162" y="4822808"/>
            <a:ext cx="19674" cy="18785"/>
          </a:xfrm>
          <a:custGeom>
            <a:avLst/>
            <a:gdLst>
              <a:gd name="T0" fmla="*/ 8 w 13"/>
              <a:gd name="T1" fmla="*/ 0 h 11"/>
              <a:gd name="T2" fmla="*/ 9 w 13"/>
              <a:gd name="T3" fmla="*/ 2 h 11"/>
              <a:gd name="T4" fmla="*/ 13 w 13"/>
              <a:gd name="T5" fmla="*/ 4 h 11"/>
              <a:gd name="T6" fmla="*/ 13 w 13"/>
              <a:gd name="T7" fmla="*/ 7 h 11"/>
              <a:gd name="T8" fmla="*/ 8 w 13"/>
              <a:gd name="T9" fmla="*/ 11 h 11"/>
              <a:gd name="T10" fmla="*/ 1 w 13"/>
              <a:gd name="T11" fmla="*/ 11 h 11"/>
              <a:gd name="T12" fmla="*/ 0 w 13"/>
              <a:gd name="T13" fmla="*/ 7 h 11"/>
              <a:gd name="T14" fmla="*/ 2 w 13"/>
              <a:gd name="T15" fmla="*/ 3 h 11"/>
              <a:gd name="T16" fmla="*/ 8 w 13"/>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8" y="0"/>
                </a:moveTo>
                <a:lnTo>
                  <a:pt x="9" y="2"/>
                </a:lnTo>
                <a:lnTo>
                  <a:pt x="13" y="4"/>
                </a:lnTo>
                <a:lnTo>
                  <a:pt x="13" y="7"/>
                </a:lnTo>
                <a:lnTo>
                  <a:pt x="8" y="11"/>
                </a:lnTo>
                <a:lnTo>
                  <a:pt x="1" y="11"/>
                </a:lnTo>
                <a:lnTo>
                  <a:pt x="0" y="7"/>
                </a:lnTo>
                <a:lnTo>
                  <a:pt x="2" y="3"/>
                </a:lnTo>
                <a:lnTo>
                  <a:pt x="8" y="0"/>
                </a:lnTo>
                <a:close/>
              </a:path>
            </a:pathLst>
          </a:custGeom>
          <a:solidFill>
            <a:schemeClr val="accent3"/>
          </a:solidFill>
          <a:ln w="12700">
            <a:solidFill>
              <a:schemeClr val="bg1"/>
            </a:solidFill>
            <a:round/>
            <a:headEnd/>
            <a:tailEnd/>
          </a:ln>
        </p:spPr>
        <p:txBody>
          <a:bodyPr/>
          <a:lstStyle/>
          <a:p>
            <a:pPr>
              <a:defRPr/>
            </a:pPr>
            <a:endParaRPr lang="nl-NL"/>
          </a:p>
        </p:txBody>
      </p:sp>
      <p:sp>
        <p:nvSpPr>
          <p:cNvPr id="90" name="Freeform 84"/>
          <p:cNvSpPr>
            <a:spLocks/>
          </p:cNvSpPr>
          <p:nvPr/>
        </p:nvSpPr>
        <p:spPr bwMode="auto">
          <a:xfrm>
            <a:off x="7677280" y="4430028"/>
            <a:ext cx="19674" cy="18785"/>
          </a:xfrm>
          <a:custGeom>
            <a:avLst/>
            <a:gdLst>
              <a:gd name="T0" fmla="*/ 8 w 13"/>
              <a:gd name="T1" fmla="*/ 0 h 10"/>
              <a:gd name="T2" fmla="*/ 10 w 13"/>
              <a:gd name="T3" fmla="*/ 1 h 10"/>
              <a:gd name="T4" fmla="*/ 13 w 13"/>
              <a:gd name="T5" fmla="*/ 3 h 10"/>
              <a:gd name="T6" fmla="*/ 13 w 13"/>
              <a:gd name="T7" fmla="*/ 7 h 10"/>
              <a:gd name="T8" fmla="*/ 8 w 13"/>
              <a:gd name="T9" fmla="*/ 10 h 10"/>
              <a:gd name="T10" fmla="*/ 1 w 13"/>
              <a:gd name="T11" fmla="*/ 10 h 10"/>
              <a:gd name="T12" fmla="*/ 0 w 13"/>
              <a:gd name="T13" fmla="*/ 7 h 10"/>
              <a:gd name="T14" fmla="*/ 4 w 13"/>
              <a:gd name="T15" fmla="*/ 2 h 10"/>
              <a:gd name="T16" fmla="*/ 8 w 13"/>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0"/>
              <a:gd name="T29" fmla="*/ 13 w 13"/>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0">
                <a:moveTo>
                  <a:pt x="8" y="0"/>
                </a:moveTo>
                <a:lnTo>
                  <a:pt x="10" y="1"/>
                </a:lnTo>
                <a:lnTo>
                  <a:pt x="13" y="3"/>
                </a:lnTo>
                <a:lnTo>
                  <a:pt x="13" y="7"/>
                </a:lnTo>
                <a:lnTo>
                  <a:pt x="8" y="10"/>
                </a:lnTo>
                <a:lnTo>
                  <a:pt x="1" y="10"/>
                </a:lnTo>
                <a:lnTo>
                  <a:pt x="0" y="7"/>
                </a:lnTo>
                <a:lnTo>
                  <a:pt x="4" y="2"/>
                </a:lnTo>
                <a:lnTo>
                  <a:pt x="8" y="0"/>
                </a:lnTo>
                <a:close/>
              </a:path>
            </a:pathLst>
          </a:custGeom>
          <a:solidFill>
            <a:schemeClr val="accent3"/>
          </a:solidFill>
          <a:ln w="12700">
            <a:solidFill>
              <a:schemeClr val="bg1"/>
            </a:solidFill>
            <a:round/>
            <a:headEnd/>
            <a:tailEnd/>
          </a:ln>
        </p:spPr>
        <p:txBody>
          <a:bodyPr/>
          <a:lstStyle/>
          <a:p>
            <a:pPr>
              <a:defRPr/>
            </a:pPr>
            <a:endParaRPr lang="nl-NL"/>
          </a:p>
        </p:txBody>
      </p:sp>
      <p:sp>
        <p:nvSpPr>
          <p:cNvPr id="91" name="Freeform 85"/>
          <p:cNvSpPr>
            <a:spLocks/>
          </p:cNvSpPr>
          <p:nvPr/>
        </p:nvSpPr>
        <p:spPr bwMode="auto">
          <a:xfrm>
            <a:off x="7415467" y="4385627"/>
            <a:ext cx="19674" cy="22201"/>
          </a:xfrm>
          <a:custGeom>
            <a:avLst/>
            <a:gdLst>
              <a:gd name="T0" fmla="*/ 8 w 13"/>
              <a:gd name="T1" fmla="*/ 0 h 10"/>
              <a:gd name="T2" fmla="*/ 10 w 13"/>
              <a:gd name="T3" fmla="*/ 1 h 10"/>
              <a:gd name="T4" fmla="*/ 13 w 13"/>
              <a:gd name="T5" fmla="*/ 3 h 10"/>
              <a:gd name="T6" fmla="*/ 13 w 13"/>
              <a:gd name="T7" fmla="*/ 7 h 10"/>
              <a:gd name="T8" fmla="*/ 8 w 13"/>
              <a:gd name="T9" fmla="*/ 10 h 10"/>
              <a:gd name="T10" fmla="*/ 1 w 13"/>
              <a:gd name="T11" fmla="*/ 10 h 10"/>
              <a:gd name="T12" fmla="*/ 0 w 13"/>
              <a:gd name="T13" fmla="*/ 7 h 10"/>
              <a:gd name="T14" fmla="*/ 3 w 13"/>
              <a:gd name="T15" fmla="*/ 2 h 10"/>
              <a:gd name="T16" fmla="*/ 8 w 13"/>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0"/>
              <a:gd name="T29" fmla="*/ 13 w 13"/>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0">
                <a:moveTo>
                  <a:pt x="8" y="0"/>
                </a:moveTo>
                <a:lnTo>
                  <a:pt x="10" y="1"/>
                </a:lnTo>
                <a:lnTo>
                  <a:pt x="13" y="3"/>
                </a:lnTo>
                <a:lnTo>
                  <a:pt x="13" y="7"/>
                </a:lnTo>
                <a:lnTo>
                  <a:pt x="8" y="10"/>
                </a:lnTo>
                <a:lnTo>
                  <a:pt x="1" y="10"/>
                </a:lnTo>
                <a:lnTo>
                  <a:pt x="0" y="7"/>
                </a:lnTo>
                <a:lnTo>
                  <a:pt x="3" y="2"/>
                </a:lnTo>
                <a:lnTo>
                  <a:pt x="8" y="0"/>
                </a:lnTo>
                <a:close/>
              </a:path>
            </a:pathLst>
          </a:custGeom>
          <a:solidFill>
            <a:schemeClr val="accent3"/>
          </a:solidFill>
          <a:ln w="12700">
            <a:solidFill>
              <a:schemeClr val="bg1"/>
            </a:solidFill>
            <a:round/>
            <a:headEnd/>
            <a:tailEnd/>
          </a:ln>
        </p:spPr>
        <p:txBody>
          <a:bodyPr/>
          <a:lstStyle/>
          <a:p>
            <a:pPr>
              <a:defRPr/>
            </a:pPr>
            <a:endParaRPr lang="nl-NL"/>
          </a:p>
        </p:txBody>
      </p:sp>
      <p:sp>
        <p:nvSpPr>
          <p:cNvPr id="92" name="Freeform 86"/>
          <p:cNvSpPr>
            <a:spLocks/>
          </p:cNvSpPr>
          <p:nvPr/>
        </p:nvSpPr>
        <p:spPr bwMode="auto">
          <a:xfrm>
            <a:off x="7783216" y="4225099"/>
            <a:ext cx="19674" cy="22201"/>
          </a:xfrm>
          <a:custGeom>
            <a:avLst/>
            <a:gdLst>
              <a:gd name="T0" fmla="*/ 7 w 12"/>
              <a:gd name="T1" fmla="*/ 0 h 12"/>
              <a:gd name="T2" fmla="*/ 9 w 12"/>
              <a:gd name="T3" fmla="*/ 1 h 12"/>
              <a:gd name="T4" fmla="*/ 11 w 12"/>
              <a:gd name="T5" fmla="*/ 4 h 12"/>
              <a:gd name="T6" fmla="*/ 12 w 12"/>
              <a:gd name="T7" fmla="*/ 7 h 12"/>
              <a:gd name="T8" fmla="*/ 7 w 12"/>
              <a:gd name="T9" fmla="*/ 11 h 12"/>
              <a:gd name="T10" fmla="*/ 1 w 12"/>
              <a:gd name="T11" fmla="*/ 12 h 12"/>
              <a:gd name="T12" fmla="*/ 0 w 12"/>
              <a:gd name="T13" fmla="*/ 8 h 12"/>
              <a:gd name="T14" fmla="*/ 2 w 12"/>
              <a:gd name="T15" fmla="*/ 4 h 12"/>
              <a:gd name="T16" fmla="*/ 7 w 12"/>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2"/>
              <a:gd name="T29" fmla="*/ 12 w 1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2">
                <a:moveTo>
                  <a:pt x="7" y="0"/>
                </a:moveTo>
                <a:lnTo>
                  <a:pt x="9" y="1"/>
                </a:lnTo>
                <a:lnTo>
                  <a:pt x="11" y="4"/>
                </a:lnTo>
                <a:lnTo>
                  <a:pt x="12" y="7"/>
                </a:lnTo>
                <a:lnTo>
                  <a:pt x="7" y="11"/>
                </a:lnTo>
                <a:lnTo>
                  <a:pt x="1" y="12"/>
                </a:lnTo>
                <a:lnTo>
                  <a:pt x="0" y="8"/>
                </a:lnTo>
                <a:lnTo>
                  <a:pt x="2" y="4"/>
                </a:lnTo>
                <a:lnTo>
                  <a:pt x="7" y="0"/>
                </a:lnTo>
                <a:close/>
              </a:path>
            </a:pathLst>
          </a:custGeom>
          <a:solidFill>
            <a:schemeClr val="accent3"/>
          </a:solidFill>
          <a:ln w="12700">
            <a:solidFill>
              <a:schemeClr val="bg1"/>
            </a:solidFill>
            <a:round/>
            <a:headEnd/>
            <a:tailEnd/>
          </a:ln>
        </p:spPr>
        <p:txBody>
          <a:bodyPr/>
          <a:lstStyle/>
          <a:p>
            <a:pPr>
              <a:defRPr/>
            </a:pPr>
            <a:endParaRPr lang="nl-NL"/>
          </a:p>
        </p:txBody>
      </p:sp>
      <p:sp>
        <p:nvSpPr>
          <p:cNvPr id="93" name="Freeform 87"/>
          <p:cNvSpPr>
            <a:spLocks/>
          </p:cNvSpPr>
          <p:nvPr/>
        </p:nvSpPr>
        <p:spPr bwMode="auto">
          <a:xfrm>
            <a:off x="7454814" y="4520538"/>
            <a:ext cx="33294" cy="22201"/>
          </a:xfrm>
          <a:custGeom>
            <a:avLst/>
            <a:gdLst>
              <a:gd name="T0" fmla="*/ 13 w 18"/>
              <a:gd name="T1" fmla="*/ 0 h 12"/>
              <a:gd name="T2" fmla="*/ 12 w 18"/>
              <a:gd name="T3" fmla="*/ 0 h 12"/>
              <a:gd name="T4" fmla="*/ 11 w 18"/>
              <a:gd name="T5" fmla="*/ 1 h 12"/>
              <a:gd name="T6" fmla="*/ 10 w 18"/>
              <a:gd name="T7" fmla="*/ 1 h 12"/>
              <a:gd name="T8" fmla="*/ 9 w 18"/>
              <a:gd name="T9" fmla="*/ 2 h 12"/>
              <a:gd name="T10" fmla="*/ 8 w 18"/>
              <a:gd name="T11" fmla="*/ 1 h 12"/>
              <a:gd name="T12" fmla="*/ 8 w 18"/>
              <a:gd name="T13" fmla="*/ 1 h 12"/>
              <a:gd name="T14" fmla="*/ 7 w 18"/>
              <a:gd name="T15" fmla="*/ 0 h 12"/>
              <a:gd name="T16" fmla="*/ 7 w 18"/>
              <a:gd name="T17" fmla="*/ 0 h 12"/>
              <a:gd name="T18" fmla="*/ 2 w 18"/>
              <a:gd name="T19" fmla="*/ 4 h 12"/>
              <a:gd name="T20" fmla="*/ 0 w 18"/>
              <a:gd name="T21" fmla="*/ 8 h 12"/>
              <a:gd name="T22" fmla="*/ 1 w 18"/>
              <a:gd name="T23" fmla="*/ 12 h 12"/>
              <a:gd name="T24" fmla="*/ 7 w 18"/>
              <a:gd name="T25" fmla="*/ 12 h 12"/>
              <a:gd name="T26" fmla="*/ 7 w 18"/>
              <a:gd name="T27" fmla="*/ 10 h 12"/>
              <a:gd name="T28" fmla="*/ 7 w 18"/>
              <a:gd name="T29" fmla="*/ 10 h 12"/>
              <a:gd name="T30" fmla="*/ 7 w 18"/>
              <a:gd name="T31" fmla="*/ 10 h 12"/>
              <a:gd name="T32" fmla="*/ 8 w 18"/>
              <a:gd name="T33" fmla="*/ 10 h 12"/>
              <a:gd name="T34" fmla="*/ 9 w 18"/>
              <a:gd name="T35" fmla="*/ 12 h 12"/>
              <a:gd name="T36" fmla="*/ 10 w 18"/>
              <a:gd name="T37" fmla="*/ 12 h 12"/>
              <a:gd name="T38" fmla="*/ 11 w 18"/>
              <a:gd name="T39" fmla="*/ 12 h 12"/>
              <a:gd name="T40" fmla="*/ 13 w 18"/>
              <a:gd name="T41" fmla="*/ 10 h 12"/>
              <a:gd name="T42" fmla="*/ 18 w 18"/>
              <a:gd name="T43" fmla="*/ 7 h 12"/>
              <a:gd name="T44" fmla="*/ 18 w 18"/>
              <a:gd name="T45" fmla="*/ 4 h 12"/>
              <a:gd name="T46" fmla="*/ 15 w 18"/>
              <a:gd name="T47" fmla="*/ 1 h 12"/>
              <a:gd name="T48" fmla="*/ 13 w 18"/>
              <a:gd name="T49" fmla="*/ 0 h 1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8"/>
              <a:gd name="T76" fmla="*/ 0 h 12"/>
              <a:gd name="T77" fmla="*/ 18 w 18"/>
              <a:gd name="T78" fmla="*/ 12 h 1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8" h="12">
                <a:moveTo>
                  <a:pt x="13" y="0"/>
                </a:moveTo>
                <a:lnTo>
                  <a:pt x="12" y="0"/>
                </a:lnTo>
                <a:lnTo>
                  <a:pt x="11" y="1"/>
                </a:lnTo>
                <a:lnTo>
                  <a:pt x="10" y="1"/>
                </a:lnTo>
                <a:lnTo>
                  <a:pt x="9" y="2"/>
                </a:lnTo>
                <a:lnTo>
                  <a:pt x="8" y="1"/>
                </a:lnTo>
                <a:lnTo>
                  <a:pt x="7" y="0"/>
                </a:lnTo>
                <a:lnTo>
                  <a:pt x="2" y="4"/>
                </a:lnTo>
                <a:lnTo>
                  <a:pt x="0" y="8"/>
                </a:lnTo>
                <a:lnTo>
                  <a:pt x="1" y="12"/>
                </a:lnTo>
                <a:lnTo>
                  <a:pt x="7" y="12"/>
                </a:lnTo>
                <a:lnTo>
                  <a:pt x="7" y="10"/>
                </a:lnTo>
                <a:lnTo>
                  <a:pt x="8" y="10"/>
                </a:lnTo>
                <a:lnTo>
                  <a:pt x="9" y="12"/>
                </a:lnTo>
                <a:lnTo>
                  <a:pt x="10" y="12"/>
                </a:lnTo>
                <a:lnTo>
                  <a:pt x="11" y="12"/>
                </a:lnTo>
                <a:lnTo>
                  <a:pt x="13" y="10"/>
                </a:lnTo>
                <a:lnTo>
                  <a:pt x="18" y="7"/>
                </a:lnTo>
                <a:lnTo>
                  <a:pt x="18" y="4"/>
                </a:lnTo>
                <a:lnTo>
                  <a:pt x="15" y="1"/>
                </a:lnTo>
                <a:lnTo>
                  <a:pt x="13" y="0"/>
                </a:lnTo>
                <a:close/>
              </a:path>
            </a:pathLst>
          </a:custGeom>
          <a:solidFill>
            <a:schemeClr val="accent3"/>
          </a:solidFill>
          <a:ln w="12700">
            <a:solidFill>
              <a:schemeClr val="bg1"/>
            </a:solidFill>
            <a:round/>
            <a:headEnd/>
            <a:tailEnd/>
          </a:ln>
        </p:spPr>
        <p:txBody>
          <a:bodyPr/>
          <a:lstStyle/>
          <a:p>
            <a:pPr>
              <a:defRPr/>
            </a:pPr>
            <a:endParaRPr lang="nl-NL"/>
          </a:p>
        </p:txBody>
      </p:sp>
      <p:sp>
        <p:nvSpPr>
          <p:cNvPr id="94" name="Freeform 88"/>
          <p:cNvSpPr>
            <a:spLocks/>
          </p:cNvSpPr>
          <p:nvPr/>
        </p:nvSpPr>
        <p:spPr bwMode="auto">
          <a:xfrm>
            <a:off x="7952714" y="4467598"/>
            <a:ext cx="19674" cy="18785"/>
          </a:xfrm>
          <a:custGeom>
            <a:avLst/>
            <a:gdLst>
              <a:gd name="T0" fmla="*/ 8 w 13"/>
              <a:gd name="T1" fmla="*/ 0 h 11"/>
              <a:gd name="T2" fmla="*/ 9 w 13"/>
              <a:gd name="T3" fmla="*/ 2 h 11"/>
              <a:gd name="T4" fmla="*/ 13 w 13"/>
              <a:gd name="T5" fmla="*/ 4 h 11"/>
              <a:gd name="T6" fmla="*/ 13 w 13"/>
              <a:gd name="T7" fmla="*/ 7 h 11"/>
              <a:gd name="T8" fmla="*/ 8 w 13"/>
              <a:gd name="T9" fmla="*/ 11 h 11"/>
              <a:gd name="T10" fmla="*/ 1 w 13"/>
              <a:gd name="T11" fmla="*/ 11 h 11"/>
              <a:gd name="T12" fmla="*/ 0 w 13"/>
              <a:gd name="T13" fmla="*/ 7 h 11"/>
              <a:gd name="T14" fmla="*/ 3 w 13"/>
              <a:gd name="T15" fmla="*/ 3 h 11"/>
              <a:gd name="T16" fmla="*/ 8 w 13"/>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8" y="0"/>
                </a:moveTo>
                <a:lnTo>
                  <a:pt x="9" y="2"/>
                </a:lnTo>
                <a:lnTo>
                  <a:pt x="13" y="4"/>
                </a:lnTo>
                <a:lnTo>
                  <a:pt x="13" y="7"/>
                </a:lnTo>
                <a:lnTo>
                  <a:pt x="8" y="11"/>
                </a:lnTo>
                <a:lnTo>
                  <a:pt x="1" y="11"/>
                </a:lnTo>
                <a:lnTo>
                  <a:pt x="0" y="7"/>
                </a:lnTo>
                <a:lnTo>
                  <a:pt x="3" y="3"/>
                </a:lnTo>
                <a:lnTo>
                  <a:pt x="8" y="0"/>
                </a:lnTo>
                <a:close/>
              </a:path>
            </a:pathLst>
          </a:custGeom>
          <a:solidFill>
            <a:schemeClr val="accent3"/>
          </a:solidFill>
          <a:ln w="12700">
            <a:solidFill>
              <a:schemeClr val="bg1"/>
            </a:solidFill>
            <a:round/>
            <a:headEnd/>
            <a:tailEnd/>
          </a:ln>
        </p:spPr>
        <p:txBody>
          <a:bodyPr/>
          <a:lstStyle/>
          <a:p>
            <a:pPr>
              <a:defRPr/>
            </a:pPr>
            <a:endParaRPr lang="nl-NL"/>
          </a:p>
        </p:txBody>
      </p:sp>
      <p:sp>
        <p:nvSpPr>
          <p:cNvPr id="95" name="Freeform 89"/>
          <p:cNvSpPr>
            <a:spLocks/>
          </p:cNvSpPr>
          <p:nvPr/>
        </p:nvSpPr>
        <p:spPr bwMode="auto">
          <a:xfrm>
            <a:off x="7677280" y="4108973"/>
            <a:ext cx="16647" cy="18785"/>
          </a:xfrm>
          <a:custGeom>
            <a:avLst/>
            <a:gdLst>
              <a:gd name="T0" fmla="*/ 7 w 12"/>
              <a:gd name="T1" fmla="*/ 0 h 10"/>
              <a:gd name="T2" fmla="*/ 8 w 12"/>
              <a:gd name="T3" fmla="*/ 1 h 10"/>
              <a:gd name="T4" fmla="*/ 12 w 12"/>
              <a:gd name="T5" fmla="*/ 4 h 10"/>
              <a:gd name="T6" fmla="*/ 12 w 12"/>
              <a:gd name="T7" fmla="*/ 7 h 10"/>
              <a:gd name="T8" fmla="*/ 7 w 12"/>
              <a:gd name="T9" fmla="*/ 10 h 10"/>
              <a:gd name="T10" fmla="*/ 1 w 12"/>
              <a:gd name="T11" fmla="*/ 10 h 10"/>
              <a:gd name="T12" fmla="*/ 0 w 12"/>
              <a:gd name="T13" fmla="*/ 7 h 10"/>
              <a:gd name="T14" fmla="*/ 2 w 12"/>
              <a:gd name="T15" fmla="*/ 2 h 10"/>
              <a:gd name="T16" fmla="*/ 7 w 12"/>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0"/>
              <a:gd name="T29" fmla="*/ 12 w 12"/>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0">
                <a:moveTo>
                  <a:pt x="7" y="0"/>
                </a:moveTo>
                <a:lnTo>
                  <a:pt x="8" y="1"/>
                </a:lnTo>
                <a:lnTo>
                  <a:pt x="12" y="4"/>
                </a:lnTo>
                <a:lnTo>
                  <a:pt x="12" y="7"/>
                </a:lnTo>
                <a:lnTo>
                  <a:pt x="7" y="10"/>
                </a:lnTo>
                <a:lnTo>
                  <a:pt x="1" y="10"/>
                </a:lnTo>
                <a:lnTo>
                  <a:pt x="0" y="7"/>
                </a:lnTo>
                <a:lnTo>
                  <a:pt x="2" y="2"/>
                </a:lnTo>
                <a:lnTo>
                  <a:pt x="7" y="0"/>
                </a:lnTo>
                <a:close/>
              </a:path>
            </a:pathLst>
          </a:custGeom>
          <a:solidFill>
            <a:schemeClr val="accent3"/>
          </a:solidFill>
          <a:ln w="12700">
            <a:solidFill>
              <a:schemeClr val="bg1"/>
            </a:solidFill>
            <a:round/>
            <a:headEnd/>
            <a:tailEnd/>
          </a:ln>
        </p:spPr>
        <p:txBody>
          <a:bodyPr/>
          <a:lstStyle/>
          <a:p>
            <a:pPr>
              <a:defRPr/>
            </a:pPr>
            <a:endParaRPr lang="nl-NL"/>
          </a:p>
        </p:txBody>
      </p:sp>
      <p:sp>
        <p:nvSpPr>
          <p:cNvPr id="96" name="Freeform 90"/>
          <p:cNvSpPr>
            <a:spLocks/>
          </p:cNvSpPr>
          <p:nvPr/>
        </p:nvSpPr>
        <p:spPr bwMode="auto">
          <a:xfrm>
            <a:off x="7130953" y="4624710"/>
            <a:ext cx="22701" cy="52940"/>
          </a:xfrm>
          <a:custGeom>
            <a:avLst/>
            <a:gdLst>
              <a:gd name="T0" fmla="*/ 15 w 15"/>
              <a:gd name="T1" fmla="*/ 0 h 27"/>
              <a:gd name="T2" fmla="*/ 11 w 15"/>
              <a:gd name="T3" fmla="*/ 3 h 27"/>
              <a:gd name="T4" fmla="*/ 4 w 15"/>
              <a:gd name="T5" fmla="*/ 11 h 27"/>
              <a:gd name="T6" fmla="*/ 0 w 15"/>
              <a:gd name="T7" fmla="*/ 20 h 27"/>
              <a:gd name="T8" fmla="*/ 4 w 15"/>
              <a:gd name="T9" fmla="*/ 27 h 27"/>
              <a:gd name="T10" fmla="*/ 11 w 15"/>
              <a:gd name="T11" fmla="*/ 26 h 27"/>
              <a:gd name="T12" fmla="*/ 15 w 15"/>
              <a:gd name="T13" fmla="*/ 16 h 27"/>
              <a:gd name="T14" fmla="*/ 15 w 15"/>
              <a:gd name="T15" fmla="*/ 5 h 27"/>
              <a:gd name="T16" fmla="*/ 15 w 15"/>
              <a:gd name="T17" fmla="*/ 0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7"/>
              <a:gd name="T29" fmla="*/ 15 w 15"/>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7">
                <a:moveTo>
                  <a:pt x="15" y="0"/>
                </a:moveTo>
                <a:lnTo>
                  <a:pt x="11" y="3"/>
                </a:lnTo>
                <a:lnTo>
                  <a:pt x="4" y="11"/>
                </a:lnTo>
                <a:lnTo>
                  <a:pt x="0" y="20"/>
                </a:lnTo>
                <a:lnTo>
                  <a:pt x="4" y="27"/>
                </a:lnTo>
                <a:lnTo>
                  <a:pt x="11" y="26"/>
                </a:lnTo>
                <a:lnTo>
                  <a:pt x="15" y="16"/>
                </a:lnTo>
                <a:lnTo>
                  <a:pt x="15" y="5"/>
                </a:lnTo>
                <a:lnTo>
                  <a:pt x="15" y="0"/>
                </a:lnTo>
                <a:close/>
              </a:path>
            </a:pathLst>
          </a:custGeom>
          <a:solidFill>
            <a:schemeClr val="accent3"/>
          </a:solidFill>
          <a:ln w="12700">
            <a:solidFill>
              <a:schemeClr val="bg1"/>
            </a:solidFill>
            <a:round/>
            <a:headEnd/>
            <a:tailEnd/>
          </a:ln>
        </p:spPr>
        <p:txBody>
          <a:bodyPr/>
          <a:lstStyle/>
          <a:p>
            <a:pPr>
              <a:defRPr/>
            </a:pPr>
            <a:endParaRPr lang="nl-NL"/>
          </a:p>
        </p:txBody>
      </p:sp>
      <p:sp>
        <p:nvSpPr>
          <p:cNvPr id="97" name="Freeform 91"/>
          <p:cNvSpPr>
            <a:spLocks/>
          </p:cNvSpPr>
          <p:nvPr/>
        </p:nvSpPr>
        <p:spPr bwMode="auto">
          <a:xfrm>
            <a:off x="6312219" y="3232903"/>
            <a:ext cx="39348" cy="37570"/>
          </a:xfrm>
          <a:custGeom>
            <a:avLst/>
            <a:gdLst>
              <a:gd name="T0" fmla="*/ 24 w 24"/>
              <a:gd name="T1" fmla="*/ 7 h 21"/>
              <a:gd name="T2" fmla="*/ 22 w 24"/>
              <a:gd name="T3" fmla="*/ 5 h 21"/>
              <a:gd name="T4" fmla="*/ 18 w 24"/>
              <a:gd name="T5" fmla="*/ 1 h 21"/>
              <a:gd name="T6" fmla="*/ 12 w 24"/>
              <a:gd name="T7" fmla="*/ 0 h 21"/>
              <a:gd name="T8" fmla="*/ 5 w 24"/>
              <a:gd name="T9" fmla="*/ 3 h 21"/>
              <a:gd name="T10" fmla="*/ 0 w 24"/>
              <a:gd name="T11" fmla="*/ 8 h 21"/>
              <a:gd name="T12" fmla="*/ 2 w 24"/>
              <a:gd name="T13" fmla="*/ 14 h 21"/>
              <a:gd name="T14" fmla="*/ 4 w 24"/>
              <a:gd name="T15" fmla="*/ 18 h 21"/>
              <a:gd name="T16" fmla="*/ 5 w 24"/>
              <a:gd name="T17" fmla="*/ 20 h 21"/>
              <a:gd name="T18" fmla="*/ 9 w 24"/>
              <a:gd name="T19" fmla="*/ 21 h 21"/>
              <a:gd name="T20" fmla="*/ 14 w 24"/>
              <a:gd name="T21" fmla="*/ 21 h 21"/>
              <a:gd name="T22" fmla="*/ 21 w 24"/>
              <a:gd name="T23" fmla="*/ 18 h 21"/>
              <a:gd name="T24" fmla="*/ 24 w 24"/>
              <a:gd name="T25" fmla="*/ 7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
              <a:gd name="T40" fmla="*/ 0 h 21"/>
              <a:gd name="T41" fmla="*/ 24 w 24"/>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 h="21">
                <a:moveTo>
                  <a:pt x="24" y="7"/>
                </a:moveTo>
                <a:lnTo>
                  <a:pt x="22" y="5"/>
                </a:lnTo>
                <a:lnTo>
                  <a:pt x="18" y="1"/>
                </a:lnTo>
                <a:lnTo>
                  <a:pt x="12" y="0"/>
                </a:lnTo>
                <a:lnTo>
                  <a:pt x="5" y="3"/>
                </a:lnTo>
                <a:lnTo>
                  <a:pt x="0" y="8"/>
                </a:lnTo>
                <a:lnTo>
                  <a:pt x="2" y="14"/>
                </a:lnTo>
                <a:lnTo>
                  <a:pt x="4" y="18"/>
                </a:lnTo>
                <a:lnTo>
                  <a:pt x="5" y="20"/>
                </a:lnTo>
                <a:lnTo>
                  <a:pt x="9" y="21"/>
                </a:lnTo>
                <a:lnTo>
                  <a:pt x="14" y="21"/>
                </a:lnTo>
                <a:lnTo>
                  <a:pt x="21" y="18"/>
                </a:lnTo>
                <a:lnTo>
                  <a:pt x="24" y="7"/>
                </a:lnTo>
                <a:close/>
              </a:path>
            </a:pathLst>
          </a:custGeom>
          <a:solidFill>
            <a:schemeClr val="accent3"/>
          </a:solidFill>
          <a:ln w="12700">
            <a:solidFill>
              <a:schemeClr val="bg1"/>
            </a:solidFill>
            <a:round/>
            <a:headEnd/>
            <a:tailEnd/>
          </a:ln>
        </p:spPr>
        <p:txBody>
          <a:bodyPr/>
          <a:lstStyle/>
          <a:p>
            <a:pPr>
              <a:defRPr/>
            </a:pPr>
            <a:endParaRPr lang="nl-NL"/>
          </a:p>
        </p:txBody>
      </p:sp>
      <p:sp>
        <p:nvSpPr>
          <p:cNvPr id="98" name="Freeform 92"/>
          <p:cNvSpPr>
            <a:spLocks/>
          </p:cNvSpPr>
          <p:nvPr/>
        </p:nvSpPr>
        <p:spPr bwMode="auto">
          <a:xfrm>
            <a:off x="7031071" y="4670819"/>
            <a:ext cx="49941" cy="25616"/>
          </a:xfrm>
          <a:custGeom>
            <a:avLst/>
            <a:gdLst>
              <a:gd name="T0" fmla="*/ 29 w 29"/>
              <a:gd name="T1" fmla="*/ 10 h 14"/>
              <a:gd name="T2" fmla="*/ 8 w 29"/>
              <a:gd name="T3" fmla="*/ 0 h 14"/>
              <a:gd name="T4" fmla="*/ 0 w 29"/>
              <a:gd name="T5" fmla="*/ 10 h 14"/>
              <a:gd name="T6" fmla="*/ 3 w 29"/>
              <a:gd name="T7" fmla="*/ 11 h 14"/>
              <a:gd name="T8" fmla="*/ 10 w 29"/>
              <a:gd name="T9" fmla="*/ 12 h 14"/>
              <a:gd name="T10" fmla="*/ 19 w 29"/>
              <a:gd name="T11" fmla="*/ 14 h 14"/>
              <a:gd name="T12" fmla="*/ 29 w 29"/>
              <a:gd name="T13" fmla="*/ 10 h 14"/>
              <a:gd name="T14" fmla="*/ 0 60000 65536"/>
              <a:gd name="T15" fmla="*/ 0 60000 65536"/>
              <a:gd name="T16" fmla="*/ 0 60000 65536"/>
              <a:gd name="T17" fmla="*/ 0 60000 65536"/>
              <a:gd name="T18" fmla="*/ 0 60000 65536"/>
              <a:gd name="T19" fmla="*/ 0 60000 65536"/>
              <a:gd name="T20" fmla="*/ 0 60000 65536"/>
              <a:gd name="T21" fmla="*/ 0 w 29"/>
              <a:gd name="T22" fmla="*/ 0 h 14"/>
              <a:gd name="T23" fmla="*/ 29 w 29"/>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14">
                <a:moveTo>
                  <a:pt x="29" y="10"/>
                </a:moveTo>
                <a:lnTo>
                  <a:pt x="8" y="0"/>
                </a:lnTo>
                <a:lnTo>
                  <a:pt x="0" y="10"/>
                </a:lnTo>
                <a:lnTo>
                  <a:pt x="3" y="11"/>
                </a:lnTo>
                <a:lnTo>
                  <a:pt x="10" y="12"/>
                </a:lnTo>
                <a:lnTo>
                  <a:pt x="19" y="14"/>
                </a:lnTo>
                <a:lnTo>
                  <a:pt x="29" y="10"/>
                </a:lnTo>
                <a:close/>
              </a:path>
            </a:pathLst>
          </a:custGeom>
          <a:solidFill>
            <a:schemeClr val="accent3"/>
          </a:solidFill>
          <a:ln w="12700">
            <a:solidFill>
              <a:schemeClr val="bg1"/>
            </a:solidFill>
            <a:round/>
            <a:headEnd/>
            <a:tailEnd/>
          </a:ln>
        </p:spPr>
        <p:txBody>
          <a:bodyPr/>
          <a:lstStyle/>
          <a:p>
            <a:pPr>
              <a:defRPr/>
            </a:pPr>
            <a:endParaRPr lang="nl-NL"/>
          </a:p>
        </p:txBody>
      </p:sp>
      <p:sp>
        <p:nvSpPr>
          <p:cNvPr id="99" name="Freeform 93"/>
          <p:cNvSpPr>
            <a:spLocks/>
          </p:cNvSpPr>
          <p:nvPr/>
        </p:nvSpPr>
        <p:spPr bwMode="auto">
          <a:xfrm>
            <a:off x="7292884" y="3543711"/>
            <a:ext cx="36321" cy="37570"/>
          </a:xfrm>
          <a:custGeom>
            <a:avLst/>
            <a:gdLst>
              <a:gd name="T0" fmla="*/ 23 w 23"/>
              <a:gd name="T1" fmla="*/ 21 h 21"/>
              <a:gd name="T2" fmla="*/ 23 w 23"/>
              <a:gd name="T3" fmla="*/ 17 h 21"/>
              <a:gd name="T4" fmla="*/ 21 w 23"/>
              <a:gd name="T5" fmla="*/ 10 h 21"/>
              <a:gd name="T6" fmla="*/ 19 w 23"/>
              <a:gd name="T7" fmla="*/ 4 h 21"/>
              <a:gd name="T8" fmla="*/ 13 w 23"/>
              <a:gd name="T9" fmla="*/ 0 h 21"/>
              <a:gd name="T10" fmla="*/ 6 w 23"/>
              <a:gd name="T11" fmla="*/ 0 h 21"/>
              <a:gd name="T12" fmla="*/ 2 w 23"/>
              <a:gd name="T13" fmla="*/ 0 h 21"/>
              <a:gd name="T14" fmla="*/ 0 w 23"/>
              <a:gd name="T15" fmla="*/ 0 h 21"/>
              <a:gd name="T16" fmla="*/ 0 w 23"/>
              <a:gd name="T17" fmla="*/ 4 h 21"/>
              <a:gd name="T18" fmla="*/ 3 w 23"/>
              <a:gd name="T19" fmla="*/ 8 h 21"/>
              <a:gd name="T20" fmla="*/ 10 w 23"/>
              <a:gd name="T21" fmla="*/ 12 h 21"/>
              <a:gd name="T22" fmla="*/ 17 w 23"/>
              <a:gd name="T23" fmla="*/ 16 h 21"/>
              <a:gd name="T24" fmla="*/ 23 w 23"/>
              <a:gd name="T25" fmla="*/ 21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21"/>
              <a:gd name="T41" fmla="*/ 23 w 23"/>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21">
                <a:moveTo>
                  <a:pt x="23" y="21"/>
                </a:moveTo>
                <a:lnTo>
                  <a:pt x="23" y="17"/>
                </a:lnTo>
                <a:lnTo>
                  <a:pt x="21" y="10"/>
                </a:lnTo>
                <a:lnTo>
                  <a:pt x="19" y="4"/>
                </a:lnTo>
                <a:lnTo>
                  <a:pt x="13" y="0"/>
                </a:lnTo>
                <a:lnTo>
                  <a:pt x="6" y="0"/>
                </a:lnTo>
                <a:lnTo>
                  <a:pt x="2" y="0"/>
                </a:lnTo>
                <a:lnTo>
                  <a:pt x="0" y="0"/>
                </a:lnTo>
                <a:lnTo>
                  <a:pt x="0" y="4"/>
                </a:lnTo>
                <a:lnTo>
                  <a:pt x="3" y="8"/>
                </a:lnTo>
                <a:lnTo>
                  <a:pt x="10" y="12"/>
                </a:lnTo>
                <a:lnTo>
                  <a:pt x="17" y="16"/>
                </a:lnTo>
                <a:lnTo>
                  <a:pt x="23" y="21"/>
                </a:lnTo>
                <a:close/>
              </a:path>
            </a:pathLst>
          </a:custGeom>
          <a:solidFill>
            <a:schemeClr val="accent3"/>
          </a:solidFill>
          <a:ln w="12700">
            <a:solidFill>
              <a:schemeClr val="bg1"/>
            </a:solidFill>
            <a:round/>
            <a:headEnd/>
            <a:tailEnd/>
          </a:ln>
        </p:spPr>
        <p:txBody>
          <a:bodyPr/>
          <a:lstStyle/>
          <a:p>
            <a:pPr>
              <a:defRPr/>
            </a:pPr>
            <a:endParaRPr lang="nl-NL"/>
          </a:p>
        </p:txBody>
      </p:sp>
      <p:sp>
        <p:nvSpPr>
          <p:cNvPr id="103" name="Freeform 18"/>
          <p:cNvSpPr>
            <a:spLocks noChangeArrowheads="1"/>
          </p:cNvSpPr>
          <p:nvPr/>
        </p:nvSpPr>
        <p:spPr bwMode="auto">
          <a:xfrm>
            <a:off x="2461949" y="2151063"/>
            <a:ext cx="451339" cy="409575"/>
          </a:xfrm>
          <a:custGeom>
            <a:avLst/>
            <a:gdLst>
              <a:gd name="T0" fmla="*/ 0 w 340519"/>
              <a:gd name="T1" fmla="*/ 0 h 285080"/>
              <a:gd name="T2" fmla="*/ 340519 w 340519"/>
              <a:gd name="T3" fmla="*/ 285080 h 285080"/>
            </a:gdLst>
            <a:ahLst/>
            <a:cxnLst/>
            <a:rect l="T0" t="T1" r="T2" b="T3"/>
            <a:pathLst>
              <a:path w="340519" h="285080">
                <a:moveTo>
                  <a:pt x="252412" y="917"/>
                </a:moveTo>
                <a:cubicBezTo>
                  <a:pt x="246062" y="1314"/>
                  <a:pt x="220912" y="0"/>
                  <a:pt x="209550" y="5680"/>
                </a:cubicBezTo>
                <a:cubicBezTo>
                  <a:pt x="206990" y="6960"/>
                  <a:pt x="204787" y="8855"/>
                  <a:pt x="202406" y="10442"/>
                </a:cubicBezTo>
                <a:cubicBezTo>
                  <a:pt x="191013" y="27532"/>
                  <a:pt x="196928" y="20683"/>
                  <a:pt x="185737" y="31874"/>
                </a:cubicBezTo>
                <a:lnTo>
                  <a:pt x="178594" y="53305"/>
                </a:lnTo>
                <a:cubicBezTo>
                  <a:pt x="177800" y="55686"/>
                  <a:pt x="177987" y="58674"/>
                  <a:pt x="176212" y="60449"/>
                </a:cubicBezTo>
                <a:cubicBezTo>
                  <a:pt x="173831" y="62830"/>
                  <a:pt x="171225" y="65005"/>
                  <a:pt x="169069" y="67592"/>
                </a:cubicBezTo>
                <a:cubicBezTo>
                  <a:pt x="160784" y="77534"/>
                  <a:pt x="168889" y="73208"/>
                  <a:pt x="157162" y="77117"/>
                </a:cubicBezTo>
                <a:cubicBezTo>
                  <a:pt x="151902" y="76741"/>
                  <a:pt x="127504" y="77766"/>
                  <a:pt x="116681" y="72355"/>
                </a:cubicBezTo>
                <a:cubicBezTo>
                  <a:pt x="114121" y="71075"/>
                  <a:pt x="111918" y="69180"/>
                  <a:pt x="109537" y="67592"/>
                </a:cubicBezTo>
                <a:cubicBezTo>
                  <a:pt x="89925" y="74130"/>
                  <a:pt x="100220" y="71645"/>
                  <a:pt x="78581" y="74736"/>
                </a:cubicBezTo>
                <a:lnTo>
                  <a:pt x="57150" y="81880"/>
                </a:lnTo>
                <a:cubicBezTo>
                  <a:pt x="54769" y="82674"/>
                  <a:pt x="52251" y="83138"/>
                  <a:pt x="50006" y="84261"/>
                </a:cubicBezTo>
                <a:cubicBezTo>
                  <a:pt x="46831" y="85849"/>
                  <a:pt x="43906" y="88090"/>
                  <a:pt x="40481" y="89024"/>
                </a:cubicBezTo>
                <a:cubicBezTo>
                  <a:pt x="35066" y="90501"/>
                  <a:pt x="29368" y="90611"/>
                  <a:pt x="23812" y="91405"/>
                </a:cubicBezTo>
                <a:cubicBezTo>
                  <a:pt x="21431" y="93786"/>
                  <a:pt x="19327" y="96482"/>
                  <a:pt x="16669" y="98549"/>
                </a:cubicBezTo>
                <a:cubicBezTo>
                  <a:pt x="12151" y="102063"/>
                  <a:pt x="2381" y="108074"/>
                  <a:pt x="2381" y="108074"/>
                </a:cubicBezTo>
                <a:cubicBezTo>
                  <a:pt x="1587" y="110455"/>
                  <a:pt x="0" y="112707"/>
                  <a:pt x="0" y="115217"/>
                </a:cubicBezTo>
                <a:cubicBezTo>
                  <a:pt x="0" y="119265"/>
                  <a:pt x="136" y="123756"/>
                  <a:pt x="2381" y="127124"/>
                </a:cubicBezTo>
                <a:cubicBezTo>
                  <a:pt x="3773" y="129213"/>
                  <a:pt x="7111" y="128815"/>
                  <a:pt x="9525" y="129505"/>
                </a:cubicBezTo>
                <a:cubicBezTo>
                  <a:pt x="14287" y="133870"/>
                  <a:pt x="26194" y="148158"/>
                  <a:pt x="30956" y="153317"/>
                </a:cubicBezTo>
                <a:cubicBezTo>
                  <a:pt x="33112" y="155904"/>
                  <a:pt x="34973" y="159210"/>
                  <a:pt x="38100" y="160461"/>
                </a:cubicBezTo>
                <a:cubicBezTo>
                  <a:pt x="43311" y="162545"/>
                  <a:pt x="49213" y="162048"/>
                  <a:pt x="54769" y="162842"/>
                </a:cubicBezTo>
                <a:cubicBezTo>
                  <a:pt x="65148" y="166302"/>
                  <a:pt x="68654" y="166079"/>
                  <a:pt x="76200" y="172367"/>
                </a:cubicBezTo>
                <a:cubicBezTo>
                  <a:pt x="78787" y="174523"/>
                  <a:pt x="81276" y="176853"/>
                  <a:pt x="83344" y="179511"/>
                </a:cubicBezTo>
                <a:cubicBezTo>
                  <a:pt x="86858" y="184029"/>
                  <a:pt x="92869" y="193799"/>
                  <a:pt x="92869" y="193799"/>
                </a:cubicBezTo>
                <a:cubicBezTo>
                  <a:pt x="93663" y="196180"/>
                  <a:pt x="94031" y="198748"/>
                  <a:pt x="95250" y="200942"/>
                </a:cubicBezTo>
                <a:cubicBezTo>
                  <a:pt x="98030" y="205946"/>
                  <a:pt x="104775" y="215230"/>
                  <a:pt x="104775" y="215230"/>
                </a:cubicBezTo>
                <a:cubicBezTo>
                  <a:pt x="105569" y="219992"/>
                  <a:pt x="105629" y="224937"/>
                  <a:pt x="107156" y="229517"/>
                </a:cubicBezTo>
                <a:cubicBezTo>
                  <a:pt x="108061" y="232232"/>
                  <a:pt x="110639" y="234101"/>
                  <a:pt x="111919" y="236661"/>
                </a:cubicBezTo>
                <a:cubicBezTo>
                  <a:pt x="113042" y="238906"/>
                  <a:pt x="113506" y="241424"/>
                  <a:pt x="114300" y="243805"/>
                </a:cubicBezTo>
                <a:cubicBezTo>
                  <a:pt x="134536" y="230313"/>
                  <a:pt x="103199" y="252529"/>
                  <a:pt x="130969" y="224755"/>
                </a:cubicBezTo>
                <a:cubicBezTo>
                  <a:pt x="140136" y="215587"/>
                  <a:pt x="135310" y="219479"/>
                  <a:pt x="145256" y="212849"/>
                </a:cubicBezTo>
                <a:cubicBezTo>
                  <a:pt x="146050" y="210468"/>
                  <a:pt x="147028" y="208140"/>
                  <a:pt x="147637" y="205705"/>
                </a:cubicBezTo>
                <a:cubicBezTo>
                  <a:pt x="148619" y="201779"/>
                  <a:pt x="147774" y="197167"/>
                  <a:pt x="150019" y="193799"/>
                </a:cubicBezTo>
                <a:cubicBezTo>
                  <a:pt x="151411" y="191711"/>
                  <a:pt x="154781" y="192211"/>
                  <a:pt x="157162" y="191417"/>
                </a:cubicBezTo>
                <a:lnTo>
                  <a:pt x="178594" y="215230"/>
                </a:lnTo>
                <a:cubicBezTo>
                  <a:pt x="180522" y="216837"/>
                  <a:pt x="183249" y="217279"/>
                  <a:pt x="185737" y="217611"/>
                </a:cubicBezTo>
                <a:cubicBezTo>
                  <a:pt x="195211" y="218874"/>
                  <a:pt x="204787" y="219198"/>
                  <a:pt x="214312" y="219992"/>
                </a:cubicBezTo>
                <a:cubicBezTo>
                  <a:pt x="219075" y="223167"/>
                  <a:pt x="226790" y="224087"/>
                  <a:pt x="228600" y="229517"/>
                </a:cubicBezTo>
                <a:lnTo>
                  <a:pt x="233362" y="243805"/>
                </a:lnTo>
                <a:cubicBezTo>
                  <a:pt x="235060" y="248899"/>
                  <a:pt x="236163" y="254292"/>
                  <a:pt x="240506" y="258092"/>
                </a:cubicBezTo>
                <a:cubicBezTo>
                  <a:pt x="244814" y="261861"/>
                  <a:pt x="250031" y="264442"/>
                  <a:pt x="254794" y="267617"/>
                </a:cubicBezTo>
                <a:lnTo>
                  <a:pt x="269081" y="277142"/>
                </a:lnTo>
                <a:lnTo>
                  <a:pt x="283369" y="281905"/>
                </a:lnTo>
                <a:lnTo>
                  <a:pt x="290512" y="284286"/>
                </a:lnTo>
                <a:cubicBezTo>
                  <a:pt x="299088" y="282857"/>
                  <a:pt x="307181" y="285080"/>
                  <a:pt x="309562" y="274761"/>
                </a:cubicBezTo>
                <a:cubicBezTo>
                  <a:pt x="311356" y="266988"/>
                  <a:pt x="310816" y="258846"/>
                  <a:pt x="311944" y="250949"/>
                </a:cubicBezTo>
                <a:cubicBezTo>
                  <a:pt x="312407" y="247709"/>
                  <a:pt x="313385" y="244559"/>
                  <a:pt x="314325" y="241424"/>
                </a:cubicBezTo>
                <a:cubicBezTo>
                  <a:pt x="314349" y="241344"/>
                  <a:pt x="320265" y="223603"/>
                  <a:pt x="321469" y="219992"/>
                </a:cubicBezTo>
                <a:lnTo>
                  <a:pt x="326231" y="205705"/>
                </a:lnTo>
                <a:cubicBezTo>
                  <a:pt x="327025" y="203324"/>
                  <a:pt x="326837" y="200336"/>
                  <a:pt x="328612" y="198561"/>
                </a:cubicBezTo>
                <a:cubicBezTo>
                  <a:pt x="337780" y="189393"/>
                  <a:pt x="333888" y="194219"/>
                  <a:pt x="340519" y="184274"/>
                </a:cubicBezTo>
                <a:cubicBezTo>
                  <a:pt x="339725" y="179511"/>
                  <a:pt x="340296" y="174305"/>
                  <a:pt x="338137" y="169986"/>
                </a:cubicBezTo>
                <a:cubicBezTo>
                  <a:pt x="335863" y="165438"/>
                  <a:pt x="327605" y="164720"/>
                  <a:pt x="323850" y="162842"/>
                </a:cubicBezTo>
                <a:cubicBezTo>
                  <a:pt x="321290" y="161562"/>
                  <a:pt x="319321" y="159242"/>
                  <a:pt x="316706" y="158080"/>
                </a:cubicBezTo>
                <a:cubicBezTo>
                  <a:pt x="302268" y="151663"/>
                  <a:pt x="303111" y="154264"/>
                  <a:pt x="288131" y="150936"/>
                </a:cubicBezTo>
                <a:cubicBezTo>
                  <a:pt x="285681" y="150392"/>
                  <a:pt x="283448" y="149047"/>
                  <a:pt x="280987" y="148555"/>
                </a:cubicBezTo>
                <a:cubicBezTo>
                  <a:pt x="275484" y="147454"/>
                  <a:pt x="269875" y="146968"/>
                  <a:pt x="264319" y="146174"/>
                </a:cubicBezTo>
                <a:cubicBezTo>
                  <a:pt x="262731" y="143793"/>
                  <a:pt x="261580" y="141054"/>
                  <a:pt x="259556" y="139030"/>
                </a:cubicBezTo>
                <a:cubicBezTo>
                  <a:pt x="257532" y="137006"/>
                  <a:pt x="253033" y="137061"/>
                  <a:pt x="252412" y="134267"/>
                </a:cubicBezTo>
                <a:cubicBezTo>
                  <a:pt x="251195" y="128788"/>
                  <a:pt x="254000" y="123155"/>
                  <a:pt x="254794" y="117599"/>
                </a:cubicBezTo>
                <a:cubicBezTo>
                  <a:pt x="262731" y="118393"/>
                  <a:pt x="270992" y="117601"/>
                  <a:pt x="278606" y="119980"/>
                </a:cubicBezTo>
                <a:cubicBezTo>
                  <a:pt x="284069" y="121687"/>
                  <a:pt x="292894" y="129505"/>
                  <a:pt x="292894" y="129505"/>
                </a:cubicBezTo>
                <a:cubicBezTo>
                  <a:pt x="301238" y="126724"/>
                  <a:pt x="300938" y="128007"/>
                  <a:pt x="307181" y="119980"/>
                </a:cubicBezTo>
                <a:cubicBezTo>
                  <a:pt x="310695" y="115462"/>
                  <a:pt x="316706" y="105692"/>
                  <a:pt x="316706" y="105692"/>
                </a:cubicBezTo>
                <a:cubicBezTo>
                  <a:pt x="304008" y="86646"/>
                  <a:pt x="320674" y="109660"/>
                  <a:pt x="304800" y="93786"/>
                </a:cubicBezTo>
                <a:cubicBezTo>
                  <a:pt x="298503" y="87489"/>
                  <a:pt x="301669" y="84374"/>
                  <a:pt x="292894" y="79499"/>
                </a:cubicBezTo>
                <a:cubicBezTo>
                  <a:pt x="286094" y="75721"/>
                  <a:pt x="274397" y="73894"/>
                  <a:pt x="266700" y="72355"/>
                </a:cubicBezTo>
                <a:cubicBezTo>
                  <a:pt x="264319" y="69974"/>
                  <a:pt x="261424" y="68013"/>
                  <a:pt x="259556" y="65211"/>
                </a:cubicBezTo>
                <a:cubicBezTo>
                  <a:pt x="258164" y="63122"/>
                  <a:pt x="258394" y="60261"/>
                  <a:pt x="257175" y="58067"/>
                </a:cubicBezTo>
                <a:cubicBezTo>
                  <a:pt x="254395" y="53064"/>
                  <a:pt x="250825" y="48542"/>
                  <a:pt x="247650" y="43780"/>
                </a:cubicBezTo>
                <a:lnTo>
                  <a:pt x="242887" y="36636"/>
                </a:lnTo>
                <a:cubicBezTo>
                  <a:pt x="244091" y="24597"/>
                  <a:pt x="243951" y="14397"/>
                  <a:pt x="247650" y="3299"/>
                </a:cubicBezTo>
                <a:cubicBezTo>
                  <a:pt x="248211" y="1615"/>
                  <a:pt x="258762" y="520"/>
                  <a:pt x="252412" y="917"/>
                </a:cubicBezTo>
                <a:close/>
              </a:path>
            </a:pathLst>
          </a:custGeom>
          <a:solidFill>
            <a:schemeClr val="accent3"/>
          </a:solidFill>
          <a:ln w="12700">
            <a:solidFill>
              <a:schemeClr val="bg1"/>
            </a:solidFill>
            <a:round/>
            <a:headEnd/>
            <a:tailEnd/>
          </a:ln>
        </p:spPr>
        <p:txBody>
          <a:bodyPr/>
          <a:lstStyle/>
          <a:p>
            <a:pPr>
              <a:defRPr/>
            </a:pPr>
            <a:endParaRPr lang="nl-NL"/>
          </a:p>
        </p:txBody>
      </p:sp>
      <p:sp>
        <p:nvSpPr>
          <p:cNvPr id="104" name="Freeform 19"/>
          <p:cNvSpPr>
            <a:spLocks noChangeArrowheads="1"/>
          </p:cNvSpPr>
          <p:nvPr/>
        </p:nvSpPr>
        <p:spPr bwMode="auto">
          <a:xfrm>
            <a:off x="1721929" y="2125663"/>
            <a:ext cx="885092" cy="1025525"/>
          </a:xfrm>
          <a:custGeom>
            <a:avLst/>
            <a:gdLst>
              <a:gd name="T0" fmla="*/ 0 w 668561"/>
              <a:gd name="T1" fmla="*/ 0 h 714375"/>
              <a:gd name="T2" fmla="*/ 668561 w 668561"/>
              <a:gd name="T3" fmla="*/ 714375 h 714375"/>
            </a:gdLst>
            <a:ahLst/>
            <a:cxnLst/>
            <a:rect l="T0" t="T1" r="T2" b="T3"/>
            <a:pathLst>
              <a:path w="668561" h="714375">
                <a:moveTo>
                  <a:pt x="556643" y="138113"/>
                </a:moveTo>
                <a:cubicBezTo>
                  <a:pt x="549481" y="140500"/>
                  <a:pt x="548512" y="140127"/>
                  <a:pt x="542355" y="145257"/>
                </a:cubicBezTo>
                <a:cubicBezTo>
                  <a:pt x="539768" y="147413"/>
                  <a:pt x="538135" y="150729"/>
                  <a:pt x="535211" y="152400"/>
                </a:cubicBezTo>
                <a:cubicBezTo>
                  <a:pt x="532369" y="154024"/>
                  <a:pt x="528861" y="153988"/>
                  <a:pt x="525686" y="154782"/>
                </a:cubicBezTo>
                <a:cubicBezTo>
                  <a:pt x="523305" y="156369"/>
                  <a:pt x="520566" y="157521"/>
                  <a:pt x="518543" y="159544"/>
                </a:cubicBezTo>
                <a:cubicBezTo>
                  <a:pt x="516519" y="161568"/>
                  <a:pt x="516207" y="165171"/>
                  <a:pt x="513780" y="166688"/>
                </a:cubicBezTo>
                <a:cubicBezTo>
                  <a:pt x="509523" y="169349"/>
                  <a:pt x="499493" y="171450"/>
                  <a:pt x="499493" y="171450"/>
                </a:cubicBezTo>
                <a:cubicBezTo>
                  <a:pt x="494730" y="168275"/>
                  <a:pt x="488380" y="166688"/>
                  <a:pt x="485205" y="161925"/>
                </a:cubicBezTo>
                <a:cubicBezTo>
                  <a:pt x="479051" y="152693"/>
                  <a:pt x="483158" y="155687"/>
                  <a:pt x="473299" y="152400"/>
                </a:cubicBezTo>
                <a:cubicBezTo>
                  <a:pt x="452411" y="131515"/>
                  <a:pt x="478918" y="157085"/>
                  <a:pt x="459011" y="140494"/>
                </a:cubicBezTo>
                <a:cubicBezTo>
                  <a:pt x="435602" y="120985"/>
                  <a:pt x="465840" y="144940"/>
                  <a:pt x="447105" y="126207"/>
                </a:cubicBezTo>
                <a:cubicBezTo>
                  <a:pt x="445081" y="124183"/>
                  <a:pt x="442342" y="123032"/>
                  <a:pt x="439961" y="121444"/>
                </a:cubicBezTo>
                <a:cubicBezTo>
                  <a:pt x="438374" y="119063"/>
                  <a:pt x="436479" y="116860"/>
                  <a:pt x="435199" y="114300"/>
                </a:cubicBezTo>
                <a:cubicBezTo>
                  <a:pt x="434077" y="112055"/>
                  <a:pt x="434210" y="109245"/>
                  <a:pt x="432818" y="107157"/>
                </a:cubicBezTo>
                <a:cubicBezTo>
                  <a:pt x="430950" y="104355"/>
                  <a:pt x="428055" y="102394"/>
                  <a:pt x="425674" y="100013"/>
                </a:cubicBezTo>
                <a:cubicBezTo>
                  <a:pt x="424880" y="97632"/>
                  <a:pt x="424512" y="95063"/>
                  <a:pt x="423293" y="92869"/>
                </a:cubicBezTo>
                <a:cubicBezTo>
                  <a:pt x="420513" y="87866"/>
                  <a:pt x="415578" y="84012"/>
                  <a:pt x="413768" y="78582"/>
                </a:cubicBezTo>
                <a:cubicBezTo>
                  <a:pt x="412974" y="76201"/>
                  <a:pt x="412605" y="73632"/>
                  <a:pt x="411386" y="71438"/>
                </a:cubicBezTo>
                <a:cubicBezTo>
                  <a:pt x="405891" y="61547"/>
                  <a:pt x="403815" y="56936"/>
                  <a:pt x="394718" y="52388"/>
                </a:cubicBezTo>
                <a:cubicBezTo>
                  <a:pt x="392473" y="51266"/>
                  <a:pt x="389955" y="50801"/>
                  <a:pt x="387574" y="50007"/>
                </a:cubicBezTo>
                <a:cubicBezTo>
                  <a:pt x="385193" y="48419"/>
                  <a:pt x="382218" y="47479"/>
                  <a:pt x="380430" y="45244"/>
                </a:cubicBezTo>
                <a:cubicBezTo>
                  <a:pt x="371194" y="33699"/>
                  <a:pt x="386491" y="40914"/>
                  <a:pt x="370905" y="35719"/>
                </a:cubicBezTo>
                <a:cubicBezTo>
                  <a:pt x="368524" y="33338"/>
                  <a:pt x="365629" y="31377"/>
                  <a:pt x="363761" y="28575"/>
                </a:cubicBezTo>
                <a:cubicBezTo>
                  <a:pt x="362369" y="26487"/>
                  <a:pt x="361793" y="23908"/>
                  <a:pt x="361380" y="21432"/>
                </a:cubicBezTo>
                <a:cubicBezTo>
                  <a:pt x="360198" y="14342"/>
                  <a:pt x="359793" y="7144"/>
                  <a:pt x="358999" y="0"/>
                </a:cubicBezTo>
                <a:cubicBezTo>
                  <a:pt x="356618" y="794"/>
                  <a:pt x="354049" y="1163"/>
                  <a:pt x="351855" y="2382"/>
                </a:cubicBezTo>
                <a:cubicBezTo>
                  <a:pt x="346852" y="5162"/>
                  <a:pt x="342998" y="10097"/>
                  <a:pt x="337568" y="11907"/>
                </a:cubicBezTo>
                <a:cubicBezTo>
                  <a:pt x="327709" y="15193"/>
                  <a:pt x="332513" y="12896"/>
                  <a:pt x="323280" y="19050"/>
                </a:cubicBezTo>
                <a:cubicBezTo>
                  <a:pt x="312168" y="35719"/>
                  <a:pt x="318518" y="30163"/>
                  <a:pt x="306611" y="38100"/>
                </a:cubicBezTo>
                <a:cubicBezTo>
                  <a:pt x="293915" y="57146"/>
                  <a:pt x="310577" y="34135"/>
                  <a:pt x="294705" y="50007"/>
                </a:cubicBezTo>
                <a:cubicBezTo>
                  <a:pt x="278830" y="65882"/>
                  <a:pt x="301851" y="49211"/>
                  <a:pt x="282799" y="61913"/>
                </a:cubicBezTo>
                <a:cubicBezTo>
                  <a:pt x="281211" y="64294"/>
                  <a:pt x="280463" y="67540"/>
                  <a:pt x="278036" y="69057"/>
                </a:cubicBezTo>
                <a:cubicBezTo>
                  <a:pt x="264445" y="77551"/>
                  <a:pt x="228078" y="75800"/>
                  <a:pt x="220886" y="76200"/>
                </a:cubicBezTo>
                <a:cubicBezTo>
                  <a:pt x="215330" y="76994"/>
                  <a:pt x="209687" y="77320"/>
                  <a:pt x="204218" y="78582"/>
                </a:cubicBezTo>
                <a:cubicBezTo>
                  <a:pt x="199326" y="79711"/>
                  <a:pt x="189930" y="83344"/>
                  <a:pt x="189930" y="83344"/>
                </a:cubicBezTo>
                <a:cubicBezTo>
                  <a:pt x="187549" y="85725"/>
                  <a:pt x="184654" y="87686"/>
                  <a:pt x="182786" y="90488"/>
                </a:cubicBezTo>
                <a:cubicBezTo>
                  <a:pt x="178575" y="96805"/>
                  <a:pt x="180833" y="100323"/>
                  <a:pt x="182786" y="107157"/>
                </a:cubicBezTo>
                <a:cubicBezTo>
                  <a:pt x="183476" y="109570"/>
                  <a:pt x="184374" y="111919"/>
                  <a:pt x="185168" y="114300"/>
                </a:cubicBezTo>
                <a:cubicBezTo>
                  <a:pt x="184374" y="120650"/>
                  <a:pt x="183931" y="127054"/>
                  <a:pt x="182786" y="133350"/>
                </a:cubicBezTo>
                <a:cubicBezTo>
                  <a:pt x="182337" y="135820"/>
                  <a:pt x="181973" y="138534"/>
                  <a:pt x="180405" y="140494"/>
                </a:cubicBezTo>
                <a:cubicBezTo>
                  <a:pt x="178617" y="142729"/>
                  <a:pt x="175642" y="143669"/>
                  <a:pt x="173261" y="145257"/>
                </a:cubicBezTo>
                <a:cubicBezTo>
                  <a:pt x="165714" y="156577"/>
                  <a:pt x="171214" y="151495"/>
                  <a:pt x="154211" y="157163"/>
                </a:cubicBezTo>
                <a:lnTo>
                  <a:pt x="147068" y="159544"/>
                </a:lnTo>
                <a:lnTo>
                  <a:pt x="139924" y="161925"/>
                </a:lnTo>
                <a:cubicBezTo>
                  <a:pt x="137543" y="163513"/>
                  <a:pt x="135340" y="165408"/>
                  <a:pt x="132780" y="166688"/>
                </a:cubicBezTo>
                <a:cubicBezTo>
                  <a:pt x="130535" y="167811"/>
                  <a:pt x="127411" y="167294"/>
                  <a:pt x="125636" y="169069"/>
                </a:cubicBezTo>
                <a:cubicBezTo>
                  <a:pt x="121589" y="173116"/>
                  <a:pt x="116111" y="183357"/>
                  <a:pt x="116111" y="183357"/>
                </a:cubicBezTo>
                <a:cubicBezTo>
                  <a:pt x="110128" y="201307"/>
                  <a:pt x="118198" y="179184"/>
                  <a:pt x="108968" y="197644"/>
                </a:cubicBezTo>
                <a:cubicBezTo>
                  <a:pt x="105761" y="204058"/>
                  <a:pt x="107887" y="206627"/>
                  <a:pt x="101824" y="211932"/>
                </a:cubicBezTo>
                <a:cubicBezTo>
                  <a:pt x="97516" y="215701"/>
                  <a:pt x="91583" y="217410"/>
                  <a:pt x="87536" y="221457"/>
                </a:cubicBezTo>
                <a:cubicBezTo>
                  <a:pt x="82209" y="226784"/>
                  <a:pt x="73227" y="236700"/>
                  <a:pt x="66105" y="238125"/>
                </a:cubicBezTo>
                <a:cubicBezTo>
                  <a:pt x="45151" y="242317"/>
                  <a:pt x="63121" y="238951"/>
                  <a:pt x="37530" y="242888"/>
                </a:cubicBezTo>
                <a:cubicBezTo>
                  <a:pt x="24331" y="244918"/>
                  <a:pt x="23718" y="245174"/>
                  <a:pt x="11336" y="247650"/>
                </a:cubicBezTo>
                <a:cubicBezTo>
                  <a:pt x="8161" y="252413"/>
                  <a:pt x="0" y="256508"/>
                  <a:pt x="1811" y="261938"/>
                </a:cubicBezTo>
                <a:cubicBezTo>
                  <a:pt x="3748" y="267747"/>
                  <a:pt x="4340" y="271610"/>
                  <a:pt x="8955" y="276225"/>
                </a:cubicBezTo>
                <a:cubicBezTo>
                  <a:pt x="10979" y="278249"/>
                  <a:pt x="13539" y="279708"/>
                  <a:pt x="16099" y="280988"/>
                </a:cubicBezTo>
                <a:cubicBezTo>
                  <a:pt x="18344" y="282111"/>
                  <a:pt x="20862" y="282575"/>
                  <a:pt x="23243" y="283369"/>
                </a:cubicBezTo>
                <a:cubicBezTo>
                  <a:pt x="24037" y="285750"/>
                  <a:pt x="23849" y="288738"/>
                  <a:pt x="25624" y="290513"/>
                </a:cubicBezTo>
                <a:cubicBezTo>
                  <a:pt x="27399" y="292288"/>
                  <a:pt x="30273" y="292617"/>
                  <a:pt x="32768" y="292894"/>
                </a:cubicBezTo>
                <a:cubicBezTo>
                  <a:pt x="44627" y="294212"/>
                  <a:pt x="56580" y="294481"/>
                  <a:pt x="68486" y="295275"/>
                </a:cubicBezTo>
                <a:cubicBezTo>
                  <a:pt x="70867" y="296069"/>
                  <a:pt x="73541" y="296265"/>
                  <a:pt x="75630" y="297657"/>
                </a:cubicBezTo>
                <a:cubicBezTo>
                  <a:pt x="90400" y="307503"/>
                  <a:pt x="83848" y="318558"/>
                  <a:pt x="80393" y="338138"/>
                </a:cubicBezTo>
                <a:cubicBezTo>
                  <a:pt x="79896" y="340957"/>
                  <a:pt x="77218" y="342901"/>
                  <a:pt x="75630" y="345282"/>
                </a:cubicBezTo>
                <a:lnTo>
                  <a:pt x="61343" y="388144"/>
                </a:lnTo>
                <a:cubicBezTo>
                  <a:pt x="60549" y="390525"/>
                  <a:pt x="59570" y="392853"/>
                  <a:pt x="58961" y="395288"/>
                </a:cubicBezTo>
                <a:lnTo>
                  <a:pt x="54199" y="414338"/>
                </a:lnTo>
                <a:cubicBezTo>
                  <a:pt x="53405" y="423069"/>
                  <a:pt x="52401" y="431784"/>
                  <a:pt x="51818" y="440532"/>
                </a:cubicBezTo>
                <a:cubicBezTo>
                  <a:pt x="50813" y="455600"/>
                  <a:pt x="52398" y="470966"/>
                  <a:pt x="49436" y="485775"/>
                </a:cubicBezTo>
                <a:cubicBezTo>
                  <a:pt x="48313" y="491388"/>
                  <a:pt x="43086" y="495300"/>
                  <a:pt x="39911" y="500063"/>
                </a:cubicBezTo>
                <a:lnTo>
                  <a:pt x="35149" y="507207"/>
                </a:lnTo>
                <a:cubicBezTo>
                  <a:pt x="35439" y="516770"/>
                  <a:pt x="32733" y="571375"/>
                  <a:pt x="39911" y="597694"/>
                </a:cubicBezTo>
                <a:cubicBezTo>
                  <a:pt x="80820" y="621523"/>
                  <a:pt x="60946" y="620316"/>
                  <a:pt x="66105" y="626269"/>
                </a:cubicBezTo>
                <a:cubicBezTo>
                  <a:pt x="67693" y="628650"/>
                  <a:pt x="69588" y="630853"/>
                  <a:pt x="70868" y="633413"/>
                </a:cubicBezTo>
                <a:cubicBezTo>
                  <a:pt x="73308" y="638293"/>
                  <a:pt x="74725" y="647937"/>
                  <a:pt x="75630" y="652463"/>
                </a:cubicBezTo>
                <a:cubicBezTo>
                  <a:pt x="81980" y="651669"/>
                  <a:pt x="88506" y="651766"/>
                  <a:pt x="94680" y="650082"/>
                </a:cubicBezTo>
                <a:cubicBezTo>
                  <a:pt x="106902" y="646749"/>
                  <a:pt x="98298" y="645559"/>
                  <a:pt x="104205" y="638175"/>
                </a:cubicBezTo>
                <a:cubicBezTo>
                  <a:pt x="107562" y="633979"/>
                  <a:pt x="113788" y="632600"/>
                  <a:pt x="118493" y="631032"/>
                </a:cubicBezTo>
                <a:cubicBezTo>
                  <a:pt x="125637" y="631826"/>
                  <a:pt x="133169" y="630957"/>
                  <a:pt x="139924" y="633413"/>
                </a:cubicBezTo>
                <a:cubicBezTo>
                  <a:pt x="142614" y="634391"/>
                  <a:pt x="142451" y="638769"/>
                  <a:pt x="144686" y="640557"/>
                </a:cubicBezTo>
                <a:cubicBezTo>
                  <a:pt x="146646" y="642125"/>
                  <a:pt x="149449" y="642144"/>
                  <a:pt x="151830" y="642938"/>
                </a:cubicBezTo>
                <a:cubicBezTo>
                  <a:pt x="158974" y="642144"/>
                  <a:pt x="166506" y="643013"/>
                  <a:pt x="173261" y="640557"/>
                </a:cubicBezTo>
                <a:cubicBezTo>
                  <a:pt x="176589" y="639347"/>
                  <a:pt x="179598" y="629093"/>
                  <a:pt x="180405" y="626269"/>
                </a:cubicBezTo>
                <a:cubicBezTo>
                  <a:pt x="181526" y="622343"/>
                  <a:pt x="185550" y="603790"/>
                  <a:pt x="187549" y="602457"/>
                </a:cubicBezTo>
                <a:lnTo>
                  <a:pt x="194693" y="597694"/>
                </a:lnTo>
                <a:cubicBezTo>
                  <a:pt x="196280" y="595313"/>
                  <a:pt x="197431" y="592574"/>
                  <a:pt x="199455" y="590550"/>
                </a:cubicBezTo>
                <a:cubicBezTo>
                  <a:pt x="204070" y="585935"/>
                  <a:pt x="207934" y="585343"/>
                  <a:pt x="213743" y="583407"/>
                </a:cubicBezTo>
                <a:cubicBezTo>
                  <a:pt x="247854" y="589092"/>
                  <a:pt x="232759" y="586803"/>
                  <a:pt x="258986" y="590550"/>
                </a:cubicBezTo>
                <a:cubicBezTo>
                  <a:pt x="263749" y="593725"/>
                  <a:pt x="267844" y="598265"/>
                  <a:pt x="273274" y="600075"/>
                </a:cubicBezTo>
                <a:cubicBezTo>
                  <a:pt x="290666" y="605873"/>
                  <a:pt x="282691" y="603621"/>
                  <a:pt x="297086" y="607219"/>
                </a:cubicBezTo>
                <a:cubicBezTo>
                  <a:pt x="297880" y="609600"/>
                  <a:pt x="297054" y="613673"/>
                  <a:pt x="299468" y="614363"/>
                </a:cubicBezTo>
                <a:cubicBezTo>
                  <a:pt x="309419" y="617206"/>
                  <a:pt x="320155" y="615460"/>
                  <a:pt x="330424" y="616744"/>
                </a:cubicBezTo>
                <a:cubicBezTo>
                  <a:pt x="332915" y="617055"/>
                  <a:pt x="335187" y="618331"/>
                  <a:pt x="337568" y="619125"/>
                </a:cubicBezTo>
                <a:cubicBezTo>
                  <a:pt x="339927" y="626202"/>
                  <a:pt x="341431" y="634895"/>
                  <a:pt x="347093" y="640557"/>
                </a:cubicBezTo>
                <a:cubicBezTo>
                  <a:pt x="349116" y="642580"/>
                  <a:pt x="351621" y="644157"/>
                  <a:pt x="354236" y="645319"/>
                </a:cubicBezTo>
                <a:cubicBezTo>
                  <a:pt x="358824" y="647358"/>
                  <a:pt x="368524" y="650082"/>
                  <a:pt x="368524" y="650082"/>
                </a:cubicBezTo>
                <a:cubicBezTo>
                  <a:pt x="370905" y="652463"/>
                  <a:pt x="372866" y="655357"/>
                  <a:pt x="375668" y="657225"/>
                </a:cubicBezTo>
                <a:cubicBezTo>
                  <a:pt x="377756" y="658617"/>
                  <a:pt x="380361" y="659062"/>
                  <a:pt x="382811" y="659607"/>
                </a:cubicBezTo>
                <a:cubicBezTo>
                  <a:pt x="407970" y="665199"/>
                  <a:pt x="388154" y="659007"/>
                  <a:pt x="404243" y="664369"/>
                </a:cubicBezTo>
                <a:cubicBezTo>
                  <a:pt x="406624" y="666750"/>
                  <a:pt x="408442" y="669878"/>
                  <a:pt x="411386" y="671513"/>
                </a:cubicBezTo>
                <a:cubicBezTo>
                  <a:pt x="415774" y="673951"/>
                  <a:pt x="425674" y="676275"/>
                  <a:pt x="425674" y="676275"/>
                </a:cubicBezTo>
                <a:cubicBezTo>
                  <a:pt x="430436" y="679450"/>
                  <a:pt x="434531" y="683990"/>
                  <a:pt x="439961" y="685800"/>
                </a:cubicBezTo>
                <a:lnTo>
                  <a:pt x="454249" y="690563"/>
                </a:lnTo>
                <a:cubicBezTo>
                  <a:pt x="456630" y="692944"/>
                  <a:pt x="459525" y="694905"/>
                  <a:pt x="461393" y="697707"/>
                </a:cubicBezTo>
                <a:cubicBezTo>
                  <a:pt x="462760" y="699757"/>
                  <a:pt x="465837" y="713105"/>
                  <a:pt x="466155" y="714375"/>
                </a:cubicBezTo>
                <a:cubicBezTo>
                  <a:pt x="461418" y="704056"/>
                  <a:pt x="486939" y="713901"/>
                  <a:pt x="497111" y="711994"/>
                </a:cubicBezTo>
                <a:cubicBezTo>
                  <a:pt x="499924" y="711467"/>
                  <a:pt x="501695" y="708512"/>
                  <a:pt x="504255" y="707232"/>
                </a:cubicBezTo>
                <a:cubicBezTo>
                  <a:pt x="506500" y="706109"/>
                  <a:pt x="509018" y="705644"/>
                  <a:pt x="511399" y="704850"/>
                </a:cubicBezTo>
                <a:cubicBezTo>
                  <a:pt x="510605" y="700881"/>
                  <a:pt x="510000" y="696870"/>
                  <a:pt x="509018" y="692944"/>
                </a:cubicBezTo>
                <a:cubicBezTo>
                  <a:pt x="508409" y="690509"/>
                  <a:pt x="508411" y="687575"/>
                  <a:pt x="506636" y="685800"/>
                </a:cubicBezTo>
                <a:cubicBezTo>
                  <a:pt x="502589" y="681753"/>
                  <a:pt x="496396" y="680322"/>
                  <a:pt x="492349" y="676275"/>
                </a:cubicBezTo>
                <a:lnTo>
                  <a:pt x="478061" y="661988"/>
                </a:lnTo>
                <a:cubicBezTo>
                  <a:pt x="477267" y="659607"/>
                  <a:pt x="476370" y="657258"/>
                  <a:pt x="475680" y="654844"/>
                </a:cubicBezTo>
                <a:cubicBezTo>
                  <a:pt x="474781" y="651697"/>
                  <a:pt x="475176" y="648000"/>
                  <a:pt x="473299" y="645319"/>
                </a:cubicBezTo>
                <a:cubicBezTo>
                  <a:pt x="466165" y="635128"/>
                  <a:pt x="460715" y="632168"/>
                  <a:pt x="451868" y="626269"/>
                </a:cubicBezTo>
                <a:cubicBezTo>
                  <a:pt x="448711" y="621533"/>
                  <a:pt x="443571" y="617897"/>
                  <a:pt x="449486" y="611982"/>
                </a:cubicBezTo>
                <a:cubicBezTo>
                  <a:pt x="451261" y="610207"/>
                  <a:pt x="454249" y="610394"/>
                  <a:pt x="456630" y="609600"/>
                </a:cubicBezTo>
                <a:cubicBezTo>
                  <a:pt x="459805" y="610394"/>
                  <a:pt x="463147" y="610693"/>
                  <a:pt x="466155" y="611982"/>
                </a:cubicBezTo>
                <a:cubicBezTo>
                  <a:pt x="468785" y="613109"/>
                  <a:pt x="470440" y="616608"/>
                  <a:pt x="473299" y="616744"/>
                </a:cubicBezTo>
                <a:lnTo>
                  <a:pt x="516161" y="614363"/>
                </a:lnTo>
                <a:cubicBezTo>
                  <a:pt x="532224" y="598300"/>
                  <a:pt x="524059" y="602205"/>
                  <a:pt x="537593" y="597694"/>
                </a:cubicBezTo>
                <a:cubicBezTo>
                  <a:pt x="539180" y="595313"/>
                  <a:pt x="542355" y="593412"/>
                  <a:pt x="542355" y="590550"/>
                </a:cubicBezTo>
                <a:cubicBezTo>
                  <a:pt x="542355" y="585259"/>
                  <a:pt x="533623" y="580760"/>
                  <a:pt x="530449" y="578644"/>
                </a:cubicBezTo>
                <a:cubicBezTo>
                  <a:pt x="528861" y="576263"/>
                  <a:pt x="526966" y="574060"/>
                  <a:pt x="525686" y="571500"/>
                </a:cubicBezTo>
                <a:cubicBezTo>
                  <a:pt x="520292" y="560712"/>
                  <a:pt x="523919" y="550533"/>
                  <a:pt x="525686" y="538163"/>
                </a:cubicBezTo>
                <a:cubicBezTo>
                  <a:pt x="526331" y="533646"/>
                  <a:pt x="529688" y="527017"/>
                  <a:pt x="532830" y="523875"/>
                </a:cubicBezTo>
                <a:cubicBezTo>
                  <a:pt x="534854" y="521851"/>
                  <a:pt x="537593" y="520700"/>
                  <a:pt x="539974" y="519113"/>
                </a:cubicBezTo>
                <a:cubicBezTo>
                  <a:pt x="545517" y="510798"/>
                  <a:pt x="548893" y="503710"/>
                  <a:pt x="556643" y="497682"/>
                </a:cubicBezTo>
                <a:cubicBezTo>
                  <a:pt x="561161" y="494168"/>
                  <a:pt x="565811" y="490717"/>
                  <a:pt x="570930" y="488157"/>
                </a:cubicBezTo>
                <a:cubicBezTo>
                  <a:pt x="574105" y="486569"/>
                  <a:pt x="576974" y="484090"/>
                  <a:pt x="580455" y="483394"/>
                </a:cubicBezTo>
                <a:cubicBezTo>
                  <a:pt x="589052" y="481675"/>
                  <a:pt x="597918" y="481807"/>
                  <a:pt x="606649" y="481013"/>
                </a:cubicBezTo>
                <a:cubicBezTo>
                  <a:pt x="610702" y="478311"/>
                  <a:pt x="620368" y="472057"/>
                  <a:pt x="623318" y="469107"/>
                </a:cubicBezTo>
                <a:cubicBezTo>
                  <a:pt x="625342" y="467083"/>
                  <a:pt x="626493" y="464344"/>
                  <a:pt x="628080" y="461963"/>
                </a:cubicBezTo>
                <a:cubicBezTo>
                  <a:pt x="628874" y="457994"/>
                  <a:pt x="629396" y="453962"/>
                  <a:pt x="630461" y="450057"/>
                </a:cubicBezTo>
                <a:cubicBezTo>
                  <a:pt x="631782" y="445214"/>
                  <a:pt x="635224" y="435769"/>
                  <a:pt x="635224" y="435769"/>
                </a:cubicBezTo>
                <a:cubicBezTo>
                  <a:pt x="634430" y="432594"/>
                  <a:pt x="634658" y="428967"/>
                  <a:pt x="632843" y="426244"/>
                </a:cubicBezTo>
                <a:cubicBezTo>
                  <a:pt x="629555" y="421312"/>
                  <a:pt x="620952" y="420295"/>
                  <a:pt x="616174" y="419100"/>
                </a:cubicBezTo>
                <a:cubicBezTo>
                  <a:pt x="613793" y="416719"/>
                  <a:pt x="611954" y="413628"/>
                  <a:pt x="609030" y="411957"/>
                </a:cubicBezTo>
                <a:cubicBezTo>
                  <a:pt x="606188" y="410333"/>
                  <a:pt x="602652" y="410474"/>
                  <a:pt x="599505" y="409575"/>
                </a:cubicBezTo>
                <a:cubicBezTo>
                  <a:pt x="597091" y="408885"/>
                  <a:pt x="594668" y="408183"/>
                  <a:pt x="592361" y="407194"/>
                </a:cubicBezTo>
                <a:cubicBezTo>
                  <a:pt x="589098" y="405796"/>
                  <a:pt x="586099" y="403830"/>
                  <a:pt x="582836" y="402432"/>
                </a:cubicBezTo>
                <a:cubicBezTo>
                  <a:pt x="569037" y="396518"/>
                  <a:pt x="582275" y="404437"/>
                  <a:pt x="568549" y="395288"/>
                </a:cubicBezTo>
                <a:cubicBezTo>
                  <a:pt x="566961" y="392907"/>
                  <a:pt x="564256" y="390967"/>
                  <a:pt x="563786" y="388144"/>
                </a:cubicBezTo>
                <a:cubicBezTo>
                  <a:pt x="563373" y="385668"/>
                  <a:pt x="564600" y="382960"/>
                  <a:pt x="566168" y="381000"/>
                </a:cubicBezTo>
                <a:cubicBezTo>
                  <a:pt x="572171" y="373496"/>
                  <a:pt x="584928" y="374786"/>
                  <a:pt x="592361" y="373857"/>
                </a:cubicBezTo>
                <a:cubicBezTo>
                  <a:pt x="594742" y="373063"/>
                  <a:pt x="597416" y="372867"/>
                  <a:pt x="599505" y="371475"/>
                </a:cubicBezTo>
                <a:cubicBezTo>
                  <a:pt x="602307" y="369607"/>
                  <a:pt x="604062" y="366488"/>
                  <a:pt x="606649" y="364332"/>
                </a:cubicBezTo>
                <a:cubicBezTo>
                  <a:pt x="608848" y="362500"/>
                  <a:pt x="611412" y="361157"/>
                  <a:pt x="613793" y="359569"/>
                </a:cubicBezTo>
                <a:cubicBezTo>
                  <a:pt x="615778" y="351629"/>
                  <a:pt x="617201" y="341874"/>
                  <a:pt x="623318" y="335757"/>
                </a:cubicBezTo>
                <a:cubicBezTo>
                  <a:pt x="625342" y="333733"/>
                  <a:pt x="628080" y="332582"/>
                  <a:pt x="630461" y="330994"/>
                </a:cubicBezTo>
                <a:cubicBezTo>
                  <a:pt x="629667" y="325438"/>
                  <a:pt x="629693" y="319701"/>
                  <a:pt x="628080" y="314325"/>
                </a:cubicBezTo>
                <a:cubicBezTo>
                  <a:pt x="627258" y="311584"/>
                  <a:pt x="623723" y="310015"/>
                  <a:pt x="623318" y="307182"/>
                </a:cubicBezTo>
                <a:cubicBezTo>
                  <a:pt x="622855" y="303942"/>
                  <a:pt x="624075" y="300499"/>
                  <a:pt x="625699" y="297657"/>
                </a:cubicBezTo>
                <a:cubicBezTo>
                  <a:pt x="628519" y="292722"/>
                  <a:pt x="635435" y="288785"/>
                  <a:pt x="639986" y="285750"/>
                </a:cubicBezTo>
                <a:cubicBezTo>
                  <a:pt x="641574" y="283369"/>
                  <a:pt x="642725" y="280631"/>
                  <a:pt x="644749" y="278607"/>
                </a:cubicBezTo>
                <a:cubicBezTo>
                  <a:pt x="646773" y="276583"/>
                  <a:pt x="650105" y="276079"/>
                  <a:pt x="651893" y="273844"/>
                </a:cubicBezTo>
                <a:cubicBezTo>
                  <a:pt x="653461" y="271884"/>
                  <a:pt x="652499" y="268475"/>
                  <a:pt x="654274" y="266700"/>
                </a:cubicBezTo>
                <a:cubicBezTo>
                  <a:pt x="658321" y="262653"/>
                  <a:pt x="668561" y="257175"/>
                  <a:pt x="668561" y="257175"/>
                </a:cubicBezTo>
                <a:cubicBezTo>
                  <a:pt x="667767" y="251619"/>
                  <a:pt x="668195" y="245745"/>
                  <a:pt x="666180" y="240507"/>
                </a:cubicBezTo>
                <a:cubicBezTo>
                  <a:pt x="664125" y="235165"/>
                  <a:pt x="656655" y="226219"/>
                  <a:pt x="656655" y="226219"/>
                </a:cubicBezTo>
                <a:cubicBezTo>
                  <a:pt x="655214" y="219013"/>
                  <a:pt x="655458" y="212372"/>
                  <a:pt x="649511" y="207169"/>
                </a:cubicBezTo>
                <a:cubicBezTo>
                  <a:pt x="645204" y="203400"/>
                  <a:pt x="635224" y="197644"/>
                  <a:pt x="635224" y="197644"/>
                </a:cubicBezTo>
                <a:cubicBezTo>
                  <a:pt x="633636" y="195263"/>
                  <a:pt x="632696" y="192288"/>
                  <a:pt x="630461" y="190500"/>
                </a:cubicBezTo>
                <a:cubicBezTo>
                  <a:pt x="628501" y="188932"/>
                  <a:pt x="625563" y="189241"/>
                  <a:pt x="623318" y="188119"/>
                </a:cubicBezTo>
                <a:cubicBezTo>
                  <a:pt x="620758" y="186839"/>
                  <a:pt x="618734" y="184637"/>
                  <a:pt x="616174" y="183357"/>
                </a:cubicBezTo>
                <a:cubicBezTo>
                  <a:pt x="608192" y="179366"/>
                  <a:pt x="594401" y="179350"/>
                  <a:pt x="587599" y="178594"/>
                </a:cubicBezTo>
                <a:cubicBezTo>
                  <a:pt x="567360" y="165103"/>
                  <a:pt x="598708" y="187322"/>
                  <a:pt x="570930" y="159544"/>
                </a:cubicBezTo>
                <a:lnTo>
                  <a:pt x="556643" y="138113"/>
                </a:lnTo>
                <a:close/>
              </a:path>
            </a:pathLst>
          </a:custGeom>
          <a:solidFill>
            <a:schemeClr val="accent3"/>
          </a:solidFill>
          <a:ln w="12700">
            <a:solidFill>
              <a:schemeClr val="bg1"/>
            </a:solidFill>
            <a:round/>
            <a:headEnd/>
            <a:tailEnd/>
          </a:ln>
        </p:spPr>
        <p:txBody>
          <a:bodyPr/>
          <a:lstStyle/>
          <a:p>
            <a:pPr>
              <a:defRPr/>
            </a:pPr>
            <a:endParaRPr lang="nl-NL"/>
          </a:p>
        </p:txBody>
      </p:sp>
      <p:sp>
        <p:nvSpPr>
          <p:cNvPr id="105" name="Freeform 104"/>
          <p:cNvSpPr/>
          <p:nvPr/>
        </p:nvSpPr>
        <p:spPr bwMode="auto">
          <a:xfrm>
            <a:off x="2186457" y="2016125"/>
            <a:ext cx="640373" cy="350838"/>
          </a:xfrm>
          <a:custGeom>
            <a:avLst/>
            <a:gdLst>
              <a:gd name="connsiteX0" fmla="*/ 10696 w 483338"/>
              <a:gd name="connsiteY0" fmla="*/ 72203 h 239512"/>
              <a:gd name="connsiteX1" fmla="*/ 17840 w 483338"/>
              <a:gd name="connsiteY1" fmla="*/ 74584 h 239512"/>
              <a:gd name="connsiteX2" fmla="*/ 55940 w 483338"/>
              <a:gd name="connsiteY2" fmla="*/ 69822 h 239512"/>
              <a:gd name="connsiteX3" fmla="*/ 70227 w 483338"/>
              <a:gd name="connsiteY3" fmla="*/ 65059 h 239512"/>
              <a:gd name="connsiteX4" fmla="*/ 77371 w 483338"/>
              <a:gd name="connsiteY4" fmla="*/ 60297 h 239512"/>
              <a:gd name="connsiteX5" fmla="*/ 86896 w 483338"/>
              <a:gd name="connsiteY5" fmla="*/ 57915 h 239512"/>
              <a:gd name="connsiteX6" fmla="*/ 108327 w 483338"/>
              <a:gd name="connsiteY6" fmla="*/ 50772 h 239512"/>
              <a:gd name="connsiteX7" fmla="*/ 115471 w 483338"/>
              <a:gd name="connsiteY7" fmla="*/ 48390 h 239512"/>
              <a:gd name="connsiteX8" fmla="*/ 146427 w 483338"/>
              <a:gd name="connsiteY8" fmla="*/ 46009 h 239512"/>
              <a:gd name="connsiteX9" fmla="*/ 167859 w 483338"/>
              <a:gd name="connsiteY9" fmla="*/ 38865 h 239512"/>
              <a:gd name="connsiteX10" fmla="*/ 175002 w 483338"/>
              <a:gd name="connsiteY10" fmla="*/ 36484 h 239512"/>
              <a:gd name="connsiteX11" fmla="*/ 196434 w 483338"/>
              <a:gd name="connsiteY11" fmla="*/ 22197 h 239512"/>
              <a:gd name="connsiteX12" fmla="*/ 203577 w 483338"/>
              <a:gd name="connsiteY12" fmla="*/ 17434 h 239512"/>
              <a:gd name="connsiteX13" fmla="*/ 244059 w 483338"/>
              <a:gd name="connsiteY13" fmla="*/ 10290 h 239512"/>
              <a:gd name="connsiteX14" fmla="*/ 310734 w 483338"/>
              <a:gd name="connsiteY14" fmla="*/ 7909 h 239512"/>
              <a:gd name="connsiteX15" fmla="*/ 317877 w 483338"/>
              <a:gd name="connsiteY15" fmla="*/ 12672 h 239512"/>
              <a:gd name="connsiteX16" fmla="*/ 325021 w 483338"/>
              <a:gd name="connsiteY16" fmla="*/ 15053 h 239512"/>
              <a:gd name="connsiteX17" fmla="*/ 327402 w 483338"/>
              <a:gd name="connsiteY17" fmla="*/ 22197 h 239512"/>
              <a:gd name="connsiteX18" fmla="*/ 317877 w 483338"/>
              <a:gd name="connsiteY18" fmla="*/ 36484 h 239512"/>
              <a:gd name="connsiteX19" fmla="*/ 303590 w 483338"/>
              <a:gd name="connsiteY19" fmla="*/ 41247 h 239512"/>
              <a:gd name="connsiteX20" fmla="*/ 298827 w 483338"/>
              <a:gd name="connsiteY20" fmla="*/ 48390 h 239512"/>
              <a:gd name="connsiteX21" fmla="*/ 294065 w 483338"/>
              <a:gd name="connsiteY21" fmla="*/ 62678 h 239512"/>
              <a:gd name="connsiteX22" fmla="*/ 296446 w 483338"/>
              <a:gd name="connsiteY22" fmla="*/ 72203 h 239512"/>
              <a:gd name="connsiteX23" fmla="*/ 303590 w 483338"/>
              <a:gd name="connsiteY23" fmla="*/ 74584 h 239512"/>
              <a:gd name="connsiteX24" fmla="*/ 310734 w 483338"/>
              <a:gd name="connsiteY24" fmla="*/ 79347 h 239512"/>
              <a:gd name="connsiteX25" fmla="*/ 344071 w 483338"/>
              <a:gd name="connsiteY25" fmla="*/ 76965 h 239512"/>
              <a:gd name="connsiteX26" fmla="*/ 348834 w 483338"/>
              <a:gd name="connsiteY26" fmla="*/ 69822 h 239512"/>
              <a:gd name="connsiteX27" fmla="*/ 327402 w 483338"/>
              <a:gd name="connsiteY27" fmla="*/ 57915 h 239512"/>
              <a:gd name="connsiteX28" fmla="*/ 325021 w 483338"/>
              <a:gd name="connsiteY28" fmla="*/ 50772 h 239512"/>
              <a:gd name="connsiteX29" fmla="*/ 334546 w 483338"/>
              <a:gd name="connsiteY29" fmla="*/ 43628 h 239512"/>
              <a:gd name="connsiteX30" fmla="*/ 358359 w 483338"/>
              <a:gd name="connsiteY30" fmla="*/ 36484 h 239512"/>
              <a:gd name="connsiteX31" fmla="*/ 427415 w 483338"/>
              <a:gd name="connsiteY31" fmla="*/ 43628 h 239512"/>
              <a:gd name="connsiteX32" fmla="*/ 427415 w 483338"/>
              <a:gd name="connsiteY32" fmla="*/ 43628 h 239512"/>
              <a:gd name="connsiteX33" fmla="*/ 460752 w 483338"/>
              <a:gd name="connsiteY33" fmla="*/ 50772 h 239512"/>
              <a:gd name="connsiteX34" fmla="*/ 470277 w 483338"/>
              <a:gd name="connsiteY34" fmla="*/ 53153 h 239512"/>
              <a:gd name="connsiteX35" fmla="*/ 477421 w 483338"/>
              <a:gd name="connsiteY35" fmla="*/ 60297 h 239512"/>
              <a:gd name="connsiteX36" fmla="*/ 482184 w 483338"/>
              <a:gd name="connsiteY36" fmla="*/ 67440 h 239512"/>
              <a:gd name="connsiteX37" fmla="*/ 472659 w 483338"/>
              <a:gd name="connsiteY37" fmla="*/ 76965 h 239512"/>
              <a:gd name="connsiteX38" fmla="*/ 436940 w 483338"/>
              <a:gd name="connsiteY38" fmla="*/ 79347 h 239512"/>
              <a:gd name="connsiteX39" fmla="*/ 441702 w 483338"/>
              <a:gd name="connsiteY39" fmla="*/ 86490 h 239512"/>
              <a:gd name="connsiteX40" fmla="*/ 451227 w 483338"/>
              <a:gd name="connsiteY40" fmla="*/ 88872 h 239512"/>
              <a:gd name="connsiteX41" fmla="*/ 458371 w 483338"/>
              <a:gd name="connsiteY41" fmla="*/ 91253 h 239512"/>
              <a:gd name="connsiteX42" fmla="*/ 417890 w 483338"/>
              <a:gd name="connsiteY42" fmla="*/ 103159 h 239512"/>
              <a:gd name="connsiteX43" fmla="*/ 410746 w 483338"/>
              <a:gd name="connsiteY43" fmla="*/ 105540 h 239512"/>
              <a:gd name="connsiteX44" fmla="*/ 398840 w 483338"/>
              <a:gd name="connsiteY44" fmla="*/ 117447 h 239512"/>
              <a:gd name="connsiteX45" fmla="*/ 394077 w 483338"/>
              <a:gd name="connsiteY45" fmla="*/ 131734 h 239512"/>
              <a:gd name="connsiteX46" fmla="*/ 377409 w 483338"/>
              <a:gd name="connsiteY46" fmla="*/ 153165 h 239512"/>
              <a:gd name="connsiteX47" fmla="*/ 375027 w 483338"/>
              <a:gd name="connsiteY47" fmla="*/ 160309 h 239512"/>
              <a:gd name="connsiteX48" fmla="*/ 360740 w 483338"/>
              <a:gd name="connsiteY48" fmla="*/ 172215 h 239512"/>
              <a:gd name="connsiteX49" fmla="*/ 353596 w 483338"/>
              <a:gd name="connsiteY49" fmla="*/ 174597 h 239512"/>
              <a:gd name="connsiteX50" fmla="*/ 332165 w 483338"/>
              <a:gd name="connsiteY50" fmla="*/ 172215 h 239512"/>
              <a:gd name="connsiteX51" fmla="*/ 325021 w 483338"/>
              <a:gd name="connsiteY51" fmla="*/ 169834 h 239512"/>
              <a:gd name="connsiteX52" fmla="*/ 272634 w 483338"/>
              <a:gd name="connsiteY52" fmla="*/ 172215 h 239512"/>
              <a:gd name="connsiteX53" fmla="*/ 265490 w 483338"/>
              <a:gd name="connsiteY53" fmla="*/ 174597 h 239512"/>
              <a:gd name="connsiteX54" fmla="*/ 241677 w 483338"/>
              <a:gd name="connsiteY54" fmla="*/ 181740 h 239512"/>
              <a:gd name="connsiteX55" fmla="*/ 232152 w 483338"/>
              <a:gd name="connsiteY55" fmla="*/ 186503 h 239512"/>
              <a:gd name="connsiteX56" fmla="*/ 217865 w 483338"/>
              <a:gd name="connsiteY56" fmla="*/ 191265 h 239512"/>
              <a:gd name="connsiteX57" fmla="*/ 205959 w 483338"/>
              <a:gd name="connsiteY57" fmla="*/ 203172 h 239512"/>
              <a:gd name="connsiteX58" fmla="*/ 201196 w 483338"/>
              <a:gd name="connsiteY58" fmla="*/ 210315 h 239512"/>
              <a:gd name="connsiteX59" fmla="*/ 194052 w 483338"/>
              <a:gd name="connsiteY59" fmla="*/ 215078 h 239512"/>
              <a:gd name="connsiteX60" fmla="*/ 186909 w 483338"/>
              <a:gd name="connsiteY60" fmla="*/ 222222 h 239512"/>
              <a:gd name="connsiteX61" fmla="*/ 177384 w 483338"/>
              <a:gd name="connsiteY61" fmla="*/ 224603 h 239512"/>
              <a:gd name="connsiteX62" fmla="*/ 170240 w 483338"/>
              <a:gd name="connsiteY62" fmla="*/ 226984 h 239512"/>
              <a:gd name="connsiteX63" fmla="*/ 153571 w 483338"/>
              <a:gd name="connsiteY63" fmla="*/ 236509 h 239512"/>
              <a:gd name="connsiteX64" fmla="*/ 146427 w 483338"/>
              <a:gd name="connsiteY64" fmla="*/ 238890 h 239512"/>
              <a:gd name="connsiteX65" fmla="*/ 129759 w 483338"/>
              <a:gd name="connsiteY65" fmla="*/ 236509 h 239512"/>
              <a:gd name="connsiteX66" fmla="*/ 127377 w 483338"/>
              <a:gd name="connsiteY66" fmla="*/ 229365 h 239512"/>
              <a:gd name="connsiteX67" fmla="*/ 120234 w 483338"/>
              <a:gd name="connsiteY67" fmla="*/ 224603 h 239512"/>
              <a:gd name="connsiteX68" fmla="*/ 105946 w 483338"/>
              <a:gd name="connsiteY68" fmla="*/ 210315 h 239512"/>
              <a:gd name="connsiteX69" fmla="*/ 94040 w 483338"/>
              <a:gd name="connsiteY69" fmla="*/ 198409 h 239512"/>
              <a:gd name="connsiteX70" fmla="*/ 82134 w 483338"/>
              <a:gd name="connsiteY70" fmla="*/ 186503 h 239512"/>
              <a:gd name="connsiteX71" fmla="*/ 77371 w 483338"/>
              <a:gd name="connsiteY71" fmla="*/ 179359 h 239512"/>
              <a:gd name="connsiteX72" fmla="*/ 70227 w 483338"/>
              <a:gd name="connsiteY72" fmla="*/ 172215 h 239512"/>
              <a:gd name="connsiteX73" fmla="*/ 58321 w 483338"/>
              <a:gd name="connsiteY73" fmla="*/ 160309 h 239512"/>
              <a:gd name="connsiteX74" fmla="*/ 53559 w 483338"/>
              <a:gd name="connsiteY74" fmla="*/ 153165 h 239512"/>
              <a:gd name="connsiteX75" fmla="*/ 46415 w 483338"/>
              <a:gd name="connsiteY75" fmla="*/ 146022 h 239512"/>
              <a:gd name="connsiteX76" fmla="*/ 34509 w 483338"/>
              <a:gd name="connsiteY76" fmla="*/ 124590 h 239512"/>
              <a:gd name="connsiteX77" fmla="*/ 13077 w 483338"/>
              <a:gd name="connsiteY77" fmla="*/ 107922 h 239512"/>
              <a:gd name="connsiteX78" fmla="*/ 8315 w 483338"/>
              <a:gd name="connsiteY78" fmla="*/ 98397 h 239512"/>
              <a:gd name="connsiteX79" fmla="*/ 1171 w 483338"/>
              <a:gd name="connsiteY79" fmla="*/ 93634 h 239512"/>
              <a:gd name="connsiteX80" fmla="*/ 3552 w 483338"/>
              <a:gd name="connsiteY80" fmla="*/ 79347 h 239512"/>
              <a:gd name="connsiteX81" fmla="*/ 10696 w 483338"/>
              <a:gd name="connsiteY81" fmla="*/ 72203 h 239512"/>
              <a:gd name="connsiteX0" fmla="*/ 10696 w 483338"/>
              <a:gd name="connsiteY0" fmla="*/ 72203 h 239512"/>
              <a:gd name="connsiteX1" fmla="*/ 17840 w 483338"/>
              <a:gd name="connsiteY1" fmla="*/ 74584 h 239512"/>
              <a:gd name="connsiteX2" fmla="*/ 55940 w 483338"/>
              <a:gd name="connsiteY2" fmla="*/ 69822 h 239512"/>
              <a:gd name="connsiteX3" fmla="*/ 70227 w 483338"/>
              <a:gd name="connsiteY3" fmla="*/ 65059 h 239512"/>
              <a:gd name="connsiteX4" fmla="*/ 77371 w 483338"/>
              <a:gd name="connsiteY4" fmla="*/ 60297 h 239512"/>
              <a:gd name="connsiteX5" fmla="*/ 86896 w 483338"/>
              <a:gd name="connsiteY5" fmla="*/ 57915 h 239512"/>
              <a:gd name="connsiteX6" fmla="*/ 108327 w 483338"/>
              <a:gd name="connsiteY6" fmla="*/ 50772 h 239512"/>
              <a:gd name="connsiteX7" fmla="*/ 115471 w 483338"/>
              <a:gd name="connsiteY7" fmla="*/ 48390 h 239512"/>
              <a:gd name="connsiteX8" fmla="*/ 146427 w 483338"/>
              <a:gd name="connsiteY8" fmla="*/ 46009 h 239512"/>
              <a:gd name="connsiteX9" fmla="*/ 167859 w 483338"/>
              <a:gd name="connsiteY9" fmla="*/ 38865 h 239512"/>
              <a:gd name="connsiteX10" fmla="*/ 175002 w 483338"/>
              <a:gd name="connsiteY10" fmla="*/ 36484 h 239512"/>
              <a:gd name="connsiteX11" fmla="*/ 196434 w 483338"/>
              <a:gd name="connsiteY11" fmla="*/ 22197 h 239512"/>
              <a:gd name="connsiteX12" fmla="*/ 203577 w 483338"/>
              <a:gd name="connsiteY12" fmla="*/ 17434 h 239512"/>
              <a:gd name="connsiteX13" fmla="*/ 244059 w 483338"/>
              <a:gd name="connsiteY13" fmla="*/ 10290 h 239512"/>
              <a:gd name="connsiteX14" fmla="*/ 310734 w 483338"/>
              <a:gd name="connsiteY14" fmla="*/ 7909 h 239512"/>
              <a:gd name="connsiteX15" fmla="*/ 317877 w 483338"/>
              <a:gd name="connsiteY15" fmla="*/ 12672 h 239512"/>
              <a:gd name="connsiteX16" fmla="*/ 325021 w 483338"/>
              <a:gd name="connsiteY16" fmla="*/ 15053 h 239512"/>
              <a:gd name="connsiteX17" fmla="*/ 327402 w 483338"/>
              <a:gd name="connsiteY17" fmla="*/ 22197 h 239512"/>
              <a:gd name="connsiteX18" fmla="*/ 317877 w 483338"/>
              <a:gd name="connsiteY18" fmla="*/ 36484 h 239512"/>
              <a:gd name="connsiteX19" fmla="*/ 303590 w 483338"/>
              <a:gd name="connsiteY19" fmla="*/ 41247 h 239512"/>
              <a:gd name="connsiteX20" fmla="*/ 298827 w 483338"/>
              <a:gd name="connsiteY20" fmla="*/ 48390 h 239512"/>
              <a:gd name="connsiteX21" fmla="*/ 294065 w 483338"/>
              <a:gd name="connsiteY21" fmla="*/ 62678 h 239512"/>
              <a:gd name="connsiteX22" fmla="*/ 296446 w 483338"/>
              <a:gd name="connsiteY22" fmla="*/ 72203 h 239512"/>
              <a:gd name="connsiteX23" fmla="*/ 303590 w 483338"/>
              <a:gd name="connsiteY23" fmla="*/ 74584 h 239512"/>
              <a:gd name="connsiteX24" fmla="*/ 310734 w 483338"/>
              <a:gd name="connsiteY24" fmla="*/ 79347 h 239512"/>
              <a:gd name="connsiteX25" fmla="*/ 344071 w 483338"/>
              <a:gd name="connsiteY25" fmla="*/ 76965 h 239512"/>
              <a:gd name="connsiteX26" fmla="*/ 348834 w 483338"/>
              <a:gd name="connsiteY26" fmla="*/ 69822 h 239512"/>
              <a:gd name="connsiteX27" fmla="*/ 327402 w 483338"/>
              <a:gd name="connsiteY27" fmla="*/ 57915 h 239512"/>
              <a:gd name="connsiteX28" fmla="*/ 325021 w 483338"/>
              <a:gd name="connsiteY28" fmla="*/ 50772 h 239512"/>
              <a:gd name="connsiteX29" fmla="*/ 334546 w 483338"/>
              <a:gd name="connsiteY29" fmla="*/ 43628 h 239512"/>
              <a:gd name="connsiteX30" fmla="*/ 358359 w 483338"/>
              <a:gd name="connsiteY30" fmla="*/ 36484 h 239512"/>
              <a:gd name="connsiteX31" fmla="*/ 427415 w 483338"/>
              <a:gd name="connsiteY31" fmla="*/ 43628 h 239512"/>
              <a:gd name="connsiteX32" fmla="*/ 427415 w 483338"/>
              <a:gd name="connsiteY32" fmla="*/ 43628 h 239512"/>
              <a:gd name="connsiteX33" fmla="*/ 460752 w 483338"/>
              <a:gd name="connsiteY33" fmla="*/ 50772 h 239512"/>
              <a:gd name="connsiteX34" fmla="*/ 470277 w 483338"/>
              <a:gd name="connsiteY34" fmla="*/ 53153 h 239512"/>
              <a:gd name="connsiteX35" fmla="*/ 477421 w 483338"/>
              <a:gd name="connsiteY35" fmla="*/ 60297 h 239512"/>
              <a:gd name="connsiteX36" fmla="*/ 482184 w 483338"/>
              <a:gd name="connsiteY36" fmla="*/ 67440 h 239512"/>
              <a:gd name="connsiteX37" fmla="*/ 472659 w 483338"/>
              <a:gd name="connsiteY37" fmla="*/ 76965 h 239512"/>
              <a:gd name="connsiteX38" fmla="*/ 436940 w 483338"/>
              <a:gd name="connsiteY38" fmla="*/ 79347 h 239512"/>
              <a:gd name="connsiteX39" fmla="*/ 441702 w 483338"/>
              <a:gd name="connsiteY39" fmla="*/ 86490 h 239512"/>
              <a:gd name="connsiteX40" fmla="*/ 451227 w 483338"/>
              <a:gd name="connsiteY40" fmla="*/ 88872 h 239512"/>
              <a:gd name="connsiteX41" fmla="*/ 458371 w 483338"/>
              <a:gd name="connsiteY41" fmla="*/ 91253 h 239512"/>
              <a:gd name="connsiteX42" fmla="*/ 417890 w 483338"/>
              <a:gd name="connsiteY42" fmla="*/ 103159 h 239512"/>
              <a:gd name="connsiteX43" fmla="*/ 410746 w 483338"/>
              <a:gd name="connsiteY43" fmla="*/ 105540 h 239512"/>
              <a:gd name="connsiteX44" fmla="*/ 398840 w 483338"/>
              <a:gd name="connsiteY44" fmla="*/ 117447 h 239512"/>
              <a:gd name="connsiteX45" fmla="*/ 394077 w 483338"/>
              <a:gd name="connsiteY45" fmla="*/ 131734 h 239512"/>
              <a:gd name="connsiteX46" fmla="*/ 377409 w 483338"/>
              <a:gd name="connsiteY46" fmla="*/ 153165 h 239512"/>
              <a:gd name="connsiteX47" fmla="*/ 375027 w 483338"/>
              <a:gd name="connsiteY47" fmla="*/ 160309 h 239512"/>
              <a:gd name="connsiteX48" fmla="*/ 360740 w 483338"/>
              <a:gd name="connsiteY48" fmla="*/ 172215 h 239512"/>
              <a:gd name="connsiteX49" fmla="*/ 353596 w 483338"/>
              <a:gd name="connsiteY49" fmla="*/ 174597 h 239512"/>
              <a:gd name="connsiteX50" fmla="*/ 332165 w 483338"/>
              <a:gd name="connsiteY50" fmla="*/ 172215 h 239512"/>
              <a:gd name="connsiteX51" fmla="*/ 325021 w 483338"/>
              <a:gd name="connsiteY51" fmla="*/ 169834 h 239512"/>
              <a:gd name="connsiteX52" fmla="*/ 272634 w 483338"/>
              <a:gd name="connsiteY52" fmla="*/ 172215 h 239512"/>
              <a:gd name="connsiteX53" fmla="*/ 265490 w 483338"/>
              <a:gd name="connsiteY53" fmla="*/ 174597 h 239512"/>
              <a:gd name="connsiteX54" fmla="*/ 241677 w 483338"/>
              <a:gd name="connsiteY54" fmla="*/ 181740 h 239512"/>
              <a:gd name="connsiteX55" fmla="*/ 232152 w 483338"/>
              <a:gd name="connsiteY55" fmla="*/ 186503 h 239512"/>
              <a:gd name="connsiteX56" fmla="*/ 217865 w 483338"/>
              <a:gd name="connsiteY56" fmla="*/ 191265 h 239512"/>
              <a:gd name="connsiteX57" fmla="*/ 205959 w 483338"/>
              <a:gd name="connsiteY57" fmla="*/ 203172 h 239512"/>
              <a:gd name="connsiteX58" fmla="*/ 201196 w 483338"/>
              <a:gd name="connsiteY58" fmla="*/ 210315 h 239512"/>
              <a:gd name="connsiteX59" fmla="*/ 194052 w 483338"/>
              <a:gd name="connsiteY59" fmla="*/ 215078 h 239512"/>
              <a:gd name="connsiteX60" fmla="*/ 186909 w 483338"/>
              <a:gd name="connsiteY60" fmla="*/ 222222 h 239512"/>
              <a:gd name="connsiteX61" fmla="*/ 177384 w 483338"/>
              <a:gd name="connsiteY61" fmla="*/ 224603 h 239512"/>
              <a:gd name="connsiteX62" fmla="*/ 170240 w 483338"/>
              <a:gd name="connsiteY62" fmla="*/ 226984 h 239512"/>
              <a:gd name="connsiteX63" fmla="*/ 153571 w 483338"/>
              <a:gd name="connsiteY63" fmla="*/ 236509 h 239512"/>
              <a:gd name="connsiteX64" fmla="*/ 146427 w 483338"/>
              <a:gd name="connsiteY64" fmla="*/ 238890 h 239512"/>
              <a:gd name="connsiteX65" fmla="*/ 129759 w 483338"/>
              <a:gd name="connsiteY65" fmla="*/ 236509 h 239512"/>
              <a:gd name="connsiteX66" fmla="*/ 127377 w 483338"/>
              <a:gd name="connsiteY66" fmla="*/ 229365 h 239512"/>
              <a:gd name="connsiteX67" fmla="*/ 120234 w 483338"/>
              <a:gd name="connsiteY67" fmla="*/ 224603 h 239512"/>
              <a:gd name="connsiteX68" fmla="*/ 105946 w 483338"/>
              <a:gd name="connsiteY68" fmla="*/ 210315 h 239512"/>
              <a:gd name="connsiteX69" fmla="*/ 94040 w 483338"/>
              <a:gd name="connsiteY69" fmla="*/ 198409 h 239512"/>
              <a:gd name="connsiteX70" fmla="*/ 82134 w 483338"/>
              <a:gd name="connsiteY70" fmla="*/ 186503 h 239512"/>
              <a:gd name="connsiteX71" fmla="*/ 77371 w 483338"/>
              <a:gd name="connsiteY71" fmla="*/ 179359 h 239512"/>
              <a:gd name="connsiteX72" fmla="*/ 70227 w 483338"/>
              <a:gd name="connsiteY72" fmla="*/ 172215 h 239512"/>
              <a:gd name="connsiteX73" fmla="*/ 58321 w 483338"/>
              <a:gd name="connsiteY73" fmla="*/ 160309 h 239512"/>
              <a:gd name="connsiteX74" fmla="*/ 53559 w 483338"/>
              <a:gd name="connsiteY74" fmla="*/ 153165 h 239512"/>
              <a:gd name="connsiteX75" fmla="*/ 46415 w 483338"/>
              <a:gd name="connsiteY75" fmla="*/ 146022 h 239512"/>
              <a:gd name="connsiteX76" fmla="*/ 34509 w 483338"/>
              <a:gd name="connsiteY76" fmla="*/ 124590 h 239512"/>
              <a:gd name="connsiteX77" fmla="*/ 13077 w 483338"/>
              <a:gd name="connsiteY77" fmla="*/ 107922 h 239512"/>
              <a:gd name="connsiteX78" fmla="*/ 8315 w 483338"/>
              <a:gd name="connsiteY78" fmla="*/ 98397 h 239512"/>
              <a:gd name="connsiteX79" fmla="*/ 1171 w 483338"/>
              <a:gd name="connsiteY79" fmla="*/ 93634 h 239512"/>
              <a:gd name="connsiteX80" fmla="*/ 3552 w 483338"/>
              <a:gd name="connsiteY80" fmla="*/ 79347 h 239512"/>
              <a:gd name="connsiteX81" fmla="*/ 10696 w 483338"/>
              <a:gd name="connsiteY81" fmla="*/ 72203 h 239512"/>
              <a:gd name="connsiteX0" fmla="*/ 10696 w 483338"/>
              <a:gd name="connsiteY0" fmla="*/ 72203 h 239019"/>
              <a:gd name="connsiteX1" fmla="*/ 17840 w 483338"/>
              <a:gd name="connsiteY1" fmla="*/ 74584 h 239019"/>
              <a:gd name="connsiteX2" fmla="*/ 55940 w 483338"/>
              <a:gd name="connsiteY2" fmla="*/ 69822 h 239019"/>
              <a:gd name="connsiteX3" fmla="*/ 70227 w 483338"/>
              <a:gd name="connsiteY3" fmla="*/ 65059 h 239019"/>
              <a:gd name="connsiteX4" fmla="*/ 77371 w 483338"/>
              <a:gd name="connsiteY4" fmla="*/ 60297 h 239019"/>
              <a:gd name="connsiteX5" fmla="*/ 86896 w 483338"/>
              <a:gd name="connsiteY5" fmla="*/ 57915 h 239019"/>
              <a:gd name="connsiteX6" fmla="*/ 108327 w 483338"/>
              <a:gd name="connsiteY6" fmla="*/ 50772 h 239019"/>
              <a:gd name="connsiteX7" fmla="*/ 115471 w 483338"/>
              <a:gd name="connsiteY7" fmla="*/ 48390 h 239019"/>
              <a:gd name="connsiteX8" fmla="*/ 146427 w 483338"/>
              <a:gd name="connsiteY8" fmla="*/ 46009 h 239019"/>
              <a:gd name="connsiteX9" fmla="*/ 167859 w 483338"/>
              <a:gd name="connsiteY9" fmla="*/ 38865 h 239019"/>
              <a:gd name="connsiteX10" fmla="*/ 175002 w 483338"/>
              <a:gd name="connsiteY10" fmla="*/ 36484 h 239019"/>
              <a:gd name="connsiteX11" fmla="*/ 196434 w 483338"/>
              <a:gd name="connsiteY11" fmla="*/ 22197 h 239019"/>
              <a:gd name="connsiteX12" fmla="*/ 203577 w 483338"/>
              <a:gd name="connsiteY12" fmla="*/ 17434 h 239019"/>
              <a:gd name="connsiteX13" fmla="*/ 244059 w 483338"/>
              <a:gd name="connsiteY13" fmla="*/ 10290 h 239019"/>
              <a:gd name="connsiteX14" fmla="*/ 310734 w 483338"/>
              <a:gd name="connsiteY14" fmla="*/ 7909 h 239019"/>
              <a:gd name="connsiteX15" fmla="*/ 317877 w 483338"/>
              <a:gd name="connsiteY15" fmla="*/ 12672 h 239019"/>
              <a:gd name="connsiteX16" fmla="*/ 325021 w 483338"/>
              <a:gd name="connsiteY16" fmla="*/ 15053 h 239019"/>
              <a:gd name="connsiteX17" fmla="*/ 327402 w 483338"/>
              <a:gd name="connsiteY17" fmla="*/ 22197 h 239019"/>
              <a:gd name="connsiteX18" fmla="*/ 317877 w 483338"/>
              <a:gd name="connsiteY18" fmla="*/ 36484 h 239019"/>
              <a:gd name="connsiteX19" fmla="*/ 303590 w 483338"/>
              <a:gd name="connsiteY19" fmla="*/ 41247 h 239019"/>
              <a:gd name="connsiteX20" fmla="*/ 298827 w 483338"/>
              <a:gd name="connsiteY20" fmla="*/ 48390 h 239019"/>
              <a:gd name="connsiteX21" fmla="*/ 294065 w 483338"/>
              <a:gd name="connsiteY21" fmla="*/ 62678 h 239019"/>
              <a:gd name="connsiteX22" fmla="*/ 296446 w 483338"/>
              <a:gd name="connsiteY22" fmla="*/ 72203 h 239019"/>
              <a:gd name="connsiteX23" fmla="*/ 303590 w 483338"/>
              <a:gd name="connsiteY23" fmla="*/ 74584 h 239019"/>
              <a:gd name="connsiteX24" fmla="*/ 310734 w 483338"/>
              <a:gd name="connsiteY24" fmla="*/ 79347 h 239019"/>
              <a:gd name="connsiteX25" fmla="*/ 344071 w 483338"/>
              <a:gd name="connsiteY25" fmla="*/ 76965 h 239019"/>
              <a:gd name="connsiteX26" fmla="*/ 348834 w 483338"/>
              <a:gd name="connsiteY26" fmla="*/ 69822 h 239019"/>
              <a:gd name="connsiteX27" fmla="*/ 327402 w 483338"/>
              <a:gd name="connsiteY27" fmla="*/ 57915 h 239019"/>
              <a:gd name="connsiteX28" fmla="*/ 325021 w 483338"/>
              <a:gd name="connsiteY28" fmla="*/ 50772 h 239019"/>
              <a:gd name="connsiteX29" fmla="*/ 334546 w 483338"/>
              <a:gd name="connsiteY29" fmla="*/ 43628 h 239019"/>
              <a:gd name="connsiteX30" fmla="*/ 358359 w 483338"/>
              <a:gd name="connsiteY30" fmla="*/ 36484 h 239019"/>
              <a:gd name="connsiteX31" fmla="*/ 427415 w 483338"/>
              <a:gd name="connsiteY31" fmla="*/ 43628 h 239019"/>
              <a:gd name="connsiteX32" fmla="*/ 427415 w 483338"/>
              <a:gd name="connsiteY32" fmla="*/ 43628 h 239019"/>
              <a:gd name="connsiteX33" fmla="*/ 460752 w 483338"/>
              <a:gd name="connsiteY33" fmla="*/ 50772 h 239019"/>
              <a:gd name="connsiteX34" fmla="*/ 470277 w 483338"/>
              <a:gd name="connsiteY34" fmla="*/ 53153 h 239019"/>
              <a:gd name="connsiteX35" fmla="*/ 477421 w 483338"/>
              <a:gd name="connsiteY35" fmla="*/ 60297 h 239019"/>
              <a:gd name="connsiteX36" fmla="*/ 482184 w 483338"/>
              <a:gd name="connsiteY36" fmla="*/ 67440 h 239019"/>
              <a:gd name="connsiteX37" fmla="*/ 472659 w 483338"/>
              <a:gd name="connsiteY37" fmla="*/ 76965 h 239019"/>
              <a:gd name="connsiteX38" fmla="*/ 436940 w 483338"/>
              <a:gd name="connsiteY38" fmla="*/ 79347 h 239019"/>
              <a:gd name="connsiteX39" fmla="*/ 441702 w 483338"/>
              <a:gd name="connsiteY39" fmla="*/ 86490 h 239019"/>
              <a:gd name="connsiteX40" fmla="*/ 451227 w 483338"/>
              <a:gd name="connsiteY40" fmla="*/ 88872 h 239019"/>
              <a:gd name="connsiteX41" fmla="*/ 458371 w 483338"/>
              <a:gd name="connsiteY41" fmla="*/ 91253 h 239019"/>
              <a:gd name="connsiteX42" fmla="*/ 417890 w 483338"/>
              <a:gd name="connsiteY42" fmla="*/ 103159 h 239019"/>
              <a:gd name="connsiteX43" fmla="*/ 410746 w 483338"/>
              <a:gd name="connsiteY43" fmla="*/ 105540 h 239019"/>
              <a:gd name="connsiteX44" fmla="*/ 398840 w 483338"/>
              <a:gd name="connsiteY44" fmla="*/ 117447 h 239019"/>
              <a:gd name="connsiteX45" fmla="*/ 394077 w 483338"/>
              <a:gd name="connsiteY45" fmla="*/ 131734 h 239019"/>
              <a:gd name="connsiteX46" fmla="*/ 377409 w 483338"/>
              <a:gd name="connsiteY46" fmla="*/ 153165 h 239019"/>
              <a:gd name="connsiteX47" fmla="*/ 375027 w 483338"/>
              <a:gd name="connsiteY47" fmla="*/ 160309 h 239019"/>
              <a:gd name="connsiteX48" fmla="*/ 360740 w 483338"/>
              <a:gd name="connsiteY48" fmla="*/ 172215 h 239019"/>
              <a:gd name="connsiteX49" fmla="*/ 353596 w 483338"/>
              <a:gd name="connsiteY49" fmla="*/ 174597 h 239019"/>
              <a:gd name="connsiteX50" fmla="*/ 332165 w 483338"/>
              <a:gd name="connsiteY50" fmla="*/ 172215 h 239019"/>
              <a:gd name="connsiteX51" fmla="*/ 325021 w 483338"/>
              <a:gd name="connsiteY51" fmla="*/ 169834 h 239019"/>
              <a:gd name="connsiteX52" fmla="*/ 272634 w 483338"/>
              <a:gd name="connsiteY52" fmla="*/ 172215 h 239019"/>
              <a:gd name="connsiteX53" fmla="*/ 265490 w 483338"/>
              <a:gd name="connsiteY53" fmla="*/ 174597 h 239019"/>
              <a:gd name="connsiteX54" fmla="*/ 241677 w 483338"/>
              <a:gd name="connsiteY54" fmla="*/ 181740 h 239019"/>
              <a:gd name="connsiteX55" fmla="*/ 232152 w 483338"/>
              <a:gd name="connsiteY55" fmla="*/ 186503 h 239019"/>
              <a:gd name="connsiteX56" fmla="*/ 217865 w 483338"/>
              <a:gd name="connsiteY56" fmla="*/ 191265 h 239019"/>
              <a:gd name="connsiteX57" fmla="*/ 205959 w 483338"/>
              <a:gd name="connsiteY57" fmla="*/ 203172 h 239019"/>
              <a:gd name="connsiteX58" fmla="*/ 201196 w 483338"/>
              <a:gd name="connsiteY58" fmla="*/ 210315 h 239019"/>
              <a:gd name="connsiteX59" fmla="*/ 194052 w 483338"/>
              <a:gd name="connsiteY59" fmla="*/ 215078 h 239019"/>
              <a:gd name="connsiteX60" fmla="*/ 186909 w 483338"/>
              <a:gd name="connsiteY60" fmla="*/ 222222 h 239019"/>
              <a:gd name="connsiteX61" fmla="*/ 177384 w 483338"/>
              <a:gd name="connsiteY61" fmla="*/ 224603 h 239019"/>
              <a:gd name="connsiteX62" fmla="*/ 170240 w 483338"/>
              <a:gd name="connsiteY62" fmla="*/ 226984 h 239019"/>
              <a:gd name="connsiteX63" fmla="*/ 170240 w 483338"/>
              <a:gd name="connsiteY63" fmla="*/ 229365 h 239019"/>
              <a:gd name="connsiteX64" fmla="*/ 153571 w 483338"/>
              <a:gd name="connsiteY64" fmla="*/ 236509 h 239019"/>
              <a:gd name="connsiteX65" fmla="*/ 146427 w 483338"/>
              <a:gd name="connsiteY65" fmla="*/ 238890 h 239019"/>
              <a:gd name="connsiteX66" fmla="*/ 129759 w 483338"/>
              <a:gd name="connsiteY66" fmla="*/ 236509 h 239019"/>
              <a:gd name="connsiteX67" fmla="*/ 127377 w 483338"/>
              <a:gd name="connsiteY67" fmla="*/ 229365 h 239019"/>
              <a:gd name="connsiteX68" fmla="*/ 120234 w 483338"/>
              <a:gd name="connsiteY68" fmla="*/ 224603 h 239019"/>
              <a:gd name="connsiteX69" fmla="*/ 105946 w 483338"/>
              <a:gd name="connsiteY69" fmla="*/ 210315 h 239019"/>
              <a:gd name="connsiteX70" fmla="*/ 94040 w 483338"/>
              <a:gd name="connsiteY70" fmla="*/ 198409 h 239019"/>
              <a:gd name="connsiteX71" fmla="*/ 82134 w 483338"/>
              <a:gd name="connsiteY71" fmla="*/ 186503 h 239019"/>
              <a:gd name="connsiteX72" fmla="*/ 77371 w 483338"/>
              <a:gd name="connsiteY72" fmla="*/ 179359 h 239019"/>
              <a:gd name="connsiteX73" fmla="*/ 70227 w 483338"/>
              <a:gd name="connsiteY73" fmla="*/ 172215 h 239019"/>
              <a:gd name="connsiteX74" fmla="*/ 58321 w 483338"/>
              <a:gd name="connsiteY74" fmla="*/ 160309 h 239019"/>
              <a:gd name="connsiteX75" fmla="*/ 53559 w 483338"/>
              <a:gd name="connsiteY75" fmla="*/ 153165 h 239019"/>
              <a:gd name="connsiteX76" fmla="*/ 46415 w 483338"/>
              <a:gd name="connsiteY76" fmla="*/ 146022 h 239019"/>
              <a:gd name="connsiteX77" fmla="*/ 34509 w 483338"/>
              <a:gd name="connsiteY77" fmla="*/ 124590 h 239019"/>
              <a:gd name="connsiteX78" fmla="*/ 13077 w 483338"/>
              <a:gd name="connsiteY78" fmla="*/ 107922 h 239019"/>
              <a:gd name="connsiteX79" fmla="*/ 8315 w 483338"/>
              <a:gd name="connsiteY79" fmla="*/ 98397 h 239019"/>
              <a:gd name="connsiteX80" fmla="*/ 1171 w 483338"/>
              <a:gd name="connsiteY80" fmla="*/ 93634 h 239019"/>
              <a:gd name="connsiteX81" fmla="*/ 3552 w 483338"/>
              <a:gd name="connsiteY81" fmla="*/ 79347 h 239019"/>
              <a:gd name="connsiteX82" fmla="*/ 10696 w 483338"/>
              <a:gd name="connsiteY82" fmla="*/ 72203 h 239019"/>
              <a:gd name="connsiteX0" fmla="*/ 10696 w 483338"/>
              <a:gd name="connsiteY0" fmla="*/ 72203 h 239019"/>
              <a:gd name="connsiteX1" fmla="*/ 17840 w 483338"/>
              <a:gd name="connsiteY1" fmla="*/ 74584 h 239019"/>
              <a:gd name="connsiteX2" fmla="*/ 55940 w 483338"/>
              <a:gd name="connsiteY2" fmla="*/ 69822 h 239019"/>
              <a:gd name="connsiteX3" fmla="*/ 70227 w 483338"/>
              <a:gd name="connsiteY3" fmla="*/ 65059 h 239019"/>
              <a:gd name="connsiteX4" fmla="*/ 77371 w 483338"/>
              <a:gd name="connsiteY4" fmla="*/ 60297 h 239019"/>
              <a:gd name="connsiteX5" fmla="*/ 86896 w 483338"/>
              <a:gd name="connsiteY5" fmla="*/ 57915 h 239019"/>
              <a:gd name="connsiteX6" fmla="*/ 108327 w 483338"/>
              <a:gd name="connsiteY6" fmla="*/ 50772 h 239019"/>
              <a:gd name="connsiteX7" fmla="*/ 115471 w 483338"/>
              <a:gd name="connsiteY7" fmla="*/ 48390 h 239019"/>
              <a:gd name="connsiteX8" fmla="*/ 146427 w 483338"/>
              <a:gd name="connsiteY8" fmla="*/ 46009 h 239019"/>
              <a:gd name="connsiteX9" fmla="*/ 167859 w 483338"/>
              <a:gd name="connsiteY9" fmla="*/ 38865 h 239019"/>
              <a:gd name="connsiteX10" fmla="*/ 175002 w 483338"/>
              <a:gd name="connsiteY10" fmla="*/ 36484 h 239019"/>
              <a:gd name="connsiteX11" fmla="*/ 196434 w 483338"/>
              <a:gd name="connsiteY11" fmla="*/ 22197 h 239019"/>
              <a:gd name="connsiteX12" fmla="*/ 203577 w 483338"/>
              <a:gd name="connsiteY12" fmla="*/ 17434 h 239019"/>
              <a:gd name="connsiteX13" fmla="*/ 244059 w 483338"/>
              <a:gd name="connsiteY13" fmla="*/ 10290 h 239019"/>
              <a:gd name="connsiteX14" fmla="*/ 310734 w 483338"/>
              <a:gd name="connsiteY14" fmla="*/ 7909 h 239019"/>
              <a:gd name="connsiteX15" fmla="*/ 317877 w 483338"/>
              <a:gd name="connsiteY15" fmla="*/ 12672 h 239019"/>
              <a:gd name="connsiteX16" fmla="*/ 325021 w 483338"/>
              <a:gd name="connsiteY16" fmla="*/ 15053 h 239019"/>
              <a:gd name="connsiteX17" fmla="*/ 327402 w 483338"/>
              <a:gd name="connsiteY17" fmla="*/ 22197 h 239019"/>
              <a:gd name="connsiteX18" fmla="*/ 317877 w 483338"/>
              <a:gd name="connsiteY18" fmla="*/ 36484 h 239019"/>
              <a:gd name="connsiteX19" fmla="*/ 303590 w 483338"/>
              <a:gd name="connsiteY19" fmla="*/ 41247 h 239019"/>
              <a:gd name="connsiteX20" fmla="*/ 298827 w 483338"/>
              <a:gd name="connsiteY20" fmla="*/ 48390 h 239019"/>
              <a:gd name="connsiteX21" fmla="*/ 294065 w 483338"/>
              <a:gd name="connsiteY21" fmla="*/ 62678 h 239019"/>
              <a:gd name="connsiteX22" fmla="*/ 296446 w 483338"/>
              <a:gd name="connsiteY22" fmla="*/ 72203 h 239019"/>
              <a:gd name="connsiteX23" fmla="*/ 303590 w 483338"/>
              <a:gd name="connsiteY23" fmla="*/ 74584 h 239019"/>
              <a:gd name="connsiteX24" fmla="*/ 310734 w 483338"/>
              <a:gd name="connsiteY24" fmla="*/ 79347 h 239019"/>
              <a:gd name="connsiteX25" fmla="*/ 344071 w 483338"/>
              <a:gd name="connsiteY25" fmla="*/ 76965 h 239019"/>
              <a:gd name="connsiteX26" fmla="*/ 348834 w 483338"/>
              <a:gd name="connsiteY26" fmla="*/ 69822 h 239019"/>
              <a:gd name="connsiteX27" fmla="*/ 327402 w 483338"/>
              <a:gd name="connsiteY27" fmla="*/ 57915 h 239019"/>
              <a:gd name="connsiteX28" fmla="*/ 325021 w 483338"/>
              <a:gd name="connsiteY28" fmla="*/ 50772 h 239019"/>
              <a:gd name="connsiteX29" fmla="*/ 334546 w 483338"/>
              <a:gd name="connsiteY29" fmla="*/ 43628 h 239019"/>
              <a:gd name="connsiteX30" fmla="*/ 358359 w 483338"/>
              <a:gd name="connsiteY30" fmla="*/ 36484 h 239019"/>
              <a:gd name="connsiteX31" fmla="*/ 427415 w 483338"/>
              <a:gd name="connsiteY31" fmla="*/ 43628 h 239019"/>
              <a:gd name="connsiteX32" fmla="*/ 427415 w 483338"/>
              <a:gd name="connsiteY32" fmla="*/ 43628 h 239019"/>
              <a:gd name="connsiteX33" fmla="*/ 460752 w 483338"/>
              <a:gd name="connsiteY33" fmla="*/ 50772 h 239019"/>
              <a:gd name="connsiteX34" fmla="*/ 470277 w 483338"/>
              <a:gd name="connsiteY34" fmla="*/ 53153 h 239019"/>
              <a:gd name="connsiteX35" fmla="*/ 477421 w 483338"/>
              <a:gd name="connsiteY35" fmla="*/ 60297 h 239019"/>
              <a:gd name="connsiteX36" fmla="*/ 482184 w 483338"/>
              <a:gd name="connsiteY36" fmla="*/ 67440 h 239019"/>
              <a:gd name="connsiteX37" fmla="*/ 472659 w 483338"/>
              <a:gd name="connsiteY37" fmla="*/ 76965 h 239019"/>
              <a:gd name="connsiteX38" fmla="*/ 436940 w 483338"/>
              <a:gd name="connsiteY38" fmla="*/ 79347 h 239019"/>
              <a:gd name="connsiteX39" fmla="*/ 441702 w 483338"/>
              <a:gd name="connsiteY39" fmla="*/ 86490 h 239019"/>
              <a:gd name="connsiteX40" fmla="*/ 451227 w 483338"/>
              <a:gd name="connsiteY40" fmla="*/ 88872 h 239019"/>
              <a:gd name="connsiteX41" fmla="*/ 458371 w 483338"/>
              <a:gd name="connsiteY41" fmla="*/ 91253 h 239019"/>
              <a:gd name="connsiteX42" fmla="*/ 417890 w 483338"/>
              <a:gd name="connsiteY42" fmla="*/ 103159 h 239019"/>
              <a:gd name="connsiteX43" fmla="*/ 410746 w 483338"/>
              <a:gd name="connsiteY43" fmla="*/ 105540 h 239019"/>
              <a:gd name="connsiteX44" fmla="*/ 398840 w 483338"/>
              <a:gd name="connsiteY44" fmla="*/ 117447 h 239019"/>
              <a:gd name="connsiteX45" fmla="*/ 394077 w 483338"/>
              <a:gd name="connsiteY45" fmla="*/ 131734 h 239019"/>
              <a:gd name="connsiteX46" fmla="*/ 377409 w 483338"/>
              <a:gd name="connsiteY46" fmla="*/ 153165 h 239019"/>
              <a:gd name="connsiteX47" fmla="*/ 375027 w 483338"/>
              <a:gd name="connsiteY47" fmla="*/ 160309 h 239019"/>
              <a:gd name="connsiteX48" fmla="*/ 360740 w 483338"/>
              <a:gd name="connsiteY48" fmla="*/ 172215 h 239019"/>
              <a:gd name="connsiteX49" fmla="*/ 353596 w 483338"/>
              <a:gd name="connsiteY49" fmla="*/ 174597 h 239019"/>
              <a:gd name="connsiteX50" fmla="*/ 332165 w 483338"/>
              <a:gd name="connsiteY50" fmla="*/ 172215 h 239019"/>
              <a:gd name="connsiteX51" fmla="*/ 325021 w 483338"/>
              <a:gd name="connsiteY51" fmla="*/ 169834 h 239019"/>
              <a:gd name="connsiteX52" fmla="*/ 272634 w 483338"/>
              <a:gd name="connsiteY52" fmla="*/ 172215 h 239019"/>
              <a:gd name="connsiteX53" fmla="*/ 265490 w 483338"/>
              <a:gd name="connsiteY53" fmla="*/ 174597 h 239019"/>
              <a:gd name="connsiteX54" fmla="*/ 241677 w 483338"/>
              <a:gd name="connsiteY54" fmla="*/ 181740 h 239019"/>
              <a:gd name="connsiteX55" fmla="*/ 232152 w 483338"/>
              <a:gd name="connsiteY55" fmla="*/ 186503 h 239019"/>
              <a:gd name="connsiteX56" fmla="*/ 217865 w 483338"/>
              <a:gd name="connsiteY56" fmla="*/ 191265 h 239019"/>
              <a:gd name="connsiteX57" fmla="*/ 205959 w 483338"/>
              <a:gd name="connsiteY57" fmla="*/ 203172 h 239019"/>
              <a:gd name="connsiteX58" fmla="*/ 201196 w 483338"/>
              <a:gd name="connsiteY58" fmla="*/ 210315 h 239019"/>
              <a:gd name="connsiteX59" fmla="*/ 194052 w 483338"/>
              <a:gd name="connsiteY59" fmla="*/ 215078 h 239019"/>
              <a:gd name="connsiteX60" fmla="*/ 186909 w 483338"/>
              <a:gd name="connsiteY60" fmla="*/ 222222 h 239019"/>
              <a:gd name="connsiteX61" fmla="*/ 177384 w 483338"/>
              <a:gd name="connsiteY61" fmla="*/ 224603 h 239019"/>
              <a:gd name="connsiteX62" fmla="*/ 170240 w 483338"/>
              <a:gd name="connsiteY62" fmla="*/ 226984 h 239019"/>
              <a:gd name="connsiteX63" fmla="*/ 170240 w 483338"/>
              <a:gd name="connsiteY63" fmla="*/ 229365 h 239019"/>
              <a:gd name="connsiteX64" fmla="*/ 153571 w 483338"/>
              <a:gd name="connsiteY64" fmla="*/ 236509 h 239019"/>
              <a:gd name="connsiteX65" fmla="*/ 146427 w 483338"/>
              <a:gd name="connsiteY65" fmla="*/ 238890 h 239019"/>
              <a:gd name="connsiteX66" fmla="*/ 129759 w 483338"/>
              <a:gd name="connsiteY66" fmla="*/ 236509 h 239019"/>
              <a:gd name="connsiteX67" fmla="*/ 127377 w 483338"/>
              <a:gd name="connsiteY67" fmla="*/ 229365 h 239019"/>
              <a:gd name="connsiteX68" fmla="*/ 120234 w 483338"/>
              <a:gd name="connsiteY68" fmla="*/ 224603 h 239019"/>
              <a:gd name="connsiteX69" fmla="*/ 105946 w 483338"/>
              <a:gd name="connsiteY69" fmla="*/ 210315 h 239019"/>
              <a:gd name="connsiteX70" fmla="*/ 94040 w 483338"/>
              <a:gd name="connsiteY70" fmla="*/ 198409 h 239019"/>
              <a:gd name="connsiteX71" fmla="*/ 82134 w 483338"/>
              <a:gd name="connsiteY71" fmla="*/ 186503 h 239019"/>
              <a:gd name="connsiteX72" fmla="*/ 77371 w 483338"/>
              <a:gd name="connsiteY72" fmla="*/ 179359 h 239019"/>
              <a:gd name="connsiteX73" fmla="*/ 70227 w 483338"/>
              <a:gd name="connsiteY73" fmla="*/ 172215 h 239019"/>
              <a:gd name="connsiteX74" fmla="*/ 58321 w 483338"/>
              <a:gd name="connsiteY74" fmla="*/ 160309 h 239019"/>
              <a:gd name="connsiteX75" fmla="*/ 53559 w 483338"/>
              <a:gd name="connsiteY75" fmla="*/ 153165 h 239019"/>
              <a:gd name="connsiteX76" fmla="*/ 46415 w 483338"/>
              <a:gd name="connsiteY76" fmla="*/ 146022 h 239019"/>
              <a:gd name="connsiteX77" fmla="*/ 34509 w 483338"/>
              <a:gd name="connsiteY77" fmla="*/ 124590 h 239019"/>
              <a:gd name="connsiteX78" fmla="*/ 13077 w 483338"/>
              <a:gd name="connsiteY78" fmla="*/ 107922 h 239019"/>
              <a:gd name="connsiteX79" fmla="*/ 8315 w 483338"/>
              <a:gd name="connsiteY79" fmla="*/ 98397 h 239019"/>
              <a:gd name="connsiteX80" fmla="*/ 1171 w 483338"/>
              <a:gd name="connsiteY80" fmla="*/ 93634 h 239019"/>
              <a:gd name="connsiteX81" fmla="*/ 3552 w 483338"/>
              <a:gd name="connsiteY81" fmla="*/ 79347 h 239019"/>
              <a:gd name="connsiteX82" fmla="*/ 10696 w 483338"/>
              <a:gd name="connsiteY82" fmla="*/ 72203 h 239019"/>
              <a:gd name="connsiteX0" fmla="*/ 10696 w 483338"/>
              <a:gd name="connsiteY0" fmla="*/ 72203 h 245112"/>
              <a:gd name="connsiteX1" fmla="*/ 17840 w 483338"/>
              <a:gd name="connsiteY1" fmla="*/ 74584 h 245112"/>
              <a:gd name="connsiteX2" fmla="*/ 55940 w 483338"/>
              <a:gd name="connsiteY2" fmla="*/ 69822 h 245112"/>
              <a:gd name="connsiteX3" fmla="*/ 70227 w 483338"/>
              <a:gd name="connsiteY3" fmla="*/ 65059 h 245112"/>
              <a:gd name="connsiteX4" fmla="*/ 77371 w 483338"/>
              <a:gd name="connsiteY4" fmla="*/ 60297 h 245112"/>
              <a:gd name="connsiteX5" fmla="*/ 86896 w 483338"/>
              <a:gd name="connsiteY5" fmla="*/ 57915 h 245112"/>
              <a:gd name="connsiteX6" fmla="*/ 108327 w 483338"/>
              <a:gd name="connsiteY6" fmla="*/ 50772 h 245112"/>
              <a:gd name="connsiteX7" fmla="*/ 115471 w 483338"/>
              <a:gd name="connsiteY7" fmla="*/ 48390 h 245112"/>
              <a:gd name="connsiteX8" fmla="*/ 146427 w 483338"/>
              <a:gd name="connsiteY8" fmla="*/ 46009 h 245112"/>
              <a:gd name="connsiteX9" fmla="*/ 167859 w 483338"/>
              <a:gd name="connsiteY9" fmla="*/ 38865 h 245112"/>
              <a:gd name="connsiteX10" fmla="*/ 175002 w 483338"/>
              <a:gd name="connsiteY10" fmla="*/ 36484 h 245112"/>
              <a:gd name="connsiteX11" fmla="*/ 196434 w 483338"/>
              <a:gd name="connsiteY11" fmla="*/ 22197 h 245112"/>
              <a:gd name="connsiteX12" fmla="*/ 203577 w 483338"/>
              <a:gd name="connsiteY12" fmla="*/ 17434 h 245112"/>
              <a:gd name="connsiteX13" fmla="*/ 244059 w 483338"/>
              <a:gd name="connsiteY13" fmla="*/ 10290 h 245112"/>
              <a:gd name="connsiteX14" fmla="*/ 310734 w 483338"/>
              <a:gd name="connsiteY14" fmla="*/ 7909 h 245112"/>
              <a:gd name="connsiteX15" fmla="*/ 317877 w 483338"/>
              <a:gd name="connsiteY15" fmla="*/ 12672 h 245112"/>
              <a:gd name="connsiteX16" fmla="*/ 325021 w 483338"/>
              <a:gd name="connsiteY16" fmla="*/ 15053 h 245112"/>
              <a:gd name="connsiteX17" fmla="*/ 327402 w 483338"/>
              <a:gd name="connsiteY17" fmla="*/ 22197 h 245112"/>
              <a:gd name="connsiteX18" fmla="*/ 317877 w 483338"/>
              <a:gd name="connsiteY18" fmla="*/ 36484 h 245112"/>
              <a:gd name="connsiteX19" fmla="*/ 303590 w 483338"/>
              <a:gd name="connsiteY19" fmla="*/ 41247 h 245112"/>
              <a:gd name="connsiteX20" fmla="*/ 298827 w 483338"/>
              <a:gd name="connsiteY20" fmla="*/ 48390 h 245112"/>
              <a:gd name="connsiteX21" fmla="*/ 294065 w 483338"/>
              <a:gd name="connsiteY21" fmla="*/ 62678 h 245112"/>
              <a:gd name="connsiteX22" fmla="*/ 296446 w 483338"/>
              <a:gd name="connsiteY22" fmla="*/ 72203 h 245112"/>
              <a:gd name="connsiteX23" fmla="*/ 303590 w 483338"/>
              <a:gd name="connsiteY23" fmla="*/ 74584 h 245112"/>
              <a:gd name="connsiteX24" fmla="*/ 310734 w 483338"/>
              <a:gd name="connsiteY24" fmla="*/ 79347 h 245112"/>
              <a:gd name="connsiteX25" fmla="*/ 344071 w 483338"/>
              <a:gd name="connsiteY25" fmla="*/ 76965 h 245112"/>
              <a:gd name="connsiteX26" fmla="*/ 348834 w 483338"/>
              <a:gd name="connsiteY26" fmla="*/ 69822 h 245112"/>
              <a:gd name="connsiteX27" fmla="*/ 327402 w 483338"/>
              <a:gd name="connsiteY27" fmla="*/ 57915 h 245112"/>
              <a:gd name="connsiteX28" fmla="*/ 325021 w 483338"/>
              <a:gd name="connsiteY28" fmla="*/ 50772 h 245112"/>
              <a:gd name="connsiteX29" fmla="*/ 334546 w 483338"/>
              <a:gd name="connsiteY29" fmla="*/ 43628 h 245112"/>
              <a:gd name="connsiteX30" fmla="*/ 358359 w 483338"/>
              <a:gd name="connsiteY30" fmla="*/ 36484 h 245112"/>
              <a:gd name="connsiteX31" fmla="*/ 427415 w 483338"/>
              <a:gd name="connsiteY31" fmla="*/ 43628 h 245112"/>
              <a:gd name="connsiteX32" fmla="*/ 427415 w 483338"/>
              <a:gd name="connsiteY32" fmla="*/ 43628 h 245112"/>
              <a:gd name="connsiteX33" fmla="*/ 460752 w 483338"/>
              <a:gd name="connsiteY33" fmla="*/ 50772 h 245112"/>
              <a:gd name="connsiteX34" fmla="*/ 470277 w 483338"/>
              <a:gd name="connsiteY34" fmla="*/ 53153 h 245112"/>
              <a:gd name="connsiteX35" fmla="*/ 477421 w 483338"/>
              <a:gd name="connsiteY35" fmla="*/ 60297 h 245112"/>
              <a:gd name="connsiteX36" fmla="*/ 482184 w 483338"/>
              <a:gd name="connsiteY36" fmla="*/ 67440 h 245112"/>
              <a:gd name="connsiteX37" fmla="*/ 472659 w 483338"/>
              <a:gd name="connsiteY37" fmla="*/ 76965 h 245112"/>
              <a:gd name="connsiteX38" fmla="*/ 436940 w 483338"/>
              <a:gd name="connsiteY38" fmla="*/ 79347 h 245112"/>
              <a:gd name="connsiteX39" fmla="*/ 441702 w 483338"/>
              <a:gd name="connsiteY39" fmla="*/ 86490 h 245112"/>
              <a:gd name="connsiteX40" fmla="*/ 451227 w 483338"/>
              <a:gd name="connsiteY40" fmla="*/ 88872 h 245112"/>
              <a:gd name="connsiteX41" fmla="*/ 458371 w 483338"/>
              <a:gd name="connsiteY41" fmla="*/ 91253 h 245112"/>
              <a:gd name="connsiteX42" fmla="*/ 417890 w 483338"/>
              <a:gd name="connsiteY42" fmla="*/ 103159 h 245112"/>
              <a:gd name="connsiteX43" fmla="*/ 410746 w 483338"/>
              <a:gd name="connsiteY43" fmla="*/ 105540 h 245112"/>
              <a:gd name="connsiteX44" fmla="*/ 398840 w 483338"/>
              <a:gd name="connsiteY44" fmla="*/ 117447 h 245112"/>
              <a:gd name="connsiteX45" fmla="*/ 394077 w 483338"/>
              <a:gd name="connsiteY45" fmla="*/ 131734 h 245112"/>
              <a:gd name="connsiteX46" fmla="*/ 377409 w 483338"/>
              <a:gd name="connsiteY46" fmla="*/ 153165 h 245112"/>
              <a:gd name="connsiteX47" fmla="*/ 375027 w 483338"/>
              <a:gd name="connsiteY47" fmla="*/ 160309 h 245112"/>
              <a:gd name="connsiteX48" fmla="*/ 360740 w 483338"/>
              <a:gd name="connsiteY48" fmla="*/ 172215 h 245112"/>
              <a:gd name="connsiteX49" fmla="*/ 353596 w 483338"/>
              <a:gd name="connsiteY49" fmla="*/ 174597 h 245112"/>
              <a:gd name="connsiteX50" fmla="*/ 332165 w 483338"/>
              <a:gd name="connsiteY50" fmla="*/ 172215 h 245112"/>
              <a:gd name="connsiteX51" fmla="*/ 325021 w 483338"/>
              <a:gd name="connsiteY51" fmla="*/ 169834 h 245112"/>
              <a:gd name="connsiteX52" fmla="*/ 272634 w 483338"/>
              <a:gd name="connsiteY52" fmla="*/ 172215 h 245112"/>
              <a:gd name="connsiteX53" fmla="*/ 265490 w 483338"/>
              <a:gd name="connsiteY53" fmla="*/ 174597 h 245112"/>
              <a:gd name="connsiteX54" fmla="*/ 241677 w 483338"/>
              <a:gd name="connsiteY54" fmla="*/ 181740 h 245112"/>
              <a:gd name="connsiteX55" fmla="*/ 232152 w 483338"/>
              <a:gd name="connsiteY55" fmla="*/ 186503 h 245112"/>
              <a:gd name="connsiteX56" fmla="*/ 217865 w 483338"/>
              <a:gd name="connsiteY56" fmla="*/ 191265 h 245112"/>
              <a:gd name="connsiteX57" fmla="*/ 205959 w 483338"/>
              <a:gd name="connsiteY57" fmla="*/ 203172 h 245112"/>
              <a:gd name="connsiteX58" fmla="*/ 201196 w 483338"/>
              <a:gd name="connsiteY58" fmla="*/ 210315 h 245112"/>
              <a:gd name="connsiteX59" fmla="*/ 194052 w 483338"/>
              <a:gd name="connsiteY59" fmla="*/ 215078 h 245112"/>
              <a:gd name="connsiteX60" fmla="*/ 186909 w 483338"/>
              <a:gd name="connsiteY60" fmla="*/ 222222 h 245112"/>
              <a:gd name="connsiteX61" fmla="*/ 177384 w 483338"/>
              <a:gd name="connsiteY61" fmla="*/ 224603 h 245112"/>
              <a:gd name="connsiteX62" fmla="*/ 170240 w 483338"/>
              <a:gd name="connsiteY62" fmla="*/ 226984 h 245112"/>
              <a:gd name="connsiteX63" fmla="*/ 170240 w 483338"/>
              <a:gd name="connsiteY63" fmla="*/ 229365 h 245112"/>
              <a:gd name="connsiteX64" fmla="*/ 153571 w 483338"/>
              <a:gd name="connsiteY64" fmla="*/ 236509 h 245112"/>
              <a:gd name="connsiteX65" fmla="*/ 146427 w 483338"/>
              <a:gd name="connsiteY65" fmla="*/ 238890 h 245112"/>
              <a:gd name="connsiteX66" fmla="*/ 129759 w 483338"/>
              <a:gd name="connsiteY66" fmla="*/ 236509 h 245112"/>
              <a:gd name="connsiteX67" fmla="*/ 127377 w 483338"/>
              <a:gd name="connsiteY67" fmla="*/ 229365 h 245112"/>
              <a:gd name="connsiteX68" fmla="*/ 120234 w 483338"/>
              <a:gd name="connsiteY68" fmla="*/ 224603 h 245112"/>
              <a:gd name="connsiteX69" fmla="*/ 105946 w 483338"/>
              <a:gd name="connsiteY69" fmla="*/ 210315 h 245112"/>
              <a:gd name="connsiteX70" fmla="*/ 94040 w 483338"/>
              <a:gd name="connsiteY70" fmla="*/ 198409 h 245112"/>
              <a:gd name="connsiteX71" fmla="*/ 82134 w 483338"/>
              <a:gd name="connsiteY71" fmla="*/ 186503 h 245112"/>
              <a:gd name="connsiteX72" fmla="*/ 77371 w 483338"/>
              <a:gd name="connsiteY72" fmla="*/ 179359 h 245112"/>
              <a:gd name="connsiteX73" fmla="*/ 70227 w 483338"/>
              <a:gd name="connsiteY73" fmla="*/ 172215 h 245112"/>
              <a:gd name="connsiteX74" fmla="*/ 58321 w 483338"/>
              <a:gd name="connsiteY74" fmla="*/ 160309 h 245112"/>
              <a:gd name="connsiteX75" fmla="*/ 53559 w 483338"/>
              <a:gd name="connsiteY75" fmla="*/ 153165 h 245112"/>
              <a:gd name="connsiteX76" fmla="*/ 46415 w 483338"/>
              <a:gd name="connsiteY76" fmla="*/ 146022 h 245112"/>
              <a:gd name="connsiteX77" fmla="*/ 34509 w 483338"/>
              <a:gd name="connsiteY77" fmla="*/ 124590 h 245112"/>
              <a:gd name="connsiteX78" fmla="*/ 13077 w 483338"/>
              <a:gd name="connsiteY78" fmla="*/ 107922 h 245112"/>
              <a:gd name="connsiteX79" fmla="*/ 8315 w 483338"/>
              <a:gd name="connsiteY79" fmla="*/ 98397 h 245112"/>
              <a:gd name="connsiteX80" fmla="*/ 1171 w 483338"/>
              <a:gd name="connsiteY80" fmla="*/ 93634 h 245112"/>
              <a:gd name="connsiteX81" fmla="*/ 3552 w 483338"/>
              <a:gd name="connsiteY81" fmla="*/ 79347 h 245112"/>
              <a:gd name="connsiteX82" fmla="*/ 10696 w 483338"/>
              <a:gd name="connsiteY82" fmla="*/ 72203 h 24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83338" h="245112">
                <a:moveTo>
                  <a:pt x="10696" y="72203"/>
                </a:moveTo>
                <a:cubicBezTo>
                  <a:pt x="13077" y="71409"/>
                  <a:pt x="15330" y="74584"/>
                  <a:pt x="17840" y="74584"/>
                </a:cubicBezTo>
                <a:cubicBezTo>
                  <a:pt x="31677" y="74584"/>
                  <a:pt x="43305" y="73613"/>
                  <a:pt x="55940" y="69822"/>
                </a:cubicBezTo>
                <a:cubicBezTo>
                  <a:pt x="60748" y="68379"/>
                  <a:pt x="66050" y="67843"/>
                  <a:pt x="70227" y="65059"/>
                </a:cubicBezTo>
                <a:cubicBezTo>
                  <a:pt x="72608" y="63472"/>
                  <a:pt x="74741" y="61424"/>
                  <a:pt x="77371" y="60297"/>
                </a:cubicBezTo>
                <a:cubicBezTo>
                  <a:pt x="80379" y="59008"/>
                  <a:pt x="83761" y="58855"/>
                  <a:pt x="86896" y="57915"/>
                </a:cubicBezTo>
                <a:cubicBezTo>
                  <a:pt x="86909" y="57911"/>
                  <a:pt x="104748" y="51965"/>
                  <a:pt x="108327" y="50772"/>
                </a:cubicBezTo>
                <a:cubicBezTo>
                  <a:pt x="110708" y="49978"/>
                  <a:pt x="112968" y="48583"/>
                  <a:pt x="115471" y="48390"/>
                </a:cubicBezTo>
                <a:lnTo>
                  <a:pt x="146427" y="46009"/>
                </a:lnTo>
                <a:lnTo>
                  <a:pt x="167859" y="38865"/>
                </a:lnTo>
                <a:cubicBezTo>
                  <a:pt x="170240" y="38071"/>
                  <a:pt x="172914" y="37876"/>
                  <a:pt x="175002" y="36484"/>
                </a:cubicBezTo>
                <a:lnTo>
                  <a:pt x="196434" y="22197"/>
                </a:lnTo>
                <a:cubicBezTo>
                  <a:pt x="198815" y="20610"/>
                  <a:pt x="200862" y="18339"/>
                  <a:pt x="203577" y="17434"/>
                </a:cubicBezTo>
                <a:cubicBezTo>
                  <a:pt x="226183" y="9900"/>
                  <a:pt x="212865" y="13127"/>
                  <a:pt x="244059" y="10290"/>
                </a:cubicBezTo>
                <a:cubicBezTo>
                  <a:pt x="274930" y="0"/>
                  <a:pt x="253331" y="5300"/>
                  <a:pt x="310734" y="7909"/>
                </a:cubicBezTo>
                <a:cubicBezTo>
                  <a:pt x="313115" y="9497"/>
                  <a:pt x="315317" y="11392"/>
                  <a:pt x="317877" y="12672"/>
                </a:cubicBezTo>
                <a:cubicBezTo>
                  <a:pt x="320122" y="13795"/>
                  <a:pt x="323246" y="13278"/>
                  <a:pt x="325021" y="15053"/>
                </a:cubicBezTo>
                <a:cubicBezTo>
                  <a:pt x="326796" y="16828"/>
                  <a:pt x="326608" y="19816"/>
                  <a:pt x="327402" y="22197"/>
                </a:cubicBezTo>
                <a:cubicBezTo>
                  <a:pt x="325032" y="31679"/>
                  <a:pt x="327128" y="32372"/>
                  <a:pt x="317877" y="36484"/>
                </a:cubicBezTo>
                <a:cubicBezTo>
                  <a:pt x="313290" y="38523"/>
                  <a:pt x="303590" y="41247"/>
                  <a:pt x="303590" y="41247"/>
                </a:cubicBezTo>
                <a:cubicBezTo>
                  <a:pt x="302002" y="43628"/>
                  <a:pt x="299989" y="45775"/>
                  <a:pt x="298827" y="48390"/>
                </a:cubicBezTo>
                <a:cubicBezTo>
                  <a:pt x="296788" y="52978"/>
                  <a:pt x="294065" y="62678"/>
                  <a:pt x="294065" y="62678"/>
                </a:cubicBezTo>
                <a:cubicBezTo>
                  <a:pt x="294859" y="65853"/>
                  <a:pt x="294402" y="69647"/>
                  <a:pt x="296446" y="72203"/>
                </a:cubicBezTo>
                <a:cubicBezTo>
                  <a:pt x="298014" y="74163"/>
                  <a:pt x="301345" y="73461"/>
                  <a:pt x="303590" y="74584"/>
                </a:cubicBezTo>
                <a:cubicBezTo>
                  <a:pt x="306150" y="75864"/>
                  <a:pt x="308353" y="77759"/>
                  <a:pt x="310734" y="79347"/>
                </a:cubicBezTo>
                <a:cubicBezTo>
                  <a:pt x="321846" y="78553"/>
                  <a:pt x="333263" y="79667"/>
                  <a:pt x="344071" y="76965"/>
                </a:cubicBezTo>
                <a:cubicBezTo>
                  <a:pt x="346847" y="76271"/>
                  <a:pt x="350254" y="72307"/>
                  <a:pt x="348834" y="69822"/>
                </a:cubicBezTo>
                <a:cubicBezTo>
                  <a:pt x="344982" y="63081"/>
                  <a:pt x="334484" y="60276"/>
                  <a:pt x="327402" y="57915"/>
                </a:cubicBezTo>
                <a:cubicBezTo>
                  <a:pt x="326608" y="55534"/>
                  <a:pt x="323899" y="53017"/>
                  <a:pt x="325021" y="50772"/>
                </a:cubicBezTo>
                <a:cubicBezTo>
                  <a:pt x="326796" y="47222"/>
                  <a:pt x="330996" y="45403"/>
                  <a:pt x="334546" y="43628"/>
                </a:cubicBezTo>
                <a:cubicBezTo>
                  <a:pt x="340346" y="40728"/>
                  <a:pt x="351521" y="38193"/>
                  <a:pt x="358359" y="36484"/>
                </a:cubicBezTo>
                <a:cubicBezTo>
                  <a:pt x="418143" y="39083"/>
                  <a:pt x="395792" y="33086"/>
                  <a:pt x="427415" y="43628"/>
                </a:cubicBezTo>
                <a:lnTo>
                  <a:pt x="427415" y="43628"/>
                </a:lnTo>
                <a:cubicBezTo>
                  <a:pt x="448162" y="47086"/>
                  <a:pt x="437013" y="44837"/>
                  <a:pt x="460752" y="50772"/>
                </a:cubicBezTo>
                <a:lnTo>
                  <a:pt x="470277" y="53153"/>
                </a:lnTo>
                <a:cubicBezTo>
                  <a:pt x="472658" y="55534"/>
                  <a:pt x="475265" y="57710"/>
                  <a:pt x="477421" y="60297"/>
                </a:cubicBezTo>
                <a:cubicBezTo>
                  <a:pt x="479253" y="62495"/>
                  <a:pt x="481714" y="64617"/>
                  <a:pt x="482184" y="67440"/>
                </a:cubicBezTo>
                <a:cubicBezTo>
                  <a:pt x="483338" y="74367"/>
                  <a:pt x="477854" y="76388"/>
                  <a:pt x="472659" y="76965"/>
                </a:cubicBezTo>
                <a:cubicBezTo>
                  <a:pt x="460799" y="78283"/>
                  <a:pt x="448846" y="78553"/>
                  <a:pt x="436940" y="79347"/>
                </a:cubicBezTo>
                <a:cubicBezTo>
                  <a:pt x="438527" y="81728"/>
                  <a:pt x="439321" y="84903"/>
                  <a:pt x="441702" y="86490"/>
                </a:cubicBezTo>
                <a:cubicBezTo>
                  <a:pt x="444425" y="88305"/>
                  <a:pt x="448080" y="87973"/>
                  <a:pt x="451227" y="88872"/>
                </a:cubicBezTo>
                <a:cubicBezTo>
                  <a:pt x="453641" y="89562"/>
                  <a:pt x="455990" y="90459"/>
                  <a:pt x="458371" y="91253"/>
                </a:cubicBezTo>
                <a:cubicBezTo>
                  <a:pt x="436789" y="105641"/>
                  <a:pt x="449784" y="100260"/>
                  <a:pt x="417890" y="103159"/>
                </a:cubicBezTo>
                <a:cubicBezTo>
                  <a:pt x="415509" y="103953"/>
                  <a:pt x="412991" y="104417"/>
                  <a:pt x="410746" y="105540"/>
                </a:cubicBezTo>
                <a:cubicBezTo>
                  <a:pt x="404849" y="108489"/>
                  <a:pt x="401562" y="111323"/>
                  <a:pt x="398840" y="117447"/>
                </a:cubicBezTo>
                <a:cubicBezTo>
                  <a:pt x="396801" y="122034"/>
                  <a:pt x="397626" y="128184"/>
                  <a:pt x="394077" y="131734"/>
                </a:cubicBezTo>
                <a:cubicBezTo>
                  <a:pt x="387914" y="137898"/>
                  <a:pt x="380258" y="144622"/>
                  <a:pt x="377409" y="153165"/>
                </a:cubicBezTo>
                <a:cubicBezTo>
                  <a:pt x="376615" y="155546"/>
                  <a:pt x="376419" y="158220"/>
                  <a:pt x="375027" y="160309"/>
                </a:cubicBezTo>
                <a:cubicBezTo>
                  <a:pt x="372392" y="164262"/>
                  <a:pt x="365135" y="170017"/>
                  <a:pt x="360740" y="172215"/>
                </a:cubicBezTo>
                <a:cubicBezTo>
                  <a:pt x="358495" y="173338"/>
                  <a:pt x="355977" y="173803"/>
                  <a:pt x="353596" y="174597"/>
                </a:cubicBezTo>
                <a:cubicBezTo>
                  <a:pt x="346452" y="173803"/>
                  <a:pt x="339255" y="173397"/>
                  <a:pt x="332165" y="172215"/>
                </a:cubicBezTo>
                <a:cubicBezTo>
                  <a:pt x="329689" y="171802"/>
                  <a:pt x="327531" y="169834"/>
                  <a:pt x="325021" y="169834"/>
                </a:cubicBezTo>
                <a:cubicBezTo>
                  <a:pt x="307541" y="169834"/>
                  <a:pt x="290096" y="171421"/>
                  <a:pt x="272634" y="172215"/>
                </a:cubicBezTo>
                <a:cubicBezTo>
                  <a:pt x="270253" y="173009"/>
                  <a:pt x="267904" y="173907"/>
                  <a:pt x="265490" y="174597"/>
                </a:cubicBezTo>
                <a:cubicBezTo>
                  <a:pt x="257515" y="176876"/>
                  <a:pt x="249221" y="177968"/>
                  <a:pt x="241677" y="181740"/>
                </a:cubicBezTo>
                <a:cubicBezTo>
                  <a:pt x="238502" y="183328"/>
                  <a:pt x="235448" y="185185"/>
                  <a:pt x="232152" y="186503"/>
                </a:cubicBezTo>
                <a:cubicBezTo>
                  <a:pt x="227491" y="188367"/>
                  <a:pt x="217865" y="191265"/>
                  <a:pt x="217865" y="191265"/>
                </a:cubicBezTo>
                <a:cubicBezTo>
                  <a:pt x="205166" y="210313"/>
                  <a:pt x="221831" y="187300"/>
                  <a:pt x="205959" y="203172"/>
                </a:cubicBezTo>
                <a:cubicBezTo>
                  <a:pt x="203935" y="205196"/>
                  <a:pt x="203220" y="208291"/>
                  <a:pt x="201196" y="210315"/>
                </a:cubicBezTo>
                <a:cubicBezTo>
                  <a:pt x="199172" y="212339"/>
                  <a:pt x="196251" y="213246"/>
                  <a:pt x="194052" y="215078"/>
                </a:cubicBezTo>
                <a:cubicBezTo>
                  <a:pt x="191465" y="217234"/>
                  <a:pt x="189833" y="220551"/>
                  <a:pt x="186909" y="222222"/>
                </a:cubicBezTo>
                <a:cubicBezTo>
                  <a:pt x="184068" y="223846"/>
                  <a:pt x="180531" y="223704"/>
                  <a:pt x="177384" y="224603"/>
                </a:cubicBezTo>
                <a:cubicBezTo>
                  <a:pt x="174970" y="225293"/>
                  <a:pt x="172547" y="225995"/>
                  <a:pt x="170240" y="226984"/>
                </a:cubicBezTo>
                <a:cubicBezTo>
                  <a:pt x="169050" y="227778"/>
                  <a:pt x="173018" y="227778"/>
                  <a:pt x="170240" y="229365"/>
                </a:cubicBezTo>
                <a:cubicBezTo>
                  <a:pt x="167462" y="230952"/>
                  <a:pt x="157540" y="234922"/>
                  <a:pt x="153571" y="236509"/>
                </a:cubicBezTo>
                <a:cubicBezTo>
                  <a:pt x="151326" y="237631"/>
                  <a:pt x="145658" y="245112"/>
                  <a:pt x="146427" y="238890"/>
                </a:cubicBezTo>
                <a:cubicBezTo>
                  <a:pt x="140871" y="238096"/>
                  <a:pt x="134779" y="239019"/>
                  <a:pt x="129759" y="236509"/>
                </a:cubicBezTo>
                <a:cubicBezTo>
                  <a:pt x="127514" y="235386"/>
                  <a:pt x="128945" y="231325"/>
                  <a:pt x="127377" y="229365"/>
                </a:cubicBezTo>
                <a:cubicBezTo>
                  <a:pt x="125589" y="227130"/>
                  <a:pt x="122615" y="226190"/>
                  <a:pt x="120234" y="224603"/>
                </a:cubicBezTo>
                <a:cubicBezTo>
                  <a:pt x="109009" y="207767"/>
                  <a:pt x="123669" y="228038"/>
                  <a:pt x="105946" y="210315"/>
                </a:cubicBezTo>
                <a:cubicBezTo>
                  <a:pt x="90071" y="194440"/>
                  <a:pt x="113092" y="211111"/>
                  <a:pt x="94040" y="198409"/>
                </a:cubicBezTo>
                <a:cubicBezTo>
                  <a:pt x="81338" y="179357"/>
                  <a:pt x="98009" y="202378"/>
                  <a:pt x="82134" y="186503"/>
                </a:cubicBezTo>
                <a:cubicBezTo>
                  <a:pt x="80110" y="184479"/>
                  <a:pt x="79203" y="181558"/>
                  <a:pt x="77371" y="179359"/>
                </a:cubicBezTo>
                <a:cubicBezTo>
                  <a:pt x="75215" y="176772"/>
                  <a:pt x="72383" y="174802"/>
                  <a:pt x="70227" y="172215"/>
                </a:cubicBezTo>
                <a:cubicBezTo>
                  <a:pt x="60305" y="160309"/>
                  <a:pt x="71419" y="169041"/>
                  <a:pt x="58321" y="160309"/>
                </a:cubicBezTo>
                <a:cubicBezTo>
                  <a:pt x="56734" y="157928"/>
                  <a:pt x="55391" y="155364"/>
                  <a:pt x="53559" y="153165"/>
                </a:cubicBezTo>
                <a:cubicBezTo>
                  <a:pt x="51403" y="150578"/>
                  <a:pt x="48283" y="148824"/>
                  <a:pt x="46415" y="146022"/>
                </a:cubicBezTo>
                <a:cubicBezTo>
                  <a:pt x="39466" y="135599"/>
                  <a:pt x="51716" y="136061"/>
                  <a:pt x="34509" y="124590"/>
                </a:cubicBezTo>
                <a:cubicBezTo>
                  <a:pt x="17419" y="113197"/>
                  <a:pt x="24269" y="119112"/>
                  <a:pt x="13077" y="107922"/>
                </a:cubicBezTo>
                <a:cubicBezTo>
                  <a:pt x="11490" y="104747"/>
                  <a:pt x="10587" y="101124"/>
                  <a:pt x="8315" y="98397"/>
                </a:cubicBezTo>
                <a:cubicBezTo>
                  <a:pt x="6483" y="96198"/>
                  <a:pt x="1865" y="96411"/>
                  <a:pt x="1171" y="93634"/>
                </a:cubicBezTo>
                <a:cubicBezTo>
                  <a:pt x="0" y="88950"/>
                  <a:pt x="1157" y="83539"/>
                  <a:pt x="3552" y="79347"/>
                </a:cubicBezTo>
                <a:cubicBezTo>
                  <a:pt x="11449" y="65527"/>
                  <a:pt x="8315" y="72997"/>
                  <a:pt x="10696" y="72203"/>
                </a:cubicBezTo>
                <a:close/>
              </a:path>
            </a:pathLst>
          </a:custGeom>
          <a:solidFill>
            <a:schemeClr val="accent3"/>
          </a:solidFill>
          <a:ln w="12700">
            <a:solidFill>
              <a:schemeClr val="bg1"/>
            </a:solidFill>
            <a:round/>
            <a:headEnd/>
            <a:tailEnd/>
          </a:ln>
        </p:spPr>
        <p:txBody>
          <a:bodyPr/>
          <a:lstStyle/>
          <a:p>
            <a:pPr>
              <a:defRPr/>
            </a:pPr>
            <a:endParaRPr lang="nl-NL"/>
          </a:p>
        </p:txBody>
      </p:sp>
      <p:sp>
        <p:nvSpPr>
          <p:cNvPr id="106" name="Freeform 105"/>
          <p:cNvSpPr/>
          <p:nvPr/>
        </p:nvSpPr>
        <p:spPr bwMode="auto">
          <a:xfrm>
            <a:off x="2467810" y="2170113"/>
            <a:ext cx="804496" cy="652462"/>
          </a:xfrm>
          <a:custGeom>
            <a:avLst/>
            <a:gdLst>
              <a:gd name="connsiteX0" fmla="*/ 340815 w 607755"/>
              <a:gd name="connsiteY0" fmla="*/ 154781 h 454818"/>
              <a:gd name="connsiteX1" fmla="*/ 362246 w 607755"/>
              <a:gd name="connsiteY1" fmla="*/ 142875 h 454818"/>
              <a:gd name="connsiteX2" fmla="*/ 369390 w 607755"/>
              <a:gd name="connsiteY2" fmla="*/ 138112 h 454818"/>
              <a:gd name="connsiteX3" fmla="*/ 383678 w 607755"/>
              <a:gd name="connsiteY3" fmla="*/ 135731 h 454818"/>
              <a:gd name="connsiteX4" fmla="*/ 388440 w 607755"/>
              <a:gd name="connsiteY4" fmla="*/ 114300 h 454818"/>
              <a:gd name="connsiteX5" fmla="*/ 393203 w 607755"/>
              <a:gd name="connsiteY5" fmla="*/ 107156 h 454818"/>
              <a:gd name="connsiteX6" fmla="*/ 400346 w 607755"/>
              <a:gd name="connsiteY6" fmla="*/ 90487 h 454818"/>
              <a:gd name="connsiteX7" fmla="*/ 445590 w 607755"/>
              <a:gd name="connsiteY7" fmla="*/ 83343 h 454818"/>
              <a:gd name="connsiteX8" fmla="*/ 459878 w 607755"/>
              <a:gd name="connsiteY8" fmla="*/ 76200 h 454818"/>
              <a:gd name="connsiteX9" fmla="*/ 474165 w 607755"/>
              <a:gd name="connsiteY9" fmla="*/ 71437 h 454818"/>
              <a:gd name="connsiteX10" fmla="*/ 481309 w 607755"/>
              <a:gd name="connsiteY10" fmla="*/ 66675 h 454818"/>
              <a:gd name="connsiteX11" fmla="*/ 502740 w 607755"/>
              <a:gd name="connsiteY11" fmla="*/ 54768 h 454818"/>
              <a:gd name="connsiteX12" fmla="*/ 514646 w 607755"/>
              <a:gd name="connsiteY12" fmla="*/ 40481 h 454818"/>
              <a:gd name="connsiteX13" fmla="*/ 521790 w 607755"/>
              <a:gd name="connsiteY13" fmla="*/ 33337 h 454818"/>
              <a:gd name="connsiteX14" fmla="*/ 531315 w 607755"/>
              <a:gd name="connsiteY14" fmla="*/ 19050 h 454818"/>
              <a:gd name="connsiteX15" fmla="*/ 547984 w 607755"/>
              <a:gd name="connsiteY15" fmla="*/ 11906 h 454818"/>
              <a:gd name="connsiteX16" fmla="*/ 562271 w 607755"/>
              <a:gd name="connsiteY16" fmla="*/ 7143 h 454818"/>
              <a:gd name="connsiteX17" fmla="*/ 576559 w 607755"/>
              <a:gd name="connsiteY17" fmla="*/ 2381 h 454818"/>
              <a:gd name="connsiteX18" fmla="*/ 583703 w 607755"/>
              <a:gd name="connsiteY18" fmla="*/ 0 h 454818"/>
              <a:gd name="connsiteX19" fmla="*/ 590846 w 607755"/>
              <a:gd name="connsiteY19" fmla="*/ 2381 h 454818"/>
              <a:gd name="connsiteX20" fmla="*/ 597990 w 607755"/>
              <a:gd name="connsiteY20" fmla="*/ 33337 h 454818"/>
              <a:gd name="connsiteX21" fmla="*/ 602753 w 607755"/>
              <a:gd name="connsiteY21" fmla="*/ 50006 h 454818"/>
              <a:gd name="connsiteX22" fmla="*/ 607515 w 607755"/>
              <a:gd name="connsiteY22" fmla="*/ 57150 h 454818"/>
              <a:gd name="connsiteX23" fmla="*/ 605134 w 607755"/>
              <a:gd name="connsiteY23" fmla="*/ 95250 h 454818"/>
              <a:gd name="connsiteX24" fmla="*/ 590846 w 607755"/>
              <a:gd name="connsiteY24" fmla="*/ 107156 h 454818"/>
              <a:gd name="connsiteX25" fmla="*/ 569415 w 607755"/>
              <a:gd name="connsiteY25" fmla="*/ 126206 h 454818"/>
              <a:gd name="connsiteX26" fmla="*/ 562271 w 607755"/>
              <a:gd name="connsiteY26" fmla="*/ 140493 h 454818"/>
              <a:gd name="connsiteX27" fmla="*/ 555128 w 607755"/>
              <a:gd name="connsiteY27" fmla="*/ 142875 h 454818"/>
              <a:gd name="connsiteX28" fmla="*/ 536078 w 607755"/>
              <a:gd name="connsiteY28" fmla="*/ 171450 h 454818"/>
              <a:gd name="connsiteX29" fmla="*/ 526553 w 607755"/>
              <a:gd name="connsiteY29" fmla="*/ 185737 h 454818"/>
              <a:gd name="connsiteX30" fmla="*/ 519409 w 607755"/>
              <a:gd name="connsiteY30" fmla="*/ 207168 h 454818"/>
              <a:gd name="connsiteX31" fmla="*/ 517028 w 607755"/>
              <a:gd name="connsiteY31" fmla="*/ 214312 h 454818"/>
              <a:gd name="connsiteX32" fmla="*/ 512265 w 607755"/>
              <a:gd name="connsiteY32" fmla="*/ 221456 h 454818"/>
              <a:gd name="connsiteX33" fmla="*/ 502740 w 607755"/>
              <a:gd name="connsiteY33" fmla="*/ 233362 h 454818"/>
              <a:gd name="connsiteX34" fmla="*/ 493215 w 607755"/>
              <a:gd name="connsiteY34" fmla="*/ 247650 h 454818"/>
              <a:gd name="connsiteX35" fmla="*/ 490834 w 607755"/>
              <a:gd name="connsiteY35" fmla="*/ 261937 h 454818"/>
              <a:gd name="connsiteX36" fmla="*/ 474165 w 607755"/>
              <a:gd name="connsiteY36" fmla="*/ 269081 h 454818"/>
              <a:gd name="connsiteX37" fmla="*/ 459878 w 607755"/>
              <a:gd name="connsiteY37" fmla="*/ 273843 h 454818"/>
              <a:gd name="connsiteX38" fmla="*/ 452734 w 607755"/>
              <a:gd name="connsiteY38" fmla="*/ 276225 h 454818"/>
              <a:gd name="connsiteX39" fmla="*/ 443209 w 607755"/>
              <a:gd name="connsiteY39" fmla="*/ 278606 h 454818"/>
              <a:gd name="connsiteX40" fmla="*/ 436065 w 607755"/>
              <a:gd name="connsiteY40" fmla="*/ 280987 h 454818"/>
              <a:gd name="connsiteX41" fmla="*/ 412253 w 607755"/>
              <a:gd name="connsiteY41" fmla="*/ 283368 h 454818"/>
              <a:gd name="connsiteX42" fmla="*/ 395584 w 607755"/>
              <a:gd name="connsiteY42" fmla="*/ 290512 h 454818"/>
              <a:gd name="connsiteX43" fmla="*/ 388440 w 607755"/>
              <a:gd name="connsiteY43" fmla="*/ 295275 h 454818"/>
              <a:gd name="connsiteX44" fmla="*/ 371771 w 607755"/>
              <a:gd name="connsiteY44" fmla="*/ 300037 h 454818"/>
              <a:gd name="connsiteX45" fmla="*/ 309859 w 607755"/>
              <a:gd name="connsiteY45" fmla="*/ 302418 h 454818"/>
              <a:gd name="connsiteX46" fmla="*/ 312240 w 607755"/>
              <a:gd name="connsiteY46" fmla="*/ 352425 h 454818"/>
              <a:gd name="connsiteX47" fmla="*/ 307478 w 607755"/>
              <a:gd name="connsiteY47" fmla="*/ 359568 h 454818"/>
              <a:gd name="connsiteX48" fmla="*/ 300334 w 607755"/>
              <a:gd name="connsiteY48" fmla="*/ 364331 h 454818"/>
              <a:gd name="connsiteX49" fmla="*/ 276521 w 607755"/>
              <a:gd name="connsiteY49" fmla="*/ 381000 h 454818"/>
              <a:gd name="connsiteX50" fmla="*/ 269378 w 607755"/>
              <a:gd name="connsiteY50" fmla="*/ 385762 h 454818"/>
              <a:gd name="connsiteX51" fmla="*/ 264615 w 607755"/>
              <a:gd name="connsiteY51" fmla="*/ 392906 h 454818"/>
              <a:gd name="connsiteX52" fmla="*/ 257471 w 607755"/>
              <a:gd name="connsiteY52" fmla="*/ 395287 h 454818"/>
              <a:gd name="connsiteX53" fmla="*/ 243184 w 607755"/>
              <a:gd name="connsiteY53" fmla="*/ 402431 h 454818"/>
              <a:gd name="connsiteX54" fmla="*/ 236040 w 607755"/>
              <a:gd name="connsiteY54" fmla="*/ 407193 h 454818"/>
              <a:gd name="connsiteX55" fmla="*/ 214609 w 607755"/>
              <a:gd name="connsiteY55" fmla="*/ 411956 h 454818"/>
              <a:gd name="connsiteX56" fmla="*/ 207465 w 607755"/>
              <a:gd name="connsiteY56" fmla="*/ 416718 h 454818"/>
              <a:gd name="connsiteX57" fmla="*/ 202703 w 607755"/>
              <a:gd name="connsiteY57" fmla="*/ 433387 h 454818"/>
              <a:gd name="connsiteX58" fmla="*/ 178890 w 607755"/>
              <a:gd name="connsiteY58" fmla="*/ 454818 h 454818"/>
              <a:gd name="connsiteX59" fmla="*/ 159840 w 607755"/>
              <a:gd name="connsiteY59" fmla="*/ 450056 h 454818"/>
              <a:gd name="connsiteX60" fmla="*/ 145553 w 607755"/>
              <a:gd name="connsiteY60" fmla="*/ 440531 h 454818"/>
              <a:gd name="connsiteX61" fmla="*/ 138409 w 607755"/>
              <a:gd name="connsiteY61" fmla="*/ 435768 h 454818"/>
              <a:gd name="connsiteX62" fmla="*/ 124121 w 607755"/>
              <a:gd name="connsiteY62" fmla="*/ 428625 h 454818"/>
              <a:gd name="connsiteX63" fmla="*/ 52684 w 607755"/>
              <a:gd name="connsiteY63" fmla="*/ 426243 h 454818"/>
              <a:gd name="connsiteX64" fmla="*/ 55065 w 607755"/>
              <a:gd name="connsiteY64" fmla="*/ 419100 h 454818"/>
              <a:gd name="connsiteX65" fmla="*/ 69353 w 607755"/>
              <a:gd name="connsiteY65" fmla="*/ 407193 h 454818"/>
              <a:gd name="connsiteX66" fmla="*/ 64590 w 607755"/>
              <a:gd name="connsiteY66" fmla="*/ 392906 h 454818"/>
              <a:gd name="connsiteX67" fmla="*/ 36015 w 607755"/>
              <a:gd name="connsiteY67" fmla="*/ 385762 h 454818"/>
              <a:gd name="connsiteX68" fmla="*/ 26490 w 607755"/>
              <a:gd name="connsiteY68" fmla="*/ 383381 h 454818"/>
              <a:gd name="connsiteX69" fmla="*/ 12203 w 607755"/>
              <a:gd name="connsiteY69" fmla="*/ 369093 h 454818"/>
              <a:gd name="connsiteX70" fmla="*/ 2678 w 607755"/>
              <a:gd name="connsiteY70" fmla="*/ 364331 h 454818"/>
              <a:gd name="connsiteX71" fmla="*/ 12203 w 607755"/>
              <a:gd name="connsiteY71" fmla="*/ 347662 h 454818"/>
              <a:gd name="connsiteX72" fmla="*/ 26490 w 607755"/>
              <a:gd name="connsiteY72" fmla="*/ 338137 h 454818"/>
              <a:gd name="connsiteX73" fmla="*/ 33634 w 607755"/>
              <a:gd name="connsiteY73" fmla="*/ 333375 h 454818"/>
              <a:gd name="connsiteX74" fmla="*/ 45540 w 607755"/>
              <a:gd name="connsiteY74" fmla="*/ 321468 h 454818"/>
              <a:gd name="connsiteX75" fmla="*/ 50303 w 607755"/>
              <a:gd name="connsiteY75" fmla="*/ 314325 h 454818"/>
              <a:gd name="connsiteX76" fmla="*/ 66971 w 607755"/>
              <a:gd name="connsiteY76" fmla="*/ 290512 h 454818"/>
              <a:gd name="connsiteX77" fmla="*/ 69353 w 607755"/>
              <a:gd name="connsiteY77" fmla="*/ 283368 h 454818"/>
              <a:gd name="connsiteX78" fmla="*/ 62209 w 607755"/>
              <a:gd name="connsiteY78" fmla="*/ 269081 h 454818"/>
              <a:gd name="connsiteX79" fmla="*/ 66971 w 607755"/>
              <a:gd name="connsiteY79" fmla="*/ 254793 h 454818"/>
              <a:gd name="connsiteX80" fmla="*/ 74115 w 607755"/>
              <a:gd name="connsiteY80" fmla="*/ 252412 h 454818"/>
              <a:gd name="connsiteX81" fmla="*/ 86021 w 607755"/>
              <a:gd name="connsiteY81" fmla="*/ 240506 h 454818"/>
              <a:gd name="connsiteX82" fmla="*/ 90784 w 607755"/>
              <a:gd name="connsiteY82" fmla="*/ 233362 h 454818"/>
              <a:gd name="connsiteX83" fmla="*/ 112215 w 607755"/>
              <a:gd name="connsiteY83" fmla="*/ 216693 h 454818"/>
              <a:gd name="connsiteX84" fmla="*/ 119359 w 607755"/>
              <a:gd name="connsiteY84" fmla="*/ 214312 h 454818"/>
              <a:gd name="connsiteX85" fmla="*/ 126503 w 607755"/>
              <a:gd name="connsiteY85" fmla="*/ 207168 h 454818"/>
              <a:gd name="connsiteX86" fmla="*/ 131265 w 607755"/>
              <a:gd name="connsiteY86" fmla="*/ 200025 h 454818"/>
              <a:gd name="connsiteX87" fmla="*/ 138409 w 607755"/>
              <a:gd name="connsiteY87" fmla="*/ 195262 h 454818"/>
              <a:gd name="connsiteX88" fmla="*/ 140790 w 607755"/>
              <a:gd name="connsiteY88" fmla="*/ 188118 h 454818"/>
              <a:gd name="connsiteX89" fmla="*/ 157459 w 607755"/>
              <a:gd name="connsiteY89" fmla="*/ 188118 h 454818"/>
              <a:gd name="connsiteX90" fmla="*/ 164603 w 607755"/>
              <a:gd name="connsiteY90" fmla="*/ 197643 h 454818"/>
              <a:gd name="connsiteX91" fmla="*/ 174128 w 607755"/>
              <a:gd name="connsiteY91" fmla="*/ 202406 h 454818"/>
              <a:gd name="connsiteX92" fmla="*/ 209846 w 607755"/>
              <a:gd name="connsiteY92" fmla="*/ 207168 h 454818"/>
              <a:gd name="connsiteX93" fmla="*/ 216990 w 607755"/>
              <a:gd name="connsiteY93" fmla="*/ 214312 h 454818"/>
              <a:gd name="connsiteX94" fmla="*/ 228896 w 607755"/>
              <a:gd name="connsiteY94" fmla="*/ 226218 h 454818"/>
              <a:gd name="connsiteX95" fmla="*/ 231278 w 607755"/>
              <a:gd name="connsiteY95" fmla="*/ 233362 h 454818"/>
              <a:gd name="connsiteX96" fmla="*/ 236040 w 607755"/>
              <a:gd name="connsiteY96" fmla="*/ 240506 h 454818"/>
              <a:gd name="connsiteX97" fmla="*/ 243184 w 607755"/>
              <a:gd name="connsiteY97" fmla="*/ 254793 h 454818"/>
              <a:gd name="connsiteX98" fmla="*/ 250328 w 607755"/>
              <a:gd name="connsiteY98" fmla="*/ 259556 h 454818"/>
              <a:gd name="connsiteX99" fmla="*/ 264615 w 607755"/>
              <a:gd name="connsiteY99" fmla="*/ 264318 h 454818"/>
              <a:gd name="connsiteX100" fmla="*/ 312240 w 607755"/>
              <a:gd name="connsiteY100" fmla="*/ 254793 h 454818"/>
              <a:gd name="connsiteX101" fmla="*/ 314621 w 607755"/>
              <a:gd name="connsiteY101" fmla="*/ 233362 h 454818"/>
              <a:gd name="connsiteX102" fmla="*/ 317003 w 607755"/>
              <a:gd name="connsiteY102" fmla="*/ 226218 h 454818"/>
              <a:gd name="connsiteX103" fmla="*/ 324146 w 607755"/>
              <a:gd name="connsiteY103" fmla="*/ 192881 h 454818"/>
              <a:gd name="connsiteX104" fmla="*/ 328909 w 607755"/>
              <a:gd name="connsiteY104" fmla="*/ 185737 h 454818"/>
              <a:gd name="connsiteX105" fmla="*/ 333671 w 607755"/>
              <a:gd name="connsiteY105" fmla="*/ 161925 h 454818"/>
              <a:gd name="connsiteX106" fmla="*/ 336053 w 607755"/>
              <a:gd name="connsiteY106" fmla="*/ 154781 h 454818"/>
              <a:gd name="connsiteX107" fmla="*/ 340815 w 607755"/>
              <a:gd name="connsiteY107" fmla="*/ 154781 h 454818"/>
              <a:gd name="connsiteX0" fmla="*/ 340815 w 607755"/>
              <a:gd name="connsiteY0" fmla="*/ 154781 h 454818"/>
              <a:gd name="connsiteX1" fmla="*/ 362246 w 607755"/>
              <a:gd name="connsiteY1" fmla="*/ 142875 h 454818"/>
              <a:gd name="connsiteX2" fmla="*/ 369390 w 607755"/>
              <a:gd name="connsiteY2" fmla="*/ 138112 h 454818"/>
              <a:gd name="connsiteX3" fmla="*/ 383678 w 607755"/>
              <a:gd name="connsiteY3" fmla="*/ 135731 h 454818"/>
              <a:gd name="connsiteX4" fmla="*/ 388440 w 607755"/>
              <a:gd name="connsiteY4" fmla="*/ 114300 h 454818"/>
              <a:gd name="connsiteX5" fmla="*/ 393203 w 607755"/>
              <a:gd name="connsiteY5" fmla="*/ 107156 h 454818"/>
              <a:gd name="connsiteX6" fmla="*/ 400346 w 607755"/>
              <a:gd name="connsiteY6" fmla="*/ 90487 h 454818"/>
              <a:gd name="connsiteX7" fmla="*/ 445590 w 607755"/>
              <a:gd name="connsiteY7" fmla="*/ 83343 h 454818"/>
              <a:gd name="connsiteX8" fmla="*/ 459878 w 607755"/>
              <a:gd name="connsiteY8" fmla="*/ 76200 h 454818"/>
              <a:gd name="connsiteX9" fmla="*/ 474165 w 607755"/>
              <a:gd name="connsiteY9" fmla="*/ 71437 h 454818"/>
              <a:gd name="connsiteX10" fmla="*/ 481309 w 607755"/>
              <a:gd name="connsiteY10" fmla="*/ 66675 h 454818"/>
              <a:gd name="connsiteX11" fmla="*/ 502740 w 607755"/>
              <a:gd name="connsiteY11" fmla="*/ 54768 h 454818"/>
              <a:gd name="connsiteX12" fmla="*/ 514646 w 607755"/>
              <a:gd name="connsiteY12" fmla="*/ 40481 h 454818"/>
              <a:gd name="connsiteX13" fmla="*/ 521790 w 607755"/>
              <a:gd name="connsiteY13" fmla="*/ 33337 h 454818"/>
              <a:gd name="connsiteX14" fmla="*/ 531315 w 607755"/>
              <a:gd name="connsiteY14" fmla="*/ 19050 h 454818"/>
              <a:gd name="connsiteX15" fmla="*/ 547984 w 607755"/>
              <a:gd name="connsiteY15" fmla="*/ 11906 h 454818"/>
              <a:gd name="connsiteX16" fmla="*/ 562271 w 607755"/>
              <a:gd name="connsiteY16" fmla="*/ 7143 h 454818"/>
              <a:gd name="connsiteX17" fmla="*/ 576559 w 607755"/>
              <a:gd name="connsiteY17" fmla="*/ 2381 h 454818"/>
              <a:gd name="connsiteX18" fmla="*/ 583703 w 607755"/>
              <a:gd name="connsiteY18" fmla="*/ 0 h 454818"/>
              <a:gd name="connsiteX19" fmla="*/ 590846 w 607755"/>
              <a:gd name="connsiteY19" fmla="*/ 2381 h 454818"/>
              <a:gd name="connsiteX20" fmla="*/ 597990 w 607755"/>
              <a:gd name="connsiteY20" fmla="*/ 33337 h 454818"/>
              <a:gd name="connsiteX21" fmla="*/ 602753 w 607755"/>
              <a:gd name="connsiteY21" fmla="*/ 50006 h 454818"/>
              <a:gd name="connsiteX22" fmla="*/ 607515 w 607755"/>
              <a:gd name="connsiteY22" fmla="*/ 57150 h 454818"/>
              <a:gd name="connsiteX23" fmla="*/ 605134 w 607755"/>
              <a:gd name="connsiteY23" fmla="*/ 95250 h 454818"/>
              <a:gd name="connsiteX24" fmla="*/ 590846 w 607755"/>
              <a:gd name="connsiteY24" fmla="*/ 107156 h 454818"/>
              <a:gd name="connsiteX25" fmla="*/ 569415 w 607755"/>
              <a:gd name="connsiteY25" fmla="*/ 126206 h 454818"/>
              <a:gd name="connsiteX26" fmla="*/ 562271 w 607755"/>
              <a:gd name="connsiteY26" fmla="*/ 140493 h 454818"/>
              <a:gd name="connsiteX27" fmla="*/ 555128 w 607755"/>
              <a:gd name="connsiteY27" fmla="*/ 142875 h 454818"/>
              <a:gd name="connsiteX28" fmla="*/ 536078 w 607755"/>
              <a:gd name="connsiteY28" fmla="*/ 171450 h 454818"/>
              <a:gd name="connsiteX29" fmla="*/ 526553 w 607755"/>
              <a:gd name="connsiteY29" fmla="*/ 185737 h 454818"/>
              <a:gd name="connsiteX30" fmla="*/ 519409 w 607755"/>
              <a:gd name="connsiteY30" fmla="*/ 207168 h 454818"/>
              <a:gd name="connsiteX31" fmla="*/ 517028 w 607755"/>
              <a:gd name="connsiteY31" fmla="*/ 214312 h 454818"/>
              <a:gd name="connsiteX32" fmla="*/ 512265 w 607755"/>
              <a:gd name="connsiteY32" fmla="*/ 221456 h 454818"/>
              <a:gd name="connsiteX33" fmla="*/ 502740 w 607755"/>
              <a:gd name="connsiteY33" fmla="*/ 233362 h 454818"/>
              <a:gd name="connsiteX34" fmla="*/ 493215 w 607755"/>
              <a:gd name="connsiteY34" fmla="*/ 247650 h 454818"/>
              <a:gd name="connsiteX35" fmla="*/ 490834 w 607755"/>
              <a:gd name="connsiteY35" fmla="*/ 261937 h 454818"/>
              <a:gd name="connsiteX36" fmla="*/ 474165 w 607755"/>
              <a:gd name="connsiteY36" fmla="*/ 269081 h 454818"/>
              <a:gd name="connsiteX37" fmla="*/ 459878 w 607755"/>
              <a:gd name="connsiteY37" fmla="*/ 273843 h 454818"/>
              <a:gd name="connsiteX38" fmla="*/ 452734 w 607755"/>
              <a:gd name="connsiteY38" fmla="*/ 276225 h 454818"/>
              <a:gd name="connsiteX39" fmla="*/ 443209 w 607755"/>
              <a:gd name="connsiteY39" fmla="*/ 278606 h 454818"/>
              <a:gd name="connsiteX40" fmla="*/ 436065 w 607755"/>
              <a:gd name="connsiteY40" fmla="*/ 280987 h 454818"/>
              <a:gd name="connsiteX41" fmla="*/ 412253 w 607755"/>
              <a:gd name="connsiteY41" fmla="*/ 283368 h 454818"/>
              <a:gd name="connsiteX42" fmla="*/ 395584 w 607755"/>
              <a:gd name="connsiteY42" fmla="*/ 290512 h 454818"/>
              <a:gd name="connsiteX43" fmla="*/ 388440 w 607755"/>
              <a:gd name="connsiteY43" fmla="*/ 295275 h 454818"/>
              <a:gd name="connsiteX44" fmla="*/ 371771 w 607755"/>
              <a:gd name="connsiteY44" fmla="*/ 300037 h 454818"/>
              <a:gd name="connsiteX45" fmla="*/ 309859 w 607755"/>
              <a:gd name="connsiteY45" fmla="*/ 302418 h 454818"/>
              <a:gd name="connsiteX46" fmla="*/ 312240 w 607755"/>
              <a:gd name="connsiteY46" fmla="*/ 352425 h 454818"/>
              <a:gd name="connsiteX47" fmla="*/ 307478 w 607755"/>
              <a:gd name="connsiteY47" fmla="*/ 359568 h 454818"/>
              <a:gd name="connsiteX48" fmla="*/ 300334 w 607755"/>
              <a:gd name="connsiteY48" fmla="*/ 364331 h 454818"/>
              <a:gd name="connsiteX49" fmla="*/ 276521 w 607755"/>
              <a:gd name="connsiteY49" fmla="*/ 381000 h 454818"/>
              <a:gd name="connsiteX50" fmla="*/ 269378 w 607755"/>
              <a:gd name="connsiteY50" fmla="*/ 385762 h 454818"/>
              <a:gd name="connsiteX51" fmla="*/ 264615 w 607755"/>
              <a:gd name="connsiteY51" fmla="*/ 392906 h 454818"/>
              <a:gd name="connsiteX52" fmla="*/ 257471 w 607755"/>
              <a:gd name="connsiteY52" fmla="*/ 395287 h 454818"/>
              <a:gd name="connsiteX53" fmla="*/ 243184 w 607755"/>
              <a:gd name="connsiteY53" fmla="*/ 402431 h 454818"/>
              <a:gd name="connsiteX54" fmla="*/ 236040 w 607755"/>
              <a:gd name="connsiteY54" fmla="*/ 407193 h 454818"/>
              <a:gd name="connsiteX55" fmla="*/ 214609 w 607755"/>
              <a:gd name="connsiteY55" fmla="*/ 411956 h 454818"/>
              <a:gd name="connsiteX56" fmla="*/ 207465 w 607755"/>
              <a:gd name="connsiteY56" fmla="*/ 416718 h 454818"/>
              <a:gd name="connsiteX57" fmla="*/ 202703 w 607755"/>
              <a:gd name="connsiteY57" fmla="*/ 433387 h 454818"/>
              <a:gd name="connsiteX58" fmla="*/ 178890 w 607755"/>
              <a:gd name="connsiteY58" fmla="*/ 454818 h 454818"/>
              <a:gd name="connsiteX59" fmla="*/ 159840 w 607755"/>
              <a:gd name="connsiteY59" fmla="*/ 450056 h 454818"/>
              <a:gd name="connsiteX60" fmla="*/ 145553 w 607755"/>
              <a:gd name="connsiteY60" fmla="*/ 440531 h 454818"/>
              <a:gd name="connsiteX61" fmla="*/ 138409 w 607755"/>
              <a:gd name="connsiteY61" fmla="*/ 435768 h 454818"/>
              <a:gd name="connsiteX62" fmla="*/ 124121 w 607755"/>
              <a:gd name="connsiteY62" fmla="*/ 428625 h 454818"/>
              <a:gd name="connsiteX63" fmla="*/ 52684 w 607755"/>
              <a:gd name="connsiteY63" fmla="*/ 426243 h 454818"/>
              <a:gd name="connsiteX64" fmla="*/ 55065 w 607755"/>
              <a:gd name="connsiteY64" fmla="*/ 419100 h 454818"/>
              <a:gd name="connsiteX65" fmla="*/ 69353 w 607755"/>
              <a:gd name="connsiteY65" fmla="*/ 407193 h 454818"/>
              <a:gd name="connsiteX66" fmla="*/ 64590 w 607755"/>
              <a:gd name="connsiteY66" fmla="*/ 392906 h 454818"/>
              <a:gd name="connsiteX67" fmla="*/ 36015 w 607755"/>
              <a:gd name="connsiteY67" fmla="*/ 385762 h 454818"/>
              <a:gd name="connsiteX68" fmla="*/ 26490 w 607755"/>
              <a:gd name="connsiteY68" fmla="*/ 383381 h 454818"/>
              <a:gd name="connsiteX69" fmla="*/ 12203 w 607755"/>
              <a:gd name="connsiteY69" fmla="*/ 369093 h 454818"/>
              <a:gd name="connsiteX70" fmla="*/ 2678 w 607755"/>
              <a:gd name="connsiteY70" fmla="*/ 364331 h 454818"/>
              <a:gd name="connsiteX71" fmla="*/ 12203 w 607755"/>
              <a:gd name="connsiteY71" fmla="*/ 347662 h 454818"/>
              <a:gd name="connsiteX72" fmla="*/ 26490 w 607755"/>
              <a:gd name="connsiteY72" fmla="*/ 338137 h 454818"/>
              <a:gd name="connsiteX73" fmla="*/ 33634 w 607755"/>
              <a:gd name="connsiteY73" fmla="*/ 333375 h 454818"/>
              <a:gd name="connsiteX74" fmla="*/ 45540 w 607755"/>
              <a:gd name="connsiteY74" fmla="*/ 321468 h 454818"/>
              <a:gd name="connsiteX75" fmla="*/ 66971 w 607755"/>
              <a:gd name="connsiteY75" fmla="*/ 290512 h 454818"/>
              <a:gd name="connsiteX76" fmla="*/ 69353 w 607755"/>
              <a:gd name="connsiteY76" fmla="*/ 283368 h 454818"/>
              <a:gd name="connsiteX77" fmla="*/ 62209 w 607755"/>
              <a:gd name="connsiteY77" fmla="*/ 269081 h 454818"/>
              <a:gd name="connsiteX78" fmla="*/ 66971 w 607755"/>
              <a:gd name="connsiteY78" fmla="*/ 254793 h 454818"/>
              <a:gd name="connsiteX79" fmla="*/ 74115 w 607755"/>
              <a:gd name="connsiteY79" fmla="*/ 252412 h 454818"/>
              <a:gd name="connsiteX80" fmla="*/ 86021 w 607755"/>
              <a:gd name="connsiteY80" fmla="*/ 240506 h 454818"/>
              <a:gd name="connsiteX81" fmla="*/ 90784 w 607755"/>
              <a:gd name="connsiteY81" fmla="*/ 233362 h 454818"/>
              <a:gd name="connsiteX82" fmla="*/ 112215 w 607755"/>
              <a:gd name="connsiteY82" fmla="*/ 216693 h 454818"/>
              <a:gd name="connsiteX83" fmla="*/ 119359 w 607755"/>
              <a:gd name="connsiteY83" fmla="*/ 214312 h 454818"/>
              <a:gd name="connsiteX84" fmla="*/ 126503 w 607755"/>
              <a:gd name="connsiteY84" fmla="*/ 207168 h 454818"/>
              <a:gd name="connsiteX85" fmla="*/ 131265 w 607755"/>
              <a:gd name="connsiteY85" fmla="*/ 200025 h 454818"/>
              <a:gd name="connsiteX86" fmla="*/ 138409 w 607755"/>
              <a:gd name="connsiteY86" fmla="*/ 195262 h 454818"/>
              <a:gd name="connsiteX87" fmla="*/ 140790 w 607755"/>
              <a:gd name="connsiteY87" fmla="*/ 188118 h 454818"/>
              <a:gd name="connsiteX88" fmla="*/ 157459 w 607755"/>
              <a:gd name="connsiteY88" fmla="*/ 188118 h 454818"/>
              <a:gd name="connsiteX89" fmla="*/ 164603 w 607755"/>
              <a:gd name="connsiteY89" fmla="*/ 197643 h 454818"/>
              <a:gd name="connsiteX90" fmla="*/ 174128 w 607755"/>
              <a:gd name="connsiteY90" fmla="*/ 202406 h 454818"/>
              <a:gd name="connsiteX91" fmla="*/ 209846 w 607755"/>
              <a:gd name="connsiteY91" fmla="*/ 207168 h 454818"/>
              <a:gd name="connsiteX92" fmla="*/ 216990 w 607755"/>
              <a:gd name="connsiteY92" fmla="*/ 214312 h 454818"/>
              <a:gd name="connsiteX93" fmla="*/ 228896 w 607755"/>
              <a:gd name="connsiteY93" fmla="*/ 226218 h 454818"/>
              <a:gd name="connsiteX94" fmla="*/ 231278 w 607755"/>
              <a:gd name="connsiteY94" fmla="*/ 233362 h 454818"/>
              <a:gd name="connsiteX95" fmla="*/ 236040 w 607755"/>
              <a:gd name="connsiteY95" fmla="*/ 240506 h 454818"/>
              <a:gd name="connsiteX96" fmla="*/ 243184 w 607755"/>
              <a:gd name="connsiteY96" fmla="*/ 254793 h 454818"/>
              <a:gd name="connsiteX97" fmla="*/ 250328 w 607755"/>
              <a:gd name="connsiteY97" fmla="*/ 259556 h 454818"/>
              <a:gd name="connsiteX98" fmla="*/ 264615 w 607755"/>
              <a:gd name="connsiteY98" fmla="*/ 264318 h 454818"/>
              <a:gd name="connsiteX99" fmla="*/ 312240 w 607755"/>
              <a:gd name="connsiteY99" fmla="*/ 254793 h 454818"/>
              <a:gd name="connsiteX100" fmla="*/ 314621 w 607755"/>
              <a:gd name="connsiteY100" fmla="*/ 233362 h 454818"/>
              <a:gd name="connsiteX101" fmla="*/ 317003 w 607755"/>
              <a:gd name="connsiteY101" fmla="*/ 226218 h 454818"/>
              <a:gd name="connsiteX102" fmla="*/ 324146 w 607755"/>
              <a:gd name="connsiteY102" fmla="*/ 192881 h 454818"/>
              <a:gd name="connsiteX103" fmla="*/ 328909 w 607755"/>
              <a:gd name="connsiteY103" fmla="*/ 185737 h 454818"/>
              <a:gd name="connsiteX104" fmla="*/ 333671 w 607755"/>
              <a:gd name="connsiteY104" fmla="*/ 161925 h 454818"/>
              <a:gd name="connsiteX105" fmla="*/ 336053 w 607755"/>
              <a:gd name="connsiteY105" fmla="*/ 154781 h 454818"/>
              <a:gd name="connsiteX106" fmla="*/ 340815 w 607755"/>
              <a:gd name="connsiteY106" fmla="*/ 154781 h 454818"/>
              <a:gd name="connsiteX0" fmla="*/ 340815 w 607755"/>
              <a:gd name="connsiteY0" fmla="*/ 154781 h 454818"/>
              <a:gd name="connsiteX1" fmla="*/ 362246 w 607755"/>
              <a:gd name="connsiteY1" fmla="*/ 142875 h 454818"/>
              <a:gd name="connsiteX2" fmla="*/ 369390 w 607755"/>
              <a:gd name="connsiteY2" fmla="*/ 138112 h 454818"/>
              <a:gd name="connsiteX3" fmla="*/ 383678 w 607755"/>
              <a:gd name="connsiteY3" fmla="*/ 135731 h 454818"/>
              <a:gd name="connsiteX4" fmla="*/ 388440 w 607755"/>
              <a:gd name="connsiteY4" fmla="*/ 114300 h 454818"/>
              <a:gd name="connsiteX5" fmla="*/ 393203 w 607755"/>
              <a:gd name="connsiteY5" fmla="*/ 107156 h 454818"/>
              <a:gd name="connsiteX6" fmla="*/ 400346 w 607755"/>
              <a:gd name="connsiteY6" fmla="*/ 90487 h 454818"/>
              <a:gd name="connsiteX7" fmla="*/ 445590 w 607755"/>
              <a:gd name="connsiteY7" fmla="*/ 83343 h 454818"/>
              <a:gd name="connsiteX8" fmla="*/ 459878 w 607755"/>
              <a:gd name="connsiteY8" fmla="*/ 76200 h 454818"/>
              <a:gd name="connsiteX9" fmla="*/ 474165 w 607755"/>
              <a:gd name="connsiteY9" fmla="*/ 71437 h 454818"/>
              <a:gd name="connsiteX10" fmla="*/ 481309 w 607755"/>
              <a:gd name="connsiteY10" fmla="*/ 66675 h 454818"/>
              <a:gd name="connsiteX11" fmla="*/ 502740 w 607755"/>
              <a:gd name="connsiteY11" fmla="*/ 54768 h 454818"/>
              <a:gd name="connsiteX12" fmla="*/ 514646 w 607755"/>
              <a:gd name="connsiteY12" fmla="*/ 40481 h 454818"/>
              <a:gd name="connsiteX13" fmla="*/ 521790 w 607755"/>
              <a:gd name="connsiteY13" fmla="*/ 33337 h 454818"/>
              <a:gd name="connsiteX14" fmla="*/ 531315 w 607755"/>
              <a:gd name="connsiteY14" fmla="*/ 19050 h 454818"/>
              <a:gd name="connsiteX15" fmla="*/ 547984 w 607755"/>
              <a:gd name="connsiteY15" fmla="*/ 11906 h 454818"/>
              <a:gd name="connsiteX16" fmla="*/ 562271 w 607755"/>
              <a:gd name="connsiteY16" fmla="*/ 7143 h 454818"/>
              <a:gd name="connsiteX17" fmla="*/ 576559 w 607755"/>
              <a:gd name="connsiteY17" fmla="*/ 2381 h 454818"/>
              <a:gd name="connsiteX18" fmla="*/ 583703 w 607755"/>
              <a:gd name="connsiteY18" fmla="*/ 0 h 454818"/>
              <a:gd name="connsiteX19" fmla="*/ 590846 w 607755"/>
              <a:gd name="connsiteY19" fmla="*/ 2381 h 454818"/>
              <a:gd name="connsiteX20" fmla="*/ 597990 w 607755"/>
              <a:gd name="connsiteY20" fmla="*/ 33337 h 454818"/>
              <a:gd name="connsiteX21" fmla="*/ 602753 w 607755"/>
              <a:gd name="connsiteY21" fmla="*/ 50006 h 454818"/>
              <a:gd name="connsiteX22" fmla="*/ 607515 w 607755"/>
              <a:gd name="connsiteY22" fmla="*/ 57150 h 454818"/>
              <a:gd name="connsiteX23" fmla="*/ 605134 w 607755"/>
              <a:gd name="connsiteY23" fmla="*/ 95250 h 454818"/>
              <a:gd name="connsiteX24" fmla="*/ 590846 w 607755"/>
              <a:gd name="connsiteY24" fmla="*/ 107156 h 454818"/>
              <a:gd name="connsiteX25" fmla="*/ 569415 w 607755"/>
              <a:gd name="connsiteY25" fmla="*/ 126206 h 454818"/>
              <a:gd name="connsiteX26" fmla="*/ 562271 w 607755"/>
              <a:gd name="connsiteY26" fmla="*/ 140493 h 454818"/>
              <a:gd name="connsiteX27" fmla="*/ 555128 w 607755"/>
              <a:gd name="connsiteY27" fmla="*/ 142875 h 454818"/>
              <a:gd name="connsiteX28" fmla="*/ 536078 w 607755"/>
              <a:gd name="connsiteY28" fmla="*/ 171450 h 454818"/>
              <a:gd name="connsiteX29" fmla="*/ 526553 w 607755"/>
              <a:gd name="connsiteY29" fmla="*/ 185737 h 454818"/>
              <a:gd name="connsiteX30" fmla="*/ 519409 w 607755"/>
              <a:gd name="connsiteY30" fmla="*/ 207168 h 454818"/>
              <a:gd name="connsiteX31" fmla="*/ 517028 w 607755"/>
              <a:gd name="connsiteY31" fmla="*/ 214312 h 454818"/>
              <a:gd name="connsiteX32" fmla="*/ 512265 w 607755"/>
              <a:gd name="connsiteY32" fmla="*/ 221456 h 454818"/>
              <a:gd name="connsiteX33" fmla="*/ 502740 w 607755"/>
              <a:gd name="connsiteY33" fmla="*/ 233362 h 454818"/>
              <a:gd name="connsiteX34" fmla="*/ 493215 w 607755"/>
              <a:gd name="connsiteY34" fmla="*/ 247650 h 454818"/>
              <a:gd name="connsiteX35" fmla="*/ 490834 w 607755"/>
              <a:gd name="connsiteY35" fmla="*/ 261937 h 454818"/>
              <a:gd name="connsiteX36" fmla="*/ 474165 w 607755"/>
              <a:gd name="connsiteY36" fmla="*/ 269081 h 454818"/>
              <a:gd name="connsiteX37" fmla="*/ 459878 w 607755"/>
              <a:gd name="connsiteY37" fmla="*/ 273843 h 454818"/>
              <a:gd name="connsiteX38" fmla="*/ 452734 w 607755"/>
              <a:gd name="connsiteY38" fmla="*/ 276225 h 454818"/>
              <a:gd name="connsiteX39" fmla="*/ 443209 w 607755"/>
              <a:gd name="connsiteY39" fmla="*/ 278606 h 454818"/>
              <a:gd name="connsiteX40" fmla="*/ 436065 w 607755"/>
              <a:gd name="connsiteY40" fmla="*/ 280987 h 454818"/>
              <a:gd name="connsiteX41" fmla="*/ 412253 w 607755"/>
              <a:gd name="connsiteY41" fmla="*/ 283368 h 454818"/>
              <a:gd name="connsiteX42" fmla="*/ 395584 w 607755"/>
              <a:gd name="connsiteY42" fmla="*/ 290512 h 454818"/>
              <a:gd name="connsiteX43" fmla="*/ 388440 w 607755"/>
              <a:gd name="connsiteY43" fmla="*/ 295275 h 454818"/>
              <a:gd name="connsiteX44" fmla="*/ 371771 w 607755"/>
              <a:gd name="connsiteY44" fmla="*/ 300037 h 454818"/>
              <a:gd name="connsiteX45" fmla="*/ 309859 w 607755"/>
              <a:gd name="connsiteY45" fmla="*/ 302418 h 454818"/>
              <a:gd name="connsiteX46" fmla="*/ 312240 w 607755"/>
              <a:gd name="connsiteY46" fmla="*/ 352425 h 454818"/>
              <a:gd name="connsiteX47" fmla="*/ 307478 w 607755"/>
              <a:gd name="connsiteY47" fmla="*/ 359568 h 454818"/>
              <a:gd name="connsiteX48" fmla="*/ 300334 w 607755"/>
              <a:gd name="connsiteY48" fmla="*/ 364331 h 454818"/>
              <a:gd name="connsiteX49" fmla="*/ 276521 w 607755"/>
              <a:gd name="connsiteY49" fmla="*/ 381000 h 454818"/>
              <a:gd name="connsiteX50" fmla="*/ 269378 w 607755"/>
              <a:gd name="connsiteY50" fmla="*/ 385762 h 454818"/>
              <a:gd name="connsiteX51" fmla="*/ 264615 w 607755"/>
              <a:gd name="connsiteY51" fmla="*/ 392906 h 454818"/>
              <a:gd name="connsiteX52" fmla="*/ 257471 w 607755"/>
              <a:gd name="connsiteY52" fmla="*/ 395287 h 454818"/>
              <a:gd name="connsiteX53" fmla="*/ 243184 w 607755"/>
              <a:gd name="connsiteY53" fmla="*/ 402431 h 454818"/>
              <a:gd name="connsiteX54" fmla="*/ 236040 w 607755"/>
              <a:gd name="connsiteY54" fmla="*/ 407193 h 454818"/>
              <a:gd name="connsiteX55" fmla="*/ 214609 w 607755"/>
              <a:gd name="connsiteY55" fmla="*/ 411956 h 454818"/>
              <a:gd name="connsiteX56" fmla="*/ 207465 w 607755"/>
              <a:gd name="connsiteY56" fmla="*/ 416718 h 454818"/>
              <a:gd name="connsiteX57" fmla="*/ 202703 w 607755"/>
              <a:gd name="connsiteY57" fmla="*/ 433387 h 454818"/>
              <a:gd name="connsiteX58" fmla="*/ 178890 w 607755"/>
              <a:gd name="connsiteY58" fmla="*/ 454818 h 454818"/>
              <a:gd name="connsiteX59" fmla="*/ 159840 w 607755"/>
              <a:gd name="connsiteY59" fmla="*/ 450056 h 454818"/>
              <a:gd name="connsiteX60" fmla="*/ 145553 w 607755"/>
              <a:gd name="connsiteY60" fmla="*/ 440531 h 454818"/>
              <a:gd name="connsiteX61" fmla="*/ 138409 w 607755"/>
              <a:gd name="connsiteY61" fmla="*/ 435768 h 454818"/>
              <a:gd name="connsiteX62" fmla="*/ 124121 w 607755"/>
              <a:gd name="connsiteY62" fmla="*/ 428625 h 454818"/>
              <a:gd name="connsiteX63" fmla="*/ 52684 w 607755"/>
              <a:gd name="connsiteY63" fmla="*/ 426243 h 454818"/>
              <a:gd name="connsiteX64" fmla="*/ 55065 w 607755"/>
              <a:gd name="connsiteY64" fmla="*/ 419100 h 454818"/>
              <a:gd name="connsiteX65" fmla="*/ 69353 w 607755"/>
              <a:gd name="connsiteY65" fmla="*/ 407193 h 454818"/>
              <a:gd name="connsiteX66" fmla="*/ 64590 w 607755"/>
              <a:gd name="connsiteY66" fmla="*/ 392906 h 454818"/>
              <a:gd name="connsiteX67" fmla="*/ 36015 w 607755"/>
              <a:gd name="connsiteY67" fmla="*/ 385762 h 454818"/>
              <a:gd name="connsiteX68" fmla="*/ 26490 w 607755"/>
              <a:gd name="connsiteY68" fmla="*/ 383381 h 454818"/>
              <a:gd name="connsiteX69" fmla="*/ 12203 w 607755"/>
              <a:gd name="connsiteY69" fmla="*/ 369093 h 454818"/>
              <a:gd name="connsiteX70" fmla="*/ 2678 w 607755"/>
              <a:gd name="connsiteY70" fmla="*/ 364331 h 454818"/>
              <a:gd name="connsiteX71" fmla="*/ 12203 w 607755"/>
              <a:gd name="connsiteY71" fmla="*/ 347662 h 454818"/>
              <a:gd name="connsiteX72" fmla="*/ 26490 w 607755"/>
              <a:gd name="connsiteY72" fmla="*/ 338137 h 454818"/>
              <a:gd name="connsiteX73" fmla="*/ 33634 w 607755"/>
              <a:gd name="connsiteY73" fmla="*/ 333375 h 454818"/>
              <a:gd name="connsiteX74" fmla="*/ 45540 w 607755"/>
              <a:gd name="connsiteY74" fmla="*/ 321468 h 454818"/>
              <a:gd name="connsiteX75" fmla="*/ 66971 w 607755"/>
              <a:gd name="connsiteY75" fmla="*/ 290512 h 454818"/>
              <a:gd name="connsiteX76" fmla="*/ 69353 w 607755"/>
              <a:gd name="connsiteY76" fmla="*/ 283368 h 454818"/>
              <a:gd name="connsiteX77" fmla="*/ 62209 w 607755"/>
              <a:gd name="connsiteY77" fmla="*/ 269081 h 454818"/>
              <a:gd name="connsiteX78" fmla="*/ 66971 w 607755"/>
              <a:gd name="connsiteY78" fmla="*/ 254793 h 454818"/>
              <a:gd name="connsiteX79" fmla="*/ 74115 w 607755"/>
              <a:gd name="connsiteY79" fmla="*/ 252412 h 454818"/>
              <a:gd name="connsiteX80" fmla="*/ 86021 w 607755"/>
              <a:gd name="connsiteY80" fmla="*/ 240506 h 454818"/>
              <a:gd name="connsiteX81" fmla="*/ 90784 w 607755"/>
              <a:gd name="connsiteY81" fmla="*/ 233362 h 454818"/>
              <a:gd name="connsiteX82" fmla="*/ 112215 w 607755"/>
              <a:gd name="connsiteY82" fmla="*/ 216693 h 454818"/>
              <a:gd name="connsiteX83" fmla="*/ 119359 w 607755"/>
              <a:gd name="connsiteY83" fmla="*/ 214312 h 454818"/>
              <a:gd name="connsiteX84" fmla="*/ 126503 w 607755"/>
              <a:gd name="connsiteY84" fmla="*/ 207168 h 454818"/>
              <a:gd name="connsiteX85" fmla="*/ 131265 w 607755"/>
              <a:gd name="connsiteY85" fmla="*/ 200025 h 454818"/>
              <a:gd name="connsiteX86" fmla="*/ 138409 w 607755"/>
              <a:gd name="connsiteY86" fmla="*/ 195262 h 454818"/>
              <a:gd name="connsiteX87" fmla="*/ 140790 w 607755"/>
              <a:gd name="connsiteY87" fmla="*/ 188118 h 454818"/>
              <a:gd name="connsiteX88" fmla="*/ 157459 w 607755"/>
              <a:gd name="connsiteY88" fmla="*/ 188118 h 454818"/>
              <a:gd name="connsiteX89" fmla="*/ 164603 w 607755"/>
              <a:gd name="connsiteY89" fmla="*/ 197643 h 454818"/>
              <a:gd name="connsiteX90" fmla="*/ 174128 w 607755"/>
              <a:gd name="connsiteY90" fmla="*/ 202406 h 454818"/>
              <a:gd name="connsiteX91" fmla="*/ 209846 w 607755"/>
              <a:gd name="connsiteY91" fmla="*/ 207168 h 454818"/>
              <a:gd name="connsiteX92" fmla="*/ 216990 w 607755"/>
              <a:gd name="connsiteY92" fmla="*/ 214312 h 454818"/>
              <a:gd name="connsiteX93" fmla="*/ 228896 w 607755"/>
              <a:gd name="connsiteY93" fmla="*/ 226218 h 454818"/>
              <a:gd name="connsiteX94" fmla="*/ 231278 w 607755"/>
              <a:gd name="connsiteY94" fmla="*/ 233362 h 454818"/>
              <a:gd name="connsiteX95" fmla="*/ 236040 w 607755"/>
              <a:gd name="connsiteY95" fmla="*/ 240506 h 454818"/>
              <a:gd name="connsiteX96" fmla="*/ 243184 w 607755"/>
              <a:gd name="connsiteY96" fmla="*/ 254793 h 454818"/>
              <a:gd name="connsiteX97" fmla="*/ 250328 w 607755"/>
              <a:gd name="connsiteY97" fmla="*/ 259556 h 454818"/>
              <a:gd name="connsiteX98" fmla="*/ 264615 w 607755"/>
              <a:gd name="connsiteY98" fmla="*/ 264318 h 454818"/>
              <a:gd name="connsiteX99" fmla="*/ 312240 w 607755"/>
              <a:gd name="connsiteY99" fmla="*/ 254793 h 454818"/>
              <a:gd name="connsiteX100" fmla="*/ 314621 w 607755"/>
              <a:gd name="connsiteY100" fmla="*/ 233362 h 454818"/>
              <a:gd name="connsiteX101" fmla="*/ 317003 w 607755"/>
              <a:gd name="connsiteY101" fmla="*/ 226218 h 454818"/>
              <a:gd name="connsiteX102" fmla="*/ 324146 w 607755"/>
              <a:gd name="connsiteY102" fmla="*/ 192881 h 454818"/>
              <a:gd name="connsiteX103" fmla="*/ 328909 w 607755"/>
              <a:gd name="connsiteY103" fmla="*/ 185737 h 454818"/>
              <a:gd name="connsiteX104" fmla="*/ 333671 w 607755"/>
              <a:gd name="connsiteY104" fmla="*/ 161925 h 454818"/>
              <a:gd name="connsiteX105" fmla="*/ 336053 w 607755"/>
              <a:gd name="connsiteY105" fmla="*/ 154781 h 454818"/>
              <a:gd name="connsiteX106" fmla="*/ 340815 w 607755"/>
              <a:gd name="connsiteY106" fmla="*/ 154781 h 454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607755" h="454818">
                <a:moveTo>
                  <a:pt x="340815" y="154781"/>
                </a:moveTo>
                <a:cubicBezTo>
                  <a:pt x="345180" y="152797"/>
                  <a:pt x="345871" y="153792"/>
                  <a:pt x="362246" y="142875"/>
                </a:cubicBezTo>
                <a:cubicBezTo>
                  <a:pt x="364627" y="141287"/>
                  <a:pt x="366567" y="138582"/>
                  <a:pt x="369390" y="138112"/>
                </a:cubicBezTo>
                <a:lnTo>
                  <a:pt x="383678" y="135731"/>
                </a:lnTo>
                <a:cubicBezTo>
                  <a:pt x="384102" y="133613"/>
                  <a:pt x="387179" y="117242"/>
                  <a:pt x="388440" y="114300"/>
                </a:cubicBezTo>
                <a:cubicBezTo>
                  <a:pt x="389567" y="111669"/>
                  <a:pt x="391615" y="109537"/>
                  <a:pt x="393203" y="107156"/>
                </a:cubicBezTo>
                <a:cubicBezTo>
                  <a:pt x="394328" y="102656"/>
                  <a:pt x="395474" y="93532"/>
                  <a:pt x="400346" y="90487"/>
                </a:cubicBezTo>
                <a:cubicBezTo>
                  <a:pt x="411621" y="83440"/>
                  <a:pt x="436079" y="84075"/>
                  <a:pt x="445590" y="83343"/>
                </a:cubicBezTo>
                <a:cubicBezTo>
                  <a:pt x="471630" y="74664"/>
                  <a:pt x="432197" y="88503"/>
                  <a:pt x="459878" y="76200"/>
                </a:cubicBezTo>
                <a:cubicBezTo>
                  <a:pt x="464465" y="74161"/>
                  <a:pt x="469988" y="74221"/>
                  <a:pt x="474165" y="71437"/>
                </a:cubicBezTo>
                <a:cubicBezTo>
                  <a:pt x="476546" y="69850"/>
                  <a:pt x="478749" y="67955"/>
                  <a:pt x="481309" y="66675"/>
                </a:cubicBezTo>
                <a:cubicBezTo>
                  <a:pt x="493286" y="60686"/>
                  <a:pt x="487725" y="69781"/>
                  <a:pt x="502740" y="54768"/>
                </a:cubicBezTo>
                <a:cubicBezTo>
                  <a:pt x="523603" y="33908"/>
                  <a:pt x="498077" y="60365"/>
                  <a:pt x="514646" y="40481"/>
                </a:cubicBezTo>
                <a:cubicBezTo>
                  <a:pt x="516802" y="37894"/>
                  <a:pt x="519722" y="35995"/>
                  <a:pt x="521790" y="33337"/>
                </a:cubicBezTo>
                <a:cubicBezTo>
                  <a:pt x="525304" y="28819"/>
                  <a:pt x="525885" y="20860"/>
                  <a:pt x="531315" y="19050"/>
                </a:cubicBezTo>
                <a:cubicBezTo>
                  <a:pt x="554320" y="11380"/>
                  <a:pt x="518547" y="23681"/>
                  <a:pt x="547984" y="11906"/>
                </a:cubicBezTo>
                <a:cubicBezTo>
                  <a:pt x="552645" y="10042"/>
                  <a:pt x="557509" y="8731"/>
                  <a:pt x="562271" y="7143"/>
                </a:cubicBezTo>
                <a:lnTo>
                  <a:pt x="576559" y="2381"/>
                </a:lnTo>
                <a:lnTo>
                  <a:pt x="583703" y="0"/>
                </a:lnTo>
                <a:cubicBezTo>
                  <a:pt x="586084" y="794"/>
                  <a:pt x="588886" y="813"/>
                  <a:pt x="590846" y="2381"/>
                </a:cubicBezTo>
                <a:cubicBezTo>
                  <a:pt x="599460" y="9272"/>
                  <a:pt x="596925" y="25880"/>
                  <a:pt x="597990" y="33337"/>
                </a:cubicBezTo>
                <a:cubicBezTo>
                  <a:pt x="598296" y="35478"/>
                  <a:pt x="601394" y="47289"/>
                  <a:pt x="602753" y="50006"/>
                </a:cubicBezTo>
                <a:cubicBezTo>
                  <a:pt x="604033" y="52566"/>
                  <a:pt x="605928" y="54769"/>
                  <a:pt x="607515" y="57150"/>
                </a:cubicBezTo>
                <a:cubicBezTo>
                  <a:pt x="606721" y="69850"/>
                  <a:pt x="607755" y="82798"/>
                  <a:pt x="605134" y="95250"/>
                </a:cubicBezTo>
                <a:cubicBezTo>
                  <a:pt x="604197" y="99700"/>
                  <a:pt x="593796" y="104534"/>
                  <a:pt x="590846" y="107156"/>
                </a:cubicBezTo>
                <a:cubicBezTo>
                  <a:pt x="566379" y="128904"/>
                  <a:pt x="585629" y="115396"/>
                  <a:pt x="569415" y="126206"/>
                </a:cubicBezTo>
                <a:cubicBezTo>
                  <a:pt x="567846" y="130914"/>
                  <a:pt x="566469" y="137134"/>
                  <a:pt x="562271" y="140493"/>
                </a:cubicBezTo>
                <a:cubicBezTo>
                  <a:pt x="560311" y="142061"/>
                  <a:pt x="557509" y="142081"/>
                  <a:pt x="555128" y="142875"/>
                </a:cubicBezTo>
                <a:lnTo>
                  <a:pt x="536078" y="171450"/>
                </a:lnTo>
                <a:lnTo>
                  <a:pt x="526553" y="185737"/>
                </a:lnTo>
                <a:lnTo>
                  <a:pt x="519409" y="207168"/>
                </a:lnTo>
                <a:cubicBezTo>
                  <a:pt x="518615" y="209549"/>
                  <a:pt x="518420" y="212224"/>
                  <a:pt x="517028" y="214312"/>
                </a:cubicBezTo>
                <a:lnTo>
                  <a:pt x="512265" y="221456"/>
                </a:lnTo>
                <a:cubicBezTo>
                  <a:pt x="506903" y="237545"/>
                  <a:pt x="514340" y="220105"/>
                  <a:pt x="502740" y="233362"/>
                </a:cubicBezTo>
                <a:cubicBezTo>
                  <a:pt x="498971" y="237670"/>
                  <a:pt x="493215" y="247650"/>
                  <a:pt x="493215" y="247650"/>
                </a:cubicBezTo>
                <a:cubicBezTo>
                  <a:pt x="492421" y="252412"/>
                  <a:pt x="492993" y="257619"/>
                  <a:pt x="490834" y="261937"/>
                </a:cubicBezTo>
                <a:cubicBezTo>
                  <a:pt x="488389" y="266827"/>
                  <a:pt x="477980" y="267937"/>
                  <a:pt x="474165" y="269081"/>
                </a:cubicBezTo>
                <a:cubicBezTo>
                  <a:pt x="469357" y="270523"/>
                  <a:pt x="464640" y="272256"/>
                  <a:pt x="459878" y="273843"/>
                </a:cubicBezTo>
                <a:cubicBezTo>
                  <a:pt x="457497" y="274637"/>
                  <a:pt x="455169" y="275616"/>
                  <a:pt x="452734" y="276225"/>
                </a:cubicBezTo>
                <a:cubicBezTo>
                  <a:pt x="449559" y="277019"/>
                  <a:pt x="446356" y="277707"/>
                  <a:pt x="443209" y="278606"/>
                </a:cubicBezTo>
                <a:cubicBezTo>
                  <a:pt x="440795" y="279296"/>
                  <a:pt x="438546" y="280605"/>
                  <a:pt x="436065" y="280987"/>
                </a:cubicBezTo>
                <a:cubicBezTo>
                  <a:pt x="428181" y="282200"/>
                  <a:pt x="420190" y="282574"/>
                  <a:pt x="412253" y="283368"/>
                </a:cubicBezTo>
                <a:cubicBezTo>
                  <a:pt x="404241" y="286039"/>
                  <a:pt x="403819" y="285806"/>
                  <a:pt x="395584" y="290512"/>
                </a:cubicBezTo>
                <a:cubicBezTo>
                  <a:pt x="393099" y="291932"/>
                  <a:pt x="391000" y="293995"/>
                  <a:pt x="388440" y="295275"/>
                </a:cubicBezTo>
                <a:cubicBezTo>
                  <a:pt x="386015" y="296488"/>
                  <a:pt x="373531" y="299920"/>
                  <a:pt x="371771" y="300037"/>
                </a:cubicBezTo>
                <a:cubicBezTo>
                  <a:pt x="351164" y="301411"/>
                  <a:pt x="330496" y="301624"/>
                  <a:pt x="309859" y="302418"/>
                </a:cubicBezTo>
                <a:cubicBezTo>
                  <a:pt x="317252" y="324599"/>
                  <a:pt x="317670" y="319843"/>
                  <a:pt x="312240" y="352425"/>
                </a:cubicBezTo>
                <a:cubicBezTo>
                  <a:pt x="311770" y="355248"/>
                  <a:pt x="309501" y="357545"/>
                  <a:pt x="307478" y="359568"/>
                </a:cubicBezTo>
                <a:cubicBezTo>
                  <a:pt x="305454" y="361592"/>
                  <a:pt x="302715" y="362743"/>
                  <a:pt x="300334" y="364331"/>
                </a:cubicBezTo>
                <a:cubicBezTo>
                  <a:pt x="288131" y="382635"/>
                  <a:pt x="296455" y="377677"/>
                  <a:pt x="276521" y="381000"/>
                </a:cubicBezTo>
                <a:cubicBezTo>
                  <a:pt x="274140" y="382587"/>
                  <a:pt x="271401" y="383739"/>
                  <a:pt x="269378" y="385762"/>
                </a:cubicBezTo>
                <a:cubicBezTo>
                  <a:pt x="267354" y="387786"/>
                  <a:pt x="266850" y="391118"/>
                  <a:pt x="264615" y="392906"/>
                </a:cubicBezTo>
                <a:cubicBezTo>
                  <a:pt x="262655" y="394474"/>
                  <a:pt x="259852" y="394493"/>
                  <a:pt x="257471" y="395287"/>
                </a:cubicBezTo>
                <a:cubicBezTo>
                  <a:pt x="237015" y="408927"/>
                  <a:pt x="262888" y="392580"/>
                  <a:pt x="243184" y="402431"/>
                </a:cubicBezTo>
                <a:cubicBezTo>
                  <a:pt x="240624" y="403711"/>
                  <a:pt x="238600" y="405913"/>
                  <a:pt x="236040" y="407193"/>
                </a:cubicBezTo>
                <a:cubicBezTo>
                  <a:pt x="230174" y="410126"/>
                  <a:pt x="220104" y="411040"/>
                  <a:pt x="214609" y="411956"/>
                </a:cubicBezTo>
                <a:cubicBezTo>
                  <a:pt x="212228" y="413543"/>
                  <a:pt x="209053" y="414337"/>
                  <a:pt x="207465" y="416718"/>
                </a:cubicBezTo>
                <a:cubicBezTo>
                  <a:pt x="205225" y="420078"/>
                  <a:pt x="205544" y="429735"/>
                  <a:pt x="202703" y="433387"/>
                </a:cubicBezTo>
                <a:cubicBezTo>
                  <a:pt x="194725" y="443645"/>
                  <a:pt x="188432" y="447662"/>
                  <a:pt x="178890" y="454818"/>
                </a:cubicBezTo>
                <a:cubicBezTo>
                  <a:pt x="175593" y="454159"/>
                  <a:pt x="163958" y="452344"/>
                  <a:pt x="159840" y="450056"/>
                </a:cubicBezTo>
                <a:cubicBezTo>
                  <a:pt x="154837" y="447276"/>
                  <a:pt x="150315" y="443706"/>
                  <a:pt x="145553" y="440531"/>
                </a:cubicBezTo>
                <a:lnTo>
                  <a:pt x="138409" y="435768"/>
                </a:lnTo>
                <a:cubicBezTo>
                  <a:pt x="134235" y="432985"/>
                  <a:pt x="129543" y="428954"/>
                  <a:pt x="124121" y="428625"/>
                </a:cubicBezTo>
                <a:cubicBezTo>
                  <a:pt x="100339" y="427184"/>
                  <a:pt x="76496" y="427037"/>
                  <a:pt x="52684" y="426243"/>
                </a:cubicBezTo>
                <a:cubicBezTo>
                  <a:pt x="53478" y="423862"/>
                  <a:pt x="53673" y="421188"/>
                  <a:pt x="55065" y="419100"/>
                </a:cubicBezTo>
                <a:cubicBezTo>
                  <a:pt x="58732" y="413600"/>
                  <a:pt x="64082" y="410707"/>
                  <a:pt x="69353" y="407193"/>
                </a:cubicBezTo>
                <a:cubicBezTo>
                  <a:pt x="67765" y="402431"/>
                  <a:pt x="67251" y="397163"/>
                  <a:pt x="64590" y="392906"/>
                </a:cubicBezTo>
                <a:cubicBezTo>
                  <a:pt x="59692" y="385070"/>
                  <a:pt x="39631" y="386164"/>
                  <a:pt x="36015" y="385762"/>
                </a:cubicBezTo>
                <a:cubicBezTo>
                  <a:pt x="32840" y="384968"/>
                  <a:pt x="29171" y="385258"/>
                  <a:pt x="26490" y="383381"/>
                </a:cubicBezTo>
                <a:cubicBezTo>
                  <a:pt x="20972" y="379519"/>
                  <a:pt x="18227" y="372105"/>
                  <a:pt x="12203" y="369093"/>
                </a:cubicBezTo>
                <a:lnTo>
                  <a:pt x="2678" y="364331"/>
                </a:lnTo>
                <a:cubicBezTo>
                  <a:pt x="6392" y="342043"/>
                  <a:pt x="0" y="354441"/>
                  <a:pt x="12203" y="347662"/>
                </a:cubicBezTo>
                <a:cubicBezTo>
                  <a:pt x="17206" y="344882"/>
                  <a:pt x="21728" y="341312"/>
                  <a:pt x="26490" y="338137"/>
                </a:cubicBezTo>
                <a:lnTo>
                  <a:pt x="33634" y="333375"/>
                </a:lnTo>
                <a:cubicBezTo>
                  <a:pt x="46327" y="314333"/>
                  <a:pt x="29671" y="337336"/>
                  <a:pt x="45540" y="321468"/>
                </a:cubicBezTo>
                <a:cubicBezTo>
                  <a:pt x="51096" y="314324"/>
                  <a:pt x="63002" y="296862"/>
                  <a:pt x="66971" y="290512"/>
                </a:cubicBezTo>
                <a:lnTo>
                  <a:pt x="69353" y="283368"/>
                </a:lnTo>
                <a:cubicBezTo>
                  <a:pt x="67479" y="280558"/>
                  <a:pt x="61739" y="273308"/>
                  <a:pt x="62209" y="269081"/>
                </a:cubicBezTo>
                <a:cubicBezTo>
                  <a:pt x="62763" y="264091"/>
                  <a:pt x="62208" y="256380"/>
                  <a:pt x="66971" y="254793"/>
                </a:cubicBezTo>
                <a:lnTo>
                  <a:pt x="74115" y="252412"/>
                </a:lnTo>
                <a:cubicBezTo>
                  <a:pt x="86817" y="233360"/>
                  <a:pt x="70146" y="256381"/>
                  <a:pt x="86021" y="240506"/>
                </a:cubicBezTo>
                <a:cubicBezTo>
                  <a:pt x="88045" y="238482"/>
                  <a:pt x="88952" y="235561"/>
                  <a:pt x="90784" y="233362"/>
                </a:cubicBezTo>
                <a:cubicBezTo>
                  <a:pt x="95525" y="227673"/>
                  <a:pt x="106088" y="218735"/>
                  <a:pt x="112215" y="216693"/>
                </a:cubicBezTo>
                <a:lnTo>
                  <a:pt x="119359" y="214312"/>
                </a:lnTo>
                <a:cubicBezTo>
                  <a:pt x="121740" y="211931"/>
                  <a:pt x="124347" y="209755"/>
                  <a:pt x="126503" y="207168"/>
                </a:cubicBezTo>
                <a:cubicBezTo>
                  <a:pt x="128335" y="204970"/>
                  <a:pt x="129242" y="202048"/>
                  <a:pt x="131265" y="200025"/>
                </a:cubicBezTo>
                <a:cubicBezTo>
                  <a:pt x="133289" y="198001"/>
                  <a:pt x="136028" y="196850"/>
                  <a:pt x="138409" y="195262"/>
                </a:cubicBezTo>
                <a:cubicBezTo>
                  <a:pt x="139203" y="192881"/>
                  <a:pt x="139015" y="189893"/>
                  <a:pt x="140790" y="188118"/>
                </a:cubicBezTo>
                <a:cubicBezTo>
                  <a:pt x="145572" y="183336"/>
                  <a:pt x="152626" y="186910"/>
                  <a:pt x="157459" y="188118"/>
                </a:cubicBezTo>
                <a:cubicBezTo>
                  <a:pt x="159840" y="191293"/>
                  <a:pt x="161590" y="195060"/>
                  <a:pt x="164603" y="197643"/>
                </a:cubicBezTo>
                <a:cubicBezTo>
                  <a:pt x="167298" y="199953"/>
                  <a:pt x="170865" y="201008"/>
                  <a:pt x="174128" y="202406"/>
                </a:cubicBezTo>
                <a:cubicBezTo>
                  <a:pt x="185866" y="207437"/>
                  <a:pt x="195804" y="205998"/>
                  <a:pt x="209846" y="207168"/>
                </a:cubicBezTo>
                <a:cubicBezTo>
                  <a:pt x="212227" y="209549"/>
                  <a:pt x="214403" y="212156"/>
                  <a:pt x="216990" y="214312"/>
                </a:cubicBezTo>
                <a:cubicBezTo>
                  <a:pt x="225154" y="221116"/>
                  <a:pt x="223907" y="216240"/>
                  <a:pt x="228896" y="226218"/>
                </a:cubicBezTo>
                <a:cubicBezTo>
                  <a:pt x="230019" y="228463"/>
                  <a:pt x="230155" y="231117"/>
                  <a:pt x="231278" y="233362"/>
                </a:cubicBezTo>
                <a:cubicBezTo>
                  <a:pt x="232558" y="235922"/>
                  <a:pt x="234760" y="237946"/>
                  <a:pt x="236040" y="240506"/>
                </a:cubicBezTo>
                <a:cubicBezTo>
                  <a:pt x="239914" y="248254"/>
                  <a:pt x="236358" y="247968"/>
                  <a:pt x="243184" y="254793"/>
                </a:cubicBezTo>
                <a:cubicBezTo>
                  <a:pt x="245208" y="256817"/>
                  <a:pt x="247713" y="258394"/>
                  <a:pt x="250328" y="259556"/>
                </a:cubicBezTo>
                <a:cubicBezTo>
                  <a:pt x="254915" y="261595"/>
                  <a:pt x="264615" y="264318"/>
                  <a:pt x="264615" y="264318"/>
                </a:cubicBezTo>
                <a:cubicBezTo>
                  <a:pt x="290648" y="262948"/>
                  <a:pt x="308693" y="276074"/>
                  <a:pt x="312240" y="254793"/>
                </a:cubicBezTo>
                <a:cubicBezTo>
                  <a:pt x="313422" y="247703"/>
                  <a:pt x="313439" y="240452"/>
                  <a:pt x="314621" y="233362"/>
                </a:cubicBezTo>
                <a:cubicBezTo>
                  <a:pt x="315034" y="230886"/>
                  <a:pt x="316209" y="228599"/>
                  <a:pt x="317003" y="226218"/>
                </a:cubicBezTo>
                <a:cubicBezTo>
                  <a:pt x="318010" y="218159"/>
                  <a:pt x="318926" y="200710"/>
                  <a:pt x="324146" y="192881"/>
                </a:cubicBezTo>
                <a:lnTo>
                  <a:pt x="328909" y="185737"/>
                </a:lnTo>
                <a:cubicBezTo>
                  <a:pt x="330779" y="174517"/>
                  <a:pt x="330830" y="171866"/>
                  <a:pt x="333671" y="161925"/>
                </a:cubicBezTo>
                <a:cubicBezTo>
                  <a:pt x="334361" y="159511"/>
                  <a:pt x="334547" y="156789"/>
                  <a:pt x="336053" y="154781"/>
                </a:cubicBezTo>
                <a:cubicBezTo>
                  <a:pt x="337118" y="153361"/>
                  <a:pt x="336450" y="156765"/>
                  <a:pt x="340815" y="154781"/>
                </a:cubicBezTo>
                <a:close/>
              </a:path>
            </a:pathLst>
          </a:custGeom>
          <a:solidFill>
            <a:schemeClr val="accent3"/>
          </a:solidFill>
          <a:ln w="12700">
            <a:solidFill>
              <a:schemeClr val="bg1"/>
            </a:solidFill>
            <a:round/>
            <a:headEnd/>
            <a:tailEnd/>
          </a:ln>
        </p:spPr>
        <p:txBody>
          <a:bodyPr/>
          <a:lstStyle/>
          <a:p>
            <a:pPr>
              <a:defRPr/>
            </a:pPr>
            <a:endParaRPr lang="nl-NL"/>
          </a:p>
        </p:txBody>
      </p:sp>
      <p:sp>
        <p:nvSpPr>
          <p:cNvPr id="107" name="Freeform 23"/>
          <p:cNvSpPr>
            <a:spLocks noChangeArrowheads="1"/>
          </p:cNvSpPr>
          <p:nvPr/>
        </p:nvSpPr>
        <p:spPr bwMode="auto">
          <a:xfrm>
            <a:off x="2538149" y="2597150"/>
            <a:ext cx="750277" cy="1346200"/>
          </a:xfrm>
          <a:custGeom>
            <a:avLst/>
            <a:gdLst>
              <a:gd name="T0" fmla="*/ 0 w 566737"/>
              <a:gd name="T1" fmla="*/ 0 h 938741"/>
              <a:gd name="T2" fmla="*/ 566737 w 566737"/>
              <a:gd name="T3" fmla="*/ 938741 h 938741"/>
            </a:gdLst>
            <a:ahLst/>
            <a:cxnLst/>
            <a:rect l="T0" t="T1" r="T2" b="T3"/>
            <a:pathLst>
              <a:path w="566737" h="938741">
                <a:moveTo>
                  <a:pt x="261937" y="529"/>
                </a:moveTo>
                <a:cubicBezTo>
                  <a:pt x="281781" y="1323"/>
                  <a:pt x="301824" y="0"/>
                  <a:pt x="321469" y="2910"/>
                </a:cubicBezTo>
                <a:cubicBezTo>
                  <a:pt x="332529" y="4549"/>
                  <a:pt x="323108" y="15559"/>
                  <a:pt x="321469" y="17198"/>
                </a:cubicBezTo>
                <a:cubicBezTo>
                  <a:pt x="319445" y="19222"/>
                  <a:pt x="316706" y="20373"/>
                  <a:pt x="314325" y="21960"/>
                </a:cubicBezTo>
                <a:cubicBezTo>
                  <a:pt x="308657" y="38963"/>
                  <a:pt x="312347" y="32071"/>
                  <a:pt x="304800" y="43391"/>
                </a:cubicBezTo>
                <a:cubicBezTo>
                  <a:pt x="304006" y="45772"/>
                  <a:pt x="303542" y="48290"/>
                  <a:pt x="302419" y="50535"/>
                </a:cubicBezTo>
                <a:cubicBezTo>
                  <a:pt x="301139" y="53095"/>
                  <a:pt x="298783" y="55048"/>
                  <a:pt x="297656" y="57679"/>
                </a:cubicBezTo>
                <a:cubicBezTo>
                  <a:pt x="296367" y="60687"/>
                  <a:pt x="296069" y="64029"/>
                  <a:pt x="295275" y="67204"/>
                </a:cubicBezTo>
                <a:cubicBezTo>
                  <a:pt x="297818" y="146059"/>
                  <a:pt x="289870" y="117664"/>
                  <a:pt x="302419" y="155310"/>
                </a:cubicBezTo>
                <a:cubicBezTo>
                  <a:pt x="334981" y="202141"/>
                  <a:pt x="317897" y="183488"/>
                  <a:pt x="323850" y="191029"/>
                </a:cubicBezTo>
                <a:cubicBezTo>
                  <a:pt x="328368" y="194543"/>
                  <a:pt x="338137" y="200554"/>
                  <a:pt x="338137" y="200554"/>
                </a:cubicBezTo>
                <a:cubicBezTo>
                  <a:pt x="349250" y="217222"/>
                  <a:pt x="342900" y="211666"/>
                  <a:pt x="354806" y="219604"/>
                </a:cubicBezTo>
                <a:cubicBezTo>
                  <a:pt x="356394" y="221985"/>
                  <a:pt x="358289" y="224188"/>
                  <a:pt x="359569" y="226748"/>
                </a:cubicBezTo>
                <a:cubicBezTo>
                  <a:pt x="360691" y="228993"/>
                  <a:pt x="360409" y="231910"/>
                  <a:pt x="361950" y="233891"/>
                </a:cubicBezTo>
                <a:cubicBezTo>
                  <a:pt x="371312" y="245928"/>
                  <a:pt x="372344" y="247550"/>
                  <a:pt x="383381" y="250560"/>
                </a:cubicBezTo>
                <a:cubicBezTo>
                  <a:pt x="389696" y="252282"/>
                  <a:pt x="396221" y="253253"/>
                  <a:pt x="402431" y="255323"/>
                </a:cubicBezTo>
                <a:lnTo>
                  <a:pt x="416719" y="260085"/>
                </a:lnTo>
                <a:cubicBezTo>
                  <a:pt x="419100" y="262466"/>
                  <a:pt x="421706" y="264642"/>
                  <a:pt x="423862" y="267229"/>
                </a:cubicBezTo>
                <a:cubicBezTo>
                  <a:pt x="425694" y="269428"/>
                  <a:pt x="426793" y="272174"/>
                  <a:pt x="428625" y="274373"/>
                </a:cubicBezTo>
                <a:cubicBezTo>
                  <a:pt x="431430" y="277739"/>
                  <a:pt x="438374" y="284577"/>
                  <a:pt x="442912" y="286279"/>
                </a:cubicBezTo>
                <a:cubicBezTo>
                  <a:pt x="446702" y="287700"/>
                  <a:pt x="450868" y="287782"/>
                  <a:pt x="454819" y="288660"/>
                </a:cubicBezTo>
                <a:cubicBezTo>
                  <a:pt x="458014" y="289370"/>
                  <a:pt x="461169" y="290247"/>
                  <a:pt x="464344" y="291041"/>
                </a:cubicBezTo>
                <a:cubicBezTo>
                  <a:pt x="478362" y="298051"/>
                  <a:pt x="470497" y="294679"/>
                  <a:pt x="488156" y="300566"/>
                </a:cubicBezTo>
                <a:lnTo>
                  <a:pt x="502444" y="305329"/>
                </a:lnTo>
                <a:cubicBezTo>
                  <a:pt x="506413" y="306123"/>
                  <a:pt x="510445" y="306645"/>
                  <a:pt x="514350" y="307710"/>
                </a:cubicBezTo>
                <a:cubicBezTo>
                  <a:pt x="519193" y="309031"/>
                  <a:pt x="528637" y="312473"/>
                  <a:pt x="528637" y="312473"/>
                </a:cubicBezTo>
                <a:cubicBezTo>
                  <a:pt x="527843" y="321204"/>
                  <a:pt x="528093" y="330094"/>
                  <a:pt x="526256" y="338666"/>
                </a:cubicBezTo>
                <a:cubicBezTo>
                  <a:pt x="525656" y="341464"/>
                  <a:pt x="521849" y="342970"/>
                  <a:pt x="521494" y="345810"/>
                </a:cubicBezTo>
                <a:cubicBezTo>
                  <a:pt x="521446" y="346194"/>
                  <a:pt x="524407" y="362549"/>
                  <a:pt x="526256" y="364860"/>
                </a:cubicBezTo>
                <a:cubicBezTo>
                  <a:pt x="528044" y="367095"/>
                  <a:pt x="531019" y="368035"/>
                  <a:pt x="533400" y="369623"/>
                </a:cubicBezTo>
                <a:cubicBezTo>
                  <a:pt x="534194" y="372004"/>
                  <a:pt x="535781" y="374256"/>
                  <a:pt x="535781" y="376766"/>
                </a:cubicBezTo>
                <a:cubicBezTo>
                  <a:pt x="535781" y="392090"/>
                  <a:pt x="535093" y="390896"/>
                  <a:pt x="528637" y="400579"/>
                </a:cubicBezTo>
                <a:cubicBezTo>
                  <a:pt x="526758" y="406216"/>
                  <a:pt x="523875" y="413883"/>
                  <a:pt x="523875" y="419629"/>
                </a:cubicBezTo>
                <a:cubicBezTo>
                  <a:pt x="523875" y="426817"/>
                  <a:pt x="525240" y="433945"/>
                  <a:pt x="526256" y="441060"/>
                </a:cubicBezTo>
                <a:cubicBezTo>
                  <a:pt x="528267" y="455140"/>
                  <a:pt x="525332" y="451864"/>
                  <a:pt x="535781" y="455348"/>
                </a:cubicBezTo>
                <a:cubicBezTo>
                  <a:pt x="542418" y="465303"/>
                  <a:pt x="544057" y="469786"/>
                  <a:pt x="552450" y="476779"/>
                </a:cubicBezTo>
                <a:cubicBezTo>
                  <a:pt x="554649" y="478611"/>
                  <a:pt x="557034" y="480261"/>
                  <a:pt x="559594" y="481541"/>
                </a:cubicBezTo>
                <a:cubicBezTo>
                  <a:pt x="561839" y="482664"/>
                  <a:pt x="564356" y="483129"/>
                  <a:pt x="566737" y="483923"/>
                </a:cubicBezTo>
                <a:cubicBezTo>
                  <a:pt x="565150" y="486304"/>
                  <a:pt x="563807" y="488868"/>
                  <a:pt x="561975" y="491066"/>
                </a:cubicBezTo>
                <a:cubicBezTo>
                  <a:pt x="559819" y="493653"/>
                  <a:pt x="556466" y="495266"/>
                  <a:pt x="554831" y="498210"/>
                </a:cubicBezTo>
                <a:cubicBezTo>
                  <a:pt x="547622" y="511187"/>
                  <a:pt x="555658" y="512757"/>
                  <a:pt x="542925" y="514879"/>
                </a:cubicBezTo>
                <a:cubicBezTo>
                  <a:pt x="535835" y="516061"/>
                  <a:pt x="528638" y="516466"/>
                  <a:pt x="521494" y="517260"/>
                </a:cubicBezTo>
                <a:cubicBezTo>
                  <a:pt x="514458" y="538367"/>
                  <a:pt x="516177" y="526558"/>
                  <a:pt x="519112" y="552979"/>
                </a:cubicBezTo>
                <a:cubicBezTo>
                  <a:pt x="512178" y="559914"/>
                  <a:pt x="511556" y="558407"/>
                  <a:pt x="509587" y="567266"/>
                </a:cubicBezTo>
                <a:cubicBezTo>
                  <a:pt x="508463" y="572325"/>
                  <a:pt x="506568" y="591717"/>
                  <a:pt x="502444" y="595841"/>
                </a:cubicBezTo>
                <a:lnTo>
                  <a:pt x="495300" y="602985"/>
                </a:lnTo>
                <a:cubicBezTo>
                  <a:pt x="494506" y="605366"/>
                  <a:pt x="494487" y="608169"/>
                  <a:pt x="492919" y="610129"/>
                </a:cubicBezTo>
                <a:cubicBezTo>
                  <a:pt x="491131" y="612364"/>
                  <a:pt x="487974" y="613059"/>
                  <a:pt x="485775" y="614891"/>
                </a:cubicBezTo>
                <a:cubicBezTo>
                  <a:pt x="467432" y="630176"/>
                  <a:pt x="489231" y="614968"/>
                  <a:pt x="471487" y="626798"/>
                </a:cubicBezTo>
                <a:cubicBezTo>
                  <a:pt x="469900" y="629179"/>
                  <a:pt x="468005" y="631381"/>
                  <a:pt x="466725" y="633941"/>
                </a:cubicBezTo>
                <a:cubicBezTo>
                  <a:pt x="465603" y="636186"/>
                  <a:pt x="465563" y="638891"/>
                  <a:pt x="464344" y="641085"/>
                </a:cubicBezTo>
                <a:cubicBezTo>
                  <a:pt x="449027" y="668658"/>
                  <a:pt x="461176" y="645159"/>
                  <a:pt x="447675" y="662516"/>
                </a:cubicBezTo>
                <a:cubicBezTo>
                  <a:pt x="432715" y="681750"/>
                  <a:pt x="444837" y="672347"/>
                  <a:pt x="431006" y="681566"/>
                </a:cubicBezTo>
                <a:cubicBezTo>
                  <a:pt x="426453" y="695228"/>
                  <a:pt x="431886" y="682477"/>
                  <a:pt x="421481" y="695854"/>
                </a:cubicBezTo>
                <a:cubicBezTo>
                  <a:pt x="417967" y="700372"/>
                  <a:pt x="415131" y="705379"/>
                  <a:pt x="411956" y="710141"/>
                </a:cubicBezTo>
                <a:lnTo>
                  <a:pt x="407194" y="717285"/>
                </a:lnTo>
                <a:cubicBezTo>
                  <a:pt x="403541" y="731894"/>
                  <a:pt x="407981" y="736902"/>
                  <a:pt x="395287" y="738716"/>
                </a:cubicBezTo>
                <a:cubicBezTo>
                  <a:pt x="386608" y="739956"/>
                  <a:pt x="377825" y="740304"/>
                  <a:pt x="369094" y="741098"/>
                </a:cubicBezTo>
                <a:cubicBezTo>
                  <a:pt x="362381" y="743335"/>
                  <a:pt x="358860" y="743325"/>
                  <a:pt x="354806" y="750623"/>
                </a:cubicBezTo>
                <a:cubicBezTo>
                  <a:pt x="351444" y="756675"/>
                  <a:pt x="349168" y="776315"/>
                  <a:pt x="340519" y="779198"/>
                </a:cubicBezTo>
                <a:lnTo>
                  <a:pt x="311944" y="788723"/>
                </a:lnTo>
                <a:cubicBezTo>
                  <a:pt x="309563" y="789517"/>
                  <a:pt x="306889" y="789712"/>
                  <a:pt x="304800" y="791104"/>
                </a:cubicBezTo>
                <a:cubicBezTo>
                  <a:pt x="288424" y="802021"/>
                  <a:pt x="295942" y="798819"/>
                  <a:pt x="283369" y="803010"/>
                </a:cubicBezTo>
                <a:cubicBezTo>
                  <a:pt x="276347" y="807691"/>
                  <a:pt x="274808" y="808043"/>
                  <a:pt x="269081" y="814916"/>
                </a:cubicBezTo>
                <a:cubicBezTo>
                  <a:pt x="267249" y="817115"/>
                  <a:pt x="265599" y="819500"/>
                  <a:pt x="264319" y="822060"/>
                </a:cubicBezTo>
                <a:cubicBezTo>
                  <a:pt x="263196" y="824305"/>
                  <a:pt x="263712" y="827429"/>
                  <a:pt x="261937" y="829204"/>
                </a:cubicBezTo>
                <a:cubicBezTo>
                  <a:pt x="260162" y="830979"/>
                  <a:pt x="257175" y="830791"/>
                  <a:pt x="254794" y="831585"/>
                </a:cubicBezTo>
                <a:cubicBezTo>
                  <a:pt x="252413" y="833966"/>
                  <a:pt x="250452" y="836861"/>
                  <a:pt x="247650" y="838729"/>
                </a:cubicBezTo>
                <a:cubicBezTo>
                  <a:pt x="245561" y="840121"/>
                  <a:pt x="242751" y="839987"/>
                  <a:pt x="240506" y="841110"/>
                </a:cubicBezTo>
                <a:cubicBezTo>
                  <a:pt x="224060" y="849333"/>
                  <a:pt x="243662" y="843298"/>
                  <a:pt x="223837" y="848254"/>
                </a:cubicBezTo>
                <a:cubicBezTo>
                  <a:pt x="221456" y="849841"/>
                  <a:pt x="219309" y="851854"/>
                  <a:pt x="216694" y="853016"/>
                </a:cubicBezTo>
                <a:cubicBezTo>
                  <a:pt x="209237" y="856330"/>
                  <a:pt x="200800" y="858181"/>
                  <a:pt x="192881" y="860160"/>
                </a:cubicBezTo>
                <a:lnTo>
                  <a:pt x="178594" y="869685"/>
                </a:lnTo>
                <a:cubicBezTo>
                  <a:pt x="176213" y="871273"/>
                  <a:pt x="174165" y="873543"/>
                  <a:pt x="171450" y="874448"/>
                </a:cubicBezTo>
                <a:lnTo>
                  <a:pt x="157162" y="879210"/>
                </a:lnTo>
                <a:cubicBezTo>
                  <a:pt x="154781" y="880798"/>
                  <a:pt x="152579" y="882693"/>
                  <a:pt x="150019" y="883973"/>
                </a:cubicBezTo>
                <a:cubicBezTo>
                  <a:pt x="147774" y="885096"/>
                  <a:pt x="144964" y="884962"/>
                  <a:pt x="142875" y="886354"/>
                </a:cubicBezTo>
                <a:cubicBezTo>
                  <a:pt x="135048" y="891572"/>
                  <a:pt x="136460" y="894052"/>
                  <a:pt x="130969" y="900641"/>
                </a:cubicBezTo>
                <a:cubicBezTo>
                  <a:pt x="128813" y="903228"/>
                  <a:pt x="126206" y="905404"/>
                  <a:pt x="123825" y="907785"/>
                </a:cubicBezTo>
                <a:cubicBezTo>
                  <a:pt x="121344" y="915230"/>
                  <a:pt x="118938" y="924537"/>
                  <a:pt x="111919" y="929216"/>
                </a:cubicBezTo>
                <a:lnTo>
                  <a:pt x="97631" y="938741"/>
                </a:lnTo>
                <a:cubicBezTo>
                  <a:pt x="96044" y="936360"/>
                  <a:pt x="95526" y="932661"/>
                  <a:pt x="92869" y="931598"/>
                </a:cubicBezTo>
                <a:cubicBezTo>
                  <a:pt x="89788" y="930366"/>
                  <a:pt x="80086" y="937738"/>
                  <a:pt x="78581" y="938741"/>
                </a:cubicBezTo>
                <a:cubicBezTo>
                  <a:pt x="76200" y="937154"/>
                  <a:pt x="73461" y="936003"/>
                  <a:pt x="71437" y="933979"/>
                </a:cubicBezTo>
                <a:cubicBezTo>
                  <a:pt x="69413" y="931955"/>
                  <a:pt x="68910" y="928623"/>
                  <a:pt x="66675" y="926835"/>
                </a:cubicBezTo>
                <a:cubicBezTo>
                  <a:pt x="64715" y="925267"/>
                  <a:pt x="61912" y="925248"/>
                  <a:pt x="59531" y="924454"/>
                </a:cubicBezTo>
                <a:cubicBezTo>
                  <a:pt x="57944" y="922073"/>
                  <a:pt x="57254" y="918730"/>
                  <a:pt x="54769" y="917310"/>
                </a:cubicBezTo>
                <a:cubicBezTo>
                  <a:pt x="51255" y="915302"/>
                  <a:pt x="46813" y="915807"/>
                  <a:pt x="42862" y="914929"/>
                </a:cubicBezTo>
                <a:cubicBezTo>
                  <a:pt x="20303" y="909916"/>
                  <a:pt x="47585" y="913736"/>
                  <a:pt x="4762" y="910166"/>
                </a:cubicBezTo>
                <a:cubicBezTo>
                  <a:pt x="8835" y="897950"/>
                  <a:pt x="11867" y="897375"/>
                  <a:pt x="7144" y="886354"/>
                </a:cubicBezTo>
                <a:cubicBezTo>
                  <a:pt x="6017" y="883723"/>
                  <a:pt x="3969" y="881591"/>
                  <a:pt x="2381" y="879210"/>
                </a:cubicBezTo>
                <a:cubicBezTo>
                  <a:pt x="1587" y="876829"/>
                  <a:pt x="0" y="874576"/>
                  <a:pt x="0" y="872066"/>
                </a:cubicBezTo>
                <a:cubicBezTo>
                  <a:pt x="0" y="859501"/>
                  <a:pt x="6250" y="859962"/>
                  <a:pt x="16669" y="853016"/>
                </a:cubicBezTo>
                <a:cubicBezTo>
                  <a:pt x="19050" y="851429"/>
                  <a:pt x="21097" y="849159"/>
                  <a:pt x="23812" y="848254"/>
                </a:cubicBezTo>
                <a:cubicBezTo>
                  <a:pt x="26193" y="847460"/>
                  <a:pt x="28510" y="846437"/>
                  <a:pt x="30956" y="845873"/>
                </a:cubicBezTo>
                <a:cubicBezTo>
                  <a:pt x="38844" y="844053"/>
                  <a:pt x="47089" y="843670"/>
                  <a:pt x="54769" y="841110"/>
                </a:cubicBezTo>
                <a:lnTo>
                  <a:pt x="69056" y="836348"/>
                </a:lnTo>
                <a:lnTo>
                  <a:pt x="83344" y="826823"/>
                </a:lnTo>
                <a:cubicBezTo>
                  <a:pt x="85725" y="825236"/>
                  <a:pt x="87772" y="822965"/>
                  <a:pt x="90487" y="822060"/>
                </a:cubicBezTo>
                <a:lnTo>
                  <a:pt x="111919" y="814916"/>
                </a:lnTo>
                <a:cubicBezTo>
                  <a:pt x="114300" y="814122"/>
                  <a:pt x="116974" y="813927"/>
                  <a:pt x="119062" y="812535"/>
                </a:cubicBezTo>
                <a:lnTo>
                  <a:pt x="126206" y="807773"/>
                </a:lnTo>
                <a:cubicBezTo>
                  <a:pt x="127000" y="805392"/>
                  <a:pt x="127019" y="802589"/>
                  <a:pt x="128587" y="800629"/>
                </a:cubicBezTo>
                <a:cubicBezTo>
                  <a:pt x="140897" y="785241"/>
                  <a:pt x="132127" y="806678"/>
                  <a:pt x="138112" y="788723"/>
                </a:cubicBezTo>
                <a:cubicBezTo>
                  <a:pt x="127195" y="772347"/>
                  <a:pt x="134017" y="776245"/>
                  <a:pt x="121444" y="772054"/>
                </a:cubicBezTo>
                <a:lnTo>
                  <a:pt x="107156" y="762529"/>
                </a:lnTo>
                <a:cubicBezTo>
                  <a:pt x="104775" y="760941"/>
                  <a:pt x="102727" y="758671"/>
                  <a:pt x="100012" y="757766"/>
                </a:cubicBezTo>
                <a:cubicBezTo>
                  <a:pt x="92553" y="755280"/>
                  <a:pt x="84120" y="752063"/>
                  <a:pt x="76200" y="750623"/>
                </a:cubicBezTo>
                <a:cubicBezTo>
                  <a:pt x="70678" y="749619"/>
                  <a:pt x="65078" y="749095"/>
                  <a:pt x="59531" y="748241"/>
                </a:cubicBezTo>
                <a:cubicBezTo>
                  <a:pt x="54759" y="747507"/>
                  <a:pt x="50006" y="746654"/>
                  <a:pt x="45244" y="745860"/>
                </a:cubicBezTo>
                <a:cubicBezTo>
                  <a:pt x="42863" y="743479"/>
                  <a:pt x="39968" y="741518"/>
                  <a:pt x="38100" y="738716"/>
                </a:cubicBezTo>
                <a:cubicBezTo>
                  <a:pt x="40084" y="730382"/>
                  <a:pt x="47625" y="713317"/>
                  <a:pt x="57150" y="695854"/>
                </a:cubicBezTo>
                <a:cubicBezTo>
                  <a:pt x="65881" y="683948"/>
                  <a:pt x="87709" y="645054"/>
                  <a:pt x="95250" y="633941"/>
                </a:cubicBezTo>
                <a:lnTo>
                  <a:pt x="102394" y="629179"/>
                </a:lnTo>
                <a:cubicBezTo>
                  <a:pt x="111073" y="603139"/>
                  <a:pt x="97234" y="642572"/>
                  <a:pt x="109537" y="614891"/>
                </a:cubicBezTo>
                <a:cubicBezTo>
                  <a:pt x="111576" y="610304"/>
                  <a:pt x="112712" y="605366"/>
                  <a:pt x="114300" y="600604"/>
                </a:cubicBezTo>
                <a:cubicBezTo>
                  <a:pt x="115094" y="598223"/>
                  <a:pt x="115289" y="595548"/>
                  <a:pt x="116681" y="593460"/>
                </a:cubicBezTo>
                <a:lnTo>
                  <a:pt x="121444" y="586316"/>
                </a:lnTo>
                <a:cubicBezTo>
                  <a:pt x="127000" y="569648"/>
                  <a:pt x="121444" y="573616"/>
                  <a:pt x="133350" y="569648"/>
                </a:cubicBezTo>
                <a:cubicBezTo>
                  <a:pt x="135731" y="567267"/>
                  <a:pt x="137907" y="564660"/>
                  <a:pt x="140494" y="562504"/>
                </a:cubicBezTo>
                <a:cubicBezTo>
                  <a:pt x="142692" y="560672"/>
                  <a:pt x="145753" y="559895"/>
                  <a:pt x="147637" y="557741"/>
                </a:cubicBezTo>
                <a:cubicBezTo>
                  <a:pt x="169859" y="532343"/>
                  <a:pt x="142877" y="552978"/>
                  <a:pt x="171450" y="533929"/>
                </a:cubicBezTo>
                <a:lnTo>
                  <a:pt x="192881" y="519641"/>
                </a:lnTo>
                <a:lnTo>
                  <a:pt x="200025" y="514879"/>
                </a:lnTo>
                <a:cubicBezTo>
                  <a:pt x="201612" y="512498"/>
                  <a:pt x="204787" y="510597"/>
                  <a:pt x="204787" y="507735"/>
                </a:cubicBezTo>
                <a:cubicBezTo>
                  <a:pt x="204787" y="494057"/>
                  <a:pt x="199666" y="494446"/>
                  <a:pt x="192881" y="486304"/>
                </a:cubicBezTo>
                <a:cubicBezTo>
                  <a:pt x="187753" y="480151"/>
                  <a:pt x="188124" y="479174"/>
                  <a:pt x="185737" y="472016"/>
                </a:cubicBezTo>
                <a:cubicBezTo>
                  <a:pt x="186531" y="443441"/>
                  <a:pt x="186655" y="414840"/>
                  <a:pt x="188119" y="386291"/>
                </a:cubicBezTo>
                <a:cubicBezTo>
                  <a:pt x="188248" y="383785"/>
                  <a:pt x="189378" y="381393"/>
                  <a:pt x="190500" y="379148"/>
                </a:cubicBezTo>
                <a:cubicBezTo>
                  <a:pt x="194079" y="371989"/>
                  <a:pt x="204814" y="360873"/>
                  <a:pt x="209550" y="357716"/>
                </a:cubicBezTo>
                <a:lnTo>
                  <a:pt x="216694" y="352954"/>
                </a:lnTo>
                <a:cubicBezTo>
                  <a:pt x="219869" y="348191"/>
                  <a:pt x="227608" y="344219"/>
                  <a:pt x="226219" y="338666"/>
                </a:cubicBezTo>
                <a:cubicBezTo>
                  <a:pt x="225425" y="335491"/>
                  <a:pt x="225301" y="332068"/>
                  <a:pt x="223837" y="329141"/>
                </a:cubicBezTo>
                <a:cubicBezTo>
                  <a:pt x="214811" y="311090"/>
                  <a:pt x="216967" y="319468"/>
                  <a:pt x="207169" y="307710"/>
                </a:cubicBezTo>
                <a:cubicBezTo>
                  <a:pt x="205337" y="305511"/>
                  <a:pt x="203994" y="302947"/>
                  <a:pt x="202406" y="300566"/>
                </a:cubicBezTo>
                <a:lnTo>
                  <a:pt x="192881" y="271991"/>
                </a:lnTo>
                <a:cubicBezTo>
                  <a:pt x="192087" y="269610"/>
                  <a:pt x="192588" y="266240"/>
                  <a:pt x="190500" y="264848"/>
                </a:cubicBezTo>
                <a:lnTo>
                  <a:pt x="183356" y="260085"/>
                </a:lnTo>
                <a:cubicBezTo>
                  <a:pt x="181769" y="257704"/>
                  <a:pt x="179874" y="255501"/>
                  <a:pt x="178594" y="252941"/>
                </a:cubicBezTo>
                <a:cubicBezTo>
                  <a:pt x="173375" y="242504"/>
                  <a:pt x="176205" y="230750"/>
                  <a:pt x="178594" y="219604"/>
                </a:cubicBezTo>
                <a:cubicBezTo>
                  <a:pt x="179194" y="216806"/>
                  <a:pt x="181202" y="214345"/>
                  <a:pt x="183356" y="212460"/>
                </a:cubicBezTo>
                <a:cubicBezTo>
                  <a:pt x="187664" y="208691"/>
                  <a:pt x="192881" y="206110"/>
                  <a:pt x="197644" y="202935"/>
                </a:cubicBezTo>
                <a:lnTo>
                  <a:pt x="204787" y="198173"/>
                </a:lnTo>
                <a:cubicBezTo>
                  <a:pt x="214967" y="182904"/>
                  <a:pt x="210940" y="192126"/>
                  <a:pt x="207169" y="160073"/>
                </a:cubicBezTo>
                <a:cubicBezTo>
                  <a:pt x="206575" y="155024"/>
                  <a:pt x="204432" y="146929"/>
                  <a:pt x="200025" y="143404"/>
                </a:cubicBezTo>
                <a:cubicBezTo>
                  <a:pt x="198065" y="141836"/>
                  <a:pt x="195351" y="141472"/>
                  <a:pt x="192881" y="141023"/>
                </a:cubicBezTo>
                <a:cubicBezTo>
                  <a:pt x="186585" y="139878"/>
                  <a:pt x="180181" y="139435"/>
                  <a:pt x="173831" y="138641"/>
                </a:cubicBezTo>
                <a:cubicBezTo>
                  <a:pt x="173037" y="136260"/>
                  <a:pt x="171173" y="133992"/>
                  <a:pt x="171450" y="131498"/>
                </a:cubicBezTo>
                <a:cubicBezTo>
                  <a:pt x="172859" y="118818"/>
                  <a:pt x="174462" y="117530"/>
                  <a:pt x="183356" y="112448"/>
                </a:cubicBezTo>
                <a:cubicBezTo>
                  <a:pt x="186438" y="110687"/>
                  <a:pt x="189799" y="109446"/>
                  <a:pt x="192881" y="107685"/>
                </a:cubicBezTo>
                <a:cubicBezTo>
                  <a:pt x="206629" y="99829"/>
                  <a:pt x="193527" y="106390"/>
                  <a:pt x="207169" y="95779"/>
                </a:cubicBezTo>
                <a:cubicBezTo>
                  <a:pt x="211687" y="92265"/>
                  <a:pt x="216694" y="89429"/>
                  <a:pt x="221456" y="86254"/>
                </a:cubicBezTo>
                <a:lnTo>
                  <a:pt x="228600" y="81491"/>
                </a:lnTo>
                <a:cubicBezTo>
                  <a:pt x="230187" y="79110"/>
                  <a:pt x="231208" y="76232"/>
                  <a:pt x="233362" y="74348"/>
                </a:cubicBezTo>
                <a:cubicBezTo>
                  <a:pt x="237670" y="70579"/>
                  <a:pt x="247650" y="64823"/>
                  <a:pt x="247650" y="64823"/>
                </a:cubicBezTo>
                <a:cubicBezTo>
                  <a:pt x="248444" y="62442"/>
                  <a:pt x="248908" y="59924"/>
                  <a:pt x="250031" y="57679"/>
                </a:cubicBezTo>
                <a:cubicBezTo>
                  <a:pt x="254348" y="49046"/>
                  <a:pt x="259556" y="48537"/>
                  <a:pt x="259556" y="36248"/>
                </a:cubicBezTo>
                <a:lnTo>
                  <a:pt x="261937" y="529"/>
                </a:lnTo>
                <a:close/>
              </a:path>
            </a:pathLst>
          </a:custGeom>
          <a:solidFill>
            <a:schemeClr val="accent3"/>
          </a:solidFill>
          <a:ln w="12700">
            <a:solidFill>
              <a:schemeClr val="bg1"/>
            </a:solidFill>
            <a:round/>
            <a:headEnd/>
            <a:tailEnd/>
          </a:ln>
        </p:spPr>
        <p:txBody>
          <a:bodyPr/>
          <a:lstStyle/>
          <a:p>
            <a:pPr>
              <a:defRPr/>
            </a:pPr>
            <a:endParaRPr lang="nl-NL"/>
          </a:p>
        </p:txBody>
      </p:sp>
      <p:sp>
        <p:nvSpPr>
          <p:cNvPr id="108" name="Freeform 107"/>
          <p:cNvSpPr/>
          <p:nvPr/>
        </p:nvSpPr>
        <p:spPr bwMode="auto">
          <a:xfrm>
            <a:off x="1803991" y="3867150"/>
            <a:ext cx="1713035" cy="2446338"/>
          </a:xfrm>
          <a:custGeom>
            <a:avLst/>
            <a:gdLst>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65900 w 1293444"/>
              <a:gd name="connsiteY51" fmla="*/ 454025 h 1704975"/>
              <a:gd name="connsiteX52" fmla="*/ 1207175 w 1293444"/>
              <a:gd name="connsiteY52" fmla="*/ 457200 h 1704975"/>
              <a:gd name="connsiteX53" fmla="*/ 1216700 w 1293444"/>
              <a:gd name="connsiteY53" fmla="*/ 463550 h 1704975"/>
              <a:gd name="connsiteX54" fmla="*/ 1270675 w 1293444"/>
              <a:gd name="connsiteY54" fmla="*/ 469900 h 1704975"/>
              <a:gd name="connsiteX55" fmla="*/ 1277025 w 1293444"/>
              <a:gd name="connsiteY55" fmla="*/ 479425 h 1704975"/>
              <a:gd name="connsiteX56" fmla="*/ 1273850 w 1293444"/>
              <a:gd name="connsiteY56" fmla="*/ 488950 h 1704975"/>
              <a:gd name="connsiteX57" fmla="*/ 1270675 w 1293444"/>
              <a:gd name="connsiteY57" fmla="*/ 511175 h 1704975"/>
              <a:gd name="connsiteX58" fmla="*/ 1264325 w 1293444"/>
              <a:gd name="connsiteY58" fmla="*/ 530225 h 1704975"/>
              <a:gd name="connsiteX59" fmla="*/ 1261150 w 1293444"/>
              <a:gd name="connsiteY59" fmla="*/ 539750 h 1704975"/>
              <a:gd name="connsiteX60" fmla="*/ 1254800 w 1293444"/>
              <a:gd name="connsiteY60" fmla="*/ 571500 h 1704975"/>
              <a:gd name="connsiteX61" fmla="*/ 1254800 w 1293444"/>
              <a:gd name="connsiteY61" fmla="*/ 692150 h 1704975"/>
              <a:gd name="connsiteX62" fmla="*/ 1257975 w 1293444"/>
              <a:gd name="connsiteY62" fmla="*/ 714375 h 1704975"/>
              <a:gd name="connsiteX63" fmla="*/ 1261150 w 1293444"/>
              <a:gd name="connsiteY63" fmla="*/ 723900 h 1704975"/>
              <a:gd name="connsiteX64" fmla="*/ 1273850 w 1293444"/>
              <a:gd name="connsiteY64" fmla="*/ 727075 h 1704975"/>
              <a:gd name="connsiteX65" fmla="*/ 1292900 w 1293444"/>
              <a:gd name="connsiteY65" fmla="*/ 739775 h 1704975"/>
              <a:gd name="connsiteX66" fmla="*/ 1289725 w 1293444"/>
              <a:gd name="connsiteY66" fmla="*/ 784225 h 1704975"/>
              <a:gd name="connsiteX67" fmla="*/ 1273850 w 1293444"/>
              <a:gd name="connsiteY67" fmla="*/ 800100 h 1704975"/>
              <a:gd name="connsiteX68" fmla="*/ 1264325 w 1293444"/>
              <a:gd name="connsiteY68" fmla="*/ 809625 h 1704975"/>
              <a:gd name="connsiteX69" fmla="*/ 1219875 w 1293444"/>
              <a:gd name="connsiteY69" fmla="*/ 819150 h 1704975"/>
              <a:gd name="connsiteX70" fmla="*/ 1200825 w 1293444"/>
              <a:gd name="connsiteY70" fmla="*/ 825500 h 1704975"/>
              <a:gd name="connsiteX71" fmla="*/ 1181775 w 1293444"/>
              <a:gd name="connsiteY71" fmla="*/ 838200 h 1704975"/>
              <a:gd name="connsiteX72" fmla="*/ 1172250 w 1293444"/>
              <a:gd name="connsiteY72" fmla="*/ 844550 h 1704975"/>
              <a:gd name="connsiteX73" fmla="*/ 1153200 w 1293444"/>
              <a:gd name="connsiteY73" fmla="*/ 850900 h 1704975"/>
              <a:gd name="connsiteX74" fmla="*/ 1140500 w 1293444"/>
              <a:gd name="connsiteY74" fmla="*/ 857250 h 1704975"/>
              <a:gd name="connsiteX75" fmla="*/ 1130975 w 1293444"/>
              <a:gd name="connsiteY75" fmla="*/ 863600 h 1704975"/>
              <a:gd name="connsiteX76" fmla="*/ 1105575 w 1293444"/>
              <a:gd name="connsiteY76" fmla="*/ 866775 h 1704975"/>
              <a:gd name="connsiteX77" fmla="*/ 1086525 w 1293444"/>
              <a:gd name="connsiteY77" fmla="*/ 873125 h 1704975"/>
              <a:gd name="connsiteX78" fmla="*/ 1077000 w 1293444"/>
              <a:gd name="connsiteY78" fmla="*/ 879475 h 1704975"/>
              <a:gd name="connsiteX79" fmla="*/ 1057950 w 1293444"/>
              <a:gd name="connsiteY79" fmla="*/ 885825 h 1704975"/>
              <a:gd name="connsiteX80" fmla="*/ 1048425 w 1293444"/>
              <a:gd name="connsiteY80" fmla="*/ 889000 h 1704975"/>
              <a:gd name="connsiteX81" fmla="*/ 1029375 w 1293444"/>
              <a:gd name="connsiteY81" fmla="*/ 908050 h 1704975"/>
              <a:gd name="connsiteX82" fmla="*/ 1010325 w 1293444"/>
              <a:gd name="connsiteY82" fmla="*/ 914400 h 1704975"/>
              <a:gd name="connsiteX83" fmla="*/ 1003975 w 1293444"/>
              <a:gd name="connsiteY83" fmla="*/ 923925 h 1704975"/>
              <a:gd name="connsiteX84" fmla="*/ 994450 w 1293444"/>
              <a:gd name="connsiteY84" fmla="*/ 933450 h 1704975"/>
              <a:gd name="connsiteX85" fmla="*/ 991275 w 1293444"/>
              <a:gd name="connsiteY85" fmla="*/ 942975 h 1704975"/>
              <a:gd name="connsiteX86" fmla="*/ 988100 w 1293444"/>
              <a:gd name="connsiteY86" fmla="*/ 962025 h 1704975"/>
              <a:gd name="connsiteX87" fmla="*/ 969050 w 1293444"/>
              <a:gd name="connsiteY87" fmla="*/ 968375 h 1704975"/>
              <a:gd name="connsiteX88" fmla="*/ 950000 w 1293444"/>
              <a:gd name="connsiteY88" fmla="*/ 981075 h 1704975"/>
              <a:gd name="connsiteX89" fmla="*/ 940475 w 1293444"/>
              <a:gd name="connsiteY89" fmla="*/ 987425 h 1704975"/>
              <a:gd name="connsiteX90" fmla="*/ 930950 w 1293444"/>
              <a:gd name="connsiteY90" fmla="*/ 1006475 h 1704975"/>
              <a:gd name="connsiteX91" fmla="*/ 924600 w 1293444"/>
              <a:gd name="connsiteY91" fmla="*/ 1016000 h 1704975"/>
              <a:gd name="connsiteX92" fmla="*/ 921425 w 1293444"/>
              <a:gd name="connsiteY92" fmla="*/ 1025525 h 1704975"/>
              <a:gd name="connsiteX93" fmla="*/ 905550 w 1293444"/>
              <a:gd name="connsiteY93" fmla="*/ 1044575 h 1704975"/>
              <a:gd name="connsiteX94" fmla="*/ 896025 w 1293444"/>
              <a:gd name="connsiteY94" fmla="*/ 1063625 h 1704975"/>
              <a:gd name="connsiteX95" fmla="*/ 867450 w 1293444"/>
              <a:gd name="connsiteY95" fmla="*/ 1085850 h 1704975"/>
              <a:gd name="connsiteX96" fmla="*/ 848400 w 1293444"/>
              <a:gd name="connsiteY96" fmla="*/ 1095375 h 1704975"/>
              <a:gd name="connsiteX97" fmla="*/ 813475 w 1293444"/>
              <a:gd name="connsiteY97" fmla="*/ 1092200 h 1704975"/>
              <a:gd name="connsiteX98" fmla="*/ 772200 w 1293444"/>
              <a:gd name="connsiteY98" fmla="*/ 1098550 h 1704975"/>
              <a:gd name="connsiteX99" fmla="*/ 759500 w 1293444"/>
              <a:gd name="connsiteY99" fmla="*/ 1127125 h 1704975"/>
              <a:gd name="connsiteX100" fmla="*/ 756325 w 1293444"/>
              <a:gd name="connsiteY100" fmla="*/ 1136650 h 1704975"/>
              <a:gd name="connsiteX101" fmla="*/ 740450 w 1293444"/>
              <a:gd name="connsiteY101" fmla="*/ 1155700 h 1704975"/>
              <a:gd name="connsiteX102" fmla="*/ 718225 w 1293444"/>
              <a:gd name="connsiteY102" fmla="*/ 1181100 h 1704975"/>
              <a:gd name="connsiteX103" fmla="*/ 721400 w 1293444"/>
              <a:gd name="connsiteY103" fmla="*/ 1238250 h 1704975"/>
              <a:gd name="connsiteX104" fmla="*/ 727750 w 1293444"/>
              <a:gd name="connsiteY104" fmla="*/ 1247775 h 1704975"/>
              <a:gd name="connsiteX105" fmla="*/ 730925 w 1293444"/>
              <a:gd name="connsiteY105" fmla="*/ 1257300 h 1704975"/>
              <a:gd name="connsiteX106" fmla="*/ 740450 w 1293444"/>
              <a:gd name="connsiteY106" fmla="*/ 1276350 h 1704975"/>
              <a:gd name="connsiteX107" fmla="*/ 743625 w 1293444"/>
              <a:gd name="connsiteY107" fmla="*/ 1320800 h 1704975"/>
              <a:gd name="connsiteX108" fmla="*/ 746800 w 1293444"/>
              <a:gd name="connsiteY108" fmla="*/ 1330325 h 1704975"/>
              <a:gd name="connsiteX109" fmla="*/ 756325 w 1293444"/>
              <a:gd name="connsiteY109" fmla="*/ 1336675 h 1704975"/>
              <a:gd name="connsiteX110" fmla="*/ 762675 w 1293444"/>
              <a:gd name="connsiteY110" fmla="*/ 1346200 h 1704975"/>
              <a:gd name="connsiteX111" fmla="*/ 769025 w 1293444"/>
              <a:gd name="connsiteY111" fmla="*/ 1393825 h 1704975"/>
              <a:gd name="connsiteX112" fmla="*/ 775375 w 1293444"/>
              <a:gd name="connsiteY112" fmla="*/ 1412875 h 1704975"/>
              <a:gd name="connsiteX113" fmla="*/ 781725 w 1293444"/>
              <a:gd name="connsiteY113" fmla="*/ 1435100 h 1704975"/>
              <a:gd name="connsiteX114" fmla="*/ 772200 w 1293444"/>
              <a:gd name="connsiteY114" fmla="*/ 1460500 h 1704975"/>
              <a:gd name="connsiteX115" fmla="*/ 762675 w 1293444"/>
              <a:gd name="connsiteY115" fmla="*/ 1466850 h 1704975"/>
              <a:gd name="connsiteX116" fmla="*/ 753150 w 1293444"/>
              <a:gd name="connsiteY116" fmla="*/ 1485900 h 1704975"/>
              <a:gd name="connsiteX117" fmla="*/ 749975 w 1293444"/>
              <a:gd name="connsiteY117" fmla="*/ 1514475 h 1704975"/>
              <a:gd name="connsiteX118" fmla="*/ 740450 w 1293444"/>
              <a:gd name="connsiteY118" fmla="*/ 1520825 h 1704975"/>
              <a:gd name="connsiteX119" fmla="*/ 730925 w 1293444"/>
              <a:gd name="connsiteY119" fmla="*/ 1530350 h 1704975"/>
              <a:gd name="connsiteX120" fmla="*/ 718225 w 1293444"/>
              <a:gd name="connsiteY120" fmla="*/ 1549400 h 1704975"/>
              <a:gd name="connsiteX121" fmla="*/ 711875 w 1293444"/>
              <a:gd name="connsiteY121" fmla="*/ 1558925 h 1704975"/>
              <a:gd name="connsiteX122" fmla="*/ 702350 w 1293444"/>
              <a:gd name="connsiteY122" fmla="*/ 1568450 h 1704975"/>
              <a:gd name="connsiteX123" fmla="*/ 699175 w 1293444"/>
              <a:gd name="connsiteY123" fmla="*/ 1577975 h 1704975"/>
              <a:gd name="connsiteX124" fmla="*/ 686475 w 1293444"/>
              <a:gd name="connsiteY124" fmla="*/ 1597025 h 1704975"/>
              <a:gd name="connsiteX125" fmla="*/ 676950 w 1293444"/>
              <a:gd name="connsiteY125" fmla="*/ 1616075 h 1704975"/>
              <a:gd name="connsiteX126" fmla="*/ 667425 w 1293444"/>
              <a:gd name="connsiteY126" fmla="*/ 1619250 h 1704975"/>
              <a:gd name="connsiteX127" fmla="*/ 648375 w 1293444"/>
              <a:gd name="connsiteY127" fmla="*/ 1631950 h 1704975"/>
              <a:gd name="connsiteX128" fmla="*/ 638850 w 1293444"/>
              <a:gd name="connsiteY128" fmla="*/ 1638300 h 1704975"/>
              <a:gd name="connsiteX129" fmla="*/ 607100 w 1293444"/>
              <a:gd name="connsiteY129" fmla="*/ 1676400 h 1704975"/>
              <a:gd name="connsiteX130" fmla="*/ 556300 w 1293444"/>
              <a:gd name="connsiteY130" fmla="*/ 1679575 h 1704975"/>
              <a:gd name="connsiteX131" fmla="*/ 537250 w 1293444"/>
              <a:gd name="connsiteY131" fmla="*/ 1685925 h 1704975"/>
              <a:gd name="connsiteX132" fmla="*/ 515025 w 1293444"/>
              <a:gd name="connsiteY132" fmla="*/ 1698625 h 1704975"/>
              <a:gd name="connsiteX133" fmla="*/ 495975 w 1293444"/>
              <a:gd name="connsiteY133" fmla="*/ 1704975 h 1704975"/>
              <a:gd name="connsiteX134" fmla="*/ 476925 w 1293444"/>
              <a:gd name="connsiteY134" fmla="*/ 1701800 h 1704975"/>
              <a:gd name="connsiteX135" fmla="*/ 470575 w 1293444"/>
              <a:gd name="connsiteY135" fmla="*/ 1692275 h 1704975"/>
              <a:gd name="connsiteX136" fmla="*/ 467400 w 1293444"/>
              <a:gd name="connsiteY136" fmla="*/ 1660525 h 1704975"/>
              <a:gd name="connsiteX137" fmla="*/ 457875 w 1293444"/>
              <a:gd name="connsiteY137" fmla="*/ 1641475 h 1704975"/>
              <a:gd name="connsiteX138" fmla="*/ 448350 w 1293444"/>
              <a:gd name="connsiteY138" fmla="*/ 1635125 h 1704975"/>
              <a:gd name="connsiteX139" fmla="*/ 445175 w 1293444"/>
              <a:gd name="connsiteY139" fmla="*/ 1625600 h 1704975"/>
              <a:gd name="connsiteX140" fmla="*/ 435650 w 1293444"/>
              <a:gd name="connsiteY140" fmla="*/ 1606550 h 1704975"/>
              <a:gd name="connsiteX141" fmla="*/ 432475 w 1293444"/>
              <a:gd name="connsiteY141" fmla="*/ 1495425 h 1704975"/>
              <a:gd name="connsiteX142" fmla="*/ 429300 w 1293444"/>
              <a:gd name="connsiteY142" fmla="*/ 1485900 h 1704975"/>
              <a:gd name="connsiteX143" fmla="*/ 426125 w 1293444"/>
              <a:gd name="connsiteY143" fmla="*/ 1473200 h 1704975"/>
              <a:gd name="connsiteX144" fmla="*/ 419775 w 1293444"/>
              <a:gd name="connsiteY144" fmla="*/ 1463675 h 1704975"/>
              <a:gd name="connsiteX145" fmla="*/ 416600 w 1293444"/>
              <a:gd name="connsiteY145" fmla="*/ 1454150 h 1704975"/>
              <a:gd name="connsiteX146" fmla="*/ 403900 w 1293444"/>
              <a:gd name="connsiteY146" fmla="*/ 1435100 h 1704975"/>
              <a:gd name="connsiteX147" fmla="*/ 397550 w 1293444"/>
              <a:gd name="connsiteY147" fmla="*/ 1416050 h 1704975"/>
              <a:gd name="connsiteX148" fmla="*/ 394375 w 1293444"/>
              <a:gd name="connsiteY148" fmla="*/ 1381125 h 1704975"/>
              <a:gd name="connsiteX149" fmla="*/ 391200 w 1293444"/>
              <a:gd name="connsiteY149" fmla="*/ 1368425 h 1704975"/>
              <a:gd name="connsiteX150" fmla="*/ 388025 w 1293444"/>
              <a:gd name="connsiteY150" fmla="*/ 1352550 h 1704975"/>
              <a:gd name="connsiteX151" fmla="*/ 381675 w 1293444"/>
              <a:gd name="connsiteY151" fmla="*/ 1333500 h 1704975"/>
              <a:gd name="connsiteX152" fmla="*/ 378500 w 1293444"/>
              <a:gd name="connsiteY152" fmla="*/ 1323975 h 1704975"/>
              <a:gd name="connsiteX153" fmla="*/ 375325 w 1293444"/>
              <a:gd name="connsiteY153" fmla="*/ 1308100 h 1704975"/>
              <a:gd name="connsiteX154" fmla="*/ 368975 w 1293444"/>
              <a:gd name="connsiteY154" fmla="*/ 1289050 h 1704975"/>
              <a:gd name="connsiteX155" fmla="*/ 362625 w 1293444"/>
              <a:gd name="connsiteY155" fmla="*/ 1260475 h 1704975"/>
              <a:gd name="connsiteX156" fmla="*/ 359450 w 1293444"/>
              <a:gd name="connsiteY156" fmla="*/ 1231900 h 1704975"/>
              <a:gd name="connsiteX157" fmla="*/ 349925 w 1293444"/>
              <a:gd name="connsiteY157" fmla="*/ 1196975 h 1704975"/>
              <a:gd name="connsiteX158" fmla="*/ 340400 w 1293444"/>
              <a:gd name="connsiteY158" fmla="*/ 1155700 h 1704975"/>
              <a:gd name="connsiteX159" fmla="*/ 334050 w 1293444"/>
              <a:gd name="connsiteY159" fmla="*/ 1130300 h 1704975"/>
              <a:gd name="connsiteX160" fmla="*/ 327700 w 1293444"/>
              <a:gd name="connsiteY160" fmla="*/ 1104900 h 1704975"/>
              <a:gd name="connsiteX161" fmla="*/ 324525 w 1293444"/>
              <a:gd name="connsiteY161" fmla="*/ 1092200 h 1704975"/>
              <a:gd name="connsiteX162" fmla="*/ 318175 w 1293444"/>
              <a:gd name="connsiteY162" fmla="*/ 1050925 h 1704975"/>
              <a:gd name="connsiteX163" fmla="*/ 315000 w 1293444"/>
              <a:gd name="connsiteY163" fmla="*/ 1031875 h 1704975"/>
              <a:gd name="connsiteX164" fmla="*/ 311825 w 1293444"/>
              <a:gd name="connsiteY164" fmla="*/ 1022350 h 1704975"/>
              <a:gd name="connsiteX165" fmla="*/ 308650 w 1293444"/>
              <a:gd name="connsiteY165" fmla="*/ 1006475 h 1704975"/>
              <a:gd name="connsiteX166" fmla="*/ 302300 w 1293444"/>
              <a:gd name="connsiteY166" fmla="*/ 987425 h 1704975"/>
              <a:gd name="connsiteX167" fmla="*/ 299125 w 1293444"/>
              <a:gd name="connsiteY167" fmla="*/ 974725 h 1704975"/>
              <a:gd name="connsiteX168" fmla="*/ 292775 w 1293444"/>
              <a:gd name="connsiteY168" fmla="*/ 955675 h 1704975"/>
              <a:gd name="connsiteX169" fmla="*/ 289600 w 1293444"/>
              <a:gd name="connsiteY169" fmla="*/ 946150 h 1704975"/>
              <a:gd name="connsiteX170" fmla="*/ 280075 w 1293444"/>
              <a:gd name="connsiteY170" fmla="*/ 923925 h 1704975"/>
              <a:gd name="connsiteX171" fmla="*/ 261025 w 1293444"/>
              <a:gd name="connsiteY171" fmla="*/ 908050 h 1704975"/>
              <a:gd name="connsiteX172" fmla="*/ 241975 w 1293444"/>
              <a:gd name="connsiteY172" fmla="*/ 901700 h 1704975"/>
              <a:gd name="connsiteX173" fmla="*/ 222925 w 1293444"/>
              <a:gd name="connsiteY173" fmla="*/ 889000 h 1704975"/>
              <a:gd name="connsiteX174" fmla="*/ 213400 w 1293444"/>
              <a:gd name="connsiteY174" fmla="*/ 885825 h 1704975"/>
              <a:gd name="connsiteX175" fmla="*/ 194350 w 1293444"/>
              <a:gd name="connsiteY175" fmla="*/ 873125 h 1704975"/>
              <a:gd name="connsiteX176" fmla="*/ 175300 w 1293444"/>
              <a:gd name="connsiteY176" fmla="*/ 860425 h 1704975"/>
              <a:gd name="connsiteX177" fmla="*/ 162600 w 1293444"/>
              <a:gd name="connsiteY177" fmla="*/ 850900 h 1704975"/>
              <a:gd name="connsiteX178" fmla="*/ 153075 w 1293444"/>
              <a:gd name="connsiteY178" fmla="*/ 847725 h 1704975"/>
              <a:gd name="connsiteX179" fmla="*/ 134025 w 1293444"/>
              <a:gd name="connsiteY179" fmla="*/ 835025 h 1704975"/>
              <a:gd name="connsiteX180" fmla="*/ 114975 w 1293444"/>
              <a:gd name="connsiteY180" fmla="*/ 822325 h 1704975"/>
              <a:gd name="connsiteX181" fmla="*/ 105450 w 1293444"/>
              <a:gd name="connsiteY181" fmla="*/ 815975 h 1704975"/>
              <a:gd name="connsiteX182" fmla="*/ 95925 w 1293444"/>
              <a:gd name="connsiteY182" fmla="*/ 812800 h 1704975"/>
              <a:gd name="connsiteX183" fmla="*/ 64175 w 1293444"/>
              <a:gd name="connsiteY183" fmla="*/ 790575 h 1704975"/>
              <a:gd name="connsiteX184" fmla="*/ 54650 w 1293444"/>
              <a:gd name="connsiteY184" fmla="*/ 787400 h 1704975"/>
              <a:gd name="connsiteX185" fmla="*/ 38775 w 1293444"/>
              <a:gd name="connsiteY185" fmla="*/ 771525 h 1704975"/>
              <a:gd name="connsiteX186" fmla="*/ 29250 w 1293444"/>
              <a:gd name="connsiteY186" fmla="*/ 762000 h 1704975"/>
              <a:gd name="connsiteX187" fmla="*/ 19725 w 1293444"/>
              <a:gd name="connsiteY187" fmla="*/ 758825 h 1704975"/>
              <a:gd name="connsiteX188" fmla="*/ 675 w 1293444"/>
              <a:gd name="connsiteY188" fmla="*/ 746125 h 1704975"/>
              <a:gd name="connsiteX189" fmla="*/ 51475 w 1293444"/>
              <a:gd name="connsiteY189" fmla="*/ 739775 h 1704975"/>
              <a:gd name="connsiteX190" fmla="*/ 67350 w 1293444"/>
              <a:gd name="connsiteY190" fmla="*/ 736600 h 1704975"/>
              <a:gd name="connsiteX191" fmla="*/ 102275 w 1293444"/>
              <a:gd name="connsiteY191" fmla="*/ 733425 h 1704975"/>
              <a:gd name="connsiteX192" fmla="*/ 130850 w 1293444"/>
              <a:gd name="connsiteY192" fmla="*/ 727075 h 1704975"/>
              <a:gd name="connsiteX193" fmla="*/ 149900 w 1293444"/>
              <a:gd name="connsiteY193" fmla="*/ 723900 h 1704975"/>
              <a:gd name="connsiteX194" fmla="*/ 159425 w 1293444"/>
              <a:gd name="connsiteY194" fmla="*/ 720725 h 1704975"/>
              <a:gd name="connsiteX195" fmla="*/ 175300 w 1293444"/>
              <a:gd name="connsiteY195" fmla="*/ 717550 h 1704975"/>
              <a:gd name="connsiteX196" fmla="*/ 194350 w 1293444"/>
              <a:gd name="connsiteY196" fmla="*/ 711200 h 1704975"/>
              <a:gd name="connsiteX197" fmla="*/ 222925 w 1293444"/>
              <a:gd name="connsiteY197" fmla="*/ 701675 h 1704975"/>
              <a:gd name="connsiteX198" fmla="*/ 232450 w 1293444"/>
              <a:gd name="connsiteY198" fmla="*/ 698500 h 1704975"/>
              <a:gd name="connsiteX199" fmla="*/ 241975 w 1293444"/>
              <a:gd name="connsiteY199" fmla="*/ 695325 h 1704975"/>
              <a:gd name="connsiteX200" fmla="*/ 381675 w 1293444"/>
              <a:gd name="connsiteY200" fmla="*/ 688975 h 1704975"/>
              <a:gd name="connsiteX201" fmla="*/ 397550 w 1293444"/>
              <a:gd name="connsiteY201" fmla="*/ 685800 h 1704975"/>
              <a:gd name="connsiteX202" fmla="*/ 407075 w 1293444"/>
              <a:gd name="connsiteY202" fmla="*/ 682625 h 1704975"/>
              <a:gd name="connsiteX203" fmla="*/ 419775 w 1293444"/>
              <a:gd name="connsiteY203" fmla="*/ 679450 h 1704975"/>
              <a:gd name="connsiteX204" fmla="*/ 438825 w 1293444"/>
              <a:gd name="connsiteY204" fmla="*/ 673100 h 1704975"/>
              <a:gd name="connsiteX205" fmla="*/ 467400 w 1293444"/>
              <a:gd name="connsiteY205" fmla="*/ 663575 h 1704975"/>
              <a:gd name="connsiteX206" fmla="*/ 495975 w 1293444"/>
              <a:gd name="connsiteY206" fmla="*/ 654050 h 1704975"/>
              <a:gd name="connsiteX207" fmla="*/ 505500 w 1293444"/>
              <a:gd name="connsiteY207" fmla="*/ 650875 h 1704975"/>
              <a:gd name="connsiteX208" fmla="*/ 527725 w 1293444"/>
              <a:gd name="connsiteY208" fmla="*/ 641350 h 1704975"/>
              <a:gd name="connsiteX209" fmla="*/ 537250 w 1293444"/>
              <a:gd name="connsiteY209" fmla="*/ 635000 h 1704975"/>
              <a:gd name="connsiteX210" fmla="*/ 546775 w 1293444"/>
              <a:gd name="connsiteY210" fmla="*/ 631825 h 1704975"/>
              <a:gd name="connsiteX211" fmla="*/ 559475 w 1293444"/>
              <a:gd name="connsiteY211" fmla="*/ 625475 h 1704975"/>
              <a:gd name="connsiteX212" fmla="*/ 578525 w 1293444"/>
              <a:gd name="connsiteY212" fmla="*/ 657225 h 1704975"/>
              <a:gd name="connsiteX213" fmla="*/ 588050 w 1293444"/>
              <a:gd name="connsiteY213" fmla="*/ 660400 h 1704975"/>
              <a:gd name="connsiteX214" fmla="*/ 607100 w 1293444"/>
              <a:gd name="connsiteY214" fmla="*/ 673100 h 1704975"/>
              <a:gd name="connsiteX215" fmla="*/ 626150 w 1293444"/>
              <a:gd name="connsiteY215" fmla="*/ 679450 h 1704975"/>
              <a:gd name="connsiteX216" fmla="*/ 635675 w 1293444"/>
              <a:gd name="connsiteY216" fmla="*/ 685800 h 1704975"/>
              <a:gd name="connsiteX217" fmla="*/ 654725 w 1293444"/>
              <a:gd name="connsiteY217" fmla="*/ 692150 h 1704975"/>
              <a:gd name="connsiteX218" fmla="*/ 645200 w 1293444"/>
              <a:gd name="connsiteY218" fmla="*/ 682625 h 1704975"/>
              <a:gd name="connsiteX219" fmla="*/ 635675 w 1293444"/>
              <a:gd name="connsiteY219" fmla="*/ 676275 h 1704975"/>
              <a:gd name="connsiteX220" fmla="*/ 632500 w 1293444"/>
              <a:gd name="connsiteY220" fmla="*/ 666750 h 1704975"/>
              <a:gd name="connsiteX221" fmla="*/ 635675 w 1293444"/>
              <a:gd name="connsiteY221" fmla="*/ 590550 h 1704975"/>
              <a:gd name="connsiteX222" fmla="*/ 642025 w 1293444"/>
              <a:gd name="connsiteY222" fmla="*/ 571500 h 1704975"/>
              <a:gd name="connsiteX223" fmla="*/ 648375 w 1293444"/>
              <a:gd name="connsiteY223" fmla="*/ 561975 h 1704975"/>
              <a:gd name="connsiteX224" fmla="*/ 638850 w 1293444"/>
              <a:gd name="connsiteY224" fmla="*/ 536575 h 1704975"/>
              <a:gd name="connsiteX225" fmla="*/ 629325 w 1293444"/>
              <a:gd name="connsiteY225" fmla="*/ 533400 h 1704975"/>
              <a:gd name="connsiteX226" fmla="*/ 626150 w 1293444"/>
              <a:gd name="connsiteY226" fmla="*/ 523875 h 1704975"/>
              <a:gd name="connsiteX227" fmla="*/ 632500 w 1293444"/>
              <a:gd name="connsiteY227" fmla="*/ 498475 h 1704975"/>
              <a:gd name="connsiteX228" fmla="*/ 635675 w 1293444"/>
              <a:gd name="connsiteY228" fmla="*/ 485775 h 1704975"/>
              <a:gd name="connsiteX229" fmla="*/ 626150 w 1293444"/>
              <a:gd name="connsiteY229" fmla="*/ 463550 h 1704975"/>
              <a:gd name="connsiteX230" fmla="*/ 616625 w 1293444"/>
              <a:gd name="connsiteY230" fmla="*/ 460375 h 1704975"/>
              <a:gd name="connsiteX231" fmla="*/ 607100 w 1293444"/>
              <a:gd name="connsiteY231" fmla="*/ 454025 h 1704975"/>
              <a:gd name="connsiteX232" fmla="*/ 591225 w 1293444"/>
              <a:gd name="connsiteY232" fmla="*/ 450850 h 1704975"/>
              <a:gd name="connsiteX233" fmla="*/ 569000 w 1293444"/>
              <a:gd name="connsiteY233" fmla="*/ 441325 h 1704975"/>
              <a:gd name="connsiteX234" fmla="*/ 546775 w 1293444"/>
              <a:gd name="connsiteY234" fmla="*/ 415925 h 1704975"/>
              <a:gd name="connsiteX235" fmla="*/ 540425 w 1293444"/>
              <a:gd name="connsiteY235" fmla="*/ 406400 h 1704975"/>
              <a:gd name="connsiteX236" fmla="*/ 530900 w 1293444"/>
              <a:gd name="connsiteY236" fmla="*/ 400050 h 1704975"/>
              <a:gd name="connsiteX237" fmla="*/ 508675 w 1293444"/>
              <a:gd name="connsiteY237" fmla="*/ 374650 h 1704975"/>
              <a:gd name="connsiteX238" fmla="*/ 502325 w 1293444"/>
              <a:gd name="connsiteY238" fmla="*/ 365125 h 1704975"/>
              <a:gd name="connsiteX239" fmla="*/ 483275 w 1293444"/>
              <a:gd name="connsiteY239" fmla="*/ 346075 h 1704975"/>
              <a:gd name="connsiteX240" fmla="*/ 486450 w 1293444"/>
              <a:gd name="connsiteY240" fmla="*/ 333375 h 1704975"/>
              <a:gd name="connsiteX241" fmla="*/ 492800 w 1293444"/>
              <a:gd name="connsiteY241" fmla="*/ 314325 h 1704975"/>
              <a:gd name="connsiteX242" fmla="*/ 489625 w 1293444"/>
              <a:gd name="connsiteY242" fmla="*/ 292100 h 1704975"/>
              <a:gd name="connsiteX243" fmla="*/ 461050 w 1293444"/>
              <a:gd name="connsiteY243" fmla="*/ 266700 h 1704975"/>
              <a:gd name="connsiteX244" fmla="*/ 435650 w 1293444"/>
              <a:gd name="connsiteY244" fmla="*/ 254000 h 1704975"/>
              <a:gd name="connsiteX245" fmla="*/ 413425 w 1293444"/>
              <a:gd name="connsiteY245" fmla="*/ 238125 h 1704975"/>
              <a:gd name="connsiteX246" fmla="*/ 403900 w 1293444"/>
              <a:gd name="connsiteY246" fmla="*/ 231775 h 1704975"/>
              <a:gd name="connsiteX247" fmla="*/ 388025 w 1293444"/>
              <a:gd name="connsiteY247" fmla="*/ 212725 h 1704975"/>
              <a:gd name="connsiteX248" fmla="*/ 372150 w 1293444"/>
              <a:gd name="connsiteY248" fmla="*/ 196850 h 1704975"/>
              <a:gd name="connsiteX249" fmla="*/ 365800 w 1293444"/>
              <a:gd name="connsiteY249" fmla="*/ 177800 h 1704975"/>
              <a:gd name="connsiteX250" fmla="*/ 359450 w 1293444"/>
              <a:gd name="connsiteY250" fmla="*/ 149225 h 1704975"/>
              <a:gd name="connsiteX251" fmla="*/ 362625 w 1293444"/>
              <a:gd name="connsiteY251" fmla="*/ 114300 h 1704975"/>
              <a:gd name="connsiteX252" fmla="*/ 368975 w 1293444"/>
              <a:gd name="connsiteY252" fmla="*/ 104775 h 1704975"/>
              <a:gd name="connsiteX253" fmla="*/ 375325 w 1293444"/>
              <a:gd name="connsiteY253"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45175 w 1293444"/>
              <a:gd name="connsiteY140" fmla="*/ 1625600 h 1704975"/>
              <a:gd name="connsiteX141" fmla="*/ 435650 w 1293444"/>
              <a:gd name="connsiteY141" fmla="*/ 1606550 h 1704975"/>
              <a:gd name="connsiteX142" fmla="*/ 432475 w 1293444"/>
              <a:gd name="connsiteY142" fmla="*/ 1495425 h 1704975"/>
              <a:gd name="connsiteX143" fmla="*/ 429300 w 1293444"/>
              <a:gd name="connsiteY143" fmla="*/ 1485900 h 1704975"/>
              <a:gd name="connsiteX144" fmla="*/ 426125 w 1293444"/>
              <a:gd name="connsiteY144" fmla="*/ 1473200 h 1704975"/>
              <a:gd name="connsiteX145" fmla="*/ 419775 w 1293444"/>
              <a:gd name="connsiteY145" fmla="*/ 1463675 h 1704975"/>
              <a:gd name="connsiteX146" fmla="*/ 416600 w 1293444"/>
              <a:gd name="connsiteY146" fmla="*/ 1454150 h 1704975"/>
              <a:gd name="connsiteX147" fmla="*/ 403900 w 1293444"/>
              <a:gd name="connsiteY147" fmla="*/ 1435100 h 1704975"/>
              <a:gd name="connsiteX148" fmla="*/ 397550 w 1293444"/>
              <a:gd name="connsiteY148" fmla="*/ 1416050 h 1704975"/>
              <a:gd name="connsiteX149" fmla="*/ 394375 w 1293444"/>
              <a:gd name="connsiteY149" fmla="*/ 1381125 h 1704975"/>
              <a:gd name="connsiteX150" fmla="*/ 391200 w 1293444"/>
              <a:gd name="connsiteY150" fmla="*/ 1368425 h 1704975"/>
              <a:gd name="connsiteX151" fmla="*/ 388025 w 1293444"/>
              <a:gd name="connsiteY151" fmla="*/ 1352550 h 1704975"/>
              <a:gd name="connsiteX152" fmla="*/ 381675 w 1293444"/>
              <a:gd name="connsiteY152" fmla="*/ 1333500 h 1704975"/>
              <a:gd name="connsiteX153" fmla="*/ 378500 w 1293444"/>
              <a:gd name="connsiteY153" fmla="*/ 1323975 h 1704975"/>
              <a:gd name="connsiteX154" fmla="*/ 375325 w 1293444"/>
              <a:gd name="connsiteY154" fmla="*/ 1308100 h 1704975"/>
              <a:gd name="connsiteX155" fmla="*/ 368975 w 1293444"/>
              <a:gd name="connsiteY155" fmla="*/ 1289050 h 1704975"/>
              <a:gd name="connsiteX156" fmla="*/ 362625 w 1293444"/>
              <a:gd name="connsiteY156" fmla="*/ 1260475 h 1704975"/>
              <a:gd name="connsiteX157" fmla="*/ 359450 w 1293444"/>
              <a:gd name="connsiteY157" fmla="*/ 1231900 h 1704975"/>
              <a:gd name="connsiteX158" fmla="*/ 349925 w 1293444"/>
              <a:gd name="connsiteY158" fmla="*/ 1196975 h 1704975"/>
              <a:gd name="connsiteX159" fmla="*/ 340400 w 1293444"/>
              <a:gd name="connsiteY159" fmla="*/ 1155700 h 1704975"/>
              <a:gd name="connsiteX160" fmla="*/ 334050 w 1293444"/>
              <a:gd name="connsiteY160" fmla="*/ 1130300 h 1704975"/>
              <a:gd name="connsiteX161" fmla="*/ 327700 w 1293444"/>
              <a:gd name="connsiteY161" fmla="*/ 1104900 h 1704975"/>
              <a:gd name="connsiteX162" fmla="*/ 324525 w 1293444"/>
              <a:gd name="connsiteY162" fmla="*/ 1092200 h 1704975"/>
              <a:gd name="connsiteX163" fmla="*/ 318175 w 1293444"/>
              <a:gd name="connsiteY163" fmla="*/ 1050925 h 1704975"/>
              <a:gd name="connsiteX164" fmla="*/ 315000 w 1293444"/>
              <a:gd name="connsiteY164" fmla="*/ 1031875 h 1704975"/>
              <a:gd name="connsiteX165" fmla="*/ 311825 w 1293444"/>
              <a:gd name="connsiteY165" fmla="*/ 1022350 h 1704975"/>
              <a:gd name="connsiteX166" fmla="*/ 308650 w 1293444"/>
              <a:gd name="connsiteY166" fmla="*/ 1006475 h 1704975"/>
              <a:gd name="connsiteX167" fmla="*/ 302300 w 1293444"/>
              <a:gd name="connsiteY167" fmla="*/ 987425 h 1704975"/>
              <a:gd name="connsiteX168" fmla="*/ 299125 w 1293444"/>
              <a:gd name="connsiteY168" fmla="*/ 974725 h 1704975"/>
              <a:gd name="connsiteX169" fmla="*/ 292775 w 1293444"/>
              <a:gd name="connsiteY169" fmla="*/ 955675 h 1704975"/>
              <a:gd name="connsiteX170" fmla="*/ 289600 w 1293444"/>
              <a:gd name="connsiteY170" fmla="*/ 946150 h 1704975"/>
              <a:gd name="connsiteX171" fmla="*/ 280075 w 1293444"/>
              <a:gd name="connsiteY171" fmla="*/ 923925 h 1704975"/>
              <a:gd name="connsiteX172" fmla="*/ 261025 w 1293444"/>
              <a:gd name="connsiteY172" fmla="*/ 908050 h 1704975"/>
              <a:gd name="connsiteX173" fmla="*/ 241975 w 1293444"/>
              <a:gd name="connsiteY173" fmla="*/ 901700 h 1704975"/>
              <a:gd name="connsiteX174" fmla="*/ 222925 w 1293444"/>
              <a:gd name="connsiteY174" fmla="*/ 889000 h 1704975"/>
              <a:gd name="connsiteX175" fmla="*/ 213400 w 1293444"/>
              <a:gd name="connsiteY175" fmla="*/ 885825 h 1704975"/>
              <a:gd name="connsiteX176" fmla="*/ 194350 w 1293444"/>
              <a:gd name="connsiteY176" fmla="*/ 873125 h 1704975"/>
              <a:gd name="connsiteX177" fmla="*/ 175300 w 1293444"/>
              <a:gd name="connsiteY177" fmla="*/ 860425 h 1704975"/>
              <a:gd name="connsiteX178" fmla="*/ 162600 w 1293444"/>
              <a:gd name="connsiteY178" fmla="*/ 850900 h 1704975"/>
              <a:gd name="connsiteX179" fmla="*/ 153075 w 1293444"/>
              <a:gd name="connsiteY179" fmla="*/ 847725 h 1704975"/>
              <a:gd name="connsiteX180" fmla="*/ 134025 w 1293444"/>
              <a:gd name="connsiteY180" fmla="*/ 835025 h 1704975"/>
              <a:gd name="connsiteX181" fmla="*/ 114975 w 1293444"/>
              <a:gd name="connsiteY181" fmla="*/ 822325 h 1704975"/>
              <a:gd name="connsiteX182" fmla="*/ 105450 w 1293444"/>
              <a:gd name="connsiteY182" fmla="*/ 815975 h 1704975"/>
              <a:gd name="connsiteX183" fmla="*/ 95925 w 1293444"/>
              <a:gd name="connsiteY183" fmla="*/ 812800 h 1704975"/>
              <a:gd name="connsiteX184" fmla="*/ 64175 w 1293444"/>
              <a:gd name="connsiteY184" fmla="*/ 790575 h 1704975"/>
              <a:gd name="connsiteX185" fmla="*/ 54650 w 1293444"/>
              <a:gd name="connsiteY185" fmla="*/ 787400 h 1704975"/>
              <a:gd name="connsiteX186" fmla="*/ 38775 w 1293444"/>
              <a:gd name="connsiteY186" fmla="*/ 771525 h 1704975"/>
              <a:gd name="connsiteX187" fmla="*/ 29250 w 1293444"/>
              <a:gd name="connsiteY187" fmla="*/ 762000 h 1704975"/>
              <a:gd name="connsiteX188" fmla="*/ 19725 w 1293444"/>
              <a:gd name="connsiteY188" fmla="*/ 758825 h 1704975"/>
              <a:gd name="connsiteX189" fmla="*/ 675 w 1293444"/>
              <a:gd name="connsiteY189" fmla="*/ 746125 h 1704975"/>
              <a:gd name="connsiteX190" fmla="*/ 51475 w 1293444"/>
              <a:gd name="connsiteY190" fmla="*/ 739775 h 1704975"/>
              <a:gd name="connsiteX191" fmla="*/ 67350 w 1293444"/>
              <a:gd name="connsiteY191" fmla="*/ 736600 h 1704975"/>
              <a:gd name="connsiteX192" fmla="*/ 102275 w 1293444"/>
              <a:gd name="connsiteY192" fmla="*/ 733425 h 1704975"/>
              <a:gd name="connsiteX193" fmla="*/ 130850 w 1293444"/>
              <a:gd name="connsiteY193" fmla="*/ 727075 h 1704975"/>
              <a:gd name="connsiteX194" fmla="*/ 149900 w 1293444"/>
              <a:gd name="connsiteY194" fmla="*/ 723900 h 1704975"/>
              <a:gd name="connsiteX195" fmla="*/ 159425 w 1293444"/>
              <a:gd name="connsiteY195" fmla="*/ 720725 h 1704975"/>
              <a:gd name="connsiteX196" fmla="*/ 175300 w 1293444"/>
              <a:gd name="connsiteY196" fmla="*/ 717550 h 1704975"/>
              <a:gd name="connsiteX197" fmla="*/ 194350 w 1293444"/>
              <a:gd name="connsiteY197" fmla="*/ 711200 h 1704975"/>
              <a:gd name="connsiteX198" fmla="*/ 222925 w 1293444"/>
              <a:gd name="connsiteY198" fmla="*/ 701675 h 1704975"/>
              <a:gd name="connsiteX199" fmla="*/ 232450 w 1293444"/>
              <a:gd name="connsiteY199" fmla="*/ 698500 h 1704975"/>
              <a:gd name="connsiteX200" fmla="*/ 241975 w 1293444"/>
              <a:gd name="connsiteY200" fmla="*/ 695325 h 1704975"/>
              <a:gd name="connsiteX201" fmla="*/ 381675 w 1293444"/>
              <a:gd name="connsiteY201" fmla="*/ 688975 h 1704975"/>
              <a:gd name="connsiteX202" fmla="*/ 397550 w 1293444"/>
              <a:gd name="connsiteY202" fmla="*/ 685800 h 1704975"/>
              <a:gd name="connsiteX203" fmla="*/ 407075 w 1293444"/>
              <a:gd name="connsiteY203" fmla="*/ 682625 h 1704975"/>
              <a:gd name="connsiteX204" fmla="*/ 419775 w 1293444"/>
              <a:gd name="connsiteY204" fmla="*/ 679450 h 1704975"/>
              <a:gd name="connsiteX205" fmla="*/ 438825 w 1293444"/>
              <a:gd name="connsiteY205" fmla="*/ 673100 h 1704975"/>
              <a:gd name="connsiteX206" fmla="*/ 467400 w 1293444"/>
              <a:gd name="connsiteY206" fmla="*/ 663575 h 1704975"/>
              <a:gd name="connsiteX207" fmla="*/ 495975 w 1293444"/>
              <a:gd name="connsiteY207" fmla="*/ 654050 h 1704975"/>
              <a:gd name="connsiteX208" fmla="*/ 505500 w 1293444"/>
              <a:gd name="connsiteY208" fmla="*/ 650875 h 1704975"/>
              <a:gd name="connsiteX209" fmla="*/ 527725 w 1293444"/>
              <a:gd name="connsiteY209" fmla="*/ 641350 h 1704975"/>
              <a:gd name="connsiteX210" fmla="*/ 537250 w 1293444"/>
              <a:gd name="connsiteY210" fmla="*/ 635000 h 1704975"/>
              <a:gd name="connsiteX211" fmla="*/ 546775 w 1293444"/>
              <a:gd name="connsiteY211" fmla="*/ 631825 h 1704975"/>
              <a:gd name="connsiteX212" fmla="*/ 559475 w 1293444"/>
              <a:gd name="connsiteY212" fmla="*/ 625475 h 1704975"/>
              <a:gd name="connsiteX213" fmla="*/ 578525 w 1293444"/>
              <a:gd name="connsiteY213" fmla="*/ 657225 h 1704975"/>
              <a:gd name="connsiteX214" fmla="*/ 588050 w 1293444"/>
              <a:gd name="connsiteY214" fmla="*/ 660400 h 1704975"/>
              <a:gd name="connsiteX215" fmla="*/ 607100 w 1293444"/>
              <a:gd name="connsiteY215" fmla="*/ 673100 h 1704975"/>
              <a:gd name="connsiteX216" fmla="*/ 626150 w 1293444"/>
              <a:gd name="connsiteY216" fmla="*/ 679450 h 1704975"/>
              <a:gd name="connsiteX217" fmla="*/ 635675 w 1293444"/>
              <a:gd name="connsiteY217" fmla="*/ 685800 h 1704975"/>
              <a:gd name="connsiteX218" fmla="*/ 654725 w 1293444"/>
              <a:gd name="connsiteY218" fmla="*/ 692150 h 1704975"/>
              <a:gd name="connsiteX219" fmla="*/ 645200 w 1293444"/>
              <a:gd name="connsiteY219" fmla="*/ 682625 h 1704975"/>
              <a:gd name="connsiteX220" fmla="*/ 635675 w 1293444"/>
              <a:gd name="connsiteY220" fmla="*/ 676275 h 1704975"/>
              <a:gd name="connsiteX221" fmla="*/ 632500 w 1293444"/>
              <a:gd name="connsiteY221" fmla="*/ 666750 h 1704975"/>
              <a:gd name="connsiteX222" fmla="*/ 635675 w 1293444"/>
              <a:gd name="connsiteY222" fmla="*/ 590550 h 1704975"/>
              <a:gd name="connsiteX223" fmla="*/ 642025 w 1293444"/>
              <a:gd name="connsiteY223" fmla="*/ 571500 h 1704975"/>
              <a:gd name="connsiteX224" fmla="*/ 648375 w 1293444"/>
              <a:gd name="connsiteY224" fmla="*/ 561975 h 1704975"/>
              <a:gd name="connsiteX225" fmla="*/ 638850 w 1293444"/>
              <a:gd name="connsiteY225" fmla="*/ 536575 h 1704975"/>
              <a:gd name="connsiteX226" fmla="*/ 629325 w 1293444"/>
              <a:gd name="connsiteY226" fmla="*/ 533400 h 1704975"/>
              <a:gd name="connsiteX227" fmla="*/ 626150 w 1293444"/>
              <a:gd name="connsiteY227" fmla="*/ 523875 h 1704975"/>
              <a:gd name="connsiteX228" fmla="*/ 632500 w 1293444"/>
              <a:gd name="connsiteY228" fmla="*/ 498475 h 1704975"/>
              <a:gd name="connsiteX229" fmla="*/ 635675 w 1293444"/>
              <a:gd name="connsiteY229" fmla="*/ 485775 h 1704975"/>
              <a:gd name="connsiteX230" fmla="*/ 626150 w 1293444"/>
              <a:gd name="connsiteY230" fmla="*/ 463550 h 1704975"/>
              <a:gd name="connsiteX231" fmla="*/ 616625 w 1293444"/>
              <a:gd name="connsiteY231" fmla="*/ 460375 h 1704975"/>
              <a:gd name="connsiteX232" fmla="*/ 607100 w 1293444"/>
              <a:gd name="connsiteY232" fmla="*/ 454025 h 1704975"/>
              <a:gd name="connsiteX233" fmla="*/ 591225 w 1293444"/>
              <a:gd name="connsiteY233" fmla="*/ 450850 h 1704975"/>
              <a:gd name="connsiteX234" fmla="*/ 569000 w 1293444"/>
              <a:gd name="connsiteY234" fmla="*/ 441325 h 1704975"/>
              <a:gd name="connsiteX235" fmla="*/ 546775 w 1293444"/>
              <a:gd name="connsiteY235" fmla="*/ 415925 h 1704975"/>
              <a:gd name="connsiteX236" fmla="*/ 540425 w 1293444"/>
              <a:gd name="connsiteY236" fmla="*/ 406400 h 1704975"/>
              <a:gd name="connsiteX237" fmla="*/ 530900 w 1293444"/>
              <a:gd name="connsiteY237" fmla="*/ 400050 h 1704975"/>
              <a:gd name="connsiteX238" fmla="*/ 508675 w 1293444"/>
              <a:gd name="connsiteY238" fmla="*/ 374650 h 1704975"/>
              <a:gd name="connsiteX239" fmla="*/ 502325 w 1293444"/>
              <a:gd name="connsiteY239" fmla="*/ 365125 h 1704975"/>
              <a:gd name="connsiteX240" fmla="*/ 483275 w 1293444"/>
              <a:gd name="connsiteY240" fmla="*/ 346075 h 1704975"/>
              <a:gd name="connsiteX241" fmla="*/ 486450 w 1293444"/>
              <a:gd name="connsiteY241" fmla="*/ 333375 h 1704975"/>
              <a:gd name="connsiteX242" fmla="*/ 492800 w 1293444"/>
              <a:gd name="connsiteY242" fmla="*/ 314325 h 1704975"/>
              <a:gd name="connsiteX243" fmla="*/ 489625 w 1293444"/>
              <a:gd name="connsiteY243" fmla="*/ 292100 h 1704975"/>
              <a:gd name="connsiteX244" fmla="*/ 461050 w 1293444"/>
              <a:gd name="connsiteY244" fmla="*/ 266700 h 1704975"/>
              <a:gd name="connsiteX245" fmla="*/ 435650 w 1293444"/>
              <a:gd name="connsiteY245" fmla="*/ 254000 h 1704975"/>
              <a:gd name="connsiteX246" fmla="*/ 413425 w 1293444"/>
              <a:gd name="connsiteY246" fmla="*/ 238125 h 1704975"/>
              <a:gd name="connsiteX247" fmla="*/ 403900 w 1293444"/>
              <a:gd name="connsiteY247" fmla="*/ 231775 h 1704975"/>
              <a:gd name="connsiteX248" fmla="*/ 388025 w 1293444"/>
              <a:gd name="connsiteY248" fmla="*/ 212725 h 1704975"/>
              <a:gd name="connsiteX249" fmla="*/ 372150 w 1293444"/>
              <a:gd name="connsiteY249" fmla="*/ 196850 h 1704975"/>
              <a:gd name="connsiteX250" fmla="*/ 365800 w 1293444"/>
              <a:gd name="connsiteY250" fmla="*/ 177800 h 1704975"/>
              <a:gd name="connsiteX251" fmla="*/ 359450 w 1293444"/>
              <a:gd name="connsiteY251" fmla="*/ 149225 h 1704975"/>
              <a:gd name="connsiteX252" fmla="*/ 362625 w 1293444"/>
              <a:gd name="connsiteY252" fmla="*/ 114300 h 1704975"/>
              <a:gd name="connsiteX253" fmla="*/ 368975 w 1293444"/>
              <a:gd name="connsiteY253" fmla="*/ 104775 h 1704975"/>
              <a:gd name="connsiteX254" fmla="*/ 375325 w 1293444"/>
              <a:gd name="connsiteY254"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65900 w 1293444"/>
              <a:gd name="connsiteY53" fmla="*/ 454025 h 1704975"/>
              <a:gd name="connsiteX54" fmla="*/ 1207175 w 1293444"/>
              <a:gd name="connsiteY54" fmla="*/ 457200 h 1704975"/>
              <a:gd name="connsiteX55" fmla="*/ 1216700 w 1293444"/>
              <a:gd name="connsiteY55" fmla="*/ 463550 h 1704975"/>
              <a:gd name="connsiteX56" fmla="*/ 1270675 w 1293444"/>
              <a:gd name="connsiteY56" fmla="*/ 469900 h 1704975"/>
              <a:gd name="connsiteX57" fmla="*/ 1277025 w 1293444"/>
              <a:gd name="connsiteY57" fmla="*/ 479425 h 1704975"/>
              <a:gd name="connsiteX58" fmla="*/ 1273850 w 1293444"/>
              <a:gd name="connsiteY58" fmla="*/ 488950 h 1704975"/>
              <a:gd name="connsiteX59" fmla="*/ 1270675 w 1293444"/>
              <a:gd name="connsiteY59" fmla="*/ 511175 h 1704975"/>
              <a:gd name="connsiteX60" fmla="*/ 1264325 w 1293444"/>
              <a:gd name="connsiteY60" fmla="*/ 530225 h 1704975"/>
              <a:gd name="connsiteX61" fmla="*/ 1261150 w 1293444"/>
              <a:gd name="connsiteY61" fmla="*/ 539750 h 1704975"/>
              <a:gd name="connsiteX62" fmla="*/ 1254800 w 1293444"/>
              <a:gd name="connsiteY62" fmla="*/ 571500 h 1704975"/>
              <a:gd name="connsiteX63" fmla="*/ 1254800 w 1293444"/>
              <a:gd name="connsiteY63" fmla="*/ 692150 h 1704975"/>
              <a:gd name="connsiteX64" fmla="*/ 1257975 w 1293444"/>
              <a:gd name="connsiteY64" fmla="*/ 714375 h 1704975"/>
              <a:gd name="connsiteX65" fmla="*/ 1261150 w 1293444"/>
              <a:gd name="connsiteY65" fmla="*/ 723900 h 1704975"/>
              <a:gd name="connsiteX66" fmla="*/ 1273850 w 1293444"/>
              <a:gd name="connsiteY66" fmla="*/ 727075 h 1704975"/>
              <a:gd name="connsiteX67" fmla="*/ 1292900 w 1293444"/>
              <a:gd name="connsiteY67" fmla="*/ 739775 h 1704975"/>
              <a:gd name="connsiteX68" fmla="*/ 1289725 w 1293444"/>
              <a:gd name="connsiteY68" fmla="*/ 784225 h 1704975"/>
              <a:gd name="connsiteX69" fmla="*/ 1273850 w 1293444"/>
              <a:gd name="connsiteY69" fmla="*/ 800100 h 1704975"/>
              <a:gd name="connsiteX70" fmla="*/ 1264325 w 1293444"/>
              <a:gd name="connsiteY70" fmla="*/ 809625 h 1704975"/>
              <a:gd name="connsiteX71" fmla="*/ 1219875 w 1293444"/>
              <a:gd name="connsiteY71" fmla="*/ 819150 h 1704975"/>
              <a:gd name="connsiteX72" fmla="*/ 1200825 w 1293444"/>
              <a:gd name="connsiteY72" fmla="*/ 825500 h 1704975"/>
              <a:gd name="connsiteX73" fmla="*/ 1181775 w 1293444"/>
              <a:gd name="connsiteY73" fmla="*/ 838200 h 1704975"/>
              <a:gd name="connsiteX74" fmla="*/ 1172250 w 1293444"/>
              <a:gd name="connsiteY74" fmla="*/ 844550 h 1704975"/>
              <a:gd name="connsiteX75" fmla="*/ 1153200 w 1293444"/>
              <a:gd name="connsiteY75" fmla="*/ 850900 h 1704975"/>
              <a:gd name="connsiteX76" fmla="*/ 1140500 w 1293444"/>
              <a:gd name="connsiteY76" fmla="*/ 857250 h 1704975"/>
              <a:gd name="connsiteX77" fmla="*/ 1130975 w 1293444"/>
              <a:gd name="connsiteY77" fmla="*/ 863600 h 1704975"/>
              <a:gd name="connsiteX78" fmla="*/ 1105575 w 1293444"/>
              <a:gd name="connsiteY78" fmla="*/ 866775 h 1704975"/>
              <a:gd name="connsiteX79" fmla="*/ 1086525 w 1293444"/>
              <a:gd name="connsiteY79" fmla="*/ 873125 h 1704975"/>
              <a:gd name="connsiteX80" fmla="*/ 1077000 w 1293444"/>
              <a:gd name="connsiteY80" fmla="*/ 879475 h 1704975"/>
              <a:gd name="connsiteX81" fmla="*/ 1057950 w 1293444"/>
              <a:gd name="connsiteY81" fmla="*/ 885825 h 1704975"/>
              <a:gd name="connsiteX82" fmla="*/ 1048425 w 1293444"/>
              <a:gd name="connsiteY82" fmla="*/ 889000 h 1704975"/>
              <a:gd name="connsiteX83" fmla="*/ 1029375 w 1293444"/>
              <a:gd name="connsiteY83" fmla="*/ 908050 h 1704975"/>
              <a:gd name="connsiteX84" fmla="*/ 1010325 w 1293444"/>
              <a:gd name="connsiteY84" fmla="*/ 914400 h 1704975"/>
              <a:gd name="connsiteX85" fmla="*/ 1003975 w 1293444"/>
              <a:gd name="connsiteY85" fmla="*/ 923925 h 1704975"/>
              <a:gd name="connsiteX86" fmla="*/ 994450 w 1293444"/>
              <a:gd name="connsiteY86" fmla="*/ 933450 h 1704975"/>
              <a:gd name="connsiteX87" fmla="*/ 991275 w 1293444"/>
              <a:gd name="connsiteY87" fmla="*/ 942975 h 1704975"/>
              <a:gd name="connsiteX88" fmla="*/ 988100 w 1293444"/>
              <a:gd name="connsiteY88" fmla="*/ 962025 h 1704975"/>
              <a:gd name="connsiteX89" fmla="*/ 969050 w 1293444"/>
              <a:gd name="connsiteY89" fmla="*/ 968375 h 1704975"/>
              <a:gd name="connsiteX90" fmla="*/ 950000 w 1293444"/>
              <a:gd name="connsiteY90" fmla="*/ 981075 h 1704975"/>
              <a:gd name="connsiteX91" fmla="*/ 940475 w 1293444"/>
              <a:gd name="connsiteY91" fmla="*/ 987425 h 1704975"/>
              <a:gd name="connsiteX92" fmla="*/ 930950 w 1293444"/>
              <a:gd name="connsiteY92" fmla="*/ 1006475 h 1704975"/>
              <a:gd name="connsiteX93" fmla="*/ 924600 w 1293444"/>
              <a:gd name="connsiteY93" fmla="*/ 1016000 h 1704975"/>
              <a:gd name="connsiteX94" fmla="*/ 921425 w 1293444"/>
              <a:gd name="connsiteY94" fmla="*/ 1025525 h 1704975"/>
              <a:gd name="connsiteX95" fmla="*/ 905550 w 1293444"/>
              <a:gd name="connsiteY95" fmla="*/ 1044575 h 1704975"/>
              <a:gd name="connsiteX96" fmla="*/ 896025 w 1293444"/>
              <a:gd name="connsiteY96" fmla="*/ 1063625 h 1704975"/>
              <a:gd name="connsiteX97" fmla="*/ 867450 w 1293444"/>
              <a:gd name="connsiteY97" fmla="*/ 1085850 h 1704975"/>
              <a:gd name="connsiteX98" fmla="*/ 848400 w 1293444"/>
              <a:gd name="connsiteY98" fmla="*/ 1095375 h 1704975"/>
              <a:gd name="connsiteX99" fmla="*/ 813475 w 1293444"/>
              <a:gd name="connsiteY99" fmla="*/ 1092200 h 1704975"/>
              <a:gd name="connsiteX100" fmla="*/ 772200 w 1293444"/>
              <a:gd name="connsiteY100" fmla="*/ 1098550 h 1704975"/>
              <a:gd name="connsiteX101" fmla="*/ 759500 w 1293444"/>
              <a:gd name="connsiteY101" fmla="*/ 1127125 h 1704975"/>
              <a:gd name="connsiteX102" fmla="*/ 756325 w 1293444"/>
              <a:gd name="connsiteY102" fmla="*/ 1136650 h 1704975"/>
              <a:gd name="connsiteX103" fmla="*/ 740450 w 1293444"/>
              <a:gd name="connsiteY103" fmla="*/ 1155700 h 1704975"/>
              <a:gd name="connsiteX104" fmla="*/ 718225 w 1293444"/>
              <a:gd name="connsiteY104" fmla="*/ 1181100 h 1704975"/>
              <a:gd name="connsiteX105" fmla="*/ 721400 w 1293444"/>
              <a:gd name="connsiteY105" fmla="*/ 1238250 h 1704975"/>
              <a:gd name="connsiteX106" fmla="*/ 727750 w 1293444"/>
              <a:gd name="connsiteY106" fmla="*/ 1247775 h 1704975"/>
              <a:gd name="connsiteX107" fmla="*/ 730925 w 1293444"/>
              <a:gd name="connsiteY107" fmla="*/ 1257300 h 1704975"/>
              <a:gd name="connsiteX108" fmla="*/ 740450 w 1293444"/>
              <a:gd name="connsiteY108" fmla="*/ 1276350 h 1704975"/>
              <a:gd name="connsiteX109" fmla="*/ 743625 w 1293444"/>
              <a:gd name="connsiteY109" fmla="*/ 1320800 h 1704975"/>
              <a:gd name="connsiteX110" fmla="*/ 746800 w 1293444"/>
              <a:gd name="connsiteY110" fmla="*/ 1330325 h 1704975"/>
              <a:gd name="connsiteX111" fmla="*/ 756325 w 1293444"/>
              <a:gd name="connsiteY111" fmla="*/ 1336675 h 1704975"/>
              <a:gd name="connsiteX112" fmla="*/ 762675 w 1293444"/>
              <a:gd name="connsiteY112" fmla="*/ 1346200 h 1704975"/>
              <a:gd name="connsiteX113" fmla="*/ 769025 w 1293444"/>
              <a:gd name="connsiteY113" fmla="*/ 1393825 h 1704975"/>
              <a:gd name="connsiteX114" fmla="*/ 775375 w 1293444"/>
              <a:gd name="connsiteY114" fmla="*/ 1412875 h 1704975"/>
              <a:gd name="connsiteX115" fmla="*/ 781725 w 1293444"/>
              <a:gd name="connsiteY115" fmla="*/ 1435100 h 1704975"/>
              <a:gd name="connsiteX116" fmla="*/ 772200 w 1293444"/>
              <a:gd name="connsiteY116" fmla="*/ 1460500 h 1704975"/>
              <a:gd name="connsiteX117" fmla="*/ 762675 w 1293444"/>
              <a:gd name="connsiteY117" fmla="*/ 1466850 h 1704975"/>
              <a:gd name="connsiteX118" fmla="*/ 753150 w 1293444"/>
              <a:gd name="connsiteY118" fmla="*/ 1485900 h 1704975"/>
              <a:gd name="connsiteX119" fmla="*/ 749975 w 1293444"/>
              <a:gd name="connsiteY119" fmla="*/ 1514475 h 1704975"/>
              <a:gd name="connsiteX120" fmla="*/ 740450 w 1293444"/>
              <a:gd name="connsiteY120" fmla="*/ 1520825 h 1704975"/>
              <a:gd name="connsiteX121" fmla="*/ 730925 w 1293444"/>
              <a:gd name="connsiteY121" fmla="*/ 1530350 h 1704975"/>
              <a:gd name="connsiteX122" fmla="*/ 718225 w 1293444"/>
              <a:gd name="connsiteY122" fmla="*/ 1549400 h 1704975"/>
              <a:gd name="connsiteX123" fmla="*/ 711875 w 1293444"/>
              <a:gd name="connsiteY123" fmla="*/ 1558925 h 1704975"/>
              <a:gd name="connsiteX124" fmla="*/ 702350 w 1293444"/>
              <a:gd name="connsiteY124" fmla="*/ 1568450 h 1704975"/>
              <a:gd name="connsiteX125" fmla="*/ 699175 w 1293444"/>
              <a:gd name="connsiteY125" fmla="*/ 1577975 h 1704975"/>
              <a:gd name="connsiteX126" fmla="*/ 686475 w 1293444"/>
              <a:gd name="connsiteY126" fmla="*/ 1597025 h 1704975"/>
              <a:gd name="connsiteX127" fmla="*/ 676950 w 1293444"/>
              <a:gd name="connsiteY127" fmla="*/ 1616075 h 1704975"/>
              <a:gd name="connsiteX128" fmla="*/ 667425 w 1293444"/>
              <a:gd name="connsiteY128" fmla="*/ 1619250 h 1704975"/>
              <a:gd name="connsiteX129" fmla="*/ 648375 w 1293444"/>
              <a:gd name="connsiteY129" fmla="*/ 1631950 h 1704975"/>
              <a:gd name="connsiteX130" fmla="*/ 638850 w 1293444"/>
              <a:gd name="connsiteY130" fmla="*/ 1638300 h 1704975"/>
              <a:gd name="connsiteX131" fmla="*/ 607100 w 1293444"/>
              <a:gd name="connsiteY131" fmla="*/ 1676400 h 1704975"/>
              <a:gd name="connsiteX132" fmla="*/ 556300 w 1293444"/>
              <a:gd name="connsiteY132" fmla="*/ 1679575 h 1704975"/>
              <a:gd name="connsiteX133" fmla="*/ 537250 w 1293444"/>
              <a:gd name="connsiteY133" fmla="*/ 1685925 h 1704975"/>
              <a:gd name="connsiteX134" fmla="*/ 515025 w 1293444"/>
              <a:gd name="connsiteY134" fmla="*/ 1698625 h 1704975"/>
              <a:gd name="connsiteX135" fmla="*/ 495975 w 1293444"/>
              <a:gd name="connsiteY135" fmla="*/ 1704975 h 1704975"/>
              <a:gd name="connsiteX136" fmla="*/ 476925 w 1293444"/>
              <a:gd name="connsiteY136" fmla="*/ 1701800 h 1704975"/>
              <a:gd name="connsiteX137" fmla="*/ 470575 w 1293444"/>
              <a:gd name="connsiteY137" fmla="*/ 1692275 h 1704975"/>
              <a:gd name="connsiteX138" fmla="*/ 467400 w 1293444"/>
              <a:gd name="connsiteY138" fmla="*/ 1660525 h 1704975"/>
              <a:gd name="connsiteX139" fmla="*/ 457875 w 1293444"/>
              <a:gd name="connsiteY139" fmla="*/ 1641475 h 1704975"/>
              <a:gd name="connsiteX140" fmla="*/ 448350 w 1293444"/>
              <a:gd name="connsiteY140" fmla="*/ 1635125 h 1704975"/>
              <a:gd name="connsiteX141" fmla="*/ 445175 w 1293444"/>
              <a:gd name="connsiteY141" fmla="*/ 1625600 h 1704975"/>
              <a:gd name="connsiteX142" fmla="*/ 435650 w 1293444"/>
              <a:gd name="connsiteY142" fmla="*/ 1606550 h 1704975"/>
              <a:gd name="connsiteX143" fmla="*/ 432475 w 1293444"/>
              <a:gd name="connsiteY143" fmla="*/ 1495425 h 1704975"/>
              <a:gd name="connsiteX144" fmla="*/ 429300 w 1293444"/>
              <a:gd name="connsiteY144" fmla="*/ 1485900 h 1704975"/>
              <a:gd name="connsiteX145" fmla="*/ 426125 w 1293444"/>
              <a:gd name="connsiteY145" fmla="*/ 1473200 h 1704975"/>
              <a:gd name="connsiteX146" fmla="*/ 419775 w 1293444"/>
              <a:gd name="connsiteY146" fmla="*/ 1463675 h 1704975"/>
              <a:gd name="connsiteX147" fmla="*/ 416600 w 1293444"/>
              <a:gd name="connsiteY147" fmla="*/ 1454150 h 1704975"/>
              <a:gd name="connsiteX148" fmla="*/ 403900 w 1293444"/>
              <a:gd name="connsiteY148" fmla="*/ 1435100 h 1704975"/>
              <a:gd name="connsiteX149" fmla="*/ 397550 w 1293444"/>
              <a:gd name="connsiteY149" fmla="*/ 1416050 h 1704975"/>
              <a:gd name="connsiteX150" fmla="*/ 394375 w 1293444"/>
              <a:gd name="connsiteY150" fmla="*/ 1381125 h 1704975"/>
              <a:gd name="connsiteX151" fmla="*/ 391200 w 1293444"/>
              <a:gd name="connsiteY151" fmla="*/ 1368425 h 1704975"/>
              <a:gd name="connsiteX152" fmla="*/ 388025 w 1293444"/>
              <a:gd name="connsiteY152" fmla="*/ 1352550 h 1704975"/>
              <a:gd name="connsiteX153" fmla="*/ 381675 w 1293444"/>
              <a:gd name="connsiteY153" fmla="*/ 1333500 h 1704975"/>
              <a:gd name="connsiteX154" fmla="*/ 378500 w 1293444"/>
              <a:gd name="connsiteY154" fmla="*/ 1323975 h 1704975"/>
              <a:gd name="connsiteX155" fmla="*/ 375325 w 1293444"/>
              <a:gd name="connsiteY155" fmla="*/ 1308100 h 1704975"/>
              <a:gd name="connsiteX156" fmla="*/ 368975 w 1293444"/>
              <a:gd name="connsiteY156" fmla="*/ 1289050 h 1704975"/>
              <a:gd name="connsiteX157" fmla="*/ 362625 w 1293444"/>
              <a:gd name="connsiteY157" fmla="*/ 1260475 h 1704975"/>
              <a:gd name="connsiteX158" fmla="*/ 359450 w 1293444"/>
              <a:gd name="connsiteY158" fmla="*/ 1231900 h 1704975"/>
              <a:gd name="connsiteX159" fmla="*/ 349925 w 1293444"/>
              <a:gd name="connsiteY159" fmla="*/ 1196975 h 1704975"/>
              <a:gd name="connsiteX160" fmla="*/ 340400 w 1293444"/>
              <a:gd name="connsiteY160" fmla="*/ 1155700 h 1704975"/>
              <a:gd name="connsiteX161" fmla="*/ 334050 w 1293444"/>
              <a:gd name="connsiteY161" fmla="*/ 1130300 h 1704975"/>
              <a:gd name="connsiteX162" fmla="*/ 327700 w 1293444"/>
              <a:gd name="connsiteY162" fmla="*/ 1104900 h 1704975"/>
              <a:gd name="connsiteX163" fmla="*/ 324525 w 1293444"/>
              <a:gd name="connsiteY163" fmla="*/ 1092200 h 1704975"/>
              <a:gd name="connsiteX164" fmla="*/ 318175 w 1293444"/>
              <a:gd name="connsiteY164" fmla="*/ 1050925 h 1704975"/>
              <a:gd name="connsiteX165" fmla="*/ 315000 w 1293444"/>
              <a:gd name="connsiteY165" fmla="*/ 1031875 h 1704975"/>
              <a:gd name="connsiteX166" fmla="*/ 311825 w 1293444"/>
              <a:gd name="connsiteY166" fmla="*/ 1022350 h 1704975"/>
              <a:gd name="connsiteX167" fmla="*/ 308650 w 1293444"/>
              <a:gd name="connsiteY167" fmla="*/ 1006475 h 1704975"/>
              <a:gd name="connsiteX168" fmla="*/ 302300 w 1293444"/>
              <a:gd name="connsiteY168" fmla="*/ 987425 h 1704975"/>
              <a:gd name="connsiteX169" fmla="*/ 299125 w 1293444"/>
              <a:gd name="connsiteY169" fmla="*/ 974725 h 1704975"/>
              <a:gd name="connsiteX170" fmla="*/ 292775 w 1293444"/>
              <a:gd name="connsiteY170" fmla="*/ 955675 h 1704975"/>
              <a:gd name="connsiteX171" fmla="*/ 289600 w 1293444"/>
              <a:gd name="connsiteY171" fmla="*/ 946150 h 1704975"/>
              <a:gd name="connsiteX172" fmla="*/ 280075 w 1293444"/>
              <a:gd name="connsiteY172" fmla="*/ 923925 h 1704975"/>
              <a:gd name="connsiteX173" fmla="*/ 261025 w 1293444"/>
              <a:gd name="connsiteY173" fmla="*/ 908050 h 1704975"/>
              <a:gd name="connsiteX174" fmla="*/ 241975 w 1293444"/>
              <a:gd name="connsiteY174" fmla="*/ 901700 h 1704975"/>
              <a:gd name="connsiteX175" fmla="*/ 222925 w 1293444"/>
              <a:gd name="connsiteY175" fmla="*/ 889000 h 1704975"/>
              <a:gd name="connsiteX176" fmla="*/ 213400 w 1293444"/>
              <a:gd name="connsiteY176" fmla="*/ 885825 h 1704975"/>
              <a:gd name="connsiteX177" fmla="*/ 194350 w 1293444"/>
              <a:gd name="connsiteY177" fmla="*/ 873125 h 1704975"/>
              <a:gd name="connsiteX178" fmla="*/ 175300 w 1293444"/>
              <a:gd name="connsiteY178" fmla="*/ 860425 h 1704975"/>
              <a:gd name="connsiteX179" fmla="*/ 162600 w 1293444"/>
              <a:gd name="connsiteY179" fmla="*/ 850900 h 1704975"/>
              <a:gd name="connsiteX180" fmla="*/ 153075 w 1293444"/>
              <a:gd name="connsiteY180" fmla="*/ 847725 h 1704975"/>
              <a:gd name="connsiteX181" fmla="*/ 134025 w 1293444"/>
              <a:gd name="connsiteY181" fmla="*/ 835025 h 1704975"/>
              <a:gd name="connsiteX182" fmla="*/ 114975 w 1293444"/>
              <a:gd name="connsiteY182" fmla="*/ 822325 h 1704975"/>
              <a:gd name="connsiteX183" fmla="*/ 105450 w 1293444"/>
              <a:gd name="connsiteY183" fmla="*/ 815975 h 1704975"/>
              <a:gd name="connsiteX184" fmla="*/ 95925 w 1293444"/>
              <a:gd name="connsiteY184" fmla="*/ 812800 h 1704975"/>
              <a:gd name="connsiteX185" fmla="*/ 64175 w 1293444"/>
              <a:gd name="connsiteY185" fmla="*/ 790575 h 1704975"/>
              <a:gd name="connsiteX186" fmla="*/ 54650 w 1293444"/>
              <a:gd name="connsiteY186" fmla="*/ 787400 h 1704975"/>
              <a:gd name="connsiteX187" fmla="*/ 38775 w 1293444"/>
              <a:gd name="connsiteY187" fmla="*/ 771525 h 1704975"/>
              <a:gd name="connsiteX188" fmla="*/ 29250 w 1293444"/>
              <a:gd name="connsiteY188" fmla="*/ 762000 h 1704975"/>
              <a:gd name="connsiteX189" fmla="*/ 19725 w 1293444"/>
              <a:gd name="connsiteY189" fmla="*/ 758825 h 1704975"/>
              <a:gd name="connsiteX190" fmla="*/ 675 w 1293444"/>
              <a:gd name="connsiteY190" fmla="*/ 746125 h 1704975"/>
              <a:gd name="connsiteX191" fmla="*/ 51475 w 1293444"/>
              <a:gd name="connsiteY191" fmla="*/ 739775 h 1704975"/>
              <a:gd name="connsiteX192" fmla="*/ 67350 w 1293444"/>
              <a:gd name="connsiteY192" fmla="*/ 736600 h 1704975"/>
              <a:gd name="connsiteX193" fmla="*/ 102275 w 1293444"/>
              <a:gd name="connsiteY193" fmla="*/ 733425 h 1704975"/>
              <a:gd name="connsiteX194" fmla="*/ 130850 w 1293444"/>
              <a:gd name="connsiteY194" fmla="*/ 727075 h 1704975"/>
              <a:gd name="connsiteX195" fmla="*/ 149900 w 1293444"/>
              <a:gd name="connsiteY195" fmla="*/ 723900 h 1704975"/>
              <a:gd name="connsiteX196" fmla="*/ 159425 w 1293444"/>
              <a:gd name="connsiteY196" fmla="*/ 720725 h 1704975"/>
              <a:gd name="connsiteX197" fmla="*/ 175300 w 1293444"/>
              <a:gd name="connsiteY197" fmla="*/ 717550 h 1704975"/>
              <a:gd name="connsiteX198" fmla="*/ 194350 w 1293444"/>
              <a:gd name="connsiteY198" fmla="*/ 711200 h 1704975"/>
              <a:gd name="connsiteX199" fmla="*/ 222925 w 1293444"/>
              <a:gd name="connsiteY199" fmla="*/ 701675 h 1704975"/>
              <a:gd name="connsiteX200" fmla="*/ 232450 w 1293444"/>
              <a:gd name="connsiteY200" fmla="*/ 698500 h 1704975"/>
              <a:gd name="connsiteX201" fmla="*/ 241975 w 1293444"/>
              <a:gd name="connsiteY201" fmla="*/ 695325 h 1704975"/>
              <a:gd name="connsiteX202" fmla="*/ 381675 w 1293444"/>
              <a:gd name="connsiteY202" fmla="*/ 688975 h 1704975"/>
              <a:gd name="connsiteX203" fmla="*/ 397550 w 1293444"/>
              <a:gd name="connsiteY203" fmla="*/ 685800 h 1704975"/>
              <a:gd name="connsiteX204" fmla="*/ 407075 w 1293444"/>
              <a:gd name="connsiteY204" fmla="*/ 682625 h 1704975"/>
              <a:gd name="connsiteX205" fmla="*/ 419775 w 1293444"/>
              <a:gd name="connsiteY205" fmla="*/ 679450 h 1704975"/>
              <a:gd name="connsiteX206" fmla="*/ 438825 w 1293444"/>
              <a:gd name="connsiteY206" fmla="*/ 673100 h 1704975"/>
              <a:gd name="connsiteX207" fmla="*/ 467400 w 1293444"/>
              <a:gd name="connsiteY207" fmla="*/ 663575 h 1704975"/>
              <a:gd name="connsiteX208" fmla="*/ 495975 w 1293444"/>
              <a:gd name="connsiteY208" fmla="*/ 654050 h 1704975"/>
              <a:gd name="connsiteX209" fmla="*/ 505500 w 1293444"/>
              <a:gd name="connsiteY209" fmla="*/ 650875 h 1704975"/>
              <a:gd name="connsiteX210" fmla="*/ 527725 w 1293444"/>
              <a:gd name="connsiteY210" fmla="*/ 641350 h 1704975"/>
              <a:gd name="connsiteX211" fmla="*/ 537250 w 1293444"/>
              <a:gd name="connsiteY211" fmla="*/ 635000 h 1704975"/>
              <a:gd name="connsiteX212" fmla="*/ 546775 w 1293444"/>
              <a:gd name="connsiteY212" fmla="*/ 631825 h 1704975"/>
              <a:gd name="connsiteX213" fmla="*/ 559475 w 1293444"/>
              <a:gd name="connsiteY213" fmla="*/ 625475 h 1704975"/>
              <a:gd name="connsiteX214" fmla="*/ 578525 w 1293444"/>
              <a:gd name="connsiteY214" fmla="*/ 657225 h 1704975"/>
              <a:gd name="connsiteX215" fmla="*/ 588050 w 1293444"/>
              <a:gd name="connsiteY215" fmla="*/ 660400 h 1704975"/>
              <a:gd name="connsiteX216" fmla="*/ 607100 w 1293444"/>
              <a:gd name="connsiteY216" fmla="*/ 673100 h 1704975"/>
              <a:gd name="connsiteX217" fmla="*/ 626150 w 1293444"/>
              <a:gd name="connsiteY217" fmla="*/ 679450 h 1704975"/>
              <a:gd name="connsiteX218" fmla="*/ 635675 w 1293444"/>
              <a:gd name="connsiteY218" fmla="*/ 685800 h 1704975"/>
              <a:gd name="connsiteX219" fmla="*/ 654725 w 1293444"/>
              <a:gd name="connsiteY219" fmla="*/ 692150 h 1704975"/>
              <a:gd name="connsiteX220" fmla="*/ 645200 w 1293444"/>
              <a:gd name="connsiteY220" fmla="*/ 682625 h 1704975"/>
              <a:gd name="connsiteX221" fmla="*/ 635675 w 1293444"/>
              <a:gd name="connsiteY221" fmla="*/ 676275 h 1704975"/>
              <a:gd name="connsiteX222" fmla="*/ 632500 w 1293444"/>
              <a:gd name="connsiteY222" fmla="*/ 666750 h 1704975"/>
              <a:gd name="connsiteX223" fmla="*/ 635675 w 1293444"/>
              <a:gd name="connsiteY223" fmla="*/ 590550 h 1704975"/>
              <a:gd name="connsiteX224" fmla="*/ 642025 w 1293444"/>
              <a:gd name="connsiteY224" fmla="*/ 571500 h 1704975"/>
              <a:gd name="connsiteX225" fmla="*/ 648375 w 1293444"/>
              <a:gd name="connsiteY225" fmla="*/ 561975 h 1704975"/>
              <a:gd name="connsiteX226" fmla="*/ 638850 w 1293444"/>
              <a:gd name="connsiteY226" fmla="*/ 536575 h 1704975"/>
              <a:gd name="connsiteX227" fmla="*/ 629325 w 1293444"/>
              <a:gd name="connsiteY227" fmla="*/ 533400 h 1704975"/>
              <a:gd name="connsiteX228" fmla="*/ 626150 w 1293444"/>
              <a:gd name="connsiteY228" fmla="*/ 523875 h 1704975"/>
              <a:gd name="connsiteX229" fmla="*/ 632500 w 1293444"/>
              <a:gd name="connsiteY229" fmla="*/ 498475 h 1704975"/>
              <a:gd name="connsiteX230" fmla="*/ 635675 w 1293444"/>
              <a:gd name="connsiteY230" fmla="*/ 485775 h 1704975"/>
              <a:gd name="connsiteX231" fmla="*/ 626150 w 1293444"/>
              <a:gd name="connsiteY231" fmla="*/ 463550 h 1704975"/>
              <a:gd name="connsiteX232" fmla="*/ 616625 w 1293444"/>
              <a:gd name="connsiteY232" fmla="*/ 460375 h 1704975"/>
              <a:gd name="connsiteX233" fmla="*/ 607100 w 1293444"/>
              <a:gd name="connsiteY233" fmla="*/ 454025 h 1704975"/>
              <a:gd name="connsiteX234" fmla="*/ 591225 w 1293444"/>
              <a:gd name="connsiteY234" fmla="*/ 450850 h 1704975"/>
              <a:gd name="connsiteX235" fmla="*/ 569000 w 1293444"/>
              <a:gd name="connsiteY235" fmla="*/ 441325 h 1704975"/>
              <a:gd name="connsiteX236" fmla="*/ 546775 w 1293444"/>
              <a:gd name="connsiteY236" fmla="*/ 415925 h 1704975"/>
              <a:gd name="connsiteX237" fmla="*/ 540425 w 1293444"/>
              <a:gd name="connsiteY237" fmla="*/ 406400 h 1704975"/>
              <a:gd name="connsiteX238" fmla="*/ 530900 w 1293444"/>
              <a:gd name="connsiteY238" fmla="*/ 400050 h 1704975"/>
              <a:gd name="connsiteX239" fmla="*/ 508675 w 1293444"/>
              <a:gd name="connsiteY239" fmla="*/ 374650 h 1704975"/>
              <a:gd name="connsiteX240" fmla="*/ 502325 w 1293444"/>
              <a:gd name="connsiteY240" fmla="*/ 365125 h 1704975"/>
              <a:gd name="connsiteX241" fmla="*/ 483275 w 1293444"/>
              <a:gd name="connsiteY241" fmla="*/ 346075 h 1704975"/>
              <a:gd name="connsiteX242" fmla="*/ 486450 w 1293444"/>
              <a:gd name="connsiteY242" fmla="*/ 333375 h 1704975"/>
              <a:gd name="connsiteX243" fmla="*/ 492800 w 1293444"/>
              <a:gd name="connsiteY243" fmla="*/ 314325 h 1704975"/>
              <a:gd name="connsiteX244" fmla="*/ 489625 w 1293444"/>
              <a:gd name="connsiteY244" fmla="*/ 292100 h 1704975"/>
              <a:gd name="connsiteX245" fmla="*/ 461050 w 1293444"/>
              <a:gd name="connsiteY245" fmla="*/ 266700 h 1704975"/>
              <a:gd name="connsiteX246" fmla="*/ 435650 w 1293444"/>
              <a:gd name="connsiteY246" fmla="*/ 254000 h 1704975"/>
              <a:gd name="connsiteX247" fmla="*/ 413425 w 1293444"/>
              <a:gd name="connsiteY247" fmla="*/ 238125 h 1704975"/>
              <a:gd name="connsiteX248" fmla="*/ 403900 w 1293444"/>
              <a:gd name="connsiteY248" fmla="*/ 231775 h 1704975"/>
              <a:gd name="connsiteX249" fmla="*/ 388025 w 1293444"/>
              <a:gd name="connsiteY249" fmla="*/ 212725 h 1704975"/>
              <a:gd name="connsiteX250" fmla="*/ 372150 w 1293444"/>
              <a:gd name="connsiteY250" fmla="*/ 196850 h 1704975"/>
              <a:gd name="connsiteX251" fmla="*/ 365800 w 1293444"/>
              <a:gd name="connsiteY251" fmla="*/ 177800 h 1704975"/>
              <a:gd name="connsiteX252" fmla="*/ 359450 w 1293444"/>
              <a:gd name="connsiteY252" fmla="*/ 149225 h 1704975"/>
              <a:gd name="connsiteX253" fmla="*/ 362625 w 1293444"/>
              <a:gd name="connsiteY253" fmla="*/ 114300 h 1704975"/>
              <a:gd name="connsiteX254" fmla="*/ 368975 w 1293444"/>
              <a:gd name="connsiteY254" fmla="*/ 104775 h 1704975"/>
              <a:gd name="connsiteX255" fmla="*/ 375325 w 1293444"/>
              <a:gd name="connsiteY25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65900 w 1293444"/>
              <a:gd name="connsiteY53" fmla="*/ 454025 h 1704975"/>
              <a:gd name="connsiteX54" fmla="*/ 1207175 w 1293444"/>
              <a:gd name="connsiteY54" fmla="*/ 457200 h 1704975"/>
              <a:gd name="connsiteX55" fmla="*/ 1216700 w 1293444"/>
              <a:gd name="connsiteY55" fmla="*/ 463550 h 1704975"/>
              <a:gd name="connsiteX56" fmla="*/ 1270675 w 1293444"/>
              <a:gd name="connsiteY56" fmla="*/ 469900 h 1704975"/>
              <a:gd name="connsiteX57" fmla="*/ 1277025 w 1293444"/>
              <a:gd name="connsiteY57" fmla="*/ 479425 h 1704975"/>
              <a:gd name="connsiteX58" fmla="*/ 1273850 w 1293444"/>
              <a:gd name="connsiteY58" fmla="*/ 488950 h 1704975"/>
              <a:gd name="connsiteX59" fmla="*/ 1270675 w 1293444"/>
              <a:gd name="connsiteY59" fmla="*/ 511175 h 1704975"/>
              <a:gd name="connsiteX60" fmla="*/ 1264325 w 1293444"/>
              <a:gd name="connsiteY60" fmla="*/ 530225 h 1704975"/>
              <a:gd name="connsiteX61" fmla="*/ 1261150 w 1293444"/>
              <a:gd name="connsiteY61" fmla="*/ 539750 h 1704975"/>
              <a:gd name="connsiteX62" fmla="*/ 1254800 w 1293444"/>
              <a:gd name="connsiteY62" fmla="*/ 571500 h 1704975"/>
              <a:gd name="connsiteX63" fmla="*/ 1254800 w 1293444"/>
              <a:gd name="connsiteY63" fmla="*/ 692150 h 1704975"/>
              <a:gd name="connsiteX64" fmla="*/ 1257975 w 1293444"/>
              <a:gd name="connsiteY64" fmla="*/ 714375 h 1704975"/>
              <a:gd name="connsiteX65" fmla="*/ 1261150 w 1293444"/>
              <a:gd name="connsiteY65" fmla="*/ 723900 h 1704975"/>
              <a:gd name="connsiteX66" fmla="*/ 1273850 w 1293444"/>
              <a:gd name="connsiteY66" fmla="*/ 727075 h 1704975"/>
              <a:gd name="connsiteX67" fmla="*/ 1292900 w 1293444"/>
              <a:gd name="connsiteY67" fmla="*/ 739775 h 1704975"/>
              <a:gd name="connsiteX68" fmla="*/ 1289725 w 1293444"/>
              <a:gd name="connsiteY68" fmla="*/ 784225 h 1704975"/>
              <a:gd name="connsiteX69" fmla="*/ 1273850 w 1293444"/>
              <a:gd name="connsiteY69" fmla="*/ 800100 h 1704975"/>
              <a:gd name="connsiteX70" fmla="*/ 1264325 w 1293444"/>
              <a:gd name="connsiteY70" fmla="*/ 809625 h 1704975"/>
              <a:gd name="connsiteX71" fmla="*/ 1219875 w 1293444"/>
              <a:gd name="connsiteY71" fmla="*/ 819150 h 1704975"/>
              <a:gd name="connsiteX72" fmla="*/ 1200825 w 1293444"/>
              <a:gd name="connsiteY72" fmla="*/ 825500 h 1704975"/>
              <a:gd name="connsiteX73" fmla="*/ 1181775 w 1293444"/>
              <a:gd name="connsiteY73" fmla="*/ 838200 h 1704975"/>
              <a:gd name="connsiteX74" fmla="*/ 1172250 w 1293444"/>
              <a:gd name="connsiteY74" fmla="*/ 844550 h 1704975"/>
              <a:gd name="connsiteX75" fmla="*/ 1153200 w 1293444"/>
              <a:gd name="connsiteY75" fmla="*/ 850900 h 1704975"/>
              <a:gd name="connsiteX76" fmla="*/ 1140500 w 1293444"/>
              <a:gd name="connsiteY76" fmla="*/ 857250 h 1704975"/>
              <a:gd name="connsiteX77" fmla="*/ 1130975 w 1293444"/>
              <a:gd name="connsiteY77" fmla="*/ 863600 h 1704975"/>
              <a:gd name="connsiteX78" fmla="*/ 1105575 w 1293444"/>
              <a:gd name="connsiteY78" fmla="*/ 866775 h 1704975"/>
              <a:gd name="connsiteX79" fmla="*/ 1086525 w 1293444"/>
              <a:gd name="connsiteY79" fmla="*/ 873125 h 1704975"/>
              <a:gd name="connsiteX80" fmla="*/ 1077000 w 1293444"/>
              <a:gd name="connsiteY80" fmla="*/ 879475 h 1704975"/>
              <a:gd name="connsiteX81" fmla="*/ 1057950 w 1293444"/>
              <a:gd name="connsiteY81" fmla="*/ 885825 h 1704975"/>
              <a:gd name="connsiteX82" fmla="*/ 1048425 w 1293444"/>
              <a:gd name="connsiteY82" fmla="*/ 889000 h 1704975"/>
              <a:gd name="connsiteX83" fmla="*/ 1029375 w 1293444"/>
              <a:gd name="connsiteY83" fmla="*/ 908050 h 1704975"/>
              <a:gd name="connsiteX84" fmla="*/ 1010325 w 1293444"/>
              <a:gd name="connsiteY84" fmla="*/ 914400 h 1704975"/>
              <a:gd name="connsiteX85" fmla="*/ 1003975 w 1293444"/>
              <a:gd name="connsiteY85" fmla="*/ 923925 h 1704975"/>
              <a:gd name="connsiteX86" fmla="*/ 994450 w 1293444"/>
              <a:gd name="connsiteY86" fmla="*/ 933450 h 1704975"/>
              <a:gd name="connsiteX87" fmla="*/ 991275 w 1293444"/>
              <a:gd name="connsiteY87" fmla="*/ 942975 h 1704975"/>
              <a:gd name="connsiteX88" fmla="*/ 988100 w 1293444"/>
              <a:gd name="connsiteY88" fmla="*/ 962025 h 1704975"/>
              <a:gd name="connsiteX89" fmla="*/ 969050 w 1293444"/>
              <a:gd name="connsiteY89" fmla="*/ 968375 h 1704975"/>
              <a:gd name="connsiteX90" fmla="*/ 950000 w 1293444"/>
              <a:gd name="connsiteY90" fmla="*/ 981075 h 1704975"/>
              <a:gd name="connsiteX91" fmla="*/ 940475 w 1293444"/>
              <a:gd name="connsiteY91" fmla="*/ 987425 h 1704975"/>
              <a:gd name="connsiteX92" fmla="*/ 930950 w 1293444"/>
              <a:gd name="connsiteY92" fmla="*/ 1006475 h 1704975"/>
              <a:gd name="connsiteX93" fmla="*/ 924600 w 1293444"/>
              <a:gd name="connsiteY93" fmla="*/ 1016000 h 1704975"/>
              <a:gd name="connsiteX94" fmla="*/ 921425 w 1293444"/>
              <a:gd name="connsiteY94" fmla="*/ 1025525 h 1704975"/>
              <a:gd name="connsiteX95" fmla="*/ 905550 w 1293444"/>
              <a:gd name="connsiteY95" fmla="*/ 1044575 h 1704975"/>
              <a:gd name="connsiteX96" fmla="*/ 896025 w 1293444"/>
              <a:gd name="connsiteY96" fmla="*/ 1063625 h 1704975"/>
              <a:gd name="connsiteX97" fmla="*/ 867450 w 1293444"/>
              <a:gd name="connsiteY97" fmla="*/ 1085850 h 1704975"/>
              <a:gd name="connsiteX98" fmla="*/ 848400 w 1293444"/>
              <a:gd name="connsiteY98" fmla="*/ 1095375 h 1704975"/>
              <a:gd name="connsiteX99" fmla="*/ 813475 w 1293444"/>
              <a:gd name="connsiteY99" fmla="*/ 1092200 h 1704975"/>
              <a:gd name="connsiteX100" fmla="*/ 772200 w 1293444"/>
              <a:gd name="connsiteY100" fmla="*/ 1098550 h 1704975"/>
              <a:gd name="connsiteX101" fmla="*/ 759500 w 1293444"/>
              <a:gd name="connsiteY101" fmla="*/ 1127125 h 1704975"/>
              <a:gd name="connsiteX102" fmla="*/ 756325 w 1293444"/>
              <a:gd name="connsiteY102" fmla="*/ 1136650 h 1704975"/>
              <a:gd name="connsiteX103" fmla="*/ 740450 w 1293444"/>
              <a:gd name="connsiteY103" fmla="*/ 1155700 h 1704975"/>
              <a:gd name="connsiteX104" fmla="*/ 718225 w 1293444"/>
              <a:gd name="connsiteY104" fmla="*/ 1181100 h 1704975"/>
              <a:gd name="connsiteX105" fmla="*/ 721400 w 1293444"/>
              <a:gd name="connsiteY105" fmla="*/ 1238250 h 1704975"/>
              <a:gd name="connsiteX106" fmla="*/ 727750 w 1293444"/>
              <a:gd name="connsiteY106" fmla="*/ 1247775 h 1704975"/>
              <a:gd name="connsiteX107" fmla="*/ 730925 w 1293444"/>
              <a:gd name="connsiteY107" fmla="*/ 1257300 h 1704975"/>
              <a:gd name="connsiteX108" fmla="*/ 740450 w 1293444"/>
              <a:gd name="connsiteY108" fmla="*/ 1276350 h 1704975"/>
              <a:gd name="connsiteX109" fmla="*/ 743625 w 1293444"/>
              <a:gd name="connsiteY109" fmla="*/ 1320800 h 1704975"/>
              <a:gd name="connsiteX110" fmla="*/ 746800 w 1293444"/>
              <a:gd name="connsiteY110" fmla="*/ 1330325 h 1704975"/>
              <a:gd name="connsiteX111" fmla="*/ 756325 w 1293444"/>
              <a:gd name="connsiteY111" fmla="*/ 1336675 h 1704975"/>
              <a:gd name="connsiteX112" fmla="*/ 762675 w 1293444"/>
              <a:gd name="connsiteY112" fmla="*/ 1346200 h 1704975"/>
              <a:gd name="connsiteX113" fmla="*/ 769025 w 1293444"/>
              <a:gd name="connsiteY113" fmla="*/ 1393825 h 1704975"/>
              <a:gd name="connsiteX114" fmla="*/ 775375 w 1293444"/>
              <a:gd name="connsiteY114" fmla="*/ 1412875 h 1704975"/>
              <a:gd name="connsiteX115" fmla="*/ 781725 w 1293444"/>
              <a:gd name="connsiteY115" fmla="*/ 1435100 h 1704975"/>
              <a:gd name="connsiteX116" fmla="*/ 772200 w 1293444"/>
              <a:gd name="connsiteY116" fmla="*/ 1460500 h 1704975"/>
              <a:gd name="connsiteX117" fmla="*/ 762675 w 1293444"/>
              <a:gd name="connsiteY117" fmla="*/ 1466850 h 1704975"/>
              <a:gd name="connsiteX118" fmla="*/ 753150 w 1293444"/>
              <a:gd name="connsiteY118" fmla="*/ 1485900 h 1704975"/>
              <a:gd name="connsiteX119" fmla="*/ 749975 w 1293444"/>
              <a:gd name="connsiteY119" fmla="*/ 1514475 h 1704975"/>
              <a:gd name="connsiteX120" fmla="*/ 740450 w 1293444"/>
              <a:gd name="connsiteY120" fmla="*/ 1520825 h 1704975"/>
              <a:gd name="connsiteX121" fmla="*/ 730925 w 1293444"/>
              <a:gd name="connsiteY121" fmla="*/ 1530350 h 1704975"/>
              <a:gd name="connsiteX122" fmla="*/ 718225 w 1293444"/>
              <a:gd name="connsiteY122" fmla="*/ 1549400 h 1704975"/>
              <a:gd name="connsiteX123" fmla="*/ 711875 w 1293444"/>
              <a:gd name="connsiteY123" fmla="*/ 1558925 h 1704975"/>
              <a:gd name="connsiteX124" fmla="*/ 702350 w 1293444"/>
              <a:gd name="connsiteY124" fmla="*/ 1568450 h 1704975"/>
              <a:gd name="connsiteX125" fmla="*/ 699175 w 1293444"/>
              <a:gd name="connsiteY125" fmla="*/ 1577975 h 1704975"/>
              <a:gd name="connsiteX126" fmla="*/ 686475 w 1293444"/>
              <a:gd name="connsiteY126" fmla="*/ 1597025 h 1704975"/>
              <a:gd name="connsiteX127" fmla="*/ 676950 w 1293444"/>
              <a:gd name="connsiteY127" fmla="*/ 1616075 h 1704975"/>
              <a:gd name="connsiteX128" fmla="*/ 667425 w 1293444"/>
              <a:gd name="connsiteY128" fmla="*/ 1619250 h 1704975"/>
              <a:gd name="connsiteX129" fmla="*/ 648375 w 1293444"/>
              <a:gd name="connsiteY129" fmla="*/ 1631950 h 1704975"/>
              <a:gd name="connsiteX130" fmla="*/ 638850 w 1293444"/>
              <a:gd name="connsiteY130" fmla="*/ 1638300 h 1704975"/>
              <a:gd name="connsiteX131" fmla="*/ 607100 w 1293444"/>
              <a:gd name="connsiteY131" fmla="*/ 1676400 h 1704975"/>
              <a:gd name="connsiteX132" fmla="*/ 556300 w 1293444"/>
              <a:gd name="connsiteY132" fmla="*/ 1679575 h 1704975"/>
              <a:gd name="connsiteX133" fmla="*/ 537250 w 1293444"/>
              <a:gd name="connsiteY133" fmla="*/ 1685925 h 1704975"/>
              <a:gd name="connsiteX134" fmla="*/ 515025 w 1293444"/>
              <a:gd name="connsiteY134" fmla="*/ 1698625 h 1704975"/>
              <a:gd name="connsiteX135" fmla="*/ 495975 w 1293444"/>
              <a:gd name="connsiteY135" fmla="*/ 1704975 h 1704975"/>
              <a:gd name="connsiteX136" fmla="*/ 476925 w 1293444"/>
              <a:gd name="connsiteY136" fmla="*/ 1701800 h 1704975"/>
              <a:gd name="connsiteX137" fmla="*/ 470575 w 1293444"/>
              <a:gd name="connsiteY137" fmla="*/ 1692275 h 1704975"/>
              <a:gd name="connsiteX138" fmla="*/ 467400 w 1293444"/>
              <a:gd name="connsiteY138" fmla="*/ 1660525 h 1704975"/>
              <a:gd name="connsiteX139" fmla="*/ 457875 w 1293444"/>
              <a:gd name="connsiteY139" fmla="*/ 1641475 h 1704975"/>
              <a:gd name="connsiteX140" fmla="*/ 448350 w 1293444"/>
              <a:gd name="connsiteY140" fmla="*/ 1635125 h 1704975"/>
              <a:gd name="connsiteX141" fmla="*/ 445175 w 1293444"/>
              <a:gd name="connsiteY141" fmla="*/ 1625600 h 1704975"/>
              <a:gd name="connsiteX142" fmla="*/ 435650 w 1293444"/>
              <a:gd name="connsiteY142" fmla="*/ 1606550 h 1704975"/>
              <a:gd name="connsiteX143" fmla="*/ 432475 w 1293444"/>
              <a:gd name="connsiteY143" fmla="*/ 1495425 h 1704975"/>
              <a:gd name="connsiteX144" fmla="*/ 429300 w 1293444"/>
              <a:gd name="connsiteY144" fmla="*/ 1485900 h 1704975"/>
              <a:gd name="connsiteX145" fmla="*/ 426125 w 1293444"/>
              <a:gd name="connsiteY145" fmla="*/ 1473200 h 1704975"/>
              <a:gd name="connsiteX146" fmla="*/ 419775 w 1293444"/>
              <a:gd name="connsiteY146" fmla="*/ 1463675 h 1704975"/>
              <a:gd name="connsiteX147" fmla="*/ 416600 w 1293444"/>
              <a:gd name="connsiteY147" fmla="*/ 1454150 h 1704975"/>
              <a:gd name="connsiteX148" fmla="*/ 403900 w 1293444"/>
              <a:gd name="connsiteY148" fmla="*/ 1435100 h 1704975"/>
              <a:gd name="connsiteX149" fmla="*/ 397550 w 1293444"/>
              <a:gd name="connsiteY149" fmla="*/ 1416050 h 1704975"/>
              <a:gd name="connsiteX150" fmla="*/ 394375 w 1293444"/>
              <a:gd name="connsiteY150" fmla="*/ 1381125 h 1704975"/>
              <a:gd name="connsiteX151" fmla="*/ 391200 w 1293444"/>
              <a:gd name="connsiteY151" fmla="*/ 1368425 h 1704975"/>
              <a:gd name="connsiteX152" fmla="*/ 388025 w 1293444"/>
              <a:gd name="connsiteY152" fmla="*/ 1352550 h 1704975"/>
              <a:gd name="connsiteX153" fmla="*/ 381675 w 1293444"/>
              <a:gd name="connsiteY153" fmla="*/ 1333500 h 1704975"/>
              <a:gd name="connsiteX154" fmla="*/ 378500 w 1293444"/>
              <a:gd name="connsiteY154" fmla="*/ 1323975 h 1704975"/>
              <a:gd name="connsiteX155" fmla="*/ 375325 w 1293444"/>
              <a:gd name="connsiteY155" fmla="*/ 1308100 h 1704975"/>
              <a:gd name="connsiteX156" fmla="*/ 368975 w 1293444"/>
              <a:gd name="connsiteY156" fmla="*/ 1289050 h 1704975"/>
              <a:gd name="connsiteX157" fmla="*/ 362625 w 1293444"/>
              <a:gd name="connsiteY157" fmla="*/ 1260475 h 1704975"/>
              <a:gd name="connsiteX158" fmla="*/ 359450 w 1293444"/>
              <a:gd name="connsiteY158" fmla="*/ 1231900 h 1704975"/>
              <a:gd name="connsiteX159" fmla="*/ 349925 w 1293444"/>
              <a:gd name="connsiteY159" fmla="*/ 1196975 h 1704975"/>
              <a:gd name="connsiteX160" fmla="*/ 340400 w 1293444"/>
              <a:gd name="connsiteY160" fmla="*/ 1155700 h 1704975"/>
              <a:gd name="connsiteX161" fmla="*/ 334050 w 1293444"/>
              <a:gd name="connsiteY161" fmla="*/ 1130300 h 1704975"/>
              <a:gd name="connsiteX162" fmla="*/ 327700 w 1293444"/>
              <a:gd name="connsiteY162" fmla="*/ 1104900 h 1704975"/>
              <a:gd name="connsiteX163" fmla="*/ 324525 w 1293444"/>
              <a:gd name="connsiteY163" fmla="*/ 1092200 h 1704975"/>
              <a:gd name="connsiteX164" fmla="*/ 318175 w 1293444"/>
              <a:gd name="connsiteY164" fmla="*/ 1050925 h 1704975"/>
              <a:gd name="connsiteX165" fmla="*/ 315000 w 1293444"/>
              <a:gd name="connsiteY165" fmla="*/ 1031875 h 1704975"/>
              <a:gd name="connsiteX166" fmla="*/ 311825 w 1293444"/>
              <a:gd name="connsiteY166" fmla="*/ 1022350 h 1704975"/>
              <a:gd name="connsiteX167" fmla="*/ 308650 w 1293444"/>
              <a:gd name="connsiteY167" fmla="*/ 1006475 h 1704975"/>
              <a:gd name="connsiteX168" fmla="*/ 302300 w 1293444"/>
              <a:gd name="connsiteY168" fmla="*/ 987425 h 1704975"/>
              <a:gd name="connsiteX169" fmla="*/ 299125 w 1293444"/>
              <a:gd name="connsiteY169" fmla="*/ 974725 h 1704975"/>
              <a:gd name="connsiteX170" fmla="*/ 292775 w 1293444"/>
              <a:gd name="connsiteY170" fmla="*/ 955675 h 1704975"/>
              <a:gd name="connsiteX171" fmla="*/ 289600 w 1293444"/>
              <a:gd name="connsiteY171" fmla="*/ 946150 h 1704975"/>
              <a:gd name="connsiteX172" fmla="*/ 280075 w 1293444"/>
              <a:gd name="connsiteY172" fmla="*/ 923925 h 1704975"/>
              <a:gd name="connsiteX173" fmla="*/ 261025 w 1293444"/>
              <a:gd name="connsiteY173" fmla="*/ 908050 h 1704975"/>
              <a:gd name="connsiteX174" fmla="*/ 241975 w 1293444"/>
              <a:gd name="connsiteY174" fmla="*/ 901700 h 1704975"/>
              <a:gd name="connsiteX175" fmla="*/ 222925 w 1293444"/>
              <a:gd name="connsiteY175" fmla="*/ 889000 h 1704975"/>
              <a:gd name="connsiteX176" fmla="*/ 213400 w 1293444"/>
              <a:gd name="connsiteY176" fmla="*/ 885825 h 1704975"/>
              <a:gd name="connsiteX177" fmla="*/ 194350 w 1293444"/>
              <a:gd name="connsiteY177" fmla="*/ 873125 h 1704975"/>
              <a:gd name="connsiteX178" fmla="*/ 175300 w 1293444"/>
              <a:gd name="connsiteY178" fmla="*/ 860425 h 1704975"/>
              <a:gd name="connsiteX179" fmla="*/ 162600 w 1293444"/>
              <a:gd name="connsiteY179" fmla="*/ 850900 h 1704975"/>
              <a:gd name="connsiteX180" fmla="*/ 153075 w 1293444"/>
              <a:gd name="connsiteY180" fmla="*/ 847725 h 1704975"/>
              <a:gd name="connsiteX181" fmla="*/ 134025 w 1293444"/>
              <a:gd name="connsiteY181" fmla="*/ 835025 h 1704975"/>
              <a:gd name="connsiteX182" fmla="*/ 114975 w 1293444"/>
              <a:gd name="connsiteY182" fmla="*/ 822325 h 1704975"/>
              <a:gd name="connsiteX183" fmla="*/ 105450 w 1293444"/>
              <a:gd name="connsiteY183" fmla="*/ 815975 h 1704975"/>
              <a:gd name="connsiteX184" fmla="*/ 95925 w 1293444"/>
              <a:gd name="connsiteY184" fmla="*/ 812800 h 1704975"/>
              <a:gd name="connsiteX185" fmla="*/ 64175 w 1293444"/>
              <a:gd name="connsiteY185" fmla="*/ 790575 h 1704975"/>
              <a:gd name="connsiteX186" fmla="*/ 54650 w 1293444"/>
              <a:gd name="connsiteY186" fmla="*/ 787400 h 1704975"/>
              <a:gd name="connsiteX187" fmla="*/ 38775 w 1293444"/>
              <a:gd name="connsiteY187" fmla="*/ 771525 h 1704975"/>
              <a:gd name="connsiteX188" fmla="*/ 29250 w 1293444"/>
              <a:gd name="connsiteY188" fmla="*/ 762000 h 1704975"/>
              <a:gd name="connsiteX189" fmla="*/ 19725 w 1293444"/>
              <a:gd name="connsiteY189" fmla="*/ 758825 h 1704975"/>
              <a:gd name="connsiteX190" fmla="*/ 675 w 1293444"/>
              <a:gd name="connsiteY190" fmla="*/ 746125 h 1704975"/>
              <a:gd name="connsiteX191" fmla="*/ 51475 w 1293444"/>
              <a:gd name="connsiteY191" fmla="*/ 739775 h 1704975"/>
              <a:gd name="connsiteX192" fmla="*/ 67350 w 1293444"/>
              <a:gd name="connsiteY192" fmla="*/ 736600 h 1704975"/>
              <a:gd name="connsiteX193" fmla="*/ 102275 w 1293444"/>
              <a:gd name="connsiteY193" fmla="*/ 733425 h 1704975"/>
              <a:gd name="connsiteX194" fmla="*/ 130850 w 1293444"/>
              <a:gd name="connsiteY194" fmla="*/ 727075 h 1704975"/>
              <a:gd name="connsiteX195" fmla="*/ 149900 w 1293444"/>
              <a:gd name="connsiteY195" fmla="*/ 723900 h 1704975"/>
              <a:gd name="connsiteX196" fmla="*/ 159425 w 1293444"/>
              <a:gd name="connsiteY196" fmla="*/ 720725 h 1704975"/>
              <a:gd name="connsiteX197" fmla="*/ 175300 w 1293444"/>
              <a:gd name="connsiteY197" fmla="*/ 717550 h 1704975"/>
              <a:gd name="connsiteX198" fmla="*/ 194350 w 1293444"/>
              <a:gd name="connsiteY198" fmla="*/ 711200 h 1704975"/>
              <a:gd name="connsiteX199" fmla="*/ 222925 w 1293444"/>
              <a:gd name="connsiteY199" fmla="*/ 701675 h 1704975"/>
              <a:gd name="connsiteX200" fmla="*/ 232450 w 1293444"/>
              <a:gd name="connsiteY200" fmla="*/ 698500 h 1704975"/>
              <a:gd name="connsiteX201" fmla="*/ 241975 w 1293444"/>
              <a:gd name="connsiteY201" fmla="*/ 695325 h 1704975"/>
              <a:gd name="connsiteX202" fmla="*/ 381675 w 1293444"/>
              <a:gd name="connsiteY202" fmla="*/ 688975 h 1704975"/>
              <a:gd name="connsiteX203" fmla="*/ 397550 w 1293444"/>
              <a:gd name="connsiteY203" fmla="*/ 685800 h 1704975"/>
              <a:gd name="connsiteX204" fmla="*/ 407075 w 1293444"/>
              <a:gd name="connsiteY204" fmla="*/ 682625 h 1704975"/>
              <a:gd name="connsiteX205" fmla="*/ 419775 w 1293444"/>
              <a:gd name="connsiteY205" fmla="*/ 679450 h 1704975"/>
              <a:gd name="connsiteX206" fmla="*/ 438825 w 1293444"/>
              <a:gd name="connsiteY206" fmla="*/ 673100 h 1704975"/>
              <a:gd name="connsiteX207" fmla="*/ 467400 w 1293444"/>
              <a:gd name="connsiteY207" fmla="*/ 663575 h 1704975"/>
              <a:gd name="connsiteX208" fmla="*/ 495975 w 1293444"/>
              <a:gd name="connsiteY208" fmla="*/ 654050 h 1704975"/>
              <a:gd name="connsiteX209" fmla="*/ 505500 w 1293444"/>
              <a:gd name="connsiteY209" fmla="*/ 650875 h 1704975"/>
              <a:gd name="connsiteX210" fmla="*/ 527725 w 1293444"/>
              <a:gd name="connsiteY210" fmla="*/ 641350 h 1704975"/>
              <a:gd name="connsiteX211" fmla="*/ 537250 w 1293444"/>
              <a:gd name="connsiteY211" fmla="*/ 635000 h 1704975"/>
              <a:gd name="connsiteX212" fmla="*/ 546775 w 1293444"/>
              <a:gd name="connsiteY212" fmla="*/ 631825 h 1704975"/>
              <a:gd name="connsiteX213" fmla="*/ 559475 w 1293444"/>
              <a:gd name="connsiteY213" fmla="*/ 625475 h 1704975"/>
              <a:gd name="connsiteX214" fmla="*/ 578525 w 1293444"/>
              <a:gd name="connsiteY214" fmla="*/ 657225 h 1704975"/>
              <a:gd name="connsiteX215" fmla="*/ 588050 w 1293444"/>
              <a:gd name="connsiteY215" fmla="*/ 660400 h 1704975"/>
              <a:gd name="connsiteX216" fmla="*/ 607100 w 1293444"/>
              <a:gd name="connsiteY216" fmla="*/ 673100 h 1704975"/>
              <a:gd name="connsiteX217" fmla="*/ 626150 w 1293444"/>
              <a:gd name="connsiteY217" fmla="*/ 679450 h 1704975"/>
              <a:gd name="connsiteX218" fmla="*/ 635675 w 1293444"/>
              <a:gd name="connsiteY218" fmla="*/ 685800 h 1704975"/>
              <a:gd name="connsiteX219" fmla="*/ 654725 w 1293444"/>
              <a:gd name="connsiteY219" fmla="*/ 692150 h 1704975"/>
              <a:gd name="connsiteX220" fmla="*/ 645200 w 1293444"/>
              <a:gd name="connsiteY220" fmla="*/ 682625 h 1704975"/>
              <a:gd name="connsiteX221" fmla="*/ 635675 w 1293444"/>
              <a:gd name="connsiteY221" fmla="*/ 676275 h 1704975"/>
              <a:gd name="connsiteX222" fmla="*/ 632500 w 1293444"/>
              <a:gd name="connsiteY222" fmla="*/ 666750 h 1704975"/>
              <a:gd name="connsiteX223" fmla="*/ 635675 w 1293444"/>
              <a:gd name="connsiteY223" fmla="*/ 590550 h 1704975"/>
              <a:gd name="connsiteX224" fmla="*/ 642025 w 1293444"/>
              <a:gd name="connsiteY224" fmla="*/ 571500 h 1704975"/>
              <a:gd name="connsiteX225" fmla="*/ 648375 w 1293444"/>
              <a:gd name="connsiteY225" fmla="*/ 561975 h 1704975"/>
              <a:gd name="connsiteX226" fmla="*/ 638850 w 1293444"/>
              <a:gd name="connsiteY226" fmla="*/ 536575 h 1704975"/>
              <a:gd name="connsiteX227" fmla="*/ 629325 w 1293444"/>
              <a:gd name="connsiteY227" fmla="*/ 533400 h 1704975"/>
              <a:gd name="connsiteX228" fmla="*/ 626150 w 1293444"/>
              <a:gd name="connsiteY228" fmla="*/ 523875 h 1704975"/>
              <a:gd name="connsiteX229" fmla="*/ 632500 w 1293444"/>
              <a:gd name="connsiteY229" fmla="*/ 498475 h 1704975"/>
              <a:gd name="connsiteX230" fmla="*/ 635675 w 1293444"/>
              <a:gd name="connsiteY230" fmla="*/ 485775 h 1704975"/>
              <a:gd name="connsiteX231" fmla="*/ 626150 w 1293444"/>
              <a:gd name="connsiteY231" fmla="*/ 463550 h 1704975"/>
              <a:gd name="connsiteX232" fmla="*/ 616625 w 1293444"/>
              <a:gd name="connsiteY232" fmla="*/ 460375 h 1704975"/>
              <a:gd name="connsiteX233" fmla="*/ 607100 w 1293444"/>
              <a:gd name="connsiteY233" fmla="*/ 454025 h 1704975"/>
              <a:gd name="connsiteX234" fmla="*/ 591225 w 1293444"/>
              <a:gd name="connsiteY234" fmla="*/ 450850 h 1704975"/>
              <a:gd name="connsiteX235" fmla="*/ 569000 w 1293444"/>
              <a:gd name="connsiteY235" fmla="*/ 441325 h 1704975"/>
              <a:gd name="connsiteX236" fmla="*/ 546775 w 1293444"/>
              <a:gd name="connsiteY236" fmla="*/ 415925 h 1704975"/>
              <a:gd name="connsiteX237" fmla="*/ 540425 w 1293444"/>
              <a:gd name="connsiteY237" fmla="*/ 406400 h 1704975"/>
              <a:gd name="connsiteX238" fmla="*/ 530900 w 1293444"/>
              <a:gd name="connsiteY238" fmla="*/ 400050 h 1704975"/>
              <a:gd name="connsiteX239" fmla="*/ 508675 w 1293444"/>
              <a:gd name="connsiteY239" fmla="*/ 374650 h 1704975"/>
              <a:gd name="connsiteX240" fmla="*/ 502325 w 1293444"/>
              <a:gd name="connsiteY240" fmla="*/ 365125 h 1704975"/>
              <a:gd name="connsiteX241" fmla="*/ 483275 w 1293444"/>
              <a:gd name="connsiteY241" fmla="*/ 346075 h 1704975"/>
              <a:gd name="connsiteX242" fmla="*/ 486450 w 1293444"/>
              <a:gd name="connsiteY242" fmla="*/ 333375 h 1704975"/>
              <a:gd name="connsiteX243" fmla="*/ 492800 w 1293444"/>
              <a:gd name="connsiteY243" fmla="*/ 314325 h 1704975"/>
              <a:gd name="connsiteX244" fmla="*/ 489625 w 1293444"/>
              <a:gd name="connsiteY244" fmla="*/ 292100 h 1704975"/>
              <a:gd name="connsiteX245" fmla="*/ 461050 w 1293444"/>
              <a:gd name="connsiteY245" fmla="*/ 266700 h 1704975"/>
              <a:gd name="connsiteX246" fmla="*/ 435650 w 1293444"/>
              <a:gd name="connsiteY246" fmla="*/ 254000 h 1704975"/>
              <a:gd name="connsiteX247" fmla="*/ 413425 w 1293444"/>
              <a:gd name="connsiteY247" fmla="*/ 238125 h 1704975"/>
              <a:gd name="connsiteX248" fmla="*/ 403900 w 1293444"/>
              <a:gd name="connsiteY248" fmla="*/ 231775 h 1704975"/>
              <a:gd name="connsiteX249" fmla="*/ 388025 w 1293444"/>
              <a:gd name="connsiteY249" fmla="*/ 212725 h 1704975"/>
              <a:gd name="connsiteX250" fmla="*/ 372150 w 1293444"/>
              <a:gd name="connsiteY250" fmla="*/ 196850 h 1704975"/>
              <a:gd name="connsiteX251" fmla="*/ 365800 w 1293444"/>
              <a:gd name="connsiteY251" fmla="*/ 177800 h 1704975"/>
              <a:gd name="connsiteX252" fmla="*/ 359450 w 1293444"/>
              <a:gd name="connsiteY252" fmla="*/ 149225 h 1704975"/>
              <a:gd name="connsiteX253" fmla="*/ 362625 w 1293444"/>
              <a:gd name="connsiteY253" fmla="*/ 114300 h 1704975"/>
              <a:gd name="connsiteX254" fmla="*/ 368975 w 1293444"/>
              <a:gd name="connsiteY254" fmla="*/ 104775 h 1704975"/>
              <a:gd name="connsiteX255" fmla="*/ 375325 w 1293444"/>
              <a:gd name="connsiteY25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65900 w 1293444"/>
              <a:gd name="connsiteY53" fmla="*/ 454025 h 1704975"/>
              <a:gd name="connsiteX54" fmla="*/ 1207175 w 1293444"/>
              <a:gd name="connsiteY54" fmla="*/ 457200 h 1704975"/>
              <a:gd name="connsiteX55" fmla="*/ 1216700 w 1293444"/>
              <a:gd name="connsiteY55" fmla="*/ 463550 h 1704975"/>
              <a:gd name="connsiteX56" fmla="*/ 1270675 w 1293444"/>
              <a:gd name="connsiteY56" fmla="*/ 469900 h 1704975"/>
              <a:gd name="connsiteX57" fmla="*/ 1277025 w 1293444"/>
              <a:gd name="connsiteY57" fmla="*/ 479425 h 1704975"/>
              <a:gd name="connsiteX58" fmla="*/ 1273850 w 1293444"/>
              <a:gd name="connsiteY58" fmla="*/ 488950 h 1704975"/>
              <a:gd name="connsiteX59" fmla="*/ 1270675 w 1293444"/>
              <a:gd name="connsiteY59" fmla="*/ 511175 h 1704975"/>
              <a:gd name="connsiteX60" fmla="*/ 1264325 w 1293444"/>
              <a:gd name="connsiteY60" fmla="*/ 530225 h 1704975"/>
              <a:gd name="connsiteX61" fmla="*/ 1261150 w 1293444"/>
              <a:gd name="connsiteY61" fmla="*/ 539750 h 1704975"/>
              <a:gd name="connsiteX62" fmla="*/ 1254800 w 1293444"/>
              <a:gd name="connsiteY62" fmla="*/ 571500 h 1704975"/>
              <a:gd name="connsiteX63" fmla="*/ 1254800 w 1293444"/>
              <a:gd name="connsiteY63" fmla="*/ 692150 h 1704975"/>
              <a:gd name="connsiteX64" fmla="*/ 1257975 w 1293444"/>
              <a:gd name="connsiteY64" fmla="*/ 714375 h 1704975"/>
              <a:gd name="connsiteX65" fmla="*/ 1261150 w 1293444"/>
              <a:gd name="connsiteY65" fmla="*/ 723900 h 1704975"/>
              <a:gd name="connsiteX66" fmla="*/ 1273850 w 1293444"/>
              <a:gd name="connsiteY66" fmla="*/ 727075 h 1704975"/>
              <a:gd name="connsiteX67" fmla="*/ 1292900 w 1293444"/>
              <a:gd name="connsiteY67" fmla="*/ 739775 h 1704975"/>
              <a:gd name="connsiteX68" fmla="*/ 1289725 w 1293444"/>
              <a:gd name="connsiteY68" fmla="*/ 784225 h 1704975"/>
              <a:gd name="connsiteX69" fmla="*/ 1273850 w 1293444"/>
              <a:gd name="connsiteY69" fmla="*/ 800100 h 1704975"/>
              <a:gd name="connsiteX70" fmla="*/ 1264325 w 1293444"/>
              <a:gd name="connsiteY70" fmla="*/ 809625 h 1704975"/>
              <a:gd name="connsiteX71" fmla="*/ 1219875 w 1293444"/>
              <a:gd name="connsiteY71" fmla="*/ 819150 h 1704975"/>
              <a:gd name="connsiteX72" fmla="*/ 1200825 w 1293444"/>
              <a:gd name="connsiteY72" fmla="*/ 825500 h 1704975"/>
              <a:gd name="connsiteX73" fmla="*/ 1181775 w 1293444"/>
              <a:gd name="connsiteY73" fmla="*/ 838200 h 1704975"/>
              <a:gd name="connsiteX74" fmla="*/ 1172250 w 1293444"/>
              <a:gd name="connsiteY74" fmla="*/ 844550 h 1704975"/>
              <a:gd name="connsiteX75" fmla="*/ 1153200 w 1293444"/>
              <a:gd name="connsiteY75" fmla="*/ 850900 h 1704975"/>
              <a:gd name="connsiteX76" fmla="*/ 1140500 w 1293444"/>
              <a:gd name="connsiteY76" fmla="*/ 857250 h 1704975"/>
              <a:gd name="connsiteX77" fmla="*/ 1130975 w 1293444"/>
              <a:gd name="connsiteY77" fmla="*/ 863600 h 1704975"/>
              <a:gd name="connsiteX78" fmla="*/ 1105575 w 1293444"/>
              <a:gd name="connsiteY78" fmla="*/ 866775 h 1704975"/>
              <a:gd name="connsiteX79" fmla="*/ 1086525 w 1293444"/>
              <a:gd name="connsiteY79" fmla="*/ 873125 h 1704975"/>
              <a:gd name="connsiteX80" fmla="*/ 1077000 w 1293444"/>
              <a:gd name="connsiteY80" fmla="*/ 879475 h 1704975"/>
              <a:gd name="connsiteX81" fmla="*/ 1057950 w 1293444"/>
              <a:gd name="connsiteY81" fmla="*/ 885825 h 1704975"/>
              <a:gd name="connsiteX82" fmla="*/ 1048425 w 1293444"/>
              <a:gd name="connsiteY82" fmla="*/ 889000 h 1704975"/>
              <a:gd name="connsiteX83" fmla="*/ 1029375 w 1293444"/>
              <a:gd name="connsiteY83" fmla="*/ 908050 h 1704975"/>
              <a:gd name="connsiteX84" fmla="*/ 1010325 w 1293444"/>
              <a:gd name="connsiteY84" fmla="*/ 914400 h 1704975"/>
              <a:gd name="connsiteX85" fmla="*/ 1003975 w 1293444"/>
              <a:gd name="connsiteY85" fmla="*/ 923925 h 1704975"/>
              <a:gd name="connsiteX86" fmla="*/ 994450 w 1293444"/>
              <a:gd name="connsiteY86" fmla="*/ 933450 h 1704975"/>
              <a:gd name="connsiteX87" fmla="*/ 991275 w 1293444"/>
              <a:gd name="connsiteY87" fmla="*/ 942975 h 1704975"/>
              <a:gd name="connsiteX88" fmla="*/ 988100 w 1293444"/>
              <a:gd name="connsiteY88" fmla="*/ 962025 h 1704975"/>
              <a:gd name="connsiteX89" fmla="*/ 969050 w 1293444"/>
              <a:gd name="connsiteY89" fmla="*/ 968375 h 1704975"/>
              <a:gd name="connsiteX90" fmla="*/ 950000 w 1293444"/>
              <a:gd name="connsiteY90" fmla="*/ 981075 h 1704975"/>
              <a:gd name="connsiteX91" fmla="*/ 940475 w 1293444"/>
              <a:gd name="connsiteY91" fmla="*/ 987425 h 1704975"/>
              <a:gd name="connsiteX92" fmla="*/ 930950 w 1293444"/>
              <a:gd name="connsiteY92" fmla="*/ 1006475 h 1704975"/>
              <a:gd name="connsiteX93" fmla="*/ 924600 w 1293444"/>
              <a:gd name="connsiteY93" fmla="*/ 1016000 h 1704975"/>
              <a:gd name="connsiteX94" fmla="*/ 921425 w 1293444"/>
              <a:gd name="connsiteY94" fmla="*/ 1025525 h 1704975"/>
              <a:gd name="connsiteX95" fmla="*/ 905550 w 1293444"/>
              <a:gd name="connsiteY95" fmla="*/ 1044575 h 1704975"/>
              <a:gd name="connsiteX96" fmla="*/ 896025 w 1293444"/>
              <a:gd name="connsiteY96" fmla="*/ 1063625 h 1704975"/>
              <a:gd name="connsiteX97" fmla="*/ 867450 w 1293444"/>
              <a:gd name="connsiteY97" fmla="*/ 1085850 h 1704975"/>
              <a:gd name="connsiteX98" fmla="*/ 848400 w 1293444"/>
              <a:gd name="connsiteY98" fmla="*/ 1095375 h 1704975"/>
              <a:gd name="connsiteX99" fmla="*/ 813475 w 1293444"/>
              <a:gd name="connsiteY99" fmla="*/ 1092200 h 1704975"/>
              <a:gd name="connsiteX100" fmla="*/ 772200 w 1293444"/>
              <a:gd name="connsiteY100" fmla="*/ 1098550 h 1704975"/>
              <a:gd name="connsiteX101" fmla="*/ 759500 w 1293444"/>
              <a:gd name="connsiteY101" fmla="*/ 1127125 h 1704975"/>
              <a:gd name="connsiteX102" fmla="*/ 756325 w 1293444"/>
              <a:gd name="connsiteY102" fmla="*/ 1136650 h 1704975"/>
              <a:gd name="connsiteX103" fmla="*/ 740450 w 1293444"/>
              <a:gd name="connsiteY103" fmla="*/ 1155700 h 1704975"/>
              <a:gd name="connsiteX104" fmla="*/ 718225 w 1293444"/>
              <a:gd name="connsiteY104" fmla="*/ 1181100 h 1704975"/>
              <a:gd name="connsiteX105" fmla="*/ 721400 w 1293444"/>
              <a:gd name="connsiteY105" fmla="*/ 1238250 h 1704975"/>
              <a:gd name="connsiteX106" fmla="*/ 727750 w 1293444"/>
              <a:gd name="connsiteY106" fmla="*/ 1247775 h 1704975"/>
              <a:gd name="connsiteX107" fmla="*/ 730925 w 1293444"/>
              <a:gd name="connsiteY107" fmla="*/ 1257300 h 1704975"/>
              <a:gd name="connsiteX108" fmla="*/ 740450 w 1293444"/>
              <a:gd name="connsiteY108" fmla="*/ 1276350 h 1704975"/>
              <a:gd name="connsiteX109" fmla="*/ 743625 w 1293444"/>
              <a:gd name="connsiteY109" fmla="*/ 1320800 h 1704975"/>
              <a:gd name="connsiteX110" fmla="*/ 746800 w 1293444"/>
              <a:gd name="connsiteY110" fmla="*/ 1330325 h 1704975"/>
              <a:gd name="connsiteX111" fmla="*/ 756325 w 1293444"/>
              <a:gd name="connsiteY111" fmla="*/ 1336675 h 1704975"/>
              <a:gd name="connsiteX112" fmla="*/ 762675 w 1293444"/>
              <a:gd name="connsiteY112" fmla="*/ 1346200 h 1704975"/>
              <a:gd name="connsiteX113" fmla="*/ 769025 w 1293444"/>
              <a:gd name="connsiteY113" fmla="*/ 1393825 h 1704975"/>
              <a:gd name="connsiteX114" fmla="*/ 775375 w 1293444"/>
              <a:gd name="connsiteY114" fmla="*/ 1412875 h 1704975"/>
              <a:gd name="connsiteX115" fmla="*/ 781725 w 1293444"/>
              <a:gd name="connsiteY115" fmla="*/ 1435100 h 1704975"/>
              <a:gd name="connsiteX116" fmla="*/ 772200 w 1293444"/>
              <a:gd name="connsiteY116" fmla="*/ 1460500 h 1704975"/>
              <a:gd name="connsiteX117" fmla="*/ 762675 w 1293444"/>
              <a:gd name="connsiteY117" fmla="*/ 1466850 h 1704975"/>
              <a:gd name="connsiteX118" fmla="*/ 753150 w 1293444"/>
              <a:gd name="connsiteY118" fmla="*/ 1485900 h 1704975"/>
              <a:gd name="connsiteX119" fmla="*/ 749975 w 1293444"/>
              <a:gd name="connsiteY119" fmla="*/ 1514475 h 1704975"/>
              <a:gd name="connsiteX120" fmla="*/ 740450 w 1293444"/>
              <a:gd name="connsiteY120" fmla="*/ 1520825 h 1704975"/>
              <a:gd name="connsiteX121" fmla="*/ 730925 w 1293444"/>
              <a:gd name="connsiteY121" fmla="*/ 1530350 h 1704975"/>
              <a:gd name="connsiteX122" fmla="*/ 718225 w 1293444"/>
              <a:gd name="connsiteY122" fmla="*/ 1549400 h 1704975"/>
              <a:gd name="connsiteX123" fmla="*/ 711875 w 1293444"/>
              <a:gd name="connsiteY123" fmla="*/ 1558925 h 1704975"/>
              <a:gd name="connsiteX124" fmla="*/ 702350 w 1293444"/>
              <a:gd name="connsiteY124" fmla="*/ 1568450 h 1704975"/>
              <a:gd name="connsiteX125" fmla="*/ 699175 w 1293444"/>
              <a:gd name="connsiteY125" fmla="*/ 1577975 h 1704975"/>
              <a:gd name="connsiteX126" fmla="*/ 686475 w 1293444"/>
              <a:gd name="connsiteY126" fmla="*/ 1597025 h 1704975"/>
              <a:gd name="connsiteX127" fmla="*/ 676950 w 1293444"/>
              <a:gd name="connsiteY127" fmla="*/ 1616075 h 1704975"/>
              <a:gd name="connsiteX128" fmla="*/ 667425 w 1293444"/>
              <a:gd name="connsiteY128" fmla="*/ 1619250 h 1704975"/>
              <a:gd name="connsiteX129" fmla="*/ 648375 w 1293444"/>
              <a:gd name="connsiteY129" fmla="*/ 1631950 h 1704975"/>
              <a:gd name="connsiteX130" fmla="*/ 638850 w 1293444"/>
              <a:gd name="connsiteY130" fmla="*/ 1638300 h 1704975"/>
              <a:gd name="connsiteX131" fmla="*/ 607100 w 1293444"/>
              <a:gd name="connsiteY131" fmla="*/ 1676400 h 1704975"/>
              <a:gd name="connsiteX132" fmla="*/ 556300 w 1293444"/>
              <a:gd name="connsiteY132" fmla="*/ 1679575 h 1704975"/>
              <a:gd name="connsiteX133" fmla="*/ 537250 w 1293444"/>
              <a:gd name="connsiteY133" fmla="*/ 1685925 h 1704975"/>
              <a:gd name="connsiteX134" fmla="*/ 515025 w 1293444"/>
              <a:gd name="connsiteY134" fmla="*/ 1698625 h 1704975"/>
              <a:gd name="connsiteX135" fmla="*/ 495975 w 1293444"/>
              <a:gd name="connsiteY135" fmla="*/ 1704975 h 1704975"/>
              <a:gd name="connsiteX136" fmla="*/ 476925 w 1293444"/>
              <a:gd name="connsiteY136" fmla="*/ 1701800 h 1704975"/>
              <a:gd name="connsiteX137" fmla="*/ 470575 w 1293444"/>
              <a:gd name="connsiteY137" fmla="*/ 1692275 h 1704975"/>
              <a:gd name="connsiteX138" fmla="*/ 467400 w 1293444"/>
              <a:gd name="connsiteY138" fmla="*/ 1660525 h 1704975"/>
              <a:gd name="connsiteX139" fmla="*/ 457875 w 1293444"/>
              <a:gd name="connsiteY139" fmla="*/ 1641475 h 1704975"/>
              <a:gd name="connsiteX140" fmla="*/ 448350 w 1293444"/>
              <a:gd name="connsiteY140" fmla="*/ 1635125 h 1704975"/>
              <a:gd name="connsiteX141" fmla="*/ 445175 w 1293444"/>
              <a:gd name="connsiteY141" fmla="*/ 1625600 h 1704975"/>
              <a:gd name="connsiteX142" fmla="*/ 435650 w 1293444"/>
              <a:gd name="connsiteY142" fmla="*/ 1606550 h 1704975"/>
              <a:gd name="connsiteX143" fmla="*/ 432475 w 1293444"/>
              <a:gd name="connsiteY143" fmla="*/ 1495425 h 1704975"/>
              <a:gd name="connsiteX144" fmla="*/ 429300 w 1293444"/>
              <a:gd name="connsiteY144" fmla="*/ 1485900 h 1704975"/>
              <a:gd name="connsiteX145" fmla="*/ 426125 w 1293444"/>
              <a:gd name="connsiteY145" fmla="*/ 1473200 h 1704975"/>
              <a:gd name="connsiteX146" fmla="*/ 419775 w 1293444"/>
              <a:gd name="connsiteY146" fmla="*/ 1463675 h 1704975"/>
              <a:gd name="connsiteX147" fmla="*/ 416600 w 1293444"/>
              <a:gd name="connsiteY147" fmla="*/ 1454150 h 1704975"/>
              <a:gd name="connsiteX148" fmla="*/ 403900 w 1293444"/>
              <a:gd name="connsiteY148" fmla="*/ 1435100 h 1704975"/>
              <a:gd name="connsiteX149" fmla="*/ 397550 w 1293444"/>
              <a:gd name="connsiteY149" fmla="*/ 1416050 h 1704975"/>
              <a:gd name="connsiteX150" fmla="*/ 394375 w 1293444"/>
              <a:gd name="connsiteY150" fmla="*/ 1381125 h 1704975"/>
              <a:gd name="connsiteX151" fmla="*/ 391200 w 1293444"/>
              <a:gd name="connsiteY151" fmla="*/ 1368425 h 1704975"/>
              <a:gd name="connsiteX152" fmla="*/ 388025 w 1293444"/>
              <a:gd name="connsiteY152" fmla="*/ 1352550 h 1704975"/>
              <a:gd name="connsiteX153" fmla="*/ 381675 w 1293444"/>
              <a:gd name="connsiteY153" fmla="*/ 1333500 h 1704975"/>
              <a:gd name="connsiteX154" fmla="*/ 378500 w 1293444"/>
              <a:gd name="connsiteY154" fmla="*/ 1323975 h 1704975"/>
              <a:gd name="connsiteX155" fmla="*/ 375325 w 1293444"/>
              <a:gd name="connsiteY155" fmla="*/ 1308100 h 1704975"/>
              <a:gd name="connsiteX156" fmla="*/ 368975 w 1293444"/>
              <a:gd name="connsiteY156" fmla="*/ 1289050 h 1704975"/>
              <a:gd name="connsiteX157" fmla="*/ 362625 w 1293444"/>
              <a:gd name="connsiteY157" fmla="*/ 1260475 h 1704975"/>
              <a:gd name="connsiteX158" fmla="*/ 359450 w 1293444"/>
              <a:gd name="connsiteY158" fmla="*/ 1231900 h 1704975"/>
              <a:gd name="connsiteX159" fmla="*/ 349925 w 1293444"/>
              <a:gd name="connsiteY159" fmla="*/ 1196975 h 1704975"/>
              <a:gd name="connsiteX160" fmla="*/ 340400 w 1293444"/>
              <a:gd name="connsiteY160" fmla="*/ 1155700 h 1704975"/>
              <a:gd name="connsiteX161" fmla="*/ 334050 w 1293444"/>
              <a:gd name="connsiteY161" fmla="*/ 1130300 h 1704975"/>
              <a:gd name="connsiteX162" fmla="*/ 327700 w 1293444"/>
              <a:gd name="connsiteY162" fmla="*/ 1104900 h 1704975"/>
              <a:gd name="connsiteX163" fmla="*/ 324525 w 1293444"/>
              <a:gd name="connsiteY163" fmla="*/ 1092200 h 1704975"/>
              <a:gd name="connsiteX164" fmla="*/ 318175 w 1293444"/>
              <a:gd name="connsiteY164" fmla="*/ 1050925 h 1704975"/>
              <a:gd name="connsiteX165" fmla="*/ 315000 w 1293444"/>
              <a:gd name="connsiteY165" fmla="*/ 1031875 h 1704975"/>
              <a:gd name="connsiteX166" fmla="*/ 311825 w 1293444"/>
              <a:gd name="connsiteY166" fmla="*/ 1022350 h 1704975"/>
              <a:gd name="connsiteX167" fmla="*/ 308650 w 1293444"/>
              <a:gd name="connsiteY167" fmla="*/ 1006475 h 1704975"/>
              <a:gd name="connsiteX168" fmla="*/ 302300 w 1293444"/>
              <a:gd name="connsiteY168" fmla="*/ 987425 h 1704975"/>
              <a:gd name="connsiteX169" fmla="*/ 299125 w 1293444"/>
              <a:gd name="connsiteY169" fmla="*/ 974725 h 1704975"/>
              <a:gd name="connsiteX170" fmla="*/ 292775 w 1293444"/>
              <a:gd name="connsiteY170" fmla="*/ 955675 h 1704975"/>
              <a:gd name="connsiteX171" fmla="*/ 289600 w 1293444"/>
              <a:gd name="connsiteY171" fmla="*/ 946150 h 1704975"/>
              <a:gd name="connsiteX172" fmla="*/ 280075 w 1293444"/>
              <a:gd name="connsiteY172" fmla="*/ 923925 h 1704975"/>
              <a:gd name="connsiteX173" fmla="*/ 261025 w 1293444"/>
              <a:gd name="connsiteY173" fmla="*/ 908050 h 1704975"/>
              <a:gd name="connsiteX174" fmla="*/ 241975 w 1293444"/>
              <a:gd name="connsiteY174" fmla="*/ 901700 h 1704975"/>
              <a:gd name="connsiteX175" fmla="*/ 222925 w 1293444"/>
              <a:gd name="connsiteY175" fmla="*/ 889000 h 1704975"/>
              <a:gd name="connsiteX176" fmla="*/ 213400 w 1293444"/>
              <a:gd name="connsiteY176" fmla="*/ 885825 h 1704975"/>
              <a:gd name="connsiteX177" fmla="*/ 194350 w 1293444"/>
              <a:gd name="connsiteY177" fmla="*/ 873125 h 1704975"/>
              <a:gd name="connsiteX178" fmla="*/ 175300 w 1293444"/>
              <a:gd name="connsiteY178" fmla="*/ 860425 h 1704975"/>
              <a:gd name="connsiteX179" fmla="*/ 162600 w 1293444"/>
              <a:gd name="connsiteY179" fmla="*/ 850900 h 1704975"/>
              <a:gd name="connsiteX180" fmla="*/ 153075 w 1293444"/>
              <a:gd name="connsiteY180" fmla="*/ 847725 h 1704975"/>
              <a:gd name="connsiteX181" fmla="*/ 134025 w 1293444"/>
              <a:gd name="connsiteY181" fmla="*/ 835025 h 1704975"/>
              <a:gd name="connsiteX182" fmla="*/ 114975 w 1293444"/>
              <a:gd name="connsiteY182" fmla="*/ 822325 h 1704975"/>
              <a:gd name="connsiteX183" fmla="*/ 105450 w 1293444"/>
              <a:gd name="connsiteY183" fmla="*/ 815975 h 1704975"/>
              <a:gd name="connsiteX184" fmla="*/ 95925 w 1293444"/>
              <a:gd name="connsiteY184" fmla="*/ 812800 h 1704975"/>
              <a:gd name="connsiteX185" fmla="*/ 64175 w 1293444"/>
              <a:gd name="connsiteY185" fmla="*/ 790575 h 1704975"/>
              <a:gd name="connsiteX186" fmla="*/ 54650 w 1293444"/>
              <a:gd name="connsiteY186" fmla="*/ 787400 h 1704975"/>
              <a:gd name="connsiteX187" fmla="*/ 38775 w 1293444"/>
              <a:gd name="connsiteY187" fmla="*/ 771525 h 1704975"/>
              <a:gd name="connsiteX188" fmla="*/ 29250 w 1293444"/>
              <a:gd name="connsiteY188" fmla="*/ 762000 h 1704975"/>
              <a:gd name="connsiteX189" fmla="*/ 19725 w 1293444"/>
              <a:gd name="connsiteY189" fmla="*/ 758825 h 1704975"/>
              <a:gd name="connsiteX190" fmla="*/ 675 w 1293444"/>
              <a:gd name="connsiteY190" fmla="*/ 746125 h 1704975"/>
              <a:gd name="connsiteX191" fmla="*/ 51475 w 1293444"/>
              <a:gd name="connsiteY191" fmla="*/ 739775 h 1704975"/>
              <a:gd name="connsiteX192" fmla="*/ 67350 w 1293444"/>
              <a:gd name="connsiteY192" fmla="*/ 736600 h 1704975"/>
              <a:gd name="connsiteX193" fmla="*/ 102275 w 1293444"/>
              <a:gd name="connsiteY193" fmla="*/ 733425 h 1704975"/>
              <a:gd name="connsiteX194" fmla="*/ 130850 w 1293444"/>
              <a:gd name="connsiteY194" fmla="*/ 727075 h 1704975"/>
              <a:gd name="connsiteX195" fmla="*/ 149900 w 1293444"/>
              <a:gd name="connsiteY195" fmla="*/ 723900 h 1704975"/>
              <a:gd name="connsiteX196" fmla="*/ 159425 w 1293444"/>
              <a:gd name="connsiteY196" fmla="*/ 720725 h 1704975"/>
              <a:gd name="connsiteX197" fmla="*/ 175300 w 1293444"/>
              <a:gd name="connsiteY197" fmla="*/ 717550 h 1704975"/>
              <a:gd name="connsiteX198" fmla="*/ 194350 w 1293444"/>
              <a:gd name="connsiteY198" fmla="*/ 711200 h 1704975"/>
              <a:gd name="connsiteX199" fmla="*/ 222925 w 1293444"/>
              <a:gd name="connsiteY199" fmla="*/ 701675 h 1704975"/>
              <a:gd name="connsiteX200" fmla="*/ 232450 w 1293444"/>
              <a:gd name="connsiteY200" fmla="*/ 698500 h 1704975"/>
              <a:gd name="connsiteX201" fmla="*/ 241975 w 1293444"/>
              <a:gd name="connsiteY201" fmla="*/ 695325 h 1704975"/>
              <a:gd name="connsiteX202" fmla="*/ 381675 w 1293444"/>
              <a:gd name="connsiteY202" fmla="*/ 688975 h 1704975"/>
              <a:gd name="connsiteX203" fmla="*/ 397550 w 1293444"/>
              <a:gd name="connsiteY203" fmla="*/ 685800 h 1704975"/>
              <a:gd name="connsiteX204" fmla="*/ 407075 w 1293444"/>
              <a:gd name="connsiteY204" fmla="*/ 682625 h 1704975"/>
              <a:gd name="connsiteX205" fmla="*/ 419775 w 1293444"/>
              <a:gd name="connsiteY205" fmla="*/ 679450 h 1704975"/>
              <a:gd name="connsiteX206" fmla="*/ 438825 w 1293444"/>
              <a:gd name="connsiteY206" fmla="*/ 673100 h 1704975"/>
              <a:gd name="connsiteX207" fmla="*/ 467400 w 1293444"/>
              <a:gd name="connsiteY207" fmla="*/ 663575 h 1704975"/>
              <a:gd name="connsiteX208" fmla="*/ 495975 w 1293444"/>
              <a:gd name="connsiteY208" fmla="*/ 654050 h 1704975"/>
              <a:gd name="connsiteX209" fmla="*/ 505500 w 1293444"/>
              <a:gd name="connsiteY209" fmla="*/ 650875 h 1704975"/>
              <a:gd name="connsiteX210" fmla="*/ 527725 w 1293444"/>
              <a:gd name="connsiteY210" fmla="*/ 641350 h 1704975"/>
              <a:gd name="connsiteX211" fmla="*/ 537250 w 1293444"/>
              <a:gd name="connsiteY211" fmla="*/ 635000 h 1704975"/>
              <a:gd name="connsiteX212" fmla="*/ 546775 w 1293444"/>
              <a:gd name="connsiteY212" fmla="*/ 631825 h 1704975"/>
              <a:gd name="connsiteX213" fmla="*/ 559475 w 1293444"/>
              <a:gd name="connsiteY213" fmla="*/ 625475 h 1704975"/>
              <a:gd name="connsiteX214" fmla="*/ 578525 w 1293444"/>
              <a:gd name="connsiteY214" fmla="*/ 657225 h 1704975"/>
              <a:gd name="connsiteX215" fmla="*/ 588050 w 1293444"/>
              <a:gd name="connsiteY215" fmla="*/ 660400 h 1704975"/>
              <a:gd name="connsiteX216" fmla="*/ 607100 w 1293444"/>
              <a:gd name="connsiteY216" fmla="*/ 673100 h 1704975"/>
              <a:gd name="connsiteX217" fmla="*/ 626150 w 1293444"/>
              <a:gd name="connsiteY217" fmla="*/ 679450 h 1704975"/>
              <a:gd name="connsiteX218" fmla="*/ 635675 w 1293444"/>
              <a:gd name="connsiteY218" fmla="*/ 685800 h 1704975"/>
              <a:gd name="connsiteX219" fmla="*/ 654725 w 1293444"/>
              <a:gd name="connsiteY219" fmla="*/ 692150 h 1704975"/>
              <a:gd name="connsiteX220" fmla="*/ 645200 w 1293444"/>
              <a:gd name="connsiteY220" fmla="*/ 682625 h 1704975"/>
              <a:gd name="connsiteX221" fmla="*/ 635675 w 1293444"/>
              <a:gd name="connsiteY221" fmla="*/ 676275 h 1704975"/>
              <a:gd name="connsiteX222" fmla="*/ 632500 w 1293444"/>
              <a:gd name="connsiteY222" fmla="*/ 666750 h 1704975"/>
              <a:gd name="connsiteX223" fmla="*/ 635675 w 1293444"/>
              <a:gd name="connsiteY223" fmla="*/ 590550 h 1704975"/>
              <a:gd name="connsiteX224" fmla="*/ 642025 w 1293444"/>
              <a:gd name="connsiteY224" fmla="*/ 571500 h 1704975"/>
              <a:gd name="connsiteX225" fmla="*/ 648375 w 1293444"/>
              <a:gd name="connsiteY225" fmla="*/ 561975 h 1704975"/>
              <a:gd name="connsiteX226" fmla="*/ 638850 w 1293444"/>
              <a:gd name="connsiteY226" fmla="*/ 536575 h 1704975"/>
              <a:gd name="connsiteX227" fmla="*/ 629325 w 1293444"/>
              <a:gd name="connsiteY227" fmla="*/ 533400 h 1704975"/>
              <a:gd name="connsiteX228" fmla="*/ 626150 w 1293444"/>
              <a:gd name="connsiteY228" fmla="*/ 523875 h 1704975"/>
              <a:gd name="connsiteX229" fmla="*/ 632500 w 1293444"/>
              <a:gd name="connsiteY229" fmla="*/ 498475 h 1704975"/>
              <a:gd name="connsiteX230" fmla="*/ 635675 w 1293444"/>
              <a:gd name="connsiteY230" fmla="*/ 485775 h 1704975"/>
              <a:gd name="connsiteX231" fmla="*/ 626150 w 1293444"/>
              <a:gd name="connsiteY231" fmla="*/ 463550 h 1704975"/>
              <a:gd name="connsiteX232" fmla="*/ 616625 w 1293444"/>
              <a:gd name="connsiteY232" fmla="*/ 460375 h 1704975"/>
              <a:gd name="connsiteX233" fmla="*/ 607100 w 1293444"/>
              <a:gd name="connsiteY233" fmla="*/ 454025 h 1704975"/>
              <a:gd name="connsiteX234" fmla="*/ 591225 w 1293444"/>
              <a:gd name="connsiteY234" fmla="*/ 450850 h 1704975"/>
              <a:gd name="connsiteX235" fmla="*/ 569000 w 1293444"/>
              <a:gd name="connsiteY235" fmla="*/ 441325 h 1704975"/>
              <a:gd name="connsiteX236" fmla="*/ 546775 w 1293444"/>
              <a:gd name="connsiteY236" fmla="*/ 415925 h 1704975"/>
              <a:gd name="connsiteX237" fmla="*/ 540425 w 1293444"/>
              <a:gd name="connsiteY237" fmla="*/ 406400 h 1704975"/>
              <a:gd name="connsiteX238" fmla="*/ 530900 w 1293444"/>
              <a:gd name="connsiteY238" fmla="*/ 400050 h 1704975"/>
              <a:gd name="connsiteX239" fmla="*/ 508675 w 1293444"/>
              <a:gd name="connsiteY239" fmla="*/ 374650 h 1704975"/>
              <a:gd name="connsiteX240" fmla="*/ 502325 w 1293444"/>
              <a:gd name="connsiteY240" fmla="*/ 365125 h 1704975"/>
              <a:gd name="connsiteX241" fmla="*/ 483275 w 1293444"/>
              <a:gd name="connsiteY241" fmla="*/ 346075 h 1704975"/>
              <a:gd name="connsiteX242" fmla="*/ 486450 w 1293444"/>
              <a:gd name="connsiteY242" fmla="*/ 333375 h 1704975"/>
              <a:gd name="connsiteX243" fmla="*/ 492800 w 1293444"/>
              <a:gd name="connsiteY243" fmla="*/ 314325 h 1704975"/>
              <a:gd name="connsiteX244" fmla="*/ 489625 w 1293444"/>
              <a:gd name="connsiteY244" fmla="*/ 292100 h 1704975"/>
              <a:gd name="connsiteX245" fmla="*/ 461050 w 1293444"/>
              <a:gd name="connsiteY245" fmla="*/ 266700 h 1704975"/>
              <a:gd name="connsiteX246" fmla="*/ 435650 w 1293444"/>
              <a:gd name="connsiteY246" fmla="*/ 254000 h 1704975"/>
              <a:gd name="connsiteX247" fmla="*/ 413425 w 1293444"/>
              <a:gd name="connsiteY247" fmla="*/ 238125 h 1704975"/>
              <a:gd name="connsiteX248" fmla="*/ 403900 w 1293444"/>
              <a:gd name="connsiteY248" fmla="*/ 231775 h 1704975"/>
              <a:gd name="connsiteX249" fmla="*/ 388025 w 1293444"/>
              <a:gd name="connsiteY249" fmla="*/ 212725 h 1704975"/>
              <a:gd name="connsiteX250" fmla="*/ 372150 w 1293444"/>
              <a:gd name="connsiteY250" fmla="*/ 196850 h 1704975"/>
              <a:gd name="connsiteX251" fmla="*/ 365800 w 1293444"/>
              <a:gd name="connsiteY251" fmla="*/ 177800 h 1704975"/>
              <a:gd name="connsiteX252" fmla="*/ 359450 w 1293444"/>
              <a:gd name="connsiteY252" fmla="*/ 149225 h 1704975"/>
              <a:gd name="connsiteX253" fmla="*/ 362625 w 1293444"/>
              <a:gd name="connsiteY253" fmla="*/ 114300 h 1704975"/>
              <a:gd name="connsiteX254" fmla="*/ 368975 w 1293444"/>
              <a:gd name="connsiteY254" fmla="*/ 104775 h 1704975"/>
              <a:gd name="connsiteX255" fmla="*/ 375325 w 1293444"/>
              <a:gd name="connsiteY25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65900 w 1293444"/>
              <a:gd name="connsiteY53" fmla="*/ 454025 h 1704975"/>
              <a:gd name="connsiteX54" fmla="*/ 1207175 w 1293444"/>
              <a:gd name="connsiteY54" fmla="*/ 457200 h 1704975"/>
              <a:gd name="connsiteX55" fmla="*/ 1216700 w 1293444"/>
              <a:gd name="connsiteY55" fmla="*/ 463550 h 1704975"/>
              <a:gd name="connsiteX56" fmla="*/ 1270675 w 1293444"/>
              <a:gd name="connsiteY56" fmla="*/ 469900 h 1704975"/>
              <a:gd name="connsiteX57" fmla="*/ 1277025 w 1293444"/>
              <a:gd name="connsiteY57" fmla="*/ 479425 h 1704975"/>
              <a:gd name="connsiteX58" fmla="*/ 1273850 w 1293444"/>
              <a:gd name="connsiteY58" fmla="*/ 488950 h 1704975"/>
              <a:gd name="connsiteX59" fmla="*/ 1270675 w 1293444"/>
              <a:gd name="connsiteY59" fmla="*/ 511175 h 1704975"/>
              <a:gd name="connsiteX60" fmla="*/ 1264325 w 1293444"/>
              <a:gd name="connsiteY60" fmla="*/ 530225 h 1704975"/>
              <a:gd name="connsiteX61" fmla="*/ 1261150 w 1293444"/>
              <a:gd name="connsiteY61" fmla="*/ 539750 h 1704975"/>
              <a:gd name="connsiteX62" fmla="*/ 1254800 w 1293444"/>
              <a:gd name="connsiteY62" fmla="*/ 571500 h 1704975"/>
              <a:gd name="connsiteX63" fmla="*/ 1254800 w 1293444"/>
              <a:gd name="connsiteY63" fmla="*/ 692150 h 1704975"/>
              <a:gd name="connsiteX64" fmla="*/ 1257975 w 1293444"/>
              <a:gd name="connsiteY64" fmla="*/ 714375 h 1704975"/>
              <a:gd name="connsiteX65" fmla="*/ 1261150 w 1293444"/>
              <a:gd name="connsiteY65" fmla="*/ 723900 h 1704975"/>
              <a:gd name="connsiteX66" fmla="*/ 1273850 w 1293444"/>
              <a:gd name="connsiteY66" fmla="*/ 727075 h 1704975"/>
              <a:gd name="connsiteX67" fmla="*/ 1292900 w 1293444"/>
              <a:gd name="connsiteY67" fmla="*/ 739775 h 1704975"/>
              <a:gd name="connsiteX68" fmla="*/ 1289725 w 1293444"/>
              <a:gd name="connsiteY68" fmla="*/ 784225 h 1704975"/>
              <a:gd name="connsiteX69" fmla="*/ 1273850 w 1293444"/>
              <a:gd name="connsiteY69" fmla="*/ 800100 h 1704975"/>
              <a:gd name="connsiteX70" fmla="*/ 1264325 w 1293444"/>
              <a:gd name="connsiteY70" fmla="*/ 809625 h 1704975"/>
              <a:gd name="connsiteX71" fmla="*/ 1219875 w 1293444"/>
              <a:gd name="connsiteY71" fmla="*/ 819150 h 1704975"/>
              <a:gd name="connsiteX72" fmla="*/ 1200825 w 1293444"/>
              <a:gd name="connsiteY72" fmla="*/ 825500 h 1704975"/>
              <a:gd name="connsiteX73" fmla="*/ 1181775 w 1293444"/>
              <a:gd name="connsiteY73" fmla="*/ 838200 h 1704975"/>
              <a:gd name="connsiteX74" fmla="*/ 1172250 w 1293444"/>
              <a:gd name="connsiteY74" fmla="*/ 844550 h 1704975"/>
              <a:gd name="connsiteX75" fmla="*/ 1153200 w 1293444"/>
              <a:gd name="connsiteY75" fmla="*/ 850900 h 1704975"/>
              <a:gd name="connsiteX76" fmla="*/ 1140500 w 1293444"/>
              <a:gd name="connsiteY76" fmla="*/ 857250 h 1704975"/>
              <a:gd name="connsiteX77" fmla="*/ 1130975 w 1293444"/>
              <a:gd name="connsiteY77" fmla="*/ 863600 h 1704975"/>
              <a:gd name="connsiteX78" fmla="*/ 1105575 w 1293444"/>
              <a:gd name="connsiteY78" fmla="*/ 866775 h 1704975"/>
              <a:gd name="connsiteX79" fmla="*/ 1086525 w 1293444"/>
              <a:gd name="connsiteY79" fmla="*/ 873125 h 1704975"/>
              <a:gd name="connsiteX80" fmla="*/ 1077000 w 1293444"/>
              <a:gd name="connsiteY80" fmla="*/ 879475 h 1704975"/>
              <a:gd name="connsiteX81" fmla="*/ 1057950 w 1293444"/>
              <a:gd name="connsiteY81" fmla="*/ 885825 h 1704975"/>
              <a:gd name="connsiteX82" fmla="*/ 1048425 w 1293444"/>
              <a:gd name="connsiteY82" fmla="*/ 889000 h 1704975"/>
              <a:gd name="connsiteX83" fmla="*/ 1029375 w 1293444"/>
              <a:gd name="connsiteY83" fmla="*/ 908050 h 1704975"/>
              <a:gd name="connsiteX84" fmla="*/ 1010325 w 1293444"/>
              <a:gd name="connsiteY84" fmla="*/ 914400 h 1704975"/>
              <a:gd name="connsiteX85" fmla="*/ 1003975 w 1293444"/>
              <a:gd name="connsiteY85" fmla="*/ 923925 h 1704975"/>
              <a:gd name="connsiteX86" fmla="*/ 994450 w 1293444"/>
              <a:gd name="connsiteY86" fmla="*/ 933450 h 1704975"/>
              <a:gd name="connsiteX87" fmla="*/ 991275 w 1293444"/>
              <a:gd name="connsiteY87" fmla="*/ 942975 h 1704975"/>
              <a:gd name="connsiteX88" fmla="*/ 988100 w 1293444"/>
              <a:gd name="connsiteY88" fmla="*/ 962025 h 1704975"/>
              <a:gd name="connsiteX89" fmla="*/ 969050 w 1293444"/>
              <a:gd name="connsiteY89" fmla="*/ 968375 h 1704975"/>
              <a:gd name="connsiteX90" fmla="*/ 950000 w 1293444"/>
              <a:gd name="connsiteY90" fmla="*/ 981075 h 1704975"/>
              <a:gd name="connsiteX91" fmla="*/ 940475 w 1293444"/>
              <a:gd name="connsiteY91" fmla="*/ 987425 h 1704975"/>
              <a:gd name="connsiteX92" fmla="*/ 930950 w 1293444"/>
              <a:gd name="connsiteY92" fmla="*/ 1006475 h 1704975"/>
              <a:gd name="connsiteX93" fmla="*/ 924600 w 1293444"/>
              <a:gd name="connsiteY93" fmla="*/ 1016000 h 1704975"/>
              <a:gd name="connsiteX94" fmla="*/ 921425 w 1293444"/>
              <a:gd name="connsiteY94" fmla="*/ 1025525 h 1704975"/>
              <a:gd name="connsiteX95" fmla="*/ 905550 w 1293444"/>
              <a:gd name="connsiteY95" fmla="*/ 1044575 h 1704975"/>
              <a:gd name="connsiteX96" fmla="*/ 896025 w 1293444"/>
              <a:gd name="connsiteY96" fmla="*/ 1063625 h 1704975"/>
              <a:gd name="connsiteX97" fmla="*/ 867450 w 1293444"/>
              <a:gd name="connsiteY97" fmla="*/ 1085850 h 1704975"/>
              <a:gd name="connsiteX98" fmla="*/ 848400 w 1293444"/>
              <a:gd name="connsiteY98" fmla="*/ 1095375 h 1704975"/>
              <a:gd name="connsiteX99" fmla="*/ 813475 w 1293444"/>
              <a:gd name="connsiteY99" fmla="*/ 1092200 h 1704975"/>
              <a:gd name="connsiteX100" fmla="*/ 772200 w 1293444"/>
              <a:gd name="connsiteY100" fmla="*/ 1098550 h 1704975"/>
              <a:gd name="connsiteX101" fmla="*/ 759500 w 1293444"/>
              <a:gd name="connsiteY101" fmla="*/ 1127125 h 1704975"/>
              <a:gd name="connsiteX102" fmla="*/ 756325 w 1293444"/>
              <a:gd name="connsiteY102" fmla="*/ 1136650 h 1704975"/>
              <a:gd name="connsiteX103" fmla="*/ 740450 w 1293444"/>
              <a:gd name="connsiteY103" fmla="*/ 1155700 h 1704975"/>
              <a:gd name="connsiteX104" fmla="*/ 718225 w 1293444"/>
              <a:gd name="connsiteY104" fmla="*/ 1181100 h 1704975"/>
              <a:gd name="connsiteX105" fmla="*/ 721400 w 1293444"/>
              <a:gd name="connsiteY105" fmla="*/ 1238250 h 1704975"/>
              <a:gd name="connsiteX106" fmla="*/ 727750 w 1293444"/>
              <a:gd name="connsiteY106" fmla="*/ 1247775 h 1704975"/>
              <a:gd name="connsiteX107" fmla="*/ 730925 w 1293444"/>
              <a:gd name="connsiteY107" fmla="*/ 1257300 h 1704975"/>
              <a:gd name="connsiteX108" fmla="*/ 740450 w 1293444"/>
              <a:gd name="connsiteY108" fmla="*/ 1276350 h 1704975"/>
              <a:gd name="connsiteX109" fmla="*/ 743625 w 1293444"/>
              <a:gd name="connsiteY109" fmla="*/ 1320800 h 1704975"/>
              <a:gd name="connsiteX110" fmla="*/ 746800 w 1293444"/>
              <a:gd name="connsiteY110" fmla="*/ 1330325 h 1704975"/>
              <a:gd name="connsiteX111" fmla="*/ 756325 w 1293444"/>
              <a:gd name="connsiteY111" fmla="*/ 1336675 h 1704975"/>
              <a:gd name="connsiteX112" fmla="*/ 762675 w 1293444"/>
              <a:gd name="connsiteY112" fmla="*/ 1346200 h 1704975"/>
              <a:gd name="connsiteX113" fmla="*/ 769025 w 1293444"/>
              <a:gd name="connsiteY113" fmla="*/ 1393825 h 1704975"/>
              <a:gd name="connsiteX114" fmla="*/ 775375 w 1293444"/>
              <a:gd name="connsiteY114" fmla="*/ 1412875 h 1704975"/>
              <a:gd name="connsiteX115" fmla="*/ 781725 w 1293444"/>
              <a:gd name="connsiteY115" fmla="*/ 1435100 h 1704975"/>
              <a:gd name="connsiteX116" fmla="*/ 772200 w 1293444"/>
              <a:gd name="connsiteY116" fmla="*/ 1460500 h 1704975"/>
              <a:gd name="connsiteX117" fmla="*/ 762675 w 1293444"/>
              <a:gd name="connsiteY117" fmla="*/ 1466850 h 1704975"/>
              <a:gd name="connsiteX118" fmla="*/ 753150 w 1293444"/>
              <a:gd name="connsiteY118" fmla="*/ 1485900 h 1704975"/>
              <a:gd name="connsiteX119" fmla="*/ 749975 w 1293444"/>
              <a:gd name="connsiteY119" fmla="*/ 1514475 h 1704975"/>
              <a:gd name="connsiteX120" fmla="*/ 740450 w 1293444"/>
              <a:gd name="connsiteY120" fmla="*/ 1520825 h 1704975"/>
              <a:gd name="connsiteX121" fmla="*/ 730925 w 1293444"/>
              <a:gd name="connsiteY121" fmla="*/ 1530350 h 1704975"/>
              <a:gd name="connsiteX122" fmla="*/ 718225 w 1293444"/>
              <a:gd name="connsiteY122" fmla="*/ 1549400 h 1704975"/>
              <a:gd name="connsiteX123" fmla="*/ 711875 w 1293444"/>
              <a:gd name="connsiteY123" fmla="*/ 1558925 h 1704975"/>
              <a:gd name="connsiteX124" fmla="*/ 702350 w 1293444"/>
              <a:gd name="connsiteY124" fmla="*/ 1568450 h 1704975"/>
              <a:gd name="connsiteX125" fmla="*/ 699175 w 1293444"/>
              <a:gd name="connsiteY125" fmla="*/ 1577975 h 1704975"/>
              <a:gd name="connsiteX126" fmla="*/ 686475 w 1293444"/>
              <a:gd name="connsiteY126" fmla="*/ 1597025 h 1704975"/>
              <a:gd name="connsiteX127" fmla="*/ 676950 w 1293444"/>
              <a:gd name="connsiteY127" fmla="*/ 1616075 h 1704975"/>
              <a:gd name="connsiteX128" fmla="*/ 667425 w 1293444"/>
              <a:gd name="connsiteY128" fmla="*/ 1619250 h 1704975"/>
              <a:gd name="connsiteX129" fmla="*/ 648375 w 1293444"/>
              <a:gd name="connsiteY129" fmla="*/ 1631950 h 1704975"/>
              <a:gd name="connsiteX130" fmla="*/ 638850 w 1293444"/>
              <a:gd name="connsiteY130" fmla="*/ 1638300 h 1704975"/>
              <a:gd name="connsiteX131" fmla="*/ 607100 w 1293444"/>
              <a:gd name="connsiteY131" fmla="*/ 1676400 h 1704975"/>
              <a:gd name="connsiteX132" fmla="*/ 556300 w 1293444"/>
              <a:gd name="connsiteY132" fmla="*/ 1679575 h 1704975"/>
              <a:gd name="connsiteX133" fmla="*/ 537250 w 1293444"/>
              <a:gd name="connsiteY133" fmla="*/ 1685925 h 1704975"/>
              <a:gd name="connsiteX134" fmla="*/ 515025 w 1293444"/>
              <a:gd name="connsiteY134" fmla="*/ 1698625 h 1704975"/>
              <a:gd name="connsiteX135" fmla="*/ 495975 w 1293444"/>
              <a:gd name="connsiteY135" fmla="*/ 1704975 h 1704975"/>
              <a:gd name="connsiteX136" fmla="*/ 476925 w 1293444"/>
              <a:gd name="connsiteY136" fmla="*/ 1701800 h 1704975"/>
              <a:gd name="connsiteX137" fmla="*/ 470575 w 1293444"/>
              <a:gd name="connsiteY137" fmla="*/ 1692275 h 1704975"/>
              <a:gd name="connsiteX138" fmla="*/ 467400 w 1293444"/>
              <a:gd name="connsiteY138" fmla="*/ 1660525 h 1704975"/>
              <a:gd name="connsiteX139" fmla="*/ 457875 w 1293444"/>
              <a:gd name="connsiteY139" fmla="*/ 1641475 h 1704975"/>
              <a:gd name="connsiteX140" fmla="*/ 448350 w 1293444"/>
              <a:gd name="connsiteY140" fmla="*/ 1635125 h 1704975"/>
              <a:gd name="connsiteX141" fmla="*/ 445175 w 1293444"/>
              <a:gd name="connsiteY141" fmla="*/ 1625600 h 1704975"/>
              <a:gd name="connsiteX142" fmla="*/ 435650 w 1293444"/>
              <a:gd name="connsiteY142" fmla="*/ 1606550 h 1704975"/>
              <a:gd name="connsiteX143" fmla="*/ 432475 w 1293444"/>
              <a:gd name="connsiteY143" fmla="*/ 1495425 h 1704975"/>
              <a:gd name="connsiteX144" fmla="*/ 429300 w 1293444"/>
              <a:gd name="connsiteY144" fmla="*/ 1485900 h 1704975"/>
              <a:gd name="connsiteX145" fmla="*/ 426125 w 1293444"/>
              <a:gd name="connsiteY145" fmla="*/ 1473200 h 1704975"/>
              <a:gd name="connsiteX146" fmla="*/ 419775 w 1293444"/>
              <a:gd name="connsiteY146" fmla="*/ 1463675 h 1704975"/>
              <a:gd name="connsiteX147" fmla="*/ 416600 w 1293444"/>
              <a:gd name="connsiteY147" fmla="*/ 1454150 h 1704975"/>
              <a:gd name="connsiteX148" fmla="*/ 403900 w 1293444"/>
              <a:gd name="connsiteY148" fmla="*/ 1435100 h 1704975"/>
              <a:gd name="connsiteX149" fmla="*/ 397550 w 1293444"/>
              <a:gd name="connsiteY149" fmla="*/ 1416050 h 1704975"/>
              <a:gd name="connsiteX150" fmla="*/ 394375 w 1293444"/>
              <a:gd name="connsiteY150" fmla="*/ 1381125 h 1704975"/>
              <a:gd name="connsiteX151" fmla="*/ 391200 w 1293444"/>
              <a:gd name="connsiteY151" fmla="*/ 1368425 h 1704975"/>
              <a:gd name="connsiteX152" fmla="*/ 388025 w 1293444"/>
              <a:gd name="connsiteY152" fmla="*/ 1352550 h 1704975"/>
              <a:gd name="connsiteX153" fmla="*/ 381675 w 1293444"/>
              <a:gd name="connsiteY153" fmla="*/ 1333500 h 1704975"/>
              <a:gd name="connsiteX154" fmla="*/ 378500 w 1293444"/>
              <a:gd name="connsiteY154" fmla="*/ 1323975 h 1704975"/>
              <a:gd name="connsiteX155" fmla="*/ 375325 w 1293444"/>
              <a:gd name="connsiteY155" fmla="*/ 1308100 h 1704975"/>
              <a:gd name="connsiteX156" fmla="*/ 368975 w 1293444"/>
              <a:gd name="connsiteY156" fmla="*/ 1289050 h 1704975"/>
              <a:gd name="connsiteX157" fmla="*/ 362625 w 1293444"/>
              <a:gd name="connsiteY157" fmla="*/ 1260475 h 1704975"/>
              <a:gd name="connsiteX158" fmla="*/ 359450 w 1293444"/>
              <a:gd name="connsiteY158" fmla="*/ 1231900 h 1704975"/>
              <a:gd name="connsiteX159" fmla="*/ 349925 w 1293444"/>
              <a:gd name="connsiteY159" fmla="*/ 1196975 h 1704975"/>
              <a:gd name="connsiteX160" fmla="*/ 340400 w 1293444"/>
              <a:gd name="connsiteY160" fmla="*/ 1155700 h 1704975"/>
              <a:gd name="connsiteX161" fmla="*/ 334050 w 1293444"/>
              <a:gd name="connsiteY161" fmla="*/ 1130300 h 1704975"/>
              <a:gd name="connsiteX162" fmla="*/ 327700 w 1293444"/>
              <a:gd name="connsiteY162" fmla="*/ 1104900 h 1704975"/>
              <a:gd name="connsiteX163" fmla="*/ 324525 w 1293444"/>
              <a:gd name="connsiteY163" fmla="*/ 1092200 h 1704975"/>
              <a:gd name="connsiteX164" fmla="*/ 318175 w 1293444"/>
              <a:gd name="connsiteY164" fmla="*/ 1050925 h 1704975"/>
              <a:gd name="connsiteX165" fmla="*/ 315000 w 1293444"/>
              <a:gd name="connsiteY165" fmla="*/ 1031875 h 1704975"/>
              <a:gd name="connsiteX166" fmla="*/ 311825 w 1293444"/>
              <a:gd name="connsiteY166" fmla="*/ 1022350 h 1704975"/>
              <a:gd name="connsiteX167" fmla="*/ 308650 w 1293444"/>
              <a:gd name="connsiteY167" fmla="*/ 1006475 h 1704975"/>
              <a:gd name="connsiteX168" fmla="*/ 302300 w 1293444"/>
              <a:gd name="connsiteY168" fmla="*/ 987425 h 1704975"/>
              <a:gd name="connsiteX169" fmla="*/ 299125 w 1293444"/>
              <a:gd name="connsiteY169" fmla="*/ 974725 h 1704975"/>
              <a:gd name="connsiteX170" fmla="*/ 292775 w 1293444"/>
              <a:gd name="connsiteY170" fmla="*/ 955675 h 1704975"/>
              <a:gd name="connsiteX171" fmla="*/ 289600 w 1293444"/>
              <a:gd name="connsiteY171" fmla="*/ 946150 h 1704975"/>
              <a:gd name="connsiteX172" fmla="*/ 280075 w 1293444"/>
              <a:gd name="connsiteY172" fmla="*/ 923925 h 1704975"/>
              <a:gd name="connsiteX173" fmla="*/ 261025 w 1293444"/>
              <a:gd name="connsiteY173" fmla="*/ 908050 h 1704975"/>
              <a:gd name="connsiteX174" fmla="*/ 241975 w 1293444"/>
              <a:gd name="connsiteY174" fmla="*/ 901700 h 1704975"/>
              <a:gd name="connsiteX175" fmla="*/ 222925 w 1293444"/>
              <a:gd name="connsiteY175" fmla="*/ 889000 h 1704975"/>
              <a:gd name="connsiteX176" fmla="*/ 213400 w 1293444"/>
              <a:gd name="connsiteY176" fmla="*/ 885825 h 1704975"/>
              <a:gd name="connsiteX177" fmla="*/ 194350 w 1293444"/>
              <a:gd name="connsiteY177" fmla="*/ 873125 h 1704975"/>
              <a:gd name="connsiteX178" fmla="*/ 175300 w 1293444"/>
              <a:gd name="connsiteY178" fmla="*/ 860425 h 1704975"/>
              <a:gd name="connsiteX179" fmla="*/ 162600 w 1293444"/>
              <a:gd name="connsiteY179" fmla="*/ 850900 h 1704975"/>
              <a:gd name="connsiteX180" fmla="*/ 153075 w 1293444"/>
              <a:gd name="connsiteY180" fmla="*/ 847725 h 1704975"/>
              <a:gd name="connsiteX181" fmla="*/ 134025 w 1293444"/>
              <a:gd name="connsiteY181" fmla="*/ 835025 h 1704975"/>
              <a:gd name="connsiteX182" fmla="*/ 114975 w 1293444"/>
              <a:gd name="connsiteY182" fmla="*/ 822325 h 1704975"/>
              <a:gd name="connsiteX183" fmla="*/ 105450 w 1293444"/>
              <a:gd name="connsiteY183" fmla="*/ 815975 h 1704975"/>
              <a:gd name="connsiteX184" fmla="*/ 95925 w 1293444"/>
              <a:gd name="connsiteY184" fmla="*/ 812800 h 1704975"/>
              <a:gd name="connsiteX185" fmla="*/ 64175 w 1293444"/>
              <a:gd name="connsiteY185" fmla="*/ 790575 h 1704975"/>
              <a:gd name="connsiteX186" fmla="*/ 54650 w 1293444"/>
              <a:gd name="connsiteY186" fmla="*/ 787400 h 1704975"/>
              <a:gd name="connsiteX187" fmla="*/ 38775 w 1293444"/>
              <a:gd name="connsiteY187" fmla="*/ 771525 h 1704975"/>
              <a:gd name="connsiteX188" fmla="*/ 29250 w 1293444"/>
              <a:gd name="connsiteY188" fmla="*/ 762000 h 1704975"/>
              <a:gd name="connsiteX189" fmla="*/ 19725 w 1293444"/>
              <a:gd name="connsiteY189" fmla="*/ 758825 h 1704975"/>
              <a:gd name="connsiteX190" fmla="*/ 675 w 1293444"/>
              <a:gd name="connsiteY190" fmla="*/ 746125 h 1704975"/>
              <a:gd name="connsiteX191" fmla="*/ 51475 w 1293444"/>
              <a:gd name="connsiteY191" fmla="*/ 739775 h 1704975"/>
              <a:gd name="connsiteX192" fmla="*/ 67350 w 1293444"/>
              <a:gd name="connsiteY192" fmla="*/ 736600 h 1704975"/>
              <a:gd name="connsiteX193" fmla="*/ 102275 w 1293444"/>
              <a:gd name="connsiteY193" fmla="*/ 733425 h 1704975"/>
              <a:gd name="connsiteX194" fmla="*/ 130850 w 1293444"/>
              <a:gd name="connsiteY194" fmla="*/ 727075 h 1704975"/>
              <a:gd name="connsiteX195" fmla="*/ 149900 w 1293444"/>
              <a:gd name="connsiteY195" fmla="*/ 723900 h 1704975"/>
              <a:gd name="connsiteX196" fmla="*/ 159425 w 1293444"/>
              <a:gd name="connsiteY196" fmla="*/ 720725 h 1704975"/>
              <a:gd name="connsiteX197" fmla="*/ 175300 w 1293444"/>
              <a:gd name="connsiteY197" fmla="*/ 717550 h 1704975"/>
              <a:gd name="connsiteX198" fmla="*/ 194350 w 1293444"/>
              <a:gd name="connsiteY198" fmla="*/ 711200 h 1704975"/>
              <a:gd name="connsiteX199" fmla="*/ 222925 w 1293444"/>
              <a:gd name="connsiteY199" fmla="*/ 701675 h 1704975"/>
              <a:gd name="connsiteX200" fmla="*/ 232450 w 1293444"/>
              <a:gd name="connsiteY200" fmla="*/ 698500 h 1704975"/>
              <a:gd name="connsiteX201" fmla="*/ 241975 w 1293444"/>
              <a:gd name="connsiteY201" fmla="*/ 695325 h 1704975"/>
              <a:gd name="connsiteX202" fmla="*/ 381675 w 1293444"/>
              <a:gd name="connsiteY202" fmla="*/ 688975 h 1704975"/>
              <a:gd name="connsiteX203" fmla="*/ 397550 w 1293444"/>
              <a:gd name="connsiteY203" fmla="*/ 685800 h 1704975"/>
              <a:gd name="connsiteX204" fmla="*/ 407075 w 1293444"/>
              <a:gd name="connsiteY204" fmla="*/ 682625 h 1704975"/>
              <a:gd name="connsiteX205" fmla="*/ 419775 w 1293444"/>
              <a:gd name="connsiteY205" fmla="*/ 679450 h 1704975"/>
              <a:gd name="connsiteX206" fmla="*/ 438825 w 1293444"/>
              <a:gd name="connsiteY206" fmla="*/ 673100 h 1704975"/>
              <a:gd name="connsiteX207" fmla="*/ 467400 w 1293444"/>
              <a:gd name="connsiteY207" fmla="*/ 663575 h 1704975"/>
              <a:gd name="connsiteX208" fmla="*/ 495975 w 1293444"/>
              <a:gd name="connsiteY208" fmla="*/ 654050 h 1704975"/>
              <a:gd name="connsiteX209" fmla="*/ 505500 w 1293444"/>
              <a:gd name="connsiteY209" fmla="*/ 650875 h 1704975"/>
              <a:gd name="connsiteX210" fmla="*/ 527725 w 1293444"/>
              <a:gd name="connsiteY210" fmla="*/ 641350 h 1704975"/>
              <a:gd name="connsiteX211" fmla="*/ 537250 w 1293444"/>
              <a:gd name="connsiteY211" fmla="*/ 635000 h 1704975"/>
              <a:gd name="connsiteX212" fmla="*/ 546775 w 1293444"/>
              <a:gd name="connsiteY212" fmla="*/ 631825 h 1704975"/>
              <a:gd name="connsiteX213" fmla="*/ 559475 w 1293444"/>
              <a:gd name="connsiteY213" fmla="*/ 625475 h 1704975"/>
              <a:gd name="connsiteX214" fmla="*/ 578525 w 1293444"/>
              <a:gd name="connsiteY214" fmla="*/ 657225 h 1704975"/>
              <a:gd name="connsiteX215" fmla="*/ 588050 w 1293444"/>
              <a:gd name="connsiteY215" fmla="*/ 660400 h 1704975"/>
              <a:gd name="connsiteX216" fmla="*/ 607100 w 1293444"/>
              <a:gd name="connsiteY216" fmla="*/ 673100 h 1704975"/>
              <a:gd name="connsiteX217" fmla="*/ 626150 w 1293444"/>
              <a:gd name="connsiteY217" fmla="*/ 679450 h 1704975"/>
              <a:gd name="connsiteX218" fmla="*/ 635675 w 1293444"/>
              <a:gd name="connsiteY218" fmla="*/ 685800 h 1704975"/>
              <a:gd name="connsiteX219" fmla="*/ 654725 w 1293444"/>
              <a:gd name="connsiteY219" fmla="*/ 692150 h 1704975"/>
              <a:gd name="connsiteX220" fmla="*/ 645200 w 1293444"/>
              <a:gd name="connsiteY220" fmla="*/ 682625 h 1704975"/>
              <a:gd name="connsiteX221" fmla="*/ 635675 w 1293444"/>
              <a:gd name="connsiteY221" fmla="*/ 676275 h 1704975"/>
              <a:gd name="connsiteX222" fmla="*/ 632500 w 1293444"/>
              <a:gd name="connsiteY222" fmla="*/ 666750 h 1704975"/>
              <a:gd name="connsiteX223" fmla="*/ 635675 w 1293444"/>
              <a:gd name="connsiteY223" fmla="*/ 590550 h 1704975"/>
              <a:gd name="connsiteX224" fmla="*/ 642025 w 1293444"/>
              <a:gd name="connsiteY224" fmla="*/ 571500 h 1704975"/>
              <a:gd name="connsiteX225" fmla="*/ 648375 w 1293444"/>
              <a:gd name="connsiteY225" fmla="*/ 561975 h 1704975"/>
              <a:gd name="connsiteX226" fmla="*/ 638850 w 1293444"/>
              <a:gd name="connsiteY226" fmla="*/ 536575 h 1704975"/>
              <a:gd name="connsiteX227" fmla="*/ 629325 w 1293444"/>
              <a:gd name="connsiteY227" fmla="*/ 533400 h 1704975"/>
              <a:gd name="connsiteX228" fmla="*/ 626150 w 1293444"/>
              <a:gd name="connsiteY228" fmla="*/ 523875 h 1704975"/>
              <a:gd name="connsiteX229" fmla="*/ 632500 w 1293444"/>
              <a:gd name="connsiteY229" fmla="*/ 498475 h 1704975"/>
              <a:gd name="connsiteX230" fmla="*/ 635675 w 1293444"/>
              <a:gd name="connsiteY230" fmla="*/ 485775 h 1704975"/>
              <a:gd name="connsiteX231" fmla="*/ 626150 w 1293444"/>
              <a:gd name="connsiteY231" fmla="*/ 463550 h 1704975"/>
              <a:gd name="connsiteX232" fmla="*/ 616625 w 1293444"/>
              <a:gd name="connsiteY232" fmla="*/ 460375 h 1704975"/>
              <a:gd name="connsiteX233" fmla="*/ 607100 w 1293444"/>
              <a:gd name="connsiteY233" fmla="*/ 454025 h 1704975"/>
              <a:gd name="connsiteX234" fmla="*/ 591225 w 1293444"/>
              <a:gd name="connsiteY234" fmla="*/ 450850 h 1704975"/>
              <a:gd name="connsiteX235" fmla="*/ 569000 w 1293444"/>
              <a:gd name="connsiteY235" fmla="*/ 441325 h 1704975"/>
              <a:gd name="connsiteX236" fmla="*/ 546775 w 1293444"/>
              <a:gd name="connsiteY236" fmla="*/ 415925 h 1704975"/>
              <a:gd name="connsiteX237" fmla="*/ 540425 w 1293444"/>
              <a:gd name="connsiteY237" fmla="*/ 406400 h 1704975"/>
              <a:gd name="connsiteX238" fmla="*/ 530900 w 1293444"/>
              <a:gd name="connsiteY238" fmla="*/ 400050 h 1704975"/>
              <a:gd name="connsiteX239" fmla="*/ 508675 w 1293444"/>
              <a:gd name="connsiteY239" fmla="*/ 374650 h 1704975"/>
              <a:gd name="connsiteX240" fmla="*/ 502325 w 1293444"/>
              <a:gd name="connsiteY240" fmla="*/ 365125 h 1704975"/>
              <a:gd name="connsiteX241" fmla="*/ 483275 w 1293444"/>
              <a:gd name="connsiteY241" fmla="*/ 346075 h 1704975"/>
              <a:gd name="connsiteX242" fmla="*/ 486450 w 1293444"/>
              <a:gd name="connsiteY242" fmla="*/ 333375 h 1704975"/>
              <a:gd name="connsiteX243" fmla="*/ 492800 w 1293444"/>
              <a:gd name="connsiteY243" fmla="*/ 314325 h 1704975"/>
              <a:gd name="connsiteX244" fmla="*/ 489625 w 1293444"/>
              <a:gd name="connsiteY244" fmla="*/ 292100 h 1704975"/>
              <a:gd name="connsiteX245" fmla="*/ 461050 w 1293444"/>
              <a:gd name="connsiteY245" fmla="*/ 266700 h 1704975"/>
              <a:gd name="connsiteX246" fmla="*/ 435650 w 1293444"/>
              <a:gd name="connsiteY246" fmla="*/ 254000 h 1704975"/>
              <a:gd name="connsiteX247" fmla="*/ 413425 w 1293444"/>
              <a:gd name="connsiteY247" fmla="*/ 238125 h 1704975"/>
              <a:gd name="connsiteX248" fmla="*/ 403900 w 1293444"/>
              <a:gd name="connsiteY248" fmla="*/ 231775 h 1704975"/>
              <a:gd name="connsiteX249" fmla="*/ 388025 w 1293444"/>
              <a:gd name="connsiteY249" fmla="*/ 212725 h 1704975"/>
              <a:gd name="connsiteX250" fmla="*/ 372150 w 1293444"/>
              <a:gd name="connsiteY250" fmla="*/ 196850 h 1704975"/>
              <a:gd name="connsiteX251" fmla="*/ 365800 w 1293444"/>
              <a:gd name="connsiteY251" fmla="*/ 177800 h 1704975"/>
              <a:gd name="connsiteX252" fmla="*/ 359450 w 1293444"/>
              <a:gd name="connsiteY252" fmla="*/ 149225 h 1704975"/>
              <a:gd name="connsiteX253" fmla="*/ 362625 w 1293444"/>
              <a:gd name="connsiteY253" fmla="*/ 114300 h 1704975"/>
              <a:gd name="connsiteX254" fmla="*/ 368975 w 1293444"/>
              <a:gd name="connsiteY254" fmla="*/ 104775 h 1704975"/>
              <a:gd name="connsiteX255" fmla="*/ 375325 w 1293444"/>
              <a:gd name="connsiteY25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3675 w 1293444"/>
              <a:gd name="connsiteY53" fmla="*/ 393700 h 1704975"/>
              <a:gd name="connsiteX54" fmla="*/ 1165900 w 1293444"/>
              <a:gd name="connsiteY54" fmla="*/ 454025 h 1704975"/>
              <a:gd name="connsiteX55" fmla="*/ 1207175 w 1293444"/>
              <a:gd name="connsiteY55" fmla="*/ 457200 h 1704975"/>
              <a:gd name="connsiteX56" fmla="*/ 1216700 w 1293444"/>
              <a:gd name="connsiteY56" fmla="*/ 463550 h 1704975"/>
              <a:gd name="connsiteX57" fmla="*/ 1270675 w 1293444"/>
              <a:gd name="connsiteY57" fmla="*/ 469900 h 1704975"/>
              <a:gd name="connsiteX58" fmla="*/ 1277025 w 1293444"/>
              <a:gd name="connsiteY58" fmla="*/ 479425 h 1704975"/>
              <a:gd name="connsiteX59" fmla="*/ 1273850 w 1293444"/>
              <a:gd name="connsiteY59" fmla="*/ 488950 h 1704975"/>
              <a:gd name="connsiteX60" fmla="*/ 1270675 w 1293444"/>
              <a:gd name="connsiteY60" fmla="*/ 511175 h 1704975"/>
              <a:gd name="connsiteX61" fmla="*/ 1264325 w 1293444"/>
              <a:gd name="connsiteY61" fmla="*/ 530225 h 1704975"/>
              <a:gd name="connsiteX62" fmla="*/ 1261150 w 1293444"/>
              <a:gd name="connsiteY62" fmla="*/ 539750 h 1704975"/>
              <a:gd name="connsiteX63" fmla="*/ 1254800 w 1293444"/>
              <a:gd name="connsiteY63" fmla="*/ 571500 h 1704975"/>
              <a:gd name="connsiteX64" fmla="*/ 1254800 w 1293444"/>
              <a:gd name="connsiteY64" fmla="*/ 692150 h 1704975"/>
              <a:gd name="connsiteX65" fmla="*/ 1257975 w 1293444"/>
              <a:gd name="connsiteY65" fmla="*/ 714375 h 1704975"/>
              <a:gd name="connsiteX66" fmla="*/ 1261150 w 1293444"/>
              <a:gd name="connsiteY66" fmla="*/ 723900 h 1704975"/>
              <a:gd name="connsiteX67" fmla="*/ 1273850 w 1293444"/>
              <a:gd name="connsiteY67" fmla="*/ 727075 h 1704975"/>
              <a:gd name="connsiteX68" fmla="*/ 1292900 w 1293444"/>
              <a:gd name="connsiteY68" fmla="*/ 739775 h 1704975"/>
              <a:gd name="connsiteX69" fmla="*/ 1289725 w 1293444"/>
              <a:gd name="connsiteY69" fmla="*/ 784225 h 1704975"/>
              <a:gd name="connsiteX70" fmla="*/ 1273850 w 1293444"/>
              <a:gd name="connsiteY70" fmla="*/ 800100 h 1704975"/>
              <a:gd name="connsiteX71" fmla="*/ 1264325 w 1293444"/>
              <a:gd name="connsiteY71" fmla="*/ 809625 h 1704975"/>
              <a:gd name="connsiteX72" fmla="*/ 1219875 w 1293444"/>
              <a:gd name="connsiteY72" fmla="*/ 819150 h 1704975"/>
              <a:gd name="connsiteX73" fmla="*/ 1200825 w 1293444"/>
              <a:gd name="connsiteY73" fmla="*/ 825500 h 1704975"/>
              <a:gd name="connsiteX74" fmla="*/ 1181775 w 1293444"/>
              <a:gd name="connsiteY74" fmla="*/ 838200 h 1704975"/>
              <a:gd name="connsiteX75" fmla="*/ 1172250 w 1293444"/>
              <a:gd name="connsiteY75" fmla="*/ 844550 h 1704975"/>
              <a:gd name="connsiteX76" fmla="*/ 1153200 w 1293444"/>
              <a:gd name="connsiteY76" fmla="*/ 850900 h 1704975"/>
              <a:gd name="connsiteX77" fmla="*/ 1140500 w 1293444"/>
              <a:gd name="connsiteY77" fmla="*/ 857250 h 1704975"/>
              <a:gd name="connsiteX78" fmla="*/ 1130975 w 1293444"/>
              <a:gd name="connsiteY78" fmla="*/ 863600 h 1704975"/>
              <a:gd name="connsiteX79" fmla="*/ 1105575 w 1293444"/>
              <a:gd name="connsiteY79" fmla="*/ 866775 h 1704975"/>
              <a:gd name="connsiteX80" fmla="*/ 1086525 w 1293444"/>
              <a:gd name="connsiteY80" fmla="*/ 873125 h 1704975"/>
              <a:gd name="connsiteX81" fmla="*/ 1077000 w 1293444"/>
              <a:gd name="connsiteY81" fmla="*/ 879475 h 1704975"/>
              <a:gd name="connsiteX82" fmla="*/ 1057950 w 1293444"/>
              <a:gd name="connsiteY82" fmla="*/ 885825 h 1704975"/>
              <a:gd name="connsiteX83" fmla="*/ 1048425 w 1293444"/>
              <a:gd name="connsiteY83" fmla="*/ 889000 h 1704975"/>
              <a:gd name="connsiteX84" fmla="*/ 1029375 w 1293444"/>
              <a:gd name="connsiteY84" fmla="*/ 908050 h 1704975"/>
              <a:gd name="connsiteX85" fmla="*/ 1010325 w 1293444"/>
              <a:gd name="connsiteY85" fmla="*/ 914400 h 1704975"/>
              <a:gd name="connsiteX86" fmla="*/ 1003975 w 1293444"/>
              <a:gd name="connsiteY86" fmla="*/ 923925 h 1704975"/>
              <a:gd name="connsiteX87" fmla="*/ 994450 w 1293444"/>
              <a:gd name="connsiteY87" fmla="*/ 933450 h 1704975"/>
              <a:gd name="connsiteX88" fmla="*/ 991275 w 1293444"/>
              <a:gd name="connsiteY88" fmla="*/ 942975 h 1704975"/>
              <a:gd name="connsiteX89" fmla="*/ 988100 w 1293444"/>
              <a:gd name="connsiteY89" fmla="*/ 962025 h 1704975"/>
              <a:gd name="connsiteX90" fmla="*/ 969050 w 1293444"/>
              <a:gd name="connsiteY90" fmla="*/ 968375 h 1704975"/>
              <a:gd name="connsiteX91" fmla="*/ 950000 w 1293444"/>
              <a:gd name="connsiteY91" fmla="*/ 981075 h 1704975"/>
              <a:gd name="connsiteX92" fmla="*/ 940475 w 1293444"/>
              <a:gd name="connsiteY92" fmla="*/ 987425 h 1704975"/>
              <a:gd name="connsiteX93" fmla="*/ 930950 w 1293444"/>
              <a:gd name="connsiteY93" fmla="*/ 1006475 h 1704975"/>
              <a:gd name="connsiteX94" fmla="*/ 924600 w 1293444"/>
              <a:gd name="connsiteY94" fmla="*/ 1016000 h 1704975"/>
              <a:gd name="connsiteX95" fmla="*/ 921425 w 1293444"/>
              <a:gd name="connsiteY95" fmla="*/ 1025525 h 1704975"/>
              <a:gd name="connsiteX96" fmla="*/ 905550 w 1293444"/>
              <a:gd name="connsiteY96" fmla="*/ 1044575 h 1704975"/>
              <a:gd name="connsiteX97" fmla="*/ 896025 w 1293444"/>
              <a:gd name="connsiteY97" fmla="*/ 1063625 h 1704975"/>
              <a:gd name="connsiteX98" fmla="*/ 867450 w 1293444"/>
              <a:gd name="connsiteY98" fmla="*/ 1085850 h 1704975"/>
              <a:gd name="connsiteX99" fmla="*/ 848400 w 1293444"/>
              <a:gd name="connsiteY99" fmla="*/ 1095375 h 1704975"/>
              <a:gd name="connsiteX100" fmla="*/ 813475 w 1293444"/>
              <a:gd name="connsiteY100" fmla="*/ 1092200 h 1704975"/>
              <a:gd name="connsiteX101" fmla="*/ 772200 w 1293444"/>
              <a:gd name="connsiteY101" fmla="*/ 1098550 h 1704975"/>
              <a:gd name="connsiteX102" fmla="*/ 759500 w 1293444"/>
              <a:gd name="connsiteY102" fmla="*/ 1127125 h 1704975"/>
              <a:gd name="connsiteX103" fmla="*/ 756325 w 1293444"/>
              <a:gd name="connsiteY103" fmla="*/ 1136650 h 1704975"/>
              <a:gd name="connsiteX104" fmla="*/ 740450 w 1293444"/>
              <a:gd name="connsiteY104" fmla="*/ 1155700 h 1704975"/>
              <a:gd name="connsiteX105" fmla="*/ 718225 w 1293444"/>
              <a:gd name="connsiteY105" fmla="*/ 1181100 h 1704975"/>
              <a:gd name="connsiteX106" fmla="*/ 721400 w 1293444"/>
              <a:gd name="connsiteY106" fmla="*/ 1238250 h 1704975"/>
              <a:gd name="connsiteX107" fmla="*/ 727750 w 1293444"/>
              <a:gd name="connsiteY107" fmla="*/ 1247775 h 1704975"/>
              <a:gd name="connsiteX108" fmla="*/ 730925 w 1293444"/>
              <a:gd name="connsiteY108" fmla="*/ 1257300 h 1704975"/>
              <a:gd name="connsiteX109" fmla="*/ 740450 w 1293444"/>
              <a:gd name="connsiteY109" fmla="*/ 1276350 h 1704975"/>
              <a:gd name="connsiteX110" fmla="*/ 743625 w 1293444"/>
              <a:gd name="connsiteY110" fmla="*/ 1320800 h 1704975"/>
              <a:gd name="connsiteX111" fmla="*/ 746800 w 1293444"/>
              <a:gd name="connsiteY111" fmla="*/ 1330325 h 1704975"/>
              <a:gd name="connsiteX112" fmla="*/ 756325 w 1293444"/>
              <a:gd name="connsiteY112" fmla="*/ 1336675 h 1704975"/>
              <a:gd name="connsiteX113" fmla="*/ 762675 w 1293444"/>
              <a:gd name="connsiteY113" fmla="*/ 1346200 h 1704975"/>
              <a:gd name="connsiteX114" fmla="*/ 769025 w 1293444"/>
              <a:gd name="connsiteY114" fmla="*/ 1393825 h 1704975"/>
              <a:gd name="connsiteX115" fmla="*/ 775375 w 1293444"/>
              <a:gd name="connsiteY115" fmla="*/ 1412875 h 1704975"/>
              <a:gd name="connsiteX116" fmla="*/ 781725 w 1293444"/>
              <a:gd name="connsiteY116" fmla="*/ 1435100 h 1704975"/>
              <a:gd name="connsiteX117" fmla="*/ 772200 w 1293444"/>
              <a:gd name="connsiteY117" fmla="*/ 1460500 h 1704975"/>
              <a:gd name="connsiteX118" fmla="*/ 762675 w 1293444"/>
              <a:gd name="connsiteY118" fmla="*/ 1466850 h 1704975"/>
              <a:gd name="connsiteX119" fmla="*/ 753150 w 1293444"/>
              <a:gd name="connsiteY119" fmla="*/ 1485900 h 1704975"/>
              <a:gd name="connsiteX120" fmla="*/ 749975 w 1293444"/>
              <a:gd name="connsiteY120" fmla="*/ 1514475 h 1704975"/>
              <a:gd name="connsiteX121" fmla="*/ 740450 w 1293444"/>
              <a:gd name="connsiteY121" fmla="*/ 1520825 h 1704975"/>
              <a:gd name="connsiteX122" fmla="*/ 730925 w 1293444"/>
              <a:gd name="connsiteY122" fmla="*/ 1530350 h 1704975"/>
              <a:gd name="connsiteX123" fmla="*/ 718225 w 1293444"/>
              <a:gd name="connsiteY123" fmla="*/ 1549400 h 1704975"/>
              <a:gd name="connsiteX124" fmla="*/ 711875 w 1293444"/>
              <a:gd name="connsiteY124" fmla="*/ 1558925 h 1704975"/>
              <a:gd name="connsiteX125" fmla="*/ 702350 w 1293444"/>
              <a:gd name="connsiteY125" fmla="*/ 1568450 h 1704975"/>
              <a:gd name="connsiteX126" fmla="*/ 699175 w 1293444"/>
              <a:gd name="connsiteY126" fmla="*/ 1577975 h 1704975"/>
              <a:gd name="connsiteX127" fmla="*/ 686475 w 1293444"/>
              <a:gd name="connsiteY127" fmla="*/ 1597025 h 1704975"/>
              <a:gd name="connsiteX128" fmla="*/ 676950 w 1293444"/>
              <a:gd name="connsiteY128" fmla="*/ 1616075 h 1704975"/>
              <a:gd name="connsiteX129" fmla="*/ 667425 w 1293444"/>
              <a:gd name="connsiteY129" fmla="*/ 1619250 h 1704975"/>
              <a:gd name="connsiteX130" fmla="*/ 648375 w 1293444"/>
              <a:gd name="connsiteY130" fmla="*/ 1631950 h 1704975"/>
              <a:gd name="connsiteX131" fmla="*/ 638850 w 1293444"/>
              <a:gd name="connsiteY131" fmla="*/ 1638300 h 1704975"/>
              <a:gd name="connsiteX132" fmla="*/ 607100 w 1293444"/>
              <a:gd name="connsiteY132" fmla="*/ 1676400 h 1704975"/>
              <a:gd name="connsiteX133" fmla="*/ 556300 w 1293444"/>
              <a:gd name="connsiteY133" fmla="*/ 1679575 h 1704975"/>
              <a:gd name="connsiteX134" fmla="*/ 537250 w 1293444"/>
              <a:gd name="connsiteY134" fmla="*/ 1685925 h 1704975"/>
              <a:gd name="connsiteX135" fmla="*/ 515025 w 1293444"/>
              <a:gd name="connsiteY135" fmla="*/ 1698625 h 1704975"/>
              <a:gd name="connsiteX136" fmla="*/ 495975 w 1293444"/>
              <a:gd name="connsiteY136" fmla="*/ 1704975 h 1704975"/>
              <a:gd name="connsiteX137" fmla="*/ 476925 w 1293444"/>
              <a:gd name="connsiteY137" fmla="*/ 1701800 h 1704975"/>
              <a:gd name="connsiteX138" fmla="*/ 470575 w 1293444"/>
              <a:gd name="connsiteY138" fmla="*/ 1692275 h 1704975"/>
              <a:gd name="connsiteX139" fmla="*/ 467400 w 1293444"/>
              <a:gd name="connsiteY139" fmla="*/ 1660525 h 1704975"/>
              <a:gd name="connsiteX140" fmla="*/ 457875 w 1293444"/>
              <a:gd name="connsiteY140" fmla="*/ 1641475 h 1704975"/>
              <a:gd name="connsiteX141" fmla="*/ 448350 w 1293444"/>
              <a:gd name="connsiteY141" fmla="*/ 1635125 h 1704975"/>
              <a:gd name="connsiteX142" fmla="*/ 445175 w 1293444"/>
              <a:gd name="connsiteY142" fmla="*/ 1625600 h 1704975"/>
              <a:gd name="connsiteX143" fmla="*/ 435650 w 1293444"/>
              <a:gd name="connsiteY143" fmla="*/ 1606550 h 1704975"/>
              <a:gd name="connsiteX144" fmla="*/ 432475 w 1293444"/>
              <a:gd name="connsiteY144" fmla="*/ 1495425 h 1704975"/>
              <a:gd name="connsiteX145" fmla="*/ 429300 w 1293444"/>
              <a:gd name="connsiteY145" fmla="*/ 1485900 h 1704975"/>
              <a:gd name="connsiteX146" fmla="*/ 426125 w 1293444"/>
              <a:gd name="connsiteY146" fmla="*/ 1473200 h 1704975"/>
              <a:gd name="connsiteX147" fmla="*/ 419775 w 1293444"/>
              <a:gd name="connsiteY147" fmla="*/ 1463675 h 1704975"/>
              <a:gd name="connsiteX148" fmla="*/ 416600 w 1293444"/>
              <a:gd name="connsiteY148" fmla="*/ 1454150 h 1704975"/>
              <a:gd name="connsiteX149" fmla="*/ 403900 w 1293444"/>
              <a:gd name="connsiteY149" fmla="*/ 1435100 h 1704975"/>
              <a:gd name="connsiteX150" fmla="*/ 397550 w 1293444"/>
              <a:gd name="connsiteY150" fmla="*/ 1416050 h 1704975"/>
              <a:gd name="connsiteX151" fmla="*/ 394375 w 1293444"/>
              <a:gd name="connsiteY151" fmla="*/ 1381125 h 1704975"/>
              <a:gd name="connsiteX152" fmla="*/ 391200 w 1293444"/>
              <a:gd name="connsiteY152" fmla="*/ 1368425 h 1704975"/>
              <a:gd name="connsiteX153" fmla="*/ 388025 w 1293444"/>
              <a:gd name="connsiteY153" fmla="*/ 1352550 h 1704975"/>
              <a:gd name="connsiteX154" fmla="*/ 381675 w 1293444"/>
              <a:gd name="connsiteY154" fmla="*/ 1333500 h 1704975"/>
              <a:gd name="connsiteX155" fmla="*/ 378500 w 1293444"/>
              <a:gd name="connsiteY155" fmla="*/ 1323975 h 1704975"/>
              <a:gd name="connsiteX156" fmla="*/ 375325 w 1293444"/>
              <a:gd name="connsiteY156" fmla="*/ 1308100 h 1704975"/>
              <a:gd name="connsiteX157" fmla="*/ 368975 w 1293444"/>
              <a:gd name="connsiteY157" fmla="*/ 1289050 h 1704975"/>
              <a:gd name="connsiteX158" fmla="*/ 362625 w 1293444"/>
              <a:gd name="connsiteY158" fmla="*/ 1260475 h 1704975"/>
              <a:gd name="connsiteX159" fmla="*/ 359450 w 1293444"/>
              <a:gd name="connsiteY159" fmla="*/ 1231900 h 1704975"/>
              <a:gd name="connsiteX160" fmla="*/ 349925 w 1293444"/>
              <a:gd name="connsiteY160" fmla="*/ 1196975 h 1704975"/>
              <a:gd name="connsiteX161" fmla="*/ 340400 w 1293444"/>
              <a:gd name="connsiteY161" fmla="*/ 1155700 h 1704975"/>
              <a:gd name="connsiteX162" fmla="*/ 334050 w 1293444"/>
              <a:gd name="connsiteY162" fmla="*/ 1130300 h 1704975"/>
              <a:gd name="connsiteX163" fmla="*/ 327700 w 1293444"/>
              <a:gd name="connsiteY163" fmla="*/ 1104900 h 1704975"/>
              <a:gd name="connsiteX164" fmla="*/ 324525 w 1293444"/>
              <a:gd name="connsiteY164" fmla="*/ 1092200 h 1704975"/>
              <a:gd name="connsiteX165" fmla="*/ 318175 w 1293444"/>
              <a:gd name="connsiteY165" fmla="*/ 1050925 h 1704975"/>
              <a:gd name="connsiteX166" fmla="*/ 315000 w 1293444"/>
              <a:gd name="connsiteY166" fmla="*/ 1031875 h 1704975"/>
              <a:gd name="connsiteX167" fmla="*/ 311825 w 1293444"/>
              <a:gd name="connsiteY167" fmla="*/ 1022350 h 1704975"/>
              <a:gd name="connsiteX168" fmla="*/ 308650 w 1293444"/>
              <a:gd name="connsiteY168" fmla="*/ 1006475 h 1704975"/>
              <a:gd name="connsiteX169" fmla="*/ 302300 w 1293444"/>
              <a:gd name="connsiteY169" fmla="*/ 987425 h 1704975"/>
              <a:gd name="connsiteX170" fmla="*/ 299125 w 1293444"/>
              <a:gd name="connsiteY170" fmla="*/ 974725 h 1704975"/>
              <a:gd name="connsiteX171" fmla="*/ 292775 w 1293444"/>
              <a:gd name="connsiteY171" fmla="*/ 955675 h 1704975"/>
              <a:gd name="connsiteX172" fmla="*/ 289600 w 1293444"/>
              <a:gd name="connsiteY172" fmla="*/ 946150 h 1704975"/>
              <a:gd name="connsiteX173" fmla="*/ 280075 w 1293444"/>
              <a:gd name="connsiteY173" fmla="*/ 923925 h 1704975"/>
              <a:gd name="connsiteX174" fmla="*/ 261025 w 1293444"/>
              <a:gd name="connsiteY174" fmla="*/ 908050 h 1704975"/>
              <a:gd name="connsiteX175" fmla="*/ 241975 w 1293444"/>
              <a:gd name="connsiteY175" fmla="*/ 901700 h 1704975"/>
              <a:gd name="connsiteX176" fmla="*/ 222925 w 1293444"/>
              <a:gd name="connsiteY176" fmla="*/ 889000 h 1704975"/>
              <a:gd name="connsiteX177" fmla="*/ 213400 w 1293444"/>
              <a:gd name="connsiteY177" fmla="*/ 885825 h 1704975"/>
              <a:gd name="connsiteX178" fmla="*/ 194350 w 1293444"/>
              <a:gd name="connsiteY178" fmla="*/ 873125 h 1704975"/>
              <a:gd name="connsiteX179" fmla="*/ 175300 w 1293444"/>
              <a:gd name="connsiteY179" fmla="*/ 860425 h 1704975"/>
              <a:gd name="connsiteX180" fmla="*/ 162600 w 1293444"/>
              <a:gd name="connsiteY180" fmla="*/ 850900 h 1704975"/>
              <a:gd name="connsiteX181" fmla="*/ 153075 w 1293444"/>
              <a:gd name="connsiteY181" fmla="*/ 847725 h 1704975"/>
              <a:gd name="connsiteX182" fmla="*/ 134025 w 1293444"/>
              <a:gd name="connsiteY182" fmla="*/ 835025 h 1704975"/>
              <a:gd name="connsiteX183" fmla="*/ 114975 w 1293444"/>
              <a:gd name="connsiteY183" fmla="*/ 822325 h 1704975"/>
              <a:gd name="connsiteX184" fmla="*/ 105450 w 1293444"/>
              <a:gd name="connsiteY184" fmla="*/ 815975 h 1704975"/>
              <a:gd name="connsiteX185" fmla="*/ 95925 w 1293444"/>
              <a:gd name="connsiteY185" fmla="*/ 812800 h 1704975"/>
              <a:gd name="connsiteX186" fmla="*/ 64175 w 1293444"/>
              <a:gd name="connsiteY186" fmla="*/ 790575 h 1704975"/>
              <a:gd name="connsiteX187" fmla="*/ 54650 w 1293444"/>
              <a:gd name="connsiteY187" fmla="*/ 787400 h 1704975"/>
              <a:gd name="connsiteX188" fmla="*/ 38775 w 1293444"/>
              <a:gd name="connsiteY188" fmla="*/ 771525 h 1704975"/>
              <a:gd name="connsiteX189" fmla="*/ 29250 w 1293444"/>
              <a:gd name="connsiteY189" fmla="*/ 762000 h 1704975"/>
              <a:gd name="connsiteX190" fmla="*/ 19725 w 1293444"/>
              <a:gd name="connsiteY190" fmla="*/ 758825 h 1704975"/>
              <a:gd name="connsiteX191" fmla="*/ 675 w 1293444"/>
              <a:gd name="connsiteY191" fmla="*/ 746125 h 1704975"/>
              <a:gd name="connsiteX192" fmla="*/ 51475 w 1293444"/>
              <a:gd name="connsiteY192" fmla="*/ 739775 h 1704975"/>
              <a:gd name="connsiteX193" fmla="*/ 67350 w 1293444"/>
              <a:gd name="connsiteY193" fmla="*/ 736600 h 1704975"/>
              <a:gd name="connsiteX194" fmla="*/ 102275 w 1293444"/>
              <a:gd name="connsiteY194" fmla="*/ 733425 h 1704975"/>
              <a:gd name="connsiteX195" fmla="*/ 130850 w 1293444"/>
              <a:gd name="connsiteY195" fmla="*/ 727075 h 1704975"/>
              <a:gd name="connsiteX196" fmla="*/ 149900 w 1293444"/>
              <a:gd name="connsiteY196" fmla="*/ 723900 h 1704975"/>
              <a:gd name="connsiteX197" fmla="*/ 159425 w 1293444"/>
              <a:gd name="connsiteY197" fmla="*/ 720725 h 1704975"/>
              <a:gd name="connsiteX198" fmla="*/ 175300 w 1293444"/>
              <a:gd name="connsiteY198" fmla="*/ 717550 h 1704975"/>
              <a:gd name="connsiteX199" fmla="*/ 194350 w 1293444"/>
              <a:gd name="connsiteY199" fmla="*/ 711200 h 1704975"/>
              <a:gd name="connsiteX200" fmla="*/ 222925 w 1293444"/>
              <a:gd name="connsiteY200" fmla="*/ 701675 h 1704975"/>
              <a:gd name="connsiteX201" fmla="*/ 232450 w 1293444"/>
              <a:gd name="connsiteY201" fmla="*/ 698500 h 1704975"/>
              <a:gd name="connsiteX202" fmla="*/ 241975 w 1293444"/>
              <a:gd name="connsiteY202" fmla="*/ 695325 h 1704975"/>
              <a:gd name="connsiteX203" fmla="*/ 381675 w 1293444"/>
              <a:gd name="connsiteY203" fmla="*/ 688975 h 1704975"/>
              <a:gd name="connsiteX204" fmla="*/ 397550 w 1293444"/>
              <a:gd name="connsiteY204" fmla="*/ 685800 h 1704975"/>
              <a:gd name="connsiteX205" fmla="*/ 407075 w 1293444"/>
              <a:gd name="connsiteY205" fmla="*/ 682625 h 1704975"/>
              <a:gd name="connsiteX206" fmla="*/ 419775 w 1293444"/>
              <a:gd name="connsiteY206" fmla="*/ 679450 h 1704975"/>
              <a:gd name="connsiteX207" fmla="*/ 438825 w 1293444"/>
              <a:gd name="connsiteY207" fmla="*/ 673100 h 1704975"/>
              <a:gd name="connsiteX208" fmla="*/ 467400 w 1293444"/>
              <a:gd name="connsiteY208" fmla="*/ 663575 h 1704975"/>
              <a:gd name="connsiteX209" fmla="*/ 495975 w 1293444"/>
              <a:gd name="connsiteY209" fmla="*/ 654050 h 1704975"/>
              <a:gd name="connsiteX210" fmla="*/ 505500 w 1293444"/>
              <a:gd name="connsiteY210" fmla="*/ 650875 h 1704975"/>
              <a:gd name="connsiteX211" fmla="*/ 527725 w 1293444"/>
              <a:gd name="connsiteY211" fmla="*/ 641350 h 1704975"/>
              <a:gd name="connsiteX212" fmla="*/ 537250 w 1293444"/>
              <a:gd name="connsiteY212" fmla="*/ 635000 h 1704975"/>
              <a:gd name="connsiteX213" fmla="*/ 546775 w 1293444"/>
              <a:gd name="connsiteY213" fmla="*/ 631825 h 1704975"/>
              <a:gd name="connsiteX214" fmla="*/ 559475 w 1293444"/>
              <a:gd name="connsiteY214" fmla="*/ 625475 h 1704975"/>
              <a:gd name="connsiteX215" fmla="*/ 578525 w 1293444"/>
              <a:gd name="connsiteY215" fmla="*/ 657225 h 1704975"/>
              <a:gd name="connsiteX216" fmla="*/ 588050 w 1293444"/>
              <a:gd name="connsiteY216" fmla="*/ 660400 h 1704975"/>
              <a:gd name="connsiteX217" fmla="*/ 607100 w 1293444"/>
              <a:gd name="connsiteY217" fmla="*/ 673100 h 1704975"/>
              <a:gd name="connsiteX218" fmla="*/ 626150 w 1293444"/>
              <a:gd name="connsiteY218" fmla="*/ 679450 h 1704975"/>
              <a:gd name="connsiteX219" fmla="*/ 635675 w 1293444"/>
              <a:gd name="connsiteY219" fmla="*/ 685800 h 1704975"/>
              <a:gd name="connsiteX220" fmla="*/ 654725 w 1293444"/>
              <a:gd name="connsiteY220" fmla="*/ 692150 h 1704975"/>
              <a:gd name="connsiteX221" fmla="*/ 645200 w 1293444"/>
              <a:gd name="connsiteY221" fmla="*/ 682625 h 1704975"/>
              <a:gd name="connsiteX222" fmla="*/ 635675 w 1293444"/>
              <a:gd name="connsiteY222" fmla="*/ 676275 h 1704975"/>
              <a:gd name="connsiteX223" fmla="*/ 632500 w 1293444"/>
              <a:gd name="connsiteY223" fmla="*/ 666750 h 1704975"/>
              <a:gd name="connsiteX224" fmla="*/ 635675 w 1293444"/>
              <a:gd name="connsiteY224" fmla="*/ 590550 h 1704975"/>
              <a:gd name="connsiteX225" fmla="*/ 642025 w 1293444"/>
              <a:gd name="connsiteY225" fmla="*/ 571500 h 1704975"/>
              <a:gd name="connsiteX226" fmla="*/ 648375 w 1293444"/>
              <a:gd name="connsiteY226" fmla="*/ 561975 h 1704975"/>
              <a:gd name="connsiteX227" fmla="*/ 638850 w 1293444"/>
              <a:gd name="connsiteY227" fmla="*/ 536575 h 1704975"/>
              <a:gd name="connsiteX228" fmla="*/ 629325 w 1293444"/>
              <a:gd name="connsiteY228" fmla="*/ 533400 h 1704975"/>
              <a:gd name="connsiteX229" fmla="*/ 626150 w 1293444"/>
              <a:gd name="connsiteY229" fmla="*/ 523875 h 1704975"/>
              <a:gd name="connsiteX230" fmla="*/ 632500 w 1293444"/>
              <a:gd name="connsiteY230" fmla="*/ 498475 h 1704975"/>
              <a:gd name="connsiteX231" fmla="*/ 635675 w 1293444"/>
              <a:gd name="connsiteY231" fmla="*/ 485775 h 1704975"/>
              <a:gd name="connsiteX232" fmla="*/ 626150 w 1293444"/>
              <a:gd name="connsiteY232" fmla="*/ 463550 h 1704975"/>
              <a:gd name="connsiteX233" fmla="*/ 616625 w 1293444"/>
              <a:gd name="connsiteY233" fmla="*/ 460375 h 1704975"/>
              <a:gd name="connsiteX234" fmla="*/ 607100 w 1293444"/>
              <a:gd name="connsiteY234" fmla="*/ 454025 h 1704975"/>
              <a:gd name="connsiteX235" fmla="*/ 591225 w 1293444"/>
              <a:gd name="connsiteY235" fmla="*/ 450850 h 1704975"/>
              <a:gd name="connsiteX236" fmla="*/ 569000 w 1293444"/>
              <a:gd name="connsiteY236" fmla="*/ 441325 h 1704975"/>
              <a:gd name="connsiteX237" fmla="*/ 546775 w 1293444"/>
              <a:gd name="connsiteY237" fmla="*/ 415925 h 1704975"/>
              <a:gd name="connsiteX238" fmla="*/ 540425 w 1293444"/>
              <a:gd name="connsiteY238" fmla="*/ 406400 h 1704975"/>
              <a:gd name="connsiteX239" fmla="*/ 530900 w 1293444"/>
              <a:gd name="connsiteY239" fmla="*/ 400050 h 1704975"/>
              <a:gd name="connsiteX240" fmla="*/ 508675 w 1293444"/>
              <a:gd name="connsiteY240" fmla="*/ 374650 h 1704975"/>
              <a:gd name="connsiteX241" fmla="*/ 502325 w 1293444"/>
              <a:gd name="connsiteY241" fmla="*/ 365125 h 1704975"/>
              <a:gd name="connsiteX242" fmla="*/ 483275 w 1293444"/>
              <a:gd name="connsiteY242" fmla="*/ 346075 h 1704975"/>
              <a:gd name="connsiteX243" fmla="*/ 486450 w 1293444"/>
              <a:gd name="connsiteY243" fmla="*/ 333375 h 1704975"/>
              <a:gd name="connsiteX244" fmla="*/ 492800 w 1293444"/>
              <a:gd name="connsiteY244" fmla="*/ 314325 h 1704975"/>
              <a:gd name="connsiteX245" fmla="*/ 489625 w 1293444"/>
              <a:gd name="connsiteY245" fmla="*/ 292100 h 1704975"/>
              <a:gd name="connsiteX246" fmla="*/ 461050 w 1293444"/>
              <a:gd name="connsiteY246" fmla="*/ 266700 h 1704975"/>
              <a:gd name="connsiteX247" fmla="*/ 435650 w 1293444"/>
              <a:gd name="connsiteY247" fmla="*/ 254000 h 1704975"/>
              <a:gd name="connsiteX248" fmla="*/ 413425 w 1293444"/>
              <a:gd name="connsiteY248" fmla="*/ 238125 h 1704975"/>
              <a:gd name="connsiteX249" fmla="*/ 403900 w 1293444"/>
              <a:gd name="connsiteY249" fmla="*/ 231775 h 1704975"/>
              <a:gd name="connsiteX250" fmla="*/ 388025 w 1293444"/>
              <a:gd name="connsiteY250" fmla="*/ 212725 h 1704975"/>
              <a:gd name="connsiteX251" fmla="*/ 372150 w 1293444"/>
              <a:gd name="connsiteY251" fmla="*/ 196850 h 1704975"/>
              <a:gd name="connsiteX252" fmla="*/ 365800 w 1293444"/>
              <a:gd name="connsiteY252" fmla="*/ 177800 h 1704975"/>
              <a:gd name="connsiteX253" fmla="*/ 359450 w 1293444"/>
              <a:gd name="connsiteY253" fmla="*/ 149225 h 1704975"/>
              <a:gd name="connsiteX254" fmla="*/ 362625 w 1293444"/>
              <a:gd name="connsiteY254" fmla="*/ 114300 h 1704975"/>
              <a:gd name="connsiteX255" fmla="*/ 368975 w 1293444"/>
              <a:gd name="connsiteY255" fmla="*/ 104775 h 1704975"/>
              <a:gd name="connsiteX256" fmla="*/ 375325 w 1293444"/>
              <a:gd name="connsiteY25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3675 w 1293444"/>
              <a:gd name="connsiteY53" fmla="*/ 393700 h 1704975"/>
              <a:gd name="connsiteX54" fmla="*/ 1165900 w 1293444"/>
              <a:gd name="connsiteY54" fmla="*/ 454025 h 1704975"/>
              <a:gd name="connsiteX55" fmla="*/ 1207175 w 1293444"/>
              <a:gd name="connsiteY55" fmla="*/ 457200 h 1704975"/>
              <a:gd name="connsiteX56" fmla="*/ 1216700 w 1293444"/>
              <a:gd name="connsiteY56" fmla="*/ 463550 h 1704975"/>
              <a:gd name="connsiteX57" fmla="*/ 1270675 w 1293444"/>
              <a:gd name="connsiteY57" fmla="*/ 469900 h 1704975"/>
              <a:gd name="connsiteX58" fmla="*/ 1277025 w 1293444"/>
              <a:gd name="connsiteY58" fmla="*/ 479425 h 1704975"/>
              <a:gd name="connsiteX59" fmla="*/ 1273850 w 1293444"/>
              <a:gd name="connsiteY59" fmla="*/ 488950 h 1704975"/>
              <a:gd name="connsiteX60" fmla="*/ 1270675 w 1293444"/>
              <a:gd name="connsiteY60" fmla="*/ 511175 h 1704975"/>
              <a:gd name="connsiteX61" fmla="*/ 1264325 w 1293444"/>
              <a:gd name="connsiteY61" fmla="*/ 530225 h 1704975"/>
              <a:gd name="connsiteX62" fmla="*/ 1261150 w 1293444"/>
              <a:gd name="connsiteY62" fmla="*/ 539750 h 1704975"/>
              <a:gd name="connsiteX63" fmla="*/ 1254800 w 1293444"/>
              <a:gd name="connsiteY63" fmla="*/ 571500 h 1704975"/>
              <a:gd name="connsiteX64" fmla="*/ 1254800 w 1293444"/>
              <a:gd name="connsiteY64" fmla="*/ 692150 h 1704975"/>
              <a:gd name="connsiteX65" fmla="*/ 1257975 w 1293444"/>
              <a:gd name="connsiteY65" fmla="*/ 714375 h 1704975"/>
              <a:gd name="connsiteX66" fmla="*/ 1261150 w 1293444"/>
              <a:gd name="connsiteY66" fmla="*/ 723900 h 1704975"/>
              <a:gd name="connsiteX67" fmla="*/ 1273850 w 1293444"/>
              <a:gd name="connsiteY67" fmla="*/ 727075 h 1704975"/>
              <a:gd name="connsiteX68" fmla="*/ 1292900 w 1293444"/>
              <a:gd name="connsiteY68" fmla="*/ 739775 h 1704975"/>
              <a:gd name="connsiteX69" fmla="*/ 1289725 w 1293444"/>
              <a:gd name="connsiteY69" fmla="*/ 784225 h 1704975"/>
              <a:gd name="connsiteX70" fmla="*/ 1273850 w 1293444"/>
              <a:gd name="connsiteY70" fmla="*/ 800100 h 1704975"/>
              <a:gd name="connsiteX71" fmla="*/ 1264325 w 1293444"/>
              <a:gd name="connsiteY71" fmla="*/ 809625 h 1704975"/>
              <a:gd name="connsiteX72" fmla="*/ 1219875 w 1293444"/>
              <a:gd name="connsiteY72" fmla="*/ 819150 h 1704975"/>
              <a:gd name="connsiteX73" fmla="*/ 1200825 w 1293444"/>
              <a:gd name="connsiteY73" fmla="*/ 825500 h 1704975"/>
              <a:gd name="connsiteX74" fmla="*/ 1181775 w 1293444"/>
              <a:gd name="connsiteY74" fmla="*/ 838200 h 1704975"/>
              <a:gd name="connsiteX75" fmla="*/ 1172250 w 1293444"/>
              <a:gd name="connsiteY75" fmla="*/ 844550 h 1704975"/>
              <a:gd name="connsiteX76" fmla="*/ 1153200 w 1293444"/>
              <a:gd name="connsiteY76" fmla="*/ 850900 h 1704975"/>
              <a:gd name="connsiteX77" fmla="*/ 1140500 w 1293444"/>
              <a:gd name="connsiteY77" fmla="*/ 857250 h 1704975"/>
              <a:gd name="connsiteX78" fmla="*/ 1130975 w 1293444"/>
              <a:gd name="connsiteY78" fmla="*/ 863600 h 1704975"/>
              <a:gd name="connsiteX79" fmla="*/ 1105575 w 1293444"/>
              <a:gd name="connsiteY79" fmla="*/ 866775 h 1704975"/>
              <a:gd name="connsiteX80" fmla="*/ 1086525 w 1293444"/>
              <a:gd name="connsiteY80" fmla="*/ 873125 h 1704975"/>
              <a:gd name="connsiteX81" fmla="*/ 1077000 w 1293444"/>
              <a:gd name="connsiteY81" fmla="*/ 879475 h 1704975"/>
              <a:gd name="connsiteX82" fmla="*/ 1057950 w 1293444"/>
              <a:gd name="connsiteY82" fmla="*/ 885825 h 1704975"/>
              <a:gd name="connsiteX83" fmla="*/ 1048425 w 1293444"/>
              <a:gd name="connsiteY83" fmla="*/ 889000 h 1704975"/>
              <a:gd name="connsiteX84" fmla="*/ 1029375 w 1293444"/>
              <a:gd name="connsiteY84" fmla="*/ 908050 h 1704975"/>
              <a:gd name="connsiteX85" fmla="*/ 1010325 w 1293444"/>
              <a:gd name="connsiteY85" fmla="*/ 914400 h 1704975"/>
              <a:gd name="connsiteX86" fmla="*/ 1003975 w 1293444"/>
              <a:gd name="connsiteY86" fmla="*/ 923925 h 1704975"/>
              <a:gd name="connsiteX87" fmla="*/ 994450 w 1293444"/>
              <a:gd name="connsiteY87" fmla="*/ 933450 h 1704975"/>
              <a:gd name="connsiteX88" fmla="*/ 991275 w 1293444"/>
              <a:gd name="connsiteY88" fmla="*/ 942975 h 1704975"/>
              <a:gd name="connsiteX89" fmla="*/ 988100 w 1293444"/>
              <a:gd name="connsiteY89" fmla="*/ 962025 h 1704975"/>
              <a:gd name="connsiteX90" fmla="*/ 969050 w 1293444"/>
              <a:gd name="connsiteY90" fmla="*/ 968375 h 1704975"/>
              <a:gd name="connsiteX91" fmla="*/ 950000 w 1293444"/>
              <a:gd name="connsiteY91" fmla="*/ 981075 h 1704975"/>
              <a:gd name="connsiteX92" fmla="*/ 940475 w 1293444"/>
              <a:gd name="connsiteY92" fmla="*/ 987425 h 1704975"/>
              <a:gd name="connsiteX93" fmla="*/ 930950 w 1293444"/>
              <a:gd name="connsiteY93" fmla="*/ 1006475 h 1704975"/>
              <a:gd name="connsiteX94" fmla="*/ 924600 w 1293444"/>
              <a:gd name="connsiteY94" fmla="*/ 1016000 h 1704975"/>
              <a:gd name="connsiteX95" fmla="*/ 921425 w 1293444"/>
              <a:gd name="connsiteY95" fmla="*/ 1025525 h 1704975"/>
              <a:gd name="connsiteX96" fmla="*/ 905550 w 1293444"/>
              <a:gd name="connsiteY96" fmla="*/ 1044575 h 1704975"/>
              <a:gd name="connsiteX97" fmla="*/ 896025 w 1293444"/>
              <a:gd name="connsiteY97" fmla="*/ 1063625 h 1704975"/>
              <a:gd name="connsiteX98" fmla="*/ 867450 w 1293444"/>
              <a:gd name="connsiteY98" fmla="*/ 1085850 h 1704975"/>
              <a:gd name="connsiteX99" fmla="*/ 848400 w 1293444"/>
              <a:gd name="connsiteY99" fmla="*/ 1095375 h 1704975"/>
              <a:gd name="connsiteX100" fmla="*/ 813475 w 1293444"/>
              <a:gd name="connsiteY100" fmla="*/ 1092200 h 1704975"/>
              <a:gd name="connsiteX101" fmla="*/ 772200 w 1293444"/>
              <a:gd name="connsiteY101" fmla="*/ 1098550 h 1704975"/>
              <a:gd name="connsiteX102" fmla="*/ 759500 w 1293444"/>
              <a:gd name="connsiteY102" fmla="*/ 1127125 h 1704975"/>
              <a:gd name="connsiteX103" fmla="*/ 756325 w 1293444"/>
              <a:gd name="connsiteY103" fmla="*/ 1136650 h 1704975"/>
              <a:gd name="connsiteX104" fmla="*/ 740450 w 1293444"/>
              <a:gd name="connsiteY104" fmla="*/ 1155700 h 1704975"/>
              <a:gd name="connsiteX105" fmla="*/ 718225 w 1293444"/>
              <a:gd name="connsiteY105" fmla="*/ 1181100 h 1704975"/>
              <a:gd name="connsiteX106" fmla="*/ 721400 w 1293444"/>
              <a:gd name="connsiteY106" fmla="*/ 1238250 h 1704975"/>
              <a:gd name="connsiteX107" fmla="*/ 727750 w 1293444"/>
              <a:gd name="connsiteY107" fmla="*/ 1247775 h 1704975"/>
              <a:gd name="connsiteX108" fmla="*/ 730925 w 1293444"/>
              <a:gd name="connsiteY108" fmla="*/ 1257300 h 1704975"/>
              <a:gd name="connsiteX109" fmla="*/ 740450 w 1293444"/>
              <a:gd name="connsiteY109" fmla="*/ 1276350 h 1704975"/>
              <a:gd name="connsiteX110" fmla="*/ 743625 w 1293444"/>
              <a:gd name="connsiteY110" fmla="*/ 1320800 h 1704975"/>
              <a:gd name="connsiteX111" fmla="*/ 746800 w 1293444"/>
              <a:gd name="connsiteY111" fmla="*/ 1330325 h 1704975"/>
              <a:gd name="connsiteX112" fmla="*/ 756325 w 1293444"/>
              <a:gd name="connsiteY112" fmla="*/ 1336675 h 1704975"/>
              <a:gd name="connsiteX113" fmla="*/ 762675 w 1293444"/>
              <a:gd name="connsiteY113" fmla="*/ 1346200 h 1704975"/>
              <a:gd name="connsiteX114" fmla="*/ 769025 w 1293444"/>
              <a:gd name="connsiteY114" fmla="*/ 1393825 h 1704975"/>
              <a:gd name="connsiteX115" fmla="*/ 775375 w 1293444"/>
              <a:gd name="connsiteY115" fmla="*/ 1412875 h 1704975"/>
              <a:gd name="connsiteX116" fmla="*/ 781725 w 1293444"/>
              <a:gd name="connsiteY116" fmla="*/ 1435100 h 1704975"/>
              <a:gd name="connsiteX117" fmla="*/ 772200 w 1293444"/>
              <a:gd name="connsiteY117" fmla="*/ 1460500 h 1704975"/>
              <a:gd name="connsiteX118" fmla="*/ 762675 w 1293444"/>
              <a:gd name="connsiteY118" fmla="*/ 1466850 h 1704975"/>
              <a:gd name="connsiteX119" fmla="*/ 753150 w 1293444"/>
              <a:gd name="connsiteY119" fmla="*/ 1485900 h 1704975"/>
              <a:gd name="connsiteX120" fmla="*/ 749975 w 1293444"/>
              <a:gd name="connsiteY120" fmla="*/ 1514475 h 1704975"/>
              <a:gd name="connsiteX121" fmla="*/ 740450 w 1293444"/>
              <a:gd name="connsiteY121" fmla="*/ 1520825 h 1704975"/>
              <a:gd name="connsiteX122" fmla="*/ 730925 w 1293444"/>
              <a:gd name="connsiteY122" fmla="*/ 1530350 h 1704975"/>
              <a:gd name="connsiteX123" fmla="*/ 718225 w 1293444"/>
              <a:gd name="connsiteY123" fmla="*/ 1549400 h 1704975"/>
              <a:gd name="connsiteX124" fmla="*/ 711875 w 1293444"/>
              <a:gd name="connsiteY124" fmla="*/ 1558925 h 1704975"/>
              <a:gd name="connsiteX125" fmla="*/ 702350 w 1293444"/>
              <a:gd name="connsiteY125" fmla="*/ 1568450 h 1704975"/>
              <a:gd name="connsiteX126" fmla="*/ 699175 w 1293444"/>
              <a:gd name="connsiteY126" fmla="*/ 1577975 h 1704975"/>
              <a:gd name="connsiteX127" fmla="*/ 686475 w 1293444"/>
              <a:gd name="connsiteY127" fmla="*/ 1597025 h 1704975"/>
              <a:gd name="connsiteX128" fmla="*/ 676950 w 1293444"/>
              <a:gd name="connsiteY128" fmla="*/ 1616075 h 1704975"/>
              <a:gd name="connsiteX129" fmla="*/ 667425 w 1293444"/>
              <a:gd name="connsiteY129" fmla="*/ 1619250 h 1704975"/>
              <a:gd name="connsiteX130" fmla="*/ 648375 w 1293444"/>
              <a:gd name="connsiteY130" fmla="*/ 1631950 h 1704975"/>
              <a:gd name="connsiteX131" fmla="*/ 638850 w 1293444"/>
              <a:gd name="connsiteY131" fmla="*/ 1638300 h 1704975"/>
              <a:gd name="connsiteX132" fmla="*/ 607100 w 1293444"/>
              <a:gd name="connsiteY132" fmla="*/ 1676400 h 1704975"/>
              <a:gd name="connsiteX133" fmla="*/ 556300 w 1293444"/>
              <a:gd name="connsiteY133" fmla="*/ 1679575 h 1704975"/>
              <a:gd name="connsiteX134" fmla="*/ 537250 w 1293444"/>
              <a:gd name="connsiteY134" fmla="*/ 1685925 h 1704975"/>
              <a:gd name="connsiteX135" fmla="*/ 515025 w 1293444"/>
              <a:gd name="connsiteY135" fmla="*/ 1698625 h 1704975"/>
              <a:gd name="connsiteX136" fmla="*/ 495975 w 1293444"/>
              <a:gd name="connsiteY136" fmla="*/ 1704975 h 1704975"/>
              <a:gd name="connsiteX137" fmla="*/ 476925 w 1293444"/>
              <a:gd name="connsiteY137" fmla="*/ 1701800 h 1704975"/>
              <a:gd name="connsiteX138" fmla="*/ 470575 w 1293444"/>
              <a:gd name="connsiteY138" fmla="*/ 1692275 h 1704975"/>
              <a:gd name="connsiteX139" fmla="*/ 467400 w 1293444"/>
              <a:gd name="connsiteY139" fmla="*/ 1660525 h 1704975"/>
              <a:gd name="connsiteX140" fmla="*/ 457875 w 1293444"/>
              <a:gd name="connsiteY140" fmla="*/ 1641475 h 1704975"/>
              <a:gd name="connsiteX141" fmla="*/ 448350 w 1293444"/>
              <a:gd name="connsiteY141" fmla="*/ 1635125 h 1704975"/>
              <a:gd name="connsiteX142" fmla="*/ 445175 w 1293444"/>
              <a:gd name="connsiteY142" fmla="*/ 1625600 h 1704975"/>
              <a:gd name="connsiteX143" fmla="*/ 435650 w 1293444"/>
              <a:gd name="connsiteY143" fmla="*/ 1606550 h 1704975"/>
              <a:gd name="connsiteX144" fmla="*/ 432475 w 1293444"/>
              <a:gd name="connsiteY144" fmla="*/ 1495425 h 1704975"/>
              <a:gd name="connsiteX145" fmla="*/ 429300 w 1293444"/>
              <a:gd name="connsiteY145" fmla="*/ 1485900 h 1704975"/>
              <a:gd name="connsiteX146" fmla="*/ 426125 w 1293444"/>
              <a:gd name="connsiteY146" fmla="*/ 1473200 h 1704975"/>
              <a:gd name="connsiteX147" fmla="*/ 419775 w 1293444"/>
              <a:gd name="connsiteY147" fmla="*/ 1463675 h 1704975"/>
              <a:gd name="connsiteX148" fmla="*/ 416600 w 1293444"/>
              <a:gd name="connsiteY148" fmla="*/ 1454150 h 1704975"/>
              <a:gd name="connsiteX149" fmla="*/ 403900 w 1293444"/>
              <a:gd name="connsiteY149" fmla="*/ 1435100 h 1704975"/>
              <a:gd name="connsiteX150" fmla="*/ 397550 w 1293444"/>
              <a:gd name="connsiteY150" fmla="*/ 1416050 h 1704975"/>
              <a:gd name="connsiteX151" fmla="*/ 394375 w 1293444"/>
              <a:gd name="connsiteY151" fmla="*/ 1381125 h 1704975"/>
              <a:gd name="connsiteX152" fmla="*/ 391200 w 1293444"/>
              <a:gd name="connsiteY152" fmla="*/ 1368425 h 1704975"/>
              <a:gd name="connsiteX153" fmla="*/ 388025 w 1293444"/>
              <a:gd name="connsiteY153" fmla="*/ 1352550 h 1704975"/>
              <a:gd name="connsiteX154" fmla="*/ 381675 w 1293444"/>
              <a:gd name="connsiteY154" fmla="*/ 1333500 h 1704975"/>
              <a:gd name="connsiteX155" fmla="*/ 378500 w 1293444"/>
              <a:gd name="connsiteY155" fmla="*/ 1323975 h 1704975"/>
              <a:gd name="connsiteX156" fmla="*/ 375325 w 1293444"/>
              <a:gd name="connsiteY156" fmla="*/ 1308100 h 1704975"/>
              <a:gd name="connsiteX157" fmla="*/ 368975 w 1293444"/>
              <a:gd name="connsiteY157" fmla="*/ 1289050 h 1704975"/>
              <a:gd name="connsiteX158" fmla="*/ 362625 w 1293444"/>
              <a:gd name="connsiteY158" fmla="*/ 1260475 h 1704975"/>
              <a:gd name="connsiteX159" fmla="*/ 359450 w 1293444"/>
              <a:gd name="connsiteY159" fmla="*/ 1231900 h 1704975"/>
              <a:gd name="connsiteX160" fmla="*/ 349925 w 1293444"/>
              <a:gd name="connsiteY160" fmla="*/ 1196975 h 1704975"/>
              <a:gd name="connsiteX161" fmla="*/ 340400 w 1293444"/>
              <a:gd name="connsiteY161" fmla="*/ 1155700 h 1704975"/>
              <a:gd name="connsiteX162" fmla="*/ 334050 w 1293444"/>
              <a:gd name="connsiteY162" fmla="*/ 1130300 h 1704975"/>
              <a:gd name="connsiteX163" fmla="*/ 327700 w 1293444"/>
              <a:gd name="connsiteY163" fmla="*/ 1104900 h 1704975"/>
              <a:gd name="connsiteX164" fmla="*/ 324525 w 1293444"/>
              <a:gd name="connsiteY164" fmla="*/ 1092200 h 1704975"/>
              <a:gd name="connsiteX165" fmla="*/ 318175 w 1293444"/>
              <a:gd name="connsiteY165" fmla="*/ 1050925 h 1704975"/>
              <a:gd name="connsiteX166" fmla="*/ 315000 w 1293444"/>
              <a:gd name="connsiteY166" fmla="*/ 1031875 h 1704975"/>
              <a:gd name="connsiteX167" fmla="*/ 311825 w 1293444"/>
              <a:gd name="connsiteY167" fmla="*/ 1022350 h 1704975"/>
              <a:gd name="connsiteX168" fmla="*/ 308650 w 1293444"/>
              <a:gd name="connsiteY168" fmla="*/ 1006475 h 1704975"/>
              <a:gd name="connsiteX169" fmla="*/ 302300 w 1293444"/>
              <a:gd name="connsiteY169" fmla="*/ 987425 h 1704975"/>
              <a:gd name="connsiteX170" fmla="*/ 299125 w 1293444"/>
              <a:gd name="connsiteY170" fmla="*/ 974725 h 1704975"/>
              <a:gd name="connsiteX171" fmla="*/ 292775 w 1293444"/>
              <a:gd name="connsiteY171" fmla="*/ 955675 h 1704975"/>
              <a:gd name="connsiteX172" fmla="*/ 289600 w 1293444"/>
              <a:gd name="connsiteY172" fmla="*/ 946150 h 1704975"/>
              <a:gd name="connsiteX173" fmla="*/ 280075 w 1293444"/>
              <a:gd name="connsiteY173" fmla="*/ 923925 h 1704975"/>
              <a:gd name="connsiteX174" fmla="*/ 261025 w 1293444"/>
              <a:gd name="connsiteY174" fmla="*/ 908050 h 1704975"/>
              <a:gd name="connsiteX175" fmla="*/ 241975 w 1293444"/>
              <a:gd name="connsiteY175" fmla="*/ 901700 h 1704975"/>
              <a:gd name="connsiteX176" fmla="*/ 222925 w 1293444"/>
              <a:gd name="connsiteY176" fmla="*/ 889000 h 1704975"/>
              <a:gd name="connsiteX177" fmla="*/ 213400 w 1293444"/>
              <a:gd name="connsiteY177" fmla="*/ 885825 h 1704975"/>
              <a:gd name="connsiteX178" fmla="*/ 194350 w 1293444"/>
              <a:gd name="connsiteY178" fmla="*/ 873125 h 1704975"/>
              <a:gd name="connsiteX179" fmla="*/ 175300 w 1293444"/>
              <a:gd name="connsiteY179" fmla="*/ 860425 h 1704975"/>
              <a:gd name="connsiteX180" fmla="*/ 162600 w 1293444"/>
              <a:gd name="connsiteY180" fmla="*/ 850900 h 1704975"/>
              <a:gd name="connsiteX181" fmla="*/ 153075 w 1293444"/>
              <a:gd name="connsiteY181" fmla="*/ 847725 h 1704975"/>
              <a:gd name="connsiteX182" fmla="*/ 134025 w 1293444"/>
              <a:gd name="connsiteY182" fmla="*/ 835025 h 1704975"/>
              <a:gd name="connsiteX183" fmla="*/ 114975 w 1293444"/>
              <a:gd name="connsiteY183" fmla="*/ 822325 h 1704975"/>
              <a:gd name="connsiteX184" fmla="*/ 105450 w 1293444"/>
              <a:gd name="connsiteY184" fmla="*/ 815975 h 1704975"/>
              <a:gd name="connsiteX185" fmla="*/ 95925 w 1293444"/>
              <a:gd name="connsiteY185" fmla="*/ 812800 h 1704975"/>
              <a:gd name="connsiteX186" fmla="*/ 64175 w 1293444"/>
              <a:gd name="connsiteY186" fmla="*/ 790575 h 1704975"/>
              <a:gd name="connsiteX187" fmla="*/ 54650 w 1293444"/>
              <a:gd name="connsiteY187" fmla="*/ 787400 h 1704975"/>
              <a:gd name="connsiteX188" fmla="*/ 38775 w 1293444"/>
              <a:gd name="connsiteY188" fmla="*/ 771525 h 1704975"/>
              <a:gd name="connsiteX189" fmla="*/ 29250 w 1293444"/>
              <a:gd name="connsiteY189" fmla="*/ 762000 h 1704975"/>
              <a:gd name="connsiteX190" fmla="*/ 19725 w 1293444"/>
              <a:gd name="connsiteY190" fmla="*/ 758825 h 1704975"/>
              <a:gd name="connsiteX191" fmla="*/ 675 w 1293444"/>
              <a:gd name="connsiteY191" fmla="*/ 746125 h 1704975"/>
              <a:gd name="connsiteX192" fmla="*/ 51475 w 1293444"/>
              <a:gd name="connsiteY192" fmla="*/ 739775 h 1704975"/>
              <a:gd name="connsiteX193" fmla="*/ 67350 w 1293444"/>
              <a:gd name="connsiteY193" fmla="*/ 736600 h 1704975"/>
              <a:gd name="connsiteX194" fmla="*/ 102275 w 1293444"/>
              <a:gd name="connsiteY194" fmla="*/ 733425 h 1704975"/>
              <a:gd name="connsiteX195" fmla="*/ 130850 w 1293444"/>
              <a:gd name="connsiteY195" fmla="*/ 727075 h 1704975"/>
              <a:gd name="connsiteX196" fmla="*/ 149900 w 1293444"/>
              <a:gd name="connsiteY196" fmla="*/ 723900 h 1704975"/>
              <a:gd name="connsiteX197" fmla="*/ 159425 w 1293444"/>
              <a:gd name="connsiteY197" fmla="*/ 720725 h 1704975"/>
              <a:gd name="connsiteX198" fmla="*/ 175300 w 1293444"/>
              <a:gd name="connsiteY198" fmla="*/ 717550 h 1704975"/>
              <a:gd name="connsiteX199" fmla="*/ 194350 w 1293444"/>
              <a:gd name="connsiteY199" fmla="*/ 711200 h 1704975"/>
              <a:gd name="connsiteX200" fmla="*/ 222925 w 1293444"/>
              <a:gd name="connsiteY200" fmla="*/ 701675 h 1704975"/>
              <a:gd name="connsiteX201" fmla="*/ 232450 w 1293444"/>
              <a:gd name="connsiteY201" fmla="*/ 698500 h 1704975"/>
              <a:gd name="connsiteX202" fmla="*/ 241975 w 1293444"/>
              <a:gd name="connsiteY202" fmla="*/ 695325 h 1704975"/>
              <a:gd name="connsiteX203" fmla="*/ 381675 w 1293444"/>
              <a:gd name="connsiteY203" fmla="*/ 688975 h 1704975"/>
              <a:gd name="connsiteX204" fmla="*/ 397550 w 1293444"/>
              <a:gd name="connsiteY204" fmla="*/ 685800 h 1704975"/>
              <a:gd name="connsiteX205" fmla="*/ 407075 w 1293444"/>
              <a:gd name="connsiteY205" fmla="*/ 682625 h 1704975"/>
              <a:gd name="connsiteX206" fmla="*/ 419775 w 1293444"/>
              <a:gd name="connsiteY206" fmla="*/ 679450 h 1704975"/>
              <a:gd name="connsiteX207" fmla="*/ 438825 w 1293444"/>
              <a:gd name="connsiteY207" fmla="*/ 673100 h 1704975"/>
              <a:gd name="connsiteX208" fmla="*/ 467400 w 1293444"/>
              <a:gd name="connsiteY208" fmla="*/ 663575 h 1704975"/>
              <a:gd name="connsiteX209" fmla="*/ 495975 w 1293444"/>
              <a:gd name="connsiteY209" fmla="*/ 654050 h 1704975"/>
              <a:gd name="connsiteX210" fmla="*/ 505500 w 1293444"/>
              <a:gd name="connsiteY210" fmla="*/ 650875 h 1704975"/>
              <a:gd name="connsiteX211" fmla="*/ 527725 w 1293444"/>
              <a:gd name="connsiteY211" fmla="*/ 641350 h 1704975"/>
              <a:gd name="connsiteX212" fmla="*/ 537250 w 1293444"/>
              <a:gd name="connsiteY212" fmla="*/ 635000 h 1704975"/>
              <a:gd name="connsiteX213" fmla="*/ 546775 w 1293444"/>
              <a:gd name="connsiteY213" fmla="*/ 631825 h 1704975"/>
              <a:gd name="connsiteX214" fmla="*/ 559475 w 1293444"/>
              <a:gd name="connsiteY214" fmla="*/ 625475 h 1704975"/>
              <a:gd name="connsiteX215" fmla="*/ 578525 w 1293444"/>
              <a:gd name="connsiteY215" fmla="*/ 657225 h 1704975"/>
              <a:gd name="connsiteX216" fmla="*/ 588050 w 1293444"/>
              <a:gd name="connsiteY216" fmla="*/ 660400 h 1704975"/>
              <a:gd name="connsiteX217" fmla="*/ 607100 w 1293444"/>
              <a:gd name="connsiteY217" fmla="*/ 673100 h 1704975"/>
              <a:gd name="connsiteX218" fmla="*/ 626150 w 1293444"/>
              <a:gd name="connsiteY218" fmla="*/ 679450 h 1704975"/>
              <a:gd name="connsiteX219" fmla="*/ 635675 w 1293444"/>
              <a:gd name="connsiteY219" fmla="*/ 685800 h 1704975"/>
              <a:gd name="connsiteX220" fmla="*/ 654725 w 1293444"/>
              <a:gd name="connsiteY220" fmla="*/ 692150 h 1704975"/>
              <a:gd name="connsiteX221" fmla="*/ 645200 w 1293444"/>
              <a:gd name="connsiteY221" fmla="*/ 682625 h 1704975"/>
              <a:gd name="connsiteX222" fmla="*/ 635675 w 1293444"/>
              <a:gd name="connsiteY222" fmla="*/ 676275 h 1704975"/>
              <a:gd name="connsiteX223" fmla="*/ 632500 w 1293444"/>
              <a:gd name="connsiteY223" fmla="*/ 666750 h 1704975"/>
              <a:gd name="connsiteX224" fmla="*/ 635675 w 1293444"/>
              <a:gd name="connsiteY224" fmla="*/ 590550 h 1704975"/>
              <a:gd name="connsiteX225" fmla="*/ 642025 w 1293444"/>
              <a:gd name="connsiteY225" fmla="*/ 571500 h 1704975"/>
              <a:gd name="connsiteX226" fmla="*/ 648375 w 1293444"/>
              <a:gd name="connsiteY226" fmla="*/ 561975 h 1704975"/>
              <a:gd name="connsiteX227" fmla="*/ 638850 w 1293444"/>
              <a:gd name="connsiteY227" fmla="*/ 536575 h 1704975"/>
              <a:gd name="connsiteX228" fmla="*/ 629325 w 1293444"/>
              <a:gd name="connsiteY228" fmla="*/ 533400 h 1704975"/>
              <a:gd name="connsiteX229" fmla="*/ 626150 w 1293444"/>
              <a:gd name="connsiteY229" fmla="*/ 523875 h 1704975"/>
              <a:gd name="connsiteX230" fmla="*/ 632500 w 1293444"/>
              <a:gd name="connsiteY230" fmla="*/ 498475 h 1704975"/>
              <a:gd name="connsiteX231" fmla="*/ 635675 w 1293444"/>
              <a:gd name="connsiteY231" fmla="*/ 485775 h 1704975"/>
              <a:gd name="connsiteX232" fmla="*/ 626150 w 1293444"/>
              <a:gd name="connsiteY232" fmla="*/ 463550 h 1704975"/>
              <a:gd name="connsiteX233" fmla="*/ 616625 w 1293444"/>
              <a:gd name="connsiteY233" fmla="*/ 460375 h 1704975"/>
              <a:gd name="connsiteX234" fmla="*/ 607100 w 1293444"/>
              <a:gd name="connsiteY234" fmla="*/ 454025 h 1704975"/>
              <a:gd name="connsiteX235" fmla="*/ 591225 w 1293444"/>
              <a:gd name="connsiteY235" fmla="*/ 450850 h 1704975"/>
              <a:gd name="connsiteX236" fmla="*/ 569000 w 1293444"/>
              <a:gd name="connsiteY236" fmla="*/ 441325 h 1704975"/>
              <a:gd name="connsiteX237" fmla="*/ 546775 w 1293444"/>
              <a:gd name="connsiteY237" fmla="*/ 415925 h 1704975"/>
              <a:gd name="connsiteX238" fmla="*/ 540425 w 1293444"/>
              <a:gd name="connsiteY238" fmla="*/ 406400 h 1704975"/>
              <a:gd name="connsiteX239" fmla="*/ 530900 w 1293444"/>
              <a:gd name="connsiteY239" fmla="*/ 400050 h 1704975"/>
              <a:gd name="connsiteX240" fmla="*/ 508675 w 1293444"/>
              <a:gd name="connsiteY240" fmla="*/ 374650 h 1704975"/>
              <a:gd name="connsiteX241" fmla="*/ 502325 w 1293444"/>
              <a:gd name="connsiteY241" fmla="*/ 365125 h 1704975"/>
              <a:gd name="connsiteX242" fmla="*/ 483275 w 1293444"/>
              <a:gd name="connsiteY242" fmla="*/ 346075 h 1704975"/>
              <a:gd name="connsiteX243" fmla="*/ 486450 w 1293444"/>
              <a:gd name="connsiteY243" fmla="*/ 333375 h 1704975"/>
              <a:gd name="connsiteX244" fmla="*/ 492800 w 1293444"/>
              <a:gd name="connsiteY244" fmla="*/ 314325 h 1704975"/>
              <a:gd name="connsiteX245" fmla="*/ 489625 w 1293444"/>
              <a:gd name="connsiteY245" fmla="*/ 292100 h 1704975"/>
              <a:gd name="connsiteX246" fmla="*/ 461050 w 1293444"/>
              <a:gd name="connsiteY246" fmla="*/ 266700 h 1704975"/>
              <a:gd name="connsiteX247" fmla="*/ 435650 w 1293444"/>
              <a:gd name="connsiteY247" fmla="*/ 254000 h 1704975"/>
              <a:gd name="connsiteX248" fmla="*/ 413425 w 1293444"/>
              <a:gd name="connsiteY248" fmla="*/ 238125 h 1704975"/>
              <a:gd name="connsiteX249" fmla="*/ 403900 w 1293444"/>
              <a:gd name="connsiteY249" fmla="*/ 231775 h 1704975"/>
              <a:gd name="connsiteX250" fmla="*/ 388025 w 1293444"/>
              <a:gd name="connsiteY250" fmla="*/ 212725 h 1704975"/>
              <a:gd name="connsiteX251" fmla="*/ 372150 w 1293444"/>
              <a:gd name="connsiteY251" fmla="*/ 196850 h 1704975"/>
              <a:gd name="connsiteX252" fmla="*/ 365800 w 1293444"/>
              <a:gd name="connsiteY252" fmla="*/ 177800 h 1704975"/>
              <a:gd name="connsiteX253" fmla="*/ 359450 w 1293444"/>
              <a:gd name="connsiteY253" fmla="*/ 149225 h 1704975"/>
              <a:gd name="connsiteX254" fmla="*/ 362625 w 1293444"/>
              <a:gd name="connsiteY254" fmla="*/ 114300 h 1704975"/>
              <a:gd name="connsiteX255" fmla="*/ 368975 w 1293444"/>
              <a:gd name="connsiteY255" fmla="*/ 104775 h 1704975"/>
              <a:gd name="connsiteX256" fmla="*/ 375325 w 1293444"/>
              <a:gd name="connsiteY25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3675 w 1293444"/>
              <a:gd name="connsiteY53" fmla="*/ 393700 h 1704975"/>
              <a:gd name="connsiteX54" fmla="*/ 1165900 w 1293444"/>
              <a:gd name="connsiteY54" fmla="*/ 454025 h 1704975"/>
              <a:gd name="connsiteX55" fmla="*/ 1207175 w 1293444"/>
              <a:gd name="connsiteY55" fmla="*/ 457200 h 1704975"/>
              <a:gd name="connsiteX56" fmla="*/ 1216700 w 1293444"/>
              <a:gd name="connsiteY56" fmla="*/ 463550 h 1704975"/>
              <a:gd name="connsiteX57" fmla="*/ 1270675 w 1293444"/>
              <a:gd name="connsiteY57" fmla="*/ 469900 h 1704975"/>
              <a:gd name="connsiteX58" fmla="*/ 1277025 w 1293444"/>
              <a:gd name="connsiteY58" fmla="*/ 479425 h 1704975"/>
              <a:gd name="connsiteX59" fmla="*/ 1273850 w 1293444"/>
              <a:gd name="connsiteY59" fmla="*/ 488950 h 1704975"/>
              <a:gd name="connsiteX60" fmla="*/ 1270675 w 1293444"/>
              <a:gd name="connsiteY60" fmla="*/ 511175 h 1704975"/>
              <a:gd name="connsiteX61" fmla="*/ 1264325 w 1293444"/>
              <a:gd name="connsiteY61" fmla="*/ 530225 h 1704975"/>
              <a:gd name="connsiteX62" fmla="*/ 1261150 w 1293444"/>
              <a:gd name="connsiteY62" fmla="*/ 539750 h 1704975"/>
              <a:gd name="connsiteX63" fmla="*/ 1254800 w 1293444"/>
              <a:gd name="connsiteY63" fmla="*/ 571500 h 1704975"/>
              <a:gd name="connsiteX64" fmla="*/ 1254800 w 1293444"/>
              <a:gd name="connsiteY64" fmla="*/ 692150 h 1704975"/>
              <a:gd name="connsiteX65" fmla="*/ 1257975 w 1293444"/>
              <a:gd name="connsiteY65" fmla="*/ 714375 h 1704975"/>
              <a:gd name="connsiteX66" fmla="*/ 1261150 w 1293444"/>
              <a:gd name="connsiteY66" fmla="*/ 723900 h 1704975"/>
              <a:gd name="connsiteX67" fmla="*/ 1273850 w 1293444"/>
              <a:gd name="connsiteY67" fmla="*/ 727075 h 1704975"/>
              <a:gd name="connsiteX68" fmla="*/ 1292900 w 1293444"/>
              <a:gd name="connsiteY68" fmla="*/ 739775 h 1704975"/>
              <a:gd name="connsiteX69" fmla="*/ 1289725 w 1293444"/>
              <a:gd name="connsiteY69" fmla="*/ 784225 h 1704975"/>
              <a:gd name="connsiteX70" fmla="*/ 1273850 w 1293444"/>
              <a:gd name="connsiteY70" fmla="*/ 800100 h 1704975"/>
              <a:gd name="connsiteX71" fmla="*/ 1264325 w 1293444"/>
              <a:gd name="connsiteY71" fmla="*/ 809625 h 1704975"/>
              <a:gd name="connsiteX72" fmla="*/ 1219875 w 1293444"/>
              <a:gd name="connsiteY72" fmla="*/ 819150 h 1704975"/>
              <a:gd name="connsiteX73" fmla="*/ 1200825 w 1293444"/>
              <a:gd name="connsiteY73" fmla="*/ 825500 h 1704975"/>
              <a:gd name="connsiteX74" fmla="*/ 1181775 w 1293444"/>
              <a:gd name="connsiteY74" fmla="*/ 838200 h 1704975"/>
              <a:gd name="connsiteX75" fmla="*/ 1172250 w 1293444"/>
              <a:gd name="connsiteY75" fmla="*/ 844550 h 1704975"/>
              <a:gd name="connsiteX76" fmla="*/ 1153200 w 1293444"/>
              <a:gd name="connsiteY76" fmla="*/ 850900 h 1704975"/>
              <a:gd name="connsiteX77" fmla="*/ 1140500 w 1293444"/>
              <a:gd name="connsiteY77" fmla="*/ 857250 h 1704975"/>
              <a:gd name="connsiteX78" fmla="*/ 1130975 w 1293444"/>
              <a:gd name="connsiteY78" fmla="*/ 863600 h 1704975"/>
              <a:gd name="connsiteX79" fmla="*/ 1105575 w 1293444"/>
              <a:gd name="connsiteY79" fmla="*/ 866775 h 1704975"/>
              <a:gd name="connsiteX80" fmla="*/ 1086525 w 1293444"/>
              <a:gd name="connsiteY80" fmla="*/ 873125 h 1704975"/>
              <a:gd name="connsiteX81" fmla="*/ 1077000 w 1293444"/>
              <a:gd name="connsiteY81" fmla="*/ 879475 h 1704975"/>
              <a:gd name="connsiteX82" fmla="*/ 1057950 w 1293444"/>
              <a:gd name="connsiteY82" fmla="*/ 885825 h 1704975"/>
              <a:gd name="connsiteX83" fmla="*/ 1048425 w 1293444"/>
              <a:gd name="connsiteY83" fmla="*/ 889000 h 1704975"/>
              <a:gd name="connsiteX84" fmla="*/ 1029375 w 1293444"/>
              <a:gd name="connsiteY84" fmla="*/ 908050 h 1704975"/>
              <a:gd name="connsiteX85" fmla="*/ 1010325 w 1293444"/>
              <a:gd name="connsiteY85" fmla="*/ 914400 h 1704975"/>
              <a:gd name="connsiteX86" fmla="*/ 1003975 w 1293444"/>
              <a:gd name="connsiteY86" fmla="*/ 923925 h 1704975"/>
              <a:gd name="connsiteX87" fmla="*/ 994450 w 1293444"/>
              <a:gd name="connsiteY87" fmla="*/ 933450 h 1704975"/>
              <a:gd name="connsiteX88" fmla="*/ 991275 w 1293444"/>
              <a:gd name="connsiteY88" fmla="*/ 942975 h 1704975"/>
              <a:gd name="connsiteX89" fmla="*/ 988100 w 1293444"/>
              <a:gd name="connsiteY89" fmla="*/ 962025 h 1704975"/>
              <a:gd name="connsiteX90" fmla="*/ 969050 w 1293444"/>
              <a:gd name="connsiteY90" fmla="*/ 968375 h 1704975"/>
              <a:gd name="connsiteX91" fmla="*/ 950000 w 1293444"/>
              <a:gd name="connsiteY91" fmla="*/ 981075 h 1704975"/>
              <a:gd name="connsiteX92" fmla="*/ 940475 w 1293444"/>
              <a:gd name="connsiteY92" fmla="*/ 987425 h 1704975"/>
              <a:gd name="connsiteX93" fmla="*/ 930950 w 1293444"/>
              <a:gd name="connsiteY93" fmla="*/ 1006475 h 1704975"/>
              <a:gd name="connsiteX94" fmla="*/ 924600 w 1293444"/>
              <a:gd name="connsiteY94" fmla="*/ 1016000 h 1704975"/>
              <a:gd name="connsiteX95" fmla="*/ 921425 w 1293444"/>
              <a:gd name="connsiteY95" fmla="*/ 1025525 h 1704975"/>
              <a:gd name="connsiteX96" fmla="*/ 905550 w 1293444"/>
              <a:gd name="connsiteY96" fmla="*/ 1044575 h 1704975"/>
              <a:gd name="connsiteX97" fmla="*/ 896025 w 1293444"/>
              <a:gd name="connsiteY97" fmla="*/ 1063625 h 1704975"/>
              <a:gd name="connsiteX98" fmla="*/ 867450 w 1293444"/>
              <a:gd name="connsiteY98" fmla="*/ 1085850 h 1704975"/>
              <a:gd name="connsiteX99" fmla="*/ 848400 w 1293444"/>
              <a:gd name="connsiteY99" fmla="*/ 1095375 h 1704975"/>
              <a:gd name="connsiteX100" fmla="*/ 813475 w 1293444"/>
              <a:gd name="connsiteY100" fmla="*/ 1092200 h 1704975"/>
              <a:gd name="connsiteX101" fmla="*/ 772200 w 1293444"/>
              <a:gd name="connsiteY101" fmla="*/ 1098550 h 1704975"/>
              <a:gd name="connsiteX102" fmla="*/ 759500 w 1293444"/>
              <a:gd name="connsiteY102" fmla="*/ 1127125 h 1704975"/>
              <a:gd name="connsiteX103" fmla="*/ 756325 w 1293444"/>
              <a:gd name="connsiteY103" fmla="*/ 1136650 h 1704975"/>
              <a:gd name="connsiteX104" fmla="*/ 740450 w 1293444"/>
              <a:gd name="connsiteY104" fmla="*/ 1155700 h 1704975"/>
              <a:gd name="connsiteX105" fmla="*/ 718225 w 1293444"/>
              <a:gd name="connsiteY105" fmla="*/ 1181100 h 1704975"/>
              <a:gd name="connsiteX106" fmla="*/ 721400 w 1293444"/>
              <a:gd name="connsiteY106" fmla="*/ 1238250 h 1704975"/>
              <a:gd name="connsiteX107" fmla="*/ 727750 w 1293444"/>
              <a:gd name="connsiteY107" fmla="*/ 1247775 h 1704975"/>
              <a:gd name="connsiteX108" fmla="*/ 730925 w 1293444"/>
              <a:gd name="connsiteY108" fmla="*/ 1257300 h 1704975"/>
              <a:gd name="connsiteX109" fmla="*/ 740450 w 1293444"/>
              <a:gd name="connsiteY109" fmla="*/ 1276350 h 1704975"/>
              <a:gd name="connsiteX110" fmla="*/ 743625 w 1293444"/>
              <a:gd name="connsiteY110" fmla="*/ 1320800 h 1704975"/>
              <a:gd name="connsiteX111" fmla="*/ 746800 w 1293444"/>
              <a:gd name="connsiteY111" fmla="*/ 1330325 h 1704975"/>
              <a:gd name="connsiteX112" fmla="*/ 756325 w 1293444"/>
              <a:gd name="connsiteY112" fmla="*/ 1336675 h 1704975"/>
              <a:gd name="connsiteX113" fmla="*/ 762675 w 1293444"/>
              <a:gd name="connsiteY113" fmla="*/ 1346200 h 1704975"/>
              <a:gd name="connsiteX114" fmla="*/ 769025 w 1293444"/>
              <a:gd name="connsiteY114" fmla="*/ 1393825 h 1704975"/>
              <a:gd name="connsiteX115" fmla="*/ 775375 w 1293444"/>
              <a:gd name="connsiteY115" fmla="*/ 1412875 h 1704975"/>
              <a:gd name="connsiteX116" fmla="*/ 781725 w 1293444"/>
              <a:gd name="connsiteY116" fmla="*/ 1435100 h 1704975"/>
              <a:gd name="connsiteX117" fmla="*/ 772200 w 1293444"/>
              <a:gd name="connsiteY117" fmla="*/ 1460500 h 1704975"/>
              <a:gd name="connsiteX118" fmla="*/ 762675 w 1293444"/>
              <a:gd name="connsiteY118" fmla="*/ 1466850 h 1704975"/>
              <a:gd name="connsiteX119" fmla="*/ 753150 w 1293444"/>
              <a:gd name="connsiteY119" fmla="*/ 1485900 h 1704975"/>
              <a:gd name="connsiteX120" fmla="*/ 749975 w 1293444"/>
              <a:gd name="connsiteY120" fmla="*/ 1514475 h 1704975"/>
              <a:gd name="connsiteX121" fmla="*/ 740450 w 1293444"/>
              <a:gd name="connsiteY121" fmla="*/ 1520825 h 1704975"/>
              <a:gd name="connsiteX122" fmla="*/ 730925 w 1293444"/>
              <a:gd name="connsiteY122" fmla="*/ 1530350 h 1704975"/>
              <a:gd name="connsiteX123" fmla="*/ 718225 w 1293444"/>
              <a:gd name="connsiteY123" fmla="*/ 1549400 h 1704975"/>
              <a:gd name="connsiteX124" fmla="*/ 711875 w 1293444"/>
              <a:gd name="connsiteY124" fmla="*/ 1558925 h 1704975"/>
              <a:gd name="connsiteX125" fmla="*/ 702350 w 1293444"/>
              <a:gd name="connsiteY125" fmla="*/ 1568450 h 1704975"/>
              <a:gd name="connsiteX126" fmla="*/ 699175 w 1293444"/>
              <a:gd name="connsiteY126" fmla="*/ 1577975 h 1704975"/>
              <a:gd name="connsiteX127" fmla="*/ 686475 w 1293444"/>
              <a:gd name="connsiteY127" fmla="*/ 1597025 h 1704975"/>
              <a:gd name="connsiteX128" fmla="*/ 676950 w 1293444"/>
              <a:gd name="connsiteY128" fmla="*/ 1616075 h 1704975"/>
              <a:gd name="connsiteX129" fmla="*/ 667425 w 1293444"/>
              <a:gd name="connsiteY129" fmla="*/ 1619250 h 1704975"/>
              <a:gd name="connsiteX130" fmla="*/ 648375 w 1293444"/>
              <a:gd name="connsiteY130" fmla="*/ 1631950 h 1704975"/>
              <a:gd name="connsiteX131" fmla="*/ 638850 w 1293444"/>
              <a:gd name="connsiteY131" fmla="*/ 1638300 h 1704975"/>
              <a:gd name="connsiteX132" fmla="*/ 607100 w 1293444"/>
              <a:gd name="connsiteY132" fmla="*/ 1676400 h 1704975"/>
              <a:gd name="connsiteX133" fmla="*/ 556300 w 1293444"/>
              <a:gd name="connsiteY133" fmla="*/ 1679575 h 1704975"/>
              <a:gd name="connsiteX134" fmla="*/ 537250 w 1293444"/>
              <a:gd name="connsiteY134" fmla="*/ 1685925 h 1704975"/>
              <a:gd name="connsiteX135" fmla="*/ 515025 w 1293444"/>
              <a:gd name="connsiteY135" fmla="*/ 1698625 h 1704975"/>
              <a:gd name="connsiteX136" fmla="*/ 495975 w 1293444"/>
              <a:gd name="connsiteY136" fmla="*/ 1704975 h 1704975"/>
              <a:gd name="connsiteX137" fmla="*/ 476925 w 1293444"/>
              <a:gd name="connsiteY137" fmla="*/ 1701800 h 1704975"/>
              <a:gd name="connsiteX138" fmla="*/ 470575 w 1293444"/>
              <a:gd name="connsiteY138" fmla="*/ 1692275 h 1704975"/>
              <a:gd name="connsiteX139" fmla="*/ 467400 w 1293444"/>
              <a:gd name="connsiteY139" fmla="*/ 1660525 h 1704975"/>
              <a:gd name="connsiteX140" fmla="*/ 457875 w 1293444"/>
              <a:gd name="connsiteY140" fmla="*/ 1641475 h 1704975"/>
              <a:gd name="connsiteX141" fmla="*/ 448350 w 1293444"/>
              <a:gd name="connsiteY141" fmla="*/ 1635125 h 1704975"/>
              <a:gd name="connsiteX142" fmla="*/ 445175 w 1293444"/>
              <a:gd name="connsiteY142" fmla="*/ 1625600 h 1704975"/>
              <a:gd name="connsiteX143" fmla="*/ 435650 w 1293444"/>
              <a:gd name="connsiteY143" fmla="*/ 1606550 h 1704975"/>
              <a:gd name="connsiteX144" fmla="*/ 432475 w 1293444"/>
              <a:gd name="connsiteY144" fmla="*/ 1495425 h 1704975"/>
              <a:gd name="connsiteX145" fmla="*/ 429300 w 1293444"/>
              <a:gd name="connsiteY145" fmla="*/ 1485900 h 1704975"/>
              <a:gd name="connsiteX146" fmla="*/ 426125 w 1293444"/>
              <a:gd name="connsiteY146" fmla="*/ 1473200 h 1704975"/>
              <a:gd name="connsiteX147" fmla="*/ 419775 w 1293444"/>
              <a:gd name="connsiteY147" fmla="*/ 1463675 h 1704975"/>
              <a:gd name="connsiteX148" fmla="*/ 416600 w 1293444"/>
              <a:gd name="connsiteY148" fmla="*/ 1454150 h 1704975"/>
              <a:gd name="connsiteX149" fmla="*/ 403900 w 1293444"/>
              <a:gd name="connsiteY149" fmla="*/ 1435100 h 1704975"/>
              <a:gd name="connsiteX150" fmla="*/ 397550 w 1293444"/>
              <a:gd name="connsiteY150" fmla="*/ 1416050 h 1704975"/>
              <a:gd name="connsiteX151" fmla="*/ 394375 w 1293444"/>
              <a:gd name="connsiteY151" fmla="*/ 1381125 h 1704975"/>
              <a:gd name="connsiteX152" fmla="*/ 391200 w 1293444"/>
              <a:gd name="connsiteY152" fmla="*/ 1368425 h 1704975"/>
              <a:gd name="connsiteX153" fmla="*/ 388025 w 1293444"/>
              <a:gd name="connsiteY153" fmla="*/ 1352550 h 1704975"/>
              <a:gd name="connsiteX154" fmla="*/ 381675 w 1293444"/>
              <a:gd name="connsiteY154" fmla="*/ 1333500 h 1704975"/>
              <a:gd name="connsiteX155" fmla="*/ 378500 w 1293444"/>
              <a:gd name="connsiteY155" fmla="*/ 1323975 h 1704975"/>
              <a:gd name="connsiteX156" fmla="*/ 375325 w 1293444"/>
              <a:gd name="connsiteY156" fmla="*/ 1308100 h 1704975"/>
              <a:gd name="connsiteX157" fmla="*/ 368975 w 1293444"/>
              <a:gd name="connsiteY157" fmla="*/ 1289050 h 1704975"/>
              <a:gd name="connsiteX158" fmla="*/ 362625 w 1293444"/>
              <a:gd name="connsiteY158" fmla="*/ 1260475 h 1704975"/>
              <a:gd name="connsiteX159" fmla="*/ 359450 w 1293444"/>
              <a:gd name="connsiteY159" fmla="*/ 1231900 h 1704975"/>
              <a:gd name="connsiteX160" fmla="*/ 349925 w 1293444"/>
              <a:gd name="connsiteY160" fmla="*/ 1196975 h 1704975"/>
              <a:gd name="connsiteX161" fmla="*/ 340400 w 1293444"/>
              <a:gd name="connsiteY161" fmla="*/ 1155700 h 1704975"/>
              <a:gd name="connsiteX162" fmla="*/ 334050 w 1293444"/>
              <a:gd name="connsiteY162" fmla="*/ 1130300 h 1704975"/>
              <a:gd name="connsiteX163" fmla="*/ 327700 w 1293444"/>
              <a:gd name="connsiteY163" fmla="*/ 1104900 h 1704975"/>
              <a:gd name="connsiteX164" fmla="*/ 324525 w 1293444"/>
              <a:gd name="connsiteY164" fmla="*/ 1092200 h 1704975"/>
              <a:gd name="connsiteX165" fmla="*/ 318175 w 1293444"/>
              <a:gd name="connsiteY165" fmla="*/ 1050925 h 1704975"/>
              <a:gd name="connsiteX166" fmla="*/ 315000 w 1293444"/>
              <a:gd name="connsiteY166" fmla="*/ 1031875 h 1704975"/>
              <a:gd name="connsiteX167" fmla="*/ 311825 w 1293444"/>
              <a:gd name="connsiteY167" fmla="*/ 1022350 h 1704975"/>
              <a:gd name="connsiteX168" fmla="*/ 308650 w 1293444"/>
              <a:gd name="connsiteY168" fmla="*/ 1006475 h 1704975"/>
              <a:gd name="connsiteX169" fmla="*/ 302300 w 1293444"/>
              <a:gd name="connsiteY169" fmla="*/ 987425 h 1704975"/>
              <a:gd name="connsiteX170" fmla="*/ 299125 w 1293444"/>
              <a:gd name="connsiteY170" fmla="*/ 974725 h 1704975"/>
              <a:gd name="connsiteX171" fmla="*/ 292775 w 1293444"/>
              <a:gd name="connsiteY171" fmla="*/ 955675 h 1704975"/>
              <a:gd name="connsiteX172" fmla="*/ 289600 w 1293444"/>
              <a:gd name="connsiteY172" fmla="*/ 946150 h 1704975"/>
              <a:gd name="connsiteX173" fmla="*/ 280075 w 1293444"/>
              <a:gd name="connsiteY173" fmla="*/ 923925 h 1704975"/>
              <a:gd name="connsiteX174" fmla="*/ 261025 w 1293444"/>
              <a:gd name="connsiteY174" fmla="*/ 908050 h 1704975"/>
              <a:gd name="connsiteX175" fmla="*/ 241975 w 1293444"/>
              <a:gd name="connsiteY175" fmla="*/ 901700 h 1704975"/>
              <a:gd name="connsiteX176" fmla="*/ 222925 w 1293444"/>
              <a:gd name="connsiteY176" fmla="*/ 889000 h 1704975"/>
              <a:gd name="connsiteX177" fmla="*/ 213400 w 1293444"/>
              <a:gd name="connsiteY177" fmla="*/ 885825 h 1704975"/>
              <a:gd name="connsiteX178" fmla="*/ 194350 w 1293444"/>
              <a:gd name="connsiteY178" fmla="*/ 873125 h 1704975"/>
              <a:gd name="connsiteX179" fmla="*/ 175300 w 1293444"/>
              <a:gd name="connsiteY179" fmla="*/ 860425 h 1704975"/>
              <a:gd name="connsiteX180" fmla="*/ 162600 w 1293444"/>
              <a:gd name="connsiteY180" fmla="*/ 850900 h 1704975"/>
              <a:gd name="connsiteX181" fmla="*/ 153075 w 1293444"/>
              <a:gd name="connsiteY181" fmla="*/ 847725 h 1704975"/>
              <a:gd name="connsiteX182" fmla="*/ 134025 w 1293444"/>
              <a:gd name="connsiteY182" fmla="*/ 835025 h 1704975"/>
              <a:gd name="connsiteX183" fmla="*/ 114975 w 1293444"/>
              <a:gd name="connsiteY183" fmla="*/ 822325 h 1704975"/>
              <a:gd name="connsiteX184" fmla="*/ 105450 w 1293444"/>
              <a:gd name="connsiteY184" fmla="*/ 815975 h 1704975"/>
              <a:gd name="connsiteX185" fmla="*/ 95925 w 1293444"/>
              <a:gd name="connsiteY185" fmla="*/ 812800 h 1704975"/>
              <a:gd name="connsiteX186" fmla="*/ 64175 w 1293444"/>
              <a:gd name="connsiteY186" fmla="*/ 790575 h 1704975"/>
              <a:gd name="connsiteX187" fmla="*/ 54650 w 1293444"/>
              <a:gd name="connsiteY187" fmla="*/ 787400 h 1704975"/>
              <a:gd name="connsiteX188" fmla="*/ 38775 w 1293444"/>
              <a:gd name="connsiteY188" fmla="*/ 771525 h 1704975"/>
              <a:gd name="connsiteX189" fmla="*/ 29250 w 1293444"/>
              <a:gd name="connsiteY189" fmla="*/ 762000 h 1704975"/>
              <a:gd name="connsiteX190" fmla="*/ 19725 w 1293444"/>
              <a:gd name="connsiteY190" fmla="*/ 758825 h 1704975"/>
              <a:gd name="connsiteX191" fmla="*/ 675 w 1293444"/>
              <a:gd name="connsiteY191" fmla="*/ 746125 h 1704975"/>
              <a:gd name="connsiteX192" fmla="*/ 51475 w 1293444"/>
              <a:gd name="connsiteY192" fmla="*/ 739775 h 1704975"/>
              <a:gd name="connsiteX193" fmla="*/ 67350 w 1293444"/>
              <a:gd name="connsiteY193" fmla="*/ 736600 h 1704975"/>
              <a:gd name="connsiteX194" fmla="*/ 102275 w 1293444"/>
              <a:gd name="connsiteY194" fmla="*/ 733425 h 1704975"/>
              <a:gd name="connsiteX195" fmla="*/ 130850 w 1293444"/>
              <a:gd name="connsiteY195" fmla="*/ 727075 h 1704975"/>
              <a:gd name="connsiteX196" fmla="*/ 149900 w 1293444"/>
              <a:gd name="connsiteY196" fmla="*/ 723900 h 1704975"/>
              <a:gd name="connsiteX197" fmla="*/ 159425 w 1293444"/>
              <a:gd name="connsiteY197" fmla="*/ 720725 h 1704975"/>
              <a:gd name="connsiteX198" fmla="*/ 175300 w 1293444"/>
              <a:gd name="connsiteY198" fmla="*/ 717550 h 1704975"/>
              <a:gd name="connsiteX199" fmla="*/ 194350 w 1293444"/>
              <a:gd name="connsiteY199" fmla="*/ 711200 h 1704975"/>
              <a:gd name="connsiteX200" fmla="*/ 222925 w 1293444"/>
              <a:gd name="connsiteY200" fmla="*/ 701675 h 1704975"/>
              <a:gd name="connsiteX201" fmla="*/ 232450 w 1293444"/>
              <a:gd name="connsiteY201" fmla="*/ 698500 h 1704975"/>
              <a:gd name="connsiteX202" fmla="*/ 241975 w 1293444"/>
              <a:gd name="connsiteY202" fmla="*/ 695325 h 1704975"/>
              <a:gd name="connsiteX203" fmla="*/ 381675 w 1293444"/>
              <a:gd name="connsiteY203" fmla="*/ 688975 h 1704975"/>
              <a:gd name="connsiteX204" fmla="*/ 397550 w 1293444"/>
              <a:gd name="connsiteY204" fmla="*/ 685800 h 1704975"/>
              <a:gd name="connsiteX205" fmla="*/ 407075 w 1293444"/>
              <a:gd name="connsiteY205" fmla="*/ 682625 h 1704975"/>
              <a:gd name="connsiteX206" fmla="*/ 419775 w 1293444"/>
              <a:gd name="connsiteY206" fmla="*/ 679450 h 1704975"/>
              <a:gd name="connsiteX207" fmla="*/ 438825 w 1293444"/>
              <a:gd name="connsiteY207" fmla="*/ 673100 h 1704975"/>
              <a:gd name="connsiteX208" fmla="*/ 467400 w 1293444"/>
              <a:gd name="connsiteY208" fmla="*/ 663575 h 1704975"/>
              <a:gd name="connsiteX209" fmla="*/ 495975 w 1293444"/>
              <a:gd name="connsiteY209" fmla="*/ 654050 h 1704975"/>
              <a:gd name="connsiteX210" fmla="*/ 505500 w 1293444"/>
              <a:gd name="connsiteY210" fmla="*/ 650875 h 1704975"/>
              <a:gd name="connsiteX211" fmla="*/ 527725 w 1293444"/>
              <a:gd name="connsiteY211" fmla="*/ 641350 h 1704975"/>
              <a:gd name="connsiteX212" fmla="*/ 537250 w 1293444"/>
              <a:gd name="connsiteY212" fmla="*/ 635000 h 1704975"/>
              <a:gd name="connsiteX213" fmla="*/ 546775 w 1293444"/>
              <a:gd name="connsiteY213" fmla="*/ 631825 h 1704975"/>
              <a:gd name="connsiteX214" fmla="*/ 559475 w 1293444"/>
              <a:gd name="connsiteY214" fmla="*/ 625475 h 1704975"/>
              <a:gd name="connsiteX215" fmla="*/ 578525 w 1293444"/>
              <a:gd name="connsiteY215" fmla="*/ 657225 h 1704975"/>
              <a:gd name="connsiteX216" fmla="*/ 588050 w 1293444"/>
              <a:gd name="connsiteY216" fmla="*/ 660400 h 1704975"/>
              <a:gd name="connsiteX217" fmla="*/ 607100 w 1293444"/>
              <a:gd name="connsiteY217" fmla="*/ 673100 h 1704975"/>
              <a:gd name="connsiteX218" fmla="*/ 626150 w 1293444"/>
              <a:gd name="connsiteY218" fmla="*/ 679450 h 1704975"/>
              <a:gd name="connsiteX219" fmla="*/ 635675 w 1293444"/>
              <a:gd name="connsiteY219" fmla="*/ 685800 h 1704975"/>
              <a:gd name="connsiteX220" fmla="*/ 654725 w 1293444"/>
              <a:gd name="connsiteY220" fmla="*/ 692150 h 1704975"/>
              <a:gd name="connsiteX221" fmla="*/ 645200 w 1293444"/>
              <a:gd name="connsiteY221" fmla="*/ 682625 h 1704975"/>
              <a:gd name="connsiteX222" fmla="*/ 635675 w 1293444"/>
              <a:gd name="connsiteY222" fmla="*/ 676275 h 1704975"/>
              <a:gd name="connsiteX223" fmla="*/ 632500 w 1293444"/>
              <a:gd name="connsiteY223" fmla="*/ 666750 h 1704975"/>
              <a:gd name="connsiteX224" fmla="*/ 635675 w 1293444"/>
              <a:gd name="connsiteY224" fmla="*/ 590550 h 1704975"/>
              <a:gd name="connsiteX225" fmla="*/ 642025 w 1293444"/>
              <a:gd name="connsiteY225" fmla="*/ 571500 h 1704975"/>
              <a:gd name="connsiteX226" fmla="*/ 648375 w 1293444"/>
              <a:gd name="connsiteY226" fmla="*/ 561975 h 1704975"/>
              <a:gd name="connsiteX227" fmla="*/ 638850 w 1293444"/>
              <a:gd name="connsiteY227" fmla="*/ 536575 h 1704975"/>
              <a:gd name="connsiteX228" fmla="*/ 629325 w 1293444"/>
              <a:gd name="connsiteY228" fmla="*/ 533400 h 1704975"/>
              <a:gd name="connsiteX229" fmla="*/ 626150 w 1293444"/>
              <a:gd name="connsiteY229" fmla="*/ 523875 h 1704975"/>
              <a:gd name="connsiteX230" fmla="*/ 632500 w 1293444"/>
              <a:gd name="connsiteY230" fmla="*/ 498475 h 1704975"/>
              <a:gd name="connsiteX231" fmla="*/ 635675 w 1293444"/>
              <a:gd name="connsiteY231" fmla="*/ 485775 h 1704975"/>
              <a:gd name="connsiteX232" fmla="*/ 626150 w 1293444"/>
              <a:gd name="connsiteY232" fmla="*/ 463550 h 1704975"/>
              <a:gd name="connsiteX233" fmla="*/ 616625 w 1293444"/>
              <a:gd name="connsiteY233" fmla="*/ 460375 h 1704975"/>
              <a:gd name="connsiteX234" fmla="*/ 607100 w 1293444"/>
              <a:gd name="connsiteY234" fmla="*/ 454025 h 1704975"/>
              <a:gd name="connsiteX235" fmla="*/ 591225 w 1293444"/>
              <a:gd name="connsiteY235" fmla="*/ 450850 h 1704975"/>
              <a:gd name="connsiteX236" fmla="*/ 569000 w 1293444"/>
              <a:gd name="connsiteY236" fmla="*/ 441325 h 1704975"/>
              <a:gd name="connsiteX237" fmla="*/ 546775 w 1293444"/>
              <a:gd name="connsiteY237" fmla="*/ 415925 h 1704975"/>
              <a:gd name="connsiteX238" fmla="*/ 540425 w 1293444"/>
              <a:gd name="connsiteY238" fmla="*/ 406400 h 1704975"/>
              <a:gd name="connsiteX239" fmla="*/ 530900 w 1293444"/>
              <a:gd name="connsiteY239" fmla="*/ 400050 h 1704975"/>
              <a:gd name="connsiteX240" fmla="*/ 508675 w 1293444"/>
              <a:gd name="connsiteY240" fmla="*/ 374650 h 1704975"/>
              <a:gd name="connsiteX241" fmla="*/ 502325 w 1293444"/>
              <a:gd name="connsiteY241" fmla="*/ 365125 h 1704975"/>
              <a:gd name="connsiteX242" fmla="*/ 483275 w 1293444"/>
              <a:gd name="connsiteY242" fmla="*/ 346075 h 1704975"/>
              <a:gd name="connsiteX243" fmla="*/ 486450 w 1293444"/>
              <a:gd name="connsiteY243" fmla="*/ 333375 h 1704975"/>
              <a:gd name="connsiteX244" fmla="*/ 492800 w 1293444"/>
              <a:gd name="connsiteY244" fmla="*/ 314325 h 1704975"/>
              <a:gd name="connsiteX245" fmla="*/ 489625 w 1293444"/>
              <a:gd name="connsiteY245" fmla="*/ 292100 h 1704975"/>
              <a:gd name="connsiteX246" fmla="*/ 461050 w 1293444"/>
              <a:gd name="connsiteY246" fmla="*/ 266700 h 1704975"/>
              <a:gd name="connsiteX247" fmla="*/ 435650 w 1293444"/>
              <a:gd name="connsiteY247" fmla="*/ 254000 h 1704975"/>
              <a:gd name="connsiteX248" fmla="*/ 413425 w 1293444"/>
              <a:gd name="connsiteY248" fmla="*/ 238125 h 1704975"/>
              <a:gd name="connsiteX249" fmla="*/ 403900 w 1293444"/>
              <a:gd name="connsiteY249" fmla="*/ 231775 h 1704975"/>
              <a:gd name="connsiteX250" fmla="*/ 388025 w 1293444"/>
              <a:gd name="connsiteY250" fmla="*/ 212725 h 1704975"/>
              <a:gd name="connsiteX251" fmla="*/ 372150 w 1293444"/>
              <a:gd name="connsiteY251" fmla="*/ 196850 h 1704975"/>
              <a:gd name="connsiteX252" fmla="*/ 365800 w 1293444"/>
              <a:gd name="connsiteY252" fmla="*/ 177800 h 1704975"/>
              <a:gd name="connsiteX253" fmla="*/ 359450 w 1293444"/>
              <a:gd name="connsiteY253" fmla="*/ 149225 h 1704975"/>
              <a:gd name="connsiteX254" fmla="*/ 362625 w 1293444"/>
              <a:gd name="connsiteY254" fmla="*/ 114300 h 1704975"/>
              <a:gd name="connsiteX255" fmla="*/ 368975 w 1293444"/>
              <a:gd name="connsiteY255" fmla="*/ 104775 h 1704975"/>
              <a:gd name="connsiteX256" fmla="*/ 375325 w 1293444"/>
              <a:gd name="connsiteY25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3675 w 1293444"/>
              <a:gd name="connsiteY53" fmla="*/ 393700 h 1704975"/>
              <a:gd name="connsiteX54" fmla="*/ 1134150 w 1293444"/>
              <a:gd name="connsiteY54" fmla="*/ 396875 h 1704975"/>
              <a:gd name="connsiteX55" fmla="*/ 1165900 w 1293444"/>
              <a:gd name="connsiteY55" fmla="*/ 454025 h 1704975"/>
              <a:gd name="connsiteX56" fmla="*/ 1207175 w 1293444"/>
              <a:gd name="connsiteY56" fmla="*/ 457200 h 1704975"/>
              <a:gd name="connsiteX57" fmla="*/ 1216700 w 1293444"/>
              <a:gd name="connsiteY57" fmla="*/ 463550 h 1704975"/>
              <a:gd name="connsiteX58" fmla="*/ 1270675 w 1293444"/>
              <a:gd name="connsiteY58" fmla="*/ 469900 h 1704975"/>
              <a:gd name="connsiteX59" fmla="*/ 1277025 w 1293444"/>
              <a:gd name="connsiteY59" fmla="*/ 479425 h 1704975"/>
              <a:gd name="connsiteX60" fmla="*/ 1273850 w 1293444"/>
              <a:gd name="connsiteY60" fmla="*/ 488950 h 1704975"/>
              <a:gd name="connsiteX61" fmla="*/ 1270675 w 1293444"/>
              <a:gd name="connsiteY61" fmla="*/ 511175 h 1704975"/>
              <a:gd name="connsiteX62" fmla="*/ 1264325 w 1293444"/>
              <a:gd name="connsiteY62" fmla="*/ 530225 h 1704975"/>
              <a:gd name="connsiteX63" fmla="*/ 1261150 w 1293444"/>
              <a:gd name="connsiteY63" fmla="*/ 539750 h 1704975"/>
              <a:gd name="connsiteX64" fmla="*/ 1254800 w 1293444"/>
              <a:gd name="connsiteY64" fmla="*/ 571500 h 1704975"/>
              <a:gd name="connsiteX65" fmla="*/ 1254800 w 1293444"/>
              <a:gd name="connsiteY65" fmla="*/ 692150 h 1704975"/>
              <a:gd name="connsiteX66" fmla="*/ 1257975 w 1293444"/>
              <a:gd name="connsiteY66" fmla="*/ 714375 h 1704975"/>
              <a:gd name="connsiteX67" fmla="*/ 1261150 w 1293444"/>
              <a:gd name="connsiteY67" fmla="*/ 723900 h 1704975"/>
              <a:gd name="connsiteX68" fmla="*/ 1273850 w 1293444"/>
              <a:gd name="connsiteY68" fmla="*/ 727075 h 1704975"/>
              <a:gd name="connsiteX69" fmla="*/ 1292900 w 1293444"/>
              <a:gd name="connsiteY69" fmla="*/ 739775 h 1704975"/>
              <a:gd name="connsiteX70" fmla="*/ 1289725 w 1293444"/>
              <a:gd name="connsiteY70" fmla="*/ 784225 h 1704975"/>
              <a:gd name="connsiteX71" fmla="*/ 1273850 w 1293444"/>
              <a:gd name="connsiteY71" fmla="*/ 800100 h 1704975"/>
              <a:gd name="connsiteX72" fmla="*/ 1264325 w 1293444"/>
              <a:gd name="connsiteY72" fmla="*/ 809625 h 1704975"/>
              <a:gd name="connsiteX73" fmla="*/ 1219875 w 1293444"/>
              <a:gd name="connsiteY73" fmla="*/ 819150 h 1704975"/>
              <a:gd name="connsiteX74" fmla="*/ 1200825 w 1293444"/>
              <a:gd name="connsiteY74" fmla="*/ 825500 h 1704975"/>
              <a:gd name="connsiteX75" fmla="*/ 1181775 w 1293444"/>
              <a:gd name="connsiteY75" fmla="*/ 838200 h 1704975"/>
              <a:gd name="connsiteX76" fmla="*/ 1172250 w 1293444"/>
              <a:gd name="connsiteY76" fmla="*/ 844550 h 1704975"/>
              <a:gd name="connsiteX77" fmla="*/ 1153200 w 1293444"/>
              <a:gd name="connsiteY77" fmla="*/ 850900 h 1704975"/>
              <a:gd name="connsiteX78" fmla="*/ 1140500 w 1293444"/>
              <a:gd name="connsiteY78" fmla="*/ 857250 h 1704975"/>
              <a:gd name="connsiteX79" fmla="*/ 1130975 w 1293444"/>
              <a:gd name="connsiteY79" fmla="*/ 863600 h 1704975"/>
              <a:gd name="connsiteX80" fmla="*/ 1105575 w 1293444"/>
              <a:gd name="connsiteY80" fmla="*/ 866775 h 1704975"/>
              <a:gd name="connsiteX81" fmla="*/ 1086525 w 1293444"/>
              <a:gd name="connsiteY81" fmla="*/ 873125 h 1704975"/>
              <a:gd name="connsiteX82" fmla="*/ 1077000 w 1293444"/>
              <a:gd name="connsiteY82" fmla="*/ 879475 h 1704975"/>
              <a:gd name="connsiteX83" fmla="*/ 1057950 w 1293444"/>
              <a:gd name="connsiteY83" fmla="*/ 885825 h 1704975"/>
              <a:gd name="connsiteX84" fmla="*/ 1048425 w 1293444"/>
              <a:gd name="connsiteY84" fmla="*/ 889000 h 1704975"/>
              <a:gd name="connsiteX85" fmla="*/ 1029375 w 1293444"/>
              <a:gd name="connsiteY85" fmla="*/ 908050 h 1704975"/>
              <a:gd name="connsiteX86" fmla="*/ 1010325 w 1293444"/>
              <a:gd name="connsiteY86" fmla="*/ 914400 h 1704975"/>
              <a:gd name="connsiteX87" fmla="*/ 1003975 w 1293444"/>
              <a:gd name="connsiteY87" fmla="*/ 923925 h 1704975"/>
              <a:gd name="connsiteX88" fmla="*/ 994450 w 1293444"/>
              <a:gd name="connsiteY88" fmla="*/ 933450 h 1704975"/>
              <a:gd name="connsiteX89" fmla="*/ 991275 w 1293444"/>
              <a:gd name="connsiteY89" fmla="*/ 942975 h 1704975"/>
              <a:gd name="connsiteX90" fmla="*/ 988100 w 1293444"/>
              <a:gd name="connsiteY90" fmla="*/ 962025 h 1704975"/>
              <a:gd name="connsiteX91" fmla="*/ 969050 w 1293444"/>
              <a:gd name="connsiteY91" fmla="*/ 968375 h 1704975"/>
              <a:gd name="connsiteX92" fmla="*/ 950000 w 1293444"/>
              <a:gd name="connsiteY92" fmla="*/ 981075 h 1704975"/>
              <a:gd name="connsiteX93" fmla="*/ 940475 w 1293444"/>
              <a:gd name="connsiteY93" fmla="*/ 987425 h 1704975"/>
              <a:gd name="connsiteX94" fmla="*/ 930950 w 1293444"/>
              <a:gd name="connsiteY94" fmla="*/ 1006475 h 1704975"/>
              <a:gd name="connsiteX95" fmla="*/ 924600 w 1293444"/>
              <a:gd name="connsiteY95" fmla="*/ 1016000 h 1704975"/>
              <a:gd name="connsiteX96" fmla="*/ 921425 w 1293444"/>
              <a:gd name="connsiteY96" fmla="*/ 1025525 h 1704975"/>
              <a:gd name="connsiteX97" fmla="*/ 905550 w 1293444"/>
              <a:gd name="connsiteY97" fmla="*/ 1044575 h 1704975"/>
              <a:gd name="connsiteX98" fmla="*/ 896025 w 1293444"/>
              <a:gd name="connsiteY98" fmla="*/ 1063625 h 1704975"/>
              <a:gd name="connsiteX99" fmla="*/ 867450 w 1293444"/>
              <a:gd name="connsiteY99" fmla="*/ 1085850 h 1704975"/>
              <a:gd name="connsiteX100" fmla="*/ 848400 w 1293444"/>
              <a:gd name="connsiteY100" fmla="*/ 1095375 h 1704975"/>
              <a:gd name="connsiteX101" fmla="*/ 813475 w 1293444"/>
              <a:gd name="connsiteY101" fmla="*/ 1092200 h 1704975"/>
              <a:gd name="connsiteX102" fmla="*/ 772200 w 1293444"/>
              <a:gd name="connsiteY102" fmla="*/ 1098550 h 1704975"/>
              <a:gd name="connsiteX103" fmla="*/ 759500 w 1293444"/>
              <a:gd name="connsiteY103" fmla="*/ 1127125 h 1704975"/>
              <a:gd name="connsiteX104" fmla="*/ 756325 w 1293444"/>
              <a:gd name="connsiteY104" fmla="*/ 1136650 h 1704975"/>
              <a:gd name="connsiteX105" fmla="*/ 740450 w 1293444"/>
              <a:gd name="connsiteY105" fmla="*/ 1155700 h 1704975"/>
              <a:gd name="connsiteX106" fmla="*/ 718225 w 1293444"/>
              <a:gd name="connsiteY106" fmla="*/ 1181100 h 1704975"/>
              <a:gd name="connsiteX107" fmla="*/ 721400 w 1293444"/>
              <a:gd name="connsiteY107" fmla="*/ 1238250 h 1704975"/>
              <a:gd name="connsiteX108" fmla="*/ 727750 w 1293444"/>
              <a:gd name="connsiteY108" fmla="*/ 1247775 h 1704975"/>
              <a:gd name="connsiteX109" fmla="*/ 730925 w 1293444"/>
              <a:gd name="connsiteY109" fmla="*/ 1257300 h 1704975"/>
              <a:gd name="connsiteX110" fmla="*/ 740450 w 1293444"/>
              <a:gd name="connsiteY110" fmla="*/ 1276350 h 1704975"/>
              <a:gd name="connsiteX111" fmla="*/ 743625 w 1293444"/>
              <a:gd name="connsiteY111" fmla="*/ 1320800 h 1704975"/>
              <a:gd name="connsiteX112" fmla="*/ 746800 w 1293444"/>
              <a:gd name="connsiteY112" fmla="*/ 1330325 h 1704975"/>
              <a:gd name="connsiteX113" fmla="*/ 756325 w 1293444"/>
              <a:gd name="connsiteY113" fmla="*/ 1336675 h 1704975"/>
              <a:gd name="connsiteX114" fmla="*/ 762675 w 1293444"/>
              <a:gd name="connsiteY114" fmla="*/ 1346200 h 1704975"/>
              <a:gd name="connsiteX115" fmla="*/ 769025 w 1293444"/>
              <a:gd name="connsiteY115" fmla="*/ 1393825 h 1704975"/>
              <a:gd name="connsiteX116" fmla="*/ 775375 w 1293444"/>
              <a:gd name="connsiteY116" fmla="*/ 1412875 h 1704975"/>
              <a:gd name="connsiteX117" fmla="*/ 781725 w 1293444"/>
              <a:gd name="connsiteY117" fmla="*/ 1435100 h 1704975"/>
              <a:gd name="connsiteX118" fmla="*/ 772200 w 1293444"/>
              <a:gd name="connsiteY118" fmla="*/ 1460500 h 1704975"/>
              <a:gd name="connsiteX119" fmla="*/ 762675 w 1293444"/>
              <a:gd name="connsiteY119" fmla="*/ 1466850 h 1704975"/>
              <a:gd name="connsiteX120" fmla="*/ 753150 w 1293444"/>
              <a:gd name="connsiteY120" fmla="*/ 1485900 h 1704975"/>
              <a:gd name="connsiteX121" fmla="*/ 749975 w 1293444"/>
              <a:gd name="connsiteY121" fmla="*/ 1514475 h 1704975"/>
              <a:gd name="connsiteX122" fmla="*/ 740450 w 1293444"/>
              <a:gd name="connsiteY122" fmla="*/ 1520825 h 1704975"/>
              <a:gd name="connsiteX123" fmla="*/ 730925 w 1293444"/>
              <a:gd name="connsiteY123" fmla="*/ 1530350 h 1704975"/>
              <a:gd name="connsiteX124" fmla="*/ 718225 w 1293444"/>
              <a:gd name="connsiteY124" fmla="*/ 1549400 h 1704975"/>
              <a:gd name="connsiteX125" fmla="*/ 711875 w 1293444"/>
              <a:gd name="connsiteY125" fmla="*/ 1558925 h 1704975"/>
              <a:gd name="connsiteX126" fmla="*/ 702350 w 1293444"/>
              <a:gd name="connsiteY126" fmla="*/ 1568450 h 1704975"/>
              <a:gd name="connsiteX127" fmla="*/ 699175 w 1293444"/>
              <a:gd name="connsiteY127" fmla="*/ 1577975 h 1704975"/>
              <a:gd name="connsiteX128" fmla="*/ 686475 w 1293444"/>
              <a:gd name="connsiteY128" fmla="*/ 1597025 h 1704975"/>
              <a:gd name="connsiteX129" fmla="*/ 676950 w 1293444"/>
              <a:gd name="connsiteY129" fmla="*/ 1616075 h 1704975"/>
              <a:gd name="connsiteX130" fmla="*/ 667425 w 1293444"/>
              <a:gd name="connsiteY130" fmla="*/ 1619250 h 1704975"/>
              <a:gd name="connsiteX131" fmla="*/ 648375 w 1293444"/>
              <a:gd name="connsiteY131" fmla="*/ 1631950 h 1704975"/>
              <a:gd name="connsiteX132" fmla="*/ 638850 w 1293444"/>
              <a:gd name="connsiteY132" fmla="*/ 1638300 h 1704975"/>
              <a:gd name="connsiteX133" fmla="*/ 607100 w 1293444"/>
              <a:gd name="connsiteY133" fmla="*/ 1676400 h 1704975"/>
              <a:gd name="connsiteX134" fmla="*/ 556300 w 1293444"/>
              <a:gd name="connsiteY134" fmla="*/ 1679575 h 1704975"/>
              <a:gd name="connsiteX135" fmla="*/ 537250 w 1293444"/>
              <a:gd name="connsiteY135" fmla="*/ 1685925 h 1704975"/>
              <a:gd name="connsiteX136" fmla="*/ 515025 w 1293444"/>
              <a:gd name="connsiteY136" fmla="*/ 1698625 h 1704975"/>
              <a:gd name="connsiteX137" fmla="*/ 495975 w 1293444"/>
              <a:gd name="connsiteY137" fmla="*/ 1704975 h 1704975"/>
              <a:gd name="connsiteX138" fmla="*/ 476925 w 1293444"/>
              <a:gd name="connsiteY138" fmla="*/ 1701800 h 1704975"/>
              <a:gd name="connsiteX139" fmla="*/ 470575 w 1293444"/>
              <a:gd name="connsiteY139" fmla="*/ 1692275 h 1704975"/>
              <a:gd name="connsiteX140" fmla="*/ 467400 w 1293444"/>
              <a:gd name="connsiteY140" fmla="*/ 1660525 h 1704975"/>
              <a:gd name="connsiteX141" fmla="*/ 457875 w 1293444"/>
              <a:gd name="connsiteY141" fmla="*/ 1641475 h 1704975"/>
              <a:gd name="connsiteX142" fmla="*/ 448350 w 1293444"/>
              <a:gd name="connsiteY142" fmla="*/ 1635125 h 1704975"/>
              <a:gd name="connsiteX143" fmla="*/ 445175 w 1293444"/>
              <a:gd name="connsiteY143" fmla="*/ 1625600 h 1704975"/>
              <a:gd name="connsiteX144" fmla="*/ 435650 w 1293444"/>
              <a:gd name="connsiteY144" fmla="*/ 1606550 h 1704975"/>
              <a:gd name="connsiteX145" fmla="*/ 432475 w 1293444"/>
              <a:gd name="connsiteY145" fmla="*/ 1495425 h 1704975"/>
              <a:gd name="connsiteX146" fmla="*/ 429300 w 1293444"/>
              <a:gd name="connsiteY146" fmla="*/ 1485900 h 1704975"/>
              <a:gd name="connsiteX147" fmla="*/ 426125 w 1293444"/>
              <a:gd name="connsiteY147" fmla="*/ 1473200 h 1704975"/>
              <a:gd name="connsiteX148" fmla="*/ 419775 w 1293444"/>
              <a:gd name="connsiteY148" fmla="*/ 1463675 h 1704975"/>
              <a:gd name="connsiteX149" fmla="*/ 416600 w 1293444"/>
              <a:gd name="connsiteY149" fmla="*/ 1454150 h 1704975"/>
              <a:gd name="connsiteX150" fmla="*/ 403900 w 1293444"/>
              <a:gd name="connsiteY150" fmla="*/ 1435100 h 1704975"/>
              <a:gd name="connsiteX151" fmla="*/ 397550 w 1293444"/>
              <a:gd name="connsiteY151" fmla="*/ 1416050 h 1704975"/>
              <a:gd name="connsiteX152" fmla="*/ 394375 w 1293444"/>
              <a:gd name="connsiteY152" fmla="*/ 1381125 h 1704975"/>
              <a:gd name="connsiteX153" fmla="*/ 391200 w 1293444"/>
              <a:gd name="connsiteY153" fmla="*/ 1368425 h 1704975"/>
              <a:gd name="connsiteX154" fmla="*/ 388025 w 1293444"/>
              <a:gd name="connsiteY154" fmla="*/ 1352550 h 1704975"/>
              <a:gd name="connsiteX155" fmla="*/ 381675 w 1293444"/>
              <a:gd name="connsiteY155" fmla="*/ 1333500 h 1704975"/>
              <a:gd name="connsiteX156" fmla="*/ 378500 w 1293444"/>
              <a:gd name="connsiteY156" fmla="*/ 1323975 h 1704975"/>
              <a:gd name="connsiteX157" fmla="*/ 375325 w 1293444"/>
              <a:gd name="connsiteY157" fmla="*/ 1308100 h 1704975"/>
              <a:gd name="connsiteX158" fmla="*/ 368975 w 1293444"/>
              <a:gd name="connsiteY158" fmla="*/ 1289050 h 1704975"/>
              <a:gd name="connsiteX159" fmla="*/ 362625 w 1293444"/>
              <a:gd name="connsiteY159" fmla="*/ 1260475 h 1704975"/>
              <a:gd name="connsiteX160" fmla="*/ 359450 w 1293444"/>
              <a:gd name="connsiteY160" fmla="*/ 1231900 h 1704975"/>
              <a:gd name="connsiteX161" fmla="*/ 349925 w 1293444"/>
              <a:gd name="connsiteY161" fmla="*/ 1196975 h 1704975"/>
              <a:gd name="connsiteX162" fmla="*/ 340400 w 1293444"/>
              <a:gd name="connsiteY162" fmla="*/ 1155700 h 1704975"/>
              <a:gd name="connsiteX163" fmla="*/ 334050 w 1293444"/>
              <a:gd name="connsiteY163" fmla="*/ 1130300 h 1704975"/>
              <a:gd name="connsiteX164" fmla="*/ 327700 w 1293444"/>
              <a:gd name="connsiteY164" fmla="*/ 1104900 h 1704975"/>
              <a:gd name="connsiteX165" fmla="*/ 324525 w 1293444"/>
              <a:gd name="connsiteY165" fmla="*/ 1092200 h 1704975"/>
              <a:gd name="connsiteX166" fmla="*/ 318175 w 1293444"/>
              <a:gd name="connsiteY166" fmla="*/ 1050925 h 1704975"/>
              <a:gd name="connsiteX167" fmla="*/ 315000 w 1293444"/>
              <a:gd name="connsiteY167" fmla="*/ 1031875 h 1704975"/>
              <a:gd name="connsiteX168" fmla="*/ 311825 w 1293444"/>
              <a:gd name="connsiteY168" fmla="*/ 1022350 h 1704975"/>
              <a:gd name="connsiteX169" fmla="*/ 308650 w 1293444"/>
              <a:gd name="connsiteY169" fmla="*/ 1006475 h 1704975"/>
              <a:gd name="connsiteX170" fmla="*/ 302300 w 1293444"/>
              <a:gd name="connsiteY170" fmla="*/ 987425 h 1704975"/>
              <a:gd name="connsiteX171" fmla="*/ 299125 w 1293444"/>
              <a:gd name="connsiteY171" fmla="*/ 974725 h 1704975"/>
              <a:gd name="connsiteX172" fmla="*/ 292775 w 1293444"/>
              <a:gd name="connsiteY172" fmla="*/ 955675 h 1704975"/>
              <a:gd name="connsiteX173" fmla="*/ 289600 w 1293444"/>
              <a:gd name="connsiteY173" fmla="*/ 946150 h 1704975"/>
              <a:gd name="connsiteX174" fmla="*/ 280075 w 1293444"/>
              <a:gd name="connsiteY174" fmla="*/ 923925 h 1704975"/>
              <a:gd name="connsiteX175" fmla="*/ 261025 w 1293444"/>
              <a:gd name="connsiteY175" fmla="*/ 908050 h 1704975"/>
              <a:gd name="connsiteX176" fmla="*/ 241975 w 1293444"/>
              <a:gd name="connsiteY176" fmla="*/ 901700 h 1704975"/>
              <a:gd name="connsiteX177" fmla="*/ 222925 w 1293444"/>
              <a:gd name="connsiteY177" fmla="*/ 889000 h 1704975"/>
              <a:gd name="connsiteX178" fmla="*/ 213400 w 1293444"/>
              <a:gd name="connsiteY178" fmla="*/ 885825 h 1704975"/>
              <a:gd name="connsiteX179" fmla="*/ 194350 w 1293444"/>
              <a:gd name="connsiteY179" fmla="*/ 873125 h 1704975"/>
              <a:gd name="connsiteX180" fmla="*/ 175300 w 1293444"/>
              <a:gd name="connsiteY180" fmla="*/ 860425 h 1704975"/>
              <a:gd name="connsiteX181" fmla="*/ 162600 w 1293444"/>
              <a:gd name="connsiteY181" fmla="*/ 850900 h 1704975"/>
              <a:gd name="connsiteX182" fmla="*/ 153075 w 1293444"/>
              <a:gd name="connsiteY182" fmla="*/ 847725 h 1704975"/>
              <a:gd name="connsiteX183" fmla="*/ 134025 w 1293444"/>
              <a:gd name="connsiteY183" fmla="*/ 835025 h 1704975"/>
              <a:gd name="connsiteX184" fmla="*/ 114975 w 1293444"/>
              <a:gd name="connsiteY184" fmla="*/ 822325 h 1704975"/>
              <a:gd name="connsiteX185" fmla="*/ 105450 w 1293444"/>
              <a:gd name="connsiteY185" fmla="*/ 815975 h 1704975"/>
              <a:gd name="connsiteX186" fmla="*/ 95925 w 1293444"/>
              <a:gd name="connsiteY186" fmla="*/ 812800 h 1704975"/>
              <a:gd name="connsiteX187" fmla="*/ 64175 w 1293444"/>
              <a:gd name="connsiteY187" fmla="*/ 790575 h 1704975"/>
              <a:gd name="connsiteX188" fmla="*/ 54650 w 1293444"/>
              <a:gd name="connsiteY188" fmla="*/ 787400 h 1704975"/>
              <a:gd name="connsiteX189" fmla="*/ 38775 w 1293444"/>
              <a:gd name="connsiteY189" fmla="*/ 771525 h 1704975"/>
              <a:gd name="connsiteX190" fmla="*/ 29250 w 1293444"/>
              <a:gd name="connsiteY190" fmla="*/ 762000 h 1704975"/>
              <a:gd name="connsiteX191" fmla="*/ 19725 w 1293444"/>
              <a:gd name="connsiteY191" fmla="*/ 758825 h 1704975"/>
              <a:gd name="connsiteX192" fmla="*/ 675 w 1293444"/>
              <a:gd name="connsiteY192" fmla="*/ 746125 h 1704975"/>
              <a:gd name="connsiteX193" fmla="*/ 51475 w 1293444"/>
              <a:gd name="connsiteY193" fmla="*/ 739775 h 1704975"/>
              <a:gd name="connsiteX194" fmla="*/ 67350 w 1293444"/>
              <a:gd name="connsiteY194" fmla="*/ 736600 h 1704975"/>
              <a:gd name="connsiteX195" fmla="*/ 102275 w 1293444"/>
              <a:gd name="connsiteY195" fmla="*/ 733425 h 1704975"/>
              <a:gd name="connsiteX196" fmla="*/ 130850 w 1293444"/>
              <a:gd name="connsiteY196" fmla="*/ 727075 h 1704975"/>
              <a:gd name="connsiteX197" fmla="*/ 149900 w 1293444"/>
              <a:gd name="connsiteY197" fmla="*/ 723900 h 1704975"/>
              <a:gd name="connsiteX198" fmla="*/ 159425 w 1293444"/>
              <a:gd name="connsiteY198" fmla="*/ 720725 h 1704975"/>
              <a:gd name="connsiteX199" fmla="*/ 175300 w 1293444"/>
              <a:gd name="connsiteY199" fmla="*/ 717550 h 1704975"/>
              <a:gd name="connsiteX200" fmla="*/ 194350 w 1293444"/>
              <a:gd name="connsiteY200" fmla="*/ 711200 h 1704975"/>
              <a:gd name="connsiteX201" fmla="*/ 222925 w 1293444"/>
              <a:gd name="connsiteY201" fmla="*/ 701675 h 1704975"/>
              <a:gd name="connsiteX202" fmla="*/ 232450 w 1293444"/>
              <a:gd name="connsiteY202" fmla="*/ 698500 h 1704975"/>
              <a:gd name="connsiteX203" fmla="*/ 241975 w 1293444"/>
              <a:gd name="connsiteY203" fmla="*/ 695325 h 1704975"/>
              <a:gd name="connsiteX204" fmla="*/ 381675 w 1293444"/>
              <a:gd name="connsiteY204" fmla="*/ 688975 h 1704975"/>
              <a:gd name="connsiteX205" fmla="*/ 397550 w 1293444"/>
              <a:gd name="connsiteY205" fmla="*/ 685800 h 1704975"/>
              <a:gd name="connsiteX206" fmla="*/ 407075 w 1293444"/>
              <a:gd name="connsiteY206" fmla="*/ 682625 h 1704975"/>
              <a:gd name="connsiteX207" fmla="*/ 419775 w 1293444"/>
              <a:gd name="connsiteY207" fmla="*/ 679450 h 1704975"/>
              <a:gd name="connsiteX208" fmla="*/ 438825 w 1293444"/>
              <a:gd name="connsiteY208" fmla="*/ 673100 h 1704975"/>
              <a:gd name="connsiteX209" fmla="*/ 467400 w 1293444"/>
              <a:gd name="connsiteY209" fmla="*/ 663575 h 1704975"/>
              <a:gd name="connsiteX210" fmla="*/ 495975 w 1293444"/>
              <a:gd name="connsiteY210" fmla="*/ 654050 h 1704975"/>
              <a:gd name="connsiteX211" fmla="*/ 505500 w 1293444"/>
              <a:gd name="connsiteY211" fmla="*/ 650875 h 1704975"/>
              <a:gd name="connsiteX212" fmla="*/ 527725 w 1293444"/>
              <a:gd name="connsiteY212" fmla="*/ 641350 h 1704975"/>
              <a:gd name="connsiteX213" fmla="*/ 537250 w 1293444"/>
              <a:gd name="connsiteY213" fmla="*/ 635000 h 1704975"/>
              <a:gd name="connsiteX214" fmla="*/ 546775 w 1293444"/>
              <a:gd name="connsiteY214" fmla="*/ 631825 h 1704975"/>
              <a:gd name="connsiteX215" fmla="*/ 559475 w 1293444"/>
              <a:gd name="connsiteY215" fmla="*/ 625475 h 1704975"/>
              <a:gd name="connsiteX216" fmla="*/ 578525 w 1293444"/>
              <a:gd name="connsiteY216" fmla="*/ 657225 h 1704975"/>
              <a:gd name="connsiteX217" fmla="*/ 588050 w 1293444"/>
              <a:gd name="connsiteY217" fmla="*/ 660400 h 1704975"/>
              <a:gd name="connsiteX218" fmla="*/ 607100 w 1293444"/>
              <a:gd name="connsiteY218" fmla="*/ 673100 h 1704975"/>
              <a:gd name="connsiteX219" fmla="*/ 626150 w 1293444"/>
              <a:gd name="connsiteY219" fmla="*/ 679450 h 1704975"/>
              <a:gd name="connsiteX220" fmla="*/ 635675 w 1293444"/>
              <a:gd name="connsiteY220" fmla="*/ 685800 h 1704975"/>
              <a:gd name="connsiteX221" fmla="*/ 654725 w 1293444"/>
              <a:gd name="connsiteY221" fmla="*/ 692150 h 1704975"/>
              <a:gd name="connsiteX222" fmla="*/ 645200 w 1293444"/>
              <a:gd name="connsiteY222" fmla="*/ 682625 h 1704975"/>
              <a:gd name="connsiteX223" fmla="*/ 635675 w 1293444"/>
              <a:gd name="connsiteY223" fmla="*/ 676275 h 1704975"/>
              <a:gd name="connsiteX224" fmla="*/ 632500 w 1293444"/>
              <a:gd name="connsiteY224" fmla="*/ 666750 h 1704975"/>
              <a:gd name="connsiteX225" fmla="*/ 635675 w 1293444"/>
              <a:gd name="connsiteY225" fmla="*/ 590550 h 1704975"/>
              <a:gd name="connsiteX226" fmla="*/ 642025 w 1293444"/>
              <a:gd name="connsiteY226" fmla="*/ 571500 h 1704975"/>
              <a:gd name="connsiteX227" fmla="*/ 648375 w 1293444"/>
              <a:gd name="connsiteY227" fmla="*/ 561975 h 1704975"/>
              <a:gd name="connsiteX228" fmla="*/ 638850 w 1293444"/>
              <a:gd name="connsiteY228" fmla="*/ 536575 h 1704975"/>
              <a:gd name="connsiteX229" fmla="*/ 629325 w 1293444"/>
              <a:gd name="connsiteY229" fmla="*/ 533400 h 1704975"/>
              <a:gd name="connsiteX230" fmla="*/ 626150 w 1293444"/>
              <a:gd name="connsiteY230" fmla="*/ 523875 h 1704975"/>
              <a:gd name="connsiteX231" fmla="*/ 632500 w 1293444"/>
              <a:gd name="connsiteY231" fmla="*/ 498475 h 1704975"/>
              <a:gd name="connsiteX232" fmla="*/ 635675 w 1293444"/>
              <a:gd name="connsiteY232" fmla="*/ 485775 h 1704975"/>
              <a:gd name="connsiteX233" fmla="*/ 626150 w 1293444"/>
              <a:gd name="connsiteY233" fmla="*/ 463550 h 1704975"/>
              <a:gd name="connsiteX234" fmla="*/ 616625 w 1293444"/>
              <a:gd name="connsiteY234" fmla="*/ 460375 h 1704975"/>
              <a:gd name="connsiteX235" fmla="*/ 607100 w 1293444"/>
              <a:gd name="connsiteY235" fmla="*/ 454025 h 1704975"/>
              <a:gd name="connsiteX236" fmla="*/ 591225 w 1293444"/>
              <a:gd name="connsiteY236" fmla="*/ 450850 h 1704975"/>
              <a:gd name="connsiteX237" fmla="*/ 569000 w 1293444"/>
              <a:gd name="connsiteY237" fmla="*/ 441325 h 1704975"/>
              <a:gd name="connsiteX238" fmla="*/ 546775 w 1293444"/>
              <a:gd name="connsiteY238" fmla="*/ 415925 h 1704975"/>
              <a:gd name="connsiteX239" fmla="*/ 540425 w 1293444"/>
              <a:gd name="connsiteY239" fmla="*/ 406400 h 1704975"/>
              <a:gd name="connsiteX240" fmla="*/ 530900 w 1293444"/>
              <a:gd name="connsiteY240" fmla="*/ 400050 h 1704975"/>
              <a:gd name="connsiteX241" fmla="*/ 508675 w 1293444"/>
              <a:gd name="connsiteY241" fmla="*/ 374650 h 1704975"/>
              <a:gd name="connsiteX242" fmla="*/ 502325 w 1293444"/>
              <a:gd name="connsiteY242" fmla="*/ 365125 h 1704975"/>
              <a:gd name="connsiteX243" fmla="*/ 483275 w 1293444"/>
              <a:gd name="connsiteY243" fmla="*/ 346075 h 1704975"/>
              <a:gd name="connsiteX244" fmla="*/ 486450 w 1293444"/>
              <a:gd name="connsiteY244" fmla="*/ 333375 h 1704975"/>
              <a:gd name="connsiteX245" fmla="*/ 492800 w 1293444"/>
              <a:gd name="connsiteY245" fmla="*/ 314325 h 1704975"/>
              <a:gd name="connsiteX246" fmla="*/ 489625 w 1293444"/>
              <a:gd name="connsiteY246" fmla="*/ 292100 h 1704975"/>
              <a:gd name="connsiteX247" fmla="*/ 461050 w 1293444"/>
              <a:gd name="connsiteY247" fmla="*/ 266700 h 1704975"/>
              <a:gd name="connsiteX248" fmla="*/ 435650 w 1293444"/>
              <a:gd name="connsiteY248" fmla="*/ 254000 h 1704975"/>
              <a:gd name="connsiteX249" fmla="*/ 413425 w 1293444"/>
              <a:gd name="connsiteY249" fmla="*/ 238125 h 1704975"/>
              <a:gd name="connsiteX250" fmla="*/ 403900 w 1293444"/>
              <a:gd name="connsiteY250" fmla="*/ 231775 h 1704975"/>
              <a:gd name="connsiteX251" fmla="*/ 388025 w 1293444"/>
              <a:gd name="connsiteY251" fmla="*/ 212725 h 1704975"/>
              <a:gd name="connsiteX252" fmla="*/ 372150 w 1293444"/>
              <a:gd name="connsiteY252" fmla="*/ 196850 h 1704975"/>
              <a:gd name="connsiteX253" fmla="*/ 365800 w 1293444"/>
              <a:gd name="connsiteY253" fmla="*/ 177800 h 1704975"/>
              <a:gd name="connsiteX254" fmla="*/ 359450 w 1293444"/>
              <a:gd name="connsiteY254" fmla="*/ 149225 h 1704975"/>
              <a:gd name="connsiteX255" fmla="*/ 362625 w 1293444"/>
              <a:gd name="connsiteY255" fmla="*/ 114300 h 1704975"/>
              <a:gd name="connsiteX256" fmla="*/ 368975 w 1293444"/>
              <a:gd name="connsiteY256" fmla="*/ 104775 h 1704975"/>
              <a:gd name="connsiteX257" fmla="*/ 375325 w 1293444"/>
              <a:gd name="connsiteY257"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3675 w 1293444"/>
              <a:gd name="connsiteY53" fmla="*/ 393700 h 1704975"/>
              <a:gd name="connsiteX54" fmla="*/ 1134150 w 1293444"/>
              <a:gd name="connsiteY54" fmla="*/ 396875 h 1704975"/>
              <a:gd name="connsiteX55" fmla="*/ 1165900 w 1293444"/>
              <a:gd name="connsiteY55" fmla="*/ 454025 h 1704975"/>
              <a:gd name="connsiteX56" fmla="*/ 1207175 w 1293444"/>
              <a:gd name="connsiteY56" fmla="*/ 457200 h 1704975"/>
              <a:gd name="connsiteX57" fmla="*/ 1216700 w 1293444"/>
              <a:gd name="connsiteY57" fmla="*/ 463550 h 1704975"/>
              <a:gd name="connsiteX58" fmla="*/ 1270675 w 1293444"/>
              <a:gd name="connsiteY58" fmla="*/ 469900 h 1704975"/>
              <a:gd name="connsiteX59" fmla="*/ 1277025 w 1293444"/>
              <a:gd name="connsiteY59" fmla="*/ 479425 h 1704975"/>
              <a:gd name="connsiteX60" fmla="*/ 1273850 w 1293444"/>
              <a:gd name="connsiteY60" fmla="*/ 488950 h 1704975"/>
              <a:gd name="connsiteX61" fmla="*/ 1270675 w 1293444"/>
              <a:gd name="connsiteY61" fmla="*/ 511175 h 1704975"/>
              <a:gd name="connsiteX62" fmla="*/ 1264325 w 1293444"/>
              <a:gd name="connsiteY62" fmla="*/ 530225 h 1704975"/>
              <a:gd name="connsiteX63" fmla="*/ 1261150 w 1293444"/>
              <a:gd name="connsiteY63" fmla="*/ 539750 h 1704975"/>
              <a:gd name="connsiteX64" fmla="*/ 1254800 w 1293444"/>
              <a:gd name="connsiteY64" fmla="*/ 571500 h 1704975"/>
              <a:gd name="connsiteX65" fmla="*/ 1254800 w 1293444"/>
              <a:gd name="connsiteY65" fmla="*/ 692150 h 1704975"/>
              <a:gd name="connsiteX66" fmla="*/ 1257975 w 1293444"/>
              <a:gd name="connsiteY66" fmla="*/ 714375 h 1704975"/>
              <a:gd name="connsiteX67" fmla="*/ 1261150 w 1293444"/>
              <a:gd name="connsiteY67" fmla="*/ 723900 h 1704975"/>
              <a:gd name="connsiteX68" fmla="*/ 1273850 w 1293444"/>
              <a:gd name="connsiteY68" fmla="*/ 727075 h 1704975"/>
              <a:gd name="connsiteX69" fmla="*/ 1292900 w 1293444"/>
              <a:gd name="connsiteY69" fmla="*/ 739775 h 1704975"/>
              <a:gd name="connsiteX70" fmla="*/ 1289725 w 1293444"/>
              <a:gd name="connsiteY70" fmla="*/ 784225 h 1704975"/>
              <a:gd name="connsiteX71" fmla="*/ 1273850 w 1293444"/>
              <a:gd name="connsiteY71" fmla="*/ 800100 h 1704975"/>
              <a:gd name="connsiteX72" fmla="*/ 1264325 w 1293444"/>
              <a:gd name="connsiteY72" fmla="*/ 809625 h 1704975"/>
              <a:gd name="connsiteX73" fmla="*/ 1219875 w 1293444"/>
              <a:gd name="connsiteY73" fmla="*/ 819150 h 1704975"/>
              <a:gd name="connsiteX74" fmla="*/ 1200825 w 1293444"/>
              <a:gd name="connsiteY74" fmla="*/ 825500 h 1704975"/>
              <a:gd name="connsiteX75" fmla="*/ 1181775 w 1293444"/>
              <a:gd name="connsiteY75" fmla="*/ 838200 h 1704975"/>
              <a:gd name="connsiteX76" fmla="*/ 1172250 w 1293444"/>
              <a:gd name="connsiteY76" fmla="*/ 844550 h 1704975"/>
              <a:gd name="connsiteX77" fmla="*/ 1153200 w 1293444"/>
              <a:gd name="connsiteY77" fmla="*/ 850900 h 1704975"/>
              <a:gd name="connsiteX78" fmla="*/ 1140500 w 1293444"/>
              <a:gd name="connsiteY78" fmla="*/ 857250 h 1704975"/>
              <a:gd name="connsiteX79" fmla="*/ 1130975 w 1293444"/>
              <a:gd name="connsiteY79" fmla="*/ 863600 h 1704975"/>
              <a:gd name="connsiteX80" fmla="*/ 1105575 w 1293444"/>
              <a:gd name="connsiteY80" fmla="*/ 866775 h 1704975"/>
              <a:gd name="connsiteX81" fmla="*/ 1086525 w 1293444"/>
              <a:gd name="connsiteY81" fmla="*/ 873125 h 1704975"/>
              <a:gd name="connsiteX82" fmla="*/ 1077000 w 1293444"/>
              <a:gd name="connsiteY82" fmla="*/ 879475 h 1704975"/>
              <a:gd name="connsiteX83" fmla="*/ 1057950 w 1293444"/>
              <a:gd name="connsiteY83" fmla="*/ 885825 h 1704975"/>
              <a:gd name="connsiteX84" fmla="*/ 1048425 w 1293444"/>
              <a:gd name="connsiteY84" fmla="*/ 889000 h 1704975"/>
              <a:gd name="connsiteX85" fmla="*/ 1029375 w 1293444"/>
              <a:gd name="connsiteY85" fmla="*/ 908050 h 1704975"/>
              <a:gd name="connsiteX86" fmla="*/ 1010325 w 1293444"/>
              <a:gd name="connsiteY86" fmla="*/ 914400 h 1704975"/>
              <a:gd name="connsiteX87" fmla="*/ 1003975 w 1293444"/>
              <a:gd name="connsiteY87" fmla="*/ 923925 h 1704975"/>
              <a:gd name="connsiteX88" fmla="*/ 994450 w 1293444"/>
              <a:gd name="connsiteY88" fmla="*/ 933450 h 1704975"/>
              <a:gd name="connsiteX89" fmla="*/ 991275 w 1293444"/>
              <a:gd name="connsiteY89" fmla="*/ 942975 h 1704975"/>
              <a:gd name="connsiteX90" fmla="*/ 988100 w 1293444"/>
              <a:gd name="connsiteY90" fmla="*/ 962025 h 1704975"/>
              <a:gd name="connsiteX91" fmla="*/ 969050 w 1293444"/>
              <a:gd name="connsiteY91" fmla="*/ 968375 h 1704975"/>
              <a:gd name="connsiteX92" fmla="*/ 950000 w 1293444"/>
              <a:gd name="connsiteY92" fmla="*/ 981075 h 1704975"/>
              <a:gd name="connsiteX93" fmla="*/ 940475 w 1293444"/>
              <a:gd name="connsiteY93" fmla="*/ 987425 h 1704975"/>
              <a:gd name="connsiteX94" fmla="*/ 930950 w 1293444"/>
              <a:gd name="connsiteY94" fmla="*/ 1006475 h 1704975"/>
              <a:gd name="connsiteX95" fmla="*/ 924600 w 1293444"/>
              <a:gd name="connsiteY95" fmla="*/ 1016000 h 1704975"/>
              <a:gd name="connsiteX96" fmla="*/ 921425 w 1293444"/>
              <a:gd name="connsiteY96" fmla="*/ 1025525 h 1704975"/>
              <a:gd name="connsiteX97" fmla="*/ 905550 w 1293444"/>
              <a:gd name="connsiteY97" fmla="*/ 1044575 h 1704975"/>
              <a:gd name="connsiteX98" fmla="*/ 896025 w 1293444"/>
              <a:gd name="connsiteY98" fmla="*/ 1063625 h 1704975"/>
              <a:gd name="connsiteX99" fmla="*/ 867450 w 1293444"/>
              <a:gd name="connsiteY99" fmla="*/ 1085850 h 1704975"/>
              <a:gd name="connsiteX100" fmla="*/ 848400 w 1293444"/>
              <a:gd name="connsiteY100" fmla="*/ 1095375 h 1704975"/>
              <a:gd name="connsiteX101" fmla="*/ 813475 w 1293444"/>
              <a:gd name="connsiteY101" fmla="*/ 1092200 h 1704975"/>
              <a:gd name="connsiteX102" fmla="*/ 772200 w 1293444"/>
              <a:gd name="connsiteY102" fmla="*/ 1098550 h 1704975"/>
              <a:gd name="connsiteX103" fmla="*/ 759500 w 1293444"/>
              <a:gd name="connsiteY103" fmla="*/ 1127125 h 1704975"/>
              <a:gd name="connsiteX104" fmla="*/ 756325 w 1293444"/>
              <a:gd name="connsiteY104" fmla="*/ 1136650 h 1704975"/>
              <a:gd name="connsiteX105" fmla="*/ 740450 w 1293444"/>
              <a:gd name="connsiteY105" fmla="*/ 1155700 h 1704975"/>
              <a:gd name="connsiteX106" fmla="*/ 718225 w 1293444"/>
              <a:gd name="connsiteY106" fmla="*/ 1181100 h 1704975"/>
              <a:gd name="connsiteX107" fmla="*/ 721400 w 1293444"/>
              <a:gd name="connsiteY107" fmla="*/ 1238250 h 1704975"/>
              <a:gd name="connsiteX108" fmla="*/ 727750 w 1293444"/>
              <a:gd name="connsiteY108" fmla="*/ 1247775 h 1704975"/>
              <a:gd name="connsiteX109" fmla="*/ 730925 w 1293444"/>
              <a:gd name="connsiteY109" fmla="*/ 1257300 h 1704975"/>
              <a:gd name="connsiteX110" fmla="*/ 740450 w 1293444"/>
              <a:gd name="connsiteY110" fmla="*/ 1276350 h 1704975"/>
              <a:gd name="connsiteX111" fmla="*/ 743625 w 1293444"/>
              <a:gd name="connsiteY111" fmla="*/ 1320800 h 1704975"/>
              <a:gd name="connsiteX112" fmla="*/ 746800 w 1293444"/>
              <a:gd name="connsiteY112" fmla="*/ 1330325 h 1704975"/>
              <a:gd name="connsiteX113" fmla="*/ 756325 w 1293444"/>
              <a:gd name="connsiteY113" fmla="*/ 1336675 h 1704975"/>
              <a:gd name="connsiteX114" fmla="*/ 762675 w 1293444"/>
              <a:gd name="connsiteY114" fmla="*/ 1346200 h 1704975"/>
              <a:gd name="connsiteX115" fmla="*/ 769025 w 1293444"/>
              <a:gd name="connsiteY115" fmla="*/ 1393825 h 1704975"/>
              <a:gd name="connsiteX116" fmla="*/ 775375 w 1293444"/>
              <a:gd name="connsiteY116" fmla="*/ 1412875 h 1704975"/>
              <a:gd name="connsiteX117" fmla="*/ 781725 w 1293444"/>
              <a:gd name="connsiteY117" fmla="*/ 1435100 h 1704975"/>
              <a:gd name="connsiteX118" fmla="*/ 772200 w 1293444"/>
              <a:gd name="connsiteY118" fmla="*/ 1460500 h 1704975"/>
              <a:gd name="connsiteX119" fmla="*/ 762675 w 1293444"/>
              <a:gd name="connsiteY119" fmla="*/ 1466850 h 1704975"/>
              <a:gd name="connsiteX120" fmla="*/ 753150 w 1293444"/>
              <a:gd name="connsiteY120" fmla="*/ 1485900 h 1704975"/>
              <a:gd name="connsiteX121" fmla="*/ 749975 w 1293444"/>
              <a:gd name="connsiteY121" fmla="*/ 1514475 h 1704975"/>
              <a:gd name="connsiteX122" fmla="*/ 740450 w 1293444"/>
              <a:gd name="connsiteY122" fmla="*/ 1520825 h 1704975"/>
              <a:gd name="connsiteX123" fmla="*/ 730925 w 1293444"/>
              <a:gd name="connsiteY123" fmla="*/ 1530350 h 1704975"/>
              <a:gd name="connsiteX124" fmla="*/ 718225 w 1293444"/>
              <a:gd name="connsiteY124" fmla="*/ 1549400 h 1704975"/>
              <a:gd name="connsiteX125" fmla="*/ 711875 w 1293444"/>
              <a:gd name="connsiteY125" fmla="*/ 1558925 h 1704975"/>
              <a:gd name="connsiteX126" fmla="*/ 702350 w 1293444"/>
              <a:gd name="connsiteY126" fmla="*/ 1568450 h 1704975"/>
              <a:gd name="connsiteX127" fmla="*/ 699175 w 1293444"/>
              <a:gd name="connsiteY127" fmla="*/ 1577975 h 1704975"/>
              <a:gd name="connsiteX128" fmla="*/ 686475 w 1293444"/>
              <a:gd name="connsiteY128" fmla="*/ 1597025 h 1704975"/>
              <a:gd name="connsiteX129" fmla="*/ 676950 w 1293444"/>
              <a:gd name="connsiteY129" fmla="*/ 1616075 h 1704975"/>
              <a:gd name="connsiteX130" fmla="*/ 667425 w 1293444"/>
              <a:gd name="connsiteY130" fmla="*/ 1619250 h 1704975"/>
              <a:gd name="connsiteX131" fmla="*/ 648375 w 1293444"/>
              <a:gd name="connsiteY131" fmla="*/ 1631950 h 1704975"/>
              <a:gd name="connsiteX132" fmla="*/ 638850 w 1293444"/>
              <a:gd name="connsiteY132" fmla="*/ 1638300 h 1704975"/>
              <a:gd name="connsiteX133" fmla="*/ 607100 w 1293444"/>
              <a:gd name="connsiteY133" fmla="*/ 1676400 h 1704975"/>
              <a:gd name="connsiteX134" fmla="*/ 556300 w 1293444"/>
              <a:gd name="connsiteY134" fmla="*/ 1679575 h 1704975"/>
              <a:gd name="connsiteX135" fmla="*/ 537250 w 1293444"/>
              <a:gd name="connsiteY135" fmla="*/ 1685925 h 1704975"/>
              <a:gd name="connsiteX136" fmla="*/ 515025 w 1293444"/>
              <a:gd name="connsiteY136" fmla="*/ 1698625 h 1704975"/>
              <a:gd name="connsiteX137" fmla="*/ 495975 w 1293444"/>
              <a:gd name="connsiteY137" fmla="*/ 1704975 h 1704975"/>
              <a:gd name="connsiteX138" fmla="*/ 476925 w 1293444"/>
              <a:gd name="connsiteY138" fmla="*/ 1701800 h 1704975"/>
              <a:gd name="connsiteX139" fmla="*/ 470575 w 1293444"/>
              <a:gd name="connsiteY139" fmla="*/ 1692275 h 1704975"/>
              <a:gd name="connsiteX140" fmla="*/ 467400 w 1293444"/>
              <a:gd name="connsiteY140" fmla="*/ 1660525 h 1704975"/>
              <a:gd name="connsiteX141" fmla="*/ 457875 w 1293444"/>
              <a:gd name="connsiteY141" fmla="*/ 1641475 h 1704975"/>
              <a:gd name="connsiteX142" fmla="*/ 448350 w 1293444"/>
              <a:gd name="connsiteY142" fmla="*/ 1635125 h 1704975"/>
              <a:gd name="connsiteX143" fmla="*/ 445175 w 1293444"/>
              <a:gd name="connsiteY143" fmla="*/ 1625600 h 1704975"/>
              <a:gd name="connsiteX144" fmla="*/ 435650 w 1293444"/>
              <a:gd name="connsiteY144" fmla="*/ 1606550 h 1704975"/>
              <a:gd name="connsiteX145" fmla="*/ 432475 w 1293444"/>
              <a:gd name="connsiteY145" fmla="*/ 1495425 h 1704975"/>
              <a:gd name="connsiteX146" fmla="*/ 429300 w 1293444"/>
              <a:gd name="connsiteY146" fmla="*/ 1485900 h 1704975"/>
              <a:gd name="connsiteX147" fmla="*/ 426125 w 1293444"/>
              <a:gd name="connsiteY147" fmla="*/ 1473200 h 1704975"/>
              <a:gd name="connsiteX148" fmla="*/ 419775 w 1293444"/>
              <a:gd name="connsiteY148" fmla="*/ 1463675 h 1704975"/>
              <a:gd name="connsiteX149" fmla="*/ 416600 w 1293444"/>
              <a:gd name="connsiteY149" fmla="*/ 1454150 h 1704975"/>
              <a:gd name="connsiteX150" fmla="*/ 403900 w 1293444"/>
              <a:gd name="connsiteY150" fmla="*/ 1435100 h 1704975"/>
              <a:gd name="connsiteX151" fmla="*/ 397550 w 1293444"/>
              <a:gd name="connsiteY151" fmla="*/ 1416050 h 1704975"/>
              <a:gd name="connsiteX152" fmla="*/ 394375 w 1293444"/>
              <a:gd name="connsiteY152" fmla="*/ 1381125 h 1704975"/>
              <a:gd name="connsiteX153" fmla="*/ 391200 w 1293444"/>
              <a:gd name="connsiteY153" fmla="*/ 1368425 h 1704975"/>
              <a:gd name="connsiteX154" fmla="*/ 388025 w 1293444"/>
              <a:gd name="connsiteY154" fmla="*/ 1352550 h 1704975"/>
              <a:gd name="connsiteX155" fmla="*/ 381675 w 1293444"/>
              <a:gd name="connsiteY155" fmla="*/ 1333500 h 1704975"/>
              <a:gd name="connsiteX156" fmla="*/ 378500 w 1293444"/>
              <a:gd name="connsiteY156" fmla="*/ 1323975 h 1704975"/>
              <a:gd name="connsiteX157" fmla="*/ 375325 w 1293444"/>
              <a:gd name="connsiteY157" fmla="*/ 1308100 h 1704975"/>
              <a:gd name="connsiteX158" fmla="*/ 368975 w 1293444"/>
              <a:gd name="connsiteY158" fmla="*/ 1289050 h 1704975"/>
              <a:gd name="connsiteX159" fmla="*/ 362625 w 1293444"/>
              <a:gd name="connsiteY159" fmla="*/ 1260475 h 1704975"/>
              <a:gd name="connsiteX160" fmla="*/ 359450 w 1293444"/>
              <a:gd name="connsiteY160" fmla="*/ 1231900 h 1704975"/>
              <a:gd name="connsiteX161" fmla="*/ 349925 w 1293444"/>
              <a:gd name="connsiteY161" fmla="*/ 1196975 h 1704975"/>
              <a:gd name="connsiteX162" fmla="*/ 340400 w 1293444"/>
              <a:gd name="connsiteY162" fmla="*/ 1155700 h 1704975"/>
              <a:gd name="connsiteX163" fmla="*/ 334050 w 1293444"/>
              <a:gd name="connsiteY163" fmla="*/ 1130300 h 1704975"/>
              <a:gd name="connsiteX164" fmla="*/ 327700 w 1293444"/>
              <a:gd name="connsiteY164" fmla="*/ 1104900 h 1704975"/>
              <a:gd name="connsiteX165" fmla="*/ 324525 w 1293444"/>
              <a:gd name="connsiteY165" fmla="*/ 1092200 h 1704975"/>
              <a:gd name="connsiteX166" fmla="*/ 318175 w 1293444"/>
              <a:gd name="connsiteY166" fmla="*/ 1050925 h 1704975"/>
              <a:gd name="connsiteX167" fmla="*/ 315000 w 1293444"/>
              <a:gd name="connsiteY167" fmla="*/ 1031875 h 1704975"/>
              <a:gd name="connsiteX168" fmla="*/ 311825 w 1293444"/>
              <a:gd name="connsiteY168" fmla="*/ 1022350 h 1704975"/>
              <a:gd name="connsiteX169" fmla="*/ 308650 w 1293444"/>
              <a:gd name="connsiteY169" fmla="*/ 1006475 h 1704975"/>
              <a:gd name="connsiteX170" fmla="*/ 302300 w 1293444"/>
              <a:gd name="connsiteY170" fmla="*/ 987425 h 1704975"/>
              <a:gd name="connsiteX171" fmla="*/ 299125 w 1293444"/>
              <a:gd name="connsiteY171" fmla="*/ 974725 h 1704975"/>
              <a:gd name="connsiteX172" fmla="*/ 292775 w 1293444"/>
              <a:gd name="connsiteY172" fmla="*/ 955675 h 1704975"/>
              <a:gd name="connsiteX173" fmla="*/ 289600 w 1293444"/>
              <a:gd name="connsiteY173" fmla="*/ 946150 h 1704975"/>
              <a:gd name="connsiteX174" fmla="*/ 280075 w 1293444"/>
              <a:gd name="connsiteY174" fmla="*/ 923925 h 1704975"/>
              <a:gd name="connsiteX175" fmla="*/ 261025 w 1293444"/>
              <a:gd name="connsiteY175" fmla="*/ 908050 h 1704975"/>
              <a:gd name="connsiteX176" fmla="*/ 241975 w 1293444"/>
              <a:gd name="connsiteY176" fmla="*/ 901700 h 1704975"/>
              <a:gd name="connsiteX177" fmla="*/ 222925 w 1293444"/>
              <a:gd name="connsiteY177" fmla="*/ 889000 h 1704975"/>
              <a:gd name="connsiteX178" fmla="*/ 213400 w 1293444"/>
              <a:gd name="connsiteY178" fmla="*/ 885825 h 1704975"/>
              <a:gd name="connsiteX179" fmla="*/ 194350 w 1293444"/>
              <a:gd name="connsiteY179" fmla="*/ 873125 h 1704975"/>
              <a:gd name="connsiteX180" fmla="*/ 175300 w 1293444"/>
              <a:gd name="connsiteY180" fmla="*/ 860425 h 1704975"/>
              <a:gd name="connsiteX181" fmla="*/ 162600 w 1293444"/>
              <a:gd name="connsiteY181" fmla="*/ 850900 h 1704975"/>
              <a:gd name="connsiteX182" fmla="*/ 153075 w 1293444"/>
              <a:gd name="connsiteY182" fmla="*/ 847725 h 1704975"/>
              <a:gd name="connsiteX183" fmla="*/ 134025 w 1293444"/>
              <a:gd name="connsiteY183" fmla="*/ 835025 h 1704975"/>
              <a:gd name="connsiteX184" fmla="*/ 114975 w 1293444"/>
              <a:gd name="connsiteY184" fmla="*/ 822325 h 1704975"/>
              <a:gd name="connsiteX185" fmla="*/ 105450 w 1293444"/>
              <a:gd name="connsiteY185" fmla="*/ 815975 h 1704975"/>
              <a:gd name="connsiteX186" fmla="*/ 95925 w 1293444"/>
              <a:gd name="connsiteY186" fmla="*/ 812800 h 1704975"/>
              <a:gd name="connsiteX187" fmla="*/ 64175 w 1293444"/>
              <a:gd name="connsiteY187" fmla="*/ 790575 h 1704975"/>
              <a:gd name="connsiteX188" fmla="*/ 54650 w 1293444"/>
              <a:gd name="connsiteY188" fmla="*/ 787400 h 1704975"/>
              <a:gd name="connsiteX189" fmla="*/ 38775 w 1293444"/>
              <a:gd name="connsiteY189" fmla="*/ 771525 h 1704975"/>
              <a:gd name="connsiteX190" fmla="*/ 29250 w 1293444"/>
              <a:gd name="connsiteY190" fmla="*/ 762000 h 1704975"/>
              <a:gd name="connsiteX191" fmla="*/ 19725 w 1293444"/>
              <a:gd name="connsiteY191" fmla="*/ 758825 h 1704975"/>
              <a:gd name="connsiteX192" fmla="*/ 675 w 1293444"/>
              <a:gd name="connsiteY192" fmla="*/ 746125 h 1704975"/>
              <a:gd name="connsiteX193" fmla="*/ 51475 w 1293444"/>
              <a:gd name="connsiteY193" fmla="*/ 739775 h 1704975"/>
              <a:gd name="connsiteX194" fmla="*/ 67350 w 1293444"/>
              <a:gd name="connsiteY194" fmla="*/ 736600 h 1704975"/>
              <a:gd name="connsiteX195" fmla="*/ 102275 w 1293444"/>
              <a:gd name="connsiteY195" fmla="*/ 733425 h 1704975"/>
              <a:gd name="connsiteX196" fmla="*/ 130850 w 1293444"/>
              <a:gd name="connsiteY196" fmla="*/ 727075 h 1704975"/>
              <a:gd name="connsiteX197" fmla="*/ 149900 w 1293444"/>
              <a:gd name="connsiteY197" fmla="*/ 723900 h 1704975"/>
              <a:gd name="connsiteX198" fmla="*/ 159425 w 1293444"/>
              <a:gd name="connsiteY198" fmla="*/ 720725 h 1704975"/>
              <a:gd name="connsiteX199" fmla="*/ 175300 w 1293444"/>
              <a:gd name="connsiteY199" fmla="*/ 717550 h 1704975"/>
              <a:gd name="connsiteX200" fmla="*/ 194350 w 1293444"/>
              <a:gd name="connsiteY200" fmla="*/ 711200 h 1704975"/>
              <a:gd name="connsiteX201" fmla="*/ 222925 w 1293444"/>
              <a:gd name="connsiteY201" fmla="*/ 701675 h 1704975"/>
              <a:gd name="connsiteX202" fmla="*/ 232450 w 1293444"/>
              <a:gd name="connsiteY202" fmla="*/ 698500 h 1704975"/>
              <a:gd name="connsiteX203" fmla="*/ 241975 w 1293444"/>
              <a:gd name="connsiteY203" fmla="*/ 695325 h 1704975"/>
              <a:gd name="connsiteX204" fmla="*/ 381675 w 1293444"/>
              <a:gd name="connsiteY204" fmla="*/ 688975 h 1704975"/>
              <a:gd name="connsiteX205" fmla="*/ 397550 w 1293444"/>
              <a:gd name="connsiteY205" fmla="*/ 685800 h 1704975"/>
              <a:gd name="connsiteX206" fmla="*/ 407075 w 1293444"/>
              <a:gd name="connsiteY206" fmla="*/ 682625 h 1704975"/>
              <a:gd name="connsiteX207" fmla="*/ 419775 w 1293444"/>
              <a:gd name="connsiteY207" fmla="*/ 679450 h 1704975"/>
              <a:gd name="connsiteX208" fmla="*/ 438825 w 1293444"/>
              <a:gd name="connsiteY208" fmla="*/ 673100 h 1704975"/>
              <a:gd name="connsiteX209" fmla="*/ 467400 w 1293444"/>
              <a:gd name="connsiteY209" fmla="*/ 663575 h 1704975"/>
              <a:gd name="connsiteX210" fmla="*/ 495975 w 1293444"/>
              <a:gd name="connsiteY210" fmla="*/ 654050 h 1704975"/>
              <a:gd name="connsiteX211" fmla="*/ 505500 w 1293444"/>
              <a:gd name="connsiteY211" fmla="*/ 650875 h 1704975"/>
              <a:gd name="connsiteX212" fmla="*/ 527725 w 1293444"/>
              <a:gd name="connsiteY212" fmla="*/ 641350 h 1704975"/>
              <a:gd name="connsiteX213" fmla="*/ 537250 w 1293444"/>
              <a:gd name="connsiteY213" fmla="*/ 635000 h 1704975"/>
              <a:gd name="connsiteX214" fmla="*/ 546775 w 1293444"/>
              <a:gd name="connsiteY214" fmla="*/ 631825 h 1704975"/>
              <a:gd name="connsiteX215" fmla="*/ 559475 w 1293444"/>
              <a:gd name="connsiteY215" fmla="*/ 625475 h 1704975"/>
              <a:gd name="connsiteX216" fmla="*/ 578525 w 1293444"/>
              <a:gd name="connsiteY216" fmla="*/ 657225 h 1704975"/>
              <a:gd name="connsiteX217" fmla="*/ 588050 w 1293444"/>
              <a:gd name="connsiteY217" fmla="*/ 660400 h 1704975"/>
              <a:gd name="connsiteX218" fmla="*/ 607100 w 1293444"/>
              <a:gd name="connsiteY218" fmla="*/ 673100 h 1704975"/>
              <a:gd name="connsiteX219" fmla="*/ 626150 w 1293444"/>
              <a:gd name="connsiteY219" fmla="*/ 679450 h 1704975"/>
              <a:gd name="connsiteX220" fmla="*/ 635675 w 1293444"/>
              <a:gd name="connsiteY220" fmla="*/ 685800 h 1704975"/>
              <a:gd name="connsiteX221" fmla="*/ 654725 w 1293444"/>
              <a:gd name="connsiteY221" fmla="*/ 692150 h 1704975"/>
              <a:gd name="connsiteX222" fmla="*/ 645200 w 1293444"/>
              <a:gd name="connsiteY222" fmla="*/ 682625 h 1704975"/>
              <a:gd name="connsiteX223" fmla="*/ 635675 w 1293444"/>
              <a:gd name="connsiteY223" fmla="*/ 676275 h 1704975"/>
              <a:gd name="connsiteX224" fmla="*/ 632500 w 1293444"/>
              <a:gd name="connsiteY224" fmla="*/ 666750 h 1704975"/>
              <a:gd name="connsiteX225" fmla="*/ 635675 w 1293444"/>
              <a:gd name="connsiteY225" fmla="*/ 590550 h 1704975"/>
              <a:gd name="connsiteX226" fmla="*/ 642025 w 1293444"/>
              <a:gd name="connsiteY226" fmla="*/ 571500 h 1704975"/>
              <a:gd name="connsiteX227" fmla="*/ 648375 w 1293444"/>
              <a:gd name="connsiteY227" fmla="*/ 561975 h 1704975"/>
              <a:gd name="connsiteX228" fmla="*/ 638850 w 1293444"/>
              <a:gd name="connsiteY228" fmla="*/ 536575 h 1704975"/>
              <a:gd name="connsiteX229" fmla="*/ 629325 w 1293444"/>
              <a:gd name="connsiteY229" fmla="*/ 533400 h 1704975"/>
              <a:gd name="connsiteX230" fmla="*/ 626150 w 1293444"/>
              <a:gd name="connsiteY230" fmla="*/ 523875 h 1704975"/>
              <a:gd name="connsiteX231" fmla="*/ 632500 w 1293444"/>
              <a:gd name="connsiteY231" fmla="*/ 498475 h 1704975"/>
              <a:gd name="connsiteX232" fmla="*/ 635675 w 1293444"/>
              <a:gd name="connsiteY232" fmla="*/ 485775 h 1704975"/>
              <a:gd name="connsiteX233" fmla="*/ 626150 w 1293444"/>
              <a:gd name="connsiteY233" fmla="*/ 463550 h 1704975"/>
              <a:gd name="connsiteX234" fmla="*/ 616625 w 1293444"/>
              <a:gd name="connsiteY234" fmla="*/ 460375 h 1704975"/>
              <a:gd name="connsiteX235" fmla="*/ 607100 w 1293444"/>
              <a:gd name="connsiteY235" fmla="*/ 454025 h 1704975"/>
              <a:gd name="connsiteX236" fmla="*/ 591225 w 1293444"/>
              <a:gd name="connsiteY236" fmla="*/ 450850 h 1704975"/>
              <a:gd name="connsiteX237" fmla="*/ 569000 w 1293444"/>
              <a:gd name="connsiteY237" fmla="*/ 441325 h 1704975"/>
              <a:gd name="connsiteX238" fmla="*/ 546775 w 1293444"/>
              <a:gd name="connsiteY238" fmla="*/ 415925 h 1704975"/>
              <a:gd name="connsiteX239" fmla="*/ 540425 w 1293444"/>
              <a:gd name="connsiteY239" fmla="*/ 406400 h 1704975"/>
              <a:gd name="connsiteX240" fmla="*/ 530900 w 1293444"/>
              <a:gd name="connsiteY240" fmla="*/ 400050 h 1704975"/>
              <a:gd name="connsiteX241" fmla="*/ 508675 w 1293444"/>
              <a:gd name="connsiteY241" fmla="*/ 374650 h 1704975"/>
              <a:gd name="connsiteX242" fmla="*/ 502325 w 1293444"/>
              <a:gd name="connsiteY242" fmla="*/ 365125 h 1704975"/>
              <a:gd name="connsiteX243" fmla="*/ 483275 w 1293444"/>
              <a:gd name="connsiteY243" fmla="*/ 346075 h 1704975"/>
              <a:gd name="connsiteX244" fmla="*/ 486450 w 1293444"/>
              <a:gd name="connsiteY244" fmla="*/ 333375 h 1704975"/>
              <a:gd name="connsiteX245" fmla="*/ 492800 w 1293444"/>
              <a:gd name="connsiteY245" fmla="*/ 314325 h 1704975"/>
              <a:gd name="connsiteX246" fmla="*/ 489625 w 1293444"/>
              <a:gd name="connsiteY246" fmla="*/ 292100 h 1704975"/>
              <a:gd name="connsiteX247" fmla="*/ 461050 w 1293444"/>
              <a:gd name="connsiteY247" fmla="*/ 266700 h 1704975"/>
              <a:gd name="connsiteX248" fmla="*/ 435650 w 1293444"/>
              <a:gd name="connsiteY248" fmla="*/ 254000 h 1704975"/>
              <a:gd name="connsiteX249" fmla="*/ 413425 w 1293444"/>
              <a:gd name="connsiteY249" fmla="*/ 238125 h 1704975"/>
              <a:gd name="connsiteX250" fmla="*/ 403900 w 1293444"/>
              <a:gd name="connsiteY250" fmla="*/ 231775 h 1704975"/>
              <a:gd name="connsiteX251" fmla="*/ 388025 w 1293444"/>
              <a:gd name="connsiteY251" fmla="*/ 212725 h 1704975"/>
              <a:gd name="connsiteX252" fmla="*/ 372150 w 1293444"/>
              <a:gd name="connsiteY252" fmla="*/ 196850 h 1704975"/>
              <a:gd name="connsiteX253" fmla="*/ 365800 w 1293444"/>
              <a:gd name="connsiteY253" fmla="*/ 177800 h 1704975"/>
              <a:gd name="connsiteX254" fmla="*/ 359450 w 1293444"/>
              <a:gd name="connsiteY254" fmla="*/ 149225 h 1704975"/>
              <a:gd name="connsiteX255" fmla="*/ 362625 w 1293444"/>
              <a:gd name="connsiteY255" fmla="*/ 114300 h 1704975"/>
              <a:gd name="connsiteX256" fmla="*/ 368975 w 1293444"/>
              <a:gd name="connsiteY256" fmla="*/ 104775 h 1704975"/>
              <a:gd name="connsiteX257" fmla="*/ 375325 w 1293444"/>
              <a:gd name="connsiteY257"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057881 w 1293444"/>
              <a:gd name="connsiteY53" fmla="*/ 393700 h 1704975"/>
              <a:gd name="connsiteX54" fmla="*/ 1134150 w 1293444"/>
              <a:gd name="connsiteY54" fmla="*/ 396875 h 1704975"/>
              <a:gd name="connsiteX55" fmla="*/ 1165900 w 1293444"/>
              <a:gd name="connsiteY55" fmla="*/ 454025 h 1704975"/>
              <a:gd name="connsiteX56" fmla="*/ 1207175 w 1293444"/>
              <a:gd name="connsiteY56" fmla="*/ 457200 h 1704975"/>
              <a:gd name="connsiteX57" fmla="*/ 1216700 w 1293444"/>
              <a:gd name="connsiteY57" fmla="*/ 463550 h 1704975"/>
              <a:gd name="connsiteX58" fmla="*/ 1270675 w 1293444"/>
              <a:gd name="connsiteY58" fmla="*/ 469900 h 1704975"/>
              <a:gd name="connsiteX59" fmla="*/ 1277025 w 1293444"/>
              <a:gd name="connsiteY59" fmla="*/ 479425 h 1704975"/>
              <a:gd name="connsiteX60" fmla="*/ 1273850 w 1293444"/>
              <a:gd name="connsiteY60" fmla="*/ 488950 h 1704975"/>
              <a:gd name="connsiteX61" fmla="*/ 1270675 w 1293444"/>
              <a:gd name="connsiteY61" fmla="*/ 511175 h 1704975"/>
              <a:gd name="connsiteX62" fmla="*/ 1264325 w 1293444"/>
              <a:gd name="connsiteY62" fmla="*/ 530225 h 1704975"/>
              <a:gd name="connsiteX63" fmla="*/ 1261150 w 1293444"/>
              <a:gd name="connsiteY63" fmla="*/ 539750 h 1704975"/>
              <a:gd name="connsiteX64" fmla="*/ 1254800 w 1293444"/>
              <a:gd name="connsiteY64" fmla="*/ 571500 h 1704975"/>
              <a:gd name="connsiteX65" fmla="*/ 1254800 w 1293444"/>
              <a:gd name="connsiteY65" fmla="*/ 692150 h 1704975"/>
              <a:gd name="connsiteX66" fmla="*/ 1257975 w 1293444"/>
              <a:gd name="connsiteY66" fmla="*/ 714375 h 1704975"/>
              <a:gd name="connsiteX67" fmla="*/ 1261150 w 1293444"/>
              <a:gd name="connsiteY67" fmla="*/ 723900 h 1704975"/>
              <a:gd name="connsiteX68" fmla="*/ 1273850 w 1293444"/>
              <a:gd name="connsiteY68" fmla="*/ 727075 h 1704975"/>
              <a:gd name="connsiteX69" fmla="*/ 1292900 w 1293444"/>
              <a:gd name="connsiteY69" fmla="*/ 739775 h 1704975"/>
              <a:gd name="connsiteX70" fmla="*/ 1289725 w 1293444"/>
              <a:gd name="connsiteY70" fmla="*/ 784225 h 1704975"/>
              <a:gd name="connsiteX71" fmla="*/ 1273850 w 1293444"/>
              <a:gd name="connsiteY71" fmla="*/ 800100 h 1704975"/>
              <a:gd name="connsiteX72" fmla="*/ 1264325 w 1293444"/>
              <a:gd name="connsiteY72" fmla="*/ 809625 h 1704975"/>
              <a:gd name="connsiteX73" fmla="*/ 1219875 w 1293444"/>
              <a:gd name="connsiteY73" fmla="*/ 819150 h 1704975"/>
              <a:gd name="connsiteX74" fmla="*/ 1200825 w 1293444"/>
              <a:gd name="connsiteY74" fmla="*/ 825500 h 1704975"/>
              <a:gd name="connsiteX75" fmla="*/ 1181775 w 1293444"/>
              <a:gd name="connsiteY75" fmla="*/ 838200 h 1704975"/>
              <a:gd name="connsiteX76" fmla="*/ 1172250 w 1293444"/>
              <a:gd name="connsiteY76" fmla="*/ 844550 h 1704975"/>
              <a:gd name="connsiteX77" fmla="*/ 1153200 w 1293444"/>
              <a:gd name="connsiteY77" fmla="*/ 850900 h 1704975"/>
              <a:gd name="connsiteX78" fmla="*/ 1140500 w 1293444"/>
              <a:gd name="connsiteY78" fmla="*/ 857250 h 1704975"/>
              <a:gd name="connsiteX79" fmla="*/ 1130975 w 1293444"/>
              <a:gd name="connsiteY79" fmla="*/ 863600 h 1704975"/>
              <a:gd name="connsiteX80" fmla="*/ 1105575 w 1293444"/>
              <a:gd name="connsiteY80" fmla="*/ 866775 h 1704975"/>
              <a:gd name="connsiteX81" fmla="*/ 1086525 w 1293444"/>
              <a:gd name="connsiteY81" fmla="*/ 873125 h 1704975"/>
              <a:gd name="connsiteX82" fmla="*/ 1077000 w 1293444"/>
              <a:gd name="connsiteY82" fmla="*/ 879475 h 1704975"/>
              <a:gd name="connsiteX83" fmla="*/ 1057950 w 1293444"/>
              <a:gd name="connsiteY83" fmla="*/ 885825 h 1704975"/>
              <a:gd name="connsiteX84" fmla="*/ 1048425 w 1293444"/>
              <a:gd name="connsiteY84" fmla="*/ 889000 h 1704975"/>
              <a:gd name="connsiteX85" fmla="*/ 1029375 w 1293444"/>
              <a:gd name="connsiteY85" fmla="*/ 908050 h 1704975"/>
              <a:gd name="connsiteX86" fmla="*/ 1010325 w 1293444"/>
              <a:gd name="connsiteY86" fmla="*/ 914400 h 1704975"/>
              <a:gd name="connsiteX87" fmla="*/ 1003975 w 1293444"/>
              <a:gd name="connsiteY87" fmla="*/ 923925 h 1704975"/>
              <a:gd name="connsiteX88" fmla="*/ 994450 w 1293444"/>
              <a:gd name="connsiteY88" fmla="*/ 933450 h 1704975"/>
              <a:gd name="connsiteX89" fmla="*/ 991275 w 1293444"/>
              <a:gd name="connsiteY89" fmla="*/ 942975 h 1704975"/>
              <a:gd name="connsiteX90" fmla="*/ 988100 w 1293444"/>
              <a:gd name="connsiteY90" fmla="*/ 962025 h 1704975"/>
              <a:gd name="connsiteX91" fmla="*/ 969050 w 1293444"/>
              <a:gd name="connsiteY91" fmla="*/ 968375 h 1704975"/>
              <a:gd name="connsiteX92" fmla="*/ 950000 w 1293444"/>
              <a:gd name="connsiteY92" fmla="*/ 981075 h 1704975"/>
              <a:gd name="connsiteX93" fmla="*/ 940475 w 1293444"/>
              <a:gd name="connsiteY93" fmla="*/ 987425 h 1704975"/>
              <a:gd name="connsiteX94" fmla="*/ 930950 w 1293444"/>
              <a:gd name="connsiteY94" fmla="*/ 1006475 h 1704975"/>
              <a:gd name="connsiteX95" fmla="*/ 924600 w 1293444"/>
              <a:gd name="connsiteY95" fmla="*/ 1016000 h 1704975"/>
              <a:gd name="connsiteX96" fmla="*/ 921425 w 1293444"/>
              <a:gd name="connsiteY96" fmla="*/ 1025525 h 1704975"/>
              <a:gd name="connsiteX97" fmla="*/ 905550 w 1293444"/>
              <a:gd name="connsiteY97" fmla="*/ 1044575 h 1704975"/>
              <a:gd name="connsiteX98" fmla="*/ 896025 w 1293444"/>
              <a:gd name="connsiteY98" fmla="*/ 1063625 h 1704975"/>
              <a:gd name="connsiteX99" fmla="*/ 867450 w 1293444"/>
              <a:gd name="connsiteY99" fmla="*/ 1085850 h 1704975"/>
              <a:gd name="connsiteX100" fmla="*/ 848400 w 1293444"/>
              <a:gd name="connsiteY100" fmla="*/ 1095375 h 1704975"/>
              <a:gd name="connsiteX101" fmla="*/ 813475 w 1293444"/>
              <a:gd name="connsiteY101" fmla="*/ 1092200 h 1704975"/>
              <a:gd name="connsiteX102" fmla="*/ 772200 w 1293444"/>
              <a:gd name="connsiteY102" fmla="*/ 1098550 h 1704975"/>
              <a:gd name="connsiteX103" fmla="*/ 759500 w 1293444"/>
              <a:gd name="connsiteY103" fmla="*/ 1127125 h 1704975"/>
              <a:gd name="connsiteX104" fmla="*/ 756325 w 1293444"/>
              <a:gd name="connsiteY104" fmla="*/ 1136650 h 1704975"/>
              <a:gd name="connsiteX105" fmla="*/ 740450 w 1293444"/>
              <a:gd name="connsiteY105" fmla="*/ 1155700 h 1704975"/>
              <a:gd name="connsiteX106" fmla="*/ 718225 w 1293444"/>
              <a:gd name="connsiteY106" fmla="*/ 1181100 h 1704975"/>
              <a:gd name="connsiteX107" fmla="*/ 721400 w 1293444"/>
              <a:gd name="connsiteY107" fmla="*/ 1238250 h 1704975"/>
              <a:gd name="connsiteX108" fmla="*/ 727750 w 1293444"/>
              <a:gd name="connsiteY108" fmla="*/ 1247775 h 1704975"/>
              <a:gd name="connsiteX109" fmla="*/ 730925 w 1293444"/>
              <a:gd name="connsiteY109" fmla="*/ 1257300 h 1704975"/>
              <a:gd name="connsiteX110" fmla="*/ 740450 w 1293444"/>
              <a:gd name="connsiteY110" fmla="*/ 1276350 h 1704975"/>
              <a:gd name="connsiteX111" fmla="*/ 743625 w 1293444"/>
              <a:gd name="connsiteY111" fmla="*/ 1320800 h 1704975"/>
              <a:gd name="connsiteX112" fmla="*/ 746800 w 1293444"/>
              <a:gd name="connsiteY112" fmla="*/ 1330325 h 1704975"/>
              <a:gd name="connsiteX113" fmla="*/ 756325 w 1293444"/>
              <a:gd name="connsiteY113" fmla="*/ 1336675 h 1704975"/>
              <a:gd name="connsiteX114" fmla="*/ 762675 w 1293444"/>
              <a:gd name="connsiteY114" fmla="*/ 1346200 h 1704975"/>
              <a:gd name="connsiteX115" fmla="*/ 769025 w 1293444"/>
              <a:gd name="connsiteY115" fmla="*/ 1393825 h 1704975"/>
              <a:gd name="connsiteX116" fmla="*/ 775375 w 1293444"/>
              <a:gd name="connsiteY116" fmla="*/ 1412875 h 1704975"/>
              <a:gd name="connsiteX117" fmla="*/ 781725 w 1293444"/>
              <a:gd name="connsiteY117" fmla="*/ 1435100 h 1704975"/>
              <a:gd name="connsiteX118" fmla="*/ 772200 w 1293444"/>
              <a:gd name="connsiteY118" fmla="*/ 1460500 h 1704975"/>
              <a:gd name="connsiteX119" fmla="*/ 762675 w 1293444"/>
              <a:gd name="connsiteY119" fmla="*/ 1466850 h 1704975"/>
              <a:gd name="connsiteX120" fmla="*/ 753150 w 1293444"/>
              <a:gd name="connsiteY120" fmla="*/ 1485900 h 1704975"/>
              <a:gd name="connsiteX121" fmla="*/ 749975 w 1293444"/>
              <a:gd name="connsiteY121" fmla="*/ 1514475 h 1704975"/>
              <a:gd name="connsiteX122" fmla="*/ 740450 w 1293444"/>
              <a:gd name="connsiteY122" fmla="*/ 1520825 h 1704975"/>
              <a:gd name="connsiteX123" fmla="*/ 730925 w 1293444"/>
              <a:gd name="connsiteY123" fmla="*/ 1530350 h 1704975"/>
              <a:gd name="connsiteX124" fmla="*/ 718225 w 1293444"/>
              <a:gd name="connsiteY124" fmla="*/ 1549400 h 1704975"/>
              <a:gd name="connsiteX125" fmla="*/ 711875 w 1293444"/>
              <a:gd name="connsiteY125" fmla="*/ 1558925 h 1704975"/>
              <a:gd name="connsiteX126" fmla="*/ 702350 w 1293444"/>
              <a:gd name="connsiteY126" fmla="*/ 1568450 h 1704975"/>
              <a:gd name="connsiteX127" fmla="*/ 699175 w 1293444"/>
              <a:gd name="connsiteY127" fmla="*/ 1577975 h 1704975"/>
              <a:gd name="connsiteX128" fmla="*/ 686475 w 1293444"/>
              <a:gd name="connsiteY128" fmla="*/ 1597025 h 1704975"/>
              <a:gd name="connsiteX129" fmla="*/ 676950 w 1293444"/>
              <a:gd name="connsiteY129" fmla="*/ 1616075 h 1704975"/>
              <a:gd name="connsiteX130" fmla="*/ 667425 w 1293444"/>
              <a:gd name="connsiteY130" fmla="*/ 1619250 h 1704975"/>
              <a:gd name="connsiteX131" fmla="*/ 648375 w 1293444"/>
              <a:gd name="connsiteY131" fmla="*/ 1631950 h 1704975"/>
              <a:gd name="connsiteX132" fmla="*/ 638850 w 1293444"/>
              <a:gd name="connsiteY132" fmla="*/ 1638300 h 1704975"/>
              <a:gd name="connsiteX133" fmla="*/ 607100 w 1293444"/>
              <a:gd name="connsiteY133" fmla="*/ 1676400 h 1704975"/>
              <a:gd name="connsiteX134" fmla="*/ 556300 w 1293444"/>
              <a:gd name="connsiteY134" fmla="*/ 1679575 h 1704975"/>
              <a:gd name="connsiteX135" fmla="*/ 537250 w 1293444"/>
              <a:gd name="connsiteY135" fmla="*/ 1685925 h 1704975"/>
              <a:gd name="connsiteX136" fmla="*/ 515025 w 1293444"/>
              <a:gd name="connsiteY136" fmla="*/ 1698625 h 1704975"/>
              <a:gd name="connsiteX137" fmla="*/ 495975 w 1293444"/>
              <a:gd name="connsiteY137" fmla="*/ 1704975 h 1704975"/>
              <a:gd name="connsiteX138" fmla="*/ 476925 w 1293444"/>
              <a:gd name="connsiteY138" fmla="*/ 1701800 h 1704975"/>
              <a:gd name="connsiteX139" fmla="*/ 470575 w 1293444"/>
              <a:gd name="connsiteY139" fmla="*/ 1692275 h 1704975"/>
              <a:gd name="connsiteX140" fmla="*/ 467400 w 1293444"/>
              <a:gd name="connsiteY140" fmla="*/ 1660525 h 1704975"/>
              <a:gd name="connsiteX141" fmla="*/ 457875 w 1293444"/>
              <a:gd name="connsiteY141" fmla="*/ 1641475 h 1704975"/>
              <a:gd name="connsiteX142" fmla="*/ 448350 w 1293444"/>
              <a:gd name="connsiteY142" fmla="*/ 1635125 h 1704975"/>
              <a:gd name="connsiteX143" fmla="*/ 445175 w 1293444"/>
              <a:gd name="connsiteY143" fmla="*/ 1625600 h 1704975"/>
              <a:gd name="connsiteX144" fmla="*/ 435650 w 1293444"/>
              <a:gd name="connsiteY144" fmla="*/ 1606550 h 1704975"/>
              <a:gd name="connsiteX145" fmla="*/ 432475 w 1293444"/>
              <a:gd name="connsiteY145" fmla="*/ 1495425 h 1704975"/>
              <a:gd name="connsiteX146" fmla="*/ 429300 w 1293444"/>
              <a:gd name="connsiteY146" fmla="*/ 1485900 h 1704975"/>
              <a:gd name="connsiteX147" fmla="*/ 426125 w 1293444"/>
              <a:gd name="connsiteY147" fmla="*/ 1473200 h 1704975"/>
              <a:gd name="connsiteX148" fmla="*/ 419775 w 1293444"/>
              <a:gd name="connsiteY148" fmla="*/ 1463675 h 1704975"/>
              <a:gd name="connsiteX149" fmla="*/ 416600 w 1293444"/>
              <a:gd name="connsiteY149" fmla="*/ 1454150 h 1704975"/>
              <a:gd name="connsiteX150" fmla="*/ 403900 w 1293444"/>
              <a:gd name="connsiteY150" fmla="*/ 1435100 h 1704975"/>
              <a:gd name="connsiteX151" fmla="*/ 397550 w 1293444"/>
              <a:gd name="connsiteY151" fmla="*/ 1416050 h 1704975"/>
              <a:gd name="connsiteX152" fmla="*/ 394375 w 1293444"/>
              <a:gd name="connsiteY152" fmla="*/ 1381125 h 1704975"/>
              <a:gd name="connsiteX153" fmla="*/ 391200 w 1293444"/>
              <a:gd name="connsiteY153" fmla="*/ 1368425 h 1704975"/>
              <a:gd name="connsiteX154" fmla="*/ 388025 w 1293444"/>
              <a:gd name="connsiteY154" fmla="*/ 1352550 h 1704975"/>
              <a:gd name="connsiteX155" fmla="*/ 381675 w 1293444"/>
              <a:gd name="connsiteY155" fmla="*/ 1333500 h 1704975"/>
              <a:gd name="connsiteX156" fmla="*/ 378500 w 1293444"/>
              <a:gd name="connsiteY156" fmla="*/ 1323975 h 1704975"/>
              <a:gd name="connsiteX157" fmla="*/ 375325 w 1293444"/>
              <a:gd name="connsiteY157" fmla="*/ 1308100 h 1704975"/>
              <a:gd name="connsiteX158" fmla="*/ 368975 w 1293444"/>
              <a:gd name="connsiteY158" fmla="*/ 1289050 h 1704975"/>
              <a:gd name="connsiteX159" fmla="*/ 362625 w 1293444"/>
              <a:gd name="connsiteY159" fmla="*/ 1260475 h 1704975"/>
              <a:gd name="connsiteX160" fmla="*/ 359450 w 1293444"/>
              <a:gd name="connsiteY160" fmla="*/ 1231900 h 1704975"/>
              <a:gd name="connsiteX161" fmla="*/ 349925 w 1293444"/>
              <a:gd name="connsiteY161" fmla="*/ 1196975 h 1704975"/>
              <a:gd name="connsiteX162" fmla="*/ 340400 w 1293444"/>
              <a:gd name="connsiteY162" fmla="*/ 1155700 h 1704975"/>
              <a:gd name="connsiteX163" fmla="*/ 334050 w 1293444"/>
              <a:gd name="connsiteY163" fmla="*/ 1130300 h 1704975"/>
              <a:gd name="connsiteX164" fmla="*/ 327700 w 1293444"/>
              <a:gd name="connsiteY164" fmla="*/ 1104900 h 1704975"/>
              <a:gd name="connsiteX165" fmla="*/ 324525 w 1293444"/>
              <a:gd name="connsiteY165" fmla="*/ 1092200 h 1704975"/>
              <a:gd name="connsiteX166" fmla="*/ 318175 w 1293444"/>
              <a:gd name="connsiteY166" fmla="*/ 1050925 h 1704975"/>
              <a:gd name="connsiteX167" fmla="*/ 315000 w 1293444"/>
              <a:gd name="connsiteY167" fmla="*/ 1031875 h 1704975"/>
              <a:gd name="connsiteX168" fmla="*/ 311825 w 1293444"/>
              <a:gd name="connsiteY168" fmla="*/ 1022350 h 1704975"/>
              <a:gd name="connsiteX169" fmla="*/ 308650 w 1293444"/>
              <a:gd name="connsiteY169" fmla="*/ 1006475 h 1704975"/>
              <a:gd name="connsiteX170" fmla="*/ 302300 w 1293444"/>
              <a:gd name="connsiteY170" fmla="*/ 987425 h 1704975"/>
              <a:gd name="connsiteX171" fmla="*/ 299125 w 1293444"/>
              <a:gd name="connsiteY171" fmla="*/ 974725 h 1704975"/>
              <a:gd name="connsiteX172" fmla="*/ 292775 w 1293444"/>
              <a:gd name="connsiteY172" fmla="*/ 955675 h 1704975"/>
              <a:gd name="connsiteX173" fmla="*/ 289600 w 1293444"/>
              <a:gd name="connsiteY173" fmla="*/ 946150 h 1704975"/>
              <a:gd name="connsiteX174" fmla="*/ 280075 w 1293444"/>
              <a:gd name="connsiteY174" fmla="*/ 923925 h 1704975"/>
              <a:gd name="connsiteX175" fmla="*/ 261025 w 1293444"/>
              <a:gd name="connsiteY175" fmla="*/ 908050 h 1704975"/>
              <a:gd name="connsiteX176" fmla="*/ 241975 w 1293444"/>
              <a:gd name="connsiteY176" fmla="*/ 901700 h 1704975"/>
              <a:gd name="connsiteX177" fmla="*/ 222925 w 1293444"/>
              <a:gd name="connsiteY177" fmla="*/ 889000 h 1704975"/>
              <a:gd name="connsiteX178" fmla="*/ 213400 w 1293444"/>
              <a:gd name="connsiteY178" fmla="*/ 885825 h 1704975"/>
              <a:gd name="connsiteX179" fmla="*/ 194350 w 1293444"/>
              <a:gd name="connsiteY179" fmla="*/ 873125 h 1704975"/>
              <a:gd name="connsiteX180" fmla="*/ 175300 w 1293444"/>
              <a:gd name="connsiteY180" fmla="*/ 860425 h 1704975"/>
              <a:gd name="connsiteX181" fmla="*/ 162600 w 1293444"/>
              <a:gd name="connsiteY181" fmla="*/ 850900 h 1704975"/>
              <a:gd name="connsiteX182" fmla="*/ 153075 w 1293444"/>
              <a:gd name="connsiteY182" fmla="*/ 847725 h 1704975"/>
              <a:gd name="connsiteX183" fmla="*/ 134025 w 1293444"/>
              <a:gd name="connsiteY183" fmla="*/ 835025 h 1704975"/>
              <a:gd name="connsiteX184" fmla="*/ 114975 w 1293444"/>
              <a:gd name="connsiteY184" fmla="*/ 822325 h 1704975"/>
              <a:gd name="connsiteX185" fmla="*/ 105450 w 1293444"/>
              <a:gd name="connsiteY185" fmla="*/ 815975 h 1704975"/>
              <a:gd name="connsiteX186" fmla="*/ 95925 w 1293444"/>
              <a:gd name="connsiteY186" fmla="*/ 812800 h 1704975"/>
              <a:gd name="connsiteX187" fmla="*/ 64175 w 1293444"/>
              <a:gd name="connsiteY187" fmla="*/ 790575 h 1704975"/>
              <a:gd name="connsiteX188" fmla="*/ 54650 w 1293444"/>
              <a:gd name="connsiteY188" fmla="*/ 787400 h 1704975"/>
              <a:gd name="connsiteX189" fmla="*/ 38775 w 1293444"/>
              <a:gd name="connsiteY189" fmla="*/ 771525 h 1704975"/>
              <a:gd name="connsiteX190" fmla="*/ 29250 w 1293444"/>
              <a:gd name="connsiteY190" fmla="*/ 762000 h 1704975"/>
              <a:gd name="connsiteX191" fmla="*/ 19725 w 1293444"/>
              <a:gd name="connsiteY191" fmla="*/ 758825 h 1704975"/>
              <a:gd name="connsiteX192" fmla="*/ 675 w 1293444"/>
              <a:gd name="connsiteY192" fmla="*/ 746125 h 1704975"/>
              <a:gd name="connsiteX193" fmla="*/ 51475 w 1293444"/>
              <a:gd name="connsiteY193" fmla="*/ 739775 h 1704975"/>
              <a:gd name="connsiteX194" fmla="*/ 67350 w 1293444"/>
              <a:gd name="connsiteY194" fmla="*/ 736600 h 1704975"/>
              <a:gd name="connsiteX195" fmla="*/ 102275 w 1293444"/>
              <a:gd name="connsiteY195" fmla="*/ 733425 h 1704975"/>
              <a:gd name="connsiteX196" fmla="*/ 130850 w 1293444"/>
              <a:gd name="connsiteY196" fmla="*/ 727075 h 1704975"/>
              <a:gd name="connsiteX197" fmla="*/ 149900 w 1293444"/>
              <a:gd name="connsiteY197" fmla="*/ 723900 h 1704975"/>
              <a:gd name="connsiteX198" fmla="*/ 159425 w 1293444"/>
              <a:gd name="connsiteY198" fmla="*/ 720725 h 1704975"/>
              <a:gd name="connsiteX199" fmla="*/ 175300 w 1293444"/>
              <a:gd name="connsiteY199" fmla="*/ 717550 h 1704975"/>
              <a:gd name="connsiteX200" fmla="*/ 194350 w 1293444"/>
              <a:gd name="connsiteY200" fmla="*/ 711200 h 1704975"/>
              <a:gd name="connsiteX201" fmla="*/ 222925 w 1293444"/>
              <a:gd name="connsiteY201" fmla="*/ 701675 h 1704975"/>
              <a:gd name="connsiteX202" fmla="*/ 232450 w 1293444"/>
              <a:gd name="connsiteY202" fmla="*/ 698500 h 1704975"/>
              <a:gd name="connsiteX203" fmla="*/ 241975 w 1293444"/>
              <a:gd name="connsiteY203" fmla="*/ 695325 h 1704975"/>
              <a:gd name="connsiteX204" fmla="*/ 381675 w 1293444"/>
              <a:gd name="connsiteY204" fmla="*/ 688975 h 1704975"/>
              <a:gd name="connsiteX205" fmla="*/ 397550 w 1293444"/>
              <a:gd name="connsiteY205" fmla="*/ 685800 h 1704975"/>
              <a:gd name="connsiteX206" fmla="*/ 407075 w 1293444"/>
              <a:gd name="connsiteY206" fmla="*/ 682625 h 1704975"/>
              <a:gd name="connsiteX207" fmla="*/ 419775 w 1293444"/>
              <a:gd name="connsiteY207" fmla="*/ 679450 h 1704975"/>
              <a:gd name="connsiteX208" fmla="*/ 438825 w 1293444"/>
              <a:gd name="connsiteY208" fmla="*/ 673100 h 1704975"/>
              <a:gd name="connsiteX209" fmla="*/ 467400 w 1293444"/>
              <a:gd name="connsiteY209" fmla="*/ 663575 h 1704975"/>
              <a:gd name="connsiteX210" fmla="*/ 495975 w 1293444"/>
              <a:gd name="connsiteY210" fmla="*/ 654050 h 1704975"/>
              <a:gd name="connsiteX211" fmla="*/ 505500 w 1293444"/>
              <a:gd name="connsiteY211" fmla="*/ 650875 h 1704975"/>
              <a:gd name="connsiteX212" fmla="*/ 527725 w 1293444"/>
              <a:gd name="connsiteY212" fmla="*/ 641350 h 1704975"/>
              <a:gd name="connsiteX213" fmla="*/ 537250 w 1293444"/>
              <a:gd name="connsiteY213" fmla="*/ 635000 h 1704975"/>
              <a:gd name="connsiteX214" fmla="*/ 546775 w 1293444"/>
              <a:gd name="connsiteY214" fmla="*/ 631825 h 1704975"/>
              <a:gd name="connsiteX215" fmla="*/ 559475 w 1293444"/>
              <a:gd name="connsiteY215" fmla="*/ 625475 h 1704975"/>
              <a:gd name="connsiteX216" fmla="*/ 578525 w 1293444"/>
              <a:gd name="connsiteY216" fmla="*/ 657225 h 1704975"/>
              <a:gd name="connsiteX217" fmla="*/ 588050 w 1293444"/>
              <a:gd name="connsiteY217" fmla="*/ 660400 h 1704975"/>
              <a:gd name="connsiteX218" fmla="*/ 607100 w 1293444"/>
              <a:gd name="connsiteY218" fmla="*/ 673100 h 1704975"/>
              <a:gd name="connsiteX219" fmla="*/ 626150 w 1293444"/>
              <a:gd name="connsiteY219" fmla="*/ 679450 h 1704975"/>
              <a:gd name="connsiteX220" fmla="*/ 635675 w 1293444"/>
              <a:gd name="connsiteY220" fmla="*/ 685800 h 1704975"/>
              <a:gd name="connsiteX221" fmla="*/ 654725 w 1293444"/>
              <a:gd name="connsiteY221" fmla="*/ 692150 h 1704975"/>
              <a:gd name="connsiteX222" fmla="*/ 645200 w 1293444"/>
              <a:gd name="connsiteY222" fmla="*/ 682625 h 1704975"/>
              <a:gd name="connsiteX223" fmla="*/ 635675 w 1293444"/>
              <a:gd name="connsiteY223" fmla="*/ 676275 h 1704975"/>
              <a:gd name="connsiteX224" fmla="*/ 632500 w 1293444"/>
              <a:gd name="connsiteY224" fmla="*/ 666750 h 1704975"/>
              <a:gd name="connsiteX225" fmla="*/ 635675 w 1293444"/>
              <a:gd name="connsiteY225" fmla="*/ 590550 h 1704975"/>
              <a:gd name="connsiteX226" fmla="*/ 642025 w 1293444"/>
              <a:gd name="connsiteY226" fmla="*/ 571500 h 1704975"/>
              <a:gd name="connsiteX227" fmla="*/ 648375 w 1293444"/>
              <a:gd name="connsiteY227" fmla="*/ 561975 h 1704975"/>
              <a:gd name="connsiteX228" fmla="*/ 638850 w 1293444"/>
              <a:gd name="connsiteY228" fmla="*/ 536575 h 1704975"/>
              <a:gd name="connsiteX229" fmla="*/ 629325 w 1293444"/>
              <a:gd name="connsiteY229" fmla="*/ 533400 h 1704975"/>
              <a:gd name="connsiteX230" fmla="*/ 626150 w 1293444"/>
              <a:gd name="connsiteY230" fmla="*/ 523875 h 1704975"/>
              <a:gd name="connsiteX231" fmla="*/ 632500 w 1293444"/>
              <a:gd name="connsiteY231" fmla="*/ 498475 h 1704975"/>
              <a:gd name="connsiteX232" fmla="*/ 635675 w 1293444"/>
              <a:gd name="connsiteY232" fmla="*/ 485775 h 1704975"/>
              <a:gd name="connsiteX233" fmla="*/ 626150 w 1293444"/>
              <a:gd name="connsiteY233" fmla="*/ 463550 h 1704975"/>
              <a:gd name="connsiteX234" fmla="*/ 616625 w 1293444"/>
              <a:gd name="connsiteY234" fmla="*/ 460375 h 1704975"/>
              <a:gd name="connsiteX235" fmla="*/ 607100 w 1293444"/>
              <a:gd name="connsiteY235" fmla="*/ 454025 h 1704975"/>
              <a:gd name="connsiteX236" fmla="*/ 591225 w 1293444"/>
              <a:gd name="connsiteY236" fmla="*/ 450850 h 1704975"/>
              <a:gd name="connsiteX237" fmla="*/ 569000 w 1293444"/>
              <a:gd name="connsiteY237" fmla="*/ 441325 h 1704975"/>
              <a:gd name="connsiteX238" fmla="*/ 546775 w 1293444"/>
              <a:gd name="connsiteY238" fmla="*/ 415925 h 1704975"/>
              <a:gd name="connsiteX239" fmla="*/ 540425 w 1293444"/>
              <a:gd name="connsiteY239" fmla="*/ 406400 h 1704975"/>
              <a:gd name="connsiteX240" fmla="*/ 530900 w 1293444"/>
              <a:gd name="connsiteY240" fmla="*/ 400050 h 1704975"/>
              <a:gd name="connsiteX241" fmla="*/ 508675 w 1293444"/>
              <a:gd name="connsiteY241" fmla="*/ 374650 h 1704975"/>
              <a:gd name="connsiteX242" fmla="*/ 502325 w 1293444"/>
              <a:gd name="connsiteY242" fmla="*/ 365125 h 1704975"/>
              <a:gd name="connsiteX243" fmla="*/ 483275 w 1293444"/>
              <a:gd name="connsiteY243" fmla="*/ 346075 h 1704975"/>
              <a:gd name="connsiteX244" fmla="*/ 486450 w 1293444"/>
              <a:gd name="connsiteY244" fmla="*/ 333375 h 1704975"/>
              <a:gd name="connsiteX245" fmla="*/ 492800 w 1293444"/>
              <a:gd name="connsiteY245" fmla="*/ 314325 h 1704975"/>
              <a:gd name="connsiteX246" fmla="*/ 489625 w 1293444"/>
              <a:gd name="connsiteY246" fmla="*/ 292100 h 1704975"/>
              <a:gd name="connsiteX247" fmla="*/ 461050 w 1293444"/>
              <a:gd name="connsiteY247" fmla="*/ 266700 h 1704975"/>
              <a:gd name="connsiteX248" fmla="*/ 435650 w 1293444"/>
              <a:gd name="connsiteY248" fmla="*/ 254000 h 1704975"/>
              <a:gd name="connsiteX249" fmla="*/ 413425 w 1293444"/>
              <a:gd name="connsiteY249" fmla="*/ 238125 h 1704975"/>
              <a:gd name="connsiteX250" fmla="*/ 403900 w 1293444"/>
              <a:gd name="connsiteY250" fmla="*/ 231775 h 1704975"/>
              <a:gd name="connsiteX251" fmla="*/ 388025 w 1293444"/>
              <a:gd name="connsiteY251" fmla="*/ 212725 h 1704975"/>
              <a:gd name="connsiteX252" fmla="*/ 372150 w 1293444"/>
              <a:gd name="connsiteY252" fmla="*/ 196850 h 1704975"/>
              <a:gd name="connsiteX253" fmla="*/ 365800 w 1293444"/>
              <a:gd name="connsiteY253" fmla="*/ 177800 h 1704975"/>
              <a:gd name="connsiteX254" fmla="*/ 359450 w 1293444"/>
              <a:gd name="connsiteY254" fmla="*/ 149225 h 1704975"/>
              <a:gd name="connsiteX255" fmla="*/ 362625 w 1293444"/>
              <a:gd name="connsiteY255" fmla="*/ 114300 h 1704975"/>
              <a:gd name="connsiteX256" fmla="*/ 368975 w 1293444"/>
              <a:gd name="connsiteY256" fmla="*/ 104775 h 1704975"/>
              <a:gd name="connsiteX257" fmla="*/ 375325 w 1293444"/>
              <a:gd name="connsiteY257"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34150 w 1293444"/>
              <a:gd name="connsiteY53" fmla="*/ 396875 h 1704975"/>
              <a:gd name="connsiteX54" fmla="*/ 1165900 w 1293444"/>
              <a:gd name="connsiteY54" fmla="*/ 454025 h 1704975"/>
              <a:gd name="connsiteX55" fmla="*/ 1207175 w 1293444"/>
              <a:gd name="connsiteY55" fmla="*/ 457200 h 1704975"/>
              <a:gd name="connsiteX56" fmla="*/ 1216700 w 1293444"/>
              <a:gd name="connsiteY56" fmla="*/ 463550 h 1704975"/>
              <a:gd name="connsiteX57" fmla="*/ 1270675 w 1293444"/>
              <a:gd name="connsiteY57" fmla="*/ 469900 h 1704975"/>
              <a:gd name="connsiteX58" fmla="*/ 1277025 w 1293444"/>
              <a:gd name="connsiteY58" fmla="*/ 479425 h 1704975"/>
              <a:gd name="connsiteX59" fmla="*/ 1273850 w 1293444"/>
              <a:gd name="connsiteY59" fmla="*/ 488950 h 1704975"/>
              <a:gd name="connsiteX60" fmla="*/ 1270675 w 1293444"/>
              <a:gd name="connsiteY60" fmla="*/ 511175 h 1704975"/>
              <a:gd name="connsiteX61" fmla="*/ 1264325 w 1293444"/>
              <a:gd name="connsiteY61" fmla="*/ 530225 h 1704975"/>
              <a:gd name="connsiteX62" fmla="*/ 1261150 w 1293444"/>
              <a:gd name="connsiteY62" fmla="*/ 539750 h 1704975"/>
              <a:gd name="connsiteX63" fmla="*/ 1254800 w 1293444"/>
              <a:gd name="connsiteY63" fmla="*/ 571500 h 1704975"/>
              <a:gd name="connsiteX64" fmla="*/ 1254800 w 1293444"/>
              <a:gd name="connsiteY64" fmla="*/ 692150 h 1704975"/>
              <a:gd name="connsiteX65" fmla="*/ 1257975 w 1293444"/>
              <a:gd name="connsiteY65" fmla="*/ 714375 h 1704975"/>
              <a:gd name="connsiteX66" fmla="*/ 1261150 w 1293444"/>
              <a:gd name="connsiteY66" fmla="*/ 723900 h 1704975"/>
              <a:gd name="connsiteX67" fmla="*/ 1273850 w 1293444"/>
              <a:gd name="connsiteY67" fmla="*/ 727075 h 1704975"/>
              <a:gd name="connsiteX68" fmla="*/ 1292900 w 1293444"/>
              <a:gd name="connsiteY68" fmla="*/ 739775 h 1704975"/>
              <a:gd name="connsiteX69" fmla="*/ 1289725 w 1293444"/>
              <a:gd name="connsiteY69" fmla="*/ 784225 h 1704975"/>
              <a:gd name="connsiteX70" fmla="*/ 1273850 w 1293444"/>
              <a:gd name="connsiteY70" fmla="*/ 800100 h 1704975"/>
              <a:gd name="connsiteX71" fmla="*/ 1264325 w 1293444"/>
              <a:gd name="connsiteY71" fmla="*/ 809625 h 1704975"/>
              <a:gd name="connsiteX72" fmla="*/ 1219875 w 1293444"/>
              <a:gd name="connsiteY72" fmla="*/ 819150 h 1704975"/>
              <a:gd name="connsiteX73" fmla="*/ 1200825 w 1293444"/>
              <a:gd name="connsiteY73" fmla="*/ 825500 h 1704975"/>
              <a:gd name="connsiteX74" fmla="*/ 1181775 w 1293444"/>
              <a:gd name="connsiteY74" fmla="*/ 838200 h 1704975"/>
              <a:gd name="connsiteX75" fmla="*/ 1172250 w 1293444"/>
              <a:gd name="connsiteY75" fmla="*/ 844550 h 1704975"/>
              <a:gd name="connsiteX76" fmla="*/ 1153200 w 1293444"/>
              <a:gd name="connsiteY76" fmla="*/ 850900 h 1704975"/>
              <a:gd name="connsiteX77" fmla="*/ 1140500 w 1293444"/>
              <a:gd name="connsiteY77" fmla="*/ 857250 h 1704975"/>
              <a:gd name="connsiteX78" fmla="*/ 1130975 w 1293444"/>
              <a:gd name="connsiteY78" fmla="*/ 863600 h 1704975"/>
              <a:gd name="connsiteX79" fmla="*/ 1105575 w 1293444"/>
              <a:gd name="connsiteY79" fmla="*/ 866775 h 1704975"/>
              <a:gd name="connsiteX80" fmla="*/ 1086525 w 1293444"/>
              <a:gd name="connsiteY80" fmla="*/ 873125 h 1704975"/>
              <a:gd name="connsiteX81" fmla="*/ 1077000 w 1293444"/>
              <a:gd name="connsiteY81" fmla="*/ 879475 h 1704975"/>
              <a:gd name="connsiteX82" fmla="*/ 1057950 w 1293444"/>
              <a:gd name="connsiteY82" fmla="*/ 885825 h 1704975"/>
              <a:gd name="connsiteX83" fmla="*/ 1048425 w 1293444"/>
              <a:gd name="connsiteY83" fmla="*/ 889000 h 1704975"/>
              <a:gd name="connsiteX84" fmla="*/ 1029375 w 1293444"/>
              <a:gd name="connsiteY84" fmla="*/ 908050 h 1704975"/>
              <a:gd name="connsiteX85" fmla="*/ 1010325 w 1293444"/>
              <a:gd name="connsiteY85" fmla="*/ 914400 h 1704975"/>
              <a:gd name="connsiteX86" fmla="*/ 1003975 w 1293444"/>
              <a:gd name="connsiteY86" fmla="*/ 923925 h 1704975"/>
              <a:gd name="connsiteX87" fmla="*/ 994450 w 1293444"/>
              <a:gd name="connsiteY87" fmla="*/ 933450 h 1704975"/>
              <a:gd name="connsiteX88" fmla="*/ 991275 w 1293444"/>
              <a:gd name="connsiteY88" fmla="*/ 942975 h 1704975"/>
              <a:gd name="connsiteX89" fmla="*/ 988100 w 1293444"/>
              <a:gd name="connsiteY89" fmla="*/ 962025 h 1704975"/>
              <a:gd name="connsiteX90" fmla="*/ 969050 w 1293444"/>
              <a:gd name="connsiteY90" fmla="*/ 968375 h 1704975"/>
              <a:gd name="connsiteX91" fmla="*/ 950000 w 1293444"/>
              <a:gd name="connsiteY91" fmla="*/ 981075 h 1704975"/>
              <a:gd name="connsiteX92" fmla="*/ 940475 w 1293444"/>
              <a:gd name="connsiteY92" fmla="*/ 987425 h 1704975"/>
              <a:gd name="connsiteX93" fmla="*/ 930950 w 1293444"/>
              <a:gd name="connsiteY93" fmla="*/ 1006475 h 1704975"/>
              <a:gd name="connsiteX94" fmla="*/ 924600 w 1293444"/>
              <a:gd name="connsiteY94" fmla="*/ 1016000 h 1704975"/>
              <a:gd name="connsiteX95" fmla="*/ 921425 w 1293444"/>
              <a:gd name="connsiteY95" fmla="*/ 1025525 h 1704975"/>
              <a:gd name="connsiteX96" fmla="*/ 905550 w 1293444"/>
              <a:gd name="connsiteY96" fmla="*/ 1044575 h 1704975"/>
              <a:gd name="connsiteX97" fmla="*/ 896025 w 1293444"/>
              <a:gd name="connsiteY97" fmla="*/ 1063625 h 1704975"/>
              <a:gd name="connsiteX98" fmla="*/ 867450 w 1293444"/>
              <a:gd name="connsiteY98" fmla="*/ 1085850 h 1704975"/>
              <a:gd name="connsiteX99" fmla="*/ 848400 w 1293444"/>
              <a:gd name="connsiteY99" fmla="*/ 1095375 h 1704975"/>
              <a:gd name="connsiteX100" fmla="*/ 813475 w 1293444"/>
              <a:gd name="connsiteY100" fmla="*/ 1092200 h 1704975"/>
              <a:gd name="connsiteX101" fmla="*/ 772200 w 1293444"/>
              <a:gd name="connsiteY101" fmla="*/ 1098550 h 1704975"/>
              <a:gd name="connsiteX102" fmla="*/ 759500 w 1293444"/>
              <a:gd name="connsiteY102" fmla="*/ 1127125 h 1704975"/>
              <a:gd name="connsiteX103" fmla="*/ 756325 w 1293444"/>
              <a:gd name="connsiteY103" fmla="*/ 1136650 h 1704975"/>
              <a:gd name="connsiteX104" fmla="*/ 740450 w 1293444"/>
              <a:gd name="connsiteY104" fmla="*/ 1155700 h 1704975"/>
              <a:gd name="connsiteX105" fmla="*/ 718225 w 1293444"/>
              <a:gd name="connsiteY105" fmla="*/ 1181100 h 1704975"/>
              <a:gd name="connsiteX106" fmla="*/ 721400 w 1293444"/>
              <a:gd name="connsiteY106" fmla="*/ 1238250 h 1704975"/>
              <a:gd name="connsiteX107" fmla="*/ 727750 w 1293444"/>
              <a:gd name="connsiteY107" fmla="*/ 1247775 h 1704975"/>
              <a:gd name="connsiteX108" fmla="*/ 730925 w 1293444"/>
              <a:gd name="connsiteY108" fmla="*/ 1257300 h 1704975"/>
              <a:gd name="connsiteX109" fmla="*/ 740450 w 1293444"/>
              <a:gd name="connsiteY109" fmla="*/ 1276350 h 1704975"/>
              <a:gd name="connsiteX110" fmla="*/ 743625 w 1293444"/>
              <a:gd name="connsiteY110" fmla="*/ 1320800 h 1704975"/>
              <a:gd name="connsiteX111" fmla="*/ 746800 w 1293444"/>
              <a:gd name="connsiteY111" fmla="*/ 1330325 h 1704975"/>
              <a:gd name="connsiteX112" fmla="*/ 756325 w 1293444"/>
              <a:gd name="connsiteY112" fmla="*/ 1336675 h 1704975"/>
              <a:gd name="connsiteX113" fmla="*/ 762675 w 1293444"/>
              <a:gd name="connsiteY113" fmla="*/ 1346200 h 1704975"/>
              <a:gd name="connsiteX114" fmla="*/ 769025 w 1293444"/>
              <a:gd name="connsiteY114" fmla="*/ 1393825 h 1704975"/>
              <a:gd name="connsiteX115" fmla="*/ 775375 w 1293444"/>
              <a:gd name="connsiteY115" fmla="*/ 1412875 h 1704975"/>
              <a:gd name="connsiteX116" fmla="*/ 781725 w 1293444"/>
              <a:gd name="connsiteY116" fmla="*/ 1435100 h 1704975"/>
              <a:gd name="connsiteX117" fmla="*/ 772200 w 1293444"/>
              <a:gd name="connsiteY117" fmla="*/ 1460500 h 1704975"/>
              <a:gd name="connsiteX118" fmla="*/ 762675 w 1293444"/>
              <a:gd name="connsiteY118" fmla="*/ 1466850 h 1704975"/>
              <a:gd name="connsiteX119" fmla="*/ 753150 w 1293444"/>
              <a:gd name="connsiteY119" fmla="*/ 1485900 h 1704975"/>
              <a:gd name="connsiteX120" fmla="*/ 749975 w 1293444"/>
              <a:gd name="connsiteY120" fmla="*/ 1514475 h 1704975"/>
              <a:gd name="connsiteX121" fmla="*/ 740450 w 1293444"/>
              <a:gd name="connsiteY121" fmla="*/ 1520825 h 1704975"/>
              <a:gd name="connsiteX122" fmla="*/ 730925 w 1293444"/>
              <a:gd name="connsiteY122" fmla="*/ 1530350 h 1704975"/>
              <a:gd name="connsiteX123" fmla="*/ 718225 w 1293444"/>
              <a:gd name="connsiteY123" fmla="*/ 1549400 h 1704975"/>
              <a:gd name="connsiteX124" fmla="*/ 711875 w 1293444"/>
              <a:gd name="connsiteY124" fmla="*/ 1558925 h 1704975"/>
              <a:gd name="connsiteX125" fmla="*/ 702350 w 1293444"/>
              <a:gd name="connsiteY125" fmla="*/ 1568450 h 1704975"/>
              <a:gd name="connsiteX126" fmla="*/ 699175 w 1293444"/>
              <a:gd name="connsiteY126" fmla="*/ 1577975 h 1704975"/>
              <a:gd name="connsiteX127" fmla="*/ 686475 w 1293444"/>
              <a:gd name="connsiteY127" fmla="*/ 1597025 h 1704975"/>
              <a:gd name="connsiteX128" fmla="*/ 676950 w 1293444"/>
              <a:gd name="connsiteY128" fmla="*/ 1616075 h 1704975"/>
              <a:gd name="connsiteX129" fmla="*/ 667425 w 1293444"/>
              <a:gd name="connsiteY129" fmla="*/ 1619250 h 1704975"/>
              <a:gd name="connsiteX130" fmla="*/ 648375 w 1293444"/>
              <a:gd name="connsiteY130" fmla="*/ 1631950 h 1704975"/>
              <a:gd name="connsiteX131" fmla="*/ 638850 w 1293444"/>
              <a:gd name="connsiteY131" fmla="*/ 1638300 h 1704975"/>
              <a:gd name="connsiteX132" fmla="*/ 607100 w 1293444"/>
              <a:gd name="connsiteY132" fmla="*/ 1676400 h 1704975"/>
              <a:gd name="connsiteX133" fmla="*/ 556300 w 1293444"/>
              <a:gd name="connsiteY133" fmla="*/ 1679575 h 1704975"/>
              <a:gd name="connsiteX134" fmla="*/ 537250 w 1293444"/>
              <a:gd name="connsiteY134" fmla="*/ 1685925 h 1704975"/>
              <a:gd name="connsiteX135" fmla="*/ 515025 w 1293444"/>
              <a:gd name="connsiteY135" fmla="*/ 1698625 h 1704975"/>
              <a:gd name="connsiteX136" fmla="*/ 495975 w 1293444"/>
              <a:gd name="connsiteY136" fmla="*/ 1704975 h 1704975"/>
              <a:gd name="connsiteX137" fmla="*/ 476925 w 1293444"/>
              <a:gd name="connsiteY137" fmla="*/ 1701800 h 1704975"/>
              <a:gd name="connsiteX138" fmla="*/ 470575 w 1293444"/>
              <a:gd name="connsiteY138" fmla="*/ 1692275 h 1704975"/>
              <a:gd name="connsiteX139" fmla="*/ 467400 w 1293444"/>
              <a:gd name="connsiteY139" fmla="*/ 1660525 h 1704975"/>
              <a:gd name="connsiteX140" fmla="*/ 457875 w 1293444"/>
              <a:gd name="connsiteY140" fmla="*/ 1641475 h 1704975"/>
              <a:gd name="connsiteX141" fmla="*/ 448350 w 1293444"/>
              <a:gd name="connsiteY141" fmla="*/ 1635125 h 1704975"/>
              <a:gd name="connsiteX142" fmla="*/ 445175 w 1293444"/>
              <a:gd name="connsiteY142" fmla="*/ 1625600 h 1704975"/>
              <a:gd name="connsiteX143" fmla="*/ 435650 w 1293444"/>
              <a:gd name="connsiteY143" fmla="*/ 1606550 h 1704975"/>
              <a:gd name="connsiteX144" fmla="*/ 432475 w 1293444"/>
              <a:gd name="connsiteY144" fmla="*/ 1495425 h 1704975"/>
              <a:gd name="connsiteX145" fmla="*/ 429300 w 1293444"/>
              <a:gd name="connsiteY145" fmla="*/ 1485900 h 1704975"/>
              <a:gd name="connsiteX146" fmla="*/ 426125 w 1293444"/>
              <a:gd name="connsiteY146" fmla="*/ 1473200 h 1704975"/>
              <a:gd name="connsiteX147" fmla="*/ 419775 w 1293444"/>
              <a:gd name="connsiteY147" fmla="*/ 1463675 h 1704975"/>
              <a:gd name="connsiteX148" fmla="*/ 416600 w 1293444"/>
              <a:gd name="connsiteY148" fmla="*/ 1454150 h 1704975"/>
              <a:gd name="connsiteX149" fmla="*/ 403900 w 1293444"/>
              <a:gd name="connsiteY149" fmla="*/ 1435100 h 1704975"/>
              <a:gd name="connsiteX150" fmla="*/ 397550 w 1293444"/>
              <a:gd name="connsiteY150" fmla="*/ 1416050 h 1704975"/>
              <a:gd name="connsiteX151" fmla="*/ 394375 w 1293444"/>
              <a:gd name="connsiteY151" fmla="*/ 1381125 h 1704975"/>
              <a:gd name="connsiteX152" fmla="*/ 391200 w 1293444"/>
              <a:gd name="connsiteY152" fmla="*/ 1368425 h 1704975"/>
              <a:gd name="connsiteX153" fmla="*/ 388025 w 1293444"/>
              <a:gd name="connsiteY153" fmla="*/ 1352550 h 1704975"/>
              <a:gd name="connsiteX154" fmla="*/ 381675 w 1293444"/>
              <a:gd name="connsiteY154" fmla="*/ 1333500 h 1704975"/>
              <a:gd name="connsiteX155" fmla="*/ 378500 w 1293444"/>
              <a:gd name="connsiteY155" fmla="*/ 1323975 h 1704975"/>
              <a:gd name="connsiteX156" fmla="*/ 375325 w 1293444"/>
              <a:gd name="connsiteY156" fmla="*/ 1308100 h 1704975"/>
              <a:gd name="connsiteX157" fmla="*/ 368975 w 1293444"/>
              <a:gd name="connsiteY157" fmla="*/ 1289050 h 1704975"/>
              <a:gd name="connsiteX158" fmla="*/ 362625 w 1293444"/>
              <a:gd name="connsiteY158" fmla="*/ 1260475 h 1704975"/>
              <a:gd name="connsiteX159" fmla="*/ 359450 w 1293444"/>
              <a:gd name="connsiteY159" fmla="*/ 1231900 h 1704975"/>
              <a:gd name="connsiteX160" fmla="*/ 349925 w 1293444"/>
              <a:gd name="connsiteY160" fmla="*/ 1196975 h 1704975"/>
              <a:gd name="connsiteX161" fmla="*/ 340400 w 1293444"/>
              <a:gd name="connsiteY161" fmla="*/ 1155700 h 1704975"/>
              <a:gd name="connsiteX162" fmla="*/ 334050 w 1293444"/>
              <a:gd name="connsiteY162" fmla="*/ 1130300 h 1704975"/>
              <a:gd name="connsiteX163" fmla="*/ 327700 w 1293444"/>
              <a:gd name="connsiteY163" fmla="*/ 1104900 h 1704975"/>
              <a:gd name="connsiteX164" fmla="*/ 324525 w 1293444"/>
              <a:gd name="connsiteY164" fmla="*/ 1092200 h 1704975"/>
              <a:gd name="connsiteX165" fmla="*/ 318175 w 1293444"/>
              <a:gd name="connsiteY165" fmla="*/ 1050925 h 1704975"/>
              <a:gd name="connsiteX166" fmla="*/ 315000 w 1293444"/>
              <a:gd name="connsiteY166" fmla="*/ 1031875 h 1704975"/>
              <a:gd name="connsiteX167" fmla="*/ 311825 w 1293444"/>
              <a:gd name="connsiteY167" fmla="*/ 1022350 h 1704975"/>
              <a:gd name="connsiteX168" fmla="*/ 308650 w 1293444"/>
              <a:gd name="connsiteY168" fmla="*/ 1006475 h 1704975"/>
              <a:gd name="connsiteX169" fmla="*/ 302300 w 1293444"/>
              <a:gd name="connsiteY169" fmla="*/ 987425 h 1704975"/>
              <a:gd name="connsiteX170" fmla="*/ 299125 w 1293444"/>
              <a:gd name="connsiteY170" fmla="*/ 974725 h 1704975"/>
              <a:gd name="connsiteX171" fmla="*/ 292775 w 1293444"/>
              <a:gd name="connsiteY171" fmla="*/ 955675 h 1704975"/>
              <a:gd name="connsiteX172" fmla="*/ 289600 w 1293444"/>
              <a:gd name="connsiteY172" fmla="*/ 946150 h 1704975"/>
              <a:gd name="connsiteX173" fmla="*/ 280075 w 1293444"/>
              <a:gd name="connsiteY173" fmla="*/ 923925 h 1704975"/>
              <a:gd name="connsiteX174" fmla="*/ 261025 w 1293444"/>
              <a:gd name="connsiteY174" fmla="*/ 908050 h 1704975"/>
              <a:gd name="connsiteX175" fmla="*/ 241975 w 1293444"/>
              <a:gd name="connsiteY175" fmla="*/ 901700 h 1704975"/>
              <a:gd name="connsiteX176" fmla="*/ 222925 w 1293444"/>
              <a:gd name="connsiteY176" fmla="*/ 889000 h 1704975"/>
              <a:gd name="connsiteX177" fmla="*/ 213400 w 1293444"/>
              <a:gd name="connsiteY177" fmla="*/ 885825 h 1704975"/>
              <a:gd name="connsiteX178" fmla="*/ 194350 w 1293444"/>
              <a:gd name="connsiteY178" fmla="*/ 873125 h 1704975"/>
              <a:gd name="connsiteX179" fmla="*/ 175300 w 1293444"/>
              <a:gd name="connsiteY179" fmla="*/ 860425 h 1704975"/>
              <a:gd name="connsiteX180" fmla="*/ 162600 w 1293444"/>
              <a:gd name="connsiteY180" fmla="*/ 850900 h 1704975"/>
              <a:gd name="connsiteX181" fmla="*/ 153075 w 1293444"/>
              <a:gd name="connsiteY181" fmla="*/ 847725 h 1704975"/>
              <a:gd name="connsiteX182" fmla="*/ 134025 w 1293444"/>
              <a:gd name="connsiteY182" fmla="*/ 835025 h 1704975"/>
              <a:gd name="connsiteX183" fmla="*/ 114975 w 1293444"/>
              <a:gd name="connsiteY183" fmla="*/ 822325 h 1704975"/>
              <a:gd name="connsiteX184" fmla="*/ 105450 w 1293444"/>
              <a:gd name="connsiteY184" fmla="*/ 815975 h 1704975"/>
              <a:gd name="connsiteX185" fmla="*/ 95925 w 1293444"/>
              <a:gd name="connsiteY185" fmla="*/ 812800 h 1704975"/>
              <a:gd name="connsiteX186" fmla="*/ 64175 w 1293444"/>
              <a:gd name="connsiteY186" fmla="*/ 790575 h 1704975"/>
              <a:gd name="connsiteX187" fmla="*/ 54650 w 1293444"/>
              <a:gd name="connsiteY187" fmla="*/ 787400 h 1704975"/>
              <a:gd name="connsiteX188" fmla="*/ 38775 w 1293444"/>
              <a:gd name="connsiteY188" fmla="*/ 771525 h 1704975"/>
              <a:gd name="connsiteX189" fmla="*/ 29250 w 1293444"/>
              <a:gd name="connsiteY189" fmla="*/ 762000 h 1704975"/>
              <a:gd name="connsiteX190" fmla="*/ 19725 w 1293444"/>
              <a:gd name="connsiteY190" fmla="*/ 758825 h 1704975"/>
              <a:gd name="connsiteX191" fmla="*/ 675 w 1293444"/>
              <a:gd name="connsiteY191" fmla="*/ 746125 h 1704975"/>
              <a:gd name="connsiteX192" fmla="*/ 51475 w 1293444"/>
              <a:gd name="connsiteY192" fmla="*/ 739775 h 1704975"/>
              <a:gd name="connsiteX193" fmla="*/ 67350 w 1293444"/>
              <a:gd name="connsiteY193" fmla="*/ 736600 h 1704975"/>
              <a:gd name="connsiteX194" fmla="*/ 102275 w 1293444"/>
              <a:gd name="connsiteY194" fmla="*/ 733425 h 1704975"/>
              <a:gd name="connsiteX195" fmla="*/ 130850 w 1293444"/>
              <a:gd name="connsiteY195" fmla="*/ 727075 h 1704975"/>
              <a:gd name="connsiteX196" fmla="*/ 149900 w 1293444"/>
              <a:gd name="connsiteY196" fmla="*/ 723900 h 1704975"/>
              <a:gd name="connsiteX197" fmla="*/ 159425 w 1293444"/>
              <a:gd name="connsiteY197" fmla="*/ 720725 h 1704975"/>
              <a:gd name="connsiteX198" fmla="*/ 175300 w 1293444"/>
              <a:gd name="connsiteY198" fmla="*/ 717550 h 1704975"/>
              <a:gd name="connsiteX199" fmla="*/ 194350 w 1293444"/>
              <a:gd name="connsiteY199" fmla="*/ 711200 h 1704975"/>
              <a:gd name="connsiteX200" fmla="*/ 222925 w 1293444"/>
              <a:gd name="connsiteY200" fmla="*/ 701675 h 1704975"/>
              <a:gd name="connsiteX201" fmla="*/ 232450 w 1293444"/>
              <a:gd name="connsiteY201" fmla="*/ 698500 h 1704975"/>
              <a:gd name="connsiteX202" fmla="*/ 241975 w 1293444"/>
              <a:gd name="connsiteY202" fmla="*/ 695325 h 1704975"/>
              <a:gd name="connsiteX203" fmla="*/ 381675 w 1293444"/>
              <a:gd name="connsiteY203" fmla="*/ 688975 h 1704975"/>
              <a:gd name="connsiteX204" fmla="*/ 397550 w 1293444"/>
              <a:gd name="connsiteY204" fmla="*/ 685800 h 1704975"/>
              <a:gd name="connsiteX205" fmla="*/ 407075 w 1293444"/>
              <a:gd name="connsiteY205" fmla="*/ 682625 h 1704975"/>
              <a:gd name="connsiteX206" fmla="*/ 419775 w 1293444"/>
              <a:gd name="connsiteY206" fmla="*/ 679450 h 1704975"/>
              <a:gd name="connsiteX207" fmla="*/ 438825 w 1293444"/>
              <a:gd name="connsiteY207" fmla="*/ 673100 h 1704975"/>
              <a:gd name="connsiteX208" fmla="*/ 467400 w 1293444"/>
              <a:gd name="connsiteY208" fmla="*/ 663575 h 1704975"/>
              <a:gd name="connsiteX209" fmla="*/ 495975 w 1293444"/>
              <a:gd name="connsiteY209" fmla="*/ 654050 h 1704975"/>
              <a:gd name="connsiteX210" fmla="*/ 505500 w 1293444"/>
              <a:gd name="connsiteY210" fmla="*/ 650875 h 1704975"/>
              <a:gd name="connsiteX211" fmla="*/ 527725 w 1293444"/>
              <a:gd name="connsiteY211" fmla="*/ 641350 h 1704975"/>
              <a:gd name="connsiteX212" fmla="*/ 537250 w 1293444"/>
              <a:gd name="connsiteY212" fmla="*/ 635000 h 1704975"/>
              <a:gd name="connsiteX213" fmla="*/ 546775 w 1293444"/>
              <a:gd name="connsiteY213" fmla="*/ 631825 h 1704975"/>
              <a:gd name="connsiteX214" fmla="*/ 559475 w 1293444"/>
              <a:gd name="connsiteY214" fmla="*/ 625475 h 1704975"/>
              <a:gd name="connsiteX215" fmla="*/ 578525 w 1293444"/>
              <a:gd name="connsiteY215" fmla="*/ 657225 h 1704975"/>
              <a:gd name="connsiteX216" fmla="*/ 588050 w 1293444"/>
              <a:gd name="connsiteY216" fmla="*/ 660400 h 1704975"/>
              <a:gd name="connsiteX217" fmla="*/ 607100 w 1293444"/>
              <a:gd name="connsiteY217" fmla="*/ 673100 h 1704975"/>
              <a:gd name="connsiteX218" fmla="*/ 626150 w 1293444"/>
              <a:gd name="connsiteY218" fmla="*/ 679450 h 1704975"/>
              <a:gd name="connsiteX219" fmla="*/ 635675 w 1293444"/>
              <a:gd name="connsiteY219" fmla="*/ 685800 h 1704975"/>
              <a:gd name="connsiteX220" fmla="*/ 654725 w 1293444"/>
              <a:gd name="connsiteY220" fmla="*/ 692150 h 1704975"/>
              <a:gd name="connsiteX221" fmla="*/ 645200 w 1293444"/>
              <a:gd name="connsiteY221" fmla="*/ 682625 h 1704975"/>
              <a:gd name="connsiteX222" fmla="*/ 635675 w 1293444"/>
              <a:gd name="connsiteY222" fmla="*/ 676275 h 1704975"/>
              <a:gd name="connsiteX223" fmla="*/ 632500 w 1293444"/>
              <a:gd name="connsiteY223" fmla="*/ 666750 h 1704975"/>
              <a:gd name="connsiteX224" fmla="*/ 635675 w 1293444"/>
              <a:gd name="connsiteY224" fmla="*/ 590550 h 1704975"/>
              <a:gd name="connsiteX225" fmla="*/ 642025 w 1293444"/>
              <a:gd name="connsiteY225" fmla="*/ 571500 h 1704975"/>
              <a:gd name="connsiteX226" fmla="*/ 648375 w 1293444"/>
              <a:gd name="connsiteY226" fmla="*/ 561975 h 1704975"/>
              <a:gd name="connsiteX227" fmla="*/ 638850 w 1293444"/>
              <a:gd name="connsiteY227" fmla="*/ 536575 h 1704975"/>
              <a:gd name="connsiteX228" fmla="*/ 629325 w 1293444"/>
              <a:gd name="connsiteY228" fmla="*/ 533400 h 1704975"/>
              <a:gd name="connsiteX229" fmla="*/ 626150 w 1293444"/>
              <a:gd name="connsiteY229" fmla="*/ 523875 h 1704975"/>
              <a:gd name="connsiteX230" fmla="*/ 632500 w 1293444"/>
              <a:gd name="connsiteY230" fmla="*/ 498475 h 1704975"/>
              <a:gd name="connsiteX231" fmla="*/ 635675 w 1293444"/>
              <a:gd name="connsiteY231" fmla="*/ 485775 h 1704975"/>
              <a:gd name="connsiteX232" fmla="*/ 626150 w 1293444"/>
              <a:gd name="connsiteY232" fmla="*/ 463550 h 1704975"/>
              <a:gd name="connsiteX233" fmla="*/ 616625 w 1293444"/>
              <a:gd name="connsiteY233" fmla="*/ 460375 h 1704975"/>
              <a:gd name="connsiteX234" fmla="*/ 607100 w 1293444"/>
              <a:gd name="connsiteY234" fmla="*/ 454025 h 1704975"/>
              <a:gd name="connsiteX235" fmla="*/ 591225 w 1293444"/>
              <a:gd name="connsiteY235" fmla="*/ 450850 h 1704975"/>
              <a:gd name="connsiteX236" fmla="*/ 569000 w 1293444"/>
              <a:gd name="connsiteY236" fmla="*/ 441325 h 1704975"/>
              <a:gd name="connsiteX237" fmla="*/ 546775 w 1293444"/>
              <a:gd name="connsiteY237" fmla="*/ 415925 h 1704975"/>
              <a:gd name="connsiteX238" fmla="*/ 540425 w 1293444"/>
              <a:gd name="connsiteY238" fmla="*/ 406400 h 1704975"/>
              <a:gd name="connsiteX239" fmla="*/ 530900 w 1293444"/>
              <a:gd name="connsiteY239" fmla="*/ 400050 h 1704975"/>
              <a:gd name="connsiteX240" fmla="*/ 508675 w 1293444"/>
              <a:gd name="connsiteY240" fmla="*/ 374650 h 1704975"/>
              <a:gd name="connsiteX241" fmla="*/ 502325 w 1293444"/>
              <a:gd name="connsiteY241" fmla="*/ 365125 h 1704975"/>
              <a:gd name="connsiteX242" fmla="*/ 483275 w 1293444"/>
              <a:gd name="connsiteY242" fmla="*/ 346075 h 1704975"/>
              <a:gd name="connsiteX243" fmla="*/ 486450 w 1293444"/>
              <a:gd name="connsiteY243" fmla="*/ 333375 h 1704975"/>
              <a:gd name="connsiteX244" fmla="*/ 492800 w 1293444"/>
              <a:gd name="connsiteY244" fmla="*/ 314325 h 1704975"/>
              <a:gd name="connsiteX245" fmla="*/ 489625 w 1293444"/>
              <a:gd name="connsiteY245" fmla="*/ 292100 h 1704975"/>
              <a:gd name="connsiteX246" fmla="*/ 461050 w 1293444"/>
              <a:gd name="connsiteY246" fmla="*/ 266700 h 1704975"/>
              <a:gd name="connsiteX247" fmla="*/ 435650 w 1293444"/>
              <a:gd name="connsiteY247" fmla="*/ 254000 h 1704975"/>
              <a:gd name="connsiteX248" fmla="*/ 413425 w 1293444"/>
              <a:gd name="connsiteY248" fmla="*/ 238125 h 1704975"/>
              <a:gd name="connsiteX249" fmla="*/ 403900 w 1293444"/>
              <a:gd name="connsiteY249" fmla="*/ 231775 h 1704975"/>
              <a:gd name="connsiteX250" fmla="*/ 388025 w 1293444"/>
              <a:gd name="connsiteY250" fmla="*/ 212725 h 1704975"/>
              <a:gd name="connsiteX251" fmla="*/ 372150 w 1293444"/>
              <a:gd name="connsiteY251" fmla="*/ 196850 h 1704975"/>
              <a:gd name="connsiteX252" fmla="*/ 365800 w 1293444"/>
              <a:gd name="connsiteY252" fmla="*/ 177800 h 1704975"/>
              <a:gd name="connsiteX253" fmla="*/ 359450 w 1293444"/>
              <a:gd name="connsiteY253" fmla="*/ 149225 h 1704975"/>
              <a:gd name="connsiteX254" fmla="*/ 362625 w 1293444"/>
              <a:gd name="connsiteY254" fmla="*/ 114300 h 1704975"/>
              <a:gd name="connsiteX255" fmla="*/ 368975 w 1293444"/>
              <a:gd name="connsiteY255" fmla="*/ 104775 h 1704975"/>
              <a:gd name="connsiteX256" fmla="*/ 375325 w 1293444"/>
              <a:gd name="connsiteY25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65900 w 1293444"/>
              <a:gd name="connsiteY53" fmla="*/ 454025 h 1704975"/>
              <a:gd name="connsiteX54" fmla="*/ 1207175 w 1293444"/>
              <a:gd name="connsiteY54" fmla="*/ 457200 h 1704975"/>
              <a:gd name="connsiteX55" fmla="*/ 1216700 w 1293444"/>
              <a:gd name="connsiteY55" fmla="*/ 463550 h 1704975"/>
              <a:gd name="connsiteX56" fmla="*/ 1270675 w 1293444"/>
              <a:gd name="connsiteY56" fmla="*/ 469900 h 1704975"/>
              <a:gd name="connsiteX57" fmla="*/ 1277025 w 1293444"/>
              <a:gd name="connsiteY57" fmla="*/ 479425 h 1704975"/>
              <a:gd name="connsiteX58" fmla="*/ 1273850 w 1293444"/>
              <a:gd name="connsiteY58" fmla="*/ 488950 h 1704975"/>
              <a:gd name="connsiteX59" fmla="*/ 1270675 w 1293444"/>
              <a:gd name="connsiteY59" fmla="*/ 511175 h 1704975"/>
              <a:gd name="connsiteX60" fmla="*/ 1264325 w 1293444"/>
              <a:gd name="connsiteY60" fmla="*/ 530225 h 1704975"/>
              <a:gd name="connsiteX61" fmla="*/ 1261150 w 1293444"/>
              <a:gd name="connsiteY61" fmla="*/ 539750 h 1704975"/>
              <a:gd name="connsiteX62" fmla="*/ 1254800 w 1293444"/>
              <a:gd name="connsiteY62" fmla="*/ 571500 h 1704975"/>
              <a:gd name="connsiteX63" fmla="*/ 1254800 w 1293444"/>
              <a:gd name="connsiteY63" fmla="*/ 692150 h 1704975"/>
              <a:gd name="connsiteX64" fmla="*/ 1257975 w 1293444"/>
              <a:gd name="connsiteY64" fmla="*/ 714375 h 1704975"/>
              <a:gd name="connsiteX65" fmla="*/ 1261150 w 1293444"/>
              <a:gd name="connsiteY65" fmla="*/ 723900 h 1704975"/>
              <a:gd name="connsiteX66" fmla="*/ 1273850 w 1293444"/>
              <a:gd name="connsiteY66" fmla="*/ 727075 h 1704975"/>
              <a:gd name="connsiteX67" fmla="*/ 1292900 w 1293444"/>
              <a:gd name="connsiteY67" fmla="*/ 739775 h 1704975"/>
              <a:gd name="connsiteX68" fmla="*/ 1289725 w 1293444"/>
              <a:gd name="connsiteY68" fmla="*/ 784225 h 1704975"/>
              <a:gd name="connsiteX69" fmla="*/ 1273850 w 1293444"/>
              <a:gd name="connsiteY69" fmla="*/ 800100 h 1704975"/>
              <a:gd name="connsiteX70" fmla="*/ 1264325 w 1293444"/>
              <a:gd name="connsiteY70" fmla="*/ 809625 h 1704975"/>
              <a:gd name="connsiteX71" fmla="*/ 1219875 w 1293444"/>
              <a:gd name="connsiteY71" fmla="*/ 819150 h 1704975"/>
              <a:gd name="connsiteX72" fmla="*/ 1200825 w 1293444"/>
              <a:gd name="connsiteY72" fmla="*/ 825500 h 1704975"/>
              <a:gd name="connsiteX73" fmla="*/ 1181775 w 1293444"/>
              <a:gd name="connsiteY73" fmla="*/ 838200 h 1704975"/>
              <a:gd name="connsiteX74" fmla="*/ 1172250 w 1293444"/>
              <a:gd name="connsiteY74" fmla="*/ 844550 h 1704975"/>
              <a:gd name="connsiteX75" fmla="*/ 1153200 w 1293444"/>
              <a:gd name="connsiteY75" fmla="*/ 850900 h 1704975"/>
              <a:gd name="connsiteX76" fmla="*/ 1140500 w 1293444"/>
              <a:gd name="connsiteY76" fmla="*/ 857250 h 1704975"/>
              <a:gd name="connsiteX77" fmla="*/ 1130975 w 1293444"/>
              <a:gd name="connsiteY77" fmla="*/ 863600 h 1704975"/>
              <a:gd name="connsiteX78" fmla="*/ 1105575 w 1293444"/>
              <a:gd name="connsiteY78" fmla="*/ 866775 h 1704975"/>
              <a:gd name="connsiteX79" fmla="*/ 1086525 w 1293444"/>
              <a:gd name="connsiteY79" fmla="*/ 873125 h 1704975"/>
              <a:gd name="connsiteX80" fmla="*/ 1077000 w 1293444"/>
              <a:gd name="connsiteY80" fmla="*/ 879475 h 1704975"/>
              <a:gd name="connsiteX81" fmla="*/ 1057950 w 1293444"/>
              <a:gd name="connsiteY81" fmla="*/ 885825 h 1704975"/>
              <a:gd name="connsiteX82" fmla="*/ 1048425 w 1293444"/>
              <a:gd name="connsiteY82" fmla="*/ 889000 h 1704975"/>
              <a:gd name="connsiteX83" fmla="*/ 1029375 w 1293444"/>
              <a:gd name="connsiteY83" fmla="*/ 908050 h 1704975"/>
              <a:gd name="connsiteX84" fmla="*/ 1010325 w 1293444"/>
              <a:gd name="connsiteY84" fmla="*/ 914400 h 1704975"/>
              <a:gd name="connsiteX85" fmla="*/ 1003975 w 1293444"/>
              <a:gd name="connsiteY85" fmla="*/ 923925 h 1704975"/>
              <a:gd name="connsiteX86" fmla="*/ 994450 w 1293444"/>
              <a:gd name="connsiteY86" fmla="*/ 933450 h 1704975"/>
              <a:gd name="connsiteX87" fmla="*/ 991275 w 1293444"/>
              <a:gd name="connsiteY87" fmla="*/ 942975 h 1704975"/>
              <a:gd name="connsiteX88" fmla="*/ 988100 w 1293444"/>
              <a:gd name="connsiteY88" fmla="*/ 962025 h 1704975"/>
              <a:gd name="connsiteX89" fmla="*/ 969050 w 1293444"/>
              <a:gd name="connsiteY89" fmla="*/ 968375 h 1704975"/>
              <a:gd name="connsiteX90" fmla="*/ 950000 w 1293444"/>
              <a:gd name="connsiteY90" fmla="*/ 981075 h 1704975"/>
              <a:gd name="connsiteX91" fmla="*/ 940475 w 1293444"/>
              <a:gd name="connsiteY91" fmla="*/ 987425 h 1704975"/>
              <a:gd name="connsiteX92" fmla="*/ 930950 w 1293444"/>
              <a:gd name="connsiteY92" fmla="*/ 1006475 h 1704975"/>
              <a:gd name="connsiteX93" fmla="*/ 924600 w 1293444"/>
              <a:gd name="connsiteY93" fmla="*/ 1016000 h 1704975"/>
              <a:gd name="connsiteX94" fmla="*/ 921425 w 1293444"/>
              <a:gd name="connsiteY94" fmla="*/ 1025525 h 1704975"/>
              <a:gd name="connsiteX95" fmla="*/ 905550 w 1293444"/>
              <a:gd name="connsiteY95" fmla="*/ 1044575 h 1704975"/>
              <a:gd name="connsiteX96" fmla="*/ 896025 w 1293444"/>
              <a:gd name="connsiteY96" fmla="*/ 1063625 h 1704975"/>
              <a:gd name="connsiteX97" fmla="*/ 867450 w 1293444"/>
              <a:gd name="connsiteY97" fmla="*/ 1085850 h 1704975"/>
              <a:gd name="connsiteX98" fmla="*/ 848400 w 1293444"/>
              <a:gd name="connsiteY98" fmla="*/ 1095375 h 1704975"/>
              <a:gd name="connsiteX99" fmla="*/ 813475 w 1293444"/>
              <a:gd name="connsiteY99" fmla="*/ 1092200 h 1704975"/>
              <a:gd name="connsiteX100" fmla="*/ 772200 w 1293444"/>
              <a:gd name="connsiteY100" fmla="*/ 1098550 h 1704975"/>
              <a:gd name="connsiteX101" fmla="*/ 759500 w 1293444"/>
              <a:gd name="connsiteY101" fmla="*/ 1127125 h 1704975"/>
              <a:gd name="connsiteX102" fmla="*/ 756325 w 1293444"/>
              <a:gd name="connsiteY102" fmla="*/ 1136650 h 1704975"/>
              <a:gd name="connsiteX103" fmla="*/ 740450 w 1293444"/>
              <a:gd name="connsiteY103" fmla="*/ 1155700 h 1704975"/>
              <a:gd name="connsiteX104" fmla="*/ 718225 w 1293444"/>
              <a:gd name="connsiteY104" fmla="*/ 1181100 h 1704975"/>
              <a:gd name="connsiteX105" fmla="*/ 721400 w 1293444"/>
              <a:gd name="connsiteY105" fmla="*/ 1238250 h 1704975"/>
              <a:gd name="connsiteX106" fmla="*/ 727750 w 1293444"/>
              <a:gd name="connsiteY106" fmla="*/ 1247775 h 1704975"/>
              <a:gd name="connsiteX107" fmla="*/ 730925 w 1293444"/>
              <a:gd name="connsiteY107" fmla="*/ 1257300 h 1704975"/>
              <a:gd name="connsiteX108" fmla="*/ 740450 w 1293444"/>
              <a:gd name="connsiteY108" fmla="*/ 1276350 h 1704975"/>
              <a:gd name="connsiteX109" fmla="*/ 743625 w 1293444"/>
              <a:gd name="connsiteY109" fmla="*/ 1320800 h 1704975"/>
              <a:gd name="connsiteX110" fmla="*/ 746800 w 1293444"/>
              <a:gd name="connsiteY110" fmla="*/ 1330325 h 1704975"/>
              <a:gd name="connsiteX111" fmla="*/ 756325 w 1293444"/>
              <a:gd name="connsiteY111" fmla="*/ 1336675 h 1704975"/>
              <a:gd name="connsiteX112" fmla="*/ 762675 w 1293444"/>
              <a:gd name="connsiteY112" fmla="*/ 1346200 h 1704975"/>
              <a:gd name="connsiteX113" fmla="*/ 769025 w 1293444"/>
              <a:gd name="connsiteY113" fmla="*/ 1393825 h 1704975"/>
              <a:gd name="connsiteX114" fmla="*/ 775375 w 1293444"/>
              <a:gd name="connsiteY114" fmla="*/ 1412875 h 1704975"/>
              <a:gd name="connsiteX115" fmla="*/ 781725 w 1293444"/>
              <a:gd name="connsiteY115" fmla="*/ 1435100 h 1704975"/>
              <a:gd name="connsiteX116" fmla="*/ 772200 w 1293444"/>
              <a:gd name="connsiteY116" fmla="*/ 1460500 h 1704975"/>
              <a:gd name="connsiteX117" fmla="*/ 762675 w 1293444"/>
              <a:gd name="connsiteY117" fmla="*/ 1466850 h 1704975"/>
              <a:gd name="connsiteX118" fmla="*/ 753150 w 1293444"/>
              <a:gd name="connsiteY118" fmla="*/ 1485900 h 1704975"/>
              <a:gd name="connsiteX119" fmla="*/ 749975 w 1293444"/>
              <a:gd name="connsiteY119" fmla="*/ 1514475 h 1704975"/>
              <a:gd name="connsiteX120" fmla="*/ 740450 w 1293444"/>
              <a:gd name="connsiteY120" fmla="*/ 1520825 h 1704975"/>
              <a:gd name="connsiteX121" fmla="*/ 730925 w 1293444"/>
              <a:gd name="connsiteY121" fmla="*/ 1530350 h 1704975"/>
              <a:gd name="connsiteX122" fmla="*/ 718225 w 1293444"/>
              <a:gd name="connsiteY122" fmla="*/ 1549400 h 1704975"/>
              <a:gd name="connsiteX123" fmla="*/ 711875 w 1293444"/>
              <a:gd name="connsiteY123" fmla="*/ 1558925 h 1704975"/>
              <a:gd name="connsiteX124" fmla="*/ 702350 w 1293444"/>
              <a:gd name="connsiteY124" fmla="*/ 1568450 h 1704975"/>
              <a:gd name="connsiteX125" fmla="*/ 699175 w 1293444"/>
              <a:gd name="connsiteY125" fmla="*/ 1577975 h 1704975"/>
              <a:gd name="connsiteX126" fmla="*/ 686475 w 1293444"/>
              <a:gd name="connsiteY126" fmla="*/ 1597025 h 1704975"/>
              <a:gd name="connsiteX127" fmla="*/ 676950 w 1293444"/>
              <a:gd name="connsiteY127" fmla="*/ 1616075 h 1704975"/>
              <a:gd name="connsiteX128" fmla="*/ 667425 w 1293444"/>
              <a:gd name="connsiteY128" fmla="*/ 1619250 h 1704975"/>
              <a:gd name="connsiteX129" fmla="*/ 648375 w 1293444"/>
              <a:gd name="connsiteY129" fmla="*/ 1631950 h 1704975"/>
              <a:gd name="connsiteX130" fmla="*/ 638850 w 1293444"/>
              <a:gd name="connsiteY130" fmla="*/ 1638300 h 1704975"/>
              <a:gd name="connsiteX131" fmla="*/ 607100 w 1293444"/>
              <a:gd name="connsiteY131" fmla="*/ 1676400 h 1704975"/>
              <a:gd name="connsiteX132" fmla="*/ 556300 w 1293444"/>
              <a:gd name="connsiteY132" fmla="*/ 1679575 h 1704975"/>
              <a:gd name="connsiteX133" fmla="*/ 537250 w 1293444"/>
              <a:gd name="connsiteY133" fmla="*/ 1685925 h 1704975"/>
              <a:gd name="connsiteX134" fmla="*/ 515025 w 1293444"/>
              <a:gd name="connsiteY134" fmla="*/ 1698625 h 1704975"/>
              <a:gd name="connsiteX135" fmla="*/ 495975 w 1293444"/>
              <a:gd name="connsiteY135" fmla="*/ 1704975 h 1704975"/>
              <a:gd name="connsiteX136" fmla="*/ 476925 w 1293444"/>
              <a:gd name="connsiteY136" fmla="*/ 1701800 h 1704975"/>
              <a:gd name="connsiteX137" fmla="*/ 470575 w 1293444"/>
              <a:gd name="connsiteY137" fmla="*/ 1692275 h 1704975"/>
              <a:gd name="connsiteX138" fmla="*/ 467400 w 1293444"/>
              <a:gd name="connsiteY138" fmla="*/ 1660525 h 1704975"/>
              <a:gd name="connsiteX139" fmla="*/ 457875 w 1293444"/>
              <a:gd name="connsiteY139" fmla="*/ 1641475 h 1704975"/>
              <a:gd name="connsiteX140" fmla="*/ 448350 w 1293444"/>
              <a:gd name="connsiteY140" fmla="*/ 1635125 h 1704975"/>
              <a:gd name="connsiteX141" fmla="*/ 445175 w 1293444"/>
              <a:gd name="connsiteY141" fmla="*/ 1625600 h 1704975"/>
              <a:gd name="connsiteX142" fmla="*/ 435650 w 1293444"/>
              <a:gd name="connsiteY142" fmla="*/ 1606550 h 1704975"/>
              <a:gd name="connsiteX143" fmla="*/ 432475 w 1293444"/>
              <a:gd name="connsiteY143" fmla="*/ 1495425 h 1704975"/>
              <a:gd name="connsiteX144" fmla="*/ 429300 w 1293444"/>
              <a:gd name="connsiteY144" fmla="*/ 1485900 h 1704975"/>
              <a:gd name="connsiteX145" fmla="*/ 426125 w 1293444"/>
              <a:gd name="connsiteY145" fmla="*/ 1473200 h 1704975"/>
              <a:gd name="connsiteX146" fmla="*/ 419775 w 1293444"/>
              <a:gd name="connsiteY146" fmla="*/ 1463675 h 1704975"/>
              <a:gd name="connsiteX147" fmla="*/ 416600 w 1293444"/>
              <a:gd name="connsiteY147" fmla="*/ 1454150 h 1704975"/>
              <a:gd name="connsiteX148" fmla="*/ 403900 w 1293444"/>
              <a:gd name="connsiteY148" fmla="*/ 1435100 h 1704975"/>
              <a:gd name="connsiteX149" fmla="*/ 397550 w 1293444"/>
              <a:gd name="connsiteY149" fmla="*/ 1416050 h 1704975"/>
              <a:gd name="connsiteX150" fmla="*/ 394375 w 1293444"/>
              <a:gd name="connsiteY150" fmla="*/ 1381125 h 1704975"/>
              <a:gd name="connsiteX151" fmla="*/ 391200 w 1293444"/>
              <a:gd name="connsiteY151" fmla="*/ 1368425 h 1704975"/>
              <a:gd name="connsiteX152" fmla="*/ 388025 w 1293444"/>
              <a:gd name="connsiteY152" fmla="*/ 1352550 h 1704975"/>
              <a:gd name="connsiteX153" fmla="*/ 381675 w 1293444"/>
              <a:gd name="connsiteY153" fmla="*/ 1333500 h 1704975"/>
              <a:gd name="connsiteX154" fmla="*/ 378500 w 1293444"/>
              <a:gd name="connsiteY154" fmla="*/ 1323975 h 1704975"/>
              <a:gd name="connsiteX155" fmla="*/ 375325 w 1293444"/>
              <a:gd name="connsiteY155" fmla="*/ 1308100 h 1704975"/>
              <a:gd name="connsiteX156" fmla="*/ 368975 w 1293444"/>
              <a:gd name="connsiteY156" fmla="*/ 1289050 h 1704975"/>
              <a:gd name="connsiteX157" fmla="*/ 362625 w 1293444"/>
              <a:gd name="connsiteY157" fmla="*/ 1260475 h 1704975"/>
              <a:gd name="connsiteX158" fmla="*/ 359450 w 1293444"/>
              <a:gd name="connsiteY158" fmla="*/ 1231900 h 1704975"/>
              <a:gd name="connsiteX159" fmla="*/ 349925 w 1293444"/>
              <a:gd name="connsiteY159" fmla="*/ 1196975 h 1704975"/>
              <a:gd name="connsiteX160" fmla="*/ 340400 w 1293444"/>
              <a:gd name="connsiteY160" fmla="*/ 1155700 h 1704975"/>
              <a:gd name="connsiteX161" fmla="*/ 334050 w 1293444"/>
              <a:gd name="connsiteY161" fmla="*/ 1130300 h 1704975"/>
              <a:gd name="connsiteX162" fmla="*/ 327700 w 1293444"/>
              <a:gd name="connsiteY162" fmla="*/ 1104900 h 1704975"/>
              <a:gd name="connsiteX163" fmla="*/ 324525 w 1293444"/>
              <a:gd name="connsiteY163" fmla="*/ 1092200 h 1704975"/>
              <a:gd name="connsiteX164" fmla="*/ 318175 w 1293444"/>
              <a:gd name="connsiteY164" fmla="*/ 1050925 h 1704975"/>
              <a:gd name="connsiteX165" fmla="*/ 315000 w 1293444"/>
              <a:gd name="connsiteY165" fmla="*/ 1031875 h 1704975"/>
              <a:gd name="connsiteX166" fmla="*/ 311825 w 1293444"/>
              <a:gd name="connsiteY166" fmla="*/ 1022350 h 1704975"/>
              <a:gd name="connsiteX167" fmla="*/ 308650 w 1293444"/>
              <a:gd name="connsiteY167" fmla="*/ 1006475 h 1704975"/>
              <a:gd name="connsiteX168" fmla="*/ 302300 w 1293444"/>
              <a:gd name="connsiteY168" fmla="*/ 987425 h 1704975"/>
              <a:gd name="connsiteX169" fmla="*/ 299125 w 1293444"/>
              <a:gd name="connsiteY169" fmla="*/ 974725 h 1704975"/>
              <a:gd name="connsiteX170" fmla="*/ 292775 w 1293444"/>
              <a:gd name="connsiteY170" fmla="*/ 955675 h 1704975"/>
              <a:gd name="connsiteX171" fmla="*/ 289600 w 1293444"/>
              <a:gd name="connsiteY171" fmla="*/ 946150 h 1704975"/>
              <a:gd name="connsiteX172" fmla="*/ 280075 w 1293444"/>
              <a:gd name="connsiteY172" fmla="*/ 923925 h 1704975"/>
              <a:gd name="connsiteX173" fmla="*/ 261025 w 1293444"/>
              <a:gd name="connsiteY173" fmla="*/ 908050 h 1704975"/>
              <a:gd name="connsiteX174" fmla="*/ 241975 w 1293444"/>
              <a:gd name="connsiteY174" fmla="*/ 901700 h 1704975"/>
              <a:gd name="connsiteX175" fmla="*/ 222925 w 1293444"/>
              <a:gd name="connsiteY175" fmla="*/ 889000 h 1704975"/>
              <a:gd name="connsiteX176" fmla="*/ 213400 w 1293444"/>
              <a:gd name="connsiteY176" fmla="*/ 885825 h 1704975"/>
              <a:gd name="connsiteX177" fmla="*/ 194350 w 1293444"/>
              <a:gd name="connsiteY177" fmla="*/ 873125 h 1704975"/>
              <a:gd name="connsiteX178" fmla="*/ 175300 w 1293444"/>
              <a:gd name="connsiteY178" fmla="*/ 860425 h 1704975"/>
              <a:gd name="connsiteX179" fmla="*/ 162600 w 1293444"/>
              <a:gd name="connsiteY179" fmla="*/ 850900 h 1704975"/>
              <a:gd name="connsiteX180" fmla="*/ 153075 w 1293444"/>
              <a:gd name="connsiteY180" fmla="*/ 847725 h 1704975"/>
              <a:gd name="connsiteX181" fmla="*/ 134025 w 1293444"/>
              <a:gd name="connsiteY181" fmla="*/ 835025 h 1704975"/>
              <a:gd name="connsiteX182" fmla="*/ 114975 w 1293444"/>
              <a:gd name="connsiteY182" fmla="*/ 822325 h 1704975"/>
              <a:gd name="connsiteX183" fmla="*/ 105450 w 1293444"/>
              <a:gd name="connsiteY183" fmla="*/ 815975 h 1704975"/>
              <a:gd name="connsiteX184" fmla="*/ 95925 w 1293444"/>
              <a:gd name="connsiteY184" fmla="*/ 812800 h 1704975"/>
              <a:gd name="connsiteX185" fmla="*/ 64175 w 1293444"/>
              <a:gd name="connsiteY185" fmla="*/ 790575 h 1704975"/>
              <a:gd name="connsiteX186" fmla="*/ 54650 w 1293444"/>
              <a:gd name="connsiteY186" fmla="*/ 787400 h 1704975"/>
              <a:gd name="connsiteX187" fmla="*/ 38775 w 1293444"/>
              <a:gd name="connsiteY187" fmla="*/ 771525 h 1704975"/>
              <a:gd name="connsiteX188" fmla="*/ 29250 w 1293444"/>
              <a:gd name="connsiteY188" fmla="*/ 762000 h 1704975"/>
              <a:gd name="connsiteX189" fmla="*/ 19725 w 1293444"/>
              <a:gd name="connsiteY189" fmla="*/ 758825 h 1704975"/>
              <a:gd name="connsiteX190" fmla="*/ 675 w 1293444"/>
              <a:gd name="connsiteY190" fmla="*/ 746125 h 1704975"/>
              <a:gd name="connsiteX191" fmla="*/ 51475 w 1293444"/>
              <a:gd name="connsiteY191" fmla="*/ 739775 h 1704975"/>
              <a:gd name="connsiteX192" fmla="*/ 67350 w 1293444"/>
              <a:gd name="connsiteY192" fmla="*/ 736600 h 1704975"/>
              <a:gd name="connsiteX193" fmla="*/ 102275 w 1293444"/>
              <a:gd name="connsiteY193" fmla="*/ 733425 h 1704975"/>
              <a:gd name="connsiteX194" fmla="*/ 130850 w 1293444"/>
              <a:gd name="connsiteY194" fmla="*/ 727075 h 1704975"/>
              <a:gd name="connsiteX195" fmla="*/ 149900 w 1293444"/>
              <a:gd name="connsiteY195" fmla="*/ 723900 h 1704975"/>
              <a:gd name="connsiteX196" fmla="*/ 159425 w 1293444"/>
              <a:gd name="connsiteY196" fmla="*/ 720725 h 1704975"/>
              <a:gd name="connsiteX197" fmla="*/ 175300 w 1293444"/>
              <a:gd name="connsiteY197" fmla="*/ 717550 h 1704975"/>
              <a:gd name="connsiteX198" fmla="*/ 194350 w 1293444"/>
              <a:gd name="connsiteY198" fmla="*/ 711200 h 1704975"/>
              <a:gd name="connsiteX199" fmla="*/ 222925 w 1293444"/>
              <a:gd name="connsiteY199" fmla="*/ 701675 h 1704975"/>
              <a:gd name="connsiteX200" fmla="*/ 232450 w 1293444"/>
              <a:gd name="connsiteY200" fmla="*/ 698500 h 1704975"/>
              <a:gd name="connsiteX201" fmla="*/ 241975 w 1293444"/>
              <a:gd name="connsiteY201" fmla="*/ 695325 h 1704975"/>
              <a:gd name="connsiteX202" fmla="*/ 381675 w 1293444"/>
              <a:gd name="connsiteY202" fmla="*/ 688975 h 1704975"/>
              <a:gd name="connsiteX203" fmla="*/ 397550 w 1293444"/>
              <a:gd name="connsiteY203" fmla="*/ 685800 h 1704975"/>
              <a:gd name="connsiteX204" fmla="*/ 407075 w 1293444"/>
              <a:gd name="connsiteY204" fmla="*/ 682625 h 1704975"/>
              <a:gd name="connsiteX205" fmla="*/ 419775 w 1293444"/>
              <a:gd name="connsiteY205" fmla="*/ 679450 h 1704975"/>
              <a:gd name="connsiteX206" fmla="*/ 438825 w 1293444"/>
              <a:gd name="connsiteY206" fmla="*/ 673100 h 1704975"/>
              <a:gd name="connsiteX207" fmla="*/ 467400 w 1293444"/>
              <a:gd name="connsiteY207" fmla="*/ 663575 h 1704975"/>
              <a:gd name="connsiteX208" fmla="*/ 495975 w 1293444"/>
              <a:gd name="connsiteY208" fmla="*/ 654050 h 1704975"/>
              <a:gd name="connsiteX209" fmla="*/ 505500 w 1293444"/>
              <a:gd name="connsiteY209" fmla="*/ 650875 h 1704975"/>
              <a:gd name="connsiteX210" fmla="*/ 527725 w 1293444"/>
              <a:gd name="connsiteY210" fmla="*/ 641350 h 1704975"/>
              <a:gd name="connsiteX211" fmla="*/ 537250 w 1293444"/>
              <a:gd name="connsiteY211" fmla="*/ 635000 h 1704975"/>
              <a:gd name="connsiteX212" fmla="*/ 546775 w 1293444"/>
              <a:gd name="connsiteY212" fmla="*/ 631825 h 1704975"/>
              <a:gd name="connsiteX213" fmla="*/ 559475 w 1293444"/>
              <a:gd name="connsiteY213" fmla="*/ 625475 h 1704975"/>
              <a:gd name="connsiteX214" fmla="*/ 578525 w 1293444"/>
              <a:gd name="connsiteY214" fmla="*/ 657225 h 1704975"/>
              <a:gd name="connsiteX215" fmla="*/ 588050 w 1293444"/>
              <a:gd name="connsiteY215" fmla="*/ 660400 h 1704975"/>
              <a:gd name="connsiteX216" fmla="*/ 607100 w 1293444"/>
              <a:gd name="connsiteY216" fmla="*/ 673100 h 1704975"/>
              <a:gd name="connsiteX217" fmla="*/ 626150 w 1293444"/>
              <a:gd name="connsiteY217" fmla="*/ 679450 h 1704975"/>
              <a:gd name="connsiteX218" fmla="*/ 635675 w 1293444"/>
              <a:gd name="connsiteY218" fmla="*/ 685800 h 1704975"/>
              <a:gd name="connsiteX219" fmla="*/ 654725 w 1293444"/>
              <a:gd name="connsiteY219" fmla="*/ 692150 h 1704975"/>
              <a:gd name="connsiteX220" fmla="*/ 645200 w 1293444"/>
              <a:gd name="connsiteY220" fmla="*/ 682625 h 1704975"/>
              <a:gd name="connsiteX221" fmla="*/ 635675 w 1293444"/>
              <a:gd name="connsiteY221" fmla="*/ 676275 h 1704975"/>
              <a:gd name="connsiteX222" fmla="*/ 632500 w 1293444"/>
              <a:gd name="connsiteY222" fmla="*/ 666750 h 1704975"/>
              <a:gd name="connsiteX223" fmla="*/ 635675 w 1293444"/>
              <a:gd name="connsiteY223" fmla="*/ 590550 h 1704975"/>
              <a:gd name="connsiteX224" fmla="*/ 642025 w 1293444"/>
              <a:gd name="connsiteY224" fmla="*/ 571500 h 1704975"/>
              <a:gd name="connsiteX225" fmla="*/ 648375 w 1293444"/>
              <a:gd name="connsiteY225" fmla="*/ 561975 h 1704975"/>
              <a:gd name="connsiteX226" fmla="*/ 638850 w 1293444"/>
              <a:gd name="connsiteY226" fmla="*/ 536575 h 1704975"/>
              <a:gd name="connsiteX227" fmla="*/ 629325 w 1293444"/>
              <a:gd name="connsiteY227" fmla="*/ 533400 h 1704975"/>
              <a:gd name="connsiteX228" fmla="*/ 626150 w 1293444"/>
              <a:gd name="connsiteY228" fmla="*/ 523875 h 1704975"/>
              <a:gd name="connsiteX229" fmla="*/ 632500 w 1293444"/>
              <a:gd name="connsiteY229" fmla="*/ 498475 h 1704975"/>
              <a:gd name="connsiteX230" fmla="*/ 635675 w 1293444"/>
              <a:gd name="connsiteY230" fmla="*/ 485775 h 1704975"/>
              <a:gd name="connsiteX231" fmla="*/ 626150 w 1293444"/>
              <a:gd name="connsiteY231" fmla="*/ 463550 h 1704975"/>
              <a:gd name="connsiteX232" fmla="*/ 616625 w 1293444"/>
              <a:gd name="connsiteY232" fmla="*/ 460375 h 1704975"/>
              <a:gd name="connsiteX233" fmla="*/ 607100 w 1293444"/>
              <a:gd name="connsiteY233" fmla="*/ 454025 h 1704975"/>
              <a:gd name="connsiteX234" fmla="*/ 591225 w 1293444"/>
              <a:gd name="connsiteY234" fmla="*/ 450850 h 1704975"/>
              <a:gd name="connsiteX235" fmla="*/ 569000 w 1293444"/>
              <a:gd name="connsiteY235" fmla="*/ 441325 h 1704975"/>
              <a:gd name="connsiteX236" fmla="*/ 546775 w 1293444"/>
              <a:gd name="connsiteY236" fmla="*/ 415925 h 1704975"/>
              <a:gd name="connsiteX237" fmla="*/ 540425 w 1293444"/>
              <a:gd name="connsiteY237" fmla="*/ 406400 h 1704975"/>
              <a:gd name="connsiteX238" fmla="*/ 530900 w 1293444"/>
              <a:gd name="connsiteY238" fmla="*/ 400050 h 1704975"/>
              <a:gd name="connsiteX239" fmla="*/ 508675 w 1293444"/>
              <a:gd name="connsiteY239" fmla="*/ 374650 h 1704975"/>
              <a:gd name="connsiteX240" fmla="*/ 502325 w 1293444"/>
              <a:gd name="connsiteY240" fmla="*/ 365125 h 1704975"/>
              <a:gd name="connsiteX241" fmla="*/ 483275 w 1293444"/>
              <a:gd name="connsiteY241" fmla="*/ 346075 h 1704975"/>
              <a:gd name="connsiteX242" fmla="*/ 486450 w 1293444"/>
              <a:gd name="connsiteY242" fmla="*/ 333375 h 1704975"/>
              <a:gd name="connsiteX243" fmla="*/ 492800 w 1293444"/>
              <a:gd name="connsiteY243" fmla="*/ 314325 h 1704975"/>
              <a:gd name="connsiteX244" fmla="*/ 489625 w 1293444"/>
              <a:gd name="connsiteY244" fmla="*/ 292100 h 1704975"/>
              <a:gd name="connsiteX245" fmla="*/ 461050 w 1293444"/>
              <a:gd name="connsiteY245" fmla="*/ 266700 h 1704975"/>
              <a:gd name="connsiteX246" fmla="*/ 435650 w 1293444"/>
              <a:gd name="connsiteY246" fmla="*/ 254000 h 1704975"/>
              <a:gd name="connsiteX247" fmla="*/ 413425 w 1293444"/>
              <a:gd name="connsiteY247" fmla="*/ 238125 h 1704975"/>
              <a:gd name="connsiteX248" fmla="*/ 403900 w 1293444"/>
              <a:gd name="connsiteY248" fmla="*/ 231775 h 1704975"/>
              <a:gd name="connsiteX249" fmla="*/ 388025 w 1293444"/>
              <a:gd name="connsiteY249" fmla="*/ 212725 h 1704975"/>
              <a:gd name="connsiteX250" fmla="*/ 372150 w 1293444"/>
              <a:gd name="connsiteY250" fmla="*/ 196850 h 1704975"/>
              <a:gd name="connsiteX251" fmla="*/ 365800 w 1293444"/>
              <a:gd name="connsiteY251" fmla="*/ 177800 h 1704975"/>
              <a:gd name="connsiteX252" fmla="*/ 359450 w 1293444"/>
              <a:gd name="connsiteY252" fmla="*/ 149225 h 1704975"/>
              <a:gd name="connsiteX253" fmla="*/ 362625 w 1293444"/>
              <a:gd name="connsiteY253" fmla="*/ 114300 h 1704975"/>
              <a:gd name="connsiteX254" fmla="*/ 368975 w 1293444"/>
              <a:gd name="connsiteY254" fmla="*/ 104775 h 1704975"/>
              <a:gd name="connsiteX255" fmla="*/ 375325 w 1293444"/>
              <a:gd name="connsiteY25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0500 w 1293444"/>
              <a:gd name="connsiteY53" fmla="*/ 393700 h 1704975"/>
              <a:gd name="connsiteX54" fmla="*/ 1165900 w 1293444"/>
              <a:gd name="connsiteY54" fmla="*/ 454025 h 1704975"/>
              <a:gd name="connsiteX55" fmla="*/ 1207175 w 1293444"/>
              <a:gd name="connsiteY55" fmla="*/ 457200 h 1704975"/>
              <a:gd name="connsiteX56" fmla="*/ 1216700 w 1293444"/>
              <a:gd name="connsiteY56" fmla="*/ 463550 h 1704975"/>
              <a:gd name="connsiteX57" fmla="*/ 1270675 w 1293444"/>
              <a:gd name="connsiteY57" fmla="*/ 469900 h 1704975"/>
              <a:gd name="connsiteX58" fmla="*/ 1277025 w 1293444"/>
              <a:gd name="connsiteY58" fmla="*/ 479425 h 1704975"/>
              <a:gd name="connsiteX59" fmla="*/ 1273850 w 1293444"/>
              <a:gd name="connsiteY59" fmla="*/ 488950 h 1704975"/>
              <a:gd name="connsiteX60" fmla="*/ 1270675 w 1293444"/>
              <a:gd name="connsiteY60" fmla="*/ 511175 h 1704975"/>
              <a:gd name="connsiteX61" fmla="*/ 1264325 w 1293444"/>
              <a:gd name="connsiteY61" fmla="*/ 530225 h 1704975"/>
              <a:gd name="connsiteX62" fmla="*/ 1261150 w 1293444"/>
              <a:gd name="connsiteY62" fmla="*/ 539750 h 1704975"/>
              <a:gd name="connsiteX63" fmla="*/ 1254800 w 1293444"/>
              <a:gd name="connsiteY63" fmla="*/ 571500 h 1704975"/>
              <a:gd name="connsiteX64" fmla="*/ 1254800 w 1293444"/>
              <a:gd name="connsiteY64" fmla="*/ 692150 h 1704975"/>
              <a:gd name="connsiteX65" fmla="*/ 1257975 w 1293444"/>
              <a:gd name="connsiteY65" fmla="*/ 714375 h 1704975"/>
              <a:gd name="connsiteX66" fmla="*/ 1261150 w 1293444"/>
              <a:gd name="connsiteY66" fmla="*/ 723900 h 1704975"/>
              <a:gd name="connsiteX67" fmla="*/ 1273850 w 1293444"/>
              <a:gd name="connsiteY67" fmla="*/ 727075 h 1704975"/>
              <a:gd name="connsiteX68" fmla="*/ 1292900 w 1293444"/>
              <a:gd name="connsiteY68" fmla="*/ 739775 h 1704975"/>
              <a:gd name="connsiteX69" fmla="*/ 1289725 w 1293444"/>
              <a:gd name="connsiteY69" fmla="*/ 784225 h 1704975"/>
              <a:gd name="connsiteX70" fmla="*/ 1273850 w 1293444"/>
              <a:gd name="connsiteY70" fmla="*/ 800100 h 1704975"/>
              <a:gd name="connsiteX71" fmla="*/ 1264325 w 1293444"/>
              <a:gd name="connsiteY71" fmla="*/ 809625 h 1704975"/>
              <a:gd name="connsiteX72" fmla="*/ 1219875 w 1293444"/>
              <a:gd name="connsiteY72" fmla="*/ 819150 h 1704975"/>
              <a:gd name="connsiteX73" fmla="*/ 1200825 w 1293444"/>
              <a:gd name="connsiteY73" fmla="*/ 825500 h 1704975"/>
              <a:gd name="connsiteX74" fmla="*/ 1181775 w 1293444"/>
              <a:gd name="connsiteY74" fmla="*/ 838200 h 1704975"/>
              <a:gd name="connsiteX75" fmla="*/ 1172250 w 1293444"/>
              <a:gd name="connsiteY75" fmla="*/ 844550 h 1704975"/>
              <a:gd name="connsiteX76" fmla="*/ 1153200 w 1293444"/>
              <a:gd name="connsiteY76" fmla="*/ 850900 h 1704975"/>
              <a:gd name="connsiteX77" fmla="*/ 1140500 w 1293444"/>
              <a:gd name="connsiteY77" fmla="*/ 857250 h 1704975"/>
              <a:gd name="connsiteX78" fmla="*/ 1130975 w 1293444"/>
              <a:gd name="connsiteY78" fmla="*/ 863600 h 1704975"/>
              <a:gd name="connsiteX79" fmla="*/ 1105575 w 1293444"/>
              <a:gd name="connsiteY79" fmla="*/ 866775 h 1704975"/>
              <a:gd name="connsiteX80" fmla="*/ 1086525 w 1293444"/>
              <a:gd name="connsiteY80" fmla="*/ 873125 h 1704975"/>
              <a:gd name="connsiteX81" fmla="*/ 1077000 w 1293444"/>
              <a:gd name="connsiteY81" fmla="*/ 879475 h 1704975"/>
              <a:gd name="connsiteX82" fmla="*/ 1057950 w 1293444"/>
              <a:gd name="connsiteY82" fmla="*/ 885825 h 1704975"/>
              <a:gd name="connsiteX83" fmla="*/ 1048425 w 1293444"/>
              <a:gd name="connsiteY83" fmla="*/ 889000 h 1704975"/>
              <a:gd name="connsiteX84" fmla="*/ 1029375 w 1293444"/>
              <a:gd name="connsiteY84" fmla="*/ 908050 h 1704975"/>
              <a:gd name="connsiteX85" fmla="*/ 1010325 w 1293444"/>
              <a:gd name="connsiteY85" fmla="*/ 914400 h 1704975"/>
              <a:gd name="connsiteX86" fmla="*/ 1003975 w 1293444"/>
              <a:gd name="connsiteY86" fmla="*/ 923925 h 1704975"/>
              <a:gd name="connsiteX87" fmla="*/ 994450 w 1293444"/>
              <a:gd name="connsiteY87" fmla="*/ 933450 h 1704975"/>
              <a:gd name="connsiteX88" fmla="*/ 991275 w 1293444"/>
              <a:gd name="connsiteY88" fmla="*/ 942975 h 1704975"/>
              <a:gd name="connsiteX89" fmla="*/ 988100 w 1293444"/>
              <a:gd name="connsiteY89" fmla="*/ 962025 h 1704975"/>
              <a:gd name="connsiteX90" fmla="*/ 969050 w 1293444"/>
              <a:gd name="connsiteY90" fmla="*/ 968375 h 1704975"/>
              <a:gd name="connsiteX91" fmla="*/ 950000 w 1293444"/>
              <a:gd name="connsiteY91" fmla="*/ 981075 h 1704975"/>
              <a:gd name="connsiteX92" fmla="*/ 940475 w 1293444"/>
              <a:gd name="connsiteY92" fmla="*/ 987425 h 1704975"/>
              <a:gd name="connsiteX93" fmla="*/ 930950 w 1293444"/>
              <a:gd name="connsiteY93" fmla="*/ 1006475 h 1704975"/>
              <a:gd name="connsiteX94" fmla="*/ 924600 w 1293444"/>
              <a:gd name="connsiteY94" fmla="*/ 1016000 h 1704975"/>
              <a:gd name="connsiteX95" fmla="*/ 921425 w 1293444"/>
              <a:gd name="connsiteY95" fmla="*/ 1025525 h 1704975"/>
              <a:gd name="connsiteX96" fmla="*/ 905550 w 1293444"/>
              <a:gd name="connsiteY96" fmla="*/ 1044575 h 1704975"/>
              <a:gd name="connsiteX97" fmla="*/ 896025 w 1293444"/>
              <a:gd name="connsiteY97" fmla="*/ 1063625 h 1704975"/>
              <a:gd name="connsiteX98" fmla="*/ 867450 w 1293444"/>
              <a:gd name="connsiteY98" fmla="*/ 1085850 h 1704975"/>
              <a:gd name="connsiteX99" fmla="*/ 848400 w 1293444"/>
              <a:gd name="connsiteY99" fmla="*/ 1095375 h 1704975"/>
              <a:gd name="connsiteX100" fmla="*/ 813475 w 1293444"/>
              <a:gd name="connsiteY100" fmla="*/ 1092200 h 1704975"/>
              <a:gd name="connsiteX101" fmla="*/ 772200 w 1293444"/>
              <a:gd name="connsiteY101" fmla="*/ 1098550 h 1704975"/>
              <a:gd name="connsiteX102" fmla="*/ 759500 w 1293444"/>
              <a:gd name="connsiteY102" fmla="*/ 1127125 h 1704975"/>
              <a:gd name="connsiteX103" fmla="*/ 756325 w 1293444"/>
              <a:gd name="connsiteY103" fmla="*/ 1136650 h 1704975"/>
              <a:gd name="connsiteX104" fmla="*/ 740450 w 1293444"/>
              <a:gd name="connsiteY104" fmla="*/ 1155700 h 1704975"/>
              <a:gd name="connsiteX105" fmla="*/ 718225 w 1293444"/>
              <a:gd name="connsiteY105" fmla="*/ 1181100 h 1704975"/>
              <a:gd name="connsiteX106" fmla="*/ 721400 w 1293444"/>
              <a:gd name="connsiteY106" fmla="*/ 1238250 h 1704975"/>
              <a:gd name="connsiteX107" fmla="*/ 727750 w 1293444"/>
              <a:gd name="connsiteY107" fmla="*/ 1247775 h 1704975"/>
              <a:gd name="connsiteX108" fmla="*/ 730925 w 1293444"/>
              <a:gd name="connsiteY108" fmla="*/ 1257300 h 1704975"/>
              <a:gd name="connsiteX109" fmla="*/ 740450 w 1293444"/>
              <a:gd name="connsiteY109" fmla="*/ 1276350 h 1704975"/>
              <a:gd name="connsiteX110" fmla="*/ 743625 w 1293444"/>
              <a:gd name="connsiteY110" fmla="*/ 1320800 h 1704975"/>
              <a:gd name="connsiteX111" fmla="*/ 746800 w 1293444"/>
              <a:gd name="connsiteY111" fmla="*/ 1330325 h 1704975"/>
              <a:gd name="connsiteX112" fmla="*/ 756325 w 1293444"/>
              <a:gd name="connsiteY112" fmla="*/ 1336675 h 1704975"/>
              <a:gd name="connsiteX113" fmla="*/ 762675 w 1293444"/>
              <a:gd name="connsiteY113" fmla="*/ 1346200 h 1704975"/>
              <a:gd name="connsiteX114" fmla="*/ 769025 w 1293444"/>
              <a:gd name="connsiteY114" fmla="*/ 1393825 h 1704975"/>
              <a:gd name="connsiteX115" fmla="*/ 775375 w 1293444"/>
              <a:gd name="connsiteY115" fmla="*/ 1412875 h 1704975"/>
              <a:gd name="connsiteX116" fmla="*/ 781725 w 1293444"/>
              <a:gd name="connsiteY116" fmla="*/ 1435100 h 1704975"/>
              <a:gd name="connsiteX117" fmla="*/ 772200 w 1293444"/>
              <a:gd name="connsiteY117" fmla="*/ 1460500 h 1704975"/>
              <a:gd name="connsiteX118" fmla="*/ 762675 w 1293444"/>
              <a:gd name="connsiteY118" fmla="*/ 1466850 h 1704975"/>
              <a:gd name="connsiteX119" fmla="*/ 753150 w 1293444"/>
              <a:gd name="connsiteY119" fmla="*/ 1485900 h 1704975"/>
              <a:gd name="connsiteX120" fmla="*/ 749975 w 1293444"/>
              <a:gd name="connsiteY120" fmla="*/ 1514475 h 1704975"/>
              <a:gd name="connsiteX121" fmla="*/ 740450 w 1293444"/>
              <a:gd name="connsiteY121" fmla="*/ 1520825 h 1704975"/>
              <a:gd name="connsiteX122" fmla="*/ 730925 w 1293444"/>
              <a:gd name="connsiteY122" fmla="*/ 1530350 h 1704975"/>
              <a:gd name="connsiteX123" fmla="*/ 718225 w 1293444"/>
              <a:gd name="connsiteY123" fmla="*/ 1549400 h 1704975"/>
              <a:gd name="connsiteX124" fmla="*/ 711875 w 1293444"/>
              <a:gd name="connsiteY124" fmla="*/ 1558925 h 1704975"/>
              <a:gd name="connsiteX125" fmla="*/ 702350 w 1293444"/>
              <a:gd name="connsiteY125" fmla="*/ 1568450 h 1704975"/>
              <a:gd name="connsiteX126" fmla="*/ 699175 w 1293444"/>
              <a:gd name="connsiteY126" fmla="*/ 1577975 h 1704975"/>
              <a:gd name="connsiteX127" fmla="*/ 686475 w 1293444"/>
              <a:gd name="connsiteY127" fmla="*/ 1597025 h 1704975"/>
              <a:gd name="connsiteX128" fmla="*/ 676950 w 1293444"/>
              <a:gd name="connsiteY128" fmla="*/ 1616075 h 1704975"/>
              <a:gd name="connsiteX129" fmla="*/ 667425 w 1293444"/>
              <a:gd name="connsiteY129" fmla="*/ 1619250 h 1704975"/>
              <a:gd name="connsiteX130" fmla="*/ 648375 w 1293444"/>
              <a:gd name="connsiteY130" fmla="*/ 1631950 h 1704975"/>
              <a:gd name="connsiteX131" fmla="*/ 638850 w 1293444"/>
              <a:gd name="connsiteY131" fmla="*/ 1638300 h 1704975"/>
              <a:gd name="connsiteX132" fmla="*/ 607100 w 1293444"/>
              <a:gd name="connsiteY132" fmla="*/ 1676400 h 1704975"/>
              <a:gd name="connsiteX133" fmla="*/ 556300 w 1293444"/>
              <a:gd name="connsiteY133" fmla="*/ 1679575 h 1704975"/>
              <a:gd name="connsiteX134" fmla="*/ 537250 w 1293444"/>
              <a:gd name="connsiteY134" fmla="*/ 1685925 h 1704975"/>
              <a:gd name="connsiteX135" fmla="*/ 515025 w 1293444"/>
              <a:gd name="connsiteY135" fmla="*/ 1698625 h 1704975"/>
              <a:gd name="connsiteX136" fmla="*/ 495975 w 1293444"/>
              <a:gd name="connsiteY136" fmla="*/ 1704975 h 1704975"/>
              <a:gd name="connsiteX137" fmla="*/ 476925 w 1293444"/>
              <a:gd name="connsiteY137" fmla="*/ 1701800 h 1704975"/>
              <a:gd name="connsiteX138" fmla="*/ 470575 w 1293444"/>
              <a:gd name="connsiteY138" fmla="*/ 1692275 h 1704975"/>
              <a:gd name="connsiteX139" fmla="*/ 467400 w 1293444"/>
              <a:gd name="connsiteY139" fmla="*/ 1660525 h 1704975"/>
              <a:gd name="connsiteX140" fmla="*/ 457875 w 1293444"/>
              <a:gd name="connsiteY140" fmla="*/ 1641475 h 1704975"/>
              <a:gd name="connsiteX141" fmla="*/ 448350 w 1293444"/>
              <a:gd name="connsiteY141" fmla="*/ 1635125 h 1704975"/>
              <a:gd name="connsiteX142" fmla="*/ 445175 w 1293444"/>
              <a:gd name="connsiteY142" fmla="*/ 1625600 h 1704975"/>
              <a:gd name="connsiteX143" fmla="*/ 435650 w 1293444"/>
              <a:gd name="connsiteY143" fmla="*/ 1606550 h 1704975"/>
              <a:gd name="connsiteX144" fmla="*/ 432475 w 1293444"/>
              <a:gd name="connsiteY144" fmla="*/ 1495425 h 1704975"/>
              <a:gd name="connsiteX145" fmla="*/ 429300 w 1293444"/>
              <a:gd name="connsiteY145" fmla="*/ 1485900 h 1704975"/>
              <a:gd name="connsiteX146" fmla="*/ 426125 w 1293444"/>
              <a:gd name="connsiteY146" fmla="*/ 1473200 h 1704975"/>
              <a:gd name="connsiteX147" fmla="*/ 419775 w 1293444"/>
              <a:gd name="connsiteY147" fmla="*/ 1463675 h 1704975"/>
              <a:gd name="connsiteX148" fmla="*/ 416600 w 1293444"/>
              <a:gd name="connsiteY148" fmla="*/ 1454150 h 1704975"/>
              <a:gd name="connsiteX149" fmla="*/ 403900 w 1293444"/>
              <a:gd name="connsiteY149" fmla="*/ 1435100 h 1704975"/>
              <a:gd name="connsiteX150" fmla="*/ 397550 w 1293444"/>
              <a:gd name="connsiteY150" fmla="*/ 1416050 h 1704975"/>
              <a:gd name="connsiteX151" fmla="*/ 394375 w 1293444"/>
              <a:gd name="connsiteY151" fmla="*/ 1381125 h 1704975"/>
              <a:gd name="connsiteX152" fmla="*/ 391200 w 1293444"/>
              <a:gd name="connsiteY152" fmla="*/ 1368425 h 1704975"/>
              <a:gd name="connsiteX153" fmla="*/ 388025 w 1293444"/>
              <a:gd name="connsiteY153" fmla="*/ 1352550 h 1704975"/>
              <a:gd name="connsiteX154" fmla="*/ 381675 w 1293444"/>
              <a:gd name="connsiteY154" fmla="*/ 1333500 h 1704975"/>
              <a:gd name="connsiteX155" fmla="*/ 378500 w 1293444"/>
              <a:gd name="connsiteY155" fmla="*/ 1323975 h 1704975"/>
              <a:gd name="connsiteX156" fmla="*/ 375325 w 1293444"/>
              <a:gd name="connsiteY156" fmla="*/ 1308100 h 1704975"/>
              <a:gd name="connsiteX157" fmla="*/ 368975 w 1293444"/>
              <a:gd name="connsiteY157" fmla="*/ 1289050 h 1704975"/>
              <a:gd name="connsiteX158" fmla="*/ 362625 w 1293444"/>
              <a:gd name="connsiteY158" fmla="*/ 1260475 h 1704975"/>
              <a:gd name="connsiteX159" fmla="*/ 359450 w 1293444"/>
              <a:gd name="connsiteY159" fmla="*/ 1231900 h 1704975"/>
              <a:gd name="connsiteX160" fmla="*/ 349925 w 1293444"/>
              <a:gd name="connsiteY160" fmla="*/ 1196975 h 1704975"/>
              <a:gd name="connsiteX161" fmla="*/ 340400 w 1293444"/>
              <a:gd name="connsiteY161" fmla="*/ 1155700 h 1704975"/>
              <a:gd name="connsiteX162" fmla="*/ 334050 w 1293444"/>
              <a:gd name="connsiteY162" fmla="*/ 1130300 h 1704975"/>
              <a:gd name="connsiteX163" fmla="*/ 327700 w 1293444"/>
              <a:gd name="connsiteY163" fmla="*/ 1104900 h 1704975"/>
              <a:gd name="connsiteX164" fmla="*/ 324525 w 1293444"/>
              <a:gd name="connsiteY164" fmla="*/ 1092200 h 1704975"/>
              <a:gd name="connsiteX165" fmla="*/ 318175 w 1293444"/>
              <a:gd name="connsiteY165" fmla="*/ 1050925 h 1704975"/>
              <a:gd name="connsiteX166" fmla="*/ 315000 w 1293444"/>
              <a:gd name="connsiteY166" fmla="*/ 1031875 h 1704975"/>
              <a:gd name="connsiteX167" fmla="*/ 311825 w 1293444"/>
              <a:gd name="connsiteY167" fmla="*/ 1022350 h 1704975"/>
              <a:gd name="connsiteX168" fmla="*/ 308650 w 1293444"/>
              <a:gd name="connsiteY168" fmla="*/ 1006475 h 1704975"/>
              <a:gd name="connsiteX169" fmla="*/ 302300 w 1293444"/>
              <a:gd name="connsiteY169" fmla="*/ 987425 h 1704975"/>
              <a:gd name="connsiteX170" fmla="*/ 299125 w 1293444"/>
              <a:gd name="connsiteY170" fmla="*/ 974725 h 1704975"/>
              <a:gd name="connsiteX171" fmla="*/ 292775 w 1293444"/>
              <a:gd name="connsiteY171" fmla="*/ 955675 h 1704975"/>
              <a:gd name="connsiteX172" fmla="*/ 289600 w 1293444"/>
              <a:gd name="connsiteY172" fmla="*/ 946150 h 1704975"/>
              <a:gd name="connsiteX173" fmla="*/ 280075 w 1293444"/>
              <a:gd name="connsiteY173" fmla="*/ 923925 h 1704975"/>
              <a:gd name="connsiteX174" fmla="*/ 261025 w 1293444"/>
              <a:gd name="connsiteY174" fmla="*/ 908050 h 1704975"/>
              <a:gd name="connsiteX175" fmla="*/ 241975 w 1293444"/>
              <a:gd name="connsiteY175" fmla="*/ 901700 h 1704975"/>
              <a:gd name="connsiteX176" fmla="*/ 222925 w 1293444"/>
              <a:gd name="connsiteY176" fmla="*/ 889000 h 1704975"/>
              <a:gd name="connsiteX177" fmla="*/ 213400 w 1293444"/>
              <a:gd name="connsiteY177" fmla="*/ 885825 h 1704975"/>
              <a:gd name="connsiteX178" fmla="*/ 194350 w 1293444"/>
              <a:gd name="connsiteY178" fmla="*/ 873125 h 1704975"/>
              <a:gd name="connsiteX179" fmla="*/ 175300 w 1293444"/>
              <a:gd name="connsiteY179" fmla="*/ 860425 h 1704975"/>
              <a:gd name="connsiteX180" fmla="*/ 162600 w 1293444"/>
              <a:gd name="connsiteY180" fmla="*/ 850900 h 1704975"/>
              <a:gd name="connsiteX181" fmla="*/ 153075 w 1293444"/>
              <a:gd name="connsiteY181" fmla="*/ 847725 h 1704975"/>
              <a:gd name="connsiteX182" fmla="*/ 134025 w 1293444"/>
              <a:gd name="connsiteY182" fmla="*/ 835025 h 1704975"/>
              <a:gd name="connsiteX183" fmla="*/ 114975 w 1293444"/>
              <a:gd name="connsiteY183" fmla="*/ 822325 h 1704975"/>
              <a:gd name="connsiteX184" fmla="*/ 105450 w 1293444"/>
              <a:gd name="connsiteY184" fmla="*/ 815975 h 1704975"/>
              <a:gd name="connsiteX185" fmla="*/ 95925 w 1293444"/>
              <a:gd name="connsiteY185" fmla="*/ 812800 h 1704975"/>
              <a:gd name="connsiteX186" fmla="*/ 64175 w 1293444"/>
              <a:gd name="connsiteY186" fmla="*/ 790575 h 1704975"/>
              <a:gd name="connsiteX187" fmla="*/ 54650 w 1293444"/>
              <a:gd name="connsiteY187" fmla="*/ 787400 h 1704975"/>
              <a:gd name="connsiteX188" fmla="*/ 38775 w 1293444"/>
              <a:gd name="connsiteY188" fmla="*/ 771525 h 1704975"/>
              <a:gd name="connsiteX189" fmla="*/ 29250 w 1293444"/>
              <a:gd name="connsiteY189" fmla="*/ 762000 h 1704975"/>
              <a:gd name="connsiteX190" fmla="*/ 19725 w 1293444"/>
              <a:gd name="connsiteY190" fmla="*/ 758825 h 1704975"/>
              <a:gd name="connsiteX191" fmla="*/ 675 w 1293444"/>
              <a:gd name="connsiteY191" fmla="*/ 746125 h 1704975"/>
              <a:gd name="connsiteX192" fmla="*/ 51475 w 1293444"/>
              <a:gd name="connsiteY192" fmla="*/ 739775 h 1704975"/>
              <a:gd name="connsiteX193" fmla="*/ 67350 w 1293444"/>
              <a:gd name="connsiteY193" fmla="*/ 736600 h 1704975"/>
              <a:gd name="connsiteX194" fmla="*/ 102275 w 1293444"/>
              <a:gd name="connsiteY194" fmla="*/ 733425 h 1704975"/>
              <a:gd name="connsiteX195" fmla="*/ 130850 w 1293444"/>
              <a:gd name="connsiteY195" fmla="*/ 727075 h 1704975"/>
              <a:gd name="connsiteX196" fmla="*/ 149900 w 1293444"/>
              <a:gd name="connsiteY196" fmla="*/ 723900 h 1704975"/>
              <a:gd name="connsiteX197" fmla="*/ 159425 w 1293444"/>
              <a:gd name="connsiteY197" fmla="*/ 720725 h 1704975"/>
              <a:gd name="connsiteX198" fmla="*/ 175300 w 1293444"/>
              <a:gd name="connsiteY198" fmla="*/ 717550 h 1704975"/>
              <a:gd name="connsiteX199" fmla="*/ 194350 w 1293444"/>
              <a:gd name="connsiteY199" fmla="*/ 711200 h 1704975"/>
              <a:gd name="connsiteX200" fmla="*/ 222925 w 1293444"/>
              <a:gd name="connsiteY200" fmla="*/ 701675 h 1704975"/>
              <a:gd name="connsiteX201" fmla="*/ 232450 w 1293444"/>
              <a:gd name="connsiteY201" fmla="*/ 698500 h 1704975"/>
              <a:gd name="connsiteX202" fmla="*/ 241975 w 1293444"/>
              <a:gd name="connsiteY202" fmla="*/ 695325 h 1704975"/>
              <a:gd name="connsiteX203" fmla="*/ 381675 w 1293444"/>
              <a:gd name="connsiteY203" fmla="*/ 688975 h 1704975"/>
              <a:gd name="connsiteX204" fmla="*/ 397550 w 1293444"/>
              <a:gd name="connsiteY204" fmla="*/ 685800 h 1704975"/>
              <a:gd name="connsiteX205" fmla="*/ 407075 w 1293444"/>
              <a:gd name="connsiteY205" fmla="*/ 682625 h 1704975"/>
              <a:gd name="connsiteX206" fmla="*/ 419775 w 1293444"/>
              <a:gd name="connsiteY206" fmla="*/ 679450 h 1704975"/>
              <a:gd name="connsiteX207" fmla="*/ 438825 w 1293444"/>
              <a:gd name="connsiteY207" fmla="*/ 673100 h 1704975"/>
              <a:gd name="connsiteX208" fmla="*/ 467400 w 1293444"/>
              <a:gd name="connsiteY208" fmla="*/ 663575 h 1704975"/>
              <a:gd name="connsiteX209" fmla="*/ 495975 w 1293444"/>
              <a:gd name="connsiteY209" fmla="*/ 654050 h 1704975"/>
              <a:gd name="connsiteX210" fmla="*/ 505500 w 1293444"/>
              <a:gd name="connsiteY210" fmla="*/ 650875 h 1704975"/>
              <a:gd name="connsiteX211" fmla="*/ 527725 w 1293444"/>
              <a:gd name="connsiteY211" fmla="*/ 641350 h 1704975"/>
              <a:gd name="connsiteX212" fmla="*/ 537250 w 1293444"/>
              <a:gd name="connsiteY212" fmla="*/ 635000 h 1704975"/>
              <a:gd name="connsiteX213" fmla="*/ 546775 w 1293444"/>
              <a:gd name="connsiteY213" fmla="*/ 631825 h 1704975"/>
              <a:gd name="connsiteX214" fmla="*/ 559475 w 1293444"/>
              <a:gd name="connsiteY214" fmla="*/ 625475 h 1704975"/>
              <a:gd name="connsiteX215" fmla="*/ 578525 w 1293444"/>
              <a:gd name="connsiteY215" fmla="*/ 657225 h 1704975"/>
              <a:gd name="connsiteX216" fmla="*/ 588050 w 1293444"/>
              <a:gd name="connsiteY216" fmla="*/ 660400 h 1704975"/>
              <a:gd name="connsiteX217" fmla="*/ 607100 w 1293444"/>
              <a:gd name="connsiteY217" fmla="*/ 673100 h 1704975"/>
              <a:gd name="connsiteX218" fmla="*/ 626150 w 1293444"/>
              <a:gd name="connsiteY218" fmla="*/ 679450 h 1704975"/>
              <a:gd name="connsiteX219" fmla="*/ 635675 w 1293444"/>
              <a:gd name="connsiteY219" fmla="*/ 685800 h 1704975"/>
              <a:gd name="connsiteX220" fmla="*/ 654725 w 1293444"/>
              <a:gd name="connsiteY220" fmla="*/ 692150 h 1704975"/>
              <a:gd name="connsiteX221" fmla="*/ 645200 w 1293444"/>
              <a:gd name="connsiteY221" fmla="*/ 682625 h 1704975"/>
              <a:gd name="connsiteX222" fmla="*/ 635675 w 1293444"/>
              <a:gd name="connsiteY222" fmla="*/ 676275 h 1704975"/>
              <a:gd name="connsiteX223" fmla="*/ 632500 w 1293444"/>
              <a:gd name="connsiteY223" fmla="*/ 666750 h 1704975"/>
              <a:gd name="connsiteX224" fmla="*/ 635675 w 1293444"/>
              <a:gd name="connsiteY224" fmla="*/ 590550 h 1704975"/>
              <a:gd name="connsiteX225" fmla="*/ 642025 w 1293444"/>
              <a:gd name="connsiteY225" fmla="*/ 571500 h 1704975"/>
              <a:gd name="connsiteX226" fmla="*/ 648375 w 1293444"/>
              <a:gd name="connsiteY226" fmla="*/ 561975 h 1704975"/>
              <a:gd name="connsiteX227" fmla="*/ 638850 w 1293444"/>
              <a:gd name="connsiteY227" fmla="*/ 536575 h 1704975"/>
              <a:gd name="connsiteX228" fmla="*/ 629325 w 1293444"/>
              <a:gd name="connsiteY228" fmla="*/ 533400 h 1704975"/>
              <a:gd name="connsiteX229" fmla="*/ 626150 w 1293444"/>
              <a:gd name="connsiteY229" fmla="*/ 523875 h 1704975"/>
              <a:gd name="connsiteX230" fmla="*/ 632500 w 1293444"/>
              <a:gd name="connsiteY230" fmla="*/ 498475 h 1704975"/>
              <a:gd name="connsiteX231" fmla="*/ 635675 w 1293444"/>
              <a:gd name="connsiteY231" fmla="*/ 485775 h 1704975"/>
              <a:gd name="connsiteX232" fmla="*/ 626150 w 1293444"/>
              <a:gd name="connsiteY232" fmla="*/ 463550 h 1704975"/>
              <a:gd name="connsiteX233" fmla="*/ 616625 w 1293444"/>
              <a:gd name="connsiteY233" fmla="*/ 460375 h 1704975"/>
              <a:gd name="connsiteX234" fmla="*/ 607100 w 1293444"/>
              <a:gd name="connsiteY234" fmla="*/ 454025 h 1704975"/>
              <a:gd name="connsiteX235" fmla="*/ 591225 w 1293444"/>
              <a:gd name="connsiteY235" fmla="*/ 450850 h 1704975"/>
              <a:gd name="connsiteX236" fmla="*/ 569000 w 1293444"/>
              <a:gd name="connsiteY236" fmla="*/ 441325 h 1704975"/>
              <a:gd name="connsiteX237" fmla="*/ 546775 w 1293444"/>
              <a:gd name="connsiteY237" fmla="*/ 415925 h 1704975"/>
              <a:gd name="connsiteX238" fmla="*/ 540425 w 1293444"/>
              <a:gd name="connsiteY238" fmla="*/ 406400 h 1704975"/>
              <a:gd name="connsiteX239" fmla="*/ 530900 w 1293444"/>
              <a:gd name="connsiteY239" fmla="*/ 400050 h 1704975"/>
              <a:gd name="connsiteX240" fmla="*/ 508675 w 1293444"/>
              <a:gd name="connsiteY240" fmla="*/ 374650 h 1704975"/>
              <a:gd name="connsiteX241" fmla="*/ 502325 w 1293444"/>
              <a:gd name="connsiteY241" fmla="*/ 365125 h 1704975"/>
              <a:gd name="connsiteX242" fmla="*/ 483275 w 1293444"/>
              <a:gd name="connsiteY242" fmla="*/ 346075 h 1704975"/>
              <a:gd name="connsiteX243" fmla="*/ 486450 w 1293444"/>
              <a:gd name="connsiteY243" fmla="*/ 333375 h 1704975"/>
              <a:gd name="connsiteX244" fmla="*/ 492800 w 1293444"/>
              <a:gd name="connsiteY244" fmla="*/ 314325 h 1704975"/>
              <a:gd name="connsiteX245" fmla="*/ 489625 w 1293444"/>
              <a:gd name="connsiteY245" fmla="*/ 292100 h 1704975"/>
              <a:gd name="connsiteX246" fmla="*/ 461050 w 1293444"/>
              <a:gd name="connsiteY246" fmla="*/ 266700 h 1704975"/>
              <a:gd name="connsiteX247" fmla="*/ 435650 w 1293444"/>
              <a:gd name="connsiteY247" fmla="*/ 254000 h 1704975"/>
              <a:gd name="connsiteX248" fmla="*/ 413425 w 1293444"/>
              <a:gd name="connsiteY248" fmla="*/ 238125 h 1704975"/>
              <a:gd name="connsiteX249" fmla="*/ 403900 w 1293444"/>
              <a:gd name="connsiteY249" fmla="*/ 231775 h 1704975"/>
              <a:gd name="connsiteX250" fmla="*/ 388025 w 1293444"/>
              <a:gd name="connsiteY250" fmla="*/ 212725 h 1704975"/>
              <a:gd name="connsiteX251" fmla="*/ 372150 w 1293444"/>
              <a:gd name="connsiteY251" fmla="*/ 196850 h 1704975"/>
              <a:gd name="connsiteX252" fmla="*/ 365800 w 1293444"/>
              <a:gd name="connsiteY252" fmla="*/ 177800 h 1704975"/>
              <a:gd name="connsiteX253" fmla="*/ 359450 w 1293444"/>
              <a:gd name="connsiteY253" fmla="*/ 149225 h 1704975"/>
              <a:gd name="connsiteX254" fmla="*/ 362625 w 1293444"/>
              <a:gd name="connsiteY254" fmla="*/ 114300 h 1704975"/>
              <a:gd name="connsiteX255" fmla="*/ 368975 w 1293444"/>
              <a:gd name="connsiteY255" fmla="*/ 104775 h 1704975"/>
              <a:gd name="connsiteX256" fmla="*/ 375325 w 1293444"/>
              <a:gd name="connsiteY25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40500 w 1293444"/>
              <a:gd name="connsiteY53" fmla="*/ 393700 h 1704975"/>
              <a:gd name="connsiteX54" fmla="*/ 1165900 w 1293444"/>
              <a:gd name="connsiteY54" fmla="*/ 454025 h 1704975"/>
              <a:gd name="connsiteX55" fmla="*/ 1207175 w 1293444"/>
              <a:gd name="connsiteY55" fmla="*/ 457200 h 1704975"/>
              <a:gd name="connsiteX56" fmla="*/ 1216700 w 1293444"/>
              <a:gd name="connsiteY56" fmla="*/ 463550 h 1704975"/>
              <a:gd name="connsiteX57" fmla="*/ 1270675 w 1293444"/>
              <a:gd name="connsiteY57" fmla="*/ 469900 h 1704975"/>
              <a:gd name="connsiteX58" fmla="*/ 1277025 w 1293444"/>
              <a:gd name="connsiteY58" fmla="*/ 479425 h 1704975"/>
              <a:gd name="connsiteX59" fmla="*/ 1273850 w 1293444"/>
              <a:gd name="connsiteY59" fmla="*/ 488950 h 1704975"/>
              <a:gd name="connsiteX60" fmla="*/ 1270675 w 1293444"/>
              <a:gd name="connsiteY60" fmla="*/ 511175 h 1704975"/>
              <a:gd name="connsiteX61" fmla="*/ 1264325 w 1293444"/>
              <a:gd name="connsiteY61" fmla="*/ 530225 h 1704975"/>
              <a:gd name="connsiteX62" fmla="*/ 1261150 w 1293444"/>
              <a:gd name="connsiteY62" fmla="*/ 539750 h 1704975"/>
              <a:gd name="connsiteX63" fmla="*/ 1254800 w 1293444"/>
              <a:gd name="connsiteY63" fmla="*/ 571500 h 1704975"/>
              <a:gd name="connsiteX64" fmla="*/ 1254800 w 1293444"/>
              <a:gd name="connsiteY64" fmla="*/ 692150 h 1704975"/>
              <a:gd name="connsiteX65" fmla="*/ 1257975 w 1293444"/>
              <a:gd name="connsiteY65" fmla="*/ 714375 h 1704975"/>
              <a:gd name="connsiteX66" fmla="*/ 1261150 w 1293444"/>
              <a:gd name="connsiteY66" fmla="*/ 723900 h 1704975"/>
              <a:gd name="connsiteX67" fmla="*/ 1273850 w 1293444"/>
              <a:gd name="connsiteY67" fmla="*/ 727075 h 1704975"/>
              <a:gd name="connsiteX68" fmla="*/ 1292900 w 1293444"/>
              <a:gd name="connsiteY68" fmla="*/ 739775 h 1704975"/>
              <a:gd name="connsiteX69" fmla="*/ 1289725 w 1293444"/>
              <a:gd name="connsiteY69" fmla="*/ 784225 h 1704975"/>
              <a:gd name="connsiteX70" fmla="*/ 1273850 w 1293444"/>
              <a:gd name="connsiteY70" fmla="*/ 800100 h 1704975"/>
              <a:gd name="connsiteX71" fmla="*/ 1264325 w 1293444"/>
              <a:gd name="connsiteY71" fmla="*/ 809625 h 1704975"/>
              <a:gd name="connsiteX72" fmla="*/ 1219875 w 1293444"/>
              <a:gd name="connsiteY72" fmla="*/ 819150 h 1704975"/>
              <a:gd name="connsiteX73" fmla="*/ 1200825 w 1293444"/>
              <a:gd name="connsiteY73" fmla="*/ 825500 h 1704975"/>
              <a:gd name="connsiteX74" fmla="*/ 1181775 w 1293444"/>
              <a:gd name="connsiteY74" fmla="*/ 838200 h 1704975"/>
              <a:gd name="connsiteX75" fmla="*/ 1172250 w 1293444"/>
              <a:gd name="connsiteY75" fmla="*/ 844550 h 1704975"/>
              <a:gd name="connsiteX76" fmla="*/ 1153200 w 1293444"/>
              <a:gd name="connsiteY76" fmla="*/ 850900 h 1704975"/>
              <a:gd name="connsiteX77" fmla="*/ 1140500 w 1293444"/>
              <a:gd name="connsiteY77" fmla="*/ 857250 h 1704975"/>
              <a:gd name="connsiteX78" fmla="*/ 1130975 w 1293444"/>
              <a:gd name="connsiteY78" fmla="*/ 863600 h 1704975"/>
              <a:gd name="connsiteX79" fmla="*/ 1105575 w 1293444"/>
              <a:gd name="connsiteY79" fmla="*/ 866775 h 1704975"/>
              <a:gd name="connsiteX80" fmla="*/ 1086525 w 1293444"/>
              <a:gd name="connsiteY80" fmla="*/ 873125 h 1704975"/>
              <a:gd name="connsiteX81" fmla="*/ 1077000 w 1293444"/>
              <a:gd name="connsiteY81" fmla="*/ 879475 h 1704975"/>
              <a:gd name="connsiteX82" fmla="*/ 1057950 w 1293444"/>
              <a:gd name="connsiteY82" fmla="*/ 885825 h 1704975"/>
              <a:gd name="connsiteX83" fmla="*/ 1048425 w 1293444"/>
              <a:gd name="connsiteY83" fmla="*/ 889000 h 1704975"/>
              <a:gd name="connsiteX84" fmla="*/ 1029375 w 1293444"/>
              <a:gd name="connsiteY84" fmla="*/ 908050 h 1704975"/>
              <a:gd name="connsiteX85" fmla="*/ 1010325 w 1293444"/>
              <a:gd name="connsiteY85" fmla="*/ 914400 h 1704975"/>
              <a:gd name="connsiteX86" fmla="*/ 1003975 w 1293444"/>
              <a:gd name="connsiteY86" fmla="*/ 923925 h 1704975"/>
              <a:gd name="connsiteX87" fmla="*/ 994450 w 1293444"/>
              <a:gd name="connsiteY87" fmla="*/ 933450 h 1704975"/>
              <a:gd name="connsiteX88" fmla="*/ 991275 w 1293444"/>
              <a:gd name="connsiteY88" fmla="*/ 942975 h 1704975"/>
              <a:gd name="connsiteX89" fmla="*/ 988100 w 1293444"/>
              <a:gd name="connsiteY89" fmla="*/ 962025 h 1704975"/>
              <a:gd name="connsiteX90" fmla="*/ 969050 w 1293444"/>
              <a:gd name="connsiteY90" fmla="*/ 968375 h 1704975"/>
              <a:gd name="connsiteX91" fmla="*/ 950000 w 1293444"/>
              <a:gd name="connsiteY91" fmla="*/ 981075 h 1704975"/>
              <a:gd name="connsiteX92" fmla="*/ 940475 w 1293444"/>
              <a:gd name="connsiteY92" fmla="*/ 987425 h 1704975"/>
              <a:gd name="connsiteX93" fmla="*/ 930950 w 1293444"/>
              <a:gd name="connsiteY93" fmla="*/ 1006475 h 1704975"/>
              <a:gd name="connsiteX94" fmla="*/ 924600 w 1293444"/>
              <a:gd name="connsiteY94" fmla="*/ 1016000 h 1704975"/>
              <a:gd name="connsiteX95" fmla="*/ 921425 w 1293444"/>
              <a:gd name="connsiteY95" fmla="*/ 1025525 h 1704975"/>
              <a:gd name="connsiteX96" fmla="*/ 905550 w 1293444"/>
              <a:gd name="connsiteY96" fmla="*/ 1044575 h 1704975"/>
              <a:gd name="connsiteX97" fmla="*/ 896025 w 1293444"/>
              <a:gd name="connsiteY97" fmla="*/ 1063625 h 1704975"/>
              <a:gd name="connsiteX98" fmla="*/ 867450 w 1293444"/>
              <a:gd name="connsiteY98" fmla="*/ 1085850 h 1704975"/>
              <a:gd name="connsiteX99" fmla="*/ 848400 w 1293444"/>
              <a:gd name="connsiteY99" fmla="*/ 1095375 h 1704975"/>
              <a:gd name="connsiteX100" fmla="*/ 813475 w 1293444"/>
              <a:gd name="connsiteY100" fmla="*/ 1092200 h 1704975"/>
              <a:gd name="connsiteX101" fmla="*/ 772200 w 1293444"/>
              <a:gd name="connsiteY101" fmla="*/ 1098550 h 1704975"/>
              <a:gd name="connsiteX102" fmla="*/ 759500 w 1293444"/>
              <a:gd name="connsiteY102" fmla="*/ 1127125 h 1704975"/>
              <a:gd name="connsiteX103" fmla="*/ 756325 w 1293444"/>
              <a:gd name="connsiteY103" fmla="*/ 1136650 h 1704975"/>
              <a:gd name="connsiteX104" fmla="*/ 740450 w 1293444"/>
              <a:gd name="connsiteY104" fmla="*/ 1155700 h 1704975"/>
              <a:gd name="connsiteX105" fmla="*/ 718225 w 1293444"/>
              <a:gd name="connsiteY105" fmla="*/ 1181100 h 1704975"/>
              <a:gd name="connsiteX106" fmla="*/ 721400 w 1293444"/>
              <a:gd name="connsiteY106" fmla="*/ 1238250 h 1704975"/>
              <a:gd name="connsiteX107" fmla="*/ 727750 w 1293444"/>
              <a:gd name="connsiteY107" fmla="*/ 1247775 h 1704975"/>
              <a:gd name="connsiteX108" fmla="*/ 730925 w 1293444"/>
              <a:gd name="connsiteY108" fmla="*/ 1257300 h 1704975"/>
              <a:gd name="connsiteX109" fmla="*/ 740450 w 1293444"/>
              <a:gd name="connsiteY109" fmla="*/ 1276350 h 1704975"/>
              <a:gd name="connsiteX110" fmla="*/ 743625 w 1293444"/>
              <a:gd name="connsiteY110" fmla="*/ 1320800 h 1704975"/>
              <a:gd name="connsiteX111" fmla="*/ 746800 w 1293444"/>
              <a:gd name="connsiteY111" fmla="*/ 1330325 h 1704975"/>
              <a:gd name="connsiteX112" fmla="*/ 756325 w 1293444"/>
              <a:gd name="connsiteY112" fmla="*/ 1336675 h 1704975"/>
              <a:gd name="connsiteX113" fmla="*/ 762675 w 1293444"/>
              <a:gd name="connsiteY113" fmla="*/ 1346200 h 1704975"/>
              <a:gd name="connsiteX114" fmla="*/ 769025 w 1293444"/>
              <a:gd name="connsiteY114" fmla="*/ 1393825 h 1704975"/>
              <a:gd name="connsiteX115" fmla="*/ 775375 w 1293444"/>
              <a:gd name="connsiteY115" fmla="*/ 1412875 h 1704975"/>
              <a:gd name="connsiteX116" fmla="*/ 781725 w 1293444"/>
              <a:gd name="connsiteY116" fmla="*/ 1435100 h 1704975"/>
              <a:gd name="connsiteX117" fmla="*/ 772200 w 1293444"/>
              <a:gd name="connsiteY117" fmla="*/ 1460500 h 1704975"/>
              <a:gd name="connsiteX118" fmla="*/ 762675 w 1293444"/>
              <a:gd name="connsiteY118" fmla="*/ 1466850 h 1704975"/>
              <a:gd name="connsiteX119" fmla="*/ 753150 w 1293444"/>
              <a:gd name="connsiteY119" fmla="*/ 1485900 h 1704975"/>
              <a:gd name="connsiteX120" fmla="*/ 749975 w 1293444"/>
              <a:gd name="connsiteY120" fmla="*/ 1514475 h 1704975"/>
              <a:gd name="connsiteX121" fmla="*/ 740450 w 1293444"/>
              <a:gd name="connsiteY121" fmla="*/ 1520825 h 1704975"/>
              <a:gd name="connsiteX122" fmla="*/ 730925 w 1293444"/>
              <a:gd name="connsiteY122" fmla="*/ 1530350 h 1704975"/>
              <a:gd name="connsiteX123" fmla="*/ 718225 w 1293444"/>
              <a:gd name="connsiteY123" fmla="*/ 1549400 h 1704975"/>
              <a:gd name="connsiteX124" fmla="*/ 711875 w 1293444"/>
              <a:gd name="connsiteY124" fmla="*/ 1558925 h 1704975"/>
              <a:gd name="connsiteX125" fmla="*/ 702350 w 1293444"/>
              <a:gd name="connsiteY125" fmla="*/ 1568450 h 1704975"/>
              <a:gd name="connsiteX126" fmla="*/ 699175 w 1293444"/>
              <a:gd name="connsiteY126" fmla="*/ 1577975 h 1704975"/>
              <a:gd name="connsiteX127" fmla="*/ 686475 w 1293444"/>
              <a:gd name="connsiteY127" fmla="*/ 1597025 h 1704975"/>
              <a:gd name="connsiteX128" fmla="*/ 676950 w 1293444"/>
              <a:gd name="connsiteY128" fmla="*/ 1616075 h 1704975"/>
              <a:gd name="connsiteX129" fmla="*/ 667425 w 1293444"/>
              <a:gd name="connsiteY129" fmla="*/ 1619250 h 1704975"/>
              <a:gd name="connsiteX130" fmla="*/ 648375 w 1293444"/>
              <a:gd name="connsiteY130" fmla="*/ 1631950 h 1704975"/>
              <a:gd name="connsiteX131" fmla="*/ 638850 w 1293444"/>
              <a:gd name="connsiteY131" fmla="*/ 1638300 h 1704975"/>
              <a:gd name="connsiteX132" fmla="*/ 607100 w 1293444"/>
              <a:gd name="connsiteY132" fmla="*/ 1676400 h 1704975"/>
              <a:gd name="connsiteX133" fmla="*/ 556300 w 1293444"/>
              <a:gd name="connsiteY133" fmla="*/ 1679575 h 1704975"/>
              <a:gd name="connsiteX134" fmla="*/ 537250 w 1293444"/>
              <a:gd name="connsiteY134" fmla="*/ 1685925 h 1704975"/>
              <a:gd name="connsiteX135" fmla="*/ 515025 w 1293444"/>
              <a:gd name="connsiteY135" fmla="*/ 1698625 h 1704975"/>
              <a:gd name="connsiteX136" fmla="*/ 495975 w 1293444"/>
              <a:gd name="connsiteY136" fmla="*/ 1704975 h 1704975"/>
              <a:gd name="connsiteX137" fmla="*/ 476925 w 1293444"/>
              <a:gd name="connsiteY137" fmla="*/ 1701800 h 1704975"/>
              <a:gd name="connsiteX138" fmla="*/ 470575 w 1293444"/>
              <a:gd name="connsiteY138" fmla="*/ 1692275 h 1704975"/>
              <a:gd name="connsiteX139" fmla="*/ 467400 w 1293444"/>
              <a:gd name="connsiteY139" fmla="*/ 1660525 h 1704975"/>
              <a:gd name="connsiteX140" fmla="*/ 457875 w 1293444"/>
              <a:gd name="connsiteY140" fmla="*/ 1641475 h 1704975"/>
              <a:gd name="connsiteX141" fmla="*/ 448350 w 1293444"/>
              <a:gd name="connsiteY141" fmla="*/ 1635125 h 1704975"/>
              <a:gd name="connsiteX142" fmla="*/ 445175 w 1293444"/>
              <a:gd name="connsiteY142" fmla="*/ 1625600 h 1704975"/>
              <a:gd name="connsiteX143" fmla="*/ 435650 w 1293444"/>
              <a:gd name="connsiteY143" fmla="*/ 1606550 h 1704975"/>
              <a:gd name="connsiteX144" fmla="*/ 432475 w 1293444"/>
              <a:gd name="connsiteY144" fmla="*/ 1495425 h 1704975"/>
              <a:gd name="connsiteX145" fmla="*/ 429300 w 1293444"/>
              <a:gd name="connsiteY145" fmla="*/ 1485900 h 1704975"/>
              <a:gd name="connsiteX146" fmla="*/ 426125 w 1293444"/>
              <a:gd name="connsiteY146" fmla="*/ 1473200 h 1704975"/>
              <a:gd name="connsiteX147" fmla="*/ 419775 w 1293444"/>
              <a:gd name="connsiteY147" fmla="*/ 1463675 h 1704975"/>
              <a:gd name="connsiteX148" fmla="*/ 416600 w 1293444"/>
              <a:gd name="connsiteY148" fmla="*/ 1454150 h 1704975"/>
              <a:gd name="connsiteX149" fmla="*/ 403900 w 1293444"/>
              <a:gd name="connsiteY149" fmla="*/ 1435100 h 1704975"/>
              <a:gd name="connsiteX150" fmla="*/ 397550 w 1293444"/>
              <a:gd name="connsiteY150" fmla="*/ 1416050 h 1704975"/>
              <a:gd name="connsiteX151" fmla="*/ 394375 w 1293444"/>
              <a:gd name="connsiteY151" fmla="*/ 1381125 h 1704975"/>
              <a:gd name="connsiteX152" fmla="*/ 391200 w 1293444"/>
              <a:gd name="connsiteY152" fmla="*/ 1368425 h 1704975"/>
              <a:gd name="connsiteX153" fmla="*/ 388025 w 1293444"/>
              <a:gd name="connsiteY153" fmla="*/ 1352550 h 1704975"/>
              <a:gd name="connsiteX154" fmla="*/ 381675 w 1293444"/>
              <a:gd name="connsiteY154" fmla="*/ 1333500 h 1704975"/>
              <a:gd name="connsiteX155" fmla="*/ 378500 w 1293444"/>
              <a:gd name="connsiteY155" fmla="*/ 1323975 h 1704975"/>
              <a:gd name="connsiteX156" fmla="*/ 375325 w 1293444"/>
              <a:gd name="connsiteY156" fmla="*/ 1308100 h 1704975"/>
              <a:gd name="connsiteX157" fmla="*/ 368975 w 1293444"/>
              <a:gd name="connsiteY157" fmla="*/ 1289050 h 1704975"/>
              <a:gd name="connsiteX158" fmla="*/ 362625 w 1293444"/>
              <a:gd name="connsiteY158" fmla="*/ 1260475 h 1704975"/>
              <a:gd name="connsiteX159" fmla="*/ 359450 w 1293444"/>
              <a:gd name="connsiteY159" fmla="*/ 1231900 h 1704975"/>
              <a:gd name="connsiteX160" fmla="*/ 349925 w 1293444"/>
              <a:gd name="connsiteY160" fmla="*/ 1196975 h 1704975"/>
              <a:gd name="connsiteX161" fmla="*/ 340400 w 1293444"/>
              <a:gd name="connsiteY161" fmla="*/ 1155700 h 1704975"/>
              <a:gd name="connsiteX162" fmla="*/ 334050 w 1293444"/>
              <a:gd name="connsiteY162" fmla="*/ 1130300 h 1704975"/>
              <a:gd name="connsiteX163" fmla="*/ 327700 w 1293444"/>
              <a:gd name="connsiteY163" fmla="*/ 1104900 h 1704975"/>
              <a:gd name="connsiteX164" fmla="*/ 324525 w 1293444"/>
              <a:gd name="connsiteY164" fmla="*/ 1092200 h 1704975"/>
              <a:gd name="connsiteX165" fmla="*/ 318175 w 1293444"/>
              <a:gd name="connsiteY165" fmla="*/ 1050925 h 1704975"/>
              <a:gd name="connsiteX166" fmla="*/ 315000 w 1293444"/>
              <a:gd name="connsiteY166" fmla="*/ 1031875 h 1704975"/>
              <a:gd name="connsiteX167" fmla="*/ 311825 w 1293444"/>
              <a:gd name="connsiteY167" fmla="*/ 1022350 h 1704975"/>
              <a:gd name="connsiteX168" fmla="*/ 308650 w 1293444"/>
              <a:gd name="connsiteY168" fmla="*/ 1006475 h 1704975"/>
              <a:gd name="connsiteX169" fmla="*/ 302300 w 1293444"/>
              <a:gd name="connsiteY169" fmla="*/ 987425 h 1704975"/>
              <a:gd name="connsiteX170" fmla="*/ 299125 w 1293444"/>
              <a:gd name="connsiteY170" fmla="*/ 974725 h 1704975"/>
              <a:gd name="connsiteX171" fmla="*/ 292775 w 1293444"/>
              <a:gd name="connsiteY171" fmla="*/ 955675 h 1704975"/>
              <a:gd name="connsiteX172" fmla="*/ 289600 w 1293444"/>
              <a:gd name="connsiteY172" fmla="*/ 946150 h 1704975"/>
              <a:gd name="connsiteX173" fmla="*/ 280075 w 1293444"/>
              <a:gd name="connsiteY173" fmla="*/ 923925 h 1704975"/>
              <a:gd name="connsiteX174" fmla="*/ 261025 w 1293444"/>
              <a:gd name="connsiteY174" fmla="*/ 908050 h 1704975"/>
              <a:gd name="connsiteX175" fmla="*/ 241975 w 1293444"/>
              <a:gd name="connsiteY175" fmla="*/ 901700 h 1704975"/>
              <a:gd name="connsiteX176" fmla="*/ 222925 w 1293444"/>
              <a:gd name="connsiteY176" fmla="*/ 889000 h 1704975"/>
              <a:gd name="connsiteX177" fmla="*/ 213400 w 1293444"/>
              <a:gd name="connsiteY177" fmla="*/ 885825 h 1704975"/>
              <a:gd name="connsiteX178" fmla="*/ 194350 w 1293444"/>
              <a:gd name="connsiteY178" fmla="*/ 873125 h 1704975"/>
              <a:gd name="connsiteX179" fmla="*/ 175300 w 1293444"/>
              <a:gd name="connsiteY179" fmla="*/ 860425 h 1704975"/>
              <a:gd name="connsiteX180" fmla="*/ 162600 w 1293444"/>
              <a:gd name="connsiteY180" fmla="*/ 850900 h 1704975"/>
              <a:gd name="connsiteX181" fmla="*/ 153075 w 1293444"/>
              <a:gd name="connsiteY181" fmla="*/ 847725 h 1704975"/>
              <a:gd name="connsiteX182" fmla="*/ 134025 w 1293444"/>
              <a:gd name="connsiteY182" fmla="*/ 835025 h 1704975"/>
              <a:gd name="connsiteX183" fmla="*/ 114975 w 1293444"/>
              <a:gd name="connsiteY183" fmla="*/ 822325 h 1704975"/>
              <a:gd name="connsiteX184" fmla="*/ 105450 w 1293444"/>
              <a:gd name="connsiteY184" fmla="*/ 815975 h 1704975"/>
              <a:gd name="connsiteX185" fmla="*/ 95925 w 1293444"/>
              <a:gd name="connsiteY185" fmla="*/ 812800 h 1704975"/>
              <a:gd name="connsiteX186" fmla="*/ 64175 w 1293444"/>
              <a:gd name="connsiteY186" fmla="*/ 790575 h 1704975"/>
              <a:gd name="connsiteX187" fmla="*/ 54650 w 1293444"/>
              <a:gd name="connsiteY187" fmla="*/ 787400 h 1704975"/>
              <a:gd name="connsiteX188" fmla="*/ 38775 w 1293444"/>
              <a:gd name="connsiteY188" fmla="*/ 771525 h 1704975"/>
              <a:gd name="connsiteX189" fmla="*/ 29250 w 1293444"/>
              <a:gd name="connsiteY189" fmla="*/ 762000 h 1704975"/>
              <a:gd name="connsiteX190" fmla="*/ 19725 w 1293444"/>
              <a:gd name="connsiteY190" fmla="*/ 758825 h 1704975"/>
              <a:gd name="connsiteX191" fmla="*/ 675 w 1293444"/>
              <a:gd name="connsiteY191" fmla="*/ 746125 h 1704975"/>
              <a:gd name="connsiteX192" fmla="*/ 51475 w 1293444"/>
              <a:gd name="connsiteY192" fmla="*/ 739775 h 1704975"/>
              <a:gd name="connsiteX193" fmla="*/ 67350 w 1293444"/>
              <a:gd name="connsiteY193" fmla="*/ 736600 h 1704975"/>
              <a:gd name="connsiteX194" fmla="*/ 102275 w 1293444"/>
              <a:gd name="connsiteY194" fmla="*/ 733425 h 1704975"/>
              <a:gd name="connsiteX195" fmla="*/ 130850 w 1293444"/>
              <a:gd name="connsiteY195" fmla="*/ 727075 h 1704975"/>
              <a:gd name="connsiteX196" fmla="*/ 149900 w 1293444"/>
              <a:gd name="connsiteY196" fmla="*/ 723900 h 1704975"/>
              <a:gd name="connsiteX197" fmla="*/ 159425 w 1293444"/>
              <a:gd name="connsiteY197" fmla="*/ 720725 h 1704975"/>
              <a:gd name="connsiteX198" fmla="*/ 175300 w 1293444"/>
              <a:gd name="connsiteY198" fmla="*/ 717550 h 1704975"/>
              <a:gd name="connsiteX199" fmla="*/ 194350 w 1293444"/>
              <a:gd name="connsiteY199" fmla="*/ 711200 h 1704975"/>
              <a:gd name="connsiteX200" fmla="*/ 222925 w 1293444"/>
              <a:gd name="connsiteY200" fmla="*/ 701675 h 1704975"/>
              <a:gd name="connsiteX201" fmla="*/ 232450 w 1293444"/>
              <a:gd name="connsiteY201" fmla="*/ 698500 h 1704975"/>
              <a:gd name="connsiteX202" fmla="*/ 241975 w 1293444"/>
              <a:gd name="connsiteY202" fmla="*/ 695325 h 1704975"/>
              <a:gd name="connsiteX203" fmla="*/ 381675 w 1293444"/>
              <a:gd name="connsiteY203" fmla="*/ 688975 h 1704975"/>
              <a:gd name="connsiteX204" fmla="*/ 397550 w 1293444"/>
              <a:gd name="connsiteY204" fmla="*/ 685800 h 1704975"/>
              <a:gd name="connsiteX205" fmla="*/ 407075 w 1293444"/>
              <a:gd name="connsiteY205" fmla="*/ 682625 h 1704975"/>
              <a:gd name="connsiteX206" fmla="*/ 419775 w 1293444"/>
              <a:gd name="connsiteY206" fmla="*/ 679450 h 1704975"/>
              <a:gd name="connsiteX207" fmla="*/ 438825 w 1293444"/>
              <a:gd name="connsiteY207" fmla="*/ 673100 h 1704975"/>
              <a:gd name="connsiteX208" fmla="*/ 467400 w 1293444"/>
              <a:gd name="connsiteY208" fmla="*/ 663575 h 1704975"/>
              <a:gd name="connsiteX209" fmla="*/ 495975 w 1293444"/>
              <a:gd name="connsiteY209" fmla="*/ 654050 h 1704975"/>
              <a:gd name="connsiteX210" fmla="*/ 505500 w 1293444"/>
              <a:gd name="connsiteY210" fmla="*/ 650875 h 1704975"/>
              <a:gd name="connsiteX211" fmla="*/ 527725 w 1293444"/>
              <a:gd name="connsiteY211" fmla="*/ 641350 h 1704975"/>
              <a:gd name="connsiteX212" fmla="*/ 537250 w 1293444"/>
              <a:gd name="connsiteY212" fmla="*/ 635000 h 1704975"/>
              <a:gd name="connsiteX213" fmla="*/ 546775 w 1293444"/>
              <a:gd name="connsiteY213" fmla="*/ 631825 h 1704975"/>
              <a:gd name="connsiteX214" fmla="*/ 559475 w 1293444"/>
              <a:gd name="connsiteY214" fmla="*/ 625475 h 1704975"/>
              <a:gd name="connsiteX215" fmla="*/ 578525 w 1293444"/>
              <a:gd name="connsiteY215" fmla="*/ 657225 h 1704975"/>
              <a:gd name="connsiteX216" fmla="*/ 588050 w 1293444"/>
              <a:gd name="connsiteY216" fmla="*/ 660400 h 1704975"/>
              <a:gd name="connsiteX217" fmla="*/ 607100 w 1293444"/>
              <a:gd name="connsiteY217" fmla="*/ 673100 h 1704975"/>
              <a:gd name="connsiteX218" fmla="*/ 626150 w 1293444"/>
              <a:gd name="connsiteY218" fmla="*/ 679450 h 1704975"/>
              <a:gd name="connsiteX219" fmla="*/ 635675 w 1293444"/>
              <a:gd name="connsiteY219" fmla="*/ 685800 h 1704975"/>
              <a:gd name="connsiteX220" fmla="*/ 654725 w 1293444"/>
              <a:gd name="connsiteY220" fmla="*/ 692150 h 1704975"/>
              <a:gd name="connsiteX221" fmla="*/ 645200 w 1293444"/>
              <a:gd name="connsiteY221" fmla="*/ 682625 h 1704975"/>
              <a:gd name="connsiteX222" fmla="*/ 635675 w 1293444"/>
              <a:gd name="connsiteY222" fmla="*/ 676275 h 1704975"/>
              <a:gd name="connsiteX223" fmla="*/ 632500 w 1293444"/>
              <a:gd name="connsiteY223" fmla="*/ 666750 h 1704975"/>
              <a:gd name="connsiteX224" fmla="*/ 635675 w 1293444"/>
              <a:gd name="connsiteY224" fmla="*/ 590550 h 1704975"/>
              <a:gd name="connsiteX225" fmla="*/ 642025 w 1293444"/>
              <a:gd name="connsiteY225" fmla="*/ 571500 h 1704975"/>
              <a:gd name="connsiteX226" fmla="*/ 648375 w 1293444"/>
              <a:gd name="connsiteY226" fmla="*/ 561975 h 1704975"/>
              <a:gd name="connsiteX227" fmla="*/ 638850 w 1293444"/>
              <a:gd name="connsiteY227" fmla="*/ 536575 h 1704975"/>
              <a:gd name="connsiteX228" fmla="*/ 629325 w 1293444"/>
              <a:gd name="connsiteY228" fmla="*/ 533400 h 1704975"/>
              <a:gd name="connsiteX229" fmla="*/ 626150 w 1293444"/>
              <a:gd name="connsiteY229" fmla="*/ 523875 h 1704975"/>
              <a:gd name="connsiteX230" fmla="*/ 632500 w 1293444"/>
              <a:gd name="connsiteY230" fmla="*/ 498475 h 1704975"/>
              <a:gd name="connsiteX231" fmla="*/ 635675 w 1293444"/>
              <a:gd name="connsiteY231" fmla="*/ 485775 h 1704975"/>
              <a:gd name="connsiteX232" fmla="*/ 626150 w 1293444"/>
              <a:gd name="connsiteY232" fmla="*/ 463550 h 1704975"/>
              <a:gd name="connsiteX233" fmla="*/ 616625 w 1293444"/>
              <a:gd name="connsiteY233" fmla="*/ 460375 h 1704975"/>
              <a:gd name="connsiteX234" fmla="*/ 607100 w 1293444"/>
              <a:gd name="connsiteY234" fmla="*/ 454025 h 1704975"/>
              <a:gd name="connsiteX235" fmla="*/ 591225 w 1293444"/>
              <a:gd name="connsiteY235" fmla="*/ 450850 h 1704975"/>
              <a:gd name="connsiteX236" fmla="*/ 569000 w 1293444"/>
              <a:gd name="connsiteY236" fmla="*/ 441325 h 1704975"/>
              <a:gd name="connsiteX237" fmla="*/ 546775 w 1293444"/>
              <a:gd name="connsiteY237" fmla="*/ 415925 h 1704975"/>
              <a:gd name="connsiteX238" fmla="*/ 540425 w 1293444"/>
              <a:gd name="connsiteY238" fmla="*/ 406400 h 1704975"/>
              <a:gd name="connsiteX239" fmla="*/ 530900 w 1293444"/>
              <a:gd name="connsiteY239" fmla="*/ 400050 h 1704975"/>
              <a:gd name="connsiteX240" fmla="*/ 508675 w 1293444"/>
              <a:gd name="connsiteY240" fmla="*/ 374650 h 1704975"/>
              <a:gd name="connsiteX241" fmla="*/ 502325 w 1293444"/>
              <a:gd name="connsiteY241" fmla="*/ 365125 h 1704975"/>
              <a:gd name="connsiteX242" fmla="*/ 483275 w 1293444"/>
              <a:gd name="connsiteY242" fmla="*/ 346075 h 1704975"/>
              <a:gd name="connsiteX243" fmla="*/ 486450 w 1293444"/>
              <a:gd name="connsiteY243" fmla="*/ 333375 h 1704975"/>
              <a:gd name="connsiteX244" fmla="*/ 492800 w 1293444"/>
              <a:gd name="connsiteY244" fmla="*/ 314325 h 1704975"/>
              <a:gd name="connsiteX245" fmla="*/ 489625 w 1293444"/>
              <a:gd name="connsiteY245" fmla="*/ 292100 h 1704975"/>
              <a:gd name="connsiteX246" fmla="*/ 461050 w 1293444"/>
              <a:gd name="connsiteY246" fmla="*/ 266700 h 1704975"/>
              <a:gd name="connsiteX247" fmla="*/ 435650 w 1293444"/>
              <a:gd name="connsiteY247" fmla="*/ 254000 h 1704975"/>
              <a:gd name="connsiteX248" fmla="*/ 413425 w 1293444"/>
              <a:gd name="connsiteY248" fmla="*/ 238125 h 1704975"/>
              <a:gd name="connsiteX249" fmla="*/ 403900 w 1293444"/>
              <a:gd name="connsiteY249" fmla="*/ 231775 h 1704975"/>
              <a:gd name="connsiteX250" fmla="*/ 388025 w 1293444"/>
              <a:gd name="connsiteY250" fmla="*/ 212725 h 1704975"/>
              <a:gd name="connsiteX251" fmla="*/ 372150 w 1293444"/>
              <a:gd name="connsiteY251" fmla="*/ 196850 h 1704975"/>
              <a:gd name="connsiteX252" fmla="*/ 365800 w 1293444"/>
              <a:gd name="connsiteY252" fmla="*/ 177800 h 1704975"/>
              <a:gd name="connsiteX253" fmla="*/ 359450 w 1293444"/>
              <a:gd name="connsiteY253" fmla="*/ 149225 h 1704975"/>
              <a:gd name="connsiteX254" fmla="*/ 362625 w 1293444"/>
              <a:gd name="connsiteY254" fmla="*/ 114300 h 1704975"/>
              <a:gd name="connsiteX255" fmla="*/ 368975 w 1293444"/>
              <a:gd name="connsiteY255" fmla="*/ 104775 h 1704975"/>
              <a:gd name="connsiteX256" fmla="*/ 375325 w 1293444"/>
              <a:gd name="connsiteY25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40500 w 1293444"/>
              <a:gd name="connsiteY52" fmla="*/ 390525 h 1704975"/>
              <a:gd name="connsiteX53" fmla="*/ 1165900 w 1293444"/>
              <a:gd name="connsiteY53" fmla="*/ 454025 h 1704975"/>
              <a:gd name="connsiteX54" fmla="*/ 1207175 w 1293444"/>
              <a:gd name="connsiteY54" fmla="*/ 457200 h 1704975"/>
              <a:gd name="connsiteX55" fmla="*/ 1216700 w 1293444"/>
              <a:gd name="connsiteY55" fmla="*/ 463550 h 1704975"/>
              <a:gd name="connsiteX56" fmla="*/ 1270675 w 1293444"/>
              <a:gd name="connsiteY56" fmla="*/ 469900 h 1704975"/>
              <a:gd name="connsiteX57" fmla="*/ 1277025 w 1293444"/>
              <a:gd name="connsiteY57" fmla="*/ 479425 h 1704975"/>
              <a:gd name="connsiteX58" fmla="*/ 1273850 w 1293444"/>
              <a:gd name="connsiteY58" fmla="*/ 488950 h 1704975"/>
              <a:gd name="connsiteX59" fmla="*/ 1270675 w 1293444"/>
              <a:gd name="connsiteY59" fmla="*/ 511175 h 1704975"/>
              <a:gd name="connsiteX60" fmla="*/ 1264325 w 1293444"/>
              <a:gd name="connsiteY60" fmla="*/ 530225 h 1704975"/>
              <a:gd name="connsiteX61" fmla="*/ 1261150 w 1293444"/>
              <a:gd name="connsiteY61" fmla="*/ 539750 h 1704975"/>
              <a:gd name="connsiteX62" fmla="*/ 1254800 w 1293444"/>
              <a:gd name="connsiteY62" fmla="*/ 571500 h 1704975"/>
              <a:gd name="connsiteX63" fmla="*/ 1254800 w 1293444"/>
              <a:gd name="connsiteY63" fmla="*/ 692150 h 1704975"/>
              <a:gd name="connsiteX64" fmla="*/ 1257975 w 1293444"/>
              <a:gd name="connsiteY64" fmla="*/ 714375 h 1704975"/>
              <a:gd name="connsiteX65" fmla="*/ 1261150 w 1293444"/>
              <a:gd name="connsiteY65" fmla="*/ 723900 h 1704975"/>
              <a:gd name="connsiteX66" fmla="*/ 1273850 w 1293444"/>
              <a:gd name="connsiteY66" fmla="*/ 727075 h 1704975"/>
              <a:gd name="connsiteX67" fmla="*/ 1292900 w 1293444"/>
              <a:gd name="connsiteY67" fmla="*/ 739775 h 1704975"/>
              <a:gd name="connsiteX68" fmla="*/ 1289725 w 1293444"/>
              <a:gd name="connsiteY68" fmla="*/ 784225 h 1704975"/>
              <a:gd name="connsiteX69" fmla="*/ 1273850 w 1293444"/>
              <a:gd name="connsiteY69" fmla="*/ 800100 h 1704975"/>
              <a:gd name="connsiteX70" fmla="*/ 1264325 w 1293444"/>
              <a:gd name="connsiteY70" fmla="*/ 809625 h 1704975"/>
              <a:gd name="connsiteX71" fmla="*/ 1219875 w 1293444"/>
              <a:gd name="connsiteY71" fmla="*/ 819150 h 1704975"/>
              <a:gd name="connsiteX72" fmla="*/ 1200825 w 1293444"/>
              <a:gd name="connsiteY72" fmla="*/ 825500 h 1704975"/>
              <a:gd name="connsiteX73" fmla="*/ 1181775 w 1293444"/>
              <a:gd name="connsiteY73" fmla="*/ 838200 h 1704975"/>
              <a:gd name="connsiteX74" fmla="*/ 1172250 w 1293444"/>
              <a:gd name="connsiteY74" fmla="*/ 844550 h 1704975"/>
              <a:gd name="connsiteX75" fmla="*/ 1153200 w 1293444"/>
              <a:gd name="connsiteY75" fmla="*/ 850900 h 1704975"/>
              <a:gd name="connsiteX76" fmla="*/ 1140500 w 1293444"/>
              <a:gd name="connsiteY76" fmla="*/ 857250 h 1704975"/>
              <a:gd name="connsiteX77" fmla="*/ 1130975 w 1293444"/>
              <a:gd name="connsiteY77" fmla="*/ 863600 h 1704975"/>
              <a:gd name="connsiteX78" fmla="*/ 1105575 w 1293444"/>
              <a:gd name="connsiteY78" fmla="*/ 866775 h 1704975"/>
              <a:gd name="connsiteX79" fmla="*/ 1086525 w 1293444"/>
              <a:gd name="connsiteY79" fmla="*/ 873125 h 1704975"/>
              <a:gd name="connsiteX80" fmla="*/ 1077000 w 1293444"/>
              <a:gd name="connsiteY80" fmla="*/ 879475 h 1704975"/>
              <a:gd name="connsiteX81" fmla="*/ 1057950 w 1293444"/>
              <a:gd name="connsiteY81" fmla="*/ 885825 h 1704975"/>
              <a:gd name="connsiteX82" fmla="*/ 1048425 w 1293444"/>
              <a:gd name="connsiteY82" fmla="*/ 889000 h 1704975"/>
              <a:gd name="connsiteX83" fmla="*/ 1029375 w 1293444"/>
              <a:gd name="connsiteY83" fmla="*/ 908050 h 1704975"/>
              <a:gd name="connsiteX84" fmla="*/ 1010325 w 1293444"/>
              <a:gd name="connsiteY84" fmla="*/ 914400 h 1704975"/>
              <a:gd name="connsiteX85" fmla="*/ 1003975 w 1293444"/>
              <a:gd name="connsiteY85" fmla="*/ 923925 h 1704975"/>
              <a:gd name="connsiteX86" fmla="*/ 994450 w 1293444"/>
              <a:gd name="connsiteY86" fmla="*/ 933450 h 1704975"/>
              <a:gd name="connsiteX87" fmla="*/ 991275 w 1293444"/>
              <a:gd name="connsiteY87" fmla="*/ 942975 h 1704975"/>
              <a:gd name="connsiteX88" fmla="*/ 988100 w 1293444"/>
              <a:gd name="connsiteY88" fmla="*/ 962025 h 1704975"/>
              <a:gd name="connsiteX89" fmla="*/ 969050 w 1293444"/>
              <a:gd name="connsiteY89" fmla="*/ 968375 h 1704975"/>
              <a:gd name="connsiteX90" fmla="*/ 950000 w 1293444"/>
              <a:gd name="connsiteY90" fmla="*/ 981075 h 1704975"/>
              <a:gd name="connsiteX91" fmla="*/ 940475 w 1293444"/>
              <a:gd name="connsiteY91" fmla="*/ 987425 h 1704975"/>
              <a:gd name="connsiteX92" fmla="*/ 930950 w 1293444"/>
              <a:gd name="connsiteY92" fmla="*/ 1006475 h 1704975"/>
              <a:gd name="connsiteX93" fmla="*/ 924600 w 1293444"/>
              <a:gd name="connsiteY93" fmla="*/ 1016000 h 1704975"/>
              <a:gd name="connsiteX94" fmla="*/ 921425 w 1293444"/>
              <a:gd name="connsiteY94" fmla="*/ 1025525 h 1704975"/>
              <a:gd name="connsiteX95" fmla="*/ 905550 w 1293444"/>
              <a:gd name="connsiteY95" fmla="*/ 1044575 h 1704975"/>
              <a:gd name="connsiteX96" fmla="*/ 896025 w 1293444"/>
              <a:gd name="connsiteY96" fmla="*/ 1063625 h 1704975"/>
              <a:gd name="connsiteX97" fmla="*/ 867450 w 1293444"/>
              <a:gd name="connsiteY97" fmla="*/ 1085850 h 1704975"/>
              <a:gd name="connsiteX98" fmla="*/ 848400 w 1293444"/>
              <a:gd name="connsiteY98" fmla="*/ 1095375 h 1704975"/>
              <a:gd name="connsiteX99" fmla="*/ 813475 w 1293444"/>
              <a:gd name="connsiteY99" fmla="*/ 1092200 h 1704975"/>
              <a:gd name="connsiteX100" fmla="*/ 772200 w 1293444"/>
              <a:gd name="connsiteY100" fmla="*/ 1098550 h 1704975"/>
              <a:gd name="connsiteX101" fmla="*/ 759500 w 1293444"/>
              <a:gd name="connsiteY101" fmla="*/ 1127125 h 1704975"/>
              <a:gd name="connsiteX102" fmla="*/ 756325 w 1293444"/>
              <a:gd name="connsiteY102" fmla="*/ 1136650 h 1704975"/>
              <a:gd name="connsiteX103" fmla="*/ 740450 w 1293444"/>
              <a:gd name="connsiteY103" fmla="*/ 1155700 h 1704975"/>
              <a:gd name="connsiteX104" fmla="*/ 718225 w 1293444"/>
              <a:gd name="connsiteY104" fmla="*/ 1181100 h 1704975"/>
              <a:gd name="connsiteX105" fmla="*/ 721400 w 1293444"/>
              <a:gd name="connsiteY105" fmla="*/ 1238250 h 1704975"/>
              <a:gd name="connsiteX106" fmla="*/ 727750 w 1293444"/>
              <a:gd name="connsiteY106" fmla="*/ 1247775 h 1704975"/>
              <a:gd name="connsiteX107" fmla="*/ 730925 w 1293444"/>
              <a:gd name="connsiteY107" fmla="*/ 1257300 h 1704975"/>
              <a:gd name="connsiteX108" fmla="*/ 740450 w 1293444"/>
              <a:gd name="connsiteY108" fmla="*/ 1276350 h 1704975"/>
              <a:gd name="connsiteX109" fmla="*/ 743625 w 1293444"/>
              <a:gd name="connsiteY109" fmla="*/ 1320800 h 1704975"/>
              <a:gd name="connsiteX110" fmla="*/ 746800 w 1293444"/>
              <a:gd name="connsiteY110" fmla="*/ 1330325 h 1704975"/>
              <a:gd name="connsiteX111" fmla="*/ 756325 w 1293444"/>
              <a:gd name="connsiteY111" fmla="*/ 1336675 h 1704975"/>
              <a:gd name="connsiteX112" fmla="*/ 762675 w 1293444"/>
              <a:gd name="connsiteY112" fmla="*/ 1346200 h 1704975"/>
              <a:gd name="connsiteX113" fmla="*/ 769025 w 1293444"/>
              <a:gd name="connsiteY113" fmla="*/ 1393825 h 1704975"/>
              <a:gd name="connsiteX114" fmla="*/ 775375 w 1293444"/>
              <a:gd name="connsiteY114" fmla="*/ 1412875 h 1704975"/>
              <a:gd name="connsiteX115" fmla="*/ 781725 w 1293444"/>
              <a:gd name="connsiteY115" fmla="*/ 1435100 h 1704975"/>
              <a:gd name="connsiteX116" fmla="*/ 772200 w 1293444"/>
              <a:gd name="connsiteY116" fmla="*/ 1460500 h 1704975"/>
              <a:gd name="connsiteX117" fmla="*/ 762675 w 1293444"/>
              <a:gd name="connsiteY117" fmla="*/ 1466850 h 1704975"/>
              <a:gd name="connsiteX118" fmla="*/ 753150 w 1293444"/>
              <a:gd name="connsiteY118" fmla="*/ 1485900 h 1704975"/>
              <a:gd name="connsiteX119" fmla="*/ 749975 w 1293444"/>
              <a:gd name="connsiteY119" fmla="*/ 1514475 h 1704975"/>
              <a:gd name="connsiteX120" fmla="*/ 740450 w 1293444"/>
              <a:gd name="connsiteY120" fmla="*/ 1520825 h 1704975"/>
              <a:gd name="connsiteX121" fmla="*/ 730925 w 1293444"/>
              <a:gd name="connsiteY121" fmla="*/ 1530350 h 1704975"/>
              <a:gd name="connsiteX122" fmla="*/ 718225 w 1293444"/>
              <a:gd name="connsiteY122" fmla="*/ 1549400 h 1704975"/>
              <a:gd name="connsiteX123" fmla="*/ 711875 w 1293444"/>
              <a:gd name="connsiteY123" fmla="*/ 1558925 h 1704975"/>
              <a:gd name="connsiteX124" fmla="*/ 702350 w 1293444"/>
              <a:gd name="connsiteY124" fmla="*/ 1568450 h 1704975"/>
              <a:gd name="connsiteX125" fmla="*/ 699175 w 1293444"/>
              <a:gd name="connsiteY125" fmla="*/ 1577975 h 1704975"/>
              <a:gd name="connsiteX126" fmla="*/ 686475 w 1293444"/>
              <a:gd name="connsiteY126" fmla="*/ 1597025 h 1704975"/>
              <a:gd name="connsiteX127" fmla="*/ 676950 w 1293444"/>
              <a:gd name="connsiteY127" fmla="*/ 1616075 h 1704975"/>
              <a:gd name="connsiteX128" fmla="*/ 667425 w 1293444"/>
              <a:gd name="connsiteY128" fmla="*/ 1619250 h 1704975"/>
              <a:gd name="connsiteX129" fmla="*/ 648375 w 1293444"/>
              <a:gd name="connsiteY129" fmla="*/ 1631950 h 1704975"/>
              <a:gd name="connsiteX130" fmla="*/ 638850 w 1293444"/>
              <a:gd name="connsiteY130" fmla="*/ 1638300 h 1704975"/>
              <a:gd name="connsiteX131" fmla="*/ 607100 w 1293444"/>
              <a:gd name="connsiteY131" fmla="*/ 1676400 h 1704975"/>
              <a:gd name="connsiteX132" fmla="*/ 556300 w 1293444"/>
              <a:gd name="connsiteY132" fmla="*/ 1679575 h 1704975"/>
              <a:gd name="connsiteX133" fmla="*/ 537250 w 1293444"/>
              <a:gd name="connsiteY133" fmla="*/ 1685925 h 1704975"/>
              <a:gd name="connsiteX134" fmla="*/ 515025 w 1293444"/>
              <a:gd name="connsiteY134" fmla="*/ 1698625 h 1704975"/>
              <a:gd name="connsiteX135" fmla="*/ 495975 w 1293444"/>
              <a:gd name="connsiteY135" fmla="*/ 1704975 h 1704975"/>
              <a:gd name="connsiteX136" fmla="*/ 476925 w 1293444"/>
              <a:gd name="connsiteY136" fmla="*/ 1701800 h 1704975"/>
              <a:gd name="connsiteX137" fmla="*/ 470575 w 1293444"/>
              <a:gd name="connsiteY137" fmla="*/ 1692275 h 1704975"/>
              <a:gd name="connsiteX138" fmla="*/ 467400 w 1293444"/>
              <a:gd name="connsiteY138" fmla="*/ 1660525 h 1704975"/>
              <a:gd name="connsiteX139" fmla="*/ 457875 w 1293444"/>
              <a:gd name="connsiteY139" fmla="*/ 1641475 h 1704975"/>
              <a:gd name="connsiteX140" fmla="*/ 448350 w 1293444"/>
              <a:gd name="connsiteY140" fmla="*/ 1635125 h 1704975"/>
              <a:gd name="connsiteX141" fmla="*/ 445175 w 1293444"/>
              <a:gd name="connsiteY141" fmla="*/ 1625600 h 1704975"/>
              <a:gd name="connsiteX142" fmla="*/ 435650 w 1293444"/>
              <a:gd name="connsiteY142" fmla="*/ 1606550 h 1704975"/>
              <a:gd name="connsiteX143" fmla="*/ 432475 w 1293444"/>
              <a:gd name="connsiteY143" fmla="*/ 1495425 h 1704975"/>
              <a:gd name="connsiteX144" fmla="*/ 429300 w 1293444"/>
              <a:gd name="connsiteY144" fmla="*/ 1485900 h 1704975"/>
              <a:gd name="connsiteX145" fmla="*/ 426125 w 1293444"/>
              <a:gd name="connsiteY145" fmla="*/ 1473200 h 1704975"/>
              <a:gd name="connsiteX146" fmla="*/ 419775 w 1293444"/>
              <a:gd name="connsiteY146" fmla="*/ 1463675 h 1704975"/>
              <a:gd name="connsiteX147" fmla="*/ 416600 w 1293444"/>
              <a:gd name="connsiteY147" fmla="*/ 1454150 h 1704975"/>
              <a:gd name="connsiteX148" fmla="*/ 403900 w 1293444"/>
              <a:gd name="connsiteY148" fmla="*/ 1435100 h 1704975"/>
              <a:gd name="connsiteX149" fmla="*/ 397550 w 1293444"/>
              <a:gd name="connsiteY149" fmla="*/ 1416050 h 1704975"/>
              <a:gd name="connsiteX150" fmla="*/ 394375 w 1293444"/>
              <a:gd name="connsiteY150" fmla="*/ 1381125 h 1704975"/>
              <a:gd name="connsiteX151" fmla="*/ 391200 w 1293444"/>
              <a:gd name="connsiteY151" fmla="*/ 1368425 h 1704975"/>
              <a:gd name="connsiteX152" fmla="*/ 388025 w 1293444"/>
              <a:gd name="connsiteY152" fmla="*/ 1352550 h 1704975"/>
              <a:gd name="connsiteX153" fmla="*/ 381675 w 1293444"/>
              <a:gd name="connsiteY153" fmla="*/ 1333500 h 1704975"/>
              <a:gd name="connsiteX154" fmla="*/ 378500 w 1293444"/>
              <a:gd name="connsiteY154" fmla="*/ 1323975 h 1704975"/>
              <a:gd name="connsiteX155" fmla="*/ 375325 w 1293444"/>
              <a:gd name="connsiteY155" fmla="*/ 1308100 h 1704975"/>
              <a:gd name="connsiteX156" fmla="*/ 368975 w 1293444"/>
              <a:gd name="connsiteY156" fmla="*/ 1289050 h 1704975"/>
              <a:gd name="connsiteX157" fmla="*/ 362625 w 1293444"/>
              <a:gd name="connsiteY157" fmla="*/ 1260475 h 1704975"/>
              <a:gd name="connsiteX158" fmla="*/ 359450 w 1293444"/>
              <a:gd name="connsiteY158" fmla="*/ 1231900 h 1704975"/>
              <a:gd name="connsiteX159" fmla="*/ 349925 w 1293444"/>
              <a:gd name="connsiteY159" fmla="*/ 1196975 h 1704975"/>
              <a:gd name="connsiteX160" fmla="*/ 340400 w 1293444"/>
              <a:gd name="connsiteY160" fmla="*/ 1155700 h 1704975"/>
              <a:gd name="connsiteX161" fmla="*/ 334050 w 1293444"/>
              <a:gd name="connsiteY161" fmla="*/ 1130300 h 1704975"/>
              <a:gd name="connsiteX162" fmla="*/ 327700 w 1293444"/>
              <a:gd name="connsiteY162" fmla="*/ 1104900 h 1704975"/>
              <a:gd name="connsiteX163" fmla="*/ 324525 w 1293444"/>
              <a:gd name="connsiteY163" fmla="*/ 1092200 h 1704975"/>
              <a:gd name="connsiteX164" fmla="*/ 318175 w 1293444"/>
              <a:gd name="connsiteY164" fmla="*/ 1050925 h 1704975"/>
              <a:gd name="connsiteX165" fmla="*/ 315000 w 1293444"/>
              <a:gd name="connsiteY165" fmla="*/ 1031875 h 1704975"/>
              <a:gd name="connsiteX166" fmla="*/ 311825 w 1293444"/>
              <a:gd name="connsiteY166" fmla="*/ 1022350 h 1704975"/>
              <a:gd name="connsiteX167" fmla="*/ 308650 w 1293444"/>
              <a:gd name="connsiteY167" fmla="*/ 1006475 h 1704975"/>
              <a:gd name="connsiteX168" fmla="*/ 302300 w 1293444"/>
              <a:gd name="connsiteY168" fmla="*/ 987425 h 1704975"/>
              <a:gd name="connsiteX169" fmla="*/ 299125 w 1293444"/>
              <a:gd name="connsiteY169" fmla="*/ 974725 h 1704975"/>
              <a:gd name="connsiteX170" fmla="*/ 292775 w 1293444"/>
              <a:gd name="connsiteY170" fmla="*/ 955675 h 1704975"/>
              <a:gd name="connsiteX171" fmla="*/ 289600 w 1293444"/>
              <a:gd name="connsiteY171" fmla="*/ 946150 h 1704975"/>
              <a:gd name="connsiteX172" fmla="*/ 280075 w 1293444"/>
              <a:gd name="connsiteY172" fmla="*/ 923925 h 1704975"/>
              <a:gd name="connsiteX173" fmla="*/ 261025 w 1293444"/>
              <a:gd name="connsiteY173" fmla="*/ 908050 h 1704975"/>
              <a:gd name="connsiteX174" fmla="*/ 241975 w 1293444"/>
              <a:gd name="connsiteY174" fmla="*/ 901700 h 1704975"/>
              <a:gd name="connsiteX175" fmla="*/ 222925 w 1293444"/>
              <a:gd name="connsiteY175" fmla="*/ 889000 h 1704975"/>
              <a:gd name="connsiteX176" fmla="*/ 213400 w 1293444"/>
              <a:gd name="connsiteY176" fmla="*/ 885825 h 1704975"/>
              <a:gd name="connsiteX177" fmla="*/ 194350 w 1293444"/>
              <a:gd name="connsiteY177" fmla="*/ 873125 h 1704975"/>
              <a:gd name="connsiteX178" fmla="*/ 175300 w 1293444"/>
              <a:gd name="connsiteY178" fmla="*/ 860425 h 1704975"/>
              <a:gd name="connsiteX179" fmla="*/ 162600 w 1293444"/>
              <a:gd name="connsiteY179" fmla="*/ 850900 h 1704975"/>
              <a:gd name="connsiteX180" fmla="*/ 153075 w 1293444"/>
              <a:gd name="connsiteY180" fmla="*/ 847725 h 1704975"/>
              <a:gd name="connsiteX181" fmla="*/ 134025 w 1293444"/>
              <a:gd name="connsiteY181" fmla="*/ 835025 h 1704975"/>
              <a:gd name="connsiteX182" fmla="*/ 114975 w 1293444"/>
              <a:gd name="connsiteY182" fmla="*/ 822325 h 1704975"/>
              <a:gd name="connsiteX183" fmla="*/ 105450 w 1293444"/>
              <a:gd name="connsiteY183" fmla="*/ 815975 h 1704975"/>
              <a:gd name="connsiteX184" fmla="*/ 95925 w 1293444"/>
              <a:gd name="connsiteY184" fmla="*/ 812800 h 1704975"/>
              <a:gd name="connsiteX185" fmla="*/ 64175 w 1293444"/>
              <a:gd name="connsiteY185" fmla="*/ 790575 h 1704975"/>
              <a:gd name="connsiteX186" fmla="*/ 54650 w 1293444"/>
              <a:gd name="connsiteY186" fmla="*/ 787400 h 1704975"/>
              <a:gd name="connsiteX187" fmla="*/ 38775 w 1293444"/>
              <a:gd name="connsiteY187" fmla="*/ 771525 h 1704975"/>
              <a:gd name="connsiteX188" fmla="*/ 29250 w 1293444"/>
              <a:gd name="connsiteY188" fmla="*/ 762000 h 1704975"/>
              <a:gd name="connsiteX189" fmla="*/ 19725 w 1293444"/>
              <a:gd name="connsiteY189" fmla="*/ 758825 h 1704975"/>
              <a:gd name="connsiteX190" fmla="*/ 675 w 1293444"/>
              <a:gd name="connsiteY190" fmla="*/ 746125 h 1704975"/>
              <a:gd name="connsiteX191" fmla="*/ 51475 w 1293444"/>
              <a:gd name="connsiteY191" fmla="*/ 739775 h 1704975"/>
              <a:gd name="connsiteX192" fmla="*/ 67350 w 1293444"/>
              <a:gd name="connsiteY192" fmla="*/ 736600 h 1704975"/>
              <a:gd name="connsiteX193" fmla="*/ 102275 w 1293444"/>
              <a:gd name="connsiteY193" fmla="*/ 733425 h 1704975"/>
              <a:gd name="connsiteX194" fmla="*/ 130850 w 1293444"/>
              <a:gd name="connsiteY194" fmla="*/ 727075 h 1704975"/>
              <a:gd name="connsiteX195" fmla="*/ 149900 w 1293444"/>
              <a:gd name="connsiteY195" fmla="*/ 723900 h 1704975"/>
              <a:gd name="connsiteX196" fmla="*/ 159425 w 1293444"/>
              <a:gd name="connsiteY196" fmla="*/ 720725 h 1704975"/>
              <a:gd name="connsiteX197" fmla="*/ 175300 w 1293444"/>
              <a:gd name="connsiteY197" fmla="*/ 717550 h 1704975"/>
              <a:gd name="connsiteX198" fmla="*/ 194350 w 1293444"/>
              <a:gd name="connsiteY198" fmla="*/ 711200 h 1704975"/>
              <a:gd name="connsiteX199" fmla="*/ 222925 w 1293444"/>
              <a:gd name="connsiteY199" fmla="*/ 701675 h 1704975"/>
              <a:gd name="connsiteX200" fmla="*/ 232450 w 1293444"/>
              <a:gd name="connsiteY200" fmla="*/ 698500 h 1704975"/>
              <a:gd name="connsiteX201" fmla="*/ 241975 w 1293444"/>
              <a:gd name="connsiteY201" fmla="*/ 695325 h 1704975"/>
              <a:gd name="connsiteX202" fmla="*/ 381675 w 1293444"/>
              <a:gd name="connsiteY202" fmla="*/ 688975 h 1704975"/>
              <a:gd name="connsiteX203" fmla="*/ 397550 w 1293444"/>
              <a:gd name="connsiteY203" fmla="*/ 685800 h 1704975"/>
              <a:gd name="connsiteX204" fmla="*/ 407075 w 1293444"/>
              <a:gd name="connsiteY204" fmla="*/ 682625 h 1704975"/>
              <a:gd name="connsiteX205" fmla="*/ 419775 w 1293444"/>
              <a:gd name="connsiteY205" fmla="*/ 679450 h 1704975"/>
              <a:gd name="connsiteX206" fmla="*/ 438825 w 1293444"/>
              <a:gd name="connsiteY206" fmla="*/ 673100 h 1704975"/>
              <a:gd name="connsiteX207" fmla="*/ 467400 w 1293444"/>
              <a:gd name="connsiteY207" fmla="*/ 663575 h 1704975"/>
              <a:gd name="connsiteX208" fmla="*/ 495975 w 1293444"/>
              <a:gd name="connsiteY208" fmla="*/ 654050 h 1704975"/>
              <a:gd name="connsiteX209" fmla="*/ 505500 w 1293444"/>
              <a:gd name="connsiteY209" fmla="*/ 650875 h 1704975"/>
              <a:gd name="connsiteX210" fmla="*/ 527725 w 1293444"/>
              <a:gd name="connsiteY210" fmla="*/ 641350 h 1704975"/>
              <a:gd name="connsiteX211" fmla="*/ 537250 w 1293444"/>
              <a:gd name="connsiteY211" fmla="*/ 635000 h 1704975"/>
              <a:gd name="connsiteX212" fmla="*/ 546775 w 1293444"/>
              <a:gd name="connsiteY212" fmla="*/ 631825 h 1704975"/>
              <a:gd name="connsiteX213" fmla="*/ 559475 w 1293444"/>
              <a:gd name="connsiteY213" fmla="*/ 625475 h 1704975"/>
              <a:gd name="connsiteX214" fmla="*/ 578525 w 1293444"/>
              <a:gd name="connsiteY214" fmla="*/ 657225 h 1704975"/>
              <a:gd name="connsiteX215" fmla="*/ 588050 w 1293444"/>
              <a:gd name="connsiteY215" fmla="*/ 660400 h 1704975"/>
              <a:gd name="connsiteX216" fmla="*/ 607100 w 1293444"/>
              <a:gd name="connsiteY216" fmla="*/ 673100 h 1704975"/>
              <a:gd name="connsiteX217" fmla="*/ 626150 w 1293444"/>
              <a:gd name="connsiteY217" fmla="*/ 679450 h 1704975"/>
              <a:gd name="connsiteX218" fmla="*/ 635675 w 1293444"/>
              <a:gd name="connsiteY218" fmla="*/ 685800 h 1704975"/>
              <a:gd name="connsiteX219" fmla="*/ 654725 w 1293444"/>
              <a:gd name="connsiteY219" fmla="*/ 692150 h 1704975"/>
              <a:gd name="connsiteX220" fmla="*/ 645200 w 1293444"/>
              <a:gd name="connsiteY220" fmla="*/ 682625 h 1704975"/>
              <a:gd name="connsiteX221" fmla="*/ 635675 w 1293444"/>
              <a:gd name="connsiteY221" fmla="*/ 676275 h 1704975"/>
              <a:gd name="connsiteX222" fmla="*/ 632500 w 1293444"/>
              <a:gd name="connsiteY222" fmla="*/ 666750 h 1704975"/>
              <a:gd name="connsiteX223" fmla="*/ 635675 w 1293444"/>
              <a:gd name="connsiteY223" fmla="*/ 590550 h 1704975"/>
              <a:gd name="connsiteX224" fmla="*/ 642025 w 1293444"/>
              <a:gd name="connsiteY224" fmla="*/ 571500 h 1704975"/>
              <a:gd name="connsiteX225" fmla="*/ 648375 w 1293444"/>
              <a:gd name="connsiteY225" fmla="*/ 561975 h 1704975"/>
              <a:gd name="connsiteX226" fmla="*/ 638850 w 1293444"/>
              <a:gd name="connsiteY226" fmla="*/ 536575 h 1704975"/>
              <a:gd name="connsiteX227" fmla="*/ 629325 w 1293444"/>
              <a:gd name="connsiteY227" fmla="*/ 533400 h 1704975"/>
              <a:gd name="connsiteX228" fmla="*/ 626150 w 1293444"/>
              <a:gd name="connsiteY228" fmla="*/ 523875 h 1704975"/>
              <a:gd name="connsiteX229" fmla="*/ 632500 w 1293444"/>
              <a:gd name="connsiteY229" fmla="*/ 498475 h 1704975"/>
              <a:gd name="connsiteX230" fmla="*/ 635675 w 1293444"/>
              <a:gd name="connsiteY230" fmla="*/ 485775 h 1704975"/>
              <a:gd name="connsiteX231" fmla="*/ 626150 w 1293444"/>
              <a:gd name="connsiteY231" fmla="*/ 463550 h 1704975"/>
              <a:gd name="connsiteX232" fmla="*/ 616625 w 1293444"/>
              <a:gd name="connsiteY232" fmla="*/ 460375 h 1704975"/>
              <a:gd name="connsiteX233" fmla="*/ 607100 w 1293444"/>
              <a:gd name="connsiteY233" fmla="*/ 454025 h 1704975"/>
              <a:gd name="connsiteX234" fmla="*/ 591225 w 1293444"/>
              <a:gd name="connsiteY234" fmla="*/ 450850 h 1704975"/>
              <a:gd name="connsiteX235" fmla="*/ 569000 w 1293444"/>
              <a:gd name="connsiteY235" fmla="*/ 441325 h 1704975"/>
              <a:gd name="connsiteX236" fmla="*/ 546775 w 1293444"/>
              <a:gd name="connsiteY236" fmla="*/ 415925 h 1704975"/>
              <a:gd name="connsiteX237" fmla="*/ 540425 w 1293444"/>
              <a:gd name="connsiteY237" fmla="*/ 406400 h 1704975"/>
              <a:gd name="connsiteX238" fmla="*/ 530900 w 1293444"/>
              <a:gd name="connsiteY238" fmla="*/ 400050 h 1704975"/>
              <a:gd name="connsiteX239" fmla="*/ 508675 w 1293444"/>
              <a:gd name="connsiteY239" fmla="*/ 374650 h 1704975"/>
              <a:gd name="connsiteX240" fmla="*/ 502325 w 1293444"/>
              <a:gd name="connsiteY240" fmla="*/ 365125 h 1704975"/>
              <a:gd name="connsiteX241" fmla="*/ 483275 w 1293444"/>
              <a:gd name="connsiteY241" fmla="*/ 346075 h 1704975"/>
              <a:gd name="connsiteX242" fmla="*/ 486450 w 1293444"/>
              <a:gd name="connsiteY242" fmla="*/ 333375 h 1704975"/>
              <a:gd name="connsiteX243" fmla="*/ 492800 w 1293444"/>
              <a:gd name="connsiteY243" fmla="*/ 314325 h 1704975"/>
              <a:gd name="connsiteX244" fmla="*/ 489625 w 1293444"/>
              <a:gd name="connsiteY244" fmla="*/ 292100 h 1704975"/>
              <a:gd name="connsiteX245" fmla="*/ 461050 w 1293444"/>
              <a:gd name="connsiteY245" fmla="*/ 266700 h 1704975"/>
              <a:gd name="connsiteX246" fmla="*/ 435650 w 1293444"/>
              <a:gd name="connsiteY246" fmla="*/ 254000 h 1704975"/>
              <a:gd name="connsiteX247" fmla="*/ 413425 w 1293444"/>
              <a:gd name="connsiteY247" fmla="*/ 238125 h 1704975"/>
              <a:gd name="connsiteX248" fmla="*/ 403900 w 1293444"/>
              <a:gd name="connsiteY248" fmla="*/ 231775 h 1704975"/>
              <a:gd name="connsiteX249" fmla="*/ 388025 w 1293444"/>
              <a:gd name="connsiteY249" fmla="*/ 212725 h 1704975"/>
              <a:gd name="connsiteX250" fmla="*/ 372150 w 1293444"/>
              <a:gd name="connsiteY250" fmla="*/ 196850 h 1704975"/>
              <a:gd name="connsiteX251" fmla="*/ 365800 w 1293444"/>
              <a:gd name="connsiteY251" fmla="*/ 177800 h 1704975"/>
              <a:gd name="connsiteX252" fmla="*/ 359450 w 1293444"/>
              <a:gd name="connsiteY252" fmla="*/ 149225 h 1704975"/>
              <a:gd name="connsiteX253" fmla="*/ 362625 w 1293444"/>
              <a:gd name="connsiteY253" fmla="*/ 114300 h 1704975"/>
              <a:gd name="connsiteX254" fmla="*/ 368975 w 1293444"/>
              <a:gd name="connsiteY254" fmla="*/ 104775 h 1704975"/>
              <a:gd name="connsiteX255" fmla="*/ 375325 w 1293444"/>
              <a:gd name="connsiteY25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7325 w 1293444"/>
              <a:gd name="connsiteY51" fmla="*/ 390525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45175 w 1293444"/>
              <a:gd name="connsiteY140" fmla="*/ 1625600 h 1704975"/>
              <a:gd name="connsiteX141" fmla="*/ 435650 w 1293444"/>
              <a:gd name="connsiteY141" fmla="*/ 1606550 h 1704975"/>
              <a:gd name="connsiteX142" fmla="*/ 432475 w 1293444"/>
              <a:gd name="connsiteY142" fmla="*/ 1495425 h 1704975"/>
              <a:gd name="connsiteX143" fmla="*/ 429300 w 1293444"/>
              <a:gd name="connsiteY143" fmla="*/ 1485900 h 1704975"/>
              <a:gd name="connsiteX144" fmla="*/ 426125 w 1293444"/>
              <a:gd name="connsiteY144" fmla="*/ 1473200 h 1704975"/>
              <a:gd name="connsiteX145" fmla="*/ 419775 w 1293444"/>
              <a:gd name="connsiteY145" fmla="*/ 1463675 h 1704975"/>
              <a:gd name="connsiteX146" fmla="*/ 416600 w 1293444"/>
              <a:gd name="connsiteY146" fmla="*/ 1454150 h 1704975"/>
              <a:gd name="connsiteX147" fmla="*/ 403900 w 1293444"/>
              <a:gd name="connsiteY147" fmla="*/ 1435100 h 1704975"/>
              <a:gd name="connsiteX148" fmla="*/ 397550 w 1293444"/>
              <a:gd name="connsiteY148" fmla="*/ 1416050 h 1704975"/>
              <a:gd name="connsiteX149" fmla="*/ 394375 w 1293444"/>
              <a:gd name="connsiteY149" fmla="*/ 1381125 h 1704975"/>
              <a:gd name="connsiteX150" fmla="*/ 391200 w 1293444"/>
              <a:gd name="connsiteY150" fmla="*/ 1368425 h 1704975"/>
              <a:gd name="connsiteX151" fmla="*/ 388025 w 1293444"/>
              <a:gd name="connsiteY151" fmla="*/ 1352550 h 1704975"/>
              <a:gd name="connsiteX152" fmla="*/ 381675 w 1293444"/>
              <a:gd name="connsiteY152" fmla="*/ 1333500 h 1704975"/>
              <a:gd name="connsiteX153" fmla="*/ 378500 w 1293444"/>
              <a:gd name="connsiteY153" fmla="*/ 1323975 h 1704975"/>
              <a:gd name="connsiteX154" fmla="*/ 375325 w 1293444"/>
              <a:gd name="connsiteY154" fmla="*/ 1308100 h 1704975"/>
              <a:gd name="connsiteX155" fmla="*/ 368975 w 1293444"/>
              <a:gd name="connsiteY155" fmla="*/ 1289050 h 1704975"/>
              <a:gd name="connsiteX156" fmla="*/ 362625 w 1293444"/>
              <a:gd name="connsiteY156" fmla="*/ 1260475 h 1704975"/>
              <a:gd name="connsiteX157" fmla="*/ 359450 w 1293444"/>
              <a:gd name="connsiteY157" fmla="*/ 1231900 h 1704975"/>
              <a:gd name="connsiteX158" fmla="*/ 349925 w 1293444"/>
              <a:gd name="connsiteY158" fmla="*/ 1196975 h 1704975"/>
              <a:gd name="connsiteX159" fmla="*/ 340400 w 1293444"/>
              <a:gd name="connsiteY159" fmla="*/ 1155700 h 1704975"/>
              <a:gd name="connsiteX160" fmla="*/ 334050 w 1293444"/>
              <a:gd name="connsiteY160" fmla="*/ 1130300 h 1704975"/>
              <a:gd name="connsiteX161" fmla="*/ 327700 w 1293444"/>
              <a:gd name="connsiteY161" fmla="*/ 1104900 h 1704975"/>
              <a:gd name="connsiteX162" fmla="*/ 324525 w 1293444"/>
              <a:gd name="connsiteY162" fmla="*/ 1092200 h 1704975"/>
              <a:gd name="connsiteX163" fmla="*/ 318175 w 1293444"/>
              <a:gd name="connsiteY163" fmla="*/ 1050925 h 1704975"/>
              <a:gd name="connsiteX164" fmla="*/ 315000 w 1293444"/>
              <a:gd name="connsiteY164" fmla="*/ 1031875 h 1704975"/>
              <a:gd name="connsiteX165" fmla="*/ 311825 w 1293444"/>
              <a:gd name="connsiteY165" fmla="*/ 1022350 h 1704975"/>
              <a:gd name="connsiteX166" fmla="*/ 308650 w 1293444"/>
              <a:gd name="connsiteY166" fmla="*/ 1006475 h 1704975"/>
              <a:gd name="connsiteX167" fmla="*/ 302300 w 1293444"/>
              <a:gd name="connsiteY167" fmla="*/ 987425 h 1704975"/>
              <a:gd name="connsiteX168" fmla="*/ 299125 w 1293444"/>
              <a:gd name="connsiteY168" fmla="*/ 974725 h 1704975"/>
              <a:gd name="connsiteX169" fmla="*/ 292775 w 1293444"/>
              <a:gd name="connsiteY169" fmla="*/ 955675 h 1704975"/>
              <a:gd name="connsiteX170" fmla="*/ 289600 w 1293444"/>
              <a:gd name="connsiteY170" fmla="*/ 946150 h 1704975"/>
              <a:gd name="connsiteX171" fmla="*/ 280075 w 1293444"/>
              <a:gd name="connsiteY171" fmla="*/ 923925 h 1704975"/>
              <a:gd name="connsiteX172" fmla="*/ 261025 w 1293444"/>
              <a:gd name="connsiteY172" fmla="*/ 908050 h 1704975"/>
              <a:gd name="connsiteX173" fmla="*/ 241975 w 1293444"/>
              <a:gd name="connsiteY173" fmla="*/ 901700 h 1704975"/>
              <a:gd name="connsiteX174" fmla="*/ 222925 w 1293444"/>
              <a:gd name="connsiteY174" fmla="*/ 889000 h 1704975"/>
              <a:gd name="connsiteX175" fmla="*/ 213400 w 1293444"/>
              <a:gd name="connsiteY175" fmla="*/ 885825 h 1704975"/>
              <a:gd name="connsiteX176" fmla="*/ 194350 w 1293444"/>
              <a:gd name="connsiteY176" fmla="*/ 873125 h 1704975"/>
              <a:gd name="connsiteX177" fmla="*/ 175300 w 1293444"/>
              <a:gd name="connsiteY177" fmla="*/ 860425 h 1704975"/>
              <a:gd name="connsiteX178" fmla="*/ 162600 w 1293444"/>
              <a:gd name="connsiteY178" fmla="*/ 850900 h 1704975"/>
              <a:gd name="connsiteX179" fmla="*/ 153075 w 1293444"/>
              <a:gd name="connsiteY179" fmla="*/ 847725 h 1704975"/>
              <a:gd name="connsiteX180" fmla="*/ 134025 w 1293444"/>
              <a:gd name="connsiteY180" fmla="*/ 835025 h 1704975"/>
              <a:gd name="connsiteX181" fmla="*/ 114975 w 1293444"/>
              <a:gd name="connsiteY181" fmla="*/ 822325 h 1704975"/>
              <a:gd name="connsiteX182" fmla="*/ 105450 w 1293444"/>
              <a:gd name="connsiteY182" fmla="*/ 815975 h 1704975"/>
              <a:gd name="connsiteX183" fmla="*/ 95925 w 1293444"/>
              <a:gd name="connsiteY183" fmla="*/ 812800 h 1704975"/>
              <a:gd name="connsiteX184" fmla="*/ 64175 w 1293444"/>
              <a:gd name="connsiteY184" fmla="*/ 790575 h 1704975"/>
              <a:gd name="connsiteX185" fmla="*/ 54650 w 1293444"/>
              <a:gd name="connsiteY185" fmla="*/ 787400 h 1704975"/>
              <a:gd name="connsiteX186" fmla="*/ 38775 w 1293444"/>
              <a:gd name="connsiteY186" fmla="*/ 771525 h 1704975"/>
              <a:gd name="connsiteX187" fmla="*/ 29250 w 1293444"/>
              <a:gd name="connsiteY187" fmla="*/ 762000 h 1704975"/>
              <a:gd name="connsiteX188" fmla="*/ 19725 w 1293444"/>
              <a:gd name="connsiteY188" fmla="*/ 758825 h 1704975"/>
              <a:gd name="connsiteX189" fmla="*/ 675 w 1293444"/>
              <a:gd name="connsiteY189" fmla="*/ 746125 h 1704975"/>
              <a:gd name="connsiteX190" fmla="*/ 51475 w 1293444"/>
              <a:gd name="connsiteY190" fmla="*/ 739775 h 1704975"/>
              <a:gd name="connsiteX191" fmla="*/ 67350 w 1293444"/>
              <a:gd name="connsiteY191" fmla="*/ 736600 h 1704975"/>
              <a:gd name="connsiteX192" fmla="*/ 102275 w 1293444"/>
              <a:gd name="connsiteY192" fmla="*/ 733425 h 1704975"/>
              <a:gd name="connsiteX193" fmla="*/ 130850 w 1293444"/>
              <a:gd name="connsiteY193" fmla="*/ 727075 h 1704975"/>
              <a:gd name="connsiteX194" fmla="*/ 149900 w 1293444"/>
              <a:gd name="connsiteY194" fmla="*/ 723900 h 1704975"/>
              <a:gd name="connsiteX195" fmla="*/ 159425 w 1293444"/>
              <a:gd name="connsiteY195" fmla="*/ 720725 h 1704975"/>
              <a:gd name="connsiteX196" fmla="*/ 175300 w 1293444"/>
              <a:gd name="connsiteY196" fmla="*/ 717550 h 1704975"/>
              <a:gd name="connsiteX197" fmla="*/ 194350 w 1293444"/>
              <a:gd name="connsiteY197" fmla="*/ 711200 h 1704975"/>
              <a:gd name="connsiteX198" fmla="*/ 222925 w 1293444"/>
              <a:gd name="connsiteY198" fmla="*/ 701675 h 1704975"/>
              <a:gd name="connsiteX199" fmla="*/ 232450 w 1293444"/>
              <a:gd name="connsiteY199" fmla="*/ 698500 h 1704975"/>
              <a:gd name="connsiteX200" fmla="*/ 241975 w 1293444"/>
              <a:gd name="connsiteY200" fmla="*/ 695325 h 1704975"/>
              <a:gd name="connsiteX201" fmla="*/ 381675 w 1293444"/>
              <a:gd name="connsiteY201" fmla="*/ 688975 h 1704975"/>
              <a:gd name="connsiteX202" fmla="*/ 397550 w 1293444"/>
              <a:gd name="connsiteY202" fmla="*/ 685800 h 1704975"/>
              <a:gd name="connsiteX203" fmla="*/ 407075 w 1293444"/>
              <a:gd name="connsiteY203" fmla="*/ 682625 h 1704975"/>
              <a:gd name="connsiteX204" fmla="*/ 419775 w 1293444"/>
              <a:gd name="connsiteY204" fmla="*/ 679450 h 1704975"/>
              <a:gd name="connsiteX205" fmla="*/ 438825 w 1293444"/>
              <a:gd name="connsiteY205" fmla="*/ 673100 h 1704975"/>
              <a:gd name="connsiteX206" fmla="*/ 467400 w 1293444"/>
              <a:gd name="connsiteY206" fmla="*/ 663575 h 1704975"/>
              <a:gd name="connsiteX207" fmla="*/ 495975 w 1293444"/>
              <a:gd name="connsiteY207" fmla="*/ 654050 h 1704975"/>
              <a:gd name="connsiteX208" fmla="*/ 505500 w 1293444"/>
              <a:gd name="connsiteY208" fmla="*/ 650875 h 1704975"/>
              <a:gd name="connsiteX209" fmla="*/ 527725 w 1293444"/>
              <a:gd name="connsiteY209" fmla="*/ 641350 h 1704975"/>
              <a:gd name="connsiteX210" fmla="*/ 537250 w 1293444"/>
              <a:gd name="connsiteY210" fmla="*/ 635000 h 1704975"/>
              <a:gd name="connsiteX211" fmla="*/ 546775 w 1293444"/>
              <a:gd name="connsiteY211" fmla="*/ 631825 h 1704975"/>
              <a:gd name="connsiteX212" fmla="*/ 559475 w 1293444"/>
              <a:gd name="connsiteY212" fmla="*/ 625475 h 1704975"/>
              <a:gd name="connsiteX213" fmla="*/ 578525 w 1293444"/>
              <a:gd name="connsiteY213" fmla="*/ 657225 h 1704975"/>
              <a:gd name="connsiteX214" fmla="*/ 588050 w 1293444"/>
              <a:gd name="connsiteY214" fmla="*/ 660400 h 1704975"/>
              <a:gd name="connsiteX215" fmla="*/ 607100 w 1293444"/>
              <a:gd name="connsiteY215" fmla="*/ 673100 h 1704975"/>
              <a:gd name="connsiteX216" fmla="*/ 626150 w 1293444"/>
              <a:gd name="connsiteY216" fmla="*/ 679450 h 1704975"/>
              <a:gd name="connsiteX217" fmla="*/ 635675 w 1293444"/>
              <a:gd name="connsiteY217" fmla="*/ 685800 h 1704975"/>
              <a:gd name="connsiteX218" fmla="*/ 654725 w 1293444"/>
              <a:gd name="connsiteY218" fmla="*/ 692150 h 1704975"/>
              <a:gd name="connsiteX219" fmla="*/ 645200 w 1293444"/>
              <a:gd name="connsiteY219" fmla="*/ 682625 h 1704975"/>
              <a:gd name="connsiteX220" fmla="*/ 635675 w 1293444"/>
              <a:gd name="connsiteY220" fmla="*/ 676275 h 1704975"/>
              <a:gd name="connsiteX221" fmla="*/ 632500 w 1293444"/>
              <a:gd name="connsiteY221" fmla="*/ 666750 h 1704975"/>
              <a:gd name="connsiteX222" fmla="*/ 635675 w 1293444"/>
              <a:gd name="connsiteY222" fmla="*/ 590550 h 1704975"/>
              <a:gd name="connsiteX223" fmla="*/ 642025 w 1293444"/>
              <a:gd name="connsiteY223" fmla="*/ 571500 h 1704975"/>
              <a:gd name="connsiteX224" fmla="*/ 648375 w 1293444"/>
              <a:gd name="connsiteY224" fmla="*/ 561975 h 1704975"/>
              <a:gd name="connsiteX225" fmla="*/ 638850 w 1293444"/>
              <a:gd name="connsiteY225" fmla="*/ 536575 h 1704975"/>
              <a:gd name="connsiteX226" fmla="*/ 629325 w 1293444"/>
              <a:gd name="connsiteY226" fmla="*/ 533400 h 1704975"/>
              <a:gd name="connsiteX227" fmla="*/ 626150 w 1293444"/>
              <a:gd name="connsiteY227" fmla="*/ 523875 h 1704975"/>
              <a:gd name="connsiteX228" fmla="*/ 632500 w 1293444"/>
              <a:gd name="connsiteY228" fmla="*/ 498475 h 1704975"/>
              <a:gd name="connsiteX229" fmla="*/ 635675 w 1293444"/>
              <a:gd name="connsiteY229" fmla="*/ 485775 h 1704975"/>
              <a:gd name="connsiteX230" fmla="*/ 626150 w 1293444"/>
              <a:gd name="connsiteY230" fmla="*/ 463550 h 1704975"/>
              <a:gd name="connsiteX231" fmla="*/ 616625 w 1293444"/>
              <a:gd name="connsiteY231" fmla="*/ 460375 h 1704975"/>
              <a:gd name="connsiteX232" fmla="*/ 607100 w 1293444"/>
              <a:gd name="connsiteY232" fmla="*/ 454025 h 1704975"/>
              <a:gd name="connsiteX233" fmla="*/ 591225 w 1293444"/>
              <a:gd name="connsiteY233" fmla="*/ 450850 h 1704975"/>
              <a:gd name="connsiteX234" fmla="*/ 569000 w 1293444"/>
              <a:gd name="connsiteY234" fmla="*/ 441325 h 1704975"/>
              <a:gd name="connsiteX235" fmla="*/ 546775 w 1293444"/>
              <a:gd name="connsiteY235" fmla="*/ 415925 h 1704975"/>
              <a:gd name="connsiteX236" fmla="*/ 540425 w 1293444"/>
              <a:gd name="connsiteY236" fmla="*/ 406400 h 1704975"/>
              <a:gd name="connsiteX237" fmla="*/ 530900 w 1293444"/>
              <a:gd name="connsiteY237" fmla="*/ 400050 h 1704975"/>
              <a:gd name="connsiteX238" fmla="*/ 508675 w 1293444"/>
              <a:gd name="connsiteY238" fmla="*/ 374650 h 1704975"/>
              <a:gd name="connsiteX239" fmla="*/ 502325 w 1293444"/>
              <a:gd name="connsiteY239" fmla="*/ 365125 h 1704975"/>
              <a:gd name="connsiteX240" fmla="*/ 483275 w 1293444"/>
              <a:gd name="connsiteY240" fmla="*/ 346075 h 1704975"/>
              <a:gd name="connsiteX241" fmla="*/ 486450 w 1293444"/>
              <a:gd name="connsiteY241" fmla="*/ 333375 h 1704975"/>
              <a:gd name="connsiteX242" fmla="*/ 492800 w 1293444"/>
              <a:gd name="connsiteY242" fmla="*/ 314325 h 1704975"/>
              <a:gd name="connsiteX243" fmla="*/ 489625 w 1293444"/>
              <a:gd name="connsiteY243" fmla="*/ 292100 h 1704975"/>
              <a:gd name="connsiteX244" fmla="*/ 461050 w 1293444"/>
              <a:gd name="connsiteY244" fmla="*/ 266700 h 1704975"/>
              <a:gd name="connsiteX245" fmla="*/ 435650 w 1293444"/>
              <a:gd name="connsiteY245" fmla="*/ 254000 h 1704975"/>
              <a:gd name="connsiteX246" fmla="*/ 413425 w 1293444"/>
              <a:gd name="connsiteY246" fmla="*/ 238125 h 1704975"/>
              <a:gd name="connsiteX247" fmla="*/ 403900 w 1293444"/>
              <a:gd name="connsiteY247" fmla="*/ 231775 h 1704975"/>
              <a:gd name="connsiteX248" fmla="*/ 388025 w 1293444"/>
              <a:gd name="connsiteY248" fmla="*/ 212725 h 1704975"/>
              <a:gd name="connsiteX249" fmla="*/ 372150 w 1293444"/>
              <a:gd name="connsiteY249" fmla="*/ 196850 h 1704975"/>
              <a:gd name="connsiteX250" fmla="*/ 365800 w 1293444"/>
              <a:gd name="connsiteY250" fmla="*/ 177800 h 1704975"/>
              <a:gd name="connsiteX251" fmla="*/ 359450 w 1293444"/>
              <a:gd name="connsiteY251" fmla="*/ 149225 h 1704975"/>
              <a:gd name="connsiteX252" fmla="*/ 362625 w 1293444"/>
              <a:gd name="connsiteY252" fmla="*/ 114300 h 1704975"/>
              <a:gd name="connsiteX253" fmla="*/ 368975 w 1293444"/>
              <a:gd name="connsiteY253" fmla="*/ 104775 h 1704975"/>
              <a:gd name="connsiteX254" fmla="*/ 375325 w 1293444"/>
              <a:gd name="connsiteY254"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65900 w 1293444"/>
              <a:gd name="connsiteY51" fmla="*/ 454025 h 1704975"/>
              <a:gd name="connsiteX52" fmla="*/ 1207175 w 1293444"/>
              <a:gd name="connsiteY52" fmla="*/ 457200 h 1704975"/>
              <a:gd name="connsiteX53" fmla="*/ 1216700 w 1293444"/>
              <a:gd name="connsiteY53" fmla="*/ 463550 h 1704975"/>
              <a:gd name="connsiteX54" fmla="*/ 1270675 w 1293444"/>
              <a:gd name="connsiteY54" fmla="*/ 469900 h 1704975"/>
              <a:gd name="connsiteX55" fmla="*/ 1277025 w 1293444"/>
              <a:gd name="connsiteY55" fmla="*/ 479425 h 1704975"/>
              <a:gd name="connsiteX56" fmla="*/ 1273850 w 1293444"/>
              <a:gd name="connsiteY56" fmla="*/ 488950 h 1704975"/>
              <a:gd name="connsiteX57" fmla="*/ 1270675 w 1293444"/>
              <a:gd name="connsiteY57" fmla="*/ 511175 h 1704975"/>
              <a:gd name="connsiteX58" fmla="*/ 1264325 w 1293444"/>
              <a:gd name="connsiteY58" fmla="*/ 530225 h 1704975"/>
              <a:gd name="connsiteX59" fmla="*/ 1261150 w 1293444"/>
              <a:gd name="connsiteY59" fmla="*/ 539750 h 1704975"/>
              <a:gd name="connsiteX60" fmla="*/ 1254800 w 1293444"/>
              <a:gd name="connsiteY60" fmla="*/ 571500 h 1704975"/>
              <a:gd name="connsiteX61" fmla="*/ 1254800 w 1293444"/>
              <a:gd name="connsiteY61" fmla="*/ 692150 h 1704975"/>
              <a:gd name="connsiteX62" fmla="*/ 1257975 w 1293444"/>
              <a:gd name="connsiteY62" fmla="*/ 714375 h 1704975"/>
              <a:gd name="connsiteX63" fmla="*/ 1261150 w 1293444"/>
              <a:gd name="connsiteY63" fmla="*/ 723900 h 1704975"/>
              <a:gd name="connsiteX64" fmla="*/ 1273850 w 1293444"/>
              <a:gd name="connsiteY64" fmla="*/ 727075 h 1704975"/>
              <a:gd name="connsiteX65" fmla="*/ 1292900 w 1293444"/>
              <a:gd name="connsiteY65" fmla="*/ 739775 h 1704975"/>
              <a:gd name="connsiteX66" fmla="*/ 1289725 w 1293444"/>
              <a:gd name="connsiteY66" fmla="*/ 784225 h 1704975"/>
              <a:gd name="connsiteX67" fmla="*/ 1273850 w 1293444"/>
              <a:gd name="connsiteY67" fmla="*/ 800100 h 1704975"/>
              <a:gd name="connsiteX68" fmla="*/ 1264325 w 1293444"/>
              <a:gd name="connsiteY68" fmla="*/ 809625 h 1704975"/>
              <a:gd name="connsiteX69" fmla="*/ 1219875 w 1293444"/>
              <a:gd name="connsiteY69" fmla="*/ 819150 h 1704975"/>
              <a:gd name="connsiteX70" fmla="*/ 1200825 w 1293444"/>
              <a:gd name="connsiteY70" fmla="*/ 825500 h 1704975"/>
              <a:gd name="connsiteX71" fmla="*/ 1181775 w 1293444"/>
              <a:gd name="connsiteY71" fmla="*/ 838200 h 1704975"/>
              <a:gd name="connsiteX72" fmla="*/ 1172250 w 1293444"/>
              <a:gd name="connsiteY72" fmla="*/ 844550 h 1704975"/>
              <a:gd name="connsiteX73" fmla="*/ 1153200 w 1293444"/>
              <a:gd name="connsiteY73" fmla="*/ 850900 h 1704975"/>
              <a:gd name="connsiteX74" fmla="*/ 1140500 w 1293444"/>
              <a:gd name="connsiteY74" fmla="*/ 857250 h 1704975"/>
              <a:gd name="connsiteX75" fmla="*/ 1130975 w 1293444"/>
              <a:gd name="connsiteY75" fmla="*/ 863600 h 1704975"/>
              <a:gd name="connsiteX76" fmla="*/ 1105575 w 1293444"/>
              <a:gd name="connsiteY76" fmla="*/ 866775 h 1704975"/>
              <a:gd name="connsiteX77" fmla="*/ 1086525 w 1293444"/>
              <a:gd name="connsiteY77" fmla="*/ 873125 h 1704975"/>
              <a:gd name="connsiteX78" fmla="*/ 1077000 w 1293444"/>
              <a:gd name="connsiteY78" fmla="*/ 879475 h 1704975"/>
              <a:gd name="connsiteX79" fmla="*/ 1057950 w 1293444"/>
              <a:gd name="connsiteY79" fmla="*/ 885825 h 1704975"/>
              <a:gd name="connsiteX80" fmla="*/ 1048425 w 1293444"/>
              <a:gd name="connsiteY80" fmla="*/ 889000 h 1704975"/>
              <a:gd name="connsiteX81" fmla="*/ 1029375 w 1293444"/>
              <a:gd name="connsiteY81" fmla="*/ 908050 h 1704975"/>
              <a:gd name="connsiteX82" fmla="*/ 1010325 w 1293444"/>
              <a:gd name="connsiteY82" fmla="*/ 914400 h 1704975"/>
              <a:gd name="connsiteX83" fmla="*/ 1003975 w 1293444"/>
              <a:gd name="connsiteY83" fmla="*/ 923925 h 1704975"/>
              <a:gd name="connsiteX84" fmla="*/ 994450 w 1293444"/>
              <a:gd name="connsiteY84" fmla="*/ 933450 h 1704975"/>
              <a:gd name="connsiteX85" fmla="*/ 991275 w 1293444"/>
              <a:gd name="connsiteY85" fmla="*/ 942975 h 1704975"/>
              <a:gd name="connsiteX86" fmla="*/ 988100 w 1293444"/>
              <a:gd name="connsiteY86" fmla="*/ 962025 h 1704975"/>
              <a:gd name="connsiteX87" fmla="*/ 969050 w 1293444"/>
              <a:gd name="connsiteY87" fmla="*/ 968375 h 1704975"/>
              <a:gd name="connsiteX88" fmla="*/ 950000 w 1293444"/>
              <a:gd name="connsiteY88" fmla="*/ 981075 h 1704975"/>
              <a:gd name="connsiteX89" fmla="*/ 940475 w 1293444"/>
              <a:gd name="connsiteY89" fmla="*/ 987425 h 1704975"/>
              <a:gd name="connsiteX90" fmla="*/ 930950 w 1293444"/>
              <a:gd name="connsiteY90" fmla="*/ 1006475 h 1704975"/>
              <a:gd name="connsiteX91" fmla="*/ 924600 w 1293444"/>
              <a:gd name="connsiteY91" fmla="*/ 1016000 h 1704975"/>
              <a:gd name="connsiteX92" fmla="*/ 921425 w 1293444"/>
              <a:gd name="connsiteY92" fmla="*/ 1025525 h 1704975"/>
              <a:gd name="connsiteX93" fmla="*/ 905550 w 1293444"/>
              <a:gd name="connsiteY93" fmla="*/ 1044575 h 1704975"/>
              <a:gd name="connsiteX94" fmla="*/ 896025 w 1293444"/>
              <a:gd name="connsiteY94" fmla="*/ 1063625 h 1704975"/>
              <a:gd name="connsiteX95" fmla="*/ 867450 w 1293444"/>
              <a:gd name="connsiteY95" fmla="*/ 1085850 h 1704975"/>
              <a:gd name="connsiteX96" fmla="*/ 848400 w 1293444"/>
              <a:gd name="connsiteY96" fmla="*/ 1095375 h 1704975"/>
              <a:gd name="connsiteX97" fmla="*/ 813475 w 1293444"/>
              <a:gd name="connsiteY97" fmla="*/ 1092200 h 1704975"/>
              <a:gd name="connsiteX98" fmla="*/ 772200 w 1293444"/>
              <a:gd name="connsiteY98" fmla="*/ 1098550 h 1704975"/>
              <a:gd name="connsiteX99" fmla="*/ 759500 w 1293444"/>
              <a:gd name="connsiteY99" fmla="*/ 1127125 h 1704975"/>
              <a:gd name="connsiteX100" fmla="*/ 756325 w 1293444"/>
              <a:gd name="connsiteY100" fmla="*/ 1136650 h 1704975"/>
              <a:gd name="connsiteX101" fmla="*/ 740450 w 1293444"/>
              <a:gd name="connsiteY101" fmla="*/ 1155700 h 1704975"/>
              <a:gd name="connsiteX102" fmla="*/ 718225 w 1293444"/>
              <a:gd name="connsiteY102" fmla="*/ 1181100 h 1704975"/>
              <a:gd name="connsiteX103" fmla="*/ 721400 w 1293444"/>
              <a:gd name="connsiteY103" fmla="*/ 1238250 h 1704975"/>
              <a:gd name="connsiteX104" fmla="*/ 727750 w 1293444"/>
              <a:gd name="connsiteY104" fmla="*/ 1247775 h 1704975"/>
              <a:gd name="connsiteX105" fmla="*/ 730925 w 1293444"/>
              <a:gd name="connsiteY105" fmla="*/ 1257300 h 1704975"/>
              <a:gd name="connsiteX106" fmla="*/ 740450 w 1293444"/>
              <a:gd name="connsiteY106" fmla="*/ 1276350 h 1704975"/>
              <a:gd name="connsiteX107" fmla="*/ 743625 w 1293444"/>
              <a:gd name="connsiteY107" fmla="*/ 1320800 h 1704975"/>
              <a:gd name="connsiteX108" fmla="*/ 746800 w 1293444"/>
              <a:gd name="connsiteY108" fmla="*/ 1330325 h 1704975"/>
              <a:gd name="connsiteX109" fmla="*/ 756325 w 1293444"/>
              <a:gd name="connsiteY109" fmla="*/ 1336675 h 1704975"/>
              <a:gd name="connsiteX110" fmla="*/ 762675 w 1293444"/>
              <a:gd name="connsiteY110" fmla="*/ 1346200 h 1704975"/>
              <a:gd name="connsiteX111" fmla="*/ 769025 w 1293444"/>
              <a:gd name="connsiteY111" fmla="*/ 1393825 h 1704975"/>
              <a:gd name="connsiteX112" fmla="*/ 775375 w 1293444"/>
              <a:gd name="connsiteY112" fmla="*/ 1412875 h 1704975"/>
              <a:gd name="connsiteX113" fmla="*/ 781725 w 1293444"/>
              <a:gd name="connsiteY113" fmla="*/ 1435100 h 1704975"/>
              <a:gd name="connsiteX114" fmla="*/ 772200 w 1293444"/>
              <a:gd name="connsiteY114" fmla="*/ 1460500 h 1704975"/>
              <a:gd name="connsiteX115" fmla="*/ 762675 w 1293444"/>
              <a:gd name="connsiteY115" fmla="*/ 1466850 h 1704975"/>
              <a:gd name="connsiteX116" fmla="*/ 753150 w 1293444"/>
              <a:gd name="connsiteY116" fmla="*/ 1485900 h 1704975"/>
              <a:gd name="connsiteX117" fmla="*/ 749975 w 1293444"/>
              <a:gd name="connsiteY117" fmla="*/ 1514475 h 1704975"/>
              <a:gd name="connsiteX118" fmla="*/ 740450 w 1293444"/>
              <a:gd name="connsiteY118" fmla="*/ 1520825 h 1704975"/>
              <a:gd name="connsiteX119" fmla="*/ 730925 w 1293444"/>
              <a:gd name="connsiteY119" fmla="*/ 1530350 h 1704975"/>
              <a:gd name="connsiteX120" fmla="*/ 718225 w 1293444"/>
              <a:gd name="connsiteY120" fmla="*/ 1549400 h 1704975"/>
              <a:gd name="connsiteX121" fmla="*/ 711875 w 1293444"/>
              <a:gd name="connsiteY121" fmla="*/ 1558925 h 1704975"/>
              <a:gd name="connsiteX122" fmla="*/ 702350 w 1293444"/>
              <a:gd name="connsiteY122" fmla="*/ 1568450 h 1704975"/>
              <a:gd name="connsiteX123" fmla="*/ 699175 w 1293444"/>
              <a:gd name="connsiteY123" fmla="*/ 1577975 h 1704975"/>
              <a:gd name="connsiteX124" fmla="*/ 686475 w 1293444"/>
              <a:gd name="connsiteY124" fmla="*/ 1597025 h 1704975"/>
              <a:gd name="connsiteX125" fmla="*/ 676950 w 1293444"/>
              <a:gd name="connsiteY125" fmla="*/ 1616075 h 1704975"/>
              <a:gd name="connsiteX126" fmla="*/ 667425 w 1293444"/>
              <a:gd name="connsiteY126" fmla="*/ 1619250 h 1704975"/>
              <a:gd name="connsiteX127" fmla="*/ 648375 w 1293444"/>
              <a:gd name="connsiteY127" fmla="*/ 1631950 h 1704975"/>
              <a:gd name="connsiteX128" fmla="*/ 638850 w 1293444"/>
              <a:gd name="connsiteY128" fmla="*/ 1638300 h 1704975"/>
              <a:gd name="connsiteX129" fmla="*/ 607100 w 1293444"/>
              <a:gd name="connsiteY129" fmla="*/ 1676400 h 1704975"/>
              <a:gd name="connsiteX130" fmla="*/ 556300 w 1293444"/>
              <a:gd name="connsiteY130" fmla="*/ 1679575 h 1704975"/>
              <a:gd name="connsiteX131" fmla="*/ 537250 w 1293444"/>
              <a:gd name="connsiteY131" fmla="*/ 1685925 h 1704975"/>
              <a:gd name="connsiteX132" fmla="*/ 515025 w 1293444"/>
              <a:gd name="connsiteY132" fmla="*/ 1698625 h 1704975"/>
              <a:gd name="connsiteX133" fmla="*/ 495975 w 1293444"/>
              <a:gd name="connsiteY133" fmla="*/ 1704975 h 1704975"/>
              <a:gd name="connsiteX134" fmla="*/ 476925 w 1293444"/>
              <a:gd name="connsiteY134" fmla="*/ 1701800 h 1704975"/>
              <a:gd name="connsiteX135" fmla="*/ 470575 w 1293444"/>
              <a:gd name="connsiteY135" fmla="*/ 1692275 h 1704975"/>
              <a:gd name="connsiteX136" fmla="*/ 467400 w 1293444"/>
              <a:gd name="connsiteY136" fmla="*/ 1660525 h 1704975"/>
              <a:gd name="connsiteX137" fmla="*/ 457875 w 1293444"/>
              <a:gd name="connsiteY137" fmla="*/ 1641475 h 1704975"/>
              <a:gd name="connsiteX138" fmla="*/ 448350 w 1293444"/>
              <a:gd name="connsiteY138" fmla="*/ 1635125 h 1704975"/>
              <a:gd name="connsiteX139" fmla="*/ 445175 w 1293444"/>
              <a:gd name="connsiteY139" fmla="*/ 1625600 h 1704975"/>
              <a:gd name="connsiteX140" fmla="*/ 435650 w 1293444"/>
              <a:gd name="connsiteY140" fmla="*/ 1606550 h 1704975"/>
              <a:gd name="connsiteX141" fmla="*/ 432475 w 1293444"/>
              <a:gd name="connsiteY141" fmla="*/ 1495425 h 1704975"/>
              <a:gd name="connsiteX142" fmla="*/ 429300 w 1293444"/>
              <a:gd name="connsiteY142" fmla="*/ 1485900 h 1704975"/>
              <a:gd name="connsiteX143" fmla="*/ 426125 w 1293444"/>
              <a:gd name="connsiteY143" fmla="*/ 1473200 h 1704975"/>
              <a:gd name="connsiteX144" fmla="*/ 419775 w 1293444"/>
              <a:gd name="connsiteY144" fmla="*/ 1463675 h 1704975"/>
              <a:gd name="connsiteX145" fmla="*/ 416600 w 1293444"/>
              <a:gd name="connsiteY145" fmla="*/ 1454150 h 1704975"/>
              <a:gd name="connsiteX146" fmla="*/ 403900 w 1293444"/>
              <a:gd name="connsiteY146" fmla="*/ 1435100 h 1704975"/>
              <a:gd name="connsiteX147" fmla="*/ 397550 w 1293444"/>
              <a:gd name="connsiteY147" fmla="*/ 1416050 h 1704975"/>
              <a:gd name="connsiteX148" fmla="*/ 394375 w 1293444"/>
              <a:gd name="connsiteY148" fmla="*/ 1381125 h 1704975"/>
              <a:gd name="connsiteX149" fmla="*/ 391200 w 1293444"/>
              <a:gd name="connsiteY149" fmla="*/ 1368425 h 1704975"/>
              <a:gd name="connsiteX150" fmla="*/ 388025 w 1293444"/>
              <a:gd name="connsiteY150" fmla="*/ 1352550 h 1704975"/>
              <a:gd name="connsiteX151" fmla="*/ 381675 w 1293444"/>
              <a:gd name="connsiteY151" fmla="*/ 1333500 h 1704975"/>
              <a:gd name="connsiteX152" fmla="*/ 378500 w 1293444"/>
              <a:gd name="connsiteY152" fmla="*/ 1323975 h 1704975"/>
              <a:gd name="connsiteX153" fmla="*/ 375325 w 1293444"/>
              <a:gd name="connsiteY153" fmla="*/ 1308100 h 1704975"/>
              <a:gd name="connsiteX154" fmla="*/ 368975 w 1293444"/>
              <a:gd name="connsiteY154" fmla="*/ 1289050 h 1704975"/>
              <a:gd name="connsiteX155" fmla="*/ 362625 w 1293444"/>
              <a:gd name="connsiteY155" fmla="*/ 1260475 h 1704975"/>
              <a:gd name="connsiteX156" fmla="*/ 359450 w 1293444"/>
              <a:gd name="connsiteY156" fmla="*/ 1231900 h 1704975"/>
              <a:gd name="connsiteX157" fmla="*/ 349925 w 1293444"/>
              <a:gd name="connsiteY157" fmla="*/ 1196975 h 1704975"/>
              <a:gd name="connsiteX158" fmla="*/ 340400 w 1293444"/>
              <a:gd name="connsiteY158" fmla="*/ 1155700 h 1704975"/>
              <a:gd name="connsiteX159" fmla="*/ 334050 w 1293444"/>
              <a:gd name="connsiteY159" fmla="*/ 1130300 h 1704975"/>
              <a:gd name="connsiteX160" fmla="*/ 327700 w 1293444"/>
              <a:gd name="connsiteY160" fmla="*/ 1104900 h 1704975"/>
              <a:gd name="connsiteX161" fmla="*/ 324525 w 1293444"/>
              <a:gd name="connsiteY161" fmla="*/ 1092200 h 1704975"/>
              <a:gd name="connsiteX162" fmla="*/ 318175 w 1293444"/>
              <a:gd name="connsiteY162" fmla="*/ 1050925 h 1704975"/>
              <a:gd name="connsiteX163" fmla="*/ 315000 w 1293444"/>
              <a:gd name="connsiteY163" fmla="*/ 1031875 h 1704975"/>
              <a:gd name="connsiteX164" fmla="*/ 311825 w 1293444"/>
              <a:gd name="connsiteY164" fmla="*/ 1022350 h 1704975"/>
              <a:gd name="connsiteX165" fmla="*/ 308650 w 1293444"/>
              <a:gd name="connsiteY165" fmla="*/ 1006475 h 1704975"/>
              <a:gd name="connsiteX166" fmla="*/ 302300 w 1293444"/>
              <a:gd name="connsiteY166" fmla="*/ 987425 h 1704975"/>
              <a:gd name="connsiteX167" fmla="*/ 299125 w 1293444"/>
              <a:gd name="connsiteY167" fmla="*/ 974725 h 1704975"/>
              <a:gd name="connsiteX168" fmla="*/ 292775 w 1293444"/>
              <a:gd name="connsiteY168" fmla="*/ 955675 h 1704975"/>
              <a:gd name="connsiteX169" fmla="*/ 289600 w 1293444"/>
              <a:gd name="connsiteY169" fmla="*/ 946150 h 1704975"/>
              <a:gd name="connsiteX170" fmla="*/ 280075 w 1293444"/>
              <a:gd name="connsiteY170" fmla="*/ 923925 h 1704975"/>
              <a:gd name="connsiteX171" fmla="*/ 261025 w 1293444"/>
              <a:gd name="connsiteY171" fmla="*/ 908050 h 1704975"/>
              <a:gd name="connsiteX172" fmla="*/ 241975 w 1293444"/>
              <a:gd name="connsiteY172" fmla="*/ 901700 h 1704975"/>
              <a:gd name="connsiteX173" fmla="*/ 222925 w 1293444"/>
              <a:gd name="connsiteY173" fmla="*/ 889000 h 1704975"/>
              <a:gd name="connsiteX174" fmla="*/ 213400 w 1293444"/>
              <a:gd name="connsiteY174" fmla="*/ 885825 h 1704975"/>
              <a:gd name="connsiteX175" fmla="*/ 194350 w 1293444"/>
              <a:gd name="connsiteY175" fmla="*/ 873125 h 1704975"/>
              <a:gd name="connsiteX176" fmla="*/ 175300 w 1293444"/>
              <a:gd name="connsiteY176" fmla="*/ 860425 h 1704975"/>
              <a:gd name="connsiteX177" fmla="*/ 162600 w 1293444"/>
              <a:gd name="connsiteY177" fmla="*/ 850900 h 1704975"/>
              <a:gd name="connsiteX178" fmla="*/ 153075 w 1293444"/>
              <a:gd name="connsiteY178" fmla="*/ 847725 h 1704975"/>
              <a:gd name="connsiteX179" fmla="*/ 134025 w 1293444"/>
              <a:gd name="connsiteY179" fmla="*/ 835025 h 1704975"/>
              <a:gd name="connsiteX180" fmla="*/ 114975 w 1293444"/>
              <a:gd name="connsiteY180" fmla="*/ 822325 h 1704975"/>
              <a:gd name="connsiteX181" fmla="*/ 105450 w 1293444"/>
              <a:gd name="connsiteY181" fmla="*/ 815975 h 1704975"/>
              <a:gd name="connsiteX182" fmla="*/ 95925 w 1293444"/>
              <a:gd name="connsiteY182" fmla="*/ 812800 h 1704975"/>
              <a:gd name="connsiteX183" fmla="*/ 64175 w 1293444"/>
              <a:gd name="connsiteY183" fmla="*/ 790575 h 1704975"/>
              <a:gd name="connsiteX184" fmla="*/ 54650 w 1293444"/>
              <a:gd name="connsiteY184" fmla="*/ 787400 h 1704975"/>
              <a:gd name="connsiteX185" fmla="*/ 38775 w 1293444"/>
              <a:gd name="connsiteY185" fmla="*/ 771525 h 1704975"/>
              <a:gd name="connsiteX186" fmla="*/ 29250 w 1293444"/>
              <a:gd name="connsiteY186" fmla="*/ 762000 h 1704975"/>
              <a:gd name="connsiteX187" fmla="*/ 19725 w 1293444"/>
              <a:gd name="connsiteY187" fmla="*/ 758825 h 1704975"/>
              <a:gd name="connsiteX188" fmla="*/ 675 w 1293444"/>
              <a:gd name="connsiteY188" fmla="*/ 746125 h 1704975"/>
              <a:gd name="connsiteX189" fmla="*/ 51475 w 1293444"/>
              <a:gd name="connsiteY189" fmla="*/ 739775 h 1704975"/>
              <a:gd name="connsiteX190" fmla="*/ 67350 w 1293444"/>
              <a:gd name="connsiteY190" fmla="*/ 736600 h 1704975"/>
              <a:gd name="connsiteX191" fmla="*/ 102275 w 1293444"/>
              <a:gd name="connsiteY191" fmla="*/ 733425 h 1704975"/>
              <a:gd name="connsiteX192" fmla="*/ 130850 w 1293444"/>
              <a:gd name="connsiteY192" fmla="*/ 727075 h 1704975"/>
              <a:gd name="connsiteX193" fmla="*/ 149900 w 1293444"/>
              <a:gd name="connsiteY193" fmla="*/ 723900 h 1704975"/>
              <a:gd name="connsiteX194" fmla="*/ 159425 w 1293444"/>
              <a:gd name="connsiteY194" fmla="*/ 720725 h 1704975"/>
              <a:gd name="connsiteX195" fmla="*/ 175300 w 1293444"/>
              <a:gd name="connsiteY195" fmla="*/ 717550 h 1704975"/>
              <a:gd name="connsiteX196" fmla="*/ 194350 w 1293444"/>
              <a:gd name="connsiteY196" fmla="*/ 711200 h 1704975"/>
              <a:gd name="connsiteX197" fmla="*/ 222925 w 1293444"/>
              <a:gd name="connsiteY197" fmla="*/ 701675 h 1704975"/>
              <a:gd name="connsiteX198" fmla="*/ 232450 w 1293444"/>
              <a:gd name="connsiteY198" fmla="*/ 698500 h 1704975"/>
              <a:gd name="connsiteX199" fmla="*/ 241975 w 1293444"/>
              <a:gd name="connsiteY199" fmla="*/ 695325 h 1704975"/>
              <a:gd name="connsiteX200" fmla="*/ 381675 w 1293444"/>
              <a:gd name="connsiteY200" fmla="*/ 688975 h 1704975"/>
              <a:gd name="connsiteX201" fmla="*/ 397550 w 1293444"/>
              <a:gd name="connsiteY201" fmla="*/ 685800 h 1704975"/>
              <a:gd name="connsiteX202" fmla="*/ 407075 w 1293444"/>
              <a:gd name="connsiteY202" fmla="*/ 682625 h 1704975"/>
              <a:gd name="connsiteX203" fmla="*/ 419775 w 1293444"/>
              <a:gd name="connsiteY203" fmla="*/ 679450 h 1704975"/>
              <a:gd name="connsiteX204" fmla="*/ 438825 w 1293444"/>
              <a:gd name="connsiteY204" fmla="*/ 673100 h 1704975"/>
              <a:gd name="connsiteX205" fmla="*/ 467400 w 1293444"/>
              <a:gd name="connsiteY205" fmla="*/ 663575 h 1704975"/>
              <a:gd name="connsiteX206" fmla="*/ 495975 w 1293444"/>
              <a:gd name="connsiteY206" fmla="*/ 654050 h 1704975"/>
              <a:gd name="connsiteX207" fmla="*/ 505500 w 1293444"/>
              <a:gd name="connsiteY207" fmla="*/ 650875 h 1704975"/>
              <a:gd name="connsiteX208" fmla="*/ 527725 w 1293444"/>
              <a:gd name="connsiteY208" fmla="*/ 641350 h 1704975"/>
              <a:gd name="connsiteX209" fmla="*/ 537250 w 1293444"/>
              <a:gd name="connsiteY209" fmla="*/ 635000 h 1704975"/>
              <a:gd name="connsiteX210" fmla="*/ 546775 w 1293444"/>
              <a:gd name="connsiteY210" fmla="*/ 631825 h 1704975"/>
              <a:gd name="connsiteX211" fmla="*/ 559475 w 1293444"/>
              <a:gd name="connsiteY211" fmla="*/ 625475 h 1704975"/>
              <a:gd name="connsiteX212" fmla="*/ 578525 w 1293444"/>
              <a:gd name="connsiteY212" fmla="*/ 657225 h 1704975"/>
              <a:gd name="connsiteX213" fmla="*/ 588050 w 1293444"/>
              <a:gd name="connsiteY213" fmla="*/ 660400 h 1704975"/>
              <a:gd name="connsiteX214" fmla="*/ 607100 w 1293444"/>
              <a:gd name="connsiteY214" fmla="*/ 673100 h 1704975"/>
              <a:gd name="connsiteX215" fmla="*/ 626150 w 1293444"/>
              <a:gd name="connsiteY215" fmla="*/ 679450 h 1704975"/>
              <a:gd name="connsiteX216" fmla="*/ 635675 w 1293444"/>
              <a:gd name="connsiteY216" fmla="*/ 685800 h 1704975"/>
              <a:gd name="connsiteX217" fmla="*/ 654725 w 1293444"/>
              <a:gd name="connsiteY217" fmla="*/ 692150 h 1704975"/>
              <a:gd name="connsiteX218" fmla="*/ 645200 w 1293444"/>
              <a:gd name="connsiteY218" fmla="*/ 682625 h 1704975"/>
              <a:gd name="connsiteX219" fmla="*/ 635675 w 1293444"/>
              <a:gd name="connsiteY219" fmla="*/ 676275 h 1704975"/>
              <a:gd name="connsiteX220" fmla="*/ 632500 w 1293444"/>
              <a:gd name="connsiteY220" fmla="*/ 666750 h 1704975"/>
              <a:gd name="connsiteX221" fmla="*/ 635675 w 1293444"/>
              <a:gd name="connsiteY221" fmla="*/ 590550 h 1704975"/>
              <a:gd name="connsiteX222" fmla="*/ 642025 w 1293444"/>
              <a:gd name="connsiteY222" fmla="*/ 571500 h 1704975"/>
              <a:gd name="connsiteX223" fmla="*/ 648375 w 1293444"/>
              <a:gd name="connsiteY223" fmla="*/ 561975 h 1704975"/>
              <a:gd name="connsiteX224" fmla="*/ 638850 w 1293444"/>
              <a:gd name="connsiteY224" fmla="*/ 536575 h 1704975"/>
              <a:gd name="connsiteX225" fmla="*/ 629325 w 1293444"/>
              <a:gd name="connsiteY225" fmla="*/ 533400 h 1704975"/>
              <a:gd name="connsiteX226" fmla="*/ 626150 w 1293444"/>
              <a:gd name="connsiteY226" fmla="*/ 523875 h 1704975"/>
              <a:gd name="connsiteX227" fmla="*/ 632500 w 1293444"/>
              <a:gd name="connsiteY227" fmla="*/ 498475 h 1704975"/>
              <a:gd name="connsiteX228" fmla="*/ 635675 w 1293444"/>
              <a:gd name="connsiteY228" fmla="*/ 485775 h 1704975"/>
              <a:gd name="connsiteX229" fmla="*/ 626150 w 1293444"/>
              <a:gd name="connsiteY229" fmla="*/ 463550 h 1704975"/>
              <a:gd name="connsiteX230" fmla="*/ 616625 w 1293444"/>
              <a:gd name="connsiteY230" fmla="*/ 460375 h 1704975"/>
              <a:gd name="connsiteX231" fmla="*/ 607100 w 1293444"/>
              <a:gd name="connsiteY231" fmla="*/ 454025 h 1704975"/>
              <a:gd name="connsiteX232" fmla="*/ 591225 w 1293444"/>
              <a:gd name="connsiteY232" fmla="*/ 450850 h 1704975"/>
              <a:gd name="connsiteX233" fmla="*/ 569000 w 1293444"/>
              <a:gd name="connsiteY233" fmla="*/ 441325 h 1704975"/>
              <a:gd name="connsiteX234" fmla="*/ 546775 w 1293444"/>
              <a:gd name="connsiteY234" fmla="*/ 415925 h 1704975"/>
              <a:gd name="connsiteX235" fmla="*/ 540425 w 1293444"/>
              <a:gd name="connsiteY235" fmla="*/ 406400 h 1704975"/>
              <a:gd name="connsiteX236" fmla="*/ 530900 w 1293444"/>
              <a:gd name="connsiteY236" fmla="*/ 400050 h 1704975"/>
              <a:gd name="connsiteX237" fmla="*/ 508675 w 1293444"/>
              <a:gd name="connsiteY237" fmla="*/ 374650 h 1704975"/>
              <a:gd name="connsiteX238" fmla="*/ 502325 w 1293444"/>
              <a:gd name="connsiteY238" fmla="*/ 365125 h 1704975"/>
              <a:gd name="connsiteX239" fmla="*/ 483275 w 1293444"/>
              <a:gd name="connsiteY239" fmla="*/ 346075 h 1704975"/>
              <a:gd name="connsiteX240" fmla="*/ 486450 w 1293444"/>
              <a:gd name="connsiteY240" fmla="*/ 333375 h 1704975"/>
              <a:gd name="connsiteX241" fmla="*/ 492800 w 1293444"/>
              <a:gd name="connsiteY241" fmla="*/ 314325 h 1704975"/>
              <a:gd name="connsiteX242" fmla="*/ 489625 w 1293444"/>
              <a:gd name="connsiteY242" fmla="*/ 292100 h 1704975"/>
              <a:gd name="connsiteX243" fmla="*/ 461050 w 1293444"/>
              <a:gd name="connsiteY243" fmla="*/ 266700 h 1704975"/>
              <a:gd name="connsiteX244" fmla="*/ 435650 w 1293444"/>
              <a:gd name="connsiteY244" fmla="*/ 254000 h 1704975"/>
              <a:gd name="connsiteX245" fmla="*/ 413425 w 1293444"/>
              <a:gd name="connsiteY245" fmla="*/ 238125 h 1704975"/>
              <a:gd name="connsiteX246" fmla="*/ 403900 w 1293444"/>
              <a:gd name="connsiteY246" fmla="*/ 231775 h 1704975"/>
              <a:gd name="connsiteX247" fmla="*/ 388025 w 1293444"/>
              <a:gd name="connsiteY247" fmla="*/ 212725 h 1704975"/>
              <a:gd name="connsiteX248" fmla="*/ 372150 w 1293444"/>
              <a:gd name="connsiteY248" fmla="*/ 196850 h 1704975"/>
              <a:gd name="connsiteX249" fmla="*/ 365800 w 1293444"/>
              <a:gd name="connsiteY249" fmla="*/ 177800 h 1704975"/>
              <a:gd name="connsiteX250" fmla="*/ 359450 w 1293444"/>
              <a:gd name="connsiteY250" fmla="*/ 149225 h 1704975"/>
              <a:gd name="connsiteX251" fmla="*/ 362625 w 1293444"/>
              <a:gd name="connsiteY251" fmla="*/ 114300 h 1704975"/>
              <a:gd name="connsiteX252" fmla="*/ 368975 w 1293444"/>
              <a:gd name="connsiteY252" fmla="*/ 104775 h 1704975"/>
              <a:gd name="connsiteX253" fmla="*/ 375325 w 1293444"/>
              <a:gd name="connsiteY253"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384175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45175 w 1293444"/>
              <a:gd name="connsiteY140" fmla="*/ 1625600 h 1704975"/>
              <a:gd name="connsiteX141" fmla="*/ 435650 w 1293444"/>
              <a:gd name="connsiteY141" fmla="*/ 1606550 h 1704975"/>
              <a:gd name="connsiteX142" fmla="*/ 432475 w 1293444"/>
              <a:gd name="connsiteY142" fmla="*/ 1495425 h 1704975"/>
              <a:gd name="connsiteX143" fmla="*/ 429300 w 1293444"/>
              <a:gd name="connsiteY143" fmla="*/ 1485900 h 1704975"/>
              <a:gd name="connsiteX144" fmla="*/ 426125 w 1293444"/>
              <a:gd name="connsiteY144" fmla="*/ 1473200 h 1704975"/>
              <a:gd name="connsiteX145" fmla="*/ 419775 w 1293444"/>
              <a:gd name="connsiteY145" fmla="*/ 1463675 h 1704975"/>
              <a:gd name="connsiteX146" fmla="*/ 416600 w 1293444"/>
              <a:gd name="connsiteY146" fmla="*/ 1454150 h 1704975"/>
              <a:gd name="connsiteX147" fmla="*/ 403900 w 1293444"/>
              <a:gd name="connsiteY147" fmla="*/ 1435100 h 1704975"/>
              <a:gd name="connsiteX148" fmla="*/ 397550 w 1293444"/>
              <a:gd name="connsiteY148" fmla="*/ 1416050 h 1704975"/>
              <a:gd name="connsiteX149" fmla="*/ 394375 w 1293444"/>
              <a:gd name="connsiteY149" fmla="*/ 1381125 h 1704975"/>
              <a:gd name="connsiteX150" fmla="*/ 391200 w 1293444"/>
              <a:gd name="connsiteY150" fmla="*/ 1368425 h 1704975"/>
              <a:gd name="connsiteX151" fmla="*/ 388025 w 1293444"/>
              <a:gd name="connsiteY151" fmla="*/ 1352550 h 1704975"/>
              <a:gd name="connsiteX152" fmla="*/ 381675 w 1293444"/>
              <a:gd name="connsiteY152" fmla="*/ 1333500 h 1704975"/>
              <a:gd name="connsiteX153" fmla="*/ 378500 w 1293444"/>
              <a:gd name="connsiteY153" fmla="*/ 1323975 h 1704975"/>
              <a:gd name="connsiteX154" fmla="*/ 375325 w 1293444"/>
              <a:gd name="connsiteY154" fmla="*/ 1308100 h 1704975"/>
              <a:gd name="connsiteX155" fmla="*/ 368975 w 1293444"/>
              <a:gd name="connsiteY155" fmla="*/ 1289050 h 1704975"/>
              <a:gd name="connsiteX156" fmla="*/ 362625 w 1293444"/>
              <a:gd name="connsiteY156" fmla="*/ 1260475 h 1704975"/>
              <a:gd name="connsiteX157" fmla="*/ 359450 w 1293444"/>
              <a:gd name="connsiteY157" fmla="*/ 1231900 h 1704975"/>
              <a:gd name="connsiteX158" fmla="*/ 349925 w 1293444"/>
              <a:gd name="connsiteY158" fmla="*/ 1196975 h 1704975"/>
              <a:gd name="connsiteX159" fmla="*/ 340400 w 1293444"/>
              <a:gd name="connsiteY159" fmla="*/ 1155700 h 1704975"/>
              <a:gd name="connsiteX160" fmla="*/ 334050 w 1293444"/>
              <a:gd name="connsiteY160" fmla="*/ 1130300 h 1704975"/>
              <a:gd name="connsiteX161" fmla="*/ 327700 w 1293444"/>
              <a:gd name="connsiteY161" fmla="*/ 1104900 h 1704975"/>
              <a:gd name="connsiteX162" fmla="*/ 324525 w 1293444"/>
              <a:gd name="connsiteY162" fmla="*/ 1092200 h 1704975"/>
              <a:gd name="connsiteX163" fmla="*/ 318175 w 1293444"/>
              <a:gd name="connsiteY163" fmla="*/ 1050925 h 1704975"/>
              <a:gd name="connsiteX164" fmla="*/ 315000 w 1293444"/>
              <a:gd name="connsiteY164" fmla="*/ 1031875 h 1704975"/>
              <a:gd name="connsiteX165" fmla="*/ 311825 w 1293444"/>
              <a:gd name="connsiteY165" fmla="*/ 1022350 h 1704975"/>
              <a:gd name="connsiteX166" fmla="*/ 308650 w 1293444"/>
              <a:gd name="connsiteY166" fmla="*/ 1006475 h 1704975"/>
              <a:gd name="connsiteX167" fmla="*/ 302300 w 1293444"/>
              <a:gd name="connsiteY167" fmla="*/ 987425 h 1704975"/>
              <a:gd name="connsiteX168" fmla="*/ 299125 w 1293444"/>
              <a:gd name="connsiteY168" fmla="*/ 974725 h 1704975"/>
              <a:gd name="connsiteX169" fmla="*/ 292775 w 1293444"/>
              <a:gd name="connsiteY169" fmla="*/ 955675 h 1704975"/>
              <a:gd name="connsiteX170" fmla="*/ 289600 w 1293444"/>
              <a:gd name="connsiteY170" fmla="*/ 946150 h 1704975"/>
              <a:gd name="connsiteX171" fmla="*/ 280075 w 1293444"/>
              <a:gd name="connsiteY171" fmla="*/ 923925 h 1704975"/>
              <a:gd name="connsiteX172" fmla="*/ 261025 w 1293444"/>
              <a:gd name="connsiteY172" fmla="*/ 908050 h 1704975"/>
              <a:gd name="connsiteX173" fmla="*/ 241975 w 1293444"/>
              <a:gd name="connsiteY173" fmla="*/ 901700 h 1704975"/>
              <a:gd name="connsiteX174" fmla="*/ 222925 w 1293444"/>
              <a:gd name="connsiteY174" fmla="*/ 889000 h 1704975"/>
              <a:gd name="connsiteX175" fmla="*/ 213400 w 1293444"/>
              <a:gd name="connsiteY175" fmla="*/ 885825 h 1704975"/>
              <a:gd name="connsiteX176" fmla="*/ 194350 w 1293444"/>
              <a:gd name="connsiteY176" fmla="*/ 873125 h 1704975"/>
              <a:gd name="connsiteX177" fmla="*/ 175300 w 1293444"/>
              <a:gd name="connsiteY177" fmla="*/ 860425 h 1704975"/>
              <a:gd name="connsiteX178" fmla="*/ 162600 w 1293444"/>
              <a:gd name="connsiteY178" fmla="*/ 850900 h 1704975"/>
              <a:gd name="connsiteX179" fmla="*/ 153075 w 1293444"/>
              <a:gd name="connsiteY179" fmla="*/ 847725 h 1704975"/>
              <a:gd name="connsiteX180" fmla="*/ 134025 w 1293444"/>
              <a:gd name="connsiteY180" fmla="*/ 835025 h 1704975"/>
              <a:gd name="connsiteX181" fmla="*/ 114975 w 1293444"/>
              <a:gd name="connsiteY181" fmla="*/ 822325 h 1704975"/>
              <a:gd name="connsiteX182" fmla="*/ 105450 w 1293444"/>
              <a:gd name="connsiteY182" fmla="*/ 815975 h 1704975"/>
              <a:gd name="connsiteX183" fmla="*/ 95925 w 1293444"/>
              <a:gd name="connsiteY183" fmla="*/ 812800 h 1704975"/>
              <a:gd name="connsiteX184" fmla="*/ 64175 w 1293444"/>
              <a:gd name="connsiteY184" fmla="*/ 790575 h 1704975"/>
              <a:gd name="connsiteX185" fmla="*/ 54650 w 1293444"/>
              <a:gd name="connsiteY185" fmla="*/ 787400 h 1704975"/>
              <a:gd name="connsiteX186" fmla="*/ 38775 w 1293444"/>
              <a:gd name="connsiteY186" fmla="*/ 771525 h 1704975"/>
              <a:gd name="connsiteX187" fmla="*/ 29250 w 1293444"/>
              <a:gd name="connsiteY187" fmla="*/ 762000 h 1704975"/>
              <a:gd name="connsiteX188" fmla="*/ 19725 w 1293444"/>
              <a:gd name="connsiteY188" fmla="*/ 758825 h 1704975"/>
              <a:gd name="connsiteX189" fmla="*/ 675 w 1293444"/>
              <a:gd name="connsiteY189" fmla="*/ 746125 h 1704975"/>
              <a:gd name="connsiteX190" fmla="*/ 51475 w 1293444"/>
              <a:gd name="connsiteY190" fmla="*/ 739775 h 1704975"/>
              <a:gd name="connsiteX191" fmla="*/ 67350 w 1293444"/>
              <a:gd name="connsiteY191" fmla="*/ 736600 h 1704975"/>
              <a:gd name="connsiteX192" fmla="*/ 102275 w 1293444"/>
              <a:gd name="connsiteY192" fmla="*/ 733425 h 1704975"/>
              <a:gd name="connsiteX193" fmla="*/ 130850 w 1293444"/>
              <a:gd name="connsiteY193" fmla="*/ 727075 h 1704975"/>
              <a:gd name="connsiteX194" fmla="*/ 149900 w 1293444"/>
              <a:gd name="connsiteY194" fmla="*/ 723900 h 1704975"/>
              <a:gd name="connsiteX195" fmla="*/ 159425 w 1293444"/>
              <a:gd name="connsiteY195" fmla="*/ 720725 h 1704975"/>
              <a:gd name="connsiteX196" fmla="*/ 175300 w 1293444"/>
              <a:gd name="connsiteY196" fmla="*/ 717550 h 1704975"/>
              <a:gd name="connsiteX197" fmla="*/ 194350 w 1293444"/>
              <a:gd name="connsiteY197" fmla="*/ 711200 h 1704975"/>
              <a:gd name="connsiteX198" fmla="*/ 222925 w 1293444"/>
              <a:gd name="connsiteY198" fmla="*/ 701675 h 1704975"/>
              <a:gd name="connsiteX199" fmla="*/ 232450 w 1293444"/>
              <a:gd name="connsiteY199" fmla="*/ 698500 h 1704975"/>
              <a:gd name="connsiteX200" fmla="*/ 241975 w 1293444"/>
              <a:gd name="connsiteY200" fmla="*/ 695325 h 1704975"/>
              <a:gd name="connsiteX201" fmla="*/ 381675 w 1293444"/>
              <a:gd name="connsiteY201" fmla="*/ 688975 h 1704975"/>
              <a:gd name="connsiteX202" fmla="*/ 397550 w 1293444"/>
              <a:gd name="connsiteY202" fmla="*/ 685800 h 1704975"/>
              <a:gd name="connsiteX203" fmla="*/ 407075 w 1293444"/>
              <a:gd name="connsiteY203" fmla="*/ 682625 h 1704975"/>
              <a:gd name="connsiteX204" fmla="*/ 419775 w 1293444"/>
              <a:gd name="connsiteY204" fmla="*/ 679450 h 1704975"/>
              <a:gd name="connsiteX205" fmla="*/ 438825 w 1293444"/>
              <a:gd name="connsiteY205" fmla="*/ 673100 h 1704975"/>
              <a:gd name="connsiteX206" fmla="*/ 467400 w 1293444"/>
              <a:gd name="connsiteY206" fmla="*/ 663575 h 1704975"/>
              <a:gd name="connsiteX207" fmla="*/ 495975 w 1293444"/>
              <a:gd name="connsiteY207" fmla="*/ 654050 h 1704975"/>
              <a:gd name="connsiteX208" fmla="*/ 505500 w 1293444"/>
              <a:gd name="connsiteY208" fmla="*/ 650875 h 1704975"/>
              <a:gd name="connsiteX209" fmla="*/ 527725 w 1293444"/>
              <a:gd name="connsiteY209" fmla="*/ 641350 h 1704975"/>
              <a:gd name="connsiteX210" fmla="*/ 537250 w 1293444"/>
              <a:gd name="connsiteY210" fmla="*/ 635000 h 1704975"/>
              <a:gd name="connsiteX211" fmla="*/ 546775 w 1293444"/>
              <a:gd name="connsiteY211" fmla="*/ 631825 h 1704975"/>
              <a:gd name="connsiteX212" fmla="*/ 559475 w 1293444"/>
              <a:gd name="connsiteY212" fmla="*/ 625475 h 1704975"/>
              <a:gd name="connsiteX213" fmla="*/ 578525 w 1293444"/>
              <a:gd name="connsiteY213" fmla="*/ 657225 h 1704975"/>
              <a:gd name="connsiteX214" fmla="*/ 588050 w 1293444"/>
              <a:gd name="connsiteY214" fmla="*/ 660400 h 1704975"/>
              <a:gd name="connsiteX215" fmla="*/ 607100 w 1293444"/>
              <a:gd name="connsiteY215" fmla="*/ 673100 h 1704975"/>
              <a:gd name="connsiteX216" fmla="*/ 626150 w 1293444"/>
              <a:gd name="connsiteY216" fmla="*/ 679450 h 1704975"/>
              <a:gd name="connsiteX217" fmla="*/ 635675 w 1293444"/>
              <a:gd name="connsiteY217" fmla="*/ 685800 h 1704975"/>
              <a:gd name="connsiteX218" fmla="*/ 654725 w 1293444"/>
              <a:gd name="connsiteY218" fmla="*/ 692150 h 1704975"/>
              <a:gd name="connsiteX219" fmla="*/ 645200 w 1293444"/>
              <a:gd name="connsiteY219" fmla="*/ 682625 h 1704975"/>
              <a:gd name="connsiteX220" fmla="*/ 635675 w 1293444"/>
              <a:gd name="connsiteY220" fmla="*/ 676275 h 1704975"/>
              <a:gd name="connsiteX221" fmla="*/ 632500 w 1293444"/>
              <a:gd name="connsiteY221" fmla="*/ 666750 h 1704975"/>
              <a:gd name="connsiteX222" fmla="*/ 635675 w 1293444"/>
              <a:gd name="connsiteY222" fmla="*/ 590550 h 1704975"/>
              <a:gd name="connsiteX223" fmla="*/ 642025 w 1293444"/>
              <a:gd name="connsiteY223" fmla="*/ 571500 h 1704975"/>
              <a:gd name="connsiteX224" fmla="*/ 648375 w 1293444"/>
              <a:gd name="connsiteY224" fmla="*/ 561975 h 1704975"/>
              <a:gd name="connsiteX225" fmla="*/ 638850 w 1293444"/>
              <a:gd name="connsiteY225" fmla="*/ 536575 h 1704975"/>
              <a:gd name="connsiteX226" fmla="*/ 629325 w 1293444"/>
              <a:gd name="connsiteY226" fmla="*/ 533400 h 1704975"/>
              <a:gd name="connsiteX227" fmla="*/ 626150 w 1293444"/>
              <a:gd name="connsiteY227" fmla="*/ 523875 h 1704975"/>
              <a:gd name="connsiteX228" fmla="*/ 632500 w 1293444"/>
              <a:gd name="connsiteY228" fmla="*/ 498475 h 1704975"/>
              <a:gd name="connsiteX229" fmla="*/ 635675 w 1293444"/>
              <a:gd name="connsiteY229" fmla="*/ 485775 h 1704975"/>
              <a:gd name="connsiteX230" fmla="*/ 626150 w 1293444"/>
              <a:gd name="connsiteY230" fmla="*/ 463550 h 1704975"/>
              <a:gd name="connsiteX231" fmla="*/ 616625 w 1293444"/>
              <a:gd name="connsiteY231" fmla="*/ 460375 h 1704975"/>
              <a:gd name="connsiteX232" fmla="*/ 607100 w 1293444"/>
              <a:gd name="connsiteY232" fmla="*/ 454025 h 1704975"/>
              <a:gd name="connsiteX233" fmla="*/ 591225 w 1293444"/>
              <a:gd name="connsiteY233" fmla="*/ 450850 h 1704975"/>
              <a:gd name="connsiteX234" fmla="*/ 569000 w 1293444"/>
              <a:gd name="connsiteY234" fmla="*/ 441325 h 1704975"/>
              <a:gd name="connsiteX235" fmla="*/ 546775 w 1293444"/>
              <a:gd name="connsiteY235" fmla="*/ 415925 h 1704975"/>
              <a:gd name="connsiteX236" fmla="*/ 540425 w 1293444"/>
              <a:gd name="connsiteY236" fmla="*/ 406400 h 1704975"/>
              <a:gd name="connsiteX237" fmla="*/ 530900 w 1293444"/>
              <a:gd name="connsiteY237" fmla="*/ 400050 h 1704975"/>
              <a:gd name="connsiteX238" fmla="*/ 508675 w 1293444"/>
              <a:gd name="connsiteY238" fmla="*/ 374650 h 1704975"/>
              <a:gd name="connsiteX239" fmla="*/ 502325 w 1293444"/>
              <a:gd name="connsiteY239" fmla="*/ 365125 h 1704975"/>
              <a:gd name="connsiteX240" fmla="*/ 483275 w 1293444"/>
              <a:gd name="connsiteY240" fmla="*/ 346075 h 1704975"/>
              <a:gd name="connsiteX241" fmla="*/ 486450 w 1293444"/>
              <a:gd name="connsiteY241" fmla="*/ 333375 h 1704975"/>
              <a:gd name="connsiteX242" fmla="*/ 492800 w 1293444"/>
              <a:gd name="connsiteY242" fmla="*/ 314325 h 1704975"/>
              <a:gd name="connsiteX243" fmla="*/ 489625 w 1293444"/>
              <a:gd name="connsiteY243" fmla="*/ 292100 h 1704975"/>
              <a:gd name="connsiteX244" fmla="*/ 461050 w 1293444"/>
              <a:gd name="connsiteY244" fmla="*/ 266700 h 1704975"/>
              <a:gd name="connsiteX245" fmla="*/ 435650 w 1293444"/>
              <a:gd name="connsiteY245" fmla="*/ 254000 h 1704975"/>
              <a:gd name="connsiteX246" fmla="*/ 413425 w 1293444"/>
              <a:gd name="connsiteY246" fmla="*/ 238125 h 1704975"/>
              <a:gd name="connsiteX247" fmla="*/ 403900 w 1293444"/>
              <a:gd name="connsiteY247" fmla="*/ 231775 h 1704975"/>
              <a:gd name="connsiteX248" fmla="*/ 388025 w 1293444"/>
              <a:gd name="connsiteY248" fmla="*/ 212725 h 1704975"/>
              <a:gd name="connsiteX249" fmla="*/ 372150 w 1293444"/>
              <a:gd name="connsiteY249" fmla="*/ 196850 h 1704975"/>
              <a:gd name="connsiteX250" fmla="*/ 365800 w 1293444"/>
              <a:gd name="connsiteY250" fmla="*/ 177800 h 1704975"/>
              <a:gd name="connsiteX251" fmla="*/ 359450 w 1293444"/>
              <a:gd name="connsiteY251" fmla="*/ 149225 h 1704975"/>
              <a:gd name="connsiteX252" fmla="*/ 362625 w 1293444"/>
              <a:gd name="connsiteY252" fmla="*/ 114300 h 1704975"/>
              <a:gd name="connsiteX253" fmla="*/ 368975 w 1293444"/>
              <a:gd name="connsiteY253" fmla="*/ 104775 h 1704975"/>
              <a:gd name="connsiteX254" fmla="*/ 375325 w 1293444"/>
              <a:gd name="connsiteY254"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384175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45175 w 1293444"/>
              <a:gd name="connsiteY140" fmla="*/ 1625600 h 1704975"/>
              <a:gd name="connsiteX141" fmla="*/ 435650 w 1293444"/>
              <a:gd name="connsiteY141" fmla="*/ 1606550 h 1704975"/>
              <a:gd name="connsiteX142" fmla="*/ 432475 w 1293444"/>
              <a:gd name="connsiteY142" fmla="*/ 1495425 h 1704975"/>
              <a:gd name="connsiteX143" fmla="*/ 429300 w 1293444"/>
              <a:gd name="connsiteY143" fmla="*/ 1485900 h 1704975"/>
              <a:gd name="connsiteX144" fmla="*/ 426125 w 1293444"/>
              <a:gd name="connsiteY144" fmla="*/ 1473200 h 1704975"/>
              <a:gd name="connsiteX145" fmla="*/ 419775 w 1293444"/>
              <a:gd name="connsiteY145" fmla="*/ 1463675 h 1704975"/>
              <a:gd name="connsiteX146" fmla="*/ 416600 w 1293444"/>
              <a:gd name="connsiteY146" fmla="*/ 1454150 h 1704975"/>
              <a:gd name="connsiteX147" fmla="*/ 403900 w 1293444"/>
              <a:gd name="connsiteY147" fmla="*/ 1435100 h 1704975"/>
              <a:gd name="connsiteX148" fmla="*/ 397550 w 1293444"/>
              <a:gd name="connsiteY148" fmla="*/ 1416050 h 1704975"/>
              <a:gd name="connsiteX149" fmla="*/ 394375 w 1293444"/>
              <a:gd name="connsiteY149" fmla="*/ 1381125 h 1704975"/>
              <a:gd name="connsiteX150" fmla="*/ 391200 w 1293444"/>
              <a:gd name="connsiteY150" fmla="*/ 1368425 h 1704975"/>
              <a:gd name="connsiteX151" fmla="*/ 388025 w 1293444"/>
              <a:gd name="connsiteY151" fmla="*/ 1352550 h 1704975"/>
              <a:gd name="connsiteX152" fmla="*/ 381675 w 1293444"/>
              <a:gd name="connsiteY152" fmla="*/ 1333500 h 1704975"/>
              <a:gd name="connsiteX153" fmla="*/ 378500 w 1293444"/>
              <a:gd name="connsiteY153" fmla="*/ 1323975 h 1704975"/>
              <a:gd name="connsiteX154" fmla="*/ 375325 w 1293444"/>
              <a:gd name="connsiteY154" fmla="*/ 1308100 h 1704975"/>
              <a:gd name="connsiteX155" fmla="*/ 368975 w 1293444"/>
              <a:gd name="connsiteY155" fmla="*/ 1289050 h 1704975"/>
              <a:gd name="connsiteX156" fmla="*/ 362625 w 1293444"/>
              <a:gd name="connsiteY156" fmla="*/ 1260475 h 1704975"/>
              <a:gd name="connsiteX157" fmla="*/ 359450 w 1293444"/>
              <a:gd name="connsiteY157" fmla="*/ 1231900 h 1704975"/>
              <a:gd name="connsiteX158" fmla="*/ 349925 w 1293444"/>
              <a:gd name="connsiteY158" fmla="*/ 1196975 h 1704975"/>
              <a:gd name="connsiteX159" fmla="*/ 340400 w 1293444"/>
              <a:gd name="connsiteY159" fmla="*/ 1155700 h 1704975"/>
              <a:gd name="connsiteX160" fmla="*/ 334050 w 1293444"/>
              <a:gd name="connsiteY160" fmla="*/ 1130300 h 1704975"/>
              <a:gd name="connsiteX161" fmla="*/ 327700 w 1293444"/>
              <a:gd name="connsiteY161" fmla="*/ 1104900 h 1704975"/>
              <a:gd name="connsiteX162" fmla="*/ 324525 w 1293444"/>
              <a:gd name="connsiteY162" fmla="*/ 1092200 h 1704975"/>
              <a:gd name="connsiteX163" fmla="*/ 318175 w 1293444"/>
              <a:gd name="connsiteY163" fmla="*/ 1050925 h 1704975"/>
              <a:gd name="connsiteX164" fmla="*/ 315000 w 1293444"/>
              <a:gd name="connsiteY164" fmla="*/ 1031875 h 1704975"/>
              <a:gd name="connsiteX165" fmla="*/ 311825 w 1293444"/>
              <a:gd name="connsiteY165" fmla="*/ 1022350 h 1704975"/>
              <a:gd name="connsiteX166" fmla="*/ 308650 w 1293444"/>
              <a:gd name="connsiteY166" fmla="*/ 1006475 h 1704975"/>
              <a:gd name="connsiteX167" fmla="*/ 302300 w 1293444"/>
              <a:gd name="connsiteY167" fmla="*/ 987425 h 1704975"/>
              <a:gd name="connsiteX168" fmla="*/ 299125 w 1293444"/>
              <a:gd name="connsiteY168" fmla="*/ 974725 h 1704975"/>
              <a:gd name="connsiteX169" fmla="*/ 292775 w 1293444"/>
              <a:gd name="connsiteY169" fmla="*/ 955675 h 1704975"/>
              <a:gd name="connsiteX170" fmla="*/ 289600 w 1293444"/>
              <a:gd name="connsiteY170" fmla="*/ 946150 h 1704975"/>
              <a:gd name="connsiteX171" fmla="*/ 280075 w 1293444"/>
              <a:gd name="connsiteY171" fmla="*/ 923925 h 1704975"/>
              <a:gd name="connsiteX172" fmla="*/ 261025 w 1293444"/>
              <a:gd name="connsiteY172" fmla="*/ 908050 h 1704975"/>
              <a:gd name="connsiteX173" fmla="*/ 241975 w 1293444"/>
              <a:gd name="connsiteY173" fmla="*/ 901700 h 1704975"/>
              <a:gd name="connsiteX174" fmla="*/ 222925 w 1293444"/>
              <a:gd name="connsiteY174" fmla="*/ 889000 h 1704975"/>
              <a:gd name="connsiteX175" fmla="*/ 213400 w 1293444"/>
              <a:gd name="connsiteY175" fmla="*/ 885825 h 1704975"/>
              <a:gd name="connsiteX176" fmla="*/ 194350 w 1293444"/>
              <a:gd name="connsiteY176" fmla="*/ 873125 h 1704975"/>
              <a:gd name="connsiteX177" fmla="*/ 175300 w 1293444"/>
              <a:gd name="connsiteY177" fmla="*/ 860425 h 1704975"/>
              <a:gd name="connsiteX178" fmla="*/ 162600 w 1293444"/>
              <a:gd name="connsiteY178" fmla="*/ 850900 h 1704975"/>
              <a:gd name="connsiteX179" fmla="*/ 153075 w 1293444"/>
              <a:gd name="connsiteY179" fmla="*/ 847725 h 1704975"/>
              <a:gd name="connsiteX180" fmla="*/ 134025 w 1293444"/>
              <a:gd name="connsiteY180" fmla="*/ 835025 h 1704975"/>
              <a:gd name="connsiteX181" fmla="*/ 114975 w 1293444"/>
              <a:gd name="connsiteY181" fmla="*/ 822325 h 1704975"/>
              <a:gd name="connsiteX182" fmla="*/ 105450 w 1293444"/>
              <a:gd name="connsiteY182" fmla="*/ 815975 h 1704975"/>
              <a:gd name="connsiteX183" fmla="*/ 95925 w 1293444"/>
              <a:gd name="connsiteY183" fmla="*/ 812800 h 1704975"/>
              <a:gd name="connsiteX184" fmla="*/ 64175 w 1293444"/>
              <a:gd name="connsiteY184" fmla="*/ 790575 h 1704975"/>
              <a:gd name="connsiteX185" fmla="*/ 54650 w 1293444"/>
              <a:gd name="connsiteY185" fmla="*/ 787400 h 1704975"/>
              <a:gd name="connsiteX186" fmla="*/ 38775 w 1293444"/>
              <a:gd name="connsiteY186" fmla="*/ 771525 h 1704975"/>
              <a:gd name="connsiteX187" fmla="*/ 29250 w 1293444"/>
              <a:gd name="connsiteY187" fmla="*/ 762000 h 1704975"/>
              <a:gd name="connsiteX188" fmla="*/ 19725 w 1293444"/>
              <a:gd name="connsiteY188" fmla="*/ 758825 h 1704975"/>
              <a:gd name="connsiteX189" fmla="*/ 675 w 1293444"/>
              <a:gd name="connsiteY189" fmla="*/ 746125 h 1704975"/>
              <a:gd name="connsiteX190" fmla="*/ 51475 w 1293444"/>
              <a:gd name="connsiteY190" fmla="*/ 739775 h 1704975"/>
              <a:gd name="connsiteX191" fmla="*/ 67350 w 1293444"/>
              <a:gd name="connsiteY191" fmla="*/ 736600 h 1704975"/>
              <a:gd name="connsiteX192" fmla="*/ 102275 w 1293444"/>
              <a:gd name="connsiteY192" fmla="*/ 733425 h 1704975"/>
              <a:gd name="connsiteX193" fmla="*/ 130850 w 1293444"/>
              <a:gd name="connsiteY193" fmla="*/ 727075 h 1704975"/>
              <a:gd name="connsiteX194" fmla="*/ 149900 w 1293444"/>
              <a:gd name="connsiteY194" fmla="*/ 723900 h 1704975"/>
              <a:gd name="connsiteX195" fmla="*/ 159425 w 1293444"/>
              <a:gd name="connsiteY195" fmla="*/ 720725 h 1704975"/>
              <a:gd name="connsiteX196" fmla="*/ 175300 w 1293444"/>
              <a:gd name="connsiteY196" fmla="*/ 717550 h 1704975"/>
              <a:gd name="connsiteX197" fmla="*/ 194350 w 1293444"/>
              <a:gd name="connsiteY197" fmla="*/ 711200 h 1704975"/>
              <a:gd name="connsiteX198" fmla="*/ 222925 w 1293444"/>
              <a:gd name="connsiteY198" fmla="*/ 701675 h 1704975"/>
              <a:gd name="connsiteX199" fmla="*/ 232450 w 1293444"/>
              <a:gd name="connsiteY199" fmla="*/ 698500 h 1704975"/>
              <a:gd name="connsiteX200" fmla="*/ 241975 w 1293444"/>
              <a:gd name="connsiteY200" fmla="*/ 695325 h 1704975"/>
              <a:gd name="connsiteX201" fmla="*/ 381675 w 1293444"/>
              <a:gd name="connsiteY201" fmla="*/ 688975 h 1704975"/>
              <a:gd name="connsiteX202" fmla="*/ 397550 w 1293444"/>
              <a:gd name="connsiteY202" fmla="*/ 685800 h 1704975"/>
              <a:gd name="connsiteX203" fmla="*/ 407075 w 1293444"/>
              <a:gd name="connsiteY203" fmla="*/ 682625 h 1704975"/>
              <a:gd name="connsiteX204" fmla="*/ 419775 w 1293444"/>
              <a:gd name="connsiteY204" fmla="*/ 679450 h 1704975"/>
              <a:gd name="connsiteX205" fmla="*/ 438825 w 1293444"/>
              <a:gd name="connsiteY205" fmla="*/ 673100 h 1704975"/>
              <a:gd name="connsiteX206" fmla="*/ 467400 w 1293444"/>
              <a:gd name="connsiteY206" fmla="*/ 663575 h 1704975"/>
              <a:gd name="connsiteX207" fmla="*/ 495975 w 1293444"/>
              <a:gd name="connsiteY207" fmla="*/ 654050 h 1704975"/>
              <a:gd name="connsiteX208" fmla="*/ 505500 w 1293444"/>
              <a:gd name="connsiteY208" fmla="*/ 650875 h 1704975"/>
              <a:gd name="connsiteX209" fmla="*/ 527725 w 1293444"/>
              <a:gd name="connsiteY209" fmla="*/ 641350 h 1704975"/>
              <a:gd name="connsiteX210" fmla="*/ 537250 w 1293444"/>
              <a:gd name="connsiteY210" fmla="*/ 635000 h 1704975"/>
              <a:gd name="connsiteX211" fmla="*/ 546775 w 1293444"/>
              <a:gd name="connsiteY211" fmla="*/ 631825 h 1704975"/>
              <a:gd name="connsiteX212" fmla="*/ 559475 w 1293444"/>
              <a:gd name="connsiteY212" fmla="*/ 625475 h 1704975"/>
              <a:gd name="connsiteX213" fmla="*/ 578525 w 1293444"/>
              <a:gd name="connsiteY213" fmla="*/ 657225 h 1704975"/>
              <a:gd name="connsiteX214" fmla="*/ 588050 w 1293444"/>
              <a:gd name="connsiteY214" fmla="*/ 660400 h 1704975"/>
              <a:gd name="connsiteX215" fmla="*/ 607100 w 1293444"/>
              <a:gd name="connsiteY215" fmla="*/ 673100 h 1704975"/>
              <a:gd name="connsiteX216" fmla="*/ 626150 w 1293444"/>
              <a:gd name="connsiteY216" fmla="*/ 679450 h 1704975"/>
              <a:gd name="connsiteX217" fmla="*/ 635675 w 1293444"/>
              <a:gd name="connsiteY217" fmla="*/ 685800 h 1704975"/>
              <a:gd name="connsiteX218" fmla="*/ 654725 w 1293444"/>
              <a:gd name="connsiteY218" fmla="*/ 692150 h 1704975"/>
              <a:gd name="connsiteX219" fmla="*/ 645200 w 1293444"/>
              <a:gd name="connsiteY219" fmla="*/ 682625 h 1704975"/>
              <a:gd name="connsiteX220" fmla="*/ 635675 w 1293444"/>
              <a:gd name="connsiteY220" fmla="*/ 676275 h 1704975"/>
              <a:gd name="connsiteX221" fmla="*/ 632500 w 1293444"/>
              <a:gd name="connsiteY221" fmla="*/ 666750 h 1704975"/>
              <a:gd name="connsiteX222" fmla="*/ 635675 w 1293444"/>
              <a:gd name="connsiteY222" fmla="*/ 590550 h 1704975"/>
              <a:gd name="connsiteX223" fmla="*/ 642025 w 1293444"/>
              <a:gd name="connsiteY223" fmla="*/ 571500 h 1704975"/>
              <a:gd name="connsiteX224" fmla="*/ 648375 w 1293444"/>
              <a:gd name="connsiteY224" fmla="*/ 561975 h 1704975"/>
              <a:gd name="connsiteX225" fmla="*/ 638850 w 1293444"/>
              <a:gd name="connsiteY225" fmla="*/ 536575 h 1704975"/>
              <a:gd name="connsiteX226" fmla="*/ 629325 w 1293444"/>
              <a:gd name="connsiteY226" fmla="*/ 533400 h 1704975"/>
              <a:gd name="connsiteX227" fmla="*/ 626150 w 1293444"/>
              <a:gd name="connsiteY227" fmla="*/ 523875 h 1704975"/>
              <a:gd name="connsiteX228" fmla="*/ 632500 w 1293444"/>
              <a:gd name="connsiteY228" fmla="*/ 498475 h 1704975"/>
              <a:gd name="connsiteX229" fmla="*/ 635675 w 1293444"/>
              <a:gd name="connsiteY229" fmla="*/ 485775 h 1704975"/>
              <a:gd name="connsiteX230" fmla="*/ 626150 w 1293444"/>
              <a:gd name="connsiteY230" fmla="*/ 463550 h 1704975"/>
              <a:gd name="connsiteX231" fmla="*/ 616625 w 1293444"/>
              <a:gd name="connsiteY231" fmla="*/ 460375 h 1704975"/>
              <a:gd name="connsiteX232" fmla="*/ 607100 w 1293444"/>
              <a:gd name="connsiteY232" fmla="*/ 454025 h 1704975"/>
              <a:gd name="connsiteX233" fmla="*/ 591225 w 1293444"/>
              <a:gd name="connsiteY233" fmla="*/ 450850 h 1704975"/>
              <a:gd name="connsiteX234" fmla="*/ 569000 w 1293444"/>
              <a:gd name="connsiteY234" fmla="*/ 441325 h 1704975"/>
              <a:gd name="connsiteX235" fmla="*/ 546775 w 1293444"/>
              <a:gd name="connsiteY235" fmla="*/ 415925 h 1704975"/>
              <a:gd name="connsiteX236" fmla="*/ 540425 w 1293444"/>
              <a:gd name="connsiteY236" fmla="*/ 406400 h 1704975"/>
              <a:gd name="connsiteX237" fmla="*/ 530900 w 1293444"/>
              <a:gd name="connsiteY237" fmla="*/ 400050 h 1704975"/>
              <a:gd name="connsiteX238" fmla="*/ 508675 w 1293444"/>
              <a:gd name="connsiteY238" fmla="*/ 374650 h 1704975"/>
              <a:gd name="connsiteX239" fmla="*/ 502325 w 1293444"/>
              <a:gd name="connsiteY239" fmla="*/ 365125 h 1704975"/>
              <a:gd name="connsiteX240" fmla="*/ 483275 w 1293444"/>
              <a:gd name="connsiteY240" fmla="*/ 346075 h 1704975"/>
              <a:gd name="connsiteX241" fmla="*/ 486450 w 1293444"/>
              <a:gd name="connsiteY241" fmla="*/ 333375 h 1704975"/>
              <a:gd name="connsiteX242" fmla="*/ 492800 w 1293444"/>
              <a:gd name="connsiteY242" fmla="*/ 314325 h 1704975"/>
              <a:gd name="connsiteX243" fmla="*/ 489625 w 1293444"/>
              <a:gd name="connsiteY243" fmla="*/ 292100 h 1704975"/>
              <a:gd name="connsiteX244" fmla="*/ 461050 w 1293444"/>
              <a:gd name="connsiteY244" fmla="*/ 266700 h 1704975"/>
              <a:gd name="connsiteX245" fmla="*/ 435650 w 1293444"/>
              <a:gd name="connsiteY245" fmla="*/ 254000 h 1704975"/>
              <a:gd name="connsiteX246" fmla="*/ 413425 w 1293444"/>
              <a:gd name="connsiteY246" fmla="*/ 238125 h 1704975"/>
              <a:gd name="connsiteX247" fmla="*/ 403900 w 1293444"/>
              <a:gd name="connsiteY247" fmla="*/ 231775 h 1704975"/>
              <a:gd name="connsiteX248" fmla="*/ 388025 w 1293444"/>
              <a:gd name="connsiteY248" fmla="*/ 212725 h 1704975"/>
              <a:gd name="connsiteX249" fmla="*/ 372150 w 1293444"/>
              <a:gd name="connsiteY249" fmla="*/ 196850 h 1704975"/>
              <a:gd name="connsiteX250" fmla="*/ 365800 w 1293444"/>
              <a:gd name="connsiteY250" fmla="*/ 177800 h 1704975"/>
              <a:gd name="connsiteX251" fmla="*/ 359450 w 1293444"/>
              <a:gd name="connsiteY251" fmla="*/ 149225 h 1704975"/>
              <a:gd name="connsiteX252" fmla="*/ 362625 w 1293444"/>
              <a:gd name="connsiteY252" fmla="*/ 114300 h 1704975"/>
              <a:gd name="connsiteX253" fmla="*/ 368975 w 1293444"/>
              <a:gd name="connsiteY253" fmla="*/ 104775 h 1704975"/>
              <a:gd name="connsiteX254" fmla="*/ 375325 w 1293444"/>
              <a:gd name="connsiteY254" fmla="*/ 38100 h 1704975"/>
              <a:gd name="connsiteX0" fmla="*/ 375325 w 1528115"/>
              <a:gd name="connsiteY0" fmla="*/ 38100 h 1704975"/>
              <a:gd name="connsiteX1" fmla="*/ 410250 w 1528115"/>
              <a:gd name="connsiteY1" fmla="*/ 28575 h 1704975"/>
              <a:gd name="connsiteX2" fmla="*/ 419775 w 1528115"/>
              <a:gd name="connsiteY2" fmla="*/ 31750 h 1704975"/>
              <a:gd name="connsiteX3" fmla="*/ 464225 w 1528115"/>
              <a:gd name="connsiteY3" fmla="*/ 28575 h 1704975"/>
              <a:gd name="connsiteX4" fmla="*/ 483275 w 1528115"/>
              <a:gd name="connsiteY4" fmla="*/ 15875 h 1704975"/>
              <a:gd name="connsiteX5" fmla="*/ 502325 w 1528115"/>
              <a:gd name="connsiteY5" fmla="*/ 9525 h 1704975"/>
              <a:gd name="connsiteX6" fmla="*/ 502325 w 1528115"/>
              <a:gd name="connsiteY6" fmla="*/ 9525 h 1704975"/>
              <a:gd name="connsiteX7" fmla="*/ 518200 w 1528115"/>
              <a:gd name="connsiteY7" fmla="*/ 6350 h 1704975"/>
              <a:gd name="connsiteX8" fmla="*/ 537250 w 1528115"/>
              <a:gd name="connsiteY8" fmla="*/ 0 h 1704975"/>
              <a:gd name="connsiteX9" fmla="*/ 549950 w 1528115"/>
              <a:gd name="connsiteY9" fmla="*/ 19050 h 1704975"/>
              <a:gd name="connsiteX10" fmla="*/ 581700 w 1528115"/>
              <a:gd name="connsiteY10" fmla="*/ 28575 h 1704975"/>
              <a:gd name="connsiteX11" fmla="*/ 597575 w 1528115"/>
              <a:gd name="connsiteY11" fmla="*/ 31750 h 1704975"/>
              <a:gd name="connsiteX12" fmla="*/ 616625 w 1528115"/>
              <a:gd name="connsiteY12" fmla="*/ 38100 h 1704975"/>
              <a:gd name="connsiteX13" fmla="*/ 657900 w 1528115"/>
              <a:gd name="connsiteY13" fmla="*/ 50800 h 1704975"/>
              <a:gd name="connsiteX14" fmla="*/ 667425 w 1528115"/>
              <a:gd name="connsiteY14" fmla="*/ 69850 h 1704975"/>
              <a:gd name="connsiteX15" fmla="*/ 670600 w 1528115"/>
              <a:gd name="connsiteY15" fmla="*/ 104775 h 1704975"/>
              <a:gd name="connsiteX16" fmla="*/ 673775 w 1528115"/>
              <a:gd name="connsiteY16" fmla="*/ 114300 h 1704975"/>
              <a:gd name="connsiteX17" fmla="*/ 683300 w 1528115"/>
              <a:gd name="connsiteY17" fmla="*/ 120650 h 1704975"/>
              <a:gd name="connsiteX18" fmla="*/ 696000 w 1528115"/>
              <a:gd name="connsiteY18" fmla="*/ 139700 h 1704975"/>
              <a:gd name="connsiteX19" fmla="*/ 708700 w 1528115"/>
              <a:gd name="connsiteY19" fmla="*/ 168275 h 1704975"/>
              <a:gd name="connsiteX20" fmla="*/ 718225 w 1528115"/>
              <a:gd name="connsiteY20" fmla="*/ 174625 h 1704975"/>
              <a:gd name="connsiteX21" fmla="*/ 721400 w 1528115"/>
              <a:gd name="connsiteY21" fmla="*/ 184150 h 1704975"/>
              <a:gd name="connsiteX22" fmla="*/ 740450 w 1528115"/>
              <a:gd name="connsiteY22" fmla="*/ 196850 h 1704975"/>
              <a:gd name="connsiteX23" fmla="*/ 753150 w 1528115"/>
              <a:gd name="connsiteY23" fmla="*/ 215900 h 1704975"/>
              <a:gd name="connsiteX24" fmla="*/ 772200 w 1528115"/>
              <a:gd name="connsiteY24" fmla="*/ 231775 h 1704975"/>
              <a:gd name="connsiteX25" fmla="*/ 791250 w 1528115"/>
              <a:gd name="connsiteY25" fmla="*/ 244475 h 1704975"/>
              <a:gd name="connsiteX26" fmla="*/ 800775 w 1528115"/>
              <a:gd name="connsiteY26" fmla="*/ 250825 h 1704975"/>
              <a:gd name="connsiteX27" fmla="*/ 819825 w 1528115"/>
              <a:gd name="connsiteY27" fmla="*/ 257175 h 1704975"/>
              <a:gd name="connsiteX28" fmla="*/ 838875 w 1528115"/>
              <a:gd name="connsiteY28" fmla="*/ 266700 h 1704975"/>
              <a:gd name="connsiteX29" fmla="*/ 857925 w 1528115"/>
              <a:gd name="connsiteY29" fmla="*/ 276225 h 1704975"/>
              <a:gd name="connsiteX30" fmla="*/ 880150 w 1528115"/>
              <a:gd name="connsiteY30" fmla="*/ 269875 h 1704975"/>
              <a:gd name="connsiteX31" fmla="*/ 889675 w 1528115"/>
              <a:gd name="connsiteY31" fmla="*/ 263525 h 1704975"/>
              <a:gd name="connsiteX32" fmla="*/ 921425 w 1528115"/>
              <a:gd name="connsiteY32" fmla="*/ 254000 h 1704975"/>
              <a:gd name="connsiteX33" fmla="*/ 930950 w 1528115"/>
              <a:gd name="connsiteY33" fmla="*/ 250825 h 1704975"/>
              <a:gd name="connsiteX34" fmla="*/ 950000 w 1528115"/>
              <a:gd name="connsiteY34" fmla="*/ 254000 h 1704975"/>
              <a:gd name="connsiteX35" fmla="*/ 953175 w 1528115"/>
              <a:gd name="connsiteY35" fmla="*/ 263525 h 1704975"/>
              <a:gd name="connsiteX36" fmla="*/ 943650 w 1528115"/>
              <a:gd name="connsiteY36" fmla="*/ 317500 h 1704975"/>
              <a:gd name="connsiteX37" fmla="*/ 946825 w 1528115"/>
              <a:gd name="connsiteY37" fmla="*/ 330200 h 1704975"/>
              <a:gd name="connsiteX38" fmla="*/ 965875 w 1528115"/>
              <a:gd name="connsiteY38" fmla="*/ 339725 h 1704975"/>
              <a:gd name="connsiteX39" fmla="*/ 981750 w 1528115"/>
              <a:gd name="connsiteY39" fmla="*/ 336550 h 1704975"/>
              <a:gd name="connsiteX40" fmla="*/ 991275 w 1528115"/>
              <a:gd name="connsiteY40" fmla="*/ 330200 h 1704975"/>
              <a:gd name="connsiteX41" fmla="*/ 1000800 w 1528115"/>
              <a:gd name="connsiteY41" fmla="*/ 327025 h 1704975"/>
              <a:gd name="connsiteX42" fmla="*/ 1010325 w 1528115"/>
              <a:gd name="connsiteY42" fmla="*/ 320675 h 1704975"/>
              <a:gd name="connsiteX43" fmla="*/ 1029375 w 1528115"/>
              <a:gd name="connsiteY43" fmla="*/ 311150 h 1704975"/>
              <a:gd name="connsiteX44" fmla="*/ 1032550 w 1528115"/>
              <a:gd name="connsiteY44" fmla="*/ 301625 h 1704975"/>
              <a:gd name="connsiteX45" fmla="*/ 1026200 w 1528115"/>
              <a:gd name="connsiteY45" fmla="*/ 292100 h 1704975"/>
              <a:gd name="connsiteX46" fmla="*/ 1038900 w 1528115"/>
              <a:gd name="connsiteY46" fmla="*/ 279400 h 1704975"/>
              <a:gd name="connsiteX47" fmla="*/ 1083350 w 1528115"/>
              <a:gd name="connsiteY47" fmla="*/ 282575 h 1704975"/>
              <a:gd name="connsiteX48" fmla="*/ 1096050 w 1528115"/>
              <a:gd name="connsiteY48" fmla="*/ 307975 h 1704975"/>
              <a:gd name="connsiteX49" fmla="*/ 1105575 w 1528115"/>
              <a:gd name="connsiteY49" fmla="*/ 314325 h 1704975"/>
              <a:gd name="connsiteX50" fmla="*/ 1111925 w 1528115"/>
              <a:gd name="connsiteY50" fmla="*/ 327025 h 1704975"/>
              <a:gd name="connsiteX51" fmla="*/ 1134150 w 1528115"/>
              <a:gd name="connsiteY51" fmla="*/ 384175 h 1704975"/>
              <a:gd name="connsiteX52" fmla="*/ 1165900 w 1528115"/>
              <a:gd name="connsiteY52" fmla="*/ 454025 h 1704975"/>
              <a:gd name="connsiteX53" fmla="*/ 1207175 w 1528115"/>
              <a:gd name="connsiteY53" fmla="*/ 457200 h 1704975"/>
              <a:gd name="connsiteX54" fmla="*/ 1216700 w 1528115"/>
              <a:gd name="connsiteY54" fmla="*/ 463550 h 1704975"/>
              <a:gd name="connsiteX55" fmla="*/ 1270675 w 1528115"/>
              <a:gd name="connsiteY55" fmla="*/ 469900 h 1704975"/>
              <a:gd name="connsiteX56" fmla="*/ 1277025 w 1528115"/>
              <a:gd name="connsiteY56" fmla="*/ 479425 h 1704975"/>
              <a:gd name="connsiteX57" fmla="*/ 1273850 w 1528115"/>
              <a:gd name="connsiteY57" fmla="*/ 488950 h 1704975"/>
              <a:gd name="connsiteX58" fmla="*/ 1270675 w 1528115"/>
              <a:gd name="connsiteY58" fmla="*/ 511175 h 1704975"/>
              <a:gd name="connsiteX59" fmla="*/ 1264325 w 1528115"/>
              <a:gd name="connsiteY59" fmla="*/ 530225 h 1704975"/>
              <a:gd name="connsiteX60" fmla="*/ 1261150 w 1528115"/>
              <a:gd name="connsiteY60" fmla="*/ 539750 h 1704975"/>
              <a:gd name="connsiteX61" fmla="*/ 1254800 w 1528115"/>
              <a:gd name="connsiteY61" fmla="*/ 571500 h 1704975"/>
              <a:gd name="connsiteX62" fmla="*/ 1254800 w 1528115"/>
              <a:gd name="connsiteY62" fmla="*/ 692150 h 1704975"/>
              <a:gd name="connsiteX63" fmla="*/ 1257975 w 1528115"/>
              <a:gd name="connsiteY63" fmla="*/ 714375 h 1704975"/>
              <a:gd name="connsiteX64" fmla="*/ 1261150 w 1528115"/>
              <a:gd name="connsiteY64" fmla="*/ 723900 h 1704975"/>
              <a:gd name="connsiteX65" fmla="*/ 1273850 w 1528115"/>
              <a:gd name="connsiteY65" fmla="*/ 727075 h 1704975"/>
              <a:gd name="connsiteX66" fmla="*/ 1292900 w 1528115"/>
              <a:gd name="connsiteY66" fmla="*/ 739775 h 1704975"/>
              <a:gd name="connsiteX67" fmla="*/ 1289725 w 1528115"/>
              <a:gd name="connsiteY67" fmla="*/ 784225 h 1704975"/>
              <a:gd name="connsiteX68" fmla="*/ 1273850 w 1528115"/>
              <a:gd name="connsiteY68" fmla="*/ 800100 h 1704975"/>
              <a:gd name="connsiteX69" fmla="*/ 1264325 w 1528115"/>
              <a:gd name="connsiteY69" fmla="*/ 809625 h 1704975"/>
              <a:gd name="connsiteX70" fmla="*/ 1219875 w 1528115"/>
              <a:gd name="connsiteY70" fmla="*/ 819150 h 1704975"/>
              <a:gd name="connsiteX71" fmla="*/ 1200825 w 1528115"/>
              <a:gd name="connsiteY71" fmla="*/ 825500 h 1704975"/>
              <a:gd name="connsiteX72" fmla="*/ 1181775 w 1528115"/>
              <a:gd name="connsiteY72" fmla="*/ 838200 h 1704975"/>
              <a:gd name="connsiteX73" fmla="*/ 1172250 w 1528115"/>
              <a:gd name="connsiteY73" fmla="*/ 844550 h 1704975"/>
              <a:gd name="connsiteX74" fmla="*/ 1153200 w 1528115"/>
              <a:gd name="connsiteY74" fmla="*/ 850900 h 1704975"/>
              <a:gd name="connsiteX75" fmla="*/ 1140500 w 1528115"/>
              <a:gd name="connsiteY75" fmla="*/ 857250 h 1704975"/>
              <a:gd name="connsiteX76" fmla="*/ 1130975 w 1528115"/>
              <a:gd name="connsiteY76" fmla="*/ 863600 h 1704975"/>
              <a:gd name="connsiteX77" fmla="*/ 1105575 w 1528115"/>
              <a:gd name="connsiteY77" fmla="*/ 866775 h 1704975"/>
              <a:gd name="connsiteX78" fmla="*/ 1086525 w 1528115"/>
              <a:gd name="connsiteY78" fmla="*/ 873125 h 1704975"/>
              <a:gd name="connsiteX79" fmla="*/ 1077000 w 1528115"/>
              <a:gd name="connsiteY79" fmla="*/ 879475 h 1704975"/>
              <a:gd name="connsiteX80" fmla="*/ 1057950 w 1528115"/>
              <a:gd name="connsiteY80" fmla="*/ 885825 h 1704975"/>
              <a:gd name="connsiteX81" fmla="*/ 1048425 w 1528115"/>
              <a:gd name="connsiteY81" fmla="*/ 889000 h 1704975"/>
              <a:gd name="connsiteX82" fmla="*/ 1029375 w 1528115"/>
              <a:gd name="connsiteY82" fmla="*/ 908050 h 1704975"/>
              <a:gd name="connsiteX83" fmla="*/ 1010325 w 1528115"/>
              <a:gd name="connsiteY83" fmla="*/ 914400 h 1704975"/>
              <a:gd name="connsiteX84" fmla="*/ 1003975 w 1528115"/>
              <a:gd name="connsiteY84" fmla="*/ 923925 h 1704975"/>
              <a:gd name="connsiteX85" fmla="*/ 994450 w 1528115"/>
              <a:gd name="connsiteY85" fmla="*/ 933450 h 1704975"/>
              <a:gd name="connsiteX86" fmla="*/ 991275 w 1528115"/>
              <a:gd name="connsiteY86" fmla="*/ 942975 h 1704975"/>
              <a:gd name="connsiteX87" fmla="*/ 988100 w 1528115"/>
              <a:gd name="connsiteY87" fmla="*/ 962025 h 1704975"/>
              <a:gd name="connsiteX88" fmla="*/ 969050 w 1528115"/>
              <a:gd name="connsiteY88" fmla="*/ 968375 h 1704975"/>
              <a:gd name="connsiteX89" fmla="*/ 950000 w 1528115"/>
              <a:gd name="connsiteY89" fmla="*/ 981075 h 1704975"/>
              <a:gd name="connsiteX90" fmla="*/ 940475 w 1528115"/>
              <a:gd name="connsiteY90" fmla="*/ 987425 h 1704975"/>
              <a:gd name="connsiteX91" fmla="*/ 930950 w 1528115"/>
              <a:gd name="connsiteY91" fmla="*/ 1006475 h 1704975"/>
              <a:gd name="connsiteX92" fmla="*/ 924600 w 1528115"/>
              <a:gd name="connsiteY92" fmla="*/ 1016000 h 1704975"/>
              <a:gd name="connsiteX93" fmla="*/ 921425 w 1528115"/>
              <a:gd name="connsiteY93" fmla="*/ 1025525 h 1704975"/>
              <a:gd name="connsiteX94" fmla="*/ 905550 w 1528115"/>
              <a:gd name="connsiteY94" fmla="*/ 1044575 h 1704975"/>
              <a:gd name="connsiteX95" fmla="*/ 896025 w 1528115"/>
              <a:gd name="connsiteY95" fmla="*/ 1063625 h 1704975"/>
              <a:gd name="connsiteX96" fmla="*/ 867450 w 1528115"/>
              <a:gd name="connsiteY96" fmla="*/ 1085850 h 1704975"/>
              <a:gd name="connsiteX97" fmla="*/ 848400 w 1528115"/>
              <a:gd name="connsiteY97" fmla="*/ 1095375 h 1704975"/>
              <a:gd name="connsiteX98" fmla="*/ 813475 w 1528115"/>
              <a:gd name="connsiteY98" fmla="*/ 1092200 h 1704975"/>
              <a:gd name="connsiteX99" fmla="*/ 772200 w 1528115"/>
              <a:gd name="connsiteY99" fmla="*/ 1098550 h 1704975"/>
              <a:gd name="connsiteX100" fmla="*/ 759500 w 1528115"/>
              <a:gd name="connsiteY100" fmla="*/ 1127125 h 1704975"/>
              <a:gd name="connsiteX101" fmla="*/ 756325 w 1528115"/>
              <a:gd name="connsiteY101" fmla="*/ 1136650 h 1704975"/>
              <a:gd name="connsiteX102" fmla="*/ 740450 w 1528115"/>
              <a:gd name="connsiteY102" fmla="*/ 1155700 h 1704975"/>
              <a:gd name="connsiteX103" fmla="*/ 718225 w 1528115"/>
              <a:gd name="connsiteY103" fmla="*/ 1181100 h 1704975"/>
              <a:gd name="connsiteX104" fmla="*/ 721400 w 1528115"/>
              <a:gd name="connsiteY104" fmla="*/ 1238250 h 1704975"/>
              <a:gd name="connsiteX105" fmla="*/ 727750 w 1528115"/>
              <a:gd name="connsiteY105" fmla="*/ 1247775 h 1704975"/>
              <a:gd name="connsiteX106" fmla="*/ 730925 w 1528115"/>
              <a:gd name="connsiteY106" fmla="*/ 1257300 h 1704975"/>
              <a:gd name="connsiteX107" fmla="*/ 740450 w 1528115"/>
              <a:gd name="connsiteY107" fmla="*/ 1276350 h 1704975"/>
              <a:gd name="connsiteX108" fmla="*/ 743625 w 1528115"/>
              <a:gd name="connsiteY108" fmla="*/ 1320800 h 1704975"/>
              <a:gd name="connsiteX109" fmla="*/ 746800 w 1528115"/>
              <a:gd name="connsiteY109" fmla="*/ 1330325 h 1704975"/>
              <a:gd name="connsiteX110" fmla="*/ 756325 w 1528115"/>
              <a:gd name="connsiteY110" fmla="*/ 1336675 h 1704975"/>
              <a:gd name="connsiteX111" fmla="*/ 762675 w 1528115"/>
              <a:gd name="connsiteY111" fmla="*/ 1346200 h 1704975"/>
              <a:gd name="connsiteX112" fmla="*/ 769025 w 1528115"/>
              <a:gd name="connsiteY112" fmla="*/ 1393825 h 1704975"/>
              <a:gd name="connsiteX113" fmla="*/ 775375 w 1528115"/>
              <a:gd name="connsiteY113" fmla="*/ 1412875 h 1704975"/>
              <a:gd name="connsiteX114" fmla="*/ 781725 w 1528115"/>
              <a:gd name="connsiteY114" fmla="*/ 1435100 h 1704975"/>
              <a:gd name="connsiteX115" fmla="*/ 772200 w 1528115"/>
              <a:gd name="connsiteY115" fmla="*/ 1460500 h 1704975"/>
              <a:gd name="connsiteX116" fmla="*/ 762675 w 1528115"/>
              <a:gd name="connsiteY116" fmla="*/ 1466850 h 1704975"/>
              <a:gd name="connsiteX117" fmla="*/ 753150 w 1528115"/>
              <a:gd name="connsiteY117" fmla="*/ 1485900 h 1704975"/>
              <a:gd name="connsiteX118" fmla="*/ 749975 w 1528115"/>
              <a:gd name="connsiteY118" fmla="*/ 1514475 h 1704975"/>
              <a:gd name="connsiteX119" fmla="*/ 740450 w 1528115"/>
              <a:gd name="connsiteY119" fmla="*/ 1520825 h 1704975"/>
              <a:gd name="connsiteX120" fmla="*/ 730925 w 1528115"/>
              <a:gd name="connsiteY120" fmla="*/ 1530350 h 1704975"/>
              <a:gd name="connsiteX121" fmla="*/ 718225 w 1528115"/>
              <a:gd name="connsiteY121" fmla="*/ 1549400 h 1704975"/>
              <a:gd name="connsiteX122" fmla="*/ 711875 w 1528115"/>
              <a:gd name="connsiteY122" fmla="*/ 1558925 h 1704975"/>
              <a:gd name="connsiteX123" fmla="*/ 702350 w 1528115"/>
              <a:gd name="connsiteY123" fmla="*/ 1568450 h 1704975"/>
              <a:gd name="connsiteX124" fmla="*/ 699175 w 1528115"/>
              <a:gd name="connsiteY124" fmla="*/ 1577975 h 1704975"/>
              <a:gd name="connsiteX125" fmla="*/ 686475 w 1528115"/>
              <a:gd name="connsiteY125" fmla="*/ 1597025 h 1704975"/>
              <a:gd name="connsiteX126" fmla="*/ 676950 w 1528115"/>
              <a:gd name="connsiteY126" fmla="*/ 1616075 h 1704975"/>
              <a:gd name="connsiteX127" fmla="*/ 667425 w 1528115"/>
              <a:gd name="connsiteY127" fmla="*/ 1619250 h 1704975"/>
              <a:gd name="connsiteX128" fmla="*/ 648375 w 1528115"/>
              <a:gd name="connsiteY128" fmla="*/ 1631950 h 1704975"/>
              <a:gd name="connsiteX129" fmla="*/ 638850 w 1528115"/>
              <a:gd name="connsiteY129" fmla="*/ 1638300 h 1704975"/>
              <a:gd name="connsiteX130" fmla="*/ 607100 w 1528115"/>
              <a:gd name="connsiteY130" fmla="*/ 1676400 h 1704975"/>
              <a:gd name="connsiteX131" fmla="*/ 556300 w 1528115"/>
              <a:gd name="connsiteY131" fmla="*/ 1679575 h 1704975"/>
              <a:gd name="connsiteX132" fmla="*/ 537250 w 1528115"/>
              <a:gd name="connsiteY132" fmla="*/ 1685925 h 1704975"/>
              <a:gd name="connsiteX133" fmla="*/ 515025 w 1528115"/>
              <a:gd name="connsiteY133" fmla="*/ 1698625 h 1704975"/>
              <a:gd name="connsiteX134" fmla="*/ 495975 w 1528115"/>
              <a:gd name="connsiteY134" fmla="*/ 1704975 h 1704975"/>
              <a:gd name="connsiteX135" fmla="*/ 476925 w 1528115"/>
              <a:gd name="connsiteY135" fmla="*/ 1701800 h 1704975"/>
              <a:gd name="connsiteX136" fmla="*/ 470575 w 1528115"/>
              <a:gd name="connsiteY136" fmla="*/ 1692275 h 1704975"/>
              <a:gd name="connsiteX137" fmla="*/ 467400 w 1528115"/>
              <a:gd name="connsiteY137" fmla="*/ 1660525 h 1704975"/>
              <a:gd name="connsiteX138" fmla="*/ 457875 w 1528115"/>
              <a:gd name="connsiteY138" fmla="*/ 1641475 h 1704975"/>
              <a:gd name="connsiteX139" fmla="*/ 448350 w 1528115"/>
              <a:gd name="connsiteY139" fmla="*/ 1635125 h 1704975"/>
              <a:gd name="connsiteX140" fmla="*/ 445175 w 1528115"/>
              <a:gd name="connsiteY140" fmla="*/ 1625600 h 1704975"/>
              <a:gd name="connsiteX141" fmla="*/ 435650 w 1528115"/>
              <a:gd name="connsiteY141" fmla="*/ 1606550 h 1704975"/>
              <a:gd name="connsiteX142" fmla="*/ 432475 w 1528115"/>
              <a:gd name="connsiteY142" fmla="*/ 1495425 h 1704975"/>
              <a:gd name="connsiteX143" fmla="*/ 429300 w 1528115"/>
              <a:gd name="connsiteY143" fmla="*/ 1485900 h 1704975"/>
              <a:gd name="connsiteX144" fmla="*/ 426125 w 1528115"/>
              <a:gd name="connsiteY144" fmla="*/ 1473200 h 1704975"/>
              <a:gd name="connsiteX145" fmla="*/ 419775 w 1528115"/>
              <a:gd name="connsiteY145" fmla="*/ 1463675 h 1704975"/>
              <a:gd name="connsiteX146" fmla="*/ 416600 w 1528115"/>
              <a:gd name="connsiteY146" fmla="*/ 1454150 h 1704975"/>
              <a:gd name="connsiteX147" fmla="*/ 403900 w 1528115"/>
              <a:gd name="connsiteY147" fmla="*/ 1435100 h 1704975"/>
              <a:gd name="connsiteX148" fmla="*/ 397550 w 1528115"/>
              <a:gd name="connsiteY148" fmla="*/ 1416050 h 1704975"/>
              <a:gd name="connsiteX149" fmla="*/ 394375 w 1528115"/>
              <a:gd name="connsiteY149" fmla="*/ 1381125 h 1704975"/>
              <a:gd name="connsiteX150" fmla="*/ 391200 w 1528115"/>
              <a:gd name="connsiteY150" fmla="*/ 1368425 h 1704975"/>
              <a:gd name="connsiteX151" fmla="*/ 388025 w 1528115"/>
              <a:gd name="connsiteY151" fmla="*/ 1352550 h 1704975"/>
              <a:gd name="connsiteX152" fmla="*/ 381675 w 1528115"/>
              <a:gd name="connsiteY152" fmla="*/ 1333500 h 1704975"/>
              <a:gd name="connsiteX153" fmla="*/ 378500 w 1528115"/>
              <a:gd name="connsiteY153" fmla="*/ 1323975 h 1704975"/>
              <a:gd name="connsiteX154" fmla="*/ 375325 w 1528115"/>
              <a:gd name="connsiteY154" fmla="*/ 1308100 h 1704975"/>
              <a:gd name="connsiteX155" fmla="*/ 368975 w 1528115"/>
              <a:gd name="connsiteY155" fmla="*/ 1289050 h 1704975"/>
              <a:gd name="connsiteX156" fmla="*/ 362625 w 1528115"/>
              <a:gd name="connsiteY156" fmla="*/ 1260475 h 1704975"/>
              <a:gd name="connsiteX157" fmla="*/ 359450 w 1528115"/>
              <a:gd name="connsiteY157" fmla="*/ 1231900 h 1704975"/>
              <a:gd name="connsiteX158" fmla="*/ 349925 w 1528115"/>
              <a:gd name="connsiteY158" fmla="*/ 1196975 h 1704975"/>
              <a:gd name="connsiteX159" fmla="*/ 340400 w 1528115"/>
              <a:gd name="connsiteY159" fmla="*/ 1155700 h 1704975"/>
              <a:gd name="connsiteX160" fmla="*/ 334050 w 1528115"/>
              <a:gd name="connsiteY160" fmla="*/ 1130300 h 1704975"/>
              <a:gd name="connsiteX161" fmla="*/ 327700 w 1528115"/>
              <a:gd name="connsiteY161" fmla="*/ 1104900 h 1704975"/>
              <a:gd name="connsiteX162" fmla="*/ 324525 w 1528115"/>
              <a:gd name="connsiteY162" fmla="*/ 1092200 h 1704975"/>
              <a:gd name="connsiteX163" fmla="*/ 318175 w 1528115"/>
              <a:gd name="connsiteY163" fmla="*/ 1050925 h 1704975"/>
              <a:gd name="connsiteX164" fmla="*/ 315000 w 1528115"/>
              <a:gd name="connsiteY164" fmla="*/ 1031875 h 1704975"/>
              <a:gd name="connsiteX165" fmla="*/ 311825 w 1528115"/>
              <a:gd name="connsiteY165" fmla="*/ 1022350 h 1704975"/>
              <a:gd name="connsiteX166" fmla="*/ 308650 w 1528115"/>
              <a:gd name="connsiteY166" fmla="*/ 1006475 h 1704975"/>
              <a:gd name="connsiteX167" fmla="*/ 302300 w 1528115"/>
              <a:gd name="connsiteY167" fmla="*/ 987425 h 1704975"/>
              <a:gd name="connsiteX168" fmla="*/ 299125 w 1528115"/>
              <a:gd name="connsiteY168" fmla="*/ 974725 h 1704975"/>
              <a:gd name="connsiteX169" fmla="*/ 292775 w 1528115"/>
              <a:gd name="connsiteY169" fmla="*/ 955675 h 1704975"/>
              <a:gd name="connsiteX170" fmla="*/ 289600 w 1528115"/>
              <a:gd name="connsiteY170" fmla="*/ 946150 h 1704975"/>
              <a:gd name="connsiteX171" fmla="*/ 280075 w 1528115"/>
              <a:gd name="connsiteY171" fmla="*/ 923925 h 1704975"/>
              <a:gd name="connsiteX172" fmla="*/ 261025 w 1528115"/>
              <a:gd name="connsiteY172" fmla="*/ 908050 h 1704975"/>
              <a:gd name="connsiteX173" fmla="*/ 241975 w 1528115"/>
              <a:gd name="connsiteY173" fmla="*/ 901700 h 1704975"/>
              <a:gd name="connsiteX174" fmla="*/ 222925 w 1528115"/>
              <a:gd name="connsiteY174" fmla="*/ 889000 h 1704975"/>
              <a:gd name="connsiteX175" fmla="*/ 213400 w 1528115"/>
              <a:gd name="connsiteY175" fmla="*/ 885825 h 1704975"/>
              <a:gd name="connsiteX176" fmla="*/ 194350 w 1528115"/>
              <a:gd name="connsiteY176" fmla="*/ 873125 h 1704975"/>
              <a:gd name="connsiteX177" fmla="*/ 175300 w 1528115"/>
              <a:gd name="connsiteY177" fmla="*/ 860425 h 1704975"/>
              <a:gd name="connsiteX178" fmla="*/ 162600 w 1528115"/>
              <a:gd name="connsiteY178" fmla="*/ 850900 h 1704975"/>
              <a:gd name="connsiteX179" fmla="*/ 153075 w 1528115"/>
              <a:gd name="connsiteY179" fmla="*/ 847725 h 1704975"/>
              <a:gd name="connsiteX180" fmla="*/ 134025 w 1528115"/>
              <a:gd name="connsiteY180" fmla="*/ 835025 h 1704975"/>
              <a:gd name="connsiteX181" fmla="*/ 114975 w 1528115"/>
              <a:gd name="connsiteY181" fmla="*/ 822325 h 1704975"/>
              <a:gd name="connsiteX182" fmla="*/ 105450 w 1528115"/>
              <a:gd name="connsiteY182" fmla="*/ 815975 h 1704975"/>
              <a:gd name="connsiteX183" fmla="*/ 95925 w 1528115"/>
              <a:gd name="connsiteY183" fmla="*/ 812800 h 1704975"/>
              <a:gd name="connsiteX184" fmla="*/ 64175 w 1528115"/>
              <a:gd name="connsiteY184" fmla="*/ 790575 h 1704975"/>
              <a:gd name="connsiteX185" fmla="*/ 54650 w 1528115"/>
              <a:gd name="connsiteY185" fmla="*/ 787400 h 1704975"/>
              <a:gd name="connsiteX186" fmla="*/ 38775 w 1528115"/>
              <a:gd name="connsiteY186" fmla="*/ 771525 h 1704975"/>
              <a:gd name="connsiteX187" fmla="*/ 29250 w 1528115"/>
              <a:gd name="connsiteY187" fmla="*/ 762000 h 1704975"/>
              <a:gd name="connsiteX188" fmla="*/ 19725 w 1528115"/>
              <a:gd name="connsiteY188" fmla="*/ 758825 h 1704975"/>
              <a:gd name="connsiteX189" fmla="*/ 675 w 1528115"/>
              <a:gd name="connsiteY189" fmla="*/ 746125 h 1704975"/>
              <a:gd name="connsiteX190" fmla="*/ 51475 w 1528115"/>
              <a:gd name="connsiteY190" fmla="*/ 739775 h 1704975"/>
              <a:gd name="connsiteX191" fmla="*/ 67350 w 1528115"/>
              <a:gd name="connsiteY191" fmla="*/ 736600 h 1704975"/>
              <a:gd name="connsiteX192" fmla="*/ 102275 w 1528115"/>
              <a:gd name="connsiteY192" fmla="*/ 733425 h 1704975"/>
              <a:gd name="connsiteX193" fmla="*/ 130850 w 1528115"/>
              <a:gd name="connsiteY193" fmla="*/ 727075 h 1704975"/>
              <a:gd name="connsiteX194" fmla="*/ 149900 w 1528115"/>
              <a:gd name="connsiteY194" fmla="*/ 723900 h 1704975"/>
              <a:gd name="connsiteX195" fmla="*/ 159425 w 1528115"/>
              <a:gd name="connsiteY195" fmla="*/ 720725 h 1704975"/>
              <a:gd name="connsiteX196" fmla="*/ 175300 w 1528115"/>
              <a:gd name="connsiteY196" fmla="*/ 717550 h 1704975"/>
              <a:gd name="connsiteX197" fmla="*/ 194350 w 1528115"/>
              <a:gd name="connsiteY197" fmla="*/ 711200 h 1704975"/>
              <a:gd name="connsiteX198" fmla="*/ 222925 w 1528115"/>
              <a:gd name="connsiteY198" fmla="*/ 701675 h 1704975"/>
              <a:gd name="connsiteX199" fmla="*/ 232450 w 1528115"/>
              <a:gd name="connsiteY199" fmla="*/ 698500 h 1704975"/>
              <a:gd name="connsiteX200" fmla="*/ 241975 w 1528115"/>
              <a:gd name="connsiteY200" fmla="*/ 695325 h 1704975"/>
              <a:gd name="connsiteX201" fmla="*/ 381675 w 1528115"/>
              <a:gd name="connsiteY201" fmla="*/ 688975 h 1704975"/>
              <a:gd name="connsiteX202" fmla="*/ 397550 w 1528115"/>
              <a:gd name="connsiteY202" fmla="*/ 685800 h 1704975"/>
              <a:gd name="connsiteX203" fmla="*/ 407075 w 1528115"/>
              <a:gd name="connsiteY203" fmla="*/ 682625 h 1704975"/>
              <a:gd name="connsiteX204" fmla="*/ 419775 w 1528115"/>
              <a:gd name="connsiteY204" fmla="*/ 679450 h 1704975"/>
              <a:gd name="connsiteX205" fmla="*/ 438825 w 1528115"/>
              <a:gd name="connsiteY205" fmla="*/ 673100 h 1704975"/>
              <a:gd name="connsiteX206" fmla="*/ 467400 w 1528115"/>
              <a:gd name="connsiteY206" fmla="*/ 663575 h 1704975"/>
              <a:gd name="connsiteX207" fmla="*/ 495975 w 1528115"/>
              <a:gd name="connsiteY207" fmla="*/ 654050 h 1704975"/>
              <a:gd name="connsiteX208" fmla="*/ 505500 w 1528115"/>
              <a:gd name="connsiteY208" fmla="*/ 650875 h 1704975"/>
              <a:gd name="connsiteX209" fmla="*/ 527725 w 1528115"/>
              <a:gd name="connsiteY209" fmla="*/ 641350 h 1704975"/>
              <a:gd name="connsiteX210" fmla="*/ 537250 w 1528115"/>
              <a:gd name="connsiteY210" fmla="*/ 635000 h 1704975"/>
              <a:gd name="connsiteX211" fmla="*/ 546775 w 1528115"/>
              <a:gd name="connsiteY211" fmla="*/ 631825 h 1704975"/>
              <a:gd name="connsiteX212" fmla="*/ 559475 w 1528115"/>
              <a:gd name="connsiteY212" fmla="*/ 625475 h 1704975"/>
              <a:gd name="connsiteX213" fmla="*/ 578525 w 1528115"/>
              <a:gd name="connsiteY213" fmla="*/ 657225 h 1704975"/>
              <a:gd name="connsiteX214" fmla="*/ 588050 w 1528115"/>
              <a:gd name="connsiteY214" fmla="*/ 660400 h 1704975"/>
              <a:gd name="connsiteX215" fmla="*/ 607100 w 1528115"/>
              <a:gd name="connsiteY215" fmla="*/ 673100 h 1704975"/>
              <a:gd name="connsiteX216" fmla="*/ 626150 w 1528115"/>
              <a:gd name="connsiteY216" fmla="*/ 679450 h 1704975"/>
              <a:gd name="connsiteX217" fmla="*/ 635675 w 1528115"/>
              <a:gd name="connsiteY217" fmla="*/ 685800 h 1704975"/>
              <a:gd name="connsiteX218" fmla="*/ 654725 w 1528115"/>
              <a:gd name="connsiteY218" fmla="*/ 692150 h 1704975"/>
              <a:gd name="connsiteX219" fmla="*/ 645200 w 1528115"/>
              <a:gd name="connsiteY219" fmla="*/ 682625 h 1704975"/>
              <a:gd name="connsiteX220" fmla="*/ 635675 w 1528115"/>
              <a:gd name="connsiteY220" fmla="*/ 676275 h 1704975"/>
              <a:gd name="connsiteX221" fmla="*/ 632500 w 1528115"/>
              <a:gd name="connsiteY221" fmla="*/ 666750 h 1704975"/>
              <a:gd name="connsiteX222" fmla="*/ 635675 w 1528115"/>
              <a:gd name="connsiteY222" fmla="*/ 590550 h 1704975"/>
              <a:gd name="connsiteX223" fmla="*/ 642025 w 1528115"/>
              <a:gd name="connsiteY223" fmla="*/ 571500 h 1704975"/>
              <a:gd name="connsiteX224" fmla="*/ 648375 w 1528115"/>
              <a:gd name="connsiteY224" fmla="*/ 561975 h 1704975"/>
              <a:gd name="connsiteX225" fmla="*/ 638850 w 1528115"/>
              <a:gd name="connsiteY225" fmla="*/ 536575 h 1704975"/>
              <a:gd name="connsiteX226" fmla="*/ 629325 w 1528115"/>
              <a:gd name="connsiteY226" fmla="*/ 533400 h 1704975"/>
              <a:gd name="connsiteX227" fmla="*/ 626150 w 1528115"/>
              <a:gd name="connsiteY227" fmla="*/ 523875 h 1704975"/>
              <a:gd name="connsiteX228" fmla="*/ 632500 w 1528115"/>
              <a:gd name="connsiteY228" fmla="*/ 498475 h 1704975"/>
              <a:gd name="connsiteX229" fmla="*/ 635675 w 1528115"/>
              <a:gd name="connsiteY229" fmla="*/ 485775 h 1704975"/>
              <a:gd name="connsiteX230" fmla="*/ 626150 w 1528115"/>
              <a:gd name="connsiteY230" fmla="*/ 463550 h 1704975"/>
              <a:gd name="connsiteX231" fmla="*/ 616625 w 1528115"/>
              <a:gd name="connsiteY231" fmla="*/ 460375 h 1704975"/>
              <a:gd name="connsiteX232" fmla="*/ 607100 w 1528115"/>
              <a:gd name="connsiteY232" fmla="*/ 454025 h 1704975"/>
              <a:gd name="connsiteX233" fmla="*/ 591225 w 1528115"/>
              <a:gd name="connsiteY233" fmla="*/ 450850 h 1704975"/>
              <a:gd name="connsiteX234" fmla="*/ 569000 w 1528115"/>
              <a:gd name="connsiteY234" fmla="*/ 441325 h 1704975"/>
              <a:gd name="connsiteX235" fmla="*/ 546775 w 1528115"/>
              <a:gd name="connsiteY235" fmla="*/ 415925 h 1704975"/>
              <a:gd name="connsiteX236" fmla="*/ 540425 w 1528115"/>
              <a:gd name="connsiteY236" fmla="*/ 406400 h 1704975"/>
              <a:gd name="connsiteX237" fmla="*/ 530900 w 1528115"/>
              <a:gd name="connsiteY237" fmla="*/ 400050 h 1704975"/>
              <a:gd name="connsiteX238" fmla="*/ 508675 w 1528115"/>
              <a:gd name="connsiteY238" fmla="*/ 374650 h 1704975"/>
              <a:gd name="connsiteX239" fmla="*/ 502325 w 1528115"/>
              <a:gd name="connsiteY239" fmla="*/ 365125 h 1704975"/>
              <a:gd name="connsiteX240" fmla="*/ 483275 w 1528115"/>
              <a:gd name="connsiteY240" fmla="*/ 346075 h 1704975"/>
              <a:gd name="connsiteX241" fmla="*/ 486450 w 1528115"/>
              <a:gd name="connsiteY241" fmla="*/ 333375 h 1704975"/>
              <a:gd name="connsiteX242" fmla="*/ 492800 w 1528115"/>
              <a:gd name="connsiteY242" fmla="*/ 314325 h 1704975"/>
              <a:gd name="connsiteX243" fmla="*/ 489625 w 1528115"/>
              <a:gd name="connsiteY243" fmla="*/ 292100 h 1704975"/>
              <a:gd name="connsiteX244" fmla="*/ 461050 w 1528115"/>
              <a:gd name="connsiteY244" fmla="*/ 266700 h 1704975"/>
              <a:gd name="connsiteX245" fmla="*/ 435650 w 1528115"/>
              <a:gd name="connsiteY245" fmla="*/ 254000 h 1704975"/>
              <a:gd name="connsiteX246" fmla="*/ 413425 w 1528115"/>
              <a:gd name="connsiteY246" fmla="*/ 238125 h 1704975"/>
              <a:gd name="connsiteX247" fmla="*/ 403900 w 1528115"/>
              <a:gd name="connsiteY247" fmla="*/ 231775 h 1704975"/>
              <a:gd name="connsiteX248" fmla="*/ 388025 w 1528115"/>
              <a:gd name="connsiteY248" fmla="*/ 212725 h 1704975"/>
              <a:gd name="connsiteX249" fmla="*/ 372150 w 1528115"/>
              <a:gd name="connsiteY249" fmla="*/ 196850 h 1704975"/>
              <a:gd name="connsiteX250" fmla="*/ 365800 w 1528115"/>
              <a:gd name="connsiteY250" fmla="*/ 177800 h 1704975"/>
              <a:gd name="connsiteX251" fmla="*/ 359450 w 1528115"/>
              <a:gd name="connsiteY251" fmla="*/ 149225 h 1704975"/>
              <a:gd name="connsiteX252" fmla="*/ 362625 w 1528115"/>
              <a:gd name="connsiteY252" fmla="*/ 114300 h 1704975"/>
              <a:gd name="connsiteX253" fmla="*/ 368975 w 1528115"/>
              <a:gd name="connsiteY253" fmla="*/ 104775 h 1704975"/>
              <a:gd name="connsiteX254" fmla="*/ 375325 w 1528115"/>
              <a:gd name="connsiteY254" fmla="*/ 38100 h 1704975"/>
              <a:gd name="connsiteX0" fmla="*/ 375325 w 1528115"/>
              <a:gd name="connsiteY0" fmla="*/ 38100 h 1704975"/>
              <a:gd name="connsiteX1" fmla="*/ 410250 w 1528115"/>
              <a:gd name="connsiteY1" fmla="*/ 28575 h 1704975"/>
              <a:gd name="connsiteX2" fmla="*/ 419775 w 1528115"/>
              <a:gd name="connsiteY2" fmla="*/ 31750 h 1704975"/>
              <a:gd name="connsiteX3" fmla="*/ 464225 w 1528115"/>
              <a:gd name="connsiteY3" fmla="*/ 28575 h 1704975"/>
              <a:gd name="connsiteX4" fmla="*/ 483275 w 1528115"/>
              <a:gd name="connsiteY4" fmla="*/ 15875 h 1704975"/>
              <a:gd name="connsiteX5" fmla="*/ 502325 w 1528115"/>
              <a:gd name="connsiteY5" fmla="*/ 9525 h 1704975"/>
              <a:gd name="connsiteX6" fmla="*/ 502325 w 1528115"/>
              <a:gd name="connsiteY6" fmla="*/ 9525 h 1704975"/>
              <a:gd name="connsiteX7" fmla="*/ 518200 w 1528115"/>
              <a:gd name="connsiteY7" fmla="*/ 6350 h 1704975"/>
              <a:gd name="connsiteX8" fmla="*/ 537250 w 1528115"/>
              <a:gd name="connsiteY8" fmla="*/ 0 h 1704975"/>
              <a:gd name="connsiteX9" fmla="*/ 549950 w 1528115"/>
              <a:gd name="connsiteY9" fmla="*/ 19050 h 1704975"/>
              <a:gd name="connsiteX10" fmla="*/ 581700 w 1528115"/>
              <a:gd name="connsiteY10" fmla="*/ 28575 h 1704975"/>
              <a:gd name="connsiteX11" fmla="*/ 597575 w 1528115"/>
              <a:gd name="connsiteY11" fmla="*/ 31750 h 1704975"/>
              <a:gd name="connsiteX12" fmla="*/ 616625 w 1528115"/>
              <a:gd name="connsiteY12" fmla="*/ 38100 h 1704975"/>
              <a:gd name="connsiteX13" fmla="*/ 657900 w 1528115"/>
              <a:gd name="connsiteY13" fmla="*/ 50800 h 1704975"/>
              <a:gd name="connsiteX14" fmla="*/ 667425 w 1528115"/>
              <a:gd name="connsiteY14" fmla="*/ 69850 h 1704975"/>
              <a:gd name="connsiteX15" fmla="*/ 670600 w 1528115"/>
              <a:gd name="connsiteY15" fmla="*/ 104775 h 1704975"/>
              <a:gd name="connsiteX16" fmla="*/ 673775 w 1528115"/>
              <a:gd name="connsiteY16" fmla="*/ 114300 h 1704975"/>
              <a:gd name="connsiteX17" fmla="*/ 683300 w 1528115"/>
              <a:gd name="connsiteY17" fmla="*/ 120650 h 1704975"/>
              <a:gd name="connsiteX18" fmla="*/ 696000 w 1528115"/>
              <a:gd name="connsiteY18" fmla="*/ 139700 h 1704975"/>
              <a:gd name="connsiteX19" fmla="*/ 708700 w 1528115"/>
              <a:gd name="connsiteY19" fmla="*/ 168275 h 1704975"/>
              <a:gd name="connsiteX20" fmla="*/ 718225 w 1528115"/>
              <a:gd name="connsiteY20" fmla="*/ 174625 h 1704975"/>
              <a:gd name="connsiteX21" fmla="*/ 721400 w 1528115"/>
              <a:gd name="connsiteY21" fmla="*/ 184150 h 1704975"/>
              <a:gd name="connsiteX22" fmla="*/ 740450 w 1528115"/>
              <a:gd name="connsiteY22" fmla="*/ 196850 h 1704975"/>
              <a:gd name="connsiteX23" fmla="*/ 753150 w 1528115"/>
              <a:gd name="connsiteY23" fmla="*/ 215900 h 1704975"/>
              <a:gd name="connsiteX24" fmla="*/ 772200 w 1528115"/>
              <a:gd name="connsiteY24" fmla="*/ 231775 h 1704975"/>
              <a:gd name="connsiteX25" fmla="*/ 791250 w 1528115"/>
              <a:gd name="connsiteY25" fmla="*/ 244475 h 1704975"/>
              <a:gd name="connsiteX26" fmla="*/ 800775 w 1528115"/>
              <a:gd name="connsiteY26" fmla="*/ 250825 h 1704975"/>
              <a:gd name="connsiteX27" fmla="*/ 819825 w 1528115"/>
              <a:gd name="connsiteY27" fmla="*/ 257175 h 1704975"/>
              <a:gd name="connsiteX28" fmla="*/ 838875 w 1528115"/>
              <a:gd name="connsiteY28" fmla="*/ 266700 h 1704975"/>
              <a:gd name="connsiteX29" fmla="*/ 857925 w 1528115"/>
              <a:gd name="connsiteY29" fmla="*/ 276225 h 1704975"/>
              <a:gd name="connsiteX30" fmla="*/ 880150 w 1528115"/>
              <a:gd name="connsiteY30" fmla="*/ 269875 h 1704975"/>
              <a:gd name="connsiteX31" fmla="*/ 889675 w 1528115"/>
              <a:gd name="connsiteY31" fmla="*/ 263525 h 1704975"/>
              <a:gd name="connsiteX32" fmla="*/ 921425 w 1528115"/>
              <a:gd name="connsiteY32" fmla="*/ 254000 h 1704975"/>
              <a:gd name="connsiteX33" fmla="*/ 930950 w 1528115"/>
              <a:gd name="connsiteY33" fmla="*/ 250825 h 1704975"/>
              <a:gd name="connsiteX34" fmla="*/ 950000 w 1528115"/>
              <a:gd name="connsiteY34" fmla="*/ 254000 h 1704975"/>
              <a:gd name="connsiteX35" fmla="*/ 953175 w 1528115"/>
              <a:gd name="connsiteY35" fmla="*/ 263525 h 1704975"/>
              <a:gd name="connsiteX36" fmla="*/ 943650 w 1528115"/>
              <a:gd name="connsiteY36" fmla="*/ 317500 h 1704975"/>
              <a:gd name="connsiteX37" fmla="*/ 946825 w 1528115"/>
              <a:gd name="connsiteY37" fmla="*/ 330200 h 1704975"/>
              <a:gd name="connsiteX38" fmla="*/ 965875 w 1528115"/>
              <a:gd name="connsiteY38" fmla="*/ 339725 h 1704975"/>
              <a:gd name="connsiteX39" fmla="*/ 981750 w 1528115"/>
              <a:gd name="connsiteY39" fmla="*/ 336550 h 1704975"/>
              <a:gd name="connsiteX40" fmla="*/ 991275 w 1528115"/>
              <a:gd name="connsiteY40" fmla="*/ 330200 h 1704975"/>
              <a:gd name="connsiteX41" fmla="*/ 1000800 w 1528115"/>
              <a:gd name="connsiteY41" fmla="*/ 327025 h 1704975"/>
              <a:gd name="connsiteX42" fmla="*/ 1010325 w 1528115"/>
              <a:gd name="connsiteY42" fmla="*/ 320675 h 1704975"/>
              <a:gd name="connsiteX43" fmla="*/ 1029375 w 1528115"/>
              <a:gd name="connsiteY43" fmla="*/ 311150 h 1704975"/>
              <a:gd name="connsiteX44" fmla="*/ 1032550 w 1528115"/>
              <a:gd name="connsiteY44" fmla="*/ 301625 h 1704975"/>
              <a:gd name="connsiteX45" fmla="*/ 1026200 w 1528115"/>
              <a:gd name="connsiteY45" fmla="*/ 292100 h 1704975"/>
              <a:gd name="connsiteX46" fmla="*/ 1038900 w 1528115"/>
              <a:gd name="connsiteY46" fmla="*/ 279400 h 1704975"/>
              <a:gd name="connsiteX47" fmla="*/ 1083350 w 1528115"/>
              <a:gd name="connsiteY47" fmla="*/ 282575 h 1704975"/>
              <a:gd name="connsiteX48" fmla="*/ 1096050 w 1528115"/>
              <a:gd name="connsiteY48" fmla="*/ 307975 h 1704975"/>
              <a:gd name="connsiteX49" fmla="*/ 1105575 w 1528115"/>
              <a:gd name="connsiteY49" fmla="*/ 314325 h 1704975"/>
              <a:gd name="connsiteX50" fmla="*/ 1111925 w 1528115"/>
              <a:gd name="connsiteY50" fmla="*/ 327025 h 1704975"/>
              <a:gd name="connsiteX51" fmla="*/ 1134150 w 1528115"/>
              <a:gd name="connsiteY51" fmla="*/ 453979 h 1704975"/>
              <a:gd name="connsiteX52" fmla="*/ 1165900 w 1528115"/>
              <a:gd name="connsiteY52" fmla="*/ 454025 h 1704975"/>
              <a:gd name="connsiteX53" fmla="*/ 1207175 w 1528115"/>
              <a:gd name="connsiteY53" fmla="*/ 457200 h 1704975"/>
              <a:gd name="connsiteX54" fmla="*/ 1216700 w 1528115"/>
              <a:gd name="connsiteY54" fmla="*/ 463550 h 1704975"/>
              <a:gd name="connsiteX55" fmla="*/ 1270675 w 1528115"/>
              <a:gd name="connsiteY55" fmla="*/ 469900 h 1704975"/>
              <a:gd name="connsiteX56" fmla="*/ 1277025 w 1528115"/>
              <a:gd name="connsiteY56" fmla="*/ 479425 h 1704975"/>
              <a:gd name="connsiteX57" fmla="*/ 1273850 w 1528115"/>
              <a:gd name="connsiteY57" fmla="*/ 488950 h 1704975"/>
              <a:gd name="connsiteX58" fmla="*/ 1270675 w 1528115"/>
              <a:gd name="connsiteY58" fmla="*/ 511175 h 1704975"/>
              <a:gd name="connsiteX59" fmla="*/ 1264325 w 1528115"/>
              <a:gd name="connsiteY59" fmla="*/ 530225 h 1704975"/>
              <a:gd name="connsiteX60" fmla="*/ 1261150 w 1528115"/>
              <a:gd name="connsiteY60" fmla="*/ 539750 h 1704975"/>
              <a:gd name="connsiteX61" fmla="*/ 1254800 w 1528115"/>
              <a:gd name="connsiteY61" fmla="*/ 571500 h 1704975"/>
              <a:gd name="connsiteX62" fmla="*/ 1254800 w 1528115"/>
              <a:gd name="connsiteY62" fmla="*/ 692150 h 1704975"/>
              <a:gd name="connsiteX63" fmla="*/ 1257975 w 1528115"/>
              <a:gd name="connsiteY63" fmla="*/ 714375 h 1704975"/>
              <a:gd name="connsiteX64" fmla="*/ 1261150 w 1528115"/>
              <a:gd name="connsiteY64" fmla="*/ 723900 h 1704975"/>
              <a:gd name="connsiteX65" fmla="*/ 1273850 w 1528115"/>
              <a:gd name="connsiteY65" fmla="*/ 727075 h 1704975"/>
              <a:gd name="connsiteX66" fmla="*/ 1292900 w 1528115"/>
              <a:gd name="connsiteY66" fmla="*/ 739775 h 1704975"/>
              <a:gd name="connsiteX67" fmla="*/ 1289725 w 1528115"/>
              <a:gd name="connsiteY67" fmla="*/ 784225 h 1704975"/>
              <a:gd name="connsiteX68" fmla="*/ 1273850 w 1528115"/>
              <a:gd name="connsiteY68" fmla="*/ 800100 h 1704975"/>
              <a:gd name="connsiteX69" fmla="*/ 1264325 w 1528115"/>
              <a:gd name="connsiteY69" fmla="*/ 809625 h 1704975"/>
              <a:gd name="connsiteX70" fmla="*/ 1219875 w 1528115"/>
              <a:gd name="connsiteY70" fmla="*/ 819150 h 1704975"/>
              <a:gd name="connsiteX71" fmla="*/ 1200825 w 1528115"/>
              <a:gd name="connsiteY71" fmla="*/ 825500 h 1704975"/>
              <a:gd name="connsiteX72" fmla="*/ 1181775 w 1528115"/>
              <a:gd name="connsiteY72" fmla="*/ 838200 h 1704975"/>
              <a:gd name="connsiteX73" fmla="*/ 1172250 w 1528115"/>
              <a:gd name="connsiteY73" fmla="*/ 844550 h 1704975"/>
              <a:gd name="connsiteX74" fmla="*/ 1153200 w 1528115"/>
              <a:gd name="connsiteY74" fmla="*/ 850900 h 1704975"/>
              <a:gd name="connsiteX75" fmla="*/ 1140500 w 1528115"/>
              <a:gd name="connsiteY75" fmla="*/ 857250 h 1704975"/>
              <a:gd name="connsiteX76" fmla="*/ 1130975 w 1528115"/>
              <a:gd name="connsiteY76" fmla="*/ 863600 h 1704975"/>
              <a:gd name="connsiteX77" fmla="*/ 1105575 w 1528115"/>
              <a:gd name="connsiteY77" fmla="*/ 866775 h 1704975"/>
              <a:gd name="connsiteX78" fmla="*/ 1086525 w 1528115"/>
              <a:gd name="connsiteY78" fmla="*/ 873125 h 1704975"/>
              <a:gd name="connsiteX79" fmla="*/ 1077000 w 1528115"/>
              <a:gd name="connsiteY79" fmla="*/ 879475 h 1704975"/>
              <a:gd name="connsiteX80" fmla="*/ 1057950 w 1528115"/>
              <a:gd name="connsiteY80" fmla="*/ 885825 h 1704975"/>
              <a:gd name="connsiteX81" fmla="*/ 1048425 w 1528115"/>
              <a:gd name="connsiteY81" fmla="*/ 889000 h 1704975"/>
              <a:gd name="connsiteX82" fmla="*/ 1029375 w 1528115"/>
              <a:gd name="connsiteY82" fmla="*/ 908050 h 1704975"/>
              <a:gd name="connsiteX83" fmla="*/ 1010325 w 1528115"/>
              <a:gd name="connsiteY83" fmla="*/ 914400 h 1704975"/>
              <a:gd name="connsiteX84" fmla="*/ 1003975 w 1528115"/>
              <a:gd name="connsiteY84" fmla="*/ 923925 h 1704975"/>
              <a:gd name="connsiteX85" fmla="*/ 994450 w 1528115"/>
              <a:gd name="connsiteY85" fmla="*/ 933450 h 1704975"/>
              <a:gd name="connsiteX86" fmla="*/ 991275 w 1528115"/>
              <a:gd name="connsiteY86" fmla="*/ 942975 h 1704975"/>
              <a:gd name="connsiteX87" fmla="*/ 988100 w 1528115"/>
              <a:gd name="connsiteY87" fmla="*/ 962025 h 1704975"/>
              <a:gd name="connsiteX88" fmla="*/ 969050 w 1528115"/>
              <a:gd name="connsiteY88" fmla="*/ 968375 h 1704975"/>
              <a:gd name="connsiteX89" fmla="*/ 950000 w 1528115"/>
              <a:gd name="connsiteY89" fmla="*/ 981075 h 1704975"/>
              <a:gd name="connsiteX90" fmla="*/ 940475 w 1528115"/>
              <a:gd name="connsiteY90" fmla="*/ 987425 h 1704975"/>
              <a:gd name="connsiteX91" fmla="*/ 930950 w 1528115"/>
              <a:gd name="connsiteY91" fmla="*/ 1006475 h 1704975"/>
              <a:gd name="connsiteX92" fmla="*/ 924600 w 1528115"/>
              <a:gd name="connsiteY92" fmla="*/ 1016000 h 1704975"/>
              <a:gd name="connsiteX93" fmla="*/ 921425 w 1528115"/>
              <a:gd name="connsiteY93" fmla="*/ 1025525 h 1704975"/>
              <a:gd name="connsiteX94" fmla="*/ 905550 w 1528115"/>
              <a:gd name="connsiteY94" fmla="*/ 1044575 h 1704975"/>
              <a:gd name="connsiteX95" fmla="*/ 896025 w 1528115"/>
              <a:gd name="connsiteY95" fmla="*/ 1063625 h 1704975"/>
              <a:gd name="connsiteX96" fmla="*/ 867450 w 1528115"/>
              <a:gd name="connsiteY96" fmla="*/ 1085850 h 1704975"/>
              <a:gd name="connsiteX97" fmla="*/ 848400 w 1528115"/>
              <a:gd name="connsiteY97" fmla="*/ 1095375 h 1704975"/>
              <a:gd name="connsiteX98" fmla="*/ 813475 w 1528115"/>
              <a:gd name="connsiteY98" fmla="*/ 1092200 h 1704975"/>
              <a:gd name="connsiteX99" fmla="*/ 772200 w 1528115"/>
              <a:gd name="connsiteY99" fmla="*/ 1098550 h 1704975"/>
              <a:gd name="connsiteX100" fmla="*/ 759500 w 1528115"/>
              <a:gd name="connsiteY100" fmla="*/ 1127125 h 1704975"/>
              <a:gd name="connsiteX101" fmla="*/ 756325 w 1528115"/>
              <a:gd name="connsiteY101" fmla="*/ 1136650 h 1704975"/>
              <a:gd name="connsiteX102" fmla="*/ 740450 w 1528115"/>
              <a:gd name="connsiteY102" fmla="*/ 1155700 h 1704975"/>
              <a:gd name="connsiteX103" fmla="*/ 718225 w 1528115"/>
              <a:gd name="connsiteY103" fmla="*/ 1181100 h 1704975"/>
              <a:gd name="connsiteX104" fmla="*/ 721400 w 1528115"/>
              <a:gd name="connsiteY104" fmla="*/ 1238250 h 1704975"/>
              <a:gd name="connsiteX105" fmla="*/ 727750 w 1528115"/>
              <a:gd name="connsiteY105" fmla="*/ 1247775 h 1704975"/>
              <a:gd name="connsiteX106" fmla="*/ 730925 w 1528115"/>
              <a:gd name="connsiteY106" fmla="*/ 1257300 h 1704975"/>
              <a:gd name="connsiteX107" fmla="*/ 740450 w 1528115"/>
              <a:gd name="connsiteY107" fmla="*/ 1276350 h 1704975"/>
              <a:gd name="connsiteX108" fmla="*/ 743625 w 1528115"/>
              <a:gd name="connsiteY108" fmla="*/ 1320800 h 1704975"/>
              <a:gd name="connsiteX109" fmla="*/ 746800 w 1528115"/>
              <a:gd name="connsiteY109" fmla="*/ 1330325 h 1704975"/>
              <a:gd name="connsiteX110" fmla="*/ 756325 w 1528115"/>
              <a:gd name="connsiteY110" fmla="*/ 1336675 h 1704975"/>
              <a:gd name="connsiteX111" fmla="*/ 762675 w 1528115"/>
              <a:gd name="connsiteY111" fmla="*/ 1346200 h 1704975"/>
              <a:gd name="connsiteX112" fmla="*/ 769025 w 1528115"/>
              <a:gd name="connsiteY112" fmla="*/ 1393825 h 1704975"/>
              <a:gd name="connsiteX113" fmla="*/ 775375 w 1528115"/>
              <a:gd name="connsiteY113" fmla="*/ 1412875 h 1704975"/>
              <a:gd name="connsiteX114" fmla="*/ 781725 w 1528115"/>
              <a:gd name="connsiteY114" fmla="*/ 1435100 h 1704975"/>
              <a:gd name="connsiteX115" fmla="*/ 772200 w 1528115"/>
              <a:gd name="connsiteY115" fmla="*/ 1460500 h 1704975"/>
              <a:gd name="connsiteX116" fmla="*/ 762675 w 1528115"/>
              <a:gd name="connsiteY116" fmla="*/ 1466850 h 1704975"/>
              <a:gd name="connsiteX117" fmla="*/ 753150 w 1528115"/>
              <a:gd name="connsiteY117" fmla="*/ 1485900 h 1704975"/>
              <a:gd name="connsiteX118" fmla="*/ 749975 w 1528115"/>
              <a:gd name="connsiteY118" fmla="*/ 1514475 h 1704975"/>
              <a:gd name="connsiteX119" fmla="*/ 740450 w 1528115"/>
              <a:gd name="connsiteY119" fmla="*/ 1520825 h 1704975"/>
              <a:gd name="connsiteX120" fmla="*/ 730925 w 1528115"/>
              <a:gd name="connsiteY120" fmla="*/ 1530350 h 1704975"/>
              <a:gd name="connsiteX121" fmla="*/ 718225 w 1528115"/>
              <a:gd name="connsiteY121" fmla="*/ 1549400 h 1704975"/>
              <a:gd name="connsiteX122" fmla="*/ 711875 w 1528115"/>
              <a:gd name="connsiteY122" fmla="*/ 1558925 h 1704975"/>
              <a:gd name="connsiteX123" fmla="*/ 702350 w 1528115"/>
              <a:gd name="connsiteY123" fmla="*/ 1568450 h 1704975"/>
              <a:gd name="connsiteX124" fmla="*/ 699175 w 1528115"/>
              <a:gd name="connsiteY124" fmla="*/ 1577975 h 1704975"/>
              <a:gd name="connsiteX125" fmla="*/ 686475 w 1528115"/>
              <a:gd name="connsiteY125" fmla="*/ 1597025 h 1704975"/>
              <a:gd name="connsiteX126" fmla="*/ 676950 w 1528115"/>
              <a:gd name="connsiteY126" fmla="*/ 1616075 h 1704975"/>
              <a:gd name="connsiteX127" fmla="*/ 667425 w 1528115"/>
              <a:gd name="connsiteY127" fmla="*/ 1619250 h 1704975"/>
              <a:gd name="connsiteX128" fmla="*/ 648375 w 1528115"/>
              <a:gd name="connsiteY128" fmla="*/ 1631950 h 1704975"/>
              <a:gd name="connsiteX129" fmla="*/ 638850 w 1528115"/>
              <a:gd name="connsiteY129" fmla="*/ 1638300 h 1704975"/>
              <a:gd name="connsiteX130" fmla="*/ 607100 w 1528115"/>
              <a:gd name="connsiteY130" fmla="*/ 1676400 h 1704975"/>
              <a:gd name="connsiteX131" fmla="*/ 556300 w 1528115"/>
              <a:gd name="connsiteY131" fmla="*/ 1679575 h 1704975"/>
              <a:gd name="connsiteX132" fmla="*/ 537250 w 1528115"/>
              <a:gd name="connsiteY132" fmla="*/ 1685925 h 1704975"/>
              <a:gd name="connsiteX133" fmla="*/ 515025 w 1528115"/>
              <a:gd name="connsiteY133" fmla="*/ 1698625 h 1704975"/>
              <a:gd name="connsiteX134" fmla="*/ 495975 w 1528115"/>
              <a:gd name="connsiteY134" fmla="*/ 1704975 h 1704975"/>
              <a:gd name="connsiteX135" fmla="*/ 476925 w 1528115"/>
              <a:gd name="connsiteY135" fmla="*/ 1701800 h 1704975"/>
              <a:gd name="connsiteX136" fmla="*/ 470575 w 1528115"/>
              <a:gd name="connsiteY136" fmla="*/ 1692275 h 1704975"/>
              <a:gd name="connsiteX137" fmla="*/ 467400 w 1528115"/>
              <a:gd name="connsiteY137" fmla="*/ 1660525 h 1704975"/>
              <a:gd name="connsiteX138" fmla="*/ 457875 w 1528115"/>
              <a:gd name="connsiteY138" fmla="*/ 1641475 h 1704975"/>
              <a:gd name="connsiteX139" fmla="*/ 448350 w 1528115"/>
              <a:gd name="connsiteY139" fmla="*/ 1635125 h 1704975"/>
              <a:gd name="connsiteX140" fmla="*/ 445175 w 1528115"/>
              <a:gd name="connsiteY140" fmla="*/ 1625600 h 1704975"/>
              <a:gd name="connsiteX141" fmla="*/ 435650 w 1528115"/>
              <a:gd name="connsiteY141" fmla="*/ 1606550 h 1704975"/>
              <a:gd name="connsiteX142" fmla="*/ 432475 w 1528115"/>
              <a:gd name="connsiteY142" fmla="*/ 1495425 h 1704975"/>
              <a:gd name="connsiteX143" fmla="*/ 429300 w 1528115"/>
              <a:gd name="connsiteY143" fmla="*/ 1485900 h 1704975"/>
              <a:gd name="connsiteX144" fmla="*/ 426125 w 1528115"/>
              <a:gd name="connsiteY144" fmla="*/ 1473200 h 1704975"/>
              <a:gd name="connsiteX145" fmla="*/ 419775 w 1528115"/>
              <a:gd name="connsiteY145" fmla="*/ 1463675 h 1704975"/>
              <a:gd name="connsiteX146" fmla="*/ 416600 w 1528115"/>
              <a:gd name="connsiteY146" fmla="*/ 1454150 h 1704975"/>
              <a:gd name="connsiteX147" fmla="*/ 403900 w 1528115"/>
              <a:gd name="connsiteY147" fmla="*/ 1435100 h 1704975"/>
              <a:gd name="connsiteX148" fmla="*/ 397550 w 1528115"/>
              <a:gd name="connsiteY148" fmla="*/ 1416050 h 1704975"/>
              <a:gd name="connsiteX149" fmla="*/ 394375 w 1528115"/>
              <a:gd name="connsiteY149" fmla="*/ 1381125 h 1704975"/>
              <a:gd name="connsiteX150" fmla="*/ 391200 w 1528115"/>
              <a:gd name="connsiteY150" fmla="*/ 1368425 h 1704975"/>
              <a:gd name="connsiteX151" fmla="*/ 388025 w 1528115"/>
              <a:gd name="connsiteY151" fmla="*/ 1352550 h 1704975"/>
              <a:gd name="connsiteX152" fmla="*/ 381675 w 1528115"/>
              <a:gd name="connsiteY152" fmla="*/ 1333500 h 1704975"/>
              <a:gd name="connsiteX153" fmla="*/ 378500 w 1528115"/>
              <a:gd name="connsiteY153" fmla="*/ 1323975 h 1704975"/>
              <a:gd name="connsiteX154" fmla="*/ 375325 w 1528115"/>
              <a:gd name="connsiteY154" fmla="*/ 1308100 h 1704975"/>
              <a:gd name="connsiteX155" fmla="*/ 368975 w 1528115"/>
              <a:gd name="connsiteY155" fmla="*/ 1289050 h 1704975"/>
              <a:gd name="connsiteX156" fmla="*/ 362625 w 1528115"/>
              <a:gd name="connsiteY156" fmla="*/ 1260475 h 1704975"/>
              <a:gd name="connsiteX157" fmla="*/ 359450 w 1528115"/>
              <a:gd name="connsiteY157" fmla="*/ 1231900 h 1704975"/>
              <a:gd name="connsiteX158" fmla="*/ 349925 w 1528115"/>
              <a:gd name="connsiteY158" fmla="*/ 1196975 h 1704975"/>
              <a:gd name="connsiteX159" fmla="*/ 340400 w 1528115"/>
              <a:gd name="connsiteY159" fmla="*/ 1155700 h 1704975"/>
              <a:gd name="connsiteX160" fmla="*/ 334050 w 1528115"/>
              <a:gd name="connsiteY160" fmla="*/ 1130300 h 1704975"/>
              <a:gd name="connsiteX161" fmla="*/ 327700 w 1528115"/>
              <a:gd name="connsiteY161" fmla="*/ 1104900 h 1704975"/>
              <a:gd name="connsiteX162" fmla="*/ 324525 w 1528115"/>
              <a:gd name="connsiteY162" fmla="*/ 1092200 h 1704975"/>
              <a:gd name="connsiteX163" fmla="*/ 318175 w 1528115"/>
              <a:gd name="connsiteY163" fmla="*/ 1050925 h 1704975"/>
              <a:gd name="connsiteX164" fmla="*/ 315000 w 1528115"/>
              <a:gd name="connsiteY164" fmla="*/ 1031875 h 1704975"/>
              <a:gd name="connsiteX165" fmla="*/ 311825 w 1528115"/>
              <a:gd name="connsiteY165" fmla="*/ 1022350 h 1704975"/>
              <a:gd name="connsiteX166" fmla="*/ 308650 w 1528115"/>
              <a:gd name="connsiteY166" fmla="*/ 1006475 h 1704975"/>
              <a:gd name="connsiteX167" fmla="*/ 302300 w 1528115"/>
              <a:gd name="connsiteY167" fmla="*/ 987425 h 1704975"/>
              <a:gd name="connsiteX168" fmla="*/ 299125 w 1528115"/>
              <a:gd name="connsiteY168" fmla="*/ 974725 h 1704975"/>
              <a:gd name="connsiteX169" fmla="*/ 292775 w 1528115"/>
              <a:gd name="connsiteY169" fmla="*/ 955675 h 1704975"/>
              <a:gd name="connsiteX170" fmla="*/ 289600 w 1528115"/>
              <a:gd name="connsiteY170" fmla="*/ 946150 h 1704975"/>
              <a:gd name="connsiteX171" fmla="*/ 280075 w 1528115"/>
              <a:gd name="connsiteY171" fmla="*/ 923925 h 1704975"/>
              <a:gd name="connsiteX172" fmla="*/ 261025 w 1528115"/>
              <a:gd name="connsiteY172" fmla="*/ 908050 h 1704975"/>
              <a:gd name="connsiteX173" fmla="*/ 241975 w 1528115"/>
              <a:gd name="connsiteY173" fmla="*/ 901700 h 1704975"/>
              <a:gd name="connsiteX174" fmla="*/ 222925 w 1528115"/>
              <a:gd name="connsiteY174" fmla="*/ 889000 h 1704975"/>
              <a:gd name="connsiteX175" fmla="*/ 213400 w 1528115"/>
              <a:gd name="connsiteY175" fmla="*/ 885825 h 1704975"/>
              <a:gd name="connsiteX176" fmla="*/ 194350 w 1528115"/>
              <a:gd name="connsiteY176" fmla="*/ 873125 h 1704975"/>
              <a:gd name="connsiteX177" fmla="*/ 175300 w 1528115"/>
              <a:gd name="connsiteY177" fmla="*/ 860425 h 1704975"/>
              <a:gd name="connsiteX178" fmla="*/ 162600 w 1528115"/>
              <a:gd name="connsiteY178" fmla="*/ 850900 h 1704975"/>
              <a:gd name="connsiteX179" fmla="*/ 153075 w 1528115"/>
              <a:gd name="connsiteY179" fmla="*/ 847725 h 1704975"/>
              <a:gd name="connsiteX180" fmla="*/ 134025 w 1528115"/>
              <a:gd name="connsiteY180" fmla="*/ 835025 h 1704975"/>
              <a:gd name="connsiteX181" fmla="*/ 114975 w 1528115"/>
              <a:gd name="connsiteY181" fmla="*/ 822325 h 1704975"/>
              <a:gd name="connsiteX182" fmla="*/ 105450 w 1528115"/>
              <a:gd name="connsiteY182" fmla="*/ 815975 h 1704975"/>
              <a:gd name="connsiteX183" fmla="*/ 95925 w 1528115"/>
              <a:gd name="connsiteY183" fmla="*/ 812800 h 1704975"/>
              <a:gd name="connsiteX184" fmla="*/ 64175 w 1528115"/>
              <a:gd name="connsiteY184" fmla="*/ 790575 h 1704975"/>
              <a:gd name="connsiteX185" fmla="*/ 54650 w 1528115"/>
              <a:gd name="connsiteY185" fmla="*/ 787400 h 1704975"/>
              <a:gd name="connsiteX186" fmla="*/ 38775 w 1528115"/>
              <a:gd name="connsiteY186" fmla="*/ 771525 h 1704975"/>
              <a:gd name="connsiteX187" fmla="*/ 29250 w 1528115"/>
              <a:gd name="connsiteY187" fmla="*/ 762000 h 1704975"/>
              <a:gd name="connsiteX188" fmla="*/ 19725 w 1528115"/>
              <a:gd name="connsiteY188" fmla="*/ 758825 h 1704975"/>
              <a:gd name="connsiteX189" fmla="*/ 675 w 1528115"/>
              <a:gd name="connsiteY189" fmla="*/ 746125 h 1704975"/>
              <a:gd name="connsiteX190" fmla="*/ 51475 w 1528115"/>
              <a:gd name="connsiteY190" fmla="*/ 739775 h 1704975"/>
              <a:gd name="connsiteX191" fmla="*/ 67350 w 1528115"/>
              <a:gd name="connsiteY191" fmla="*/ 736600 h 1704975"/>
              <a:gd name="connsiteX192" fmla="*/ 102275 w 1528115"/>
              <a:gd name="connsiteY192" fmla="*/ 733425 h 1704975"/>
              <a:gd name="connsiteX193" fmla="*/ 130850 w 1528115"/>
              <a:gd name="connsiteY193" fmla="*/ 727075 h 1704975"/>
              <a:gd name="connsiteX194" fmla="*/ 149900 w 1528115"/>
              <a:gd name="connsiteY194" fmla="*/ 723900 h 1704975"/>
              <a:gd name="connsiteX195" fmla="*/ 159425 w 1528115"/>
              <a:gd name="connsiteY195" fmla="*/ 720725 h 1704975"/>
              <a:gd name="connsiteX196" fmla="*/ 175300 w 1528115"/>
              <a:gd name="connsiteY196" fmla="*/ 717550 h 1704975"/>
              <a:gd name="connsiteX197" fmla="*/ 194350 w 1528115"/>
              <a:gd name="connsiteY197" fmla="*/ 711200 h 1704975"/>
              <a:gd name="connsiteX198" fmla="*/ 222925 w 1528115"/>
              <a:gd name="connsiteY198" fmla="*/ 701675 h 1704975"/>
              <a:gd name="connsiteX199" fmla="*/ 232450 w 1528115"/>
              <a:gd name="connsiteY199" fmla="*/ 698500 h 1704975"/>
              <a:gd name="connsiteX200" fmla="*/ 241975 w 1528115"/>
              <a:gd name="connsiteY200" fmla="*/ 695325 h 1704975"/>
              <a:gd name="connsiteX201" fmla="*/ 381675 w 1528115"/>
              <a:gd name="connsiteY201" fmla="*/ 688975 h 1704975"/>
              <a:gd name="connsiteX202" fmla="*/ 397550 w 1528115"/>
              <a:gd name="connsiteY202" fmla="*/ 685800 h 1704975"/>
              <a:gd name="connsiteX203" fmla="*/ 407075 w 1528115"/>
              <a:gd name="connsiteY203" fmla="*/ 682625 h 1704975"/>
              <a:gd name="connsiteX204" fmla="*/ 419775 w 1528115"/>
              <a:gd name="connsiteY204" fmla="*/ 679450 h 1704975"/>
              <a:gd name="connsiteX205" fmla="*/ 438825 w 1528115"/>
              <a:gd name="connsiteY205" fmla="*/ 673100 h 1704975"/>
              <a:gd name="connsiteX206" fmla="*/ 467400 w 1528115"/>
              <a:gd name="connsiteY206" fmla="*/ 663575 h 1704975"/>
              <a:gd name="connsiteX207" fmla="*/ 495975 w 1528115"/>
              <a:gd name="connsiteY207" fmla="*/ 654050 h 1704975"/>
              <a:gd name="connsiteX208" fmla="*/ 505500 w 1528115"/>
              <a:gd name="connsiteY208" fmla="*/ 650875 h 1704975"/>
              <a:gd name="connsiteX209" fmla="*/ 527725 w 1528115"/>
              <a:gd name="connsiteY209" fmla="*/ 641350 h 1704975"/>
              <a:gd name="connsiteX210" fmla="*/ 537250 w 1528115"/>
              <a:gd name="connsiteY210" fmla="*/ 635000 h 1704975"/>
              <a:gd name="connsiteX211" fmla="*/ 546775 w 1528115"/>
              <a:gd name="connsiteY211" fmla="*/ 631825 h 1704975"/>
              <a:gd name="connsiteX212" fmla="*/ 559475 w 1528115"/>
              <a:gd name="connsiteY212" fmla="*/ 625475 h 1704975"/>
              <a:gd name="connsiteX213" fmla="*/ 578525 w 1528115"/>
              <a:gd name="connsiteY213" fmla="*/ 657225 h 1704975"/>
              <a:gd name="connsiteX214" fmla="*/ 588050 w 1528115"/>
              <a:gd name="connsiteY214" fmla="*/ 660400 h 1704975"/>
              <a:gd name="connsiteX215" fmla="*/ 607100 w 1528115"/>
              <a:gd name="connsiteY215" fmla="*/ 673100 h 1704975"/>
              <a:gd name="connsiteX216" fmla="*/ 626150 w 1528115"/>
              <a:gd name="connsiteY216" fmla="*/ 679450 h 1704975"/>
              <a:gd name="connsiteX217" fmla="*/ 635675 w 1528115"/>
              <a:gd name="connsiteY217" fmla="*/ 685800 h 1704975"/>
              <a:gd name="connsiteX218" fmla="*/ 654725 w 1528115"/>
              <a:gd name="connsiteY218" fmla="*/ 692150 h 1704975"/>
              <a:gd name="connsiteX219" fmla="*/ 645200 w 1528115"/>
              <a:gd name="connsiteY219" fmla="*/ 682625 h 1704975"/>
              <a:gd name="connsiteX220" fmla="*/ 635675 w 1528115"/>
              <a:gd name="connsiteY220" fmla="*/ 676275 h 1704975"/>
              <a:gd name="connsiteX221" fmla="*/ 632500 w 1528115"/>
              <a:gd name="connsiteY221" fmla="*/ 666750 h 1704975"/>
              <a:gd name="connsiteX222" fmla="*/ 635675 w 1528115"/>
              <a:gd name="connsiteY222" fmla="*/ 590550 h 1704975"/>
              <a:gd name="connsiteX223" fmla="*/ 642025 w 1528115"/>
              <a:gd name="connsiteY223" fmla="*/ 571500 h 1704975"/>
              <a:gd name="connsiteX224" fmla="*/ 648375 w 1528115"/>
              <a:gd name="connsiteY224" fmla="*/ 561975 h 1704975"/>
              <a:gd name="connsiteX225" fmla="*/ 638850 w 1528115"/>
              <a:gd name="connsiteY225" fmla="*/ 536575 h 1704975"/>
              <a:gd name="connsiteX226" fmla="*/ 629325 w 1528115"/>
              <a:gd name="connsiteY226" fmla="*/ 533400 h 1704975"/>
              <a:gd name="connsiteX227" fmla="*/ 626150 w 1528115"/>
              <a:gd name="connsiteY227" fmla="*/ 523875 h 1704975"/>
              <a:gd name="connsiteX228" fmla="*/ 632500 w 1528115"/>
              <a:gd name="connsiteY228" fmla="*/ 498475 h 1704975"/>
              <a:gd name="connsiteX229" fmla="*/ 635675 w 1528115"/>
              <a:gd name="connsiteY229" fmla="*/ 485775 h 1704975"/>
              <a:gd name="connsiteX230" fmla="*/ 626150 w 1528115"/>
              <a:gd name="connsiteY230" fmla="*/ 463550 h 1704975"/>
              <a:gd name="connsiteX231" fmla="*/ 616625 w 1528115"/>
              <a:gd name="connsiteY231" fmla="*/ 460375 h 1704975"/>
              <a:gd name="connsiteX232" fmla="*/ 607100 w 1528115"/>
              <a:gd name="connsiteY232" fmla="*/ 454025 h 1704975"/>
              <a:gd name="connsiteX233" fmla="*/ 591225 w 1528115"/>
              <a:gd name="connsiteY233" fmla="*/ 450850 h 1704975"/>
              <a:gd name="connsiteX234" fmla="*/ 569000 w 1528115"/>
              <a:gd name="connsiteY234" fmla="*/ 441325 h 1704975"/>
              <a:gd name="connsiteX235" fmla="*/ 546775 w 1528115"/>
              <a:gd name="connsiteY235" fmla="*/ 415925 h 1704975"/>
              <a:gd name="connsiteX236" fmla="*/ 540425 w 1528115"/>
              <a:gd name="connsiteY236" fmla="*/ 406400 h 1704975"/>
              <a:gd name="connsiteX237" fmla="*/ 530900 w 1528115"/>
              <a:gd name="connsiteY237" fmla="*/ 400050 h 1704975"/>
              <a:gd name="connsiteX238" fmla="*/ 508675 w 1528115"/>
              <a:gd name="connsiteY238" fmla="*/ 374650 h 1704975"/>
              <a:gd name="connsiteX239" fmla="*/ 502325 w 1528115"/>
              <a:gd name="connsiteY239" fmla="*/ 365125 h 1704975"/>
              <a:gd name="connsiteX240" fmla="*/ 483275 w 1528115"/>
              <a:gd name="connsiteY240" fmla="*/ 346075 h 1704975"/>
              <a:gd name="connsiteX241" fmla="*/ 486450 w 1528115"/>
              <a:gd name="connsiteY241" fmla="*/ 333375 h 1704975"/>
              <a:gd name="connsiteX242" fmla="*/ 492800 w 1528115"/>
              <a:gd name="connsiteY242" fmla="*/ 314325 h 1704975"/>
              <a:gd name="connsiteX243" fmla="*/ 489625 w 1528115"/>
              <a:gd name="connsiteY243" fmla="*/ 292100 h 1704975"/>
              <a:gd name="connsiteX244" fmla="*/ 461050 w 1528115"/>
              <a:gd name="connsiteY244" fmla="*/ 266700 h 1704975"/>
              <a:gd name="connsiteX245" fmla="*/ 435650 w 1528115"/>
              <a:gd name="connsiteY245" fmla="*/ 254000 h 1704975"/>
              <a:gd name="connsiteX246" fmla="*/ 413425 w 1528115"/>
              <a:gd name="connsiteY246" fmla="*/ 238125 h 1704975"/>
              <a:gd name="connsiteX247" fmla="*/ 403900 w 1528115"/>
              <a:gd name="connsiteY247" fmla="*/ 231775 h 1704975"/>
              <a:gd name="connsiteX248" fmla="*/ 388025 w 1528115"/>
              <a:gd name="connsiteY248" fmla="*/ 212725 h 1704975"/>
              <a:gd name="connsiteX249" fmla="*/ 372150 w 1528115"/>
              <a:gd name="connsiteY249" fmla="*/ 196850 h 1704975"/>
              <a:gd name="connsiteX250" fmla="*/ 365800 w 1528115"/>
              <a:gd name="connsiteY250" fmla="*/ 177800 h 1704975"/>
              <a:gd name="connsiteX251" fmla="*/ 359450 w 1528115"/>
              <a:gd name="connsiteY251" fmla="*/ 149225 h 1704975"/>
              <a:gd name="connsiteX252" fmla="*/ 362625 w 1528115"/>
              <a:gd name="connsiteY252" fmla="*/ 114300 h 1704975"/>
              <a:gd name="connsiteX253" fmla="*/ 368975 w 1528115"/>
              <a:gd name="connsiteY253" fmla="*/ 104775 h 1704975"/>
              <a:gd name="connsiteX254" fmla="*/ 375325 w 1528115"/>
              <a:gd name="connsiteY254" fmla="*/ 38100 h 1704975"/>
              <a:gd name="connsiteX0" fmla="*/ 375325 w 1528115"/>
              <a:gd name="connsiteY0" fmla="*/ 38100 h 1704975"/>
              <a:gd name="connsiteX1" fmla="*/ 410250 w 1528115"/>
              <a:gd name="connsiteY1" fmla="*/ 28575 h 1704975"/>
              <a:gd name="connsiteX2" fmla="*/ 419775 w 1528115"/>
              <a:gd name="connsiteY2" fmla="*/ 31750 h 1704975"/>
              <a:gd name="connsiteX3" fmla="*/ 464225 w 1528115"/>
              <a:gd name="connsiteY3" fmla="*/ 28575 h 1704975"/>
              <a:gd name="connsiteX4" fmla="*/ 483275 w 1528115"/>
              <a:gd name="connsiteY4" fmla="*/ 15875 h 1704975"/>
              <a:gd name="connsiteX5" fmla="*/ 502325 w 1528115"/>
              <a:gd name="connsiteY5" fmla="*/ 9525 h 1704975"/>
              <a:gd name="connsiteX6" fmla="*/ 502325 w 1528115"/>
              <a:gd name="connsiteY6" fmla="*/ 9525 h 1704975"/>
              <a:gd name="connsiteX7" fmla="*/ 518200 w 1528115"/>
              <a:gd name="connsiteY7" fmla="*/ 6350 h 1704975"/>
              <a:gd name="connsiteX8" fmla="*/ 537250 w 1528115"/>
              <a:gd name="connsiteY8" fmla="*/ 0 h 1704975"/>
              <a:gd name="connsiteX9" fmla="*/ 549950 w 1528115"/>
              <a:gd name="connsiteY9" fmla="*/ 19050 h 1704975"/>
              <a:gd name="connsiteX10" fmla="*/ 581700 w 1528115"/>
              <a:gd name="connsiteY10" fmla="*/ 28575 h 1704975"/>
              <a:gd name="connsiteX11" fmla="*/ 597575 w 1528115"/>
              <a:gd name="connsiteY11" fmla="*/ 31750 h 1704975"/>
              <a:gd name="connsiteX12" fmla="*/ 616625 w 1528115"/>
              <a:gd name="connsiteY12" fmla="*/ 38100 h 1704975"/>
              <a:gd name="connsiteX13" fmla="*/ 657900 w 1528115"/>
              <a:gd name="connsiteY13" fmla="*/ 50800 h 1704975"/>
              <a:gd name="connsiteX14" fmla="*/ 667425 w 1528115"/>
              <a:gd name="connsiteY14" fmla="*/ 69850 h 1704975"/>
              <a:gd name="connsiteX15" fmla="*/ 670600 w 1528115"/>
              <a:gd name="connsiteY15" fmla="*/ 104775 h 1704975"/>
              <a:gd name="connsiteX16" fmla="*/ 673775 w 1528115"/>
              <a:gd name="connsiteY16" fmla="*/ 114300 h 1704975"/>
              <a:gd name="connsiteX17" fmla="*/ 683300 w 1528115"/>
              <a:gd name="connsiteY17" fmla="*/ 120650 h 1704975"/>
              <a:gd name="connsiteX18" fmla="*/ 696000 w 1528115"/>
              <a:gd name="connsiteY18" fmla="*/ 139700 h 1704975"/>
              <a:gd name="connsiteX19" fmla="*/ 708700 w 1528115"/>
              <a:gd name="connsiteY19" fmla="*/ 168275 h 1704975"/>
              <a:gd name="connsiteX20" fmla="*/ 718225 w 1528115"/>
              <a:gd name="connsiteY20" fmla="*/ 174625 h 1704975"/>
              <a:gd name="connsiteX21" fmla="*/ 721400 w 1528115"/>
              <a:gd name="connsiteY21" fmla="*/ 184150 h 1704975"/>
              <a:gd name="connsiteX22" fmla="*/ 740450 w 1528115"/>
              <a:gd name="connsiteY22" fmla="*/ 196850 h 1704975"/>
              <a:gd name="connsiteX23" fmla="*/ 753150 w 1528115"/>
              <a:gd name="connsiteY23" fmla="*/ 215900 h 1704975"/>
              <a:gd name="connsiteX24" fmla="*/ 772200 w 1528115"/>
              <a:gd name="connsiteY24" fmla="*/ 231775 h 1704975"/>
              <a:gd name="connsiteX25" fmla="*/ 791250 w 1528115"/>
              <a:gd name="connsiteY25" fmla="*/ 244475 h 1704975"/>
              <a:gd name="connsiteX26" fmla="*/ 800775 w 1528115"/>
              <a:gd name="connsiteY26" fmla="*/ 250825 h 1704975"/>
              <a:gd name="connsiteX27" fmla="*/ 819825 w 1528115"/>
              <a:gd name="connsiteY27" fmla="*/ 257175 h 1704975"/>
              <a:gd name="connsiteX28" fmla="*/ 838875 w 1528115"/>
              <a:gd name="connsiteY28" fmla="*/ 266700 h 1704975"/>
              <a:gd name="connsiteX29" fmla="*/ 857925 w 1528115"/>
              <a:gd name="connsiteY29" fmla="*/ 276225 h 1704975"/>
              <a:gd name="connsiteX30" fmla="*/ 880150 w 1528115"/>
              <a:gd name="connsiteY30" fmla="*/ 269875 h 1704975"/>
              <a:gd name="connsiteX31" fmla="*/ 889675 w 1528115"/>
              <a:gd name="connsiteY31" fmla="*/ 263525 h 1704975"/>
              <a:gd name="connsiteX32" fmla="*/ 921425 w 1528115"/>
              <a:gd name="connsiteY32" fmla="*/ 254000 h 1704975"/>
              <a:gd name="connsiteX33" fmla="*/ 930950 w 1528115"/>
              <a:gd name="connsiteY33" fmla="*/ 250825 h 1704975"/>
              <a:gd name="connsiteX34" fmla="*/ 950000 w 1528115"/>
              <a:gd name="connsiteY34" fmla="*/ 254000 h 1704975"/>
              <a:gd name="connsiteX35" fmla="*/ 953175 w 1528115"/>
              <a:gd name="connsiteY35" fmla="*/ 263525 h 1704975"/>
              <a:gd name="connsiteX36" fmla="*/ 943650 w 1528115"/>
              <a:gd name="connsiteY36" fmla="*/ 317500 h 1704975"/>
              <a:gd name="connsiteX37" fmla="*/ 946825 w 1528115"/>
              <a:gd name="connsiteY37" fmla="*/ 330200 h 1704975"/>
              <a:gd name="connsiteX38" fmla="*/ 965875 w 1528115"/>
              <a:gd name="connsiteY38" fmla="*/ 339725 h 1704975"/>
              <a:gd name="connsiteX39" fmla="*/ 981750 w 1528115"/>
              <a:gd name="connsiteY39" fmla="*/ 336550 h 1704975"/>
              <a:gd name="connsiteX40" fmla="*/ 991275 w 1528115"/>
              <a:gd name="connsiteY40" fmla="*/ 330200 h 1704975"/>
              <a:gd name="connsiteX41" fmla="*/ 1000800 w 1528115"/>
              <a:gd name="connsiteY41" fmla="*/ 327025 h 1704975"/>
              <a:gd name="connsiteX42" fmla="*/ 1010325 w 1528115"/>
              <a:gd name="connsiteY42" fmla="*/ 320675 h 1704975"/>
              <a:gd name="connsiteX43" fmla="*/ 1029375 w 1528115"/>
              <a:gd name="connsiteY43" fmla="*/ 311150 h 1704975"/>
              <a:gd name="connsiteX44" fmla="*/ 1032550 w 1528115"/>
              <a:gd name="connsiteY44" fmla="*/ 301625 h 1704975"/>
              <a:gd name="connsiteX45" fmla="*/ 1026200 w 1528115"/>
              <a:gd name="connsiteY45" fmla="*/ 292100 h 1704975"/>
              <a:gd name="connsiteX46" fmla="*/ 1038900 w 1528115"/>
              <a:gd name="connsiteY46" fmla="*/ 279400 h 1704975"/>
              <a:gd name="connsiteX47" fmla="*/ 1083350 w 1528115"/>
              <a:gd name="connsiteY47" fmla="*/ 282575 h 1704975"/>
              <a:gd name="connsiteX48" fmla="*/ 1096050 w 1528115"/>
              <a:gd name="connsiteY48" fmla="*/ 307975 h 1704975"/>
              <a:gd name="connsiteX49" fmla="*/ 1105575 w 1528115"/>
              <a:gd name="connsiteY49" fmla="*/ 314325 h 1704975"/>
              <a:gd name="connsiteX50" fmla="*/ 1111925 w 1528115"/>
              <a:gd name="connsiteY50" fmla="*/ 327025 h 1704975"/>
              <a:gd name="connsiteX51" fmla="*/ 1134150 w 1528115"/>
              <a:gd name="connsiteY51" fmla="*/ 453979 h 1704975"/>
              <a:gd name="connsiteX52" fmla="*/ 1165900 w 1528115"/>
              <a:gd name="connsiteY52" fmla="*/ 454025 h 1704975"/>
              <a:gd name="connsiteX53" fmla="*/ 1207175 w 1528115"/>
              <a:gd name="connsiteY53" fmla="*/ 457200 h 1704975"/>
              <a:gd name="connsiteX54" fmla="*/ 1216700 w 1528115"/>
              <a:gd name="connsiteY54" fmla="*/ 463550 h 1704975"/>
              <a:gd name="connsiteX55" fmla="*/ 1270675 w 1528115"/>
              <a:gd name="connsiteY55" fmla="*/ 469900 h 1704975"/>
              <a:gd name="connsiteX56" fmla="*/ 1277025 w 1528115"/>
              <a:gd name="connsiteY56" fmla="*/ 479425 h 1704975"/>
              <a:gd name="connsiteX57" fmla="*/ 1273850 w 1528115"/>
              <a:gd name="connsiteY57" fmla="*/ 488950 h 1704975"/>
              <a:gd name="connsiteX58" fmla="*/ 1270675 w 1528115"/>
              <a:gd name="connsiteY58" fmla="*/ 511175 h 1704975"/>
              <a:gd name="connsiteX59" fmla="*/ 1264325 w 1528115"/>
              <a:gd name="connsiteY59" fmla="*/ 530225 h 1704975"/>
              <a:gd name="connsiteX60" fmla="*/ 1261150 w 1528115"/>
              <a:gd name="connsiteY60" fmla="*/ 539750 h 1704975"/>
              <a:gd name="connsiteX61" fmla="*/ 1254800 w 1528115"/>
              <a:gd name="connsiteY61" fmla="*/ 571500 h 1704975"/>
              <a:gd name="connsiteX62" fmla="*/ 1254800 w 1528115"/>
              <a:gd name="connsiteY62" fmla="*/ 692150 h 1704975"/>
              <a:gd name="connsiteX63" fmla="*/ 1257975 w 1528115"/>
              <a:gd name="connsiteY63" fmla="*/ 714375 h 1704975"/>
              <a:gd name="connsiteX64" fmla="*/ 1261150 w 1528115"/>
              <a:gd name="connsiteY64" fmla="*/ 723900 h 1704975"/>
              <a:gd name="connsiteX65" fmla="*/ 1273850 w 1528115"/>
              <a:gd name="connsiteY65" fmla="*/ 727075 h 1704975"/>
              <a:gd name="connsiteX66" fmla="*/ 1292900 w 1528115"/>
              <a:gd name="connsiteY66" fmla="*/ 739775 h 1704975"/>
              <a:gd name="connsiteX67" fmla="*/ 1289725 w 1528115"/>
              <a:gd name="connsiteY67" fmla="*/ 784225 h 1704975"/>
              <a:gd name="connsiteX68" fmla="*/ 1273850 w 1528115"/>
              <a:gd name="connsiteY68" fmla="*/ 800100 h 1704975"/>
              <a:gd name="connsiteX69" fmla="*/ 1264325 w 1528115"/>
              <a:gd name="connsiteY69" fmla="*/ 809625 h 1704975"/>
              <a:gd name="connsiteX70" fmla="*/ 1219875 w 1528115"/>
              <a:gd name="connsiteY70" fmla="*/ 819150 h 1704975"/>
              <a:gd name="connsiteX71" fmla="*/ 1200825 w 1528115"/>
              <a:gd name="connsiteY71" fmla="*/ 825500 h 1704975"/>
              <a:gd name="connsiteX72" fmla="*/ 1181775 w 1528115"/>
              <a:gd name="connsiteY72" fmla="*/ 838200 h 1704975"/>
              <a:gd name="connsiteX73" fmla="*/ 1172250 w 1528115"/>
              <a:gd name="connsiteY73" fmla="*/ 844550 h 1704975"/>
              <a:gd name="connsiteX74" fmla="*/ 1153200 w 1528115"/>
              <a:gd name="connsiteY74" fmla="*/ 850900 h 1704975"/>
              <a:gd name="connsiteX75" fmla="*/ 1140500 w 1528115"/>
              <a:gd name="connsiteY75" fmla="*/ 857250 h 1704975"/>
              <a:gd name="connsiteX76" fmla="*/ 1130975 w 1528115"/>
              <a:gd name="connsiteY76" fmla="*/ 863600 h 1704975"/>
              <a:gd name="connsiteX77" fmla="*/ 1105575 w 1528115"/>
              <a:gd name="connsiteY77" fmla="*/ 866775 h 1704975"/>
              <a:gd name="connsiteX78" fmla="*/ 1086525 w 1528115"/>
              <a:gd name="connsiteY78" fmla="*/ 873125 h 1704975"/>
              <a:gd name="connsiteX79" fmla="*/ 1077000 w 1528115"/>
              <a:gd name="connsiteY79" fmla="*/ 879475 h 1704975"/>
              <a:gd name="connsiteX80" fmla="*/ 1057950 w 1528115"/>
              <a:gd name="connsiteY80" fmla="*/ 885825 h 1704975"/>
              <a:gd name="connsiteX81" fmla="*/ 1048425 w 1528115"/>
              <a:gd name="connsiteY81" fmla="*/ 889000 h 1704975"/>
              <a:gd name="connsiteX82" fmla="*/ 1029375 w 1528115"/>
              <a:gd name="connsiteY82" fmla="*/ 908050 h 1704975"/>
              <a:gd name="connsiteX83" fmla="*/ 1010325 w 1528115"/>
              <a:gd name="connsiteY83" fmla="*/ 914400 h 1704975"/>
              <a:gd name="connsiteX84" fmla="*/ 1003975 w 1528115"/>
              <a:gd name="connsiteY84" fmla="*/ 923925 h 1704975"/>
              <a:gd name="connsiteX85" fmla="*/ 994450 w 1528115"/>
              <a:gd name="connsiteY85" fmla="*/ 933450 h 1704975"/>
              <a:gd name="connsiteX86" fmla="*/ 991275 w 1528115"/>
              <a:gd name="connsiteY86" fmla="*/ 942975 h 1704975"/>
              <a:gd name="connsiteX87" fmla="*/ 988100 w 1528115"/>
              <a:gd name="connsiteY87" fmla="*/ 962025 h 1704975"/>
              <a:gd name="connsiteX88" fmla="*/ 969050 w 1528115"/>
              <a:gd name="connsiteY88" fmla="*/ 968375 h 1704975"/>
              <a:gd name="connsiteX89" fmla="*/ 950000 w 1528115"/>
              <a:gd name="connsiteY89" fmla="*/ 981075 h 1704975"/>
              <a:gd name="connsiteX90" fmla="*/ 940475 w 1528115"/>
              <a:gd name="connsiteY90" fmla="*/ 987425 h 1704975"/>
              <a:gd name="connsiteX91" fmla="*/ 930950 w 1528115"/>
              <a:gd name="connsiteY91" fmla="*/ 1006475 h 1704975"/>
              <a:gd name="connsiteX92" fmla="*/ 924600 w 1528115"/>
              <a:gd name="connsiteY92" fmla="*/ 1016000 h 1704975"/>
              <a:gd name="connsiteX93" fmla="*/ 921425 w 1528115"/>
              <a:gd name="connsiteY93" fmla="*/ 1025525 h 1704975"/>
              <a:gd name="connsiteX94" fmla="*/ 905550 w 1528115"/>
              <a:gd name="connsiteY94" fmla="*/ 1044575 h 1704975"/>
              <a:gd name="connsiteX95" fmla="*/ 896025 w 1528115"/>
              <a:gd name="connsiteY95" fmla="*/ 1063625 h 1704975"/>
              <a:gd name="connsiteX96" fmla="*/ 867450 w 1528115"/>
              <a:gd name="connsiteY96" fmla="*/ 1085850 h 1704975"/>
              <a:gd name="connsiteX97" fmla="*/ 848400 w 1528115"/>
              <a:gd name="connsiteY97" fmla="*/ 1095375 h 1704975"/>
              <a:gd name="connsiteX98" fmla="*/ 813475 w 1528115"/>
              <a:gd name="connsiteY98" fmla="*/ 1092200 h 1704975"/>
              <a:gd name="connsiteX99" fmla="*/ 772200 w 1528115"/>
              <a:gd name="connsiteY99" fmla="*/ 1098550 h 1704975"/>
              <a:gd name="connsiteX100" fmla="*/ 759500 w 1528115"/>
              <a:gd name="connsiteY100" fmla="*/ 1127125 h 1704975"/>
              <a:gd name="connsiteX101" fmla="*/ 756325 w 1528115"/>
              <a:gd name="connsiteY101" fmla="*/ 1136650 h 1704975"/>
              <a:gd name="connsiteX102" fmla="*/ 740450 w 1528115"/>
              <a:gd name="connsiteY102" fmla="*/ 1155700 h 1704975"/>
              <a:gd name="connsiteX103" fmla="*/ 718225 w 1528115"/>
              <a:gd name="connsiteY103" fmla="*/ 1181100 h 1704975"/>
              <a:gd name="connsiteX104" fmla="*/ 721400 w 1528115"/>
              <a:gd name="connsiteY104" fmla="*/ 1238250 h 1704975"/>
              <a:gd name="connsiteX105" fmla="*/ 727750 w 1528115"/>
              <a:gd name="connsiteY105" fmla="*/ 1247775 h 1704975"/>
              <a:gd name="connsiteX106" fmla="*/ 730925 w 1528115"/>
              <a:gd name="connsiteY106" fmla="*/ 1257300 h 1704975"/>
              <a:gd name="connsiteX107" fmla="*/ 740450 w 1528115"/>
              <a:gd name="connsiteY107" fmla="*/ 1276350 h 1704975"/>
              <a:gd name="connsiteX108" fmla="*/ 743625 w 1528115"/>
              <a:gd name="connsiteY108" fmla="*/ 1320800 h 1704975"/>
              <a:gd name="connsiteX109" fmla="*/ 746800 w 1528115"/>
              <a:gd name="connsiteY109" fmla="*/ 1330325 h 1704975"/>
              <a:gd name="connsiteX110" fmla="*/ 756325 w 1528115"/>
              <a:gd name="connsiteY110" fmla="*/ 1336675 h 1704975"/>
              <a:gd name="connsiteX111" fmla="*/ 762675 w 1528115"/>
              <a:gd name="connsiteY111" fmla="*/ 1346200 h 1704975"/>
              <a:gd name="connsiteX112" fmla="*/ 769025 w 1528115"/>
              <a:gd name="connsiteY112" fmla="*/ 1393825 h 1704975"/>
              <a:gd name="connsiteX113" fmla="*/ 775375 w 1528115"/>
              <a:gd name="connsiteY113" fmla="*/ 1412875 h 1704975"/>
              <a:gd name="connsiteX114" fmla="*/ 781725 w 1528115"/>
              <a:gd name="connsiteY114" fmla="*/ 1435100 h 1704975"/>
              <a:gd name="connsiteX115" fmla="*/ 772200 w 1528115"/>
              <a:gd name="connsiteY115" fmla="*/ 1460500 h 1704975"/>
              <a:gd name="connsiteX116" fmla="*/ 762675 w 1528115"/>
              <a:gd name="connsiteY116" fmla="*/ 1466850 h 1704975"/>
              <a:gd name="connsiteX117" fmla="*/ 753150 w 1528115"/>
              <a:gd name="connsiteY117" fmla="*/ 1485900 h 1704975"/>
              <a:gd name="connsiteX118" fmla="*/ 749975 w 1528115"/>
              <a:gd name="connsiteY118" fmla="*/ 1514475 h 1704975"/>
              <a:gd name="connsiteX119" fmla="*/ 740450 w 1528115"/>
              <a:gd name="connsiteY119" fmla="*/ 1520825 h 1704975"/>
              <a:gd name="connsiteX120" fmla="*/ 730925 w 1528115"/>
              <a:gd name="connsiteY120" fmla="*/ 1530350 h 1704975"/>
              <a:gd name="connsiteX121" fmla="*/ 718225 w 1528115"/>
              <a:gd name="connsiteY121" fmla="*/ 1549400 h 1704975"/>
              <a:gd name="connsiteX122" fmla="*/ 711875 w 1528115"/>
              <a:gd name="connsiteY122" fmla="*/ 1558925 h 1704975"/>
              <a:gd name="connsiteX123" fmla="*/ 702350 w 1528115"/>
              <a:gd name="connsiteY123" fmla="*/ 1568450 h 1704975"/>
              <a:gd name="connsiteX124" fmla="*/ 699175 w 1528115"/>
              <a:gd name="connsiteY124" fmla="*/ 1577975 h 1704975"/>
              <a:gd name="connsiteX125" fmla="*/ 686475 w 1528115"/>
              <a:gd name="connsiteY125" fmla="*/ 1597025 h 1704975"/>
              <a:gd name="connsiteX126" fmla="*/ 676950 w 1528115"/>
              <a:gd name="connsiteY126" fmla="*/ 1616075 h 1704975"/>
              <a:gd name="connsiteX127" fmla="*/ 667425 w 1528115"/>
              <a:gd name="connsiteY127" fmla="*/ 1619250 h 1704975"/>
              <a:gd name="connsiteX128" fmla="*/ 648375 w 1528115"/>
              <a:gd name="connsiteY128" fmla="*/ 1631950 h 1704975"/>
              <a:gd name="connsiteX129" fmla="*/ 638850 w 1528115"/>
              <a:gd name="connsiteY129" fmla="*/ 1638300 h 1704975"/>
              <a:gd name="connsiteX130" fmla="*/ 607100 w 1528115"/>
              <a:gd name="connsiteY130" fmla="*/ 1676400 h 1704975"/>
              <a:gd name="connsiteX131" fmla="*/ 556300 w 1528115"/>
              <a:gd name="connsiteY131" fmla="*/ 1679575 h 1704975"/>
              <a:gd name="connsiteX132" fmla="*/ 537250 w 1528115"/>
              <a:gd name="connsiteY132" fmla="*/ 1685925 h 1704975"/>
              <a:gd name="connsiteX133" fmla="*/ 515025 w 1528115"/>
              <a:gd name="connsiteY133" fmla="*/ 1698625 h 1704975"/>
              <a:gd name="connsiteX134" fmla="*/ 495975 w 1528115"/>
              <a:gd name="connsiteY134" fmla="*/ 1704975 h 1704975"/>
              <a:gd name="connsiteX135" fmla="*/ 476925 w 1528115"/>
              <a:gd name="connsiteY135" fmla="*/ 1701800 h 1704975"/>
              <a:gd name="connsiteX136" fmla="*/ 470575 w 1528115"/>
              <a:gd name="connsiteY136" fmla="*/ 1692275 h 1704975"/>
              <a:gd name="connsiteX137" fmla="*/ 467400 w 1528115"/>
              <a:gd name="connsiteY137" fmla="*/ 1660525 h 1704975"/>
              <a:gd name="connsiteX138" fmla="*/ 457875 w 1528115"/>
              <a:gd name="connsiteY138" fmla="*/ 1641475 h 1704975"/>
              <a:gd name="connsiteX139" fmla="*/ 448350 w 1528115"/>
              <a:gd name="connsiteY139" fmla="*/ 1635125 h 1704975"/>
              <a:gd name="connsiteX140" fmla="*/ 445175 w 1528115"/>
              <a:gd name="connsiteY140" fmla="*/ 1625600 h 1704975"/>
              <a:gd name="connsiteX141" fmla="*/ 435650 w 1528115"/>
              <a:gd name="connsiteY141" fmla="*/ 1606550 h 1704975"/>
              <a:gd name="connsiteX142" fmla="*/ 432475 w 1528115"/>
              <a:gd name="connsiteY142" fmla="*/ 1495425 h 1704975"/>
              <a:gd name="connsiteX143" fmla="*/ 429300 w 1528115"/>
              <a:gd name="connsiteY143" fmla="*/ 1485900 h 1704975"/>
              <a:gd name="connsiteX144" fmla="*/ 426125 w 1528115"/>
              <a:gd name="connsiteY144" fmla="*/ 1473200 h 1704975"/>
              <a:gd name="connsiteX145" fmla="*/ 419775 w 1528115"/>
              <a:gd name="connsiteY145" fmla="*/ 1463675 h 1704975"/>
              <a:gd name="connsiteX146" fmla="*/ 416600 w 1528115"/>
              <a:gd name="connsiteY146" fmla="*/ 1454150 h 1704975"/>
              <a:gd name="connsiteX147" fmla="*/ 403900 w 1528115"/>
              <a:gd name="connsiteY147" fmla="*/ 1435100 h 1704975"/>
              <a:gd name="connsiteX148" fmla="*/ 397550 w 1528115"/>
              <a:gd name="connsiteY148" fmla="*/ 1416050 h 1704975"/>
              <a:gd name="connsiteX149" fmla="*/ 394375 w 1528115"/>
              <a:gd name="connsiteY149" fmla="*/ 1381125 h 1704975"/>
              <a:gd name="connsiteX150" fmla="*/ 391200 w 1528115"/>
              <a:gd name="connsiteY150" fmla="*/ 1368425 h 1704975"/>
              <a:gd name="connsiteX151" fmla="*/ 388025 w 1528115"/>
              <a:gd name="connsiteY151" fmla="*/ 1352550 h 1704975"/>
              <a:gd name="connsiteX152" fmla="*/ 381675 w 1528115"/>
              <a:gd name="connsiteY152" fmla="*/ 1333500 h 1704975"/>
              <a:gd name="connsiteX153" fmla="*/ 378500 w 1528115"/>
              <a:gd name="connsiteY153" fmla="*/ 1323975 h 1704975"/>
              <a:gd name="connsiteX154" fmla="*/ 375325 w 1528115"/>
              <a:gd name="connsiteY154" fmla="*/ 1308100 h 1704975"/>
              <a:gd name="connsiteX155" fmla="*/ 368975 w 1528115"/>
              <a:gd name="connsiteY155" fmla="*/ 1289050 h 1704975"/>
              <a:gd name="connsiteX156" fmla="*/ 362625 w 1528115"/>
              <a:gd name="connsiteY156" fmla="*/ 1260475 h 1704975"/>
              <a:gd name="connsiteX157" fmla="*/ 359450 w 1528115"/>
              <a:gd name="connsiteY157" fmla="*/ 1231900 h 1704975"/>
              <a:gd name="connsiteX158" fmla="*/ 349925 w 1528115"/>
              <a:gd name="connsiteY158" fmla="*/ 1196975 h 1704975"/>
              <a:gd name="connsiteX159" fmla="*/ 340400 w 1528115"/>
              <a:gd name="connsiteY159" fmla="*/ 1155700 h 1704975"/>
              <a:gd name="connsiteX160" fmla="*/ 334050 w 1528115"/>
              <a:gd name="connsiteY160" fmla="*/ 1130300 h 1704975"/>
              <a:gd name="connsiteX161" fmla="*/ 327700 w 1528115"/>
              <a:gd name="connsiteY161" fmla="*/ 1104900 h 1704975"/>
              <a:gd name="connsiteX162" fmla="*/ 324525 w 1528115"/>
              <a:gd name="connsiteY162" fmla="*/ 1092200 h 1704975"/>
              <a:gd name="connsiteX163" fmla="*/ 318175 w 1528115"/>
              <a:gd name="connsiteY163" fmla="*/ 1050925 h 1704975"/>
              <a:gd name="connsiteX164" fmla="*/ 315000 w 1528115"/>
              <a:gd name="connsiteY164" fmla="*/ 1031875 h 1704975"/>
              <a:gd name="connsiteX165" fmla="*/ 311825 w 1528115"/>
              <a:gd name="connsiteY165" fmla="*/ 1022350 h 1704975"/>
              <a:gd name="connsiteX166" fmla="*/ 308650 w 1528115"/>
              <a:gd name="connsiteY166" fmla="*/ 1006475 h 1704975"/>
              <a:gd name="connsiteX167" fmla="*/ 302300 w 1528115"/>
              <a:gd name="connsiteY167" fmla="*/ 987425 h 1704975"/>
              <a:gd name="connsiteX168" fmla="*/ 299125 w 1528115"/>
              <a:gd name="connsiteY168" fmla="*/ 974725 h 1704975"/>
              <a:gd name="connsiteX169" fmla="*/ 292775 w 1528115"/>
              <a:gd name="connsiteY169" fmla="*/ 955675 h 1704975"/>
              <a:gd name="connsiteX170" fmla="*/ 289600 w 1528115"/>
              <a:gd name="connsiteY170" fmla="*/ 946150 h 1704975"/>
              <a:gd name="connsiteX171" fmla="*/ 280075 w 1528115"/>
              <a:gd name="connsiteY171" fmla="*/ 923925 h 1704975"/>
              <a:gd name="connsiteX172" fmla="*/ 261025 w 1528115"/>
              <a:gd name="connsiteY172" fmla="*/ 908050 h 1704975"/>
              <a:gd name="connsiteX173" fmla="*/ 241975 w 1528115"/>
              <a:gd name="connsiteY173" fmla="*/ 901700 h 1704975"/>
              <a:gd name="connsiteX174" fmla="*/ 222925 w 1528115"/>
              <a:gd name="connsiteY174" fmla="*/ 889000 h 1704975"/>
              <a:gd name="connsiteX175" fmla="*/ 213400 w 1528115"/>
              <a:gd name="connsiteY175" fmla="*/ 885825 h 1704975"/>
              <a:gd name="connsiteX176" fmla="*/ 194350 w 1528115"/>
              <a:gd name="connsiteY176" fmla="*/ 873125 h 1704975"/>
              <a:gd name="connsiteX177" fmla="*/ 175300 w 1528115"/>
              <a:gd name="connsiteY177" fmla="*/ 860425 h 1704975"/>
              <a:gd name="connsiteX178" fmla="*/ 162600 w 1528115"/>
              <a:gd name="connsiteY178" fmla="*/ 850900 h 1704975"/>
              <a:gd name="connsiteX179" fmla="*/ 153075 w 1528115"/>
              <a:gd name="connsiteY179" fmla="*/ 847725 h 1704975"/>
              <a:gd name="connsiteX180" fmla="*/ 134025 w 1528115"/>
              <a:gd name="connsiteY180" fmla="*/ 835025 h 1704975"/>
              <a:gd name="connsiteX181" fmla="*/ 114975 w 1528115"/>
              <a:gd name="connsiteY181" fmla="*/ 822325 h 1704975"/>
              <a:gd name="connsiteX182" fmla="*/ 105450 w 1528115"/>
              <a:gd name="connsiteY182" fmla="*/ 815975 h 1704975"/>
              <a:gd name="connsiteX183" fmla="*/ 95925 w 1528115"/>
              <a:gd name="connsiteY183" fmla="*/ 812800 h 1704975"/>
              <a:gd name="connsiteX184" fmla="*/ 64175 w 1528115"/>
              <a:gd name="connsiteY184" fmla="*/ 790575 h 1704975"/>
              <a:gd name="connsiteX185" fmla="*/ 54650 w 1528115"/>
              <a:gd name="connsiteY185" fmla="*/ 787400 h 1704975"/>
              <a:gd name="connsiteX186" fmla="*/ 38775 w 1528115"/>
              <a:gd name="connsiteY186" fmla="*/ 771525 h 1704975"/>
              <a:gd name="connsiteX187" fmla="*/ 29250 w 1528115"/>
              <a:gd name="connsiteY187" fmla="*/ 762000 h 1704975"/>
              <a:gd name="connsiteX188" fmla="*/ 19725 w 1528115"/>
              <a:gd name="connsiteY188" fmla="*/ 758825 h 1704975"/>
              <a:gd name="connsiteX189" fmla="*/ 675 w 1528115"/>
              <a:gd name="connsiteY189" fmla="*/ 746125 h 1704975"/>
              <a:gd name="connsiteX190" fmla="*/ 51475 w 1528115"/>
              <a:gd name="connsiteY190" fmla="*/ 739775 h 1704975"/>
              <a:gd name="connsiteX191" fmla="*/ 67350 w 1528115"/>
              <a:gd name="connsiteY191" fmla="*/ 736600 h 1704975"/>
              <a:gd name="connsiteX192" fmla="*/ 102275 w 1528115"/>
              <a:gd name="connsiteY192" fmla="*/ 733425 h 1704975"/>
              <a:gd name="connsiteX193" fmla="*/ 130850 w 1528115"/>
              <a:gd name="connsiteY193" fmla="*/ 727075 h 1704975"/>
              <a:gd name="connsiteX194" fmla="*/ 149900 w 1528115"/>
              <a:gd name="connsiteY194" fmla="*/ 723900 h 1704975"/>
              <a:gd name="connsiteX195" fmla="*/ 159425 w 1528115"/>
              <a:gd name="connsiteY195" fmla="*/ 720725 h 1704975"/>
              <a:gd name="connsiteX196" fmla="*/ 175300 w 1528115"/>
              <a:gd name="connsiteY196" fmla="*/ 717550 h 1704975"/>
              <a:gd name="connsiteX197" fmla="*/ 194350 w 1528115"/>
              <a:gd name="connsiteY197" fmla="*/ 711200 h 1704975"/>
              <a:gd name="connsiteX198" fmla="*/ 222925 w 1528115"/>
              <a:gd name="connsiteY198" fmla="*/ 701675 h 1704975"/>
              <a:gd name="connsiteX199" fmla="*/ 232450 w 1528115"/>
              <a:gd name="connsiteY199" fmla="*/ 698500 h 1704975"/>
              <a:gd name="connsiteX200" fmla="*/ 241975 w 1528115"/>
              <a:gd name="connsiteY200" fmla="*/ 695325 h 1704975"/>
              <a:gd name="connsiteX201" fmla="*/ 381675 w 1528115"/>
              <a:gd name="connsiteY201" fmla="*/ 688975 h 1704975"/>
              <a:gd name="connsiteX202" fmla="*/ 397550 w 1528115"/>
              <a:gd name="connsiteY202" fmla="*/ 685800 h 1704975"/>
              <a:gd name="connsiteX203" fmla="*/ 407075 w 1528115"/>
              <a:gd name="connsiteY203" fmla="*/ 682625 h 1704975"/>
              <a:gd name="connsiteX204" fmla="*/ 419775 w 1528115"/>
              <a:gd name="connsiteY204" fmla="*/ 679450 h 1704975"/>
              <a:gd name="connsiteX205" fmla="*/ 438825 w 1528115"/>
              <a:gd name="connsiteY205" fmla="*/ 673100 h 1704975"/>
              <a:gd name="connsiteX206" fmla="*/ 467400 w 1528115"/>
              <a:gd name="connsiteY206" fmla="*/ 663575 h 1704975"/>
              <a:gd name="connsiteX207" fmla="*/ 495975 w 1528115"/>
              <a:gd name="connsiteY207" fmla="*/ 654050 h 1704975"/>
              <a:gd name="connsiteX208" fmla="*/ 505500 w 1528115"/>
              <a:gd name="connsiteY208" fmla="*/ 650875 h 1704975"/>
              <a:gd name="connsiteX209" fmla="*/ 527725 w 1528115"/>
              <a:gd name="connsiteY209" fmla="*/ 641350 h 1704975"/>
              <a:gd name="connsiteX210" fmla="*/ 537250 w 1528115"/>
              <a:gd name="connsiteY210" fmla="*/ 635000 h 1704975"/>
              <a:gd name="connsiteX211" fmla="*/ 546775 w 1528115"/>
              <a:gd name="connsiteY211" fmla="*/ 631825 h 1704975"/>
              <a:gd name="connsiteX212" fmla="*/ 559475 w 1528115"/>
              <a:gd name="connsiteY212" fmla="*/ 625475 h 1704975"/>
              <a:gd name="connsiteX213" fmla="*/ 578525 w 1528115"/>
              <a:gd name="connsiteY213" fmla="*/ 657225 h 1704975"/>
              <a:gd name="connsiteX214" fmla="*/ 588050 w 1528115"/>
              <a:gd name="connsiteY214" fmla="*/ 660400 h 1704975"/>
              <a:gd name="connsiteX215" fmla="*/ 607100 w 1528115"/>
              <a:gd name="connsiteY215" fmla="*/ 673100 h 1704975"/>
              <a:gd name="connsiteX216" fmla="*/ 626150 w 1528115"/>
              <a:gd name="connsiteY216" fmla="*/ 679450 h 1704975"/>
              <a:gd name="connsiteX217" fmla="*/ 635675 w 1528115"/>
              <a:gd name="connsiteY217" fmla="*/ 685800 h 1704975"/>
              <a:gd name="connsiteX218" fmla="*/ 654725 w 1528115"/>
              <a:gd name="connsiteY218" fmla="*/ 692150 h 1704975"/>
              <a:gd name="connsiteX219" fmla="*/ 645200 w 1528115"/>
              <a:gd name="connsiteY219" fmla="*/ 682625 h 1704975"/>
              <a:gd name="connsiteX220" fmla="*/ 635675 w 1528115"/>
              <a:gd name="connsiteY220" fmla="*/ 676275 h 1704975"/>
              <a:gd name="connsiteX221" fmla="*/ 632500 w 1528115"/>
              <a:gd name="connsiteY221" fmla="*/ 666750 h 1704975"/>
              <a:gd name="connsiteX222" fmla="*/ 635675 w 1528115"/>
              <a:gd name="connsiteY222" fmla="*/ 590550 h 1704975"/>
              <a:gd name="connsiteX223" fmla="*/ 642025 w 1528115"/>
              <a:gd name="connsiteY223" fmla="*/ 571500 h 1704975"/>
              <a:gd name="connsiteX224" fmla="*/ 648375 w 1528115"/>
              <a:gd name="connsiteY224" fmla="*/ 561975 h 1704975"/>
              <a:gd name="connsiteX225" fmla="*/ 638850 w 1528115"/>
              <a:gd name="connsiteY225" fmla="*/ 536575 h 1704975"/>
              <a:gd name="connsiteX226" fmla="*/ 629325 w 1528115"/>
              <a:gd name="connsiteY226" fmla="*/ 533400 h 1704975"/>
              <a:gd name="connsiteX227" fmla="*/ 626150 w 1528115"/>
              <a:gd name="connsiteY227" fmla="*/ 523875 h 1704975"/>
              <a:gd name="connsiteX228" fmla="*/ 632500 w 1528115"/>
              <a:gd name="connsiteY228" fmla="*/ 498475 h 1704975"/>
              <a:gd name="connsiteX229" fmla="*/ 635675 w 1528115"/>
              <a:gd name="connsiteY229" fmla="*/ 485775 h 1704975"/>
              <a:gd name="connsiteX230" fmla="*/ 626150 w 1528115"/>
              <a:gd name="connsiteY230" fmla="*/ 463550 h 1704975"/>
              <a:gd name="connsiteX231" fmla="*/ 616625 w 1528115"/>
              <a:gd name="connsiteY231" fmla="*/ 460375 h 1704975"/>
              <a:gd name="connsiteX232" fmla="*/ 607100 w 1528115"/>
              <a:gd name="connsiteY232" fmla="*/ 454025 h 1704975"/>
              <a:gd name="connsiteX233" fmla="*/ 591225 w 1528115"/>
              <a:gd name="connsiteY233" fmla="*/ 450850 h 1704975"/>
              <a:gd name="connsiteX234" fmla="*/ 569000 w 1528115"/>
              <a:gd name="connsiteY234" fmla="*/ 441325 h 1704975"/>
              <a:gd name="connsiteX235" fmla="*/ 546775 w 1528115"/>
              <a:gd name="connsiteY235" fmla="*/ 415925 h 1704975"/>
              <a:gd name="connsiteX236" fmla="*/ 540425 w 1528115"/>
              <a:gd name="connsiteY236" fmla="*/ 406400 h 1704975"/>
              <a:gd name="connsiteX237" fmla="*/ 530900 w 1528115"/>
              <a:gd name="connsiteY237" fmla="*/ 400050 h 1704975"/>
              <a:gd name="connsiteX238" fmla="*/ 508675 w 1528115"/>
              <a:gd name="connsiteY238" fmla="*/ 374650 h 1704975"/>
              <a:gd name="connsiteX239" fmla="*/ 502325 w 1528115"/>
              <a:gd name="connsiteY239" fmla="*/ 365125 h 1704975"/>
              <a:gd name="connsiteX240" fmla="*/ 483275 w 1528115"/>
              <a:gd name="connsiteY240" fmla="*/ 346075 h 1704975"/>
              <a:gd name="connsiteX241" fmla="*/ 486450 w 1528115"/>
              <a:gd name="connsiteY241" fmla="*/ 333375 h 1704975"/>
              <a:gd name="connsiteX242" fmla="*/ 492800 w 1528115"/>
              <a:gd name="connsiteY242" fmla="*/ 314325 h 1704975"/>
              <a:gd name="connsiteX243" fmla="*/ 489625 w 1528115"/>
              <a:gd name="connsiteY243" fmla="*/ 292100 h 1704975"/>
              <a:gd name="connsiteX244" fmla="*/ 461050 w 1528115"/>
              <a:gd name="connsiteY244" fmla="*/ 266700 h 1704975"/>
              <a:gd name="connsiteX245" fmla="*/ 435650 w 1528115"/>
              <a:gd name="connsiteY245" fmla="*/ 254000 h 1704975"/>
              <a:gd name="connsiteX246" fmla="*/ 413425 w 1528115"/>
              <a:gd name="connsiteY246" fmla="*/ 238125 h 1704975"/>
              <a:gd name="connsiteX247" fmla="*/ 403900 w 1528115"/>
              <a:gd name="connsiteY247" fmla="*/ 231775 h 1704975"/>
              <a:gd name="connsiteX248" fmla="*/ 388025 w 1528115"/>
              <a:gd name="connsiteY248" fmla="*/ 212725 h 1704975"/>
              <a:gd name="connsiteX249" fmla="*/ 372150 w 1528115"/>
              <a:gd name="connsiteY249" fmla="*/ 196850 h 1704975"/>
              <a:gd name="connsiteX250" fmla="*/ 365800 w 1528115"/>
              <a:gd name="connsiteY250" fmla="*/ 177800 h 1704975"/>
              <a:gd name="connsiteX251" fmla="*/ 359450 w 1528115"/>
              <a:gd name="connsiteY251" fmla="*/ 149225 h 1704975"/>
              <a:gd name="connsiteX252" fmla="*/ 362625 w 1528115"/>
              <a:gd name="connsiteY252" fmla="*/ 114300 h 1704975"/>
              <a:gd name="connsiteX253" fmla="*/ 368975 w 1528115"/>
              <a:gd name="connsiteY253" fmla="*/ 104775 h 1704975"/>
              <a:gd name="connsiteX254" fmla="*/ 375325 w 1528115"/>
              <a:gd name="connsiteY254"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45175 w 1293444"/>
              <a:gd name="connsiteY140" fmla="*/ 1625600 h 1704975"/>
              <a:gd name="connsiteX141" fmla="*/ 435650 w 1293444"/>
              <a:gd name="connsiteY141" fmla="*/ 1606550 h 1704975"/>
              <a:gd name="connsiteX142" fmla="*/ 432475 w 1293444"/>
              <a:gd name="connsiteY142" fmla="*/ 1495425 h 1704975"/>
              <a:gd name="connsiteX143" fmla="*/ 429300 w 1293444"/>
              <a:gd name="connsiteY143" fmla="*/ 1485900 h 1704975"/>
              <a:gd name="connsiteX144" fmla="*/ 426125 w 1293444"/>
              <a:gd name="connsiteY144" fmla="*/ 1473200 h 1704975"/>
              <a:gd name="connsiteX145" fmla="*/ 419775 w 1293444"/>
              <a:gd name="connsiteY145" fmla="*/ 1463675 h 1704975"/>
              <a:gd name="connsiteX146" fmla="*/ 416600 w 1293444"/>
              <a:gd name="connsiteY146" fmla="*/ 1454150 h 1704975"/>
              <a:gd name="connsiteX147" fmla="*/ 403900 w 1293444"/>
              <a:gd name="connsiteY147" fmla="*/ 1435100 h 1704975"/>
              <a:gd name="connsiteX148" fmla="*/ 397550 w 1293444"/>
              <a:gd name="connsiteY148" fmla="*/ 1416050 h 1704975"/>
              <a:gd name="connsiteX149" fmla="*/ 394375 w 1293444"/>
              <a:gd name="connsiteY149" fmla="*/ 1381125 h 1704975"/>
              <a:gd name="connsiteX150" fmla="*/ 391200 w 1293444"/>
              <a:gd name="connsiteY150" fmla="*/ 1368425 h 1704975"/>
              <a:gd name="connsiteX151" fmla="*/ 388025 w 1293444"/>
              <a:gd name="connsiteY151" fmla="*/ 1352550 h 1704975"/>
              <a:gd name="connsiteX152" fmla="*/ 381675 w 1293444"/>
              <a:gd name="connsiteY152" fmla="*/ 1333500 h 1704975"/>
              <a:gd name="connsiteX153" fmla="*/ 378500 w 1293444"/>
              <a:gd name="connsiteY153" fmla="*/ 1323975 h 1704975"/>
              <a:gd name="connsiteX154" fmla="*/ 375325 w 1293444"/>
              <a:gd name="connsiteY154" fmla="*/ 1308100 h 1704975"/>
              <a:gd name="connsiteX155" fmla="*/ 368975 w 1293444"/>
              <a:gd name="connsiteY155" fmla="*/ 1289050 h 1704975"/>
              <a:gd name="connsiteX156" fmla="*/ 362625 w 1293444"/>
              <a:gd name="connsiteY156" fmla="*/ 1260475 h 1704975"/>
              <a:gd name="connsiteX157" fmla="*/ 359450 w 1293444"/>
              <a:gd name="connsiteY157" fmla="*/ 1231900 h 1704975"/>
              <a:gd name="connsiteX158" fmla="*/ 349925 w 1293444"/>
              <a:gd name="connsiteY158" fmla="*/ 1196975 h 1704975"/>
              <a:gd name="connsiteX159" fmla="*/ 340400 w 1293444"/>
              <a:gd name="connsiteY159" fmla="*/ 1155700 h 1704975"/>
              <a:gd name="connsiteX160" fmla="*/ 334050 w 1293444"/>
              <a:gd name="connsiteY160" fmla="*/ 1130300 h 1704975"/>
              <a:gd name="connsiteX161" fmla="*/ 327700 w 1293444"/>
              <a:gd name="connsiteY161" fmla="*/ 1104900 h 1704975"/>
              <a:gd name="connsiteX162" fmla="*/ 324525 w 1293444"/>
              <a:gd name="connsiteY162" fmla="*/ 1092200 h 1704975"/>
              <a:gd name="connsiteX163" fmla="*/ 318175 w 1293444"/>
              <a:gd name="connsiteY163" fmla="*/ 1050925 h 1704975"/>
              <a:gd name="connsiteX164" fmla="*/ 315000 w 1293444"/>
              <a:gd name="connsiteY164" fmla="*/ 1031875 h 1704975"/>
              <a:gd name="connsiteX165" fmla="*/ 311825 w 1293444"/>
              <a:gd name="connsiteY165" fmla="*/ 1022350 h 1704975"/>
              <a:gd name="connsiteX166" fmla="*/ 308650 w 1293444"/>
              <a:gd name="connsiteY166" fmla="*/ 1006475 h 1704975"/>
              <a:gd name="connsiteX167" fmla="*/ 302300 w 1293444"/>
              <a:gd name="connsiteY167" fmla="*/ 987425 h 1704975"/>
              <a:gd name="connsiteX168" fmla="*/ 299125 w 1293444"/>
              <a:gd name="connsiteY168" fmla="*/ 974725 h 1704975"/>
              <a:gd name="connsiteX169" fmla="*/ 292775 w 1293444"/>
              <a:gd name="connsiteY169" fmla="*/ 955675 h 1704975"/>
              <a:gd name="connsiteX170" fmla="*/ 289600 w 1293444"/>
              <a:gd name="connsiteY170" fmla="*/ 946150 h 1704975"/>
              <a:gd name="connsiteX171" fmla="*/ 280075 w 1293444"/>
              <a:gd name="connsiteY171" fmla="*/ 923925 h 1704975"/>
              <a:gd name="connsiteX172" fmla="*/ 261025 w 1293444"/>
              <a:gd name="connsiteY172" fmla="*/ 908050 h 1704975"/>
              <a:gd name="connsiteX173" fmla="*/ 241975 w 1293444"/>
              <a:gd name="connsiteY173" fmla="*/ 901700 h 1704975"/>
              <a:gd name="connsiteX174" fmla="*/ 222925 w 1293444"/>
              <a:gd name="connsiteY174" fmla="*/ 889000 h 1704975"/>
              <a:gd name="connsiteX175" fmla="*/ 213400 w 1293444"/>
              <a:gd name="connsiteY175" fmla="*/ 885825 h 1704975"/>
              <a:gd name="connsiteX176" fmla="*/ 194350 w 1293444"/>
              <a:gd name="connsiteY176" fmla="*/ 873125 h 1704975"/>
              <a:gd name="connsiteX177" fmla="*/ 175300 w 1293444"/>
              <a:gd name="connsiteY177" fmla="*/ 860425 h 1704975"/>
              <a:gd name="connsiteX178" fmla="*/ 162600 w 1293444"/>
              <a:gd name="connsiteY178" fmla="*/ 850900 h 1704975"/>
              <a:gd name="connsiteX179" fmla="*/ 153075 w 1293444"/>
              <a:gd name="connsiteY179" fmla="*/ 847725 h 1704975"/>
              <a:gd name="connsiteX180" fmla="*/ 134025 w 1293444"/>
              <a:gd name="connsiteY180" fmla="*/ 835025 h 1704975"/>
              <a:gd name="connsiteX181" fmla="*/ 114975 w 1293444"/>
              <a:gd name="connsiteY181" fmla="*/ 822325 h 1704975"/>
              <a:gd name="connsiteX182" fmla="*/ 105450 w 1293444"/>
              <a:gd name="connsiteY182" fmla="*/ 815975 h 1704975"/>
              <a:gd name="connsiteX183" fmla="*/ 95925 w 1293444"/>
              <a:gd name="connsiteY183" fmla="*/ 812800 h 1704975"/>
              <a:gd name="connsiteX184" fmla="*/ 64175 w 1293444"/>
              <a:gd name="connsiteY184" fmla="*/ 790575 h 1704975"/>
              <a:gd name="connsiteX185" fmla="*/ 54650 w 1293444"/>
              <a:gd name="connsiteY185" fmla="*/ 787400 h 1704975"/>
              <a:gd name="connsiteX186" fmla="*/ 38775 w 1293444"/>
              <a:gd name="connsiteY186" fmla="*/ 771525 h 1704975"/>
              <a:gd name="connsiteX187" fmla="*/ 29250 w 1293444"/>
              <a:gd name="connsiteY187" fmla="*/ 762000 h 1704975"/>
              <a:gd name="connsiteX188" fmla="*/ 19725 w 1293444"/>
              <a:gd name="connsiteY188" fmla="*/ 758825 h 1704975"/>
              <a:gd name="connsiteX189" fmla="*/ 675 w 1293444"/>
              <a:gd name="connsiteY189" fmla="*/ 746125 h 1704975"/>
              <a:gd name="connsiteX190" fmla="*/ 51475 w 1293444"/>
              <a:gd name="connsiteY190" fmla="*/ 739775 h 1704975"/>
              <a:gd name="connsiteX191" fmla="*/ 67350 w 1293444"/>
              <a:gd name="connsiteY191" fmla="*/ 736600 h 1704975"/>
              <a:gd name="connsiteX192" fmla="*/ 102275 w 1293444"/>
              <a:gd name="connsiteY192" fmla="*/ 733425 h 1704975"/>
              <a:gd name="connsiteX193" fmla="*/ 130850 w 1293444"/>
              <a:gd name="connsiteY193" fmla="*/ 727075 h 1704975"/>
              <a:gd name="connsiteX194" fmla="*/ 149900 w 1293444"/>
              <a:gd name="connsiteY194" fmla="*/ 723900 h 1704975"/>
              <a:gd name="connsiteX195" fmla="*/ 159425 w 1293444"/>
              <a:gd name="connsiteY195" fmla="*/ 720725 h 1704975"/>
              <a:gd name="connsiteX196" fmla="*/ 175300 w 1293444"/>
              <a:gd name="connsiteY196" fmla="*/ 717550 h 1704975"/>
              <a:gd name="connsiteX197" fmla="*/ 194350 w 1293444"/>
              <a:gd name="connsiteY197" fmla="*/ 711200 h 1704975"/>
              <a:gd name="connsiteX198" fmla="*/ 222925 w 1293444"/>
              <a:gd name="connsiteY198" fmla="*/ 701675 h 1704975"/>
              <a:gd name="connsiteX199" fmla="*/ 232450 w 1293444"/>
              <a:gd name="connsiteY199" fmla="*/ 698500 h 1704975"/>
              <a:gd name="connsiteX200" fmla="*/ 241975 w 1293444"/>
              <a:gd name="connsiteY200" fmla="*/ 695325 h 1704975"/>
              <a:gd name="connsiteX201" fmla="*/ 381675 w 1293444"/>
              <a:gd name="connsiteY201" fmla="*/ 688975 h 1704975"/>
              <a:gd name="connsiteX202" fmla="*/ 397550 w 1293444"/>
              <a:gd name="connsiteY202" fmla="*/ 685800 h 1704975"/>
              <a:gd name="connsiteX203" fmla="*/ 407075 w 1293444"/>
              <a:gd name="connsiteY203" fmla="*/ 682625 h 1704975"/>
              <a:gd name="connsiteX204" fmla="*/ 419775 w 1293444"/>
              <a:gd name="connsiteY204" fmla="*/ 679450 h 1704975"/>
              <a:gd name="connsiteX205" fmla="*/ 438825 w 1293444"/>
              <a:gd name="connsiteY205" fmla="*/ 673100 h 1704975"/>
              <a:gd name="connsiteX206" fmla="*/ 467400 w 1293444"/>
              <a:gd name="connsiteY206" fmla="*/ 663575 h 1704975"/>
              <a:gd name="connsiteX207" fmla="*/ 495975 w 1293444"/>
              <a:gd name="connsiteY207" fmla="*/ 654050 h 1704975"/>
              <a:gd name="connsiteX208" fmla="*/ 505500 w 1293444"/>
              <a:gd name="connsiteY208" fmla="*/ 650875 h 1704975"/>
              <a:gd name="connsiteX209" fmla="*/ 527725 w 1293444"/>
              <a:gd name="connsiteY209" fmla="*/ 641350 h 1704975"/>
              <a:gd name="connsiteX210" fmla="*/ 537250 w 1293444"/>
              <a:gd name="connsiteY210" fmla="*/ 635000 h 1704975"/>
              <a:gd name="connsiteX211" fmla="*/ 546775 w 1293444"/>
              <a:gd name="connsiteY211" fmla="*/ 631825 h 1704975"/>
              <a:gd name="connsiteX212" fmla="*/ 559475 w 1293444"/>
              <a:gd name="connsiteY212" fmla="*/ 625475 h 1704975"/>
              <a:gd name="connsiteX213" fmla="*/ 578525 w 1293444"/>
              <a:gd name="connsiteY213" fmla="*/ 657225 h 1704975"/>
              <a:gd name="connsiteX214" fmla="*/ 588050 w 1293444"/>
              <a:gd name="connsiteY214" fmla="*/ 660400 h 1704975"/>
              <a:gd name="connsiteX215" fmla="*/ 607100 w 1293444"/>
              <a:gd name="connsiteY215" fmla="*/ 673100 h 1704975"/>
              <a:gd name="connsiteX216" fmla="*/ 626150 w 1293444"/>
              <a:gd name="connsiteY216" fmla="*/ 679450 h 1704975"/>
              <a:gd name="connsiteX217" fmla="*/ 635675 w 1293444"/>
              <a:gd name="connsiteY217" fmla="*/ 685800 h 1704975"/>
              <a:gd name="connsiteX218" fmla="*/ 654725 w 1293444"/>
              <a:gd name="connsiteY218" fmla="*/ 692150 h 1704975"/>
              <a:gd name="connsiteX219" fmla="*/ 645200 w 1293444"/>
              <a:gd name="connsiteY219" fmla="*/ 682625 h 1704975"/>
              <a:gd name="connsiteX220" fmla="*/ 635675 w 1293444"/>
              <a:gd name="connsiteY220" fmla="*/ 676275 h 1704975"/>
              <a:gd name="connsiteX221" fmla="*/ 632500 w 1293444"/>
              <a:gd name="connsiteY221" fmla="*/ 666750 h 1704975"/>
              <a:gd name="connsiteX222" fmla="*/ 635675 w 1293444"/>
              <a:gd name="connsiteY222" fmla="*/ 590550 h 1704975"/>
              <a:gd name="connsiteX223" fmla="*/ 642025 w 1293444"/>
              <a:gd name="connsiteY223" fmla="*/ 571500 h 1704975"/>
              <a:gd name="connsiteX224" fmla="*/ 648375 w 1293444"/>
              <a:gd name="connsiteY224" fmla="*/ 561975 h 1704975"/>
              <a:gd name="connsiteX225" fmla="*/ 638850 w 1293444"/>
              <a:gd name="connsiteY225" fmla="*/ 536575 h 1704975"/>
              <a:gd name="connsiteX226" fmla="*/ 629325 w 1293444"/>
              <a:gd name="connsiteY226" fmla="*/ 533400 h 1704975"/>
              <a:gd name="connsiteX227" fmla="*/ 626150 w 1293444"/>
              <a:gd name="connsiteY227" fmla="*/ 523875 h 1704975"/>
              <a:gd name="connsiteX228" fmla="*/ 632500 w 1293444"/>
              <a:gd name="connsiteY228" fmla="*/ 498475 h 1704975"/>
              <a:gd name="connsiteX229" fmla="*/ 635675 w 1293444"/>
              <a:gd name="connsiteY229" fmla="*/ 485775 h 1704975"/>
              <a:gd name="connsiteX230" fmla="*/ 626150 w 1293444"/>
              <a:gd name="connsiteY230" fmla="*/ 463550 h 1704975"/>
              <a:gd name="connsiteX231" fmla="*/ 616625 w 1293444"/>
              <a:gd name="connsiteY231" fmla="*/ 460375 h 1704975"/>
              <a:gd name="connsiteX232" fmla="*/ 607100 w 1293444"/>
              <a:gd name="connsiteY232" fmla="*/ 454025 h 1704975"/>
              <a:gd name="connsiteX233" fmla="*/ 591225 w 1293444"/>
              <a:gd name="connsiteY233" fmla="*/ 450850 h 1704975"/>
              <a:gd name="connsiteX234" fmla="*/ 569000 w 1293444"/>
              <a:gd name="connsiteY234" fmla="*/ 441325 h 1704975"/>
              <a:gd name="connsiteX235" fmla="*/ 546775 w 1293444"/>
              <a:gd name="connsiteY235" fmla="*/ 415925 h 1704975"/>
              <a:gd name="connsiteX236" fmla="*/ 540425 w 1293444"/>
              <a:gd name="connsiteY236" fmla="*/ 406400 h 1704975"/>
              <a:gd name="connsiteX237" fmla="*/ 530900 w 1293444"/>
              <a:gd name="connsiteY237" fmla="*/ 400050 h 1704975"/>
              <a:gd name="connsiteX238" fmla="*/ 508675 w 1293444"/>
              <a:gd name="connsiteY238" fmla="*/ 374650 h 1704975"/>
              <a:gd name="connsiteX239" fmla="*/ 502325 w 1293444"/>
              <a:gd name="connsiteY239" fmla="*/ 365125 h 1704975"/>
              <a:gd name="connsiteX240" fmla="*/ 483275 w 1293444"/>
              <a:gd name="connsiteY240" fmla="*/ 346075 h 1704975"/>
              <a:gd name="connsiteX241" fmla="*/ 486450 w 1293444"/>
              <a:gd name="connsiteY241" fmla="*/ 333375 h 1704975"/>
              <a:gd name="connsiteX242" fmla="*/ 492800 w 1293444"/>
              <a:gd name="connsiteY242" fmla="*/ 314325 h 1704975"/>
              <a:gd name="connsiteX243" fmla="*/ 489625 w 1293444"/>
              <a:gd name="connsiteY243" fmla="*/ 292100 h 1704975"/>
              <a:gd name="connsiteX244" fmla="*/ 461050 w 1293444"/>
              <a:gd name="connsiteY244" fmla="*/ 266700 h 1704975"/>
              <a:gd name="connsiteX245" fmla="*/ 435650 w 1293444"/>
              <a:gd name="connsiteY245" fmla="*/ 254000 h 1704975"/>
              <a:gd name="connsiteX246" fmla="*/ 413425 w 1293444"/>
              <a:gd name="connsiteY246" fmla="*/ 238125 h 1704975"/>
              <a:gd name="connsiteX247" fmla="*/ 403900 w 1293444"/>
              <a:gd name="connsiteY247" fmla="*/ 231775 h 1704975"/>
              <a:gd name="connsiteX248" fmla="*/ 388025 w 1293444"/>
              <a:gd name="connsiteY248" fmla="*/ 212725 h 1704975"/>
              <a:gd name="connsiteX249" fmla="*/ 372150 w 1293444"/>
              <a:gd name="connsiteY249" fmla="*/ 196850 h 1704975"/>
              <a:gd name="connsiteX250" fmla="*/ 365800 w 1293444"/>
              <a:gd name="connsiteY250" fmla="*/ 177800 h 1704975"/>
              <a:gd name="connsiteX251" fmla="*/ 359450 w 1293444"/>
              <a:gd name="connsiteY251" fmla="*/ 149225 h 1704975"/>
              <a:gd name="connsiteX252" fmla="*/ 362625 w 1293444"/>
              <a:gd name="connsiteY252" fmla="*/ 114300 h 1704975"/>
              <a:gd name="connsiteX253" fmla="*/ 368975 w 1293444"/>
              <a:gd name="connsiteY253" fmla="*/ 104775 h 1704975"/>
              <a:gd name="connsiteX254" fmla="*/ 375325 w 1293444"/>
              <a:gd name="connsiteY254"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45175 w 1293444"/>
              <a:gd name="connsiteY140" fmla="*/ 1625600 h 1704975"/>
              <a:gd name="connsiteX141" fmla="*/ 432475 w 1293444"/>
              <a:gd name="connsiteY141" fmla="*/ 1495425 h 1704975"/>
              <a:gd name="connsiteX142" fmla="*/ 429300 w 1293444"/>
              <a:gd name="connsiteY142" fmla="*/ 1485900 h 1704975"/>
              <a:gd name="connsiteX143" fmla="*/ 426125 w 1293444"/>
              <a:gd name="connsiteY143" fmla="*/ 1473200 h 1704975"/>
              <a:gd name="connsiteX144" fmla="*/ 419775 w 1293444"/>
              <a:gd name="connsiteY144" fmla="*/ 1463675 h 1704975"/>
              <a:gd name="connsiteX145" fmla="*/ 416600 w 1293444"/>
              <a:gd name="connsiteY145" fmla="*/ 1454150 h 1704975"/>
              <a:gd name="connsiteX146" fmla="*/ 403900 w 1293444"/>
              <a:gd name="connsiteY146" fmla="*/ 1435100 h 1704975"/>
              <a:gd name="connsiteX147" fmla="*/ 397550 w 1293444"/>
              <a:gd name="connsiteY147" fmla="*/ 1416050 h 1704975"/>
              <a:gd name="connsiteX148" fmla="*/ 394375 w 1293444"/>
              <a:gd name="connsiteY148" fmla="*/ 1381125 h 1704975"/>
              <a:gd name="connsiteX149" fmla="*/ 391200 w 1293444"/>
              <a:gd name="connsiteY149" fmla="*/ 1368425 h 1704975"/>
              <a:gd name="connsiteX150" fmla="*/ 388025 w 1293444"/>
              <a:gd name="connsiteY150" fmla="*/ 1352550 h 1704975"/>
              <a:gd name="connsiteX151" fmla="*/ 381675 w 1293444"/>
              <a:gd name="connsiteY151" fmla="*/ 1333500 h 1704975"/>
              <a:gd name="connsiteX152" fmla="*/ 378500 w 1293444"/>
              <a:gd name="connsiteY152" fmla="*/ 1323975 h 1704975"/>
              <a:gd name="connsiteX153" fmla="*/ 375325 w 1293444"/>
              <a:gd name="connsiteY153" fmla="*/ 1308100 h 1704975"/>
              <a:gd name="connsiteX154" fmla="*/ 368975 w 1293444"/>
              <a:gd name="connsiteY154" fmla="*/ 1289050 h 1704975"/>
              <a:gd name="connsiteX155" fmla="*/ 362625 w 1293444"/>
              <a:gd name="connsiteY155" fmla="*/ 1260475 h 1704975"/>
              <a:gd name="connsiteX156" fmla="*/ 359450 w 1293444"/>
              <a:gd name="connsiteY156" fmla="*/ 1231900 h 1704975"/>
              <a:gd name="connsiteX157" fmla="*/ 349925 w 1293444"/>
              <a:gd name="connsiteY157" fmla="*/ 1196975 h 1704975"/>
              <a:gd name="connsiteX158" fmla="*/ 340400 w 1293444"/>
              <a:gd name="connsiteY158" fmla="*/ 1155700 h 1704975"/>
              <a:gd name="connsiteX159" fmla="*/ 334050 w 1293444"/>
              <a:gd name="connsiteY159" fmla="*/ 1130300 h 1704975"/>
              <a:gd name="connsiteX160" fmla="*/ 327700 w 1293444"/>
              <a:gd name="connsiteY160" fmla="*/ 1104900 h 1704975"/>
              <a:gd name="connsiteX161" fmla="*/ 324525 w 1293444"/>
              <a:gd name="connsiteY161" fmla="*/ 1092200 h 1704975"/>
              <a:gd name="connsiteX162" fmla="*/ 318175 w 1293444"/>
              <a:gd name="connsiteY162" fmla="*/ 1050925 h 1704975"/>
              <a:gd name="connsiteX163" fmla="*/ 315000 w 1293444"/>
              <a:gd name="connsiteY163" fmla="*/ 1031875 h 1704975"/>
              <a:gd name="connsiteX164" fmla="*/ 311825 w 1293444"/>
              <a:gd name="connsiteY164" fmla="*/ 1022350 h 1704975"/>
              <a:gd name="connsiteX165" fmla="*/ 308650 w 1293444"/>
              <a:gd name="connsiteY165" fmla="*/ 1006475 h 1704975"/>
              <a:gd name="connsiteX166" fmla="*/ 302300 w 1293444"/>
              <a:gd name="connsiteY166" fmla="*/ 987425 h 1704975"/>
              <a:gd name="connsiteX167" fmla="*/ 299125 w 1293444"/>
              <a:gd name="connsiteY167" fmla="*/ 974725 h 1704975"/>
              <a:gd name="connsiteX168" fmla="*/ 292775 w 1293444"/>
              <a:gd name="connsiteY168" fmla="*/ 955675 h 1704975"/>
              <a:gd name="connsiteX169" fmla="*/ 289600 w 1293444"/>
              <a:gd name="connsiteY169" fmla="*/ 946150 h 1704975"/>
              <a:gd name="connsiteX170" fmla="*/ 280075 w 1293444"/>
              <a:gd name="connsiteY170" fmla="*/ 923925 h 1704975"/>
              <a:gd name="connsiteX171" fmla="*/ 261025 w 1293444"/>
              <a:gd name="connsiteY171" fmla="*/ 908050 h 1704975"/>
              <a:gd name="connsiteX172" fmla="*/ 241975 w 1293444"/>
              <a:gd name="connsiteY172" fmla="*/ 901700 h 1704975"/>
              <a:gd name="connsiteX173" fmla="*/ 222925 w 1293444"/>
              <a:gd name="connsiteY173" fmla="*/ 889000 h 1704975"/>
              <a:gd name="connsiteX174" fmla="*/ 213400 w 1293444"/>
              <a:gd name="connsiteY174" fmla="*/ 885825 h 1704975"/>
              <a:gd name="connsiteX175" fmla="*/ 194350 w 1293444"/>
              <a:gd name="connsiteY175" fmla="*/ 873125 h 1704975"/>
              <a:gd name="connsiteX176" fmla="*/ 175300 w 1293444"/>
              <a:gd name="connsiteY176" fmla="*/ 860425 h 1704975"/>
              <a:gd name="connsiteX177" fmla="*/ 162600 w 1293444"/>
              <a:gd name="connsiteY177" fmla="*/ 850900 h 1704975"/>
              <a:gd name="connsiteX178" fmla="*/ 153075 w 1293444"/>
              <a:gd name="connsiteY178" fmla="*/ 847725 h 1704975"/>
              <a:gd name="connsiteX179" fmla="*/ 134025 w 1293444"/>
              <a:gd name="connsiteY179" fmla="*/ 835025 h 1704975"/>
              <a:gd name="connsiteX180" fmla="*/ 114975 w 1293444"/>
              <a:gd name="connsiteY180" fmla="*/ 822325 h 1704975"/>
              <a:gd name="connsiteX181" fmla="*/ 105450 w 1293444"/>
              <a:gd name="connsiteY181" fmla="*/ 815975 h 1704975"/>
              <a:gd name="connsiteX182" fmla="*/ 95925 w 1293444"/>
              <a:gd name="connsiteY182" fmla="*/ 812800 h 1704975"/>
              <a:gd name="connsiteX183" fmla="*/ 64175 w 1293444"/>
              <a:gd name="connsiteY183" fmla="*/ 790575 h 1704975"/>
              <a:gd name="connsiteX184" fmla="*/ 54650 w 1293444"/>
              <a:gd name="connsiteY184" fmla="*/ 787400 h 1704975"/>
              <a:gd name="connsiteX185" fmla="*/ 38775 w 1293444"/>
              <a:gd name="connsiteY185" fmla="*/ 771525 h 1704975"/>
              <a:gd name="connsiteX186" fmla="*/ 29250 w 1293444"/>
              <a:gd name="connsiteY186" fmla="*/ 762000 h 1704975"/>
              <a:gd name="connsiteX187" fmla="*/ 19725 w 1293444"/>
              <a:gd name="connsiteY187" fmla="*/ 758825 h 1704975"/>
              <a:gd name="connsiteX188" fmla="*/ 675 w 1293444"/>
              <a:gd name="connsiteY188" fmla="*/ 746125 h 1704975"/>
              <a:gd name="connsiteX189" fmla="*/ 51475 w 1293444"/>
              <a:gd name="connsiteY189" fmla="*/ 739775 h 1704975"/>
              <a:gd name="connsiteX190" fmla="*/ 67350 w 1293444"/>
              <a:gd name="connsiteY190" fmla="*/ 736600 h 1704975"/>
              <a:gd name="connsiteX191" fmla="*/ 102275 w 1293444"/>
              <a:gd name="connsiteY191" fmla="*/ 733425 h 1704975"/>
              <a:gd name="connsiteX192" fmla="*/ 130850 w 1293444"/>
              <a:gd name="connsiteY192" fmla="*/ 727075 h 1704975"/>
              <a:gd name="connsiteX193" fmla="*/ 149900 w 1293444"/>
              <a:gd name="connsiteY193" fmla="*/ 723900 h 1704975"/>
              <a:gd name="connsiteX194" fmla="*/ 159425 w 1293444"/>
              <a:gd name="connsiteY194" fmla="*/ 720725 h 1704975"/>
              <a:gd name="connsiteX195" fmla="*/ 175300 w 1293444"/>
              <a:gd name="connsiteY195" fmla="*/ 717550 h 1704975"/>
              <a:gd name="connsiteX196" fmla="*/ 194350 w 1293444"/>
              <a:gd name="connsiteY196" fmla="*/ 711200 h 1704975"/>
              <a:gd name="connsiteX197" fmla="*/ 222925 w 1293444"/>
              <a:gd name="connsiteY197" fmla="*/ 701675 h 1704975"/>
              <a:gd name="connsiteX198" fmla="*/ 232450 w 1293444"/>
              <a:gd name="connsiteY198" fmla="*/ 698500 h 1704975"/>
              <a:gd name="connsiteX199" fmla="*/ 241975 w 1293444"/>
              <a:gd name="connsiteY199" fmla="*/ 695325 h 1704975"/>
              <a:gd name="connsiteX200" fmla="*/ 381675 w 1293444"/>
              <a:gd name="connsiteY200" fmla="*/ 688975 h 1704975"/>
              <a:gd name="connsiteX201" fmla="*/ 397550 w 1293444"/>
              <a:gd name="connsiteY201" fmla="*/ 685800 h 1704975"/>
              <a:gd name="connsiteX202" fmla="*/ 407075 w 1293444"/>
              <a:gd name="connsiteY202" fmla="*/ 682625 h 1704975"/>
              <a:gd name="connsiteX203" fmla="*/ 419775 w 1293444"/>
              <a:gd name="connsiteY203" fmla="*/ 679450 h 1704975"/>
              <a:gd name="connsiteX204" fmla="*/ 438825 w 1293444"/>
              <a:gd name="connsiteY204" fmla="*/ 673100 h 1704975"/>
              <a:gd name="connsiteX205" fmla="*/ 467400 w 1293444"/>
              <a:gd name="connsiteY205" fmla="*/ 663575 h 1704975"/>
              <a:gd name="connsiteX206" fmla="*/ 495975 w 1293444"/>
              <a:gd name="connsiteY206" fmla="*/ 654050 h 1704975"/>
              <a:gd name="connsiteX207" fmla="*/ 505500 w 1293444"/>
              <a:gd name="connsiteY207" fmla="*/ 650875 h 1704975"/>
              <a:gd name="connsiteX208" fmla="*/ 527725 w 1293444"/>
              <a:gd name="connsiteY208" fmla="*/ 641350 h 1704975"/>
              <a:gd name="connsiteX209" fmla="*/ 537250 w 1293444"/>
              <a:gd name="connsiteY209" fmla="*/ 635000 h 1704975"/>
              <a:gd name="connsiteX210" fmla="*/ 546775 w 1293444"/>
              <a:gd name="connsiteY210" fmla="*/ 631825 h 1704975"/>
              <a:gd name="connsiteX211" fmla="*/ 559475 w 1293444"/>
              <a:gd name="connsiteY211" fmla="*/ 625475 h 1704975"/>
              <a:gd name="connsiteX212" fmla="*/ 578525 w 1293444"/>
              <a:gd name="connsiteY212" fmla="*/ 657225 h 1704975"/>
              <a:gd name="connsiteX213" fmla="*/ 588050 w 1293444"/>
              <a:gd name="connsiteY213" fmla="*/ 660400 h 1704975"/>
              <a:gd name="connsiteX214" fmla="*/ 607100 w 1293444"/>
              <a:gd name="connsiteY214" fmla="*/ 673100 h 1704975"/>
              <a:gd name="connsiteX215" fmla="*/ 626150 w 1293444"/>
              <a:gd name="connsiteY215" fmla="*/ 679450 h 1704975"/>
              <a:gd name="connsiteX216" fmla="*/ 635675 w 1293444"/>
              <a:gd name="connsiteY216" fmla="*/ 685800 h 1704975"/>
              <a:gd name="connsiteX217" fmla="*/ 654725 w 1293444"/>
              <a:gd name="connsiteY217" fmla="*/ 692150 h 1704975"/>
              <a:gd name="connsiteX218" fmla="*/ 645200 w 1293444"/>
              <a:gd name="connsiteY218" fmla="*/ 682625 h 1704975"/>
              <a:gd name="connsiteX219" fmla="*/ 635675 w 1293444"/>
              <a:gd name="connsiteY219" fmla="*/ 676275 h 1704975"/>
              <a:gd name="connsiteX220" fmla="*/ 632500 w 1293444"/>
              <a:gd name="connsiteY220" fmla="*/ 666750 h 1704975"/>
              <a:gd name="connsiteX221" fmla="*/ 635675 w 1293444"/>
              <a:gd name="connsiteY221" fmla="*/ 590550 h 1704975"/>
              <a:gd name="connsiteX222" fmla="*/ 642025 w 1293444"/>
              <a:gd name="connsiteY222" fmla="*/ 571500 h 1704975"/>
              <a:gd name="connsiteX223" fmla="*/ 648375 w 1293444"/>
              <a:gd name="connsiteY223" fmla="*/ 561975 h 1704975"/>
              <a:gd name="connsiteX224" fmla="*/ 638850 w 1293444"/>
              <a:gd name="connsiteY224" fmla="*/ 536575 h 1704975"/>
              <a:gd name="connsiteX225" fmla="*/ 629325 w 1293444"/>
              <a:gd name="connsiteY225" fmla="*/ 533400 h 1704975"/>
              <a:gd name="connsiteX226" fmla="*/ 626150 w 1293444"/>
              <a:gd name="connsiteY226" fmla="*/ 523875 h 1704975"/>
              <a:gd name="connsiteX227" fmla="*/ 632500 w 1293444"/>
              <a:gd name="connsiteY227" fmla="*/ 498475 h 1704975"/>
              <a:gd name="connsiteX228" fmla="*/ 635675 w 1293444"/>
              <a:gd name="connsiteY228" fmla="*/ 485775 h 1704975"/>
              <a:gd name="connsiteX229" fmla="*/ 626150 w 1293444"/>
              <a:gd name="connsiteY229" fmla="*/ 463550 h 1704975"/>
              <a:gd name="connsiteX230" fmla="*/ 616625 w 1293444"/>
              <a:gd name="connsiteY230" fmla="*/ 460375 h 1704975"/>
              <a:gd name="connsiteX231" fmla="*/ 607100 w 1293444"/>
              <a:gd name="connsiteY231" fmla="*/ 454025 h 1704975"/>
              <a:gd name="connsiteX232" fmla="*/ 591225 w 1293444"/>
              <a:gd name="connsiteY232" fmla="*/ 450850 h 1704975"/>
              <a:gd name="connsiteX233" fmla="*/ 569000 w 1293444"/>
              <a:gd name="connsiteY233" fmla="*/ 441325 h 1704975"/>
              <a:gd name="connsiteX234" fmla="*/ 546775 w 1293444"/>
              <a:gd name="connsiteY234" fmla="*/ 415925 h 1704975"/>
              <a:gd name="connsiteX235" fmla="*/ 540425 w 1293444"/>
              <a:gd name="connsiteY235" fmla="*/ 406400 h 1704975"/>
              <a:gd name="connsiteX236" fmla="*/ 530900 w 1293444"/>
              <a:gd name="connsiteY236" fmla="*/ 400050 h 1704975"/>
              <a:gd name="connsiteX237" fmla="*/ 508675 w 1293444"/>
              <a:gd name="connsiteY237" fmla="*/ 374650 h 1704975"/>
              <a:gd name="connsiteX238" fmla="*/ 502325 w 1293444"/>
              <a:gd name="connsiteY238" fmla="*/ 365125 h 1704975"/>
              <a:gd name="connsiteX239" fmla="*/ 483275 w 1293444"/>
              <a:gd name="connsiteY239" fmla="*/ 346075 h 1704975"/>
              <a:gd name="connsiteX240" fmla="*/ 486450 w 1293444"/>
              <a:gd name="connsiteY240" fmla="*/ 333375 h 1704975"/>
              <a:gd name="connsiteX241" fmla="*/ 492800 w 1293444"/>
              <a:gd name="connsiteY241" fmla="*/ 314325 h 1704975"/>
              <a:gd name="connsiteX242" fmla="*/ 489625 w 1293444"/>
              <a:gd name="connsiteY242" fmla="*/ 292100 h 1704975"/>
              <a:gd name="connsiteX243" fmla="*/ 461050 w 1293444"/>
              <a:gd name="connsiteY243" fmla="*/ 266700 h 1704975"/>
              <a:gd name="connsiteX244" fmla="*/ 435650 w 1293444"/>
              <a:gd name="connsiteY244" fmla="*/ 254000 h 1704975"/>
              <a:gd name="connsiteX245" fmla="*/ 413425 w 1293444"/>
              <a:gd name="connsiteY245" fmla="*/ 238125 h 1704975"/>
              <a:gd name="connsiteX246" fmla="*/ 403900 w 1293444"/>
              <a:gd name="connsiteY246" fmla="*/ 231775 h 1704975"/>
              <a:gd name="connsiteX247" fmla="*/ 388025 w 1293444"/>
              <a:gd name="connsiteY247" fmla="*/ 212725 h 1704975"/>
              <a:gd name="connsiteX248" fmla="*/ 372150 w 1293444"/>
              <a:gd name="connsiteY248" fmla="*/ 196850 h 1704975"/>
              <a:gd name="connsiteX249" fmla="*/ 365800 w 1293444"/>
              <a:gd name="connsiteY249" fmla="*/ 177800 h 1704975"/>
              <a:gd name="connsiteX250" fmla="*/ 359450 w 1293444"/>
              <a:gd name="connsiteY250" fmla="*/ 149225 h 1704975"/>
              <a:gd name="connsiteX251" fmla="*/ 362625 w 1293444"/>
              <a:gd name="connsiteY251" fmla="*/ 114300 h 1704975"/>
              <a:gd name="connsiteX252" fmla="*/ 368975 w 1293444"/>
              <a:gd name="connsiteY252" fmla="*/ 104775 h 1704975"/>
              <a:gd name="connsiteX253" fmla="*/ 375325 w 1293444"/>
              <a:gd name="connsiteY253"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48350 w 1293444"/>
              <a:gd name="connsiteY139" fmla="*/ 1635125 h 1704975"/>
              <a:gd name="connsiteX140" fmla="*/ 432475 w 1293444"/>
              <a:gd name="connsiteY140" fmla="*/ 1495425 h 1704975"/>
              <a:gd name="connsiteX141" fmla="*/ 429300 w 1293444"/>
              <a:gd name="connsiteY141" fmla="*/ 1485900 h 1704975"/>
              <a:gd name="connsiteX142" fmla="*/ 426125 w 1293444"/>
              <a:gd name="connsiteY142" fmla="*/ 1473200 h 1704975"/>
              <a:gd name="connsiteX143" fmla="*/ 419775 w 1293444"/>
              <a:gd name="connsiteY143" fmla="*/ 1463675 h 1704975"/>
              <a:gd name="connsiteX144" fmla="*/ 416600 w 1293444"/>
              <a:gd name="connsiteY144" fmla="*/ 1454150 h 1704975"/>
              <a:gd name="connsiteX145" fmla="*/ 403900 w 1293444"/>
              <a:gd name="connsiteY145" fmla="*/ 1435100 h 1704975"/>
              <a:gd name="connsiteX146" fmla="*/ 397550 w 1293444"/>
              <a:gd name="connsiteY146" fmla="*/ 1416050 h 1704975"/>
              <a:gd name="connsiteX147" fmla="*/ 394375 w 1293444"/>
              <a:gd name="connsiteY147" fmla="*/ 1381125 h 1704975"/>
              <a:gd name="connsiteX148" fmla="*/ 391200 w 1293444"/>
              <a:gd name="connsiteY148" fmla="*/ 1368425 h 1704975"/>
              <a:gd name="connsiteX149" fmla="*/ 388025 w 1293444"/>
              <a:gd name="connsiteY149" fmla="*/ 1352550 h 1704975"/>
              <a:gd name="connsiteX150" fmla="*/ 381675 w 1293444"/>
              <a:gd name="connsiteY150" fmla="*/ 1333500 h 1704975"/>
              <a:gd name="connsiteX151" fmla="*/ 378500 w 1293444"/>
              <a:gd name="connsiteY151" fmla="*/ 1323975 h 1704975"/>
              <a:gd name="connsiteX152" fmla="*/ 375325 w 1293444"/>
              <a:gd name="connsiteY152" fmla="*/ 1308100 h 1704975"/>
              <a:gd name="connsiteX153" fmla="*/ 368975 w 1293444"/>
              <a:gd name="connsiteY153" fmla="*/ 1289050 h 1704975"/>
              <a:gd name="connsiteX154" fmla="*/ 362625 w 1293444"/>
              <a:gd name="connsiteY154" fmla="*/ 1260475 h 1704975"/>
              <a:gd name="connsiteX155" fmla="*/ 359450 w 1293444"/>
              <a:gd name="connsiteY155" fmla="*/ 1231900 h 1704975"/>
              <a:gd name="connsiteX156" fmla="*/ 349925 w 1293444"/>
              <a:gd name="connsiteY156" fmla="*/ 1196975 h 1704975"/>
              <a:gd name="connsiteX157" fmla="*/ 340400 w 1293444"/>
              <a:gd name="connsiteY157" fmla="*/ 1155700 h 1704975"/>
              <a:gd name="connsiteX158" fmla="*/ 334050 w 1293444"/>
              <a:gd name="connsiteY158" fmla="*/ 1130300 h 1704975"/>
              <a:gd name="connsiteX159" fmla="*/ 327700 w 1293444"/>
              <a:gd name="connsiteY159" fmla="*/ 1104900 h 1704975"/>
              <a:gd name="connsiteX160" fmla="*/ 324525 w 1293444"/>
              <a:gd name="connsiteY160" fmla="*/ 1092200 h 1704975"/>
              <a:gd name="connsiteX161" fmla="*/ 318175 w 1293444"/>
              <a:gd name="connsiteY161" fmla="*/ 1050925 h 1704975"/>
              <a:gd name="connsiteX162" fmla="*/ 315000 w 1293444"/>
              <a:gd name="connsiteY162" fmla="*/ 1031875 h 1704975"/>
              <a:gd name="connsiteX163" fmla="*/ 311825 w 1293444"/>
              <a:gd name="connsiteY163" fmla="*/ 1022350 h 1704975"/>
              <a:gd name="connsiteX164" fmla="*/ 308650 w 1293444"/>
              <a:gd name="connsiteY164" fmla="*/ 1006475 h 1704975"/>
              <a:gd name="connsiteX165" fmla="*/ 302300 w 1293444"/>
              <a:gd name="connsiteY165" fmla="*/ 987425 h 1704975"/>
              <a:gd name="connsiteX166" fmla="*/ 299125 w 1293444"/>
              <a:gd name="connsiteY166" fmla="*/ 974725 h 1704975"/>
              <a:gd name="connsiteX167" fmla="*/ 292775 w 1293444"/>
              <a:gd name="connsiteY167" fmla="*/ 955675 h 1704975"/>
              <a:gd name="connsiteX168" fmla="*/ 289600 w 1293444"/>
              <a:gd name="connsiteY168" fmla="*/ 946150 h 1704975"/>
              <a:gd name="connsiteX169" fmla="*/ 280075 w 1293444"/>
              <a:gd name="connsiteY169" fmla="*/ 923925 h 1704975"/>
              <a:gd name="connsiteX170" fmla="*/ 261025 w 1293444"/>
              <a:gd name="connsiteY170" fmla="*/ 908050 h 1704975"/>
              <a:gd name="connsiteX171" fmla="*/ 241975 w 1293444"/>
              <a:gd name="connsiteY171" fmla="*/ 901700 h 1704975"/>
              <a:gd name="connsiteX172" fmla="*/ 222925 w 1293444"/>
              <a:gd name="connsiteY172" fmla="*/ 889000 h 1704975"/>
              <a:gd name="connsiteX173" fmla="*/ 213400 w 1293444"/>
              <a:gd name="connsiteY173" fmla="*/ 885825 h 1704975"/>
              <a:gd name="connsiteX174" fmla="*/ 194350 w 1293444"/>
              <a:gd name="connsiteY174" fmla="*/ 873125 h 1704975"/>
              <a:gd name="connsiteX175" fmla="*/ 175300 w 1293444"/>
              <a:gd name="connsiteY175" fmla="*/ 860425 h 1704975"/>
              <a:gd name="connsiteX176" fmla="*/ 162600 w 1293444"/>
              <a:gd name="connsiteY176" fmla="*/ 850900 h 1704975"/>
              <a:gd name="connsiteX177" fmla="*/ 153075 w 1293444"/>
              <a:gd name="connsiteY177" fmla="*/ 847725 h 1704975"/>
              <a:gd name="connsiteX178" fmla="*/ 134025 w 1293444"/>
              <a:gd name="connsiteY178" fmla="*/ 835025 h 1704975"/>
              <a:gd name="connsiteX179" fmla="*/ 114975 w 1293444"/>
              <a:gd name="connsiteY179" fmla="*/ 822325 h 1704975"/>
              <a:gd name="connsiteX180" fmla="*/ 105450 w 1293444"/>
              <a:gd name="connsiteY180" fmla="*/ 815975 h 1704975"/>
              <a:gd name="connsiteX181" fmla="*/ 95925 w 1293444"/>
              <a:gd name="connsiteY181" fmla="*/ 812800 h 1704975"/>
              <a:gd name="connsiteX182" fmla="*/ 64175 w 1293444"/>
              <a:gd name="connsiteY182" fmla="*/ 790575 h 1704975"/>
              <a:gd name="connsiteX183" fmla="*/ 54650 w 1293444"/>
              <a:gd name="connsiteY183" fmla="*/ 787400 h 1704975"/>
              <a:gd name="connsiteX184" fmla="*/ 38775 w 1293444"/>
              <a:gd name="connsiteY184" fmla="*/ 771525 h 1704975"/>
              <a:gd name="connsiteX185" fmla="*/ 29250 w 1293444"/>
              <a:gd name="connsiteY185" fmla="*/ 762000 h 1704975"/>
              <a:gd name="connsiteX186" fmla="*/ 19725 w 1293444"/>
              <a:gd name="connsiteY186" fmla="*/ 758825 h 1704975"/>
              <a:gd name="connsiteX187" fmla="*/ 675 w 1293444"/>
              <a:gd name="connsiteY187" fmla="*/ 746125 h 1704975"/>
              <a:gd name="connsiteX188" fmla="*/ 51475 w 1293444"/>
              <a:gd name="connsiteY188" fmla="*/ 739775 h 1704975"/>
              <a:gd name="connsiteX189" fmla="*/ 67350 w 1293444"/>
              <a:gd name="connsiteY189" fmla="*/ 736600 h 1704975"/>
              <a:gd name="connsiteX190" fmla="*/ 102275 w 1293444"/>
              <a:gd name="connsiteY190" fmla="*/ 733425 h 1704975"/>
              <a:gd name="connsiteX191" fmla="*/ 130850 w 1293444"/>
              <a:gd name="connsiteY191" fmla="*/ 727075 h 1704975"/>
              <a:gd name="connsiteX192" fmla="*/ 149900 w 1293444"/>
              <a:gd name="connsiteY192" fmla="*/ 723900 h 1704975"/>
              <a:gd name="connsiteX193" fmla="*/ 159425 w 1293444"/>
              <a:gd name="connsiteY193" fmla="*/ 720725 h 1704975"/>
              <a:gd name="connsiteX194" fmla="*/ 175300 w 1293444"/>
              <a:gd name="connsiteY194" fmla="*/ 717550 h 1704975"/>
              <a:gd name="connsiteX195" fmla="*/ 194350 w 1293444"/>
              <a:gd name="connsiteY195" fmla="*/ 711200 h 1704975"/>
              <a:gd name="connsiteX196" fmla="*/ 222925 w 1293444"/>
              <a:gd name="connsiteY196" fmla="*/ 701675 h 1704975"/>
              <a:gd name="connsiteX197" fmla="*/ 232450 w 1293444"/>
              <a:gd name="connsiteY197" fmla="*/ 698500 h 1704975"/>
              <a:gd name="connsiteX198" fmla="*/ 241975 w 1293444"/>
              <a:gd name="connsiteY198" fmla="*/ 695325 h 1704975"/>
              <a:gd name="connsiteX199" fmla="*/ 381675 w 1293444"/>
              <a:gd name="connsiteY199" fmla="*/ 688975 h 1704975"/>
              <a:gd name="connsiteX200" fmla="*/ 397550 w 1293444"/>
              <a:gd name="connsiteY200" fmla="*/ 685800 h 1704975"/>
              <a:gd name="connsiteX201" fmla="*/ 407075 w 1293444"/>
              <a:gd name="connsiteY201" fmla="*/ 682625 h 1704975"/>
              <a:gd name="connsiteX202" fmla="*/ 419775 w 1293444"/>
              <a:gd name="connsiteY202" fmla="*/ 679450 h 1704975"/>
              <a:gd name="connsiteX203" fmla="*/ 438825 w 1293444"/>
              <a:gd name="connsiteY203" fmla="*/ 673100 h 1704975"/>
              <a:gd name="connsiteX204" fmla="*/ 467400 w 1293444"/>
              <a:gd name="connsiteY204" fmla="*/ 663575 h 1704975"/>
              <a:gd name="connsiteX205" fmla="*/ 495975 w 1293444"/>
              <a:gd name="connsiteY205" fmla="*/ 654050 h 1704975"/>
              <a:gd name="connsiteX206" fmla="*/ 505500 w 1293444"/>
              <a:gd name="connsiteY206" fmla="*/ 650875 h 1704975"/>
              <a:gd name="connsiteX207" fmla="*/ 527725 w 1293444"/>
              <a:gd name="connsiteY207" fmla="*/ 641350 h 1704975"/>
              <a:gd name="connsiteX208" fmla="*/ 537250 w 1293444"/>
              <a:gd name="connsiteY208" fmla="*/ 635000 h 1704975"/>
              <a:gd name="connsiteX209" fmla="*/ 546775 w 1293444"/>
              <a:gd name="connsiteY209" fmla="*/ 631825 h 1704975"/>
              <a:gd name="connsiteX210" fmla="*/ 559475 w 1293444"/>
              <a:gd name="connsiteY210" fmla="*/ 625475 h 1704975"/>
              <a:gd name="connsiteX211" fmla="*/ 578525 w 1293444"/>
              <a:gd name="connsiteY211" fmla="*/ 657225 h 1704975"/>
              <a:gd name="connsiteX212" fmla="*/ 588050 w 1293444"/>
              <a:gd name="connsiteY212" fmla="*/ 660400 h 1704975"/>
              <a:gd name="connsiteX213" fmla="*/ 607100 w 1293444"/>
              <a:gd name="connsiteY213" fmla="*/ 673100 h 1704975"/>
              <a:gd name="connsiteX214" fmla="*/ 626150 w 1293444"/>
              <a:gd name="connsiteY214" fmla="*/ 679450 h 1704975"/>
              <a:gd name="connsiteX215" fmla="*/ 635675 w 1293444"/>
              <a:gd name="connsiteY215" fmla="*/ 685800 h 1704975"/>
              <a:gd name="connsiteX216" fmla="*/ 654725 w 1293444"/>
              <a:gd name="connsiteY216" fmla="*/ 692150 h 1704975"/>
              <a:gd name="connsiteX217" fmla="*/ 645200 w 1293444"/>
              <a:gd name="connsiteY217" fmla="*/ 682625 h 1704975"/>
              <a:gd name="connsiteX218" fmla="*/ 635675 w 1293444"/>
              <a:gd name="connsiteY218" fmla="*/ 676275 h 1704975"/>
              <a:gd name="connsiteX219" fmla="*/ 632500 w 1293444"/>
              <a:gd name="connsiteY219" fmla="*/ 666750 h 1704975"/>
              <a:gd name="connsiteX220" fmla="*/ 635675 w 1293444"/>
              <a:gd name="connsiteY220" fmla="*/ 590550 h 1704975"/>
              <a:gd name="connsiteX221" fmla="*/ 642025 w 1293444"/>
              <a:gd name="connsiteY221" fmla="*/ 571500 h 1704975"/>
              <a:gd name="connsiteX222" fmla="*/ 648375 w 1293444"/>
              <a:gd name="connsiteY222" fmla="*/ 561975 h 1704975"/>
              <a:gd name="connsiteX223" fmla="*/ 638850 w 1293444"/>
              <a:gd name="connsiteY223" fmla="*/ 536575 h 1704975"/>
              <a:gd name="connsiteX224" fmla="*/ 629325 w 1293444"/>
              <a:gd name="connsiteY224" fmla="*/ 533400 h 1704975"/>
              <a:gd name="connsiteX225" fmla="*/ 626150 w 1293444"/>
              <a:gd name="connsiteY225" fmla="*/ 523875 h 1704975"/>
              <a:gd name="connsiteX226" fmla="*/ 632500 w 1293444"/>
              <a:gd name="connsiteY226" fmla="*/ 498475 h 1704975"/>
              <a:gd name="connsiteX227" fmla="*/ 635675 w 1293444"/>
              <a:gd name="connsiteY227" fmla="*/ 485775 h 1704975"/>
              <a:gd name="connsiteX228" fmla="*/ 626150 w 1293444"/>
              <a:gd name="connsiteY228" fmla="*/ 463550 h 1704975"/>
              <a:gd name="connsiteX229" fmla="*/ 616625 w 1293444"/>
              <a:gd name="connsiteY229" fmla="*/ 460375 h 1704975"/>
              <a:gd name="connsiteX230" fmla="*/ 607100 w 1293444"/>
              <a:gd name="connsiteY230" fmla="*/ 454025 h 1704975"/>
              <a:gd name="connsiteX231" fmla="*/ 591225 w 1293444"/>
              <a:gd name="connsiteY231" fmla="*/ 450850 h 1704975"/>
              <a:gd name="connsiteX232" fmla="*/ 569000 w 1293444"/>
              <a:gd name="connsiteY232" fmla="*/ 441325 h 1704975"/>
              <a:gd name="connsiteX233" fmla="*/ 546775 w 1293444"/>
              <a:gd name="connsiteY233" fmla="*/ 415925 h 1704975"/>
              <a:gd name="connsiteX234" fmla="*/ 540425 w 1293444"/>
              <a:gd name="connsiteY234" fmla="*/ 406400 h 1704975"/>
              <a:gd name="connsiteX235" fmla="*/ 530900 w 1293444"/>
              <a:gd name="connsiteY235" fmla="*/ 400050 h 1704975"/>
              <a:gd name="connsiteX236" fmla="*/ 508675 w 1293444"/>
              <a:gd name="connsiteY236" fmla="*/ 374650 h 1704975"/>
              <a:gd name="connsiteX237" fmla="*/ 502325 w 1293444"/>
              <a:gd name="connsiteY237" fmla="*/ 365125 h 1704975"/>
              <a:gd name="connsiteX238" fmla="*/ 483275 w 1293444"/>
              <a:gd name="connsiteY238" fmla="*/ 346075 h 1704975"/>
              <a:gd name="connsiteX239" fmla="*/ 486450 w 1293444"/>
              <a:gd name="connsiteY239" fmla="*/ 333375 h 1704975"/>
              <a:gd name="connsiteX240" fmla="*/ 492800 w 1293444"/>
              <a:gd name="connsiteY240" fmla="*/ 314325 h 1704975"/>
              <a:gd name="connsiteX241" fmla="*/ 489625 w 1293444"/>
              <a:gd name="connsiteY241" fmla="*/ 292100 h 1704975"/>
              <a:gd name="connsiteX242" fmla="*/ 461050 w 1293444"/>
              <a:gd name="connsiteY242" fmla="*/ 266700 h 1704975"/>
              <a:gd name="connsiteX243" fmla="*/ 435650 w 1293444"/>
              <a:gd name="connsiteY243" fmla="*/ 254000 h 1704975"/>
              <a:gd name="connsiteX244" fmla="*/ 413425 w 1293444"/>
              <a:gd name="connsiteY244" fmla="*/ 238125 h 1704975"/>
              <a:gd name="connsiteX245" fmla="*/ 403900 w 1293444"/>
              <a:gd name="connsiteY245" fmla="*/ 231775 h 1704975"/>
              <a:gd name="connsiteX246" fmla="*/ 388025 w 1293444"/>
              <a:gd name="connsiteY246" fmla="*/ 212725 h 1704975"/>
              <a:gd name="connsiteX247" fmla="*/ 372150 w 1293444"/>
              <a:gd name="connsiteY247" fmla="*/ 196850 h 1704975"/>
              <a:gd name="connsiteX248" fmla="*/ 365800 w 1293444"/>
              <a:gd name="connsiteY248" fmla="*/ 177800 h 1704975"/>
              <a:gd name="connsiteX249" fmla="*/ 359450 w 1293444"/>
              <a:gd name="connsiteY249" fmla="*/ 149225 h 1704975"/>
              <a:gd name="connsiteX250" fmla="*/ 362625 w 1293444"/>
              <a:gd name="connsiteY250" fmla="*/ 114300 h 1704975"/>
              <a:gd name="connsiteX251" fmla="*/ 368975 w 1293444"/>
              <a:gd name="connsiteY251" fmla="*/ 104775 h 1704975"/>
              <a:gd name="connsiteX252" fmla="*/ 375325 w 1293444"/>
              <a:gd name="connsiteY252"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7550 w 1293444"/>
              <a:gd name="connsiteY145" fmla="*/ 1416050 h 1704975"/>
              <a:gd name="connsiteX146" fmla="*/ 394375 w 1293444"/>
              <a:gd name="connsiteY146" fmla="*/ 1381125 h 1704975"/>
              <a:gd name="connsiteX147" fmla="*/ 391200 w 1293444"/>
              <a:gd name="connsiteY147" fmla="*/ 1368425 h 1704975"/>
              <a:gd name="connsiteX148" fmla="*/ 388025 w 1293444"/>
              <a:gd name="connsiteY148" fmla="*/ 1352550 h 1704975"/>
              <a:gd name="connsiteX149" fmla="*/ 381675 w 1293444"/>
              <a:gd name="connsiteY149" fmla="*/ 1333500 h 1704975"/>
              <a:gd name="connsiteX150" fmla="*/ 378500 w 1293444"/>
              <a:gd name="connsiteY150" fmla="*/ 1323975 h 1704975"/>
              <a:gd name="connsiteX151" fmla="*/ 375325 w 1293444"/>
              <a:gd name="connsiteY151" fmla="*/ 1308100 h 1704975"/>
              <a:gd name="connsiteX152" fmla="*/ 368975 w 1293444"/>
              <a:gd name="connsiteY152" fmla="*/ 1289050 h 1704975"/>
              <a:gd name="connsiteX153" fmla="*/ 362625 w 1293444"/>
              <a:gd name="connsiteY153" fmla="*/ 1260475 h 1704975"/>
              <a:gd name="connsiteX154" fmla="*/ 359450 w 1293444"/>
              <a:gd name="connsiteY154" fmla="*/ 1231900 h 1704975"/>
              <a:gd name="connsiteX155" fmla="*/ 349925 w 1293444"/>
              <a:gd name="connsiteY155" fmla="*/ 1196975 h 1704975"/>
              <a:gd name="connsiteX156" fmla="*/ 340400 w 1293444"/>
              <a:gd name="connsiteY156" fmla="*/ 1155700 h 1704975"/>
              <a:gd name="connsiteX157" fmla="*/ 334050 w 1293444"/>
              <a:gd name="connsiteY157" fmla="*/ 1130300 h 1704975"/>
              <a:gd name="connsiteX158" fmla="*/ 327700 w 1293444"/>
              <a:gd name="connsiteY158" fmla="*/ 1104900 h 1704975"/>
              <a:gd name="connsiteX159" fmla="*/ 324525 w 1293444"/>
              <a:gd name="connsiteY159" fmla="*/ 1092200 h 1704975"/>
              <a:gd name="connsiteX160" fmla="*/ 318175 w 1293444"/>
              <a:gd name="connsiteY160" fmla="*/ 1050925 h 1704975"/>
              <a:gd name="connsiteX161" fmla="*/ 315000 w 1293444"/>
              <a:gd name="connsiteY161" fmla="*/ 1031875 h 1704975"/>
              <a:gd name="connsiteX162" fmla="*/ 311825 w 1293444"/>
              <a:gd name="connsiteY162" fmla="*/ 1022350 h 1704975"/>
              <a:gd name="connsiteX163" fmla="*/ 308650 w 1293444"/>
              <a:gd name="connsiteY163" fmla="*/ 1006475 h 1704975"/>
              <a:gd name="connsiteX164" fmla="*/ 302300 w 1293444"/>
              <a:gd name="connsiteY164" fmla="*/ 987425 h 1704975"/>
              <a:gd name="connsiteX165" fmla="*/ 299125 w 1293444"/>
              <a:gd name="connsiteY165" fmla="*/ 974725 h 1704975"/>
              <a:gd name="connsiteX166" fmla="*/ 292775 w 1293444"/>
              <a:gd name="connsiteY166" fmla="*/ 955675 h 1704975"/>
              <a:gd name="connsiteX167" fmla="*/ 289600 w 1293444"/>
              <a:gd name="connsiteY167" fmla="*/ 946150 h 1704975"/>
              <a:gd name="connsiteX168" fmla="*/ 280075 w 1293444"/>
              <a:gd name="connsiteY168" fmla="*/ 923925 h 1704975"/>
              <a:gd name="connsiteX169" fmla="*/ 261025 w 1293444"/>
              <a:gd name="connsiteY169" fmla="*/ 908050 h 1704975"/>
              <a:gd name="connsiteX170" fmla="*/ 241975 w 1293444"/>
              <a:gd name="connsiteY170" fmla="*/ 901700 h 1704975"/>
              <a:gd name="connsiteX171" fmla="*/ 222925 w 1293444"/>
              <a:gd name="connsiteY171" fmla="*/ 889000 h 1704975"/>
              <a:gd name="connsiteX172" fmla="*/ 213400 w 1293444"/>
              <a:gd name="connsiteY172" fmla="*/ 885825 h 1704975"/>
              <a:gd name="connsiteX173" fmla="*/ 194350 w 1293444"/>
              <a:gd name="connsiteY173" fmla="*/ 873125 h 1704975"/>
              <a:gd name="connsiteX174" fmla="*/ 175300 w 1293444"/>
              <a:gd name="connsiteY174" fmla="*/ 860425 h 1704975"/>
              <a:gd name="connsiteX175" fmla="*/ 162600 w 1293444"/>
              <a:gd name="connsiteY175" fmla="*/ 850900 h 1704975"/>
              <a:gd name="connsiteX176" fmla="*/ 153075 w 1293444"/>
              <a:gd name="connsiteY176" fmla="*/ 847725 h 1704975"/>
              <a:gd name="connsiteX177" fmla="*/ 134025 w 1293444"/>
              <a:gd name="connsiteY177" fmla="*/ 835025 h 1704975"/>
              <a:gd name="connsiteX178" fmla="*/ 114975 w 1293444"/>
              <a:gd name="connsiteY178" fmla="*/ 822325 h 1704975"/>
              <a:gd name="connsiteX179" fmla="*/ 105450 w 1293444"/>
              <a:gd name="connsiteY179" fmla="*/ 815975 h 1704975"/>
              <a:gd name="connsiteX180" fmla="*/ 95925 w 1293444"/>
              <a:gd name="connsiteY180" fmla="*/ 812800 h 1704975"/>
              <a:gd name="connsiteX181" fmla="*/ 64175 w 1293444"/>
              <a:gd name="connsiteY181" fmla="*/ 790575 h 1704975"/>
              <a:gd name="connsiteX182" fmla="*/ 54650 w 1293444"/>
              <a:gd name="connsiteY182" fmla="*/ 787400 h 1704975"/>
              <a:gd name="connsiteX183" fmla="*/ 38775 w 1293444"/>
              <a:gd name="connsiteY183" fmla="*/ 771525 h 1704975"/>
              <a:gd name="connsiteX184" fmla="*/ 29250 w 1293444"/>
              <a:gd name="connsiteY184" fmla="*/ 762000 h 1704975"/>
              <a:gd name="connsiteX185" fmla="*/ 19725 w 1293444"/>
              <a:gd name="connsiteY185" fmla="*/ 758825 h 1704975"/>
              <a:gd name="connsiteX186" fmla="*/ 675 w 1293444"/>
              <a:gd name="connsiteY186" fmla="*/ 746125 h 1704975"/>
              <a:gd name="connsiteX187" fmla="*/ 51475 w 1293444"/>
              <a:gd name="connsiteY187" fmla="*/ 739775 h 1704975"/>
              <a:gd name="connsiteX188" fmla="*/ 67350 w 1293444"/>
              <a:gd name="connsiteY188" fmla="*/ 736600 h 1704975"/>
              <a:gd name="connsiteX189" fmla="*/ 102275 w 1293444"/>
              <a:gd name="connsiteY189" fmla="*/ 733425 h 1704975"/>
              <a:gd name="connsiteX190" fmla="*/ 130850 w 1293444"/>
              <a:gd name="connsiteY190" fmla="*/ 727075 h 1704975"/>
              <a:gd name="connsiteX191" fmla="*/ 149900 w 1293444"/>
              <a:gd name="connsiteY191" fmla="*/ 723900 h 1704975"/>
              <a:gd name="connsiteX192" fmla="*/ 159425 w 1293444"/>
              <a:gd name="connsiteY192" fmla="*/ 720725 h 1704975"/>
              <a:gd name="connsiteX193" fmla="*/ 175300 w 1293444"/>
              <a:gd name="connsiteY193" fmla="*/ 717550 h 1704975"/>
              <a:gd name="connsiteX194" fmla="*/ 194350 w 1293444"/>
              <a:gd name="connsiteY194" fmla="*/ 711200 h 1704975"/>
              <a:gd name="connsiteX195" fmla="*/ 222925 w 1293444"/>
              <a:gd name="connsiteY195" fmla="*/ 701675 h 1704975"/>
              <a:gd name="connsiteX196" fmla="*/ 232450 w 1293444"/>
              <a:gd name="connsiteY196" fmla="*/ 698500 h 1704975"/>
              <a:gd name="connsiteX197" fmla="*/ 241975 w 1293444"/>
              <a:gd name="connsiteY197" fmla="*/ 695325 h 1704975"/>
              <a:gd name="connsiteX198" fmla="*/ 381675 w 1293444"/>
              <a:gd name="connsiteY198" fmla="*/ 688975 h 1704975"/>
              <a:gd name="connsiteX199" fmla="*/ 397550 w 1293444"/>
              <a:gd name="connsiteY199" fmla="*/ 685800 h 1704975"/>
              <a:gd name="connsiteX200" fmla="*/ 407075 w 1293444"/>
              <a:gd name="connsiteY200" fmla="*/ 682625 h 1704975"/>
              <a:gd name="connsiteX201" fmla="*/ 419775 w 1293444"/>
              <a:gd name="connsiteY201" fmla="*/ 679450 h 1704975"/>
              <a:gd name="connsiteX202" fmla="*/ 438825 w 1293444"/>
              <a:gd name="connsiteY202" fmla="*/ 673100 h 1704975"/>
              <a:gd name="connsiteX203" fmla="*/ 467400 w 1293444"/>
              <a:gd name="connsiteY203" fmla="*/ 663575 h 1704975"/>
              <a:gd name="connsiteX204" fmla="*/ 495975 w 1293444"/>
              <a:gd name="connsiteY204" fmla="*/ 654050 h 1704975"/>
              <a:gd name="connsiteX205" fmla="*/ 505500 w 1293444"/>
              <a:gd name="connsiteY205" fmla="*/ 650875 h 1704975"/>
              <a:gd name="connsiteX206" fmla="*/ 527725 w 1293444"/>
              <a:gd name="connsiteY206" fmla="*/ 641350 h 1704975"/>
              <a:gd name="connsiteX207" fmla="*/ 537250 w 1293444"/>
              <a:gd name="connsiteY207" fmla="*/ 635000 h 1704975"/>
              <a:gd name="connsiteX208" fmla="*/ 546775 w 1293444"/>
              <a:gd name="connsiteY208" fmla="*/ 631825 h 1704975"/>
              <a:gd name="connsiteX209" fmla="*/ 559475 w 1293444"/>
              <a:gd name="connsiteY209" fmla="*/ 625475 h 1704975"/>
              <a:gd name="connsiteX210" fmla="*/ 578525 w 1293444"/>
              <a:gd name="connsiteY210" fmla="*/ 657225 h 1704975"/>
              <a:gd name="connsiteX211" fmla="*/ 588050 w 1293444"/>
              <a:gd name="connsiteY211" fmla="*/ 660400 h 1704975"/>
              <a:gd name="connsiteX212" fmla="*/ 607100 w 1293444"/>
              <a:gd name="connsiteY212" fmla="*/ 673100 h 1704975"/>
              <a:gd name="connsiteX213" fmla="*/ 626150 w 1293444"/>
              <a:gd name="connsiteY213" fmla="*/ 679450 h 1704975"/>
              <a:gd name="connsiteX214" fmla="*/ 635675 w 1293444"/>
              <a:gd name="connsiteY214" fmla="*/ 685800 h 1704975"/>
              <a:gd name="connsiteX215" fmla="*/ 654725 w 1293444"/>
              <a:gd name="connsiteY215" fmla="*/ 692150 h 1704975"/>
              <a:gd name="connsiteX216" fmla="*/ 645200 w 1293444"/>
              <a:gd name="connsiteY216" fmla="*/ 682625 h 1704975"/>
              <a:gd name="connsiteX217" fmla="*/ 635675 w 1293444"/>
              <a:gd name="connsiteY217" fmla="*/ 676275 h 1704975"/>
              <a:gd name="connsiteX218" fmla="*/ 632500 w 1293444"/>
              <a:gd name="connsiteY218" fmla="*/ 666750 h 1704975"/>
              <a:gd name="connsiteX219" fmla="*/ 635675 w 1293444"/>
              <a:gd name="connsiteY219" fmla="*/ 590550 h 1704975"/>
              <a:gd name="connsiteX220" fmla="*/ 642025 w 1293444"/>
              <a:gd name="connsiteY220" fmla="*/ 571500 h 1704975"/>
              <a:gd name="connsiteX221" fmla="*/ 648375 w 1293444"/>
              <a:gd name="connsiteY221" fmla="*/ 561975 h 1704975"/>
              <a:gd name="connsiteX222" fmla="*/ 638850 w 1293444"/>
              <a:gd name="connsiteY222" fmla="*/ 536575 h 1704975"/>
              <a:gd name="connsiteX223" fmla="*/ 629325 w 1293444"/>
              <a:gd name="connsiteY223" fmla="*/ 533400 h 1704975"/>
              <a:gd name="connsiteX224" fmla="*/ 626150 w 1293444"/>
              <a:gd name="connsiteY224" fmla="*/ 523875 h 1704975"/>
              <a:gd name="connsiteX225" fmla="*/ 632500 w 1293444"/>
              <a:gd name="connsiteY225" fmla="*/ 498475 h 1704975"/>
              <a:gd name="connsiteX226" fmla="*/ 635675 w 1293444"/>
              <a:gd name="connsiteY226" fmla="*/ 485775 h 1704975"/>
              <a:gd name="connsiteX227" fmla="*/ 626150 w 1293444"/>
              <a:gd name="connsiteY227" fmla="*/ 463550 h 1704975"/>
              <a:gd name="connsiteX228" fmla="*/ 616625 w 1293444"/>
              <a:gd name="connsiteY228" fmla="*/ 460375 h 1704975"/>
              <a:gd name="connsiteX229" fmla="*/ 607100 w 1293444"/>
              <a:gd name="connsiteY229" fmla="*/ 454025 h 1704975"/>
              <a:gd name="connsiteX230" fmla="*/ 591225 w 1293444"/>
              <a:gd name="connsiteY230" fmla="*/ 450850 h 1704975"/>
              <a:gd name="connsiteX231" fmla="*/ 569000 w 1293444"/>
              <a:gd name="connsiteY231" fmla="*/ 441325 h 1704975"/>
              <a:gd name="connsiteX232" fmla="*/ 546775 w 1293444"/>
              <a:gd name="connsiteY232" fmla="*/ 415925 h 1704975"/>
              <a:gd name="connsiteX233" fmla="*/ 540425 w 1293444"/>
              <a:gd name="connsiteY233" fmla="*/ 406400 h 1704975"/>
              <a:gd name="connsiteX234" fmla="*/ 530900 w 1293444"/>
              <a:gd name="connsiteY234" fmla="*/ 400050 h 1704975"/>
              <a:gd name="connsiteX235" fmla="*/ 508675 w 1293444"/>
              <a:gd name="connsiteY235" fmla="*/ 374650 h 1704975"/>
              <a:gd name="connsiteX236" fmla="*/ 502325 w 1293444"/>
              <a:gd name="connsiteY236" fmla="*/ 365125 h 1704975"/>
              <a:gd name="connsiteX237" fmla="*/ 483275 w 1293444"/>
              <a:gd name="connsiteY237" fmla="*/ 346075 h 1704975"/>
              <a:gd name="connsiteX238" fmla="*/ 486450 w 1293444"/>
              <a:gd name="connsiteY238" fmla="*/ 333375 h 1704975"/>
              <a:gd name="connsiteX239" fmla="*/ 492800 w 1293444"/>
              <a:gd name="connsiteY239" fmla="*/ 314325 h 1704975"/>
              <a:gd name="connsiteX240" fmla="*/ 489625 w 1293444"/>
              <a:gd name="connsiteY240" fmla="*/ 292100 h 1704975"/>
              <a:gd name="connsiteX241" fmla="*/ 461050 w 1293444"/>
              <a:gd name="connsiteY241" fmla="*/ 266700 h 1704975"/>
              <a:gd name="connsiteX242" fmla="*/ 435650 w 1293444"/>
              <a:gd name="connsiteY242" fmla="*/ 254000 h 1704975"/>
              <a:gd name="connsiteX243" fmla="*/ 413425 w 1293444"/>
              <a:gd name="connsiteY243" fmla="*/ 238125 h 1704975"/>
              <a:gd name="connsiteX244" fmla="*/ 403900 w 1293444"/>
              <a:gd name="connsiteY244" fmla="*/ 231775 h 1704975"/>
              <a:gd name="connsiteX245" fmla="*/ 388025 w 1293444"/>
              <a:gd name="connsiteY245" fmla="*/ 212725 h 1704975"/>
              <a:gd name="connsiteX246" fmla="*/ 372150 w 1293444"/>
              <a:gd name="connsiteY246" fmla="*/ 196850 h 1704975"/>
              <a:gd name="connsiteX247" fmla="*/ 365800 w 1293444"/>
              <a:gd name="connsiteY247" fmla="*/ 177800 h 1704975"/>
              <a:gd name="connsiteX248" fmla="*/ 359450 w 1293444"/>
              <a:gd name="connsiteY248" fmla="*/ 149225 h 1704975"/>
              <a:gd name="connsiteX249" fmla="*/ 362625 w 1293444"/>
              <a:gd name="connsiteY249" fmla="*/ 114300 h 1704975"/>
              <a:gd name="connsiteX250" fmla="*/ 368975 w 1293444"/>
              <a:gd name="connsiteY250" fmla="*/ 104775 h 1704975"/>
              <a:gd name="connsiteX251" fmla="*/ 375325 w 1293444"/>
              <a:gd name="connsiteY251"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7550 w 1293444"/>
              <a:gd name="connsiteY145" fmla="*/ 1416050 h 1704975"/>
              <a:gd name="connsiteX146" fmla="*/ 394375 w 1293444"/>
              <a:gd name="connsiteY146" fmla="*/ 1381125 h 1704975"/>
              <a:gd name="connsiteX147" fmla="*/ 391200 w 1293444"/>
              <a:gd name="connsiteY147" fmla="*/ 1368425 h 1704975"/>
              <a:gd name="connsiteX148" fmla="*/ 388025 w 1293444"/>
              <a:gd name="connsiteY148" fmla="*/ 1352550 h 1704975"/>
              <a:gd name="connsiteX149" fmla="*/ 381675 w 1293444"/>
              <a:gd name="connsiteY149" fmla="*/ 1333500 h 1704975"/>
              <a:gd name="connsiteX150" fmla="*/ 378500 w 1293444"/>
              <a:gd name="connsiteY150" fmla="*/ 1323975 h 1704975"/>
              <a:gd name="connsiteX151" fmla="*/ 375325 w 1293444"/>
              <a:gd name="connsiteY151" fmla="*/ 1308100 h 1704975"/>
              <a:gd name="connsiteX152" fmla="*/ 368975 w 1293444"/>
              <a:gd name="connsiteY152" fmla="*/ 1289050 h 1704975"/>
              <a:gd name="connsiteX153" fmla="*/ 362625 w 1293444"/>
              <a:gd name="connsiteY153" fmla="*/ 1260475 h 1704975"/>
              <a:gd name="connsiteX154" fmla="*/ 359450 w 1293444"/>
              <a:gd name="connsiteY154" fmla="*/ 1231900 h 1704975"/>
              <a:gd name="connsiteX155" fmla="*/ 349925 w 1293444"/>
              <a:gd name="connsiteY155" fmla="*/ 1196975 h 1704975"/>
              <a:gd name="connsiteX156" fmla="*/ 340400 w 1293444"/>
              <a:gd name="connsiteY156" fmla="*/ 1155700 h 1704975"/>
              <a:gd name="connsiteX157" fmla="*/ 334050 w 1293444"/>
              <a:gd name="connsiteY157" fmla="*/ 1130300 h 1704975"/>
              <a:gd name="connsiteX158" fmla="*/ 327700 w 1293444"/>
              <a:gd name="connsiteY158" fmla="*/ 1104900 h 1704975"/>
              <a:gd name="connsiteX159" fmla="*/ 324525 w 1293444"/>
              <a:gd name="connsiteY159" fmla="*/ 1092200 h 1704975"/>
              <a:gd name="connsiteX160" fmla="*/ 318175 w 1293444"/>
              <a:gd name="connsiteY160" fmla="*/ 1050925 h 1704975"/>
              <a:gd name="connsiteX161" fmla="*/ 315000 w 1293444"/>
              <a:gd name="connsiteY161" fmla="*/ 1031875 h 1704975"/>
              <a:gd name="connsiteX162" fmla="*/ 311825 w 1293444"/>
              <a:gd name="connsiteY162" fmla="*/ 1022350 h 1704975"/>
              <a:gd name="connsiteX163" fmla="*/ 308650 w 1293444"/>
              <a:gd name="connsiteY163" fmla="*/ 1006475 h 1704975"/>
              <a:gd name="connsiteX164" fmla="*/ 302300 w 1293444"/>
              <a:gd name="connsiteY164" fmla="*/ 987425 h 1704975"/>
              <a:gd name="connsiteX165" fmla="*/ 299125 w 1293444"/>
              <a:gd name="connsiteY165" fmla="*/ 974725 h 1704975"/>
              <a:gd name="connsiteX166" fmla="*/ 292775 w 1293444"/>
              <a:gd name="connsiteY166" fmla="*/ 955675 h 1704975"/>
              <a:gd name="connsiteX167" fmla="*/ 289600 w 1293444"/>
              <a:gd name="connsiteY167" fmla="*/ 946150 h 1704975"/>
              <a:gd name="connsiteX168" fmla="*/ 280075 w 1293444"/>
              <a:gd name="connsiteY168" fmla="*/ 923925 h 1704975"/>
              <a:gd name="connsiteX169" fmla="*/ 261025 w 1293444"/>
              <a:gd name="connsiteY169" fmla="*/ 908050 h 1704975"/>
              <a:gd name="connsiteX170" fmla="*/ 241975 w 1293444"/>
              <a:gd name="connsiteY170" fmla="*/ 901700 h 1704975"/>
              <a:gd name="connsiteX171" fmla="*/ 222925 w 1293444"/>
              <a:gd name="connsiteY171" fmla="*/ 889000 h 1704975"/>
              <a:gd name="connsiteX172" fmla="*/ 213400 w 1293444"/>
              <a:gd name="connsiteY172" fmla="*/ 885825 h 1704975"/>
              <a:gd name="connsiteX173" fmla="*/ 194350 w 1293444"/>
              <a:gd name="connsiteY173" fmla="*/ 873125 h 1704975"/>
              <a:gd name="connsiteX174" fmla="*/ 175300 w 1293444"/>
              <a:gd name="connsiteY174" fmla="*/ 860425 h 1704975"/>
              <a:gd name="connsiteX175" fmla="*/ 162600 w 1293444"/>
              <a:gd name="connsiteY175" fmla="*/ 850900 h 1704975"/>
              <a:gd name="connsiteX176" fmla="*/ 153075 w 1293444"/>
              <a:gd name="connsiteY176" fmla="*/ 847725 h 1704975"/>
              <a:gd name="connsiteX177" fmla="*/ 134025 w 1293444"/>
              <a:gd name="connsiteY177" fmla="*/ 835025 h 1704975"/>
              <a:gd name="connsiteX178" fmla="*/ 114975 w 1293444"/>
              <a:gd name="connsiteY178" fmla="*/ 822325 h 1704975"/>
              <a:gd name="connsiteX179" fmla="*/ 105450 w 1293444"/>
              <a:gd name="connsiteY179" fmla="*/ 815975 h 1704975"/>
              <a:gd name="connsiteX180" fmla="*/ 95925 w 1293444"/>
              <a:gd name="connsiteY180" fmla="*/ 812800 h 1704975"/>
              <a:gd name="connsiteX181" fmla="*/ 64175 w 1293444"/>
              <a:gd name="connsiteY181" fmla="*/ 790575 h 1704975"/>
              <a:gd name="connsiteX182" fmla="*/ 54650 w 1293444"/>
              <a:gd name="connsiteY182" fmla="*/ 787400 h 1704975"/>
              <a:gd name="connsiteX183" fmla="*/ 38775 w 1293444"/>
              <a:gd name="connsiteY183" fmla="*/ 771525 h 1704975"/>
              <a:gd name="connsiteX184" fmla="*/ 29250 w 1293444"/>
              <a:gd name="connsiteY184" fmla="*/ 762000 h 1704975"/>
              <a:gd name="connsiteX185" fmla="*/ 19725 w 1293444"/>
              <a:gd name="connsiteY185" fmla="*/ 758825 h 1704975"/>
              <a:gd name="connsiteX186" fmla="*/ 675 w 1293444"/>
              <a:gd name="connsiteY186" fmla="*/ 746125 h 1704975"/>
              <a:gd name="connsiteX187" fmla="*/ 51475 w 1293444"/>
              <a:gd name="connsiteY187" fmla="*/ 739775 h 1704975"/>
              <a:gd name="connsiteX188" fmla="*/ 67350 w 1293444"/>
              <a:gd name="connsiteY188" fmla="*/ 736600 h 1704975"/>
              <a:gd name="connsiteX189" fmla="*/ 102275 w 1293444"/>
              <a:gd name="connsiteY189" fmla="*/ 733425 h 1704975"/>
              <a:gd name="connsiteX190" fmla="*/ 130850 w 1293444"/>
              <a:gd name="connsiteY190" fmla="*/ 727075 h 1704975"/>
              <a:gd name="connsiteX191" fmla="*/ 149900 w 1293444"/>
              <a:gd name="connsiteY191" fmla="*/ 723900 h 1704975"/>
              <a:gd name="connsiteX192" fmla="*/ 159425 w 1293444"/>
              <a:gd name="connsiteY192" fmla="*/ 720725 h 1704975"/>
              <a:gd name="connsiteX193" fmla="*/ 175300 w 1293444"/>
              <a:gd name="connsiteY193" fmla="*/ 717550 h 1704975"/>
              <a:gd name="connsiteX194" fmla="*/ 194350 w 1293444"/>
              <a:gd name="connsiteY194" fmla="*/ 711200 h 1704975"/>
              <a:gd name="connsiteX195" fmla="*/ 222925 w 1293444"/>
              <a:gd name="connsiteY195" fmla="*/ 701675 h 1704975"/>
              <a:gd name="connsiteX196" fmla="*/ 232450 w 1293444"/>
              <a:gd name="connsiteY196" fmla="*/ 698500 h 1704975"/>
              <a:gd name="connsiteX197" fmla="*/ 241975 w 1293444"/>
              <a:gd name="connsiteY197" fmla="*/ 695325 h 1704975"/>
              <a:gd name="connsiteX198" fmla="*/ 381675 w 1293444"/>
              <a:gd name="connsiteY198" fmla="*/ 688975 h 1704975"/>
              <a:gd name="connsiteX199" fmla="*/ 397550 w 1293444"/>
              <a:gd name="connsiteY199" fmla="*/ 685800 h 1704975"/>
              <a:gd name="connsiteX200" fmla="*/ 407075 w 1293444"/>
              <a:gd name="connsiteY200" fmla="*/ 682625 h 1704975"/>
              <a:gd name="connsiteX201" fmla="*/ 419775 w 1293444"/>
              <a:gd name="connsiteY201" fmla="*/ 679450 h 1704975"/>
              <a:gd name="connsiteX202" fmla="*/ 438825 w 1293444"/>
              <a:gd name="connsiteY202" fmla="*/ 673100 h 1704975"/>
              <a:gd name="connsiteX203" fmla="*/ 467400 w 1293444"/>
              <a:gd name="connsiteY203" fmla="*/ 663575 h 1704975"/>
              <a:gd name="connsiteX204" fmla="*/ 495975 w 1293444"/>
              <a:gd name="connsiteY204" fmla="*/ 654050 h 1704975"/>
              <a:gd name="connsiteX205" fmla="*/ 505500 w 1293444"/>
              <a:gd name="connsiteY205" fmla="*/ 650875 h 1704975"/>
              <a:gd name="connsiteX206" fmla="*/ 527725 w 1293444"/>
              <a:gd name="connsiteY206" fmla="*/ 641350 h 1704975"/>
              <a:gd name="connsiteX207" fmla="*/ 537250 w 1293444"/>
              <a:gd name="connsiteY207" fmla="*/ 635000 h 1704975"/>
              <a:gd name="connsiteX208" fmla="*/ 546775 w 1293444"/>
              <a:gd name="connsiteY208" fmla="*/ 631825 h 1704975"/>
              <a:gd name="connsiteX209" fmla="*/ 559475 w 1293444"/>
              <a:gd name="connsiteY209" fmla="*/ 625475 h 1704975"/>
              <a:gd name="connsiteX210" fmla="*/ 578525 w 1293444"/>
              <a:gd name="connsiteY210" fmla="*/ 657225 h 1704975"/>
              <a:gd name="connsiteX211" fmla="*/ 588050 w 1293444"/>
              <a:gd name="connsiteY211" fmla="*/ 660400 h 1704975"/>
              <a:gd name="connsiteX212" fmla="*/ 607100 w 1293444"/>
              <a:gd name="connsiteY212" fmla="*/ 673100 h 1704975"/>
              <a:gd name="connsiteX213" fmla="*/ 626150 w 1293444"/>
              <a:gd name="connsiteY213" fmla="*/ 679450 h 1704975"/>
              <a:gd name="connsiteX214" fmla="*/ 635675 w 1293444"/>
              <a:gd name="connsiteY214" fmla="*/ 685800 h 1704975"/>
              <a:gd name="connsiteX215" fmla="*/ 654725 w 1293444"/>
              <a:gd name="connsiteY215" fmla="*/ 692150 h 1704975"/>
              <a:gd name="connsiteX216" fmla="*/ 645200 w 1293444"/>
              <a:gd name="connsiteY216" fmla="*/ 682625 h 1704975"/>
              <a:gd name="connsiteX217" fmla="*/ 635675 w 1293444"/>
              <a:gd name="connsiteY217" fmla="*/ 676275 h 1704975"/>
              <a:gd name="connsiteX218" fmla="*/ 632500 w 1293444"/>
              <a:gd name="connsiteY218" fmla="*/ 666750 h 1704975"/>
              <a:gd name="connsiteX219" fmla="*/ 635675 w 1293444"/>
              <a:gd name="connsiteY219" fmla="*/ 590550 h 1704975"/>
              <a:gd name="connsiteX220" fmla="*/ 642025 w 1293444"/>
              <a:gd name="connsiteY220" fmla="*/ 571500 h 1704975"/>
              <a:gd name="connsiteX221" fmla="*/ 648375 w 1293444"/>
              <a:gd name="connsiteY221" fmla="*/ 561975 h 1704975"/>
              <a:gd name="connsiteX222" fmla="*/ 638850 w 1293444"/>
              <a:gd name="connsiteY222" fmla="*/ 536575 h 1704975"/>
              <a:gd name="connsiteX223" fmla="*/ 629325 w 1293444"/>
              <a:gd name="connsiteY223" fmla="*/ 533400 h 1704975"/>
              <a:gd name="connsiteX224" fmla="*/ 626150 w 1293444"/>
              <a:gd name="connsiteY224" fmla="*/ 523875 h 1704975"/>
              <a:gd name="connsiteX225" fmla="*/ 632500 w 1293444"/>
              <a:gd name="connsiteY225" fmla="*/ 498475 h 1704975"/>
              <a:gd name="connsiteX226" fmla="*/ 635675 w 1293444"/>
              <a:gd name="connsiteY226" fmla="*/ 485775 h 1704975"/>
              <a:gd name="connsiteX227" fmla="*/ 626150 w 1293444"/>
              <a:gd name="connsiteY227" fmla="*/ 463550 h 1704975"/>
              <a:gd name="connsiteX228" fmla="*/ 616625 w 1293444"/>
              <a:gd name="connsiteY228" fmla="*/ 460375 h 1704975"/>
              <a:gd name="connsiteX229" fmla="*/ 607100 w 1293444"/>
              <a:gd name="connsiteY229" fmla="*/ 454025 h 1704975"/>
              <a:gd name="connsiteX230" fmla="*/ 591225 w 1293444"/>
              <a:gd name="connsiteY230" fmla="*/ 450850 h 1704975"/>
              <a:gd name="connsiteX231" fmla="*/ 569000 w 1293444"/>
              <a:gd name="connsiteY231" fmla="*/ 441325 h 1704975"/>
              <a:gd name="connsiteX232" fmla="*/ 546775 w 1293444"/>
              <a:gd name="connsiteY232" fmla="*/ 415925 h 1704975"/>
              <a:gd name="connsiteX233" fmla="*/ 540425 w 1293444"/>
              <a:gd name="connsiteY233" fmla="*/ 406400 h 1704975"/>
              <a:gd name="connsiteX234" fmla="*/ 530900 w 1293444"/>
              <a:gd name="connsiteY234" fmla="*/ 400050 h 1704975"/>
              <a:gd name="connsiteX235" fmla="*/ 508675 w 1293444"/>
              <a:gd name="connsiteY235" fmla="*/ 374650 h 1704975"/>
              <a:gd name="connsiteX236" fmla="*/ 502325 w 1293444"/>
              <a:gd name="connsiteY236" fmla="*/ 365125 h 1704975"/>
              <a:gd name="connsiteX237" fmla="*/ 483275 w 1293444"/>
              <a:gd name="connsiteY237" fmla="*/ 346075 h 1704975"/>
              <a:gd name="connsiteX238" fmla="*/ 486450 w 1293444"/>
              <a:gd name="connsiteY238" fmla="*/ 333375 h 1704975"/>
              <a:gd name="connsiteX239" fmla="*/ 492800 w 1293444"/>
              <a:gd name="connsiteY239" fmla="*/ 314325 h 1704975"/>
              <a:gd name="connsiteX240" fmla="*/ 489625 w 1293444"/>
              <a:gd name="connsiteY240" fmla="*/ 292100 h 1704975"/>
              <a:gd name="connsiteX241" fmla="*/ 461050 w 1293444"/>
              <a:gd name="connsiteY241" fmla="*/ 266700 h 1704975"/>
              <a:gd name="connsiteX242" fmla="*/ 435650 w 1293444"/>
              <a:gd name="connsiteY242" fmla="*/ 254000 h 1704975"/>
              <a:gd name="connsiteX243" fmla="*/ 413425 w 1293444"/>
              <a:gd name="connsiteY243" fmla="*/ 238125 h 1704975"/>
              <a:gd name="connsiteX244" fmla="*/ 403900 w 1293444"/>
              <a:gd name="connsiteY244" fmla="*/ 231775 h 1704975"/>
              <a:gd name="connsiteX245" fmla="*/ 388025 w 1293444"/>
              <a:gd name="connsiteY245" fmla="*/ 212725 h 1704975"/>
              <a:gd name="connsiteX246" fmla="*/ 372150 w 1293444"/>
              <a:gd name="connsiteY246" fmla="*/ 196850 h 1704975"/>
              <a:gd name="connsiteX247" fmla="*/ 359450 w 1293444"/>
              <a:gd name="connsiteY247" fmla="*/ 149225 h 1704975"/>
              <a:gd name="connsiteX248" fmla="*/ 362625 w 1293444"/>
              <a:gd name="connsiteY248" fmla="*/ 114300 h 1704975"/>
              <a:gd name="connsiteX249" fmla="*/ 368975 w 1293444"/>
              <a:gd name="connsiteY249" fmla="*/ 104775 h 1704975"/>
              <a:gd name="connsiteX250" fmla="*/ 375325 w 1293444"/>
              <a:gd name="connsiteY250"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7550 w 1293444"/>
              <a:gd name="connsiteY145" fmla="*/ 1416050 h 1704975"/>
              <a:gd name="connsiteX146" fmla="*/ 394375 w 1293444"/>
              <a:gd name="connsiteY146" fmla="*/ 1381125 h 1704975"/>
              <a:gd name="connsiteX147" fmla="*/ 391200 w 1293444"/>
              <a:gd name="connsiteY147" fmla="*/ 1368425 h 1704975"/>
              <a:gd name="connsiteX148" fmla="*/ 388025 w 1293444"/>
              <a:gd name="connsiteY148" fmla="*/ 1352550 h 1704975"/>
              <a:gd name="connsiteX149" fmla="*/ 381675 w 1293444"/>
              <a:gd name="connsiteY149" fmla="*/ 1333500 h 1704975"/>
              <a:gd name="connsiteX150" fmla="*/ 378500 w 1293444"/>
              <a:gd name="connsiteY150" fmla="*/ 1323975 h 1704975"/>
              <a:gd name="connsiteX151" fmla="*/ 375325 w 1293444"/>
              <a:gd name="connsiteY151" fmla="*/ 1308100 h 1704975"/>
              <a:gd name="connsiteX152" fmla="*/ 368975 w 1293444"/>
              <a:gd name="connsiteY152" fmla="*/ 1289050 h 1704975"/>
              <a:gd name="connsiteX153" fmla="*/ 362625 w 1293444"/>
              <a:gd name="connsiteY153" fmla="*/ 1260475 h 1704975"/>
              <a:gd name="connsiteX154" fmla="*/ 359450 w 1293444"/>
              <a:gd name="connsiteY154" fmla="*/ 1231900 h 1704975"/>
              <a:gd name="connsiteX155" fmla="*/ 349925 w 1293444"/>
              <a:gd name="connsiteY155" fmla="*/ 1196975 h 1704975"/>
              <a:gd name="connsiteX156" fmla="*/ 340400 w 1293444"/>
              <a:gd name="connsiteY156" fmla="*/ 1155700 h 1704975"/>
              <a:gd name="connsiteX157" fmla="*/ 334050 w 1293444"/>
              <a:gd name="connsiteY157" fmla="*/ 1130300 h 1704975"/>
              <a:gd name="connsiteX158" fmla="*/ 327700 w 1293444"/>
              <a:gd name="connsiteY158" fmla="*/ 1104900 h 1704975"/>
              <a:gd name="connsiteX159" fmla="*/ 324525 w 1293444"/>
              <a:gd name="connsiteY159" fmla="*/ 1092200 h 1704975"/>
              <a:gd name="connsiteX160" fmla="*/ 318175 w 1293444"/>
              <a:gd name="connsiteY160" fmla="*/ 1050925 h 1704975"/>
              <a:gd name="connsiteX161" fmla="*/ 315000 w 1293444"/>
              <a:gd name="connsiteY161" fmla="*/ 1031875 h 1704975"/>
              <a:gd name="connsiteX162" fmla="*/ 311825 w 1293444"/>
              <a:gd name="connsiteY162" fmla="*/ 1022350 h 1704975"/>
              <a:gd name="connsiteX163" fmla="*/ 308650 w 1293444"/>
              <a:gd name="connsiteY163" fmla="*/ 1006475 h 1704975"/>
              <a:gd name="connsiteX164" fmla="*/ 302300 w 1293444"/>
              <a:gd name="connsiteY164" fmla="*/ 987425 h 1704975"/>
              <a:gd name="connsiteX165" fmla="*/ 299125 w 1293444"/>
              <a:gd name="connsiteY165" fmla="*/ 974725 h 1704975"/>
              <a:gd name="connsiteX166" fmla="*/ 292775 w 1293444"/>
              <a:gd name="connsiteY166" fmla="*/ 955675 h 1704975"/>
              <a:gd name="connsiteX167" fmla="*/ 289600 w 1293444"/>
              <a:gd name="connsiteY167" fmla="*/ 946150 h 1704975"/>
              <a:gd name="connsiteX168" fmla="*/ 280075 w 1293444"/>
              <a:gd name="connsiteY168" fmla="*/ 923925 h 1704975"/>
              <a:gd name="connsiteX169" fmla="*/ 261025 w 1293444"/>
              <a:gd name="connsiteY169" fmla="*/ 908050 h 1704975"/>
              <a:gd name="connsiteX170" fmla="*/ 241975 w 1293444"/>
              <a:gd name="connsiteY170" fmla="*/ 901700 h 1704975"/>
              <a:gd name="connsiteX171" fmla="*/ 222925 w 1293444"/>
              <a:gd name="connsiteY171" fmla="*/ 889000 h 1704975"/>
              <a:gd name="connsiteX172" fmla="*/ 213400 w 1293444"/>
              <a:gd name="connsiteY172" fmla="*/ 885825 h 1704975"/>
              <a:gd name="connsiteX173" fmla="*/ 194350 w 1293444"/>
              <a:gd name="connsiteY173" fmla="*/ 873125 h 1704975"/>
              <a:gd name="connsiteX174" fmla="*/ 175300 w 1293444"/>
              <a:gd name="connsiteY174" fmla="*/ 860425 h 1704975"/>
              <a:gd name="connsiteX175" fmla="*/ 162600 w 1293444"/>
              <a:gd name="connsiteY175" fmla="*/ 850900 h 1704975"/>
              <a:gd name="connsiteX176" fmla="*/ 153075 w 1293444"/>
              <a:gd name="connsiteY176" fmla="*/ 847725 h 1704975"/>
              <a:gd name="connsiteX177" fmla="*/ 134025 w 1293444"/>
              <a:gd name="connsiteY177" fmla="*/ 835025 h 1704975"/>
              <a:gd name="connsiteX178" fmla="*/ 114975 w 1293444"/>
              <a:gd name="connsiteY178" fmla="*/ 822325 h 1704975"/>
              <a:gd name="connsiteX179" fmla="*/ 105450 w 1293444"/>
              <a:gd name="connsiteY179" fmla="*/ 815975 h 1704975"/>
              <a:gd name="connsiteX180" fmla="*/ 95925 w 1293444"/>
              <a:gd name="connsiteY180" fmla="*/ 812800 h 1704975"/>
              <a:gd name="connsiteX181" fmla="*/ 64175 w 1293444"/>
              <a:gd name="connsiteY181" fmla="*/ 790575 h 1704975"/>
              <a:gd name="connsiteX182" fmla="*/ 54650 w 1293444"/>
              <a:gd name="connsiteY182" fmla="*/ 787400 h 1704975"/>
              <a:gd name="connsiteX183" fmla="*/ 38775 w 1293444"/>
              <a:gd name="connsiteY183" fmla="*/ 771525 h 1704975"/>
              <a:gd name="connsiteX184" fmla="*/ 29250 w 1293444"/>
              <a:gd name="connsiteY184" fmla="*/ 762000 h 1704975"/>
              <a:gd name="connsiteX185" fmla="*/ 19725 w 1293444"/>
              <a:gd name="connsiteY185" fmla="*/ 758825 h 1704975"/>
              <a:gd name="connsiteX186" fmla="*/ 675 w 1293444"/>
              <a:gd name="connsiteY186" fmla="*/ 746125 h 1704975"/>
              <a:gd name="connsiteX187" fmla="*/ 51475 w 1293444"/>
              <a:gd name="connsiteY187" fmla="*/ 739775 h 1704975"/>
              <a:gd name="connsiteX188" fmla="*/ 67350 w 1293444"/>
              <a:gd name="connsiteY188" fmla="*/ 736600 h 1704975"/>
              <a:gd name="connsiteX189" fmla="*/ 102275 w 1293444"/>
              <a:gd name="connsiteY189" fmla="*/ 733425 h 1704975"/>
              <a:gd name="connsiteX190" fmla="*/ 130850 w 1293444"/>
              <a:gd name="connsiteY190" fmla="*/ 727075 h 1704975"/>
              <a:gd name="connsiteX191" fmla="*/ 149900 w 1293444"/>
              <a:gd name="connsiteY191" fmla="*/ 723900 h 1704975"/>
              <a:gd name="connsiteX192" fmla="*/ 159425 w 1293444"/>
              <a:gd name="connsiteY192" fmla="*/ 720725 h 1704975"/>
              <a:gd name="connsiteX193" fmla="*/ 175300 w 1293444"/>
              <a:gd name="connsiteY193" fmla="*/ 717550 h 1704975"/>
              <a:gd name="connsiteX194" fmla="*/ 194350 w 1293444"/>
              <a:gd name="connsiteY194" fmla="*/ 711200 h 1704975"/>
              <a:gd name="connsiteX195" fmla="*/ 222925 w 1293444"/>
              <a:gd name="connsiteY195" fmla="*/ 701675 h 1704975"/>
              <a:gd name="connsiteX196" fmla="*/ 232450 w 1293444"/>
              <a:gd name="connsiteY196" fmla="*/ 698500 h 1704975"/>
              <a:gd name="connsiteX197" fmla="*/ 241975 w 1293444"/>
              <a:gd name="connsiteY197" fmla="*/ 695325 h 1704975"/>
              <a:gd name="connsiteX198" fmla="*/ 381675 w 1293444"/>
              <a:gd name="connsiteY198" fmla="*/ 688975 h 1704975"/>
              <a:gd name="connsiteX199" fmla="*/ 397550 w 1293444"/>
              <a:gd name="connsiteY199" fmla="*/ 685800 h 1704975"/>
              <a:gd name="connsiteX200" fmla="*/ 407075 w 1293444"/>
              <a:gd name="connsiteY200" fmla="*/ 682625 h 1704975"/>
              <a:gd name="connsiteX201" fmla="*/ 419775 w 1293444"/>
              <a:gd name="connsiteY201" fmla="*/ 679450 h 1704975"/>
              <a:gd name="connsiteX202" fmla="*/ 438825 w 1293444"/>
              <a:gd name="connsiteY202" fmla="*/ 673100 h 1704975"/>
              <a:gd name="connsiteX203" fmla="*/ 467400 w 1293444"/>
              <a:gd name="connsiteY203" fmla="*/ 663575 h 1704975"/>
              <a:gd name="connsiteX204" fmla="*/ 495975 w 1293444"/>
              <a:gd name="connsiteY204" fmla="*/ 654050 h 1704975"/>
              <a:gd name="connsiteX205" fmla="*/ 505500 w 1293444"/>
              <a:gd name="connsiteY205" fmla="*/ 650875 h 1704975"/>
              <a:gd name="connsiteX206" fmla="*/ 527725 w 1293444"/>
              <a:gd name="connsiteY206" fmla="*/ 641350 h 1704975"/>
              <a:gd name="connsiteX207" fmla="*/ 537250 w 1293444"/>
              <a:gd name="connsiteY207" fmla="*/ 635000 h 1704975"/>
              <a:gd name="connsiteX208" fmla="*/ 546775 w 1293444"/>
              <a:gd name="connsiteY208" fmla="*/ 631825 h 1704975"/>
              <a:gd name="connsiteX209" fmla="*/ 559475 w 1293444"/>
              <a:gd name="connsiteY209" fmla="*/ 625475 h 1704975"/>
              <a:gd name="connsiteX210" fmla="*/ 578525 w 1293444"/>
              <a:gd name="connsiteY210" fmla="*/ 657225 h 1704975"/>
              <a:gd name="connsiteX211" fmla="*/ 588050 w 1293444"/>
              <a:gd name="connsiteY211" fmla="*/ 660400 h 1704975"/>
              <a:gd name="connsiteX212" fmla="*/ 607100 w 1293444"/>
              <a:gd name="connsiteY212" fmla="*/ 673100 h 1704975"/>
              <a:gd name="connsiteX213" fmla="*/ 626150 w 1293444"/>
              <a:gd name="connsiteY213" fmla="*/ 679450 h 1704975"/>
              <a:gd name="connsiteX214" fmla="*/ 635675 w 1293444"/>
              <a:gd name="connsiteY214" fmla="*/ 685800 h 1704975"/>
              <a:gd name="connsiteX215" fmla="*/ 654725 w 1293444"/>
              <a:gd name="connsiteY215" fmla="*/ 692150 h 1704975"/>
              <a:gd name="connsiteX216" fmla="*/ 645200 w 1293444"/>
              <a:gd name="connsiteY216" fmla="*/ 682625 h 1704975"/>
              <a:gd name="connsiteX217" fmla="*/ 635675 w 1293444"/>
              <a:gd name="connsiteY217" fmla="*/ 676275 h 1704975"/>
              <a:gd name="connsiteX218" fmla="*/ 632500 w 1293444"/>
              <a:gd name="connsiteY218" fmla="*/ 666750 h 1704975"/>
              <a:gd name="connsiteX219" fmla="*/ 635675 w 1293444"/>
              <a:gd name="connsiteY219" fmla="*/ 590550 h 1704975"/>
              <a:gd name="connsiteX220" fmla="*/ 642025 w 1293444"/>
              <a:gd name="connsiteY220" fmla="*/ 571500 h 1704975"/>
              <a:gd name="connsiteX221" fmla="*/ 648375 w 1293444"/>
              <a:gd name="connsiteY221" fmla="*/ 561975 h 1704975"/>
              <a:gd name="connsiteX222" fmla="*/ 638850 w 1293444"/>
              <a:gd name="connsiteY222" fmla="*/ 536575 h 1704975"/>
              <a:gd name="connsiteX223" fmla="*/ 629325 w 1293444"/>
              <a:gd name="connsiteY223" fmla="*/ 533400 h 1704975"/>
              <a:gd name="connsiteX224" fmla="*/ 626150 w 1293444"/>
              <a:gd name="connsiteY224" fmla="*/ 523875 h 1704975"/>
              <a:gd name="connsiteX225" fmla="*/ 632500 w 1293444"/>
              <a:gd name="connsiteY225" fmla="*/ 498475 h 1704975"/>
              <a:gd name="connsiteX226" fmla="*/ 635675 w 1293444"/>
              <a:gd name="connsiteY226" fmla="*/ 485775 h 1704975"/>
              <a:gd name="connsiteX227" fmla="*/ 626150 w 1293444"/>
              <a:gd name="connsiteY227" fmla="*/ 463550 h 1704975"/>
              <a:gd name="connsiteX228" fmla="*/ 616625 w 1293444"/>
              <a:gd name="connsiteY228" fmla="*/ 460375 h 1704975"/>
              <a:gd name="connsiteX229" fmla="*/ 607100 w 1293444"/>
              <a:gd name="connsiteY229" fmla="*/ 454025 h 1704975"/>
              <a:gd name="connsiteX230" fmla="*/ 591225 w 1293444"/>
              <a:gd name="connsiteY230" fmla="*/ 450850 h 1704975"/>
              <a:gd name="connsiteX231" fmla="*/ 569000 w 1293444"/>
              <a:gd name="connsiteY231" fmla="*/ 441325 h 1704975"/>
              <a:gd name="connsiteX232" fmla="*/ 546775 w 1293444"/>
              <a:gd name="connsiteY232" fmla="*/ 415925 h 1704975"/>
              <a:gd name="connsiteX233" fmla="*/ 540425 w 1293444"/>
              <a:gd name="connsiteY233" fmla="*/ 406400 h 1704975"/>
              <a:gd name="connsiteX234" fmla="*/ 530900 w 1293444"/>
              <a:gd name="connsiteY234" fmla="*/ 400050 h 1704975"/>
              <a:gd name="connsiteX235" fmla="*/ 508675 w 1293444"/>
              <a:gd name="connsiteY235" fmla="*/ 374650 h 1704975"/>
              <a:gd name="connsiteX236" fmla="*/ 502325 w 1293444"/>
              <a:gd name="connsiteY236" fmla="*/ 365125 h 1704975"/>
              <a:gd name="connsiteX237" fmla="*/ 483275 w 1293444"/>
              <a:gd name="connsiteY237" fmla="*/ 346075 h 1704975"/>
              <a:gd name="connsiteX238" fmla="*/ 486450 w 1293444"/>
              <a:gd name="connsiteY238" fmla="*/ 333375 h 1704975"/>
              <a:gd name="connsiteX239" fmla="*/ 492800 w 1293444"/>
              <a:gd name="connsiteY239" fmla="*/ 314325 h 1704975"/>
              <a:gd name="connsiteX240" fmla="*/ 489625 w 1293444"/>
              <a:gd name="connsiteY240" fmla="*/ 292100 h 1704975"/>
              <a:gd name="connsiteX241" fmla="*/ 461050 w 1293444"/>
              <a:gd name="connsiteY241" fmla="*/ 266700 h 1704975"/>
              <a:gd name="connsiteX242" fmla="*/ 435650 w 1293444"/>
              <a:gd name="connsiteY242" fmla="*/ 254000 h 1704975"/>
              <a:gd name="connsiteX243" fmla="*/ 413425 w 1293444"/>
              <a:gd name="connsiteY243" fmla="*/ 238125 h 1704975"/>
              <a:gd name="connsiteX244" fmla="*/ 403900 w 1293444"/>
              <a:gd name="connsiteY244" fmla="*/ 231775 h 1704975"/>
              <a:gd name="connsiteX245" fmla="*/ 388025 w 1293444"/>
              <a:gd name="connsiteY245" fmla="*/ 212725 h 1704975"/>
              <a:gd name="connsiteX246" fmla="*/ 372150 w 1293444"/>
              <a:gd name="connsiteY246" fmla="*/ 196850 h 1704975"/>
              <a:gd name="connsiteX247" fmla="*/ 362625 w 1293444"/>
              <a:gd name="connsiteY247" fmla="*/ 114300 h 1704975"/>
              <a:gd name="connsiteX248" fmla="*/ 368975 w 1293444"/>
              <a:gd name="connsiteY248" fmla="*/ 104775 h 1704975"/>
              <a:gd name="connsiteX249" fmla="*/ 375325 w 1293444"/>
              <a:gd name="connsiteY249"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7550 w 1293444"/>
              <a:gd name="connsiteY145" fmla="*/ 1416050 h 1704975"/>
              <a:gd name="connsiteX146" fmla="*/ 394375 w 1293444"/>
              <a:gd name="connsiteY146" fmla="*/ 1381125 h 1704975"/>
              <a:gd name="connsiteX147" fmla="*/ 391200 w 1293444"/>
              <a:gd name="connsiteY147" fmla="*/ 1368425 h 1704975"/>
              <a:gd name="connsiteX148" fmla="*/ 388025 w 1293444"/>
              <a:gd name="connsiteY148" fmla="*/ 1352550 h 1704975"/>
              <a:gd name="connsiteX149" fmla="*/ 381675 w 1293444"/>
              <a:gd name="connsiteY149" fmla="*/ 1333500 h 1704975"/>
              <a:gd name="connsiteX150" fmla="*/ 378500 w 1293444"/>
              <a:gd name="connsiteY150" fmla="*/ 1323975 h 1704975"/>
              <a:gd name="connsiteX151" fmla="*/ 375325 w 1293444"/>
              <a:gd name="connsiteY151" fmla="*/ 1308100 h 1704975"/>
              <a:gd name="connsiteX152" fmla="*/ 368975 w 1293444"/>
              <a:gd name="connsiteY152" fmla="*/ 1289050 h 1704975"/>
              <a:gd name="connsiteX153" fmla="*/ 362625 w 1293444"/>
              <a:gd name="connsiteY153" fmla="*/ 1260475 h 1704975"/>
              <a:gd name="connsiteX154" fmla="*/ 359450 w 1293444"/>
              <a:gd name="connsiteY154" fmla="*/ 1231900 h 1704975"/>
              <a:gd name="connsiteX155" fmla="*/ 349925 w 1293444"/>
              <a:gd name="connsiteY155" fmla="*/ 1196975 h 1704975"/>
              <a:gd name="connsiteX156" fmla="*/ 340400 w 1293444"/>
              <a:gd name="connsiteY156" fmla="*/ 1155700 h 1704975"/>
              <a:gd name="connsiteX157" fmla="*/ 334050 w 1293444"/>
              <a:gd name="connsiteY157" fmla="*/ 1130300 h 1704975"/>
              <a:gd name="connsiteX158" fmla="*/ 327700 w 1293444"/>
              <a:gd name="connsiteY158" fmla="*/ 1104900 h 1704975"/>
              <a:gd name="connsiteX159" fmla="*/ 324525 w 1293444"/>
              <a:gd name="connsiteY159" fmla="*/ 1092200 h 1704975"/>
              <a:gd name="connsiteX160" fmla="*/ 318175 w 1293444"/>
              <a:gd name="connsiteY160" fmla="*/ 1050925 h 1704975"/>
              <a:gd name="connsiteX161" fmla="*/ 315000 w 1293444"/>
              <a:gd name="connsiteY161" fmla="*/ 1031875 h 1704975"/>
              <a:gd name="connsiteX162" fmla="*/ 311825 w 1293444"/>
              <a:gd name="connsiteY162" fmla="*/ 1022350 h 1704975"/>
              <a:gd name="connsiteX163" fmla="*/ 308650 w 1293444"/>
              <a:gd name="connsiteY163" fmla="*/ 1006475 h 1704975"/>
              <a:gd name="connsiteX164" fmla="*/ 302300 w 1293444"/>
              <a:gd name="connsiteY164" fmla="*/ 987425 h 1704975"/>
              <a:gd name="connsiteX165" fmla="*/ 299125 w 1293444"/>
              <a:gd name="connsiteY165" fmla="*/ 974725 h 1704975"/>
              <a:gd name="connsiteX166" fmla="*/ 292775 w 1293444"/>
              <a:gd name="connsiteY166" fmla="*/ 955675 h 1704975"/>
              <a:gd name="connsiteX167" fmla="*/ 289600 w 1293444"/>
              <a:gd name="connsiteY167" fmla="*/ 946150 h 1704975"/>
              <a:gd name="connsiteX168" fmla="*/ 280075 w 1293444"/>
              <a:gd name="connsiteY168" fmla="*/ 923925 h 1704975"/>
              <a:gd name="connsiteX169" fmla="*/ 261025 w 1293444"/>
              <a:gd name="connsiteY169" fmla="*/ 908050 h 1704975"/>
              <a:gd name="connsiteX170" fmla="*/ 241975 w 1293444"/>
              <a:gd name="connsiteY170" fmla="*/ 901700 h 1704975"/>
              <a:gd name="connsiteX171" fmla="*/ 222925 w 1293444"/>
              <a:gd name="connsiteY171" fmla="*/ 889000 h 1704975"/>
              <a:gd name="connsiteX172" fmla="*/ 213400 w 1293444"/>
              <a:gd name="connsiteY172" fmla="*/ 885825 h 1704975"/>
              <a:gd name="connsiteX173" fmla="*/ 194350 w 1293444"/>
              <a:gd name="connsiteY173" fmla="*/ 873125 h 1704975"/>
              <a:gd name="connsiteX174" fmla="*/ 175300 w 1293444"/>
              <a:gd name="connsiteY174" fmla="*/ 860425 h 1704975"/>
              <a:gd name="connsiteX175" fmla="*/ 162600 w 1293444"/>
              <a:gd name="connsiteY175" fmla="*/ 850900 h 1704975"/>
              <a:gd name="connsiteX176" fmla="*/ 153075 w 1293444"/>
              <a:gd name="connsiteY176" fmla="*/ 847725 h 1704975"/>
              <a:gd name="connsiteX177" fmla="*/ 134025 w 1293444"/>
              <a:gd name="connsiteY177" fmla="*/ 835025 h 1704975"/>
              <a:gd name="connsiteX178" fmla="*/ 114975 w 1293444"/>
              <a:gd name="connsiteY178" fmla="*/ 822325 h 1704975"/>
              <a:gd name="connsiteX179" fmla="*/ 105450 w 1293444"/>
              <a:gd name="connsiteY179" fmla="*/ 815975 h 1704975"/>
              <a:gd name="connsiteX180" fmla="*/ 95925 w 1293444"/>
              <a:gd name="connsiteY180" fmla="*/ 812800 h 1704975"/>
              <a:gd name="connsiteX181" fmla="*/ 64175 w 1293444"/>
              <a:gd name="connsiteY181" fmla="*/ 790575 h 1704975"/>
              <a:gd name="connsiteX182" fmla="*/ 54650 w 1293444"/>
              <a:gd name="connsiteY182" fmla="*/ 787400 h 1704975"/>
              <a:gd name="connsiteX183" fmla="*/ 38775 w 1293444"/>
              <a:gd name="connsiteY183" fmla="*/ 771525 h 1704975"/>
              <a:gd name="connsiteX184" fmla="*/ 29250 w 1293444"/>
              <a:gd name="connsiteY184" fmla="*/ 762000 h 1704975"/>
              <a:gd name="connsiteX185" fmla="*/ 19725 w 1293444"/>
              <a:gd name="connsiteY185" fmla="*/ 758825 h 1704975"/>
              <a:gd name="connsiteX186" fmla="*/ 675 w 1293444"/>
              <a:gd name="connsiteY186" fmla="*/ 746125 h 1704975"/>
              <a:gd name="connsiteX187" fmla="*/ 51475 w 1293444"/>
              <a:gd name="connsiteY187" fmla="*/ 739775 h 1704975"/>
              <a:gd name="connsiteX188" fmla="*/ 67350 w 1293444"/>
              <a:gd name="connsiteY188" fmla="*/ 736600 h 1704975"/>
              <a:gd name="connsiteX189" fmla="*/ 102275 w 1293444"/>
              <a:gd name="connsiteY189" fmla="*/ 733425 h 1704975"/>
              <a:gd name="connsiteX190" fmla="*/ 130850 w 1293444"/>
              <a:gd name="connsiteY190" fmla="*/ 727075 h 1704975"/>
              <a:gd name="connsiteX191" fmla="*/ 149900 w 1293444"/>
              <a:gd name="connsiteY191" fmla="*/ 723900 h 1704975"/>
              <a:gd name="connsiteX192" fmla="*/ 159425 w 1293444"/>
              <a:gd name="connsiteY192" fmla="*/ 720725 h 1704975"/>
              <a:gd name="connsiteX193" fmla="*/ 175300 w 1293444"/>
              <a:gd name="connsiteY193" fmla="*/ 717550 h 1704975"/>
              <a:gd name="connsiteX194" fmla="*/ 194350 w 1293444"/>
              <a:gd name="connsiteY194" fmla="*/ 711200 h 1704975"/>
              <a:gd name="connsiteX195" fmla="*/ 222925 w 1293444"/>
              <a:gd name="connsiteY195" fmla="*/ 701675 h 1704975"/>
              <a:gd name="connsiteX196" fmla="*/ 232450 w 1293444"/>
              <a:gd name="connsiteY196" fmla="*/ 698500 h 1704975"/>
              <a:gd name="connsiteX197" fmla="*/ 241975 w 1293444"/>
              <a:gd name="connsiteY197" fmla="*/ 695325 h 1704975"/>
              <a:gd name="connsiteX198" fmla="*/ 381675 w 1293444"/>
              <a:gd name="connsiteY198" fmla="*/ 688975 h 1704975"/>
              <a:gd name="connsiteX199" fmla="*/ 397550 w 1293444"/>
              <a:gd name="connsiteY199" fmla="*/ 685800 h 1704975"/>
              <a:gd name="connsiteX200" fmla="*/ 407075 w 1293444"/>
              <a:gd name="connsiteY200" fmla="*/ 682625 h 1704975"/>
              <a:gd name="connsiteX201" fmla="*/ 419775 w 1293444"/>
              <a:gd name="connsiteY201" fmla="*/ 679450 h 1704975"/>
              <a:gd name="connsiteX202" fmla="*/ 438825 w 1293444"/>
              <a:gd name="connsiteY202" fmla="*/ 673100 h 1704975"/>
              <a:gd name="connsiteX203" fmla="*/ 467400 w 1293444"/>
              <a:gd name="connsiteY203" fmla="*/ 663575 h 1704975"/>
              <a:gd name="connsiteX204" fmla="*/ 495975 w 1293444"/>
              <a:gd name="connsiteY204" fmla="*/ 654050 h 1704975"/>
              <a:gd name="connsiteX205" fmla="*/ 505500 w 1293444"/>
              <a:gd name="connsiteY205" fmla="*/ 650875 h 1704975"/>
              <a:gd name="connsiteX206" fmla="*/ 527725 w 1293444"/>
              <a:gd name="connsiteY206" fmla="*/ 641350 h 1704975"/>
              <a:gd name="connsiteX207" fmla="*/ 537250 w 1293444"/>
              <a:gd name="connsiteY207" fmla="*/ 635000 h 1704975"/>
              <a:gd name="connsiteX208" fmla="*/ 546775 w 1293444"/>
              <a:gd name="connsiteY208" fmla="*/ 631825 h 1704975"/>
              <a:gd name="connsiteX209" fmla="*/ 559475 w 1293444"/>
              <a:gd name="connsiteY209" fmla="*/ 625475 h 1704975"/>
              <a:gd name="connsiteX210" fmla="*/ 578525 w 1293444"/>
              <a:gd name="connsiteY210" fmla="*/ 657225 h 1704975"/>
              <a:gd name="connsiteX211" fmla="*/ 588050 w 1293444"/>
              <a:gd name="connsiteY211" fmla="*/ 660400 h 1704975"/>
              <a:gd name="connsiteX212" fmla="*/ 607100 w 1293444"/>
              <a:gd name="connsiteY212" fmla="*/ 673100 h 1704975"/>
              <a:gd name="connsiteX213" fmla="*/ 626150 w 1293444"/>
              <a:gd name="connsiteY213" fmla="*/ 679450 h 1704975"/>
              <a:gd name="connsiteX214" fmla="*/ 635675 w 1293444"/>
              <a:gd name="connsiteY214" fmla="*/ 685800 h 1704975"/>
              <a:gd name="connsiteX215" fmla="*/ 654725 w 1293444"/>
              <a:gd name="connsiteY215" fmla="*/ 692150 h 1704975"/>
              <a:gd name="connsiteX216" fmla="*/ 645200 w 1293444"/>
              <a:gd name="connsiteY216" fmla="*/ 682625 h 1704975"/>
              <a:gd name="connsiteX217" fmla="*/ 635675 w 1293444"/>
              <a:gd name="connsiteY217" fmla="*/ 676275 h 1704975"/>
              <a:gd name="connsiteX218" fmla="*/ 632500 w 1293444"/>
              <a:gd name="connsiteY218" fmla="*/ 666750 h 1704975"/>
              <a:gd name="connsiteX219" fmla="*/ 635675 w 1293444"/>
              <a:gd name="connsiteY219" fmla="*/ 590550 h 1704975"/>
              <a:gd name="connsiteX220" fmla="*/ 642025 w 1293444"/>
              <a:gd name="connsiteY220" fmla="*/ 571500 h 1704975"/>
              <a:gd name="connsiteX221" fmla="*/ 648375 w 1293444"/>
              <a:gd name="connsiteY221" fmla="*/ 561975 h 1704975"/>
              <a:gd name="connsiteX222" fmla="*/ 638850 w 1293444"/>
              <a:gd name="connsiteY222" fmla="*/ 536575 h 1704975"/>
              <a:gd name="connsiteX223" fmla="*/ 629325 w 1293444"/>
              <a:gd name="connsiteY223" fmla="*/ 533400 h 1704975"/>
              <a:gd name="connsiteX224" fmla="*/ 626150 w 1293444"/>
              <a:gd name="connsiteY224" fmla="*/ 523875 h 1704975"/>
              <a:gd name="connsiteX225" fmla="*/ 632500 w 1293444"/>
              <a:gd name="connsiteY225" fmla="*/ 498475 h 1704975"/>
              <a:gd name="connsiteX226" fmla="*/ 635675 w 1293444"/>
              <a:gd name="connsiteY226" fmla="*/ 485775 h 1704975"/>
              <a:gd name="connsiteX227" fmla="*/ 626150 w 1293444"/>
              <a:gd name="connsiteY227" fmla="*/ 463550 h 1704975"/>
              <a:gd name="connsiteX228" fmla="*/ 616625 w 1293444"/>
              <a:gd name="connsiteY228" fmla="*/ 460375 h 1704975"/>
              <a:gd name="connsiteX229" fmla="*/ 607100 w 1293444"/>
              <a:gd name="connsiteY229" fmla="*/ 454025 h 1704975"/>
              <a:gd name="connsiteX230" fmla="*/ 591225 w 1293444"/>
              <a:gd name="connsiteY230" fmla="*/ 450850 h 1704975"/>
              <a:gd name="connsiteX231" fmla="*/ 569000 w 1293444"/>
              <a:gd name="connsiteY231" fmla="*/ 441325 h 1704975"/>
              <a:gd name="connsiteX232" fmla="*/ 546775 w 1293444"/>
              <a:gd name="connsiteY232" fmla="*/ 415925 h 1704975"/>
              <a:gd name="connsiteX233" fmla="*/ 540425 w 1293444"/>
              <a:gd name="connsiteY233" fmla="*/ 406400 h 1704975"/>
              <a:gd name="connsiteX234" fmla="*/ 530900 w 1293444"/>
              <a:gd name="connsiteY234" fmla="*/ 400050 h 1704975"/>
              <a:gd name="connsiteX235" fmla="*/ 508675 w 1293444"/>
              <a:gd name="connsiteY235" fmla="*/ 374650 h 1704975"/>
              <a:gd name="connsiteX236" fmla="*/ 502325 w 1293444"/>
              <a:gd name="connsiteY236" fmla="*/ 365125 h 1704975"/>
              <a:gd name="connsiteX237" fmla="*/ 483275 w 1293444"/>
              <a:gd name="connsiteY237" fmla="*/ 346075 h 1704975"/>
              <a:gd name="connsiteX238" fmla="*/ 486450 w 1293444"/>
              <a:gd name="connsiteY238" fmla="*/ 333375 h 1704975"/>
              <a:gd name="connsiteX239" fmla="*/ 492800 w 1293444"/>
              <a:gd name="connsiteY239" fmla="*/ 314325 h 1704975"/>
              <a:gd name="connsiteX240" fmla="*/ 489625 w 1293444"/>
              <a:gd name="connsiteY240" fmla="*/ 292100 h 1704975"/>
              <a:gd name="connsiteX241" fmla="*/ 461050 w 1293444"/>
              <a:gd name="connsiteY241" fmla="*/ 266700 h 1704975"/>
              <a:gd name="connsiteX242" fmla="*/ 435650 w 1293444"/>
              <a:gd name="connsiteY242" fmla="*/ 254000 h 1704975"/>
              <a:gd name="connsiteX243" fmla="*/ 413425 w 1293444"/>
              <a:gd name="connsiteY243" fmla="*/ 238125 h 1704975"/>
              <a:gd name="connsiteX244" fmla="*/ 403900 w 1293444"/>
              <a:gd name="connsiteY244" fmla="*/ 231775 h 1704975"/>
              <a:gd name="connsiteX245" fmla="*/ 388025 w 1293444"/>
              <a:gd name="connsiteY245" fmla="*/ 212725 h 1704975"/>
              <a:gd name="connsiteX246" fmla="*/ 362625 w 1293444"/>
              <a:gd name="connsiteY246" fmla="*/ 114300 h 1704975"/>
              <a:gd name="connsiteX247" fmla="*/ 368975 w 1293444"/>
              <a:gd name="connsiteY247" fmla="*/ 104775 h 1704975"/>
              <a:gd name="connsiteX248" fmla="*/ 375325 w 1293444"/>
              <a:gd name="connsiteY248"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7550 w 1293444"/>
              <a:gd name="connsiteY145" fmla="*/ 1416050 h 1704975"/>
              <a:gd name="connsiteX146" fmla="*/ 394375 w 1293444"/>
              <a:gd name="connsiteY146" fmla="*/ 1381125 h 1704975"/>
              <a:gd name="connsiteX147" fmla="*/ 391200 w 1293444"/>
              <a:gd name="connsiteY147" fmla="*/ 1368425 h 1704975"/>
              <a:gd name="connsiteX148" fmla="*/ 388025 w 1293444"/>
              <a:gd name="connsiteY148" fmla="*/ 1352550 h 1704975"/>
              <a:gd name="connsiteX149" fmla="*/ 381675 w 1293444"/>
              <a:gd name="connsiteY149" fmla="*/ 1333500 h 1704975"/>
              <a:gd name="connsiteX150" fmla="*/ 378500 w 1293444"/>
              <a:gd name="connsiteY150" fmla="*/ 1323975 h 1704975"/>
              <a:gd name="connsiteX151" fmla="*/ 375325 w 1293444"/>
              <a:gd name="connsiteY151" fmla="*/ 1308100 h 1704975"/>
              <a:gd name="connsiteX152" fmla="*/ 368975 w 1293444"/>
              <a:gd name="connsiteY152" fmla="*/ 1289050 h 1704975"/>
              <a:gd name="connsiteX153" fmla="*/ 362625 w 1293444"/>
              <a:gd name="connsiteY153" fmla="*/ 1260475 h 1704975"/>
              <a:gd name="connsiteX154" fmla="*/ 359450 w 1293444"/>
              <a:gd name="connsiteY154" fmla="*/ 1231900 h 1704975"/>
              <a:gd name="connsiteX155" fmla="*/ 349925 w 1293444"/>
              <a:gd name="connsiteY155" fmla="*/ 1196975 h 1704975"/>
              <a:gd name="connsiteX156" fmla="*/ 340400 w 1293444"/>
              <a:gd name="connsiteY156" fmla="*/ 1155700 h 1704975"/>
              <a:gd name="connsiteX157" fmla="*/ 334050 w 1293444"/>
              <a:gd name="connsiteY157" fmla="*/ 1130300 h 1704975"/>
              <a:gd name="connsiteX158" fmla="*/ 327700 w 1293444"/>
              <a:gd name="connsiteY158" fmla="*/ 1104900 h 1704975"/>
              <a:gd name="connsiteX159" fmla="*/ 324525 w 1293444"/>
              <a:gd name="connsiteY159" fmla="*/ 1092200 h 1704975"/>
              <a:gd name="connsiteX160" fmla="*/ 318175 w 1293444"/>
              <a:gd name="connsiteY160" fmla="*/ 1050925 h 1704975"/>
              <a:gd name="connsiteX161" fmla="*/ 315000 w 1293444"/>
              <a:gd name="connsiteY161" fmla="*/ 1031875 h 1704975"/>
              <a:gd name="connsiteX162" fmla="*/ 311825 w 1293444"/>
              <a:gd name="connsiteY162" fmla="*/ 1022350 h 1704975"/>
              <a:gd name="connsiteX163" fmla="*/ 308650 w 1293444"/>
              <a:gd name="connsiteY163" fmla="*/ 1006475 h 1704975"/>
              <a:gd name="connsiteX164" fmla="*/ 302300 w 1293444"/>
              <a:gd name="connsiteY164" fmla="*/ 987425 h 1704975"/>
              <a:gd name="connsiteX165" fmla="*/ 299125 w 1293444"/>
              <a:gd name="connsiteY165" fmla="*/ 974725 h 1704975"/>
              <a:gd name="connsiteX166" fmla="*/ 292775 w 1293444"/>
              <a:gd name="connsiteY166" fmla="*/ 955675 h 1704975"/>
              <a:gd name="connsiteX167" fmla="*/ 289600 w 1293444"/>
              <a:gd name="connsiteY167" fmla="*/ 946150 h 1704975"/>
              <a:gd name="connsiteX168" fmla="*/ 280075 w 1293444"/>
              <a:gd name="connsiteY168" fmla="*/ 923925 h 1704975"/>
              <a:gd name="connsiteX169" fmla="*/ 261025 w 1293444"/>
              <a:gd name="connsiteY169" fmla="*/ 908050 h 1704975"/>
              <a:gd name="connsiteX170" fmla="*/ 241975 w 1293444"/>
              <a:gd name="connsiteY170" fmla="*/ 901700 h 1704975"/>
              <a:gd name="connsiteX171" fmla="*/ 222925 w 1293444"/>
              <a:gd name="connsiteY171" fmla="*/ 889000 h 1704975"/>
              <a:gd name="connsiteX172" fmla="*/ 213400 w 1293444"/>
              <a:gd name="connsiteY172" fmla="*/ 885825 h 1704975"/>
              <a:gd name="connsiteX173" fmla="*/ 194350 w 1293444"/>
              <a:gd name="connsiteY173" fmla="*/ 873125 h 1704975"/>
              <a:gd name="connsiteX174" fmla="*/ 175300 w 1293444"/>
              <a:gd name="connsiteY174" fmla="*/ 860425 h 1704975"/>
              <a:gd name="connsiteX175" fmla="*/ 162600 w 1293444"/>
              <a:gd name="connsiteY175" fmla="*/ 850900 h 1704975"/>
              <a:gd name="connsiteX176" fmla="*/ 153075 w 1293444"/>
              <a:gd name="connsiteY176" fmla="*/ 847725 h 1704975"/>
              <a:gd name="connsiteX177" fmla="*/ 134025 w 1293444"/>
              <a:gd name="connsiteY177" fmla="*/ 835025 h 1704975"/>
              <a:gd name="connsiteX178" fmla="*/ 114975 w 1293444"/>
              <a:gd name="connsiteY178" fmla="*/ 822325 h 1704975"/>
              <a:gd name="connsiteX179" fmla="*/ 105450 w 1293444"/>
              <a:gd name="connsiteY179" fmla="*/ 815975 h 1704975"/>
              <a:gd name="connsiteX180" fmla="*/ 95925 w 1293444"/>
              <a:gd name="connsiteY180" fmla="*/ 812800 h 1704975"/>
              <a:gd name="connsiteX181" fmla="*/ 64175 w 1293444"/>
              <a:gd name="connsiteY181" fmla="*/ 790575 h 1704975"/>
              <a:gd name="connsiteX182" fmla="*/ 54650 w 1293444"/>
              <a:gd name="connsiteY182" fmla="*/ 787400 h 1704975"/>
              <a:gd name="connsiteX183" fmla="*/ 38775 w 1293444"/>
              <a:gd name="connsiteY183" fmla="*/ 771525 h 1704975"/>
              <a:gd name="connsiteX184" fmla="*/ 29250 w 1293444"/>
              <a:gd name="connsiteY184" fmla="*/ 762000 h 1704975"/>
              <a:gd name="connsiteX185" fmla="*/ 19725 w 1293444"/>
              <a:gd name="connsiteY185" fmla="*/ 758825 h 1704975"/>
              <a:gd name="connsiteX186" fmla="*/ 675 w 1293444"/>
              <a:gd name="connsiteY186" fmla="*/ 746125 h 1704975"/>
              <a:gd name="connsiteX187" fmla="*/ 51475 w 1293444"/>
              <a:gd name="connsiteY187" fmla="*/ 739775 h 1704975"/>
              <a:gd name="connsiteX188" fmla="*/ 67350 w 1293444"/>
              <a:gd name="connsiteY188" fmla="*/ 736600 h 1704975"/>
              <a:gd name="connsiteX189" fmla="*/ 102275 w 1293444"/>
              <a:gd name="connsiteY189" fmla="*/ 733425 h 1704975"/>
              <a:gd name="connsiteX190" fmla="*/ 130850 w 1293444"/>
              <a:gd name="connsiteY190" fmla="*/ 727075 h 1704975"/>
              <a:gd name="connsiteX191" fmla="*/ 149900 w 1293444"/>
              <a:gd name="connsiteY191" fmla="*/ 723900 h 1704975"/>
              <a:gd name="connsiteX192" fmla="*/ 159425 w 1293444"/>
              <a:gd name="connsiteY192" fmla="*/ 720725 h 1704975"/>
              <a:gd name="connsiteX193" fmla="*/ 175300 w 1293444"/>
              <a:gd name="connsiteY193" fmla="*/ 717550 h 1704975"/>
              <a:gd name="connsiteX194" fmla="*/ 194350 w 1293444"/>
              <a:gd name="connsiteY194" fmla="*/ 711200 h 1704975"/>
              <a:gd name="connsiteX195" fmla="*/ 222925 w 1293444"/>
              <a:gd name="connsiteY195" fmla="*/ 701675 h 1704975"/>
              <a:gd name="connsiteX196" fmla="*/ 232450 w 1293444"/>
              <a:gd name="connsiteY196" fmla="*/ 698500 h 1704975"/>
              <a:gd name="connsiteX197" fmla="*/ 241975 w 1293444"/>
              <a:gd name="connsiteY197" fmla="*/ 695325 h 1704975"/>
              <a:gd name="connsiteX198" fmla="*/ 381675 w 1293444"/>
              <a:gd name="connsiteY198" fmla="*/ 688975 h 1704975"/>
              <a:gd name="connsiteX199" fmla="*/ 397550 w 1293444"/>
              <a:gd name="connsiteY199" fmla="*/ 685800 h 1704975"/>
              <a:gd name="connsiteX200" fmla="*/ 407075 w 1293444"/>
              <a:gd name="connsiteY200" fmla="*/ 682625 h 1704975"/>
              <a:gd name="connsiteX201" fmla="*/ 419775 w 1293444"/>
              <a:gd name="connsiteY201" fmla="*/ 679450 h 1704975"/>
              <a:gd name="connsiteX202" fmla="*/ 438825 w 1293444"/>
              <a:gd name="connsiteY202" fmla="*/ 673100 h 1704975"/>
              <a:gd name="connsiteX203" fmla="*/ 467400 w 1293444"/>
              <a:gd name="connsiteY203" fmla="*/ 663575 h 1704975"/>
              <a:gd name="connsiteX204" fmla="*/ 495975 w 1293444"/>
              <a:gd name="connsiteY204" fmla="*/ 654050 h 1704975"/>
              <a:gd name="connsiteX205" fmla="*/ 505500 w 1293444"/>
              <a:gd name="connsiteY205" fmla="*/ 650875 h 1704975"/>
              <a:gd name="connsiteX206" fmla="*/ 527725 w 1293444"/>
              <a:gd name="connsiteY206" fmla="*/ 641350 h 1704975"/>
              <a:gd name="connsiteX207" fmla="*/ 537250 w 1293444"/>
              <a:gd name="connsiteY207" fmla="*/ 635000 h 1704975"/>
              <a:gd name="connsiteX208" fmla="*/ 546775 w 1293444"/>
              <a:gd name="connsiteY208" fmla="*/ 631825 h 1704975"/>
              <a:gd name="connsiteX209" fmla="*/ 559475 w 1293444"/>
              <a:gd name="connsiteY209" fmla="*/ 625475 h 1704975"/>
              <a:gd name="connsiteX210" fmla="*/ 578525 w 1293444"/>
              <a:gd name="connsiteY210" fmla="*/ 657225 h 1704975"/>
              <a:gd name="connsiteX211" fmla="*/ 588050 w 1293444"/>
              <a:gd name="connsiteY211" fmla="*/ 660400 h 1704975"/>
              <a:gd name="connsiteX212" fmla="*/ 607100 w 1293444"/>
              <a:gd name="connsiteY212" fmla="*/ 673100 h 1704975"/>
              <a:gd name="connsiteX213" fmla="*/ 626150 w 1293444"/>
              <a:gd name="connsiteY213" fmla="*/ 679450 h 1704975"/>
              <a:gd name="connsiteX214" fmla="*/ 635675 w 1293444"/>
              <a:gd name="connsiteY214" fmla="*/ 685800 h 1704975"/>
              <a:gd name="connsiteX215" fmla="*/ 654725 w 1293444"/>
              <a:gd name="connsiteY215" fmla="*/ 692150 h 1704975"/>
              <a:gd name="connsiteX216" fmla="*/ 645200 w 1293444"/>
              <a:gd name="connsiteY216" fmla="*/ 682625 h 1704975"/>
              <a:gd name="connsiteX217" fmla="*/ 635675 w 1293444"/>
              <a:gd name="connsiteY217" fmla="*/ 676275 h 1704975"/>
              <a:gd name="connsiteX218" fmla="*/ 632500 w 1293444"/>
              <a:gd name="connsiteY218" fmla="*/ 666750 h 1704975"/>
              <a:gd name="connsiteX219" fmla="*/ 635675 w 1293444"/>
              <a:gd name="connsiteY219" fmla="*/ 590550 h 1704975"/>
              <a:gd name="connsiteX220" fmla="*/ 642025 w 1293444"/>
              <a:gd name="connsiteY220" fmla="*/ 571500 h 1704975"/>
              <a:gd name="connsiteX221" fmla="*/ 648375 w 1293444"/>
              <a:gd name="connsiteY221" fmla="*/ 561975 h 1704975"/>
              <a:gd name="connsiteX222" fmla="*/ 638850 w 1293444"/>
              <a:gd name="connsiteY222" fmla="*/ 536575 h 1704975"/>
              <a:gd name="connsiteX223" fmla="*/ 629325 w 1293444"/>
              <a:gd name="connsiteY223" fmla="*/ 533400 h 1704975"/>
              <a:gd name="connsiteX224" fmla="*/ 626150 w 1293444"/>
              <a:gd name="connsiteY224" fmla="*/ 523875 h 1704975"/>
              <a:gd name="connsiteX225" fmla="*/ 632500 w 1293444"/>
              <a:gd name="connsiteY225" fmla="*/ 498475 h 1704975"/>
              <a:gd name="connsiteX226" fmla="*/ 635675 w 1293444"/>
              <a:gd name="connsiteY226" fmla="*/ 485775 h 1704975"/>
              <a:gd name="connsiteX227" fmla="*/ 626150 w 1293444"/>
              <a:gd name="connsiteY227" fmla="*/ 463550 h 1704975"/>
              <a:gd name="connsiteX228" fmla="*/ 616625 w 1293444"/>
              <a:gd name="connsiteY228" fmla="*/ 460375 h 1704975"/>
              <a:gd name="connsiteX229" fmla="*/ 607100 w 1293444"/>
              <a:gd name="connsiteY229" fmla="*/ 454025 h 1704975"/>
              <a:gd name="connsiteX230" fmla="*/ 591225 w 1293444"/>
              <a:gd name="connsiteY230" fmla="*/ 450850 h 1704975"/>
              <a:gd name="connsiteX231" fmla="*/ 569000 w 1293444"/>
              <a:gd name="connsiteY231" fmla="*/ 441325 h 1704975"/>
              <a:gd name="connsiteX232" fmla="*/ 546775 w 1293444"/>
              <a:gd name="connsiteY232" fmla="*/ 415925 h 1704975"/>
              <a:gd name="connsiteX233" fmla="*/ 540425 w 1293444"/>
              <a:gd name="connsiteY233" fmla="*/ 406400 h 1704975"/>
              <a:gd name="connsiteX234" fmla="*/ 530900 w 1293444"/>
              <a:gd name="connsiteY234" fmla="*/ 400050 h 1704975"/>
              <a:gd name="connsiteX235" fmla="*/ 508675 w 1293444"/>
              <a:gd name="connsiteY235" fmla="*/ 374650 h 1704975"/>
              <a:gd name="connsiteX236" fmla="*/ 502325 w 1293444"/>
              <a:gd name="connsiteY236" fmla="*/ 365125 h 1704975"/>
              <a:gd name="connsiteX237" fmla="*/ 483275 w 1293444"/>
              <a:gd name="connsiteY237" fmla="*/ 346075 h 1704975"/>
              <a:gd name="connsiteX238" fmla="*/ 486450 w 1293444"/>
              <a:gd name="connsiteY238" fmla="*/ 333375 h 1704975"/>
              <a:gd name="connsiteX239" fmla="*/ 492800 w 1293444"/>
              <a:gd name="connsiteY239" fmla="*/ 314325 h 1704975"/>
              <a:gd name="connsiteX240" fmla="*/ 489625 w 1293444"/>
              <a:gd name="connsiteY240" fmla="*/ 292100 h 1704975"/>
              <a:gd name="connsiteX241" fmla="*/ 461050 w 1293444"/>
              <a:gd name="connsiteY241" fmla="*/ 266700 h 1704975"/>
              <a:gd name="connsiteX242" fmla="*/ 435650 w 1293444"/>
              <a:gd name="connsiteY242" fmla="*/ 254000 h 1704975"/>
              <a:gd name="connsiteX243" fmla="*/ 413425 w 1293444"/>
              <a:gd name="connsiteY243" fmla="*/ 238125 h 1704975"/>
              <a:gd name="connsiteX244" fmla="*/ 403900 w 1293444"/>
              <a:gd name="connsiteY244" fmla="*/ 231775 h 1704975"/>
              <a:gd name="connsiteX245" fmla="*/ 362625 w 1293444"/>
              <a:gd name="connsiteY245" fmla="*/ 114300 h 1704975"/>
              <a:gd name="connsiteX246" fmla="*/ 368975 w 1293444"/>
              <a:gd name="connsiteY246" fmla="*/ 104775 h 1704975"/>
              <a:gd name="connsiteX247" fmla="*/ 375325 w 1293444"/>
              <a:gd name="connsiteY247"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7550 w 1293444"/>
              <a:gd name="connsiteY145" fmla="*/ 1416050 h 1704975"/>
              <a:gd name="connsiteX146" fmla="*/ 394375 w 1293444"/>
              <a:gd name="connsiteY146" fmla="*/ 1381125 h 1704975"/>
              <a:gd name="connsiteX147" fmla="*/ 391200 w 1293444"/>
              <a:gd name="connsiteY147" fmla="*/ 1368425 h 1704975"/>
              <a:gd name="connsiteX148" fmla="*/ 388025 w 1293444"/>
              <a:gd name="connsiteY148" fmla="*/ 1352550 h 1704975"/>
              <a:gd name="connsiteX149" fmla="*/ 381675 w 1293444"/>
              <a:gd name="connsiteY149" fmla="*/ 1333500 h 1704975"/>
              <a:gd name="connsiteX150" fmla="*/ 378500 w 1293444"/>
              <a:gd name="connsiteY150" fmla="*/ 1323975 h 1704975"/>
              <a:gd name="connsiteX151" fmla="*/ 375325 w 1293444"/>
              <a:gd name="connsiteY151" fmla="*/ 1308100 h 1704975"/>
              <a:gd name="connsiteX152" fmla="*/ 368975 w 1293444"/>
              <a:gd name="connsiteY152" fmla="*/ 1289050 h 1704975"/>
              <a:gd name="connsiteX153" fmla="*/ 362625 w 1293444"/>
              <a:gd name="connsiteY153" fmla="*/ 1260475 h 1704975"/>
              <a:gd name="connsiteX154" fmla="*/ 359450 w 1293444"/>
              <a:gd name="connsiteY154" fmla="*/ 1231900 h 1704975"/>
              <a:gd name="connsiteX155" fmla="*/ 349925 w 1293444"/>
              <a:gd name="connsiteY155" fmla="*/ 1196975 h 1704975"/>
              <a:gd name="connsiteX156" fmla="*/ 340400 w 1293444"/>
              <a:gd name="connsiteY156" fmla="*/ 1155700 h 1704975"/>
              <a:gd name="connsiteX157" fmla="*/ 334050 w 1293444"/>
              <a:gd name="connsiteY157" fmla="*/ 1130300 h 1704975"/>
              <a:gd name="connsiteX158" fmla="*/ 327700 w 1293444"/>
              <a:gd name="connsiteY158" fmla="*/ 1104900 h 1704975"/>
              <a:gd name="connsiteX159" fmla="*/ 324525 w 1293444"/>
              <a:gd name="connsiteY159" fmla="*/ 1092200 h 1704975"/>
              <a:gd name="connsiteX160" fmla="*/ 318175 w 1293444"/>
              <a:gd name="connsiteY160" fmla="*/ 1050925 h 1704975"/>
              <a:gd name="connsiteX161" fmla="*/ 315000 w 1293444"/>
              <a:gd name="connsiteY161" fmla="*/ 1031875 h 1704975"/>
              <a:gd name="connsiteX162" fmla="*/ 311825 w 1293444"/>
              <a:gd name="connsiteY162" fmla="*/ 1022350 h 1704975"/>
              <a:gd name="connsiteX163" fmla="*/ 308650 w 1293444"/>
              <a:gd name="connsiteY163" fmla="*/ 1006475 h 1704975"/>
              <a:gd name="connsiteX164" fmla="*/ 302300 w 1293444"/>
              <a:gd name="connsiteY164" fmla="*/ 987425 h 1704975"/>
              <a:gd name="connsiteX165" fmla="*/ 299125 w 1293444"/>
              <a:gd name="connsiteY165" fmla="*/ 974725 h 1704975"/>
              <a:gd name="connsiteX166" fmla="*/ 292775 w 1293444"/>
              <a:gd name="connsiteY166" fmla="*/ 955675 h 1704975"/>
              <a:gd name="connsiteX167" fmla="*/ 289600 w 1293444"/>
              <a:gd name="connsiteY167" fmla="*/ 946150 h 1704975"/>
              <a:gd name="connsiteX168" fmla="*/ 280075 w 1293444"/>
              <a:gd name="connsiteY168" fmla="*/ 923925 h 1704975"/>
              <a:gd name="connsiteX169" fmla="*/ 261025 w 1293444"/>
              <a:gd name="connsiteY169" fmla="*/ 908050 h 1704975"/>
              <a:gd name="connsiteX170" fmla="*/ 241975 w 1293444"/>
              <a:gd name="connsiteY170" fmla="*/ 901700 h 1704975"/>
              <a:gd name="connsiteX171" fmla="*/ 222925 w 1293444"/>
              <a:gd name="connsiteY171" fmla="*/ 889000 h 1704975"/>
              <a:gd name="connsiteX172" fmla="*/ 213400 w 1293444"/>
              <a:gd name="connsiteY172" fmla="*/ 885825 h 1704975"/>
              <a:gd name="connsiteX173" fmla="*/ 194350 w 1293444"/>
              <a:gd name="connsiteY173" fmla="*/ 873125 h 1704975"/>
              <a:gd name="connsiteX174" fmla="*/ 175300 w 1293444"/>
              <a:gd name="connsiteY174" fmla="*/ 860425 h 1704975"/>
              <a:gd name="connsiteX175" fmla="*/ 162600 w 1293444"/>
              <a:gd name="connsiteY175" fmla="*/ 850900 h 1704975"/>
              <a:gd name="connsiteX176" fmla="*/ 153075 w 1293444"/>
              <a:gd name="connsiteY176" fmla="*/ 847725 h 1704975"/>
              <a:gd name="connsiteX177" fmla="*/ 134025 w 1293444"/>
              <a:gd name="connsiteY177" fmla="*/ 835025 h 1704975"/>
              <a:gd name="connsiteX178" fmla="*/ 114975 w 1293444"/>
              <a:gd name="connsiteY178" fmla="*/ 822325 h 1704975"/>
              <a:gd name="connsiteX179" fmla="*/ 105450 w 1293444"/>
              <a:gd name="connsiteY179" fmla="*/ 815975 h 1704975"/>
              <a:gd name="connsiteX180" fmla="*/ 95925 w 1293444"/>
              <a:gd name="connsiteY180" fmla="*/ 812800 h 1704975"/>
              <a:gd name="connsiteX181" fmla="*/ 64175 w 1293444"/>
              <a:gd name="connsiteY181" fmla="*/ 790575 h 1704975"/>
              <a:gd name="connsiteX182" fmla="*/ 54650 w 1293444"/>
              <a:gd name="connsiteY182" fmla="*/ 787400 h 1704975"/>
              <a:gd name="connsiteX183" fmla="*/ 38775 w 1293444"/>
              <a:gd name="connsiteY183" fmla="*/ 771525 h 1704975"/>
              <a:gd name="connsiteX184" fmla="*/ 29250 w 1293444"/>
              <a:gd name="connsiteY184" fmla="*/ 762000 h 1704975"/>
              <a:gd name="connsiteX185" fmla="*/ 19725 w 1293444"/>
              <a:gd name="connsiteY185" fmla="*/ 758825 h 1704975"/>
              <a:gd name="connsiteX186" fmla="*/ 675 w 1293444"/>
              <a:gd name="connsiteY186" fmla="*/ 746125 h 1704975"/>
              <a:gd name="connsiteX187" fmla="*/ 51475 w 1293444"/>
              <a:gd name="connsiteY187" fmla="*/ 739775 h 1704975"/>
              <a:gd name="connsiteX188" fmla="*/ 67350 w 1293444"/>
              <a:gd name="connsiteY188" fmla="*/ 736600 h 1704975"/>
              <a:gd name="connsiteX189" fmla="*/ 102275 w 1293444"/>
              <a:gd name="connsiteY189" fmla="*/ 733425 h 1704975"/>
              <a:gd name="connsiteX190" fmla="*/ 130850 w 1293444"/>
              <a:gd name="connsiteY190" fmla="*/ 727075 h 1704975"/>
              <a:gd name="connsiteX191" fmla="*/ 149900 w 1293444"/>
              <a:gd name="connsiteY191" fmla="*/ 723900 h 1704975"/>
              <a:gd name="connsiteX192" fmla="*/ 159425 w 1293444"/>
              <a:gd name="connsiteY192" fmla="*/ 720725 h 1704975"/>
              <a:gd name="connsiteX193" fmla="*/ 175300 w 1293444"/>
              <a:gd name="connsiteY193" fmla="*/ 717550 h 1704975"/>
              <a:gd name="connsiteX194" fmla="*/ 194350 w 1293444"/>
              <a:gd name="connsiteY194" fmla="*/ 711200 h 1704975"/>
              <a:gd name="connsiteX195" fmla="*/ 222925 w 1293444"/>
              <a:gd name="connsiteY195" fmla="*/ 701675 h 1704975"/>
              <a:gd name="connsiteX196" fmla="*/ 232450 w 1293444"/>
              <a:gd name="connsiteY196" fmla="*/ 698500 h 1704975"/>
              <a:gd name="connsiteX197" fmla="*/ 241975 w 1293444"/>
              <a:gd name="connsiteY197" fmla="*/ 695325 h 1704975"/>
              <a:gd name="connsiteX198" fmla="*/ 381675 w 1293444"/>
              <a:gd name="connsiteY198" fmla="*/ 688975 h 1704975"/>
              <a:gd name="connsiteX199" fmla="*/ 397550 w 1293444"/>
              <a:gd name="connsiteY199" fmla="*/ 685800 h 1704975"/>
              <a:gd name="connsiteX200" fmla="*/ 407075 w 1293444"/>
              <a:gd name="connsiteY200" fmla="*/ 682625 h 1704975"/>
              <a:gd name="connsiteX201" fmla="*/ 419775 w 1293444"/>
              <a:gd name="connsiteY201" fmla="*/ 679450 h 1704975"/>
              <a:gd name="connsiteX202" fmla="*/ 438825 w 1293444"/>
              <a:gd name="connsiteY202" fmla="*/ 673100 h 1704975"/>
              <a:gd name="connsiteX203" fmla="*/ 467400 w 1293444"/>
              <a:gd name="connsiteY203" fmla="*/ 663575 h 1704975"/>
              <a:gd name="connsiteX204" fmla="*/ 495975 w 1293444"/>
              <a:gd name="connsiteY204" fmla="*/ 654050 h 1704975"/>
              <a:gd name="connsiteX205" fmla="*/ 505500 w 1293444"/>
              <a:gd name="connsiteY205" fmla="*/ 650875 h 1704975"/>
              <a:gd name="connsiteX206" fmla="*/ 527725 w 1293444"/>
              <a:gd name="connsiteY206" fmla="*/ 641350 h 1704975"/>
              <a:gd name="connsiteX207" fmla="*/ 537250 w 1293444"/>
              <a:gd name="connsiteY207" fmla="*/ 635000 h 1704975"/>
              <a:gd name="connsiteX208" fmla="*/ 546775 w 1293444"/>
              <a:gd name="connsiteY208" fmla="*/ 631825 h 1704975"/>
              <a:gd name="connsiteX209" fmla="*/ 559475 w 1293444"/>
              <a:gd name="connsiteY209" fmla="*/ 625475 h 1704975"/>
              <a:gd name="connsiteX210" fmla="*/ 578525 w 1293444"/>
              <a:gd name="connsiteY210" fmla="*/ 657225 h 1704975"/>
              <a:gd name="connsiteX211" fmla="*/ 588050 w 1293444"/>
              <a:gd name="connsiteY211" fmla="*/ 660400 h 1704975"/>
              <a:gd name="connsiteX212" fmla="*/ 607100 w 1293444"/>
              <a:gd name="connsiteY212" fmla="*/ 673100 h 1704975"/>
              <a:gd name="connsiteX213" fmla="*/ 626150 w 1293444"/>
              <a:gd name="connsiteY213" fmla="*/ 679450 h 1704975"/>
              <a:gd name="connsiteX214" fmla="*/ 635675 w 1293444"/>
              <a:gd name="connsiteY214" fmla="*/ 685800 h 1704975"/>
              <a:gd name="connsiteX215" fmla="*/ 654725 w 1293444"/>
              <a:gd name="connsiteY215" fmla="*/ 692150 h 1704975"/>
              <a:gd name="connsiteX216" fmla="*/ 635675 w 1293444"/>
              <a:gd name="connsiteY216" fmla="*/ 676275 h 1704975"/>
              <a:gd name="connsiteX217" fmla="*/ 632500 w 1293444"/>
              <a:gd name="connsiteY217" fmla="*/ 666750 h 1704975"/>
              <a:gd name="connsiteX218" fmla="*/ 635675 w 1293444"/>
              <a:gd name="connsiteY218" fmla="*/ 590550 h 1704975"/>
              <a:gd name="connsiteX219" fmla="*/ 642025 w 1293444"/>
              <a:gd name="connsiteY219" fmla="*/ 571500 h 1704975"/>
              <a:gd name="connsiteX220" fmla="*/ 648375 w 1293444"/>
              <a:gd name="connsiteY220" fmla="*/ 561975 h 1704975"/>
              <a:gd name="connsiteX221" fmla="*/ 638850 w 1293444"/>
              <a:gd name="connsiteY221" fmla="*/ 536575 h 1704975"/>
              <a:gd name="connsiteX222" fmla="*/ 629325 w 1293444"/>
              <a:gd name="connsiteY222" fmla="*/ 533400 h 1704975"/>
              <a:gd name="connsiteX223" fmla="*/ 626150 w 1293444"/>
              <a:gd name="connsiteY223" fmla="*/ 523875 h 1704975"/>
              <a:gd name="connsiteX224" fmla="*/ 632500 w 1293444"/>
              <a:gd name="connsiteY224" fmla="*/ 498475 h 1704975"/>
              <a:gd name="connsiteX225" fmla="*/ 635675 w 1293444"/>
              <a:gd name="connsiteY225" fmla="*/ 485775 h 1704975"/>
              <a:gd name="connsiteX226" fmla="*/ 626150 w 1293444"/>
              <a:gd name="connsiteY226" fmla="*/ 463550 h 1704975"/>
              <a:gd name="connsiteX227" fmla="*/ 616625 w 1293444"/>
              <a:gd name="connsiteY227" fmla="*/ 460375 h 1704975"/>
              <a:gd name="connsiteX228" fmla="*/ 607100 w 1293444"/>
              <a:gd name="connsiteY228" fmla="*/ 454025 h 1704975"/>
              <a:gd name="connsiteX229" fmla="*/ 591225 w 1293444"/>
              <a:gd name="connsiteY229" fmla="*/ 450850 h 1704975"/>
              <a:gd name="connsiteX230" fmla="*/ 569000 w 1293444"/>
              <a:gd name="connsiteY230" fmla="*/ 441325 h 1704975"/>
              <a:gd name="connsiteX231" fmla="*/ 546775 w 1293444"/>
              <a:gd name="connsiteY231" fmla="*/ 415925 h 1704975"/>
              <a:gd name="connsiteX232" fmla="*/ 540425 w 1293444"/>
              <a:gd name="connsiteY232" fmla="*/ 406400 h 1704975"/>
              <a:gd name="connsiteX233" fmla="*/ 530900 w 1293444"/>
              <a:gd name="connsiteY233" fmla="*/ 400050 h 1704975"/>
              <a:gd name="connsiteX234" fmla="*/ 508675 w 1293444"/>
              <a:gd name="connsiteY234" fmla="*/ 374650 h 1704975"/>
              <a:gd name="connsiteX235" fmla="*/ 502325 w 1293444"/>
              <a:gd name="connsiteY235" fmla="*/ 365125 h 1704975"/>
              <a:gd name="connsiteX236" fmla="*/ 483275 w 1293444"/>
              <a:gd name="connsiteY236" fmla="*/ 346075 h 1704975"/>
              <a:gd name="connsiteX237" fmla="*/ 486450 w 1293444"/>
              <a:gd name="connsiteY237" fmla="*/ 333375 h 1704975"/>
              <a:gd name="connsiteX238" fmla="*/ 492800 w 1293444"/>
              <a:gd name="connsiteY238" fmla="*/ 314325 h 1704975"/>
              <a:gd name="connsiteX239" fmla="*/ 489625 w 1293444"/>
              <a:gd name="connsiteY239" fmla="*/ 292100 h 1704975"/>
              <a:gd name="connsiteX240" fmla="*/ 461050 w 1293444"/>
              <a:gd name="connsiteY240" fmla="*/ 266700 h 1704975"/>
              <a:gd name="connsiteX241" fmla="*/ 435650 w 1293444"/>
              <a:gd name="connsiteY241" fmla="*/ 254000 h 1704975"/>
              <a:gd name="connsiteX242" fmla="*/ 413425 w 1293444"/>
              <a:gd name="connsiteY242" fmla="*/ 238125 h 1704975"/>
              <a:gd name="connsiteX243" fmla="*/ 403900 w 1293444"/>
              <a:gd name="connsiteY243" fmla="*/ 231775 h 1704975"/>
              <a:gd name="connsiteX244" fmla="*/ 362625 w 1293444"/>
              <a:gd name="connsiteY244" fmla="*/ 114300 h 1704975"/>
              <a:gd name="connsiteX245" fmla="*/ 368975 w 1293444"/>
              <a:gd name="connsiteY245" fmla="*/ 104775 h 1704975"/>
              <a:gd name="connsiteX246" fmla="*/ 375325 w 1293444"/>
              <a:gd name="connsiteY246"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403900 w 1293444"/>
              <a:gd name="connsiteY144" fmla="*/ 1435100 h 1704975"/>
              <a:gd name="connsiteX145" fmla="*/ 394375 w 1293444"/>
              <a:gd name="connsiteY145" fmla="*/ 1381125 h 1704975"/>
              <a:gd name="connsiteX146" fmla="*/ 391200 w 1293444"/>
              <a:gd name="connsiteY146" fmla="*/ 1368425 h 1704975"/>
              <a:gd name="connsiteX147" fmla="*/ 388025 w 1293444"/>
              <a:gd name="connsiteY147" fmla="*/ 1352550 h 1704975"/>
              <a:gd name="connsiteX148" fmla="*/ 381675 w 1293444"/>
              <a:gd name="connsiteY148" fmla="*/ 1333500 h 1704975"/>
              <a:gd name="connsiteX149" fmla="*/ 378500 w 1293444"/>
              <a:gd name="connsiteY149" fmla="*/ 1323975 h 1704975"/>
              <a:gd name="connsiteX150" fmla="*/ 375325 w 1293444"/>
              <a:gd name="connsiteY150" fmla="*/ 1308100 h 1704975"/>
              <a:gd name="connsiteX151" fmla="*/ 368975 w 1293444"/>
              <a:gd name="connsiteY151" fmla="*/ 1289050 h 1704975"/>
              <a:gd name="connsiteX152" fmla="*/ 362625 w 1293444"/>
              <a:gd name="connsiteY152" fmla="*/ 1260475 h 1704975"/>
              <a:gd name="connsiteX153" fmla="*/ 359450 w 1293444"/>
              <a:gd name="connsiteY153" fmla="*/ 1231900 h 1704975"/>
              <a:gd name="connsiteX154" fmla="*/ 349925 w 1293444"/>
              <a:gd name="connsiteY154" fmla="*/ 1196975 h 1704975"/>
              <a:gd name="connsiteX155" fmla="*/ 340400 w 1293444"/>
              <a:gd name="connsiteY155" fmla="*/ 1155700 h 1704975"/>
              <a:gd name="connsiteX156" fmla="*/ 334050 w 1293444"/>
              <a:gd name="connsiteY156" fmla="*/ 1130300 h 1704975"/>
              <a:gd name="connsiteX157" fmla="*/ 327700 w 1293444"/>
              <a:gd name="connsiteY157" fmla="*/ 1104900 h 1704975"/>
              <a:gd name="connsiteX158" fmla="*/ 324525 w 1293444"/>
              <a:gd name="connsiteY158" fmla="*/ 1092200 h 1704975"/>
              <a:gd name="connsiteX159" fmla="*/ 318175 w 1293444"/>
              <a:gd name="connsiteY159" fmla="*/ 1050925 h 1704975"/>
              <a:gd name="connsiteX160" fmla="*/ 315000 w 1293444"/>
              <a:gd name="connsiteY160" fmla="*/ 1031875 h 1704975"/>
              <a:gd name="connsiteX161" fmla="*/ 311825 w 1293444"/>
              <a:gd name="connsiteY161" fmla="*/ 1022350 h 1704975"/>
              <a:gd name="connsiteX162" fmla="*/ 308650 w 1293444"/>
              <a:gd name="connsiteY162" fmla="*/ 1006475 h 1704975"/>
              <a:gd name="connsiteX163" fmla="*/ 302300 w 1293444"/>
              <a:gd name="connsiteY163" fmla="*/ 987425 h 1704975"/>
              <a:gd name="connsiteX164" fmla="*/ 299125 w 1293444"/>
              <a:gd name="connsiteY164" fmla="*/ 974725 h 1704975"/>
              <a:gd name="connsiteX165" fmla="*/ 292775 w 1293444"/>
              <a:gd name="connsiteY165" fmla="*/ 955675 h 1704975"/>
              <a:gd name="connsiteX166" fmla="*/ 289600 w 1293444"/>
              <a:gd name="connsiteY166" fmla="*/ 946150 h 1704975"/>
              <a:gd name="connsiteX167" fmla="*/ 280075 w 1293444"/>
              <a:gd name="connsiteY167" fmla="*/ 923925 h 1704975"/>
              <a:gd name="connsiteX168" fmla="*/ 261025 w 1293444"/>
              <a:gd name="connsiteY168" fmla="*/ 908050 h 1704975"/>
              <a:gd name="connsiteX169" fmla="*/ 241975 w 1293444"/>
              <a:gd name="connsiteY169" fmla="*/ 901700 h 1704975"/>
              <a:gd name="connsiteX170" fmla="*/ 222925 w 1293444"/>
              <a:gd name="connsiteY170" fmla="*/ 889000 h 1704975"/>
              <a:gd name="connsiteX171" fmla="*/ 213400 w 1293444"/>
              <a:gd name="connsiteY171" fmla="*/ 885825 h 1704975"/>
              <a:gd name="connsiteX172" fmla="*/ 194350 w 1293444"/>
              <a:gd name="connsiteY172" fmla="*/ 873125 h 1704975"/>
              <a:gd name="connsiteX173" fmla="*/ 175300 w 1293444"/>
              <a:gd name="connsiteY173" fmla="*/ 860425 h 1704975"/>
              <a:gd name="connsiteX174" fmla="*/ 162600 w 1293444"/>
              <a:gd name="connsiteY174" fmla="*/ 850900 h 1704975"/>
              <a:gd name="connsiteX175" fmla="*/ 153075 w 1293444"/>
              <a:gd name="connsiteY175" fmla="*/ 847725 h 1704975"/>
              <a:gd name="connsiteX176" fmla="*/ 134025 w 1293444"/>
              <a:gd name="connsiteY176" fmla="*/ 835025 h 1704975"/>
              <a:gd name="connsiteX177" fmla="*/ 114975 w 1293444"/>
              <a:gd name="connsiteY177" fmla="*/ 822325 h 1704975"/>
              <a:gd name="connsiteX178" fmla="*/ 105450 w 1293444"/>
              <a:gd name="connsiteY178" fmla="*/ 815975 h 1704975"/>
              <a:gd name="connsiteX179" fmla="*/ 95925 w 1293444"/>
              <a:gd name="connsiteY179" fmla="*/ 812800 h 1704975"/>
              <a:gd name="connsiteX180" fmla="*/ 64175 w 1293444"/>
              <a:gd name="connsiteY180" fmla="*/ 790575 h 1704975"/>
              <a:gd name="connsiteX181" fmla="*/ 54650 w 1293444"/>
              <a:gd name="connsiteY181" fmla="*/ 787400 h 1704975"/>
              <a:gd name="connsiteX182" fmla="*/ 38775 w 1293444"/>
              <a:gd name="connsiteY182" fmla="*/ 771525 h 1704975"/>
              <a:gd name="connsiteX183" fmla="*/ 29250 w 1293444"/>
              <a:gd name="connsiteY183" fmla="*/ 762000 h 1704975"/>
              <a:gd name="connsiteX184" fmla="*/ 19725 w 1293444"/>
              <a:gd name="connsiteY184" fmla="*/ 758825 h 1704975"/>
              <a:gd name="connsiteX185" fmla="*/ 675 w 1293444"/>
              <a:gd name="connsiteY185" fmla="*/ 746125 h 1704975"/>
              <a:gd name="connsiteX186" fmla="*/ 51475 w 1293444"/>
              <a:gd name="connsiteY186" fmla="*/ 739775 h 1704975"/>
              <a:gd name="connsiteX187" fmla="*/ 67350 w 1293444"/>
              <a:gd name="connsiteY187" fmla="*/ 736600 h 1704975"/>
              <a:gd name="connsiteX188" fmla="*/ 102275 w 1293444"/>
              <a:gd name="connsiteY188" fmla="*/ 733425 h 1704975"/>
              <a:gd name="connsiteX189" fmla="*/ 130850 w 1293444"/>
              <a:gd name="connsiteY189" fmla="*/ 727075 h 1704975"/>
              <a:gd name="connsiteX190" fmla="*/ 149900 w 1293444"/>
              <a:gd name="connsiteY190" fmla="*/ 723900 h 1704975"/>
              <a:gd name="connsiteX191" fmla="*/ 159425 w 1293444"/>
              <a:gd name="connsiteY191" fmla="*/ 720725 h 1704975"/>
              <a:gd name="connsiteX192" fmla="*/ 175300 w 1293444"/>
              <a:gd name="connsiteY192" fmla="*/ 717550 h 1704975"/>
              <a:gd name="connsiteX193" fmla="*/ 194350 w 1293444"/>
              <a:gd name="connsiteY193" fmla="*/ 711200 h 1704975"/>
              <a:gd name="connsiteX194" fmla="*/ 222925 w 1293444"/>
              <a:gd name="connsiteY194" fmla="*/ 701675 h 1704975"/>
              <a:gd name="connsiteX195" fmla="*/ 232450 w 1293444"/>
              <a:gd name="connsiteY195" fmla="*/ 698500 h 1704975"/>
              <a:gd name="connsiteX196" fmla="*/ 241975 w 1293444"/>
              <a:gd name="connsiteY196" fmla="*/ 695325 h 1704975"/>
              <a:gd name="connsiteX197" fmla="*/ 381675 w 1293444"/>
              <a:gd name="connsiteY197" fmla="*/ 688975 h 1704975"/>
              <a:gd name="connsiteX198" fmla="*/ 397550 w 1293444"/>
              <a:gd name="connsiteY198" fmla="*/ 685800 h 1704975"/>
              <a:gd name="connsiteX199" fmla="*/ 407075 w 1293444"/>
              <a:gd name="connsiteY199" fmla="*/ 682625 h 1704975"/>
              <a:gd name="connsiteX200" fmla="*/ 419775 w 1293444"/>
              <a:gd name="connsiteY200" fmla="*/ 679450 h 1704975"/>
              <a:gd name="connsiteX201" fmla="*/ 438825 w 1293444"/>
              <a:gd name="connsiteY201" fmla="*/ 673100 h 1704975"/>
              <a:gd name="connsiteX202" fmla="*/ 467400 w 1293444"/>
              <a:gd name="connsiteY202" fmla="*/ 663575 h 1704975"/>
              <a:gd name="connsiteX203" fmla="*/ 495975 w 1293444"/>
              <a:gd name="connsiteY203" fmla="*/ 654050 h 1704975"/>
              <a:gd name="connsiteX204" fmla="*/ 505500 w 1293444"/>
              <a:gd name="connsiteY204" fmla="*/ 650875 h 1704975"/>
              <a:gd name="connsiteX205" fmla="*/ 527725 w 1293444"/>
              <a:gd name="connsiteY205" fmla="*/ 641350 h 1704975"/>
              <a:gd name="connsiteX206" fmla="*/ 537250 w 1293444"/>
              <a:gd name="connsiteY206" fmla="*/ 635000 h 1704975"/>
              <a:gd name="connsiteX207" fmla="*/ 546775 w 1293444"/>
              <a:gd name="connsiteY207" fmla="*/ 631825 h 1704975"/>
              <a:gd name="connsiteX208" fmla="*/ 559475 w 1293444"/>
              <a:gd name="connsiteY208" fmla="*/ 625475 h 1704975"/>
              <a:gd name="connsiteX209" fmla="*/ 578525 w 1293444"/>
              <a:gd name="connsiteY209" fmla="*/ 657225 h 1704975"/>
              <a:gd name="connsiteX210" fmla="*/ 588050 w 1293444"/>
              <a:gd name="connsiteY210" fmla="*/ 660400 h 1704975"/>
              <a:gd name="connsiteX211" fmla="*/ 607100 w 1293444"/>
              <a:gd name="connsiteY211" fmla="*/ 673100 h 1704975"/>
              <a:gd name="connsiteX212" fmla="*/ 626150 w 1293444"/>
              <a:gd name="connsiteY212" fmla="*/ 679450 h 1704975"/>
              <a:gd name="connsiteX213" fmla="*/ 635675 w 1293444"/>
              <a:gd name="connsiteY213" fmla="*/ 685800 h 1704975"/>
              <a:gd name="connsiteX214" fmla="*/ 654725 w 1293444"/>
              <a:gd name="connsiteY214" fmla="*/ 692150 h 1704975"/>
              <a:gd name="connsiteX215" fmla="*/ 635675 w 1293444"/>
              <a:gd name="connsiteY215" fmla="*/ 676275 h 1704975"/>
              <a:gd name="connsiteX216" fmla="*/ 632500 w 1293444"/>
              <a:gd name="connsiteY216" fmla="*/ 666750 h 1704975"/>
              <a:gd name="connsiteX217" fmla="*/ 635675 w 1293444"/>
              <a:gd name="connsiteY217" fmla="*/ 590550 h 1704975"/>
              <a:gd name="connsiteX218" fmla="*/ 642025 w 1293444"/>
              <a:gd name="connsiteY218" fmla="*/ 571500 h 1704975"/>
              <a:gd name="connsiteX219" fmla="*/ 648375 w 1293444"/>
              <a:gd name="connsiteY219" fmla="*/ 561975 h 1704975"/>
              <a:gd name="connsiteX220" fmla="*/ 638850 w 1293444"/>
              <a:gd name="connsiteY220" fmla="*/ 536575 h 1704975"/>
              <a:gd name="connsiteX221" fmla="*/ 629325 w 1293444"/>
              <a:gd name="connsiteY221" fmla="*/ 533400 h 1704975"/>
              <a:gd name="connsiteX222" fmla="*/ 626150 w 1293444"/>
              <a:gd name="connsiteY222" fmla="*/ 523875 h 1704975"/>
              <a:gd name="connsiteX223" fmla="*/ 632500 w 1293444"/>
              <a:gd name="connsiteY223" fmla="*/ 498475 h 1704975"/>
              <a:gd name="connsiteX224" fmla="*/ 635675 w 1293444"/>
              <a:gd name="connsiteY224" fmla="*/ 485775 h 1704975"/>
              <a:gd name="connsiteX225" fmla="*/ 626150 w 1293444"/>
              <a:gd name="connsiteY225" fmla="*/ 463550 h 1704975"/>
              <a:gd name="connsiteX226" fmla="*/ 616625 w 1293444"/>
              <a:gd name="connsiteY226" fmla="*/ 460375 h 1704975"/>
              <a:gd name="connsiteX227" fmla="*/ 607100 w 1293444"/>
              <a:gd name="connsiteY227" fmla="*/ 454025 h 1704975"/>
              <a:gd name="connsiteX228" fmla="*/ 591225 w 1293444"/>
              <a:gd name="connsiteY228" fmla="*/ 450850 h 1704975"/>
              <a:gd name="connsiteX229" fmla="*/ 569000 w 1293444"/>
              <a:gd name="connsiteY229" fmla="*/ 441325 h 1704975"/>
              <a:gd name="connsiteX230" fmla="*/ 546775 w 1293444"/>
              <a:gd name="connsiteY230" fmla="*/ 415925 h 1704975"/>
              <a:gd name="connsiteX231" fmla="*/ 540425 w 1293444"/>
              <a:gd name="connsiteY231" fmla="*/ 406400 h 1704975"/>
              <a:gd name="connsiteX232" fmla="*/ 530900 w 1293444"/>
              <a:gd name="connsiteY232" fmla="*/ 400050 h 1704975"/>
              <a:gd name="connsiteX233" fmla="*/ 508675 w 1293444"/>
              <a:gd name="connsiteY233" fmla="*/ 374650 h 1704975"/>
              <a:gd name="connsiteX234" fmla="*/ 502325 w 1293444"/>
              <a:gd name="connsiteY234" fmla="*/ 365125 h 1704975"/>
              <a:gd name="connsiteX235" fmla="*/ 483275 w 1293444"/>
              <a:gd name="connsiteY235" fmla="*/ 346075 h 1704975"/>
              <a:gd name="connsiteX236" fmla="*/ 486450 w 1293444"/>
              <a:gd name="connsiteY236" fmla="*/ 333375 h 1704975"/>
              <a:gd name="connsiteX237" fmla="*/ 492800 w 1293444"/>
              <a:gd name="connsiteY237" fmla="*/ 314325 h 1704975"/>
              <a:gd name="connsiteX238" fmla="*/ 489625 w 1293444"/>
              <a:gd name="connsiteY238" fmla="*/ 292100 h 1704975"/>
              <a:gd name="connsiteX239" fmla="*/ 461050 w 1293444"/>
              <a:gd name="connsiteY239" fmla="*/ 266700 h 1704975"/>
              <a:gd name="connsiteX240" fmla="*/ 435650 w 1293444"/>
              <a:gd name="connsiteY240" fmla="*/ 254000 h 1704975"/>
              <a:gd name="connsiteX241" fmla="*/ 413425 w 1293444"/>
              <a:gd name="connsiteY241" fmla="*/ 238125 h 1704975"/>
              <a:gd name="connsiteX242" fmla="*/ 403900 w 1293444"/>
              <a:gd name="connsiteY242" fmla="*/ 231775 h 1704975"/>
              <a:gd name="connsiteX243" fmla="*/ 362625 w 1293444"/>
              <a:gd name="connsiteY243" fmla="*/ 114300 h 1704975"/>
              <a:gd name="connsiteX244" fmla="*/ 368975 w 1293444"/>
              <a:gd name="connsiteY244" fmla="*/ 104775 h 1704975"/>
              <a:gd name="connsiteX245" fmla="*/ 375325 w 1293444"/>
              <a:gd name="connsiteY245"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76950 w 1293444"/>
              <a:gd name="connsiteY126" fmla="*/ 1616075 h 1704975"/>
              <a:gd name="connsiteX127" fmla="*/ 667425 w 1293444"/>
              <a:gd name="connsiteY127" fmla="*/ 1619250 h 1704975"/>
              <a:gd name="connsiteX128" fmla="*/ 648375 w 1293444"/>
              <a:gd name="connsiteY128" fmla="*/ 1631950 h 1704975"/>
              <a:gd name="connsiteX129" fmla="*/ 638850 w 1293444"/>
              <a:gd name="connsiteY129" fmla="*/ 1638300 h 1704975"/>
              <a:gd name="connsiteX130" fmla="*/ 607100 w 1293444"/>
              <a:gd name="connsiteY130" fmla="*/ 1676400 h 1704975"/>
              <a:gd name="connsiteX131" fmla="*/ 556300 w 1293444"/>
              <a:gd name="connsiteY131" fmla="*/ 1679575 h 1704975"/>
              <a:gd name="connsiteX132" fmla="*/ 537250 w 1293444"/>
              <a:gd name="connsiteY132" fmla="*/ 1685925 h 1704975"/>
              <a:gd name="connsiteX133" fmla="*/ 515025 w 1293444"/>
              <a:gd name="connsiteY133" fmla="*/ 1698625 h 1704975"/>
              <a:gd name="connsiteX134" fmla="*/ 495975 w 1293444"/>
              <a:gd name="connsiteY134" fmla="*/ 1704975 h 1704975"/>
              <a:gd name="connsiteX135" fmla="*/ 476925 w 1293444"/>
              <a:gd name="connsiteY135" fmla="*/ 1701800 h 1704975"/>
              <a:gd name="connsiteX136" fmla="*/ 470575 w 1293444"/>
              <a:gd name="connsiteY136" fmla="*/ 1692275 h 1704975"/>
              <a:gd name="connsiteX137" fmla="*/ 467400 w 1293444"/>
              <a:gd name="connsiteY137" fmla="*/ 1660525 h 1704975"/>
              <a:gd name="connsiteX138" fmla="*/ 457875 w 1293444"/>
              <a:gd name="connsiteY138" fmla="*/ 1641475 h 1704975"/>
              <a:gd name="connsiteX139" fmla="*/ 432475 w 1293444"/>
              <a:gd name="connsiteY139" fmla="*/ 1495425 h 1704975"/>
              <a:gd name="connsiteX140" fmla="*/ 429300 w 1293444"/>
              <a:gd name="connsiteY140" fmla="*/ 1485900 h 1704975"/>
              <a:gd name="connsiteX141" fmla="*/ 426125 w 1293444"/>
              <a:gd name="connsiteY141" fmla="*/ 1473200 h 1704975"/>
              <a:gd name="connsiteX142" fmla="*/ 419775 w 1293444"/>
              <a:gd name="connsiteY142" fmla="*/ 1463675 h 1704975"/>
              <a:gd name="connsiteX143" fmla="*/ 416600 w 1293444"/>
              <a:gd name="connsiteY143" fmla="*/ 1454150 h 1704975"/>
              <a:gd name="connsiteX144" fmla="*/ 394375 w 1293444"/>
              <a:gd name="connsiteY144" fmla="*/ 1381125 h 1704975"/>
              <a:gd name="connsiteX145" fmla="*/ 391200 w 1293444"/>
              <a:gd name="connsiteY145" fmla="*/ 1368425 h 1704975"/>
              <a:gd name="connsiteX146" fmla="*/ 388025 w 1293444"/>
              <a:gd name="connsiteY146" fmla="*/ 1352550 h 1704975"/>
              <a:gd name="connsiteX147" fmla="*/ 381675 w 1293444"/>
              <a:gd name="connsiteY147" fmla="*/ 1333500 h 1704975"/>
              <a:gd name="connsiteX148" fmla="*/ 378500 w 1293444"/>
              <a:gd name="connsiteY148" fmla="*/ 1323975 h 1704975"/>
              <a:gd name="connsiteX149" fmla="*/ 375325 w 1293444"/>
              <a:gd name="connsiteY149" fmla="*/ 1308100 h 1704975"/>
              <a:gd name="connsiteX150" fmla="*/ 368975 w 1293444"/>
              <a:gd name="connsiteY150" fmla="*/ 1289050 h 1704975"/>
              <a:gd name="connsiteX151" fmla="*/ 362625 w 1293444"/>
              <a:gd name="connsiteY151" fmla="*/ 1260475 h 1704975"/>
              <a:gd name="connsiteX152" fmla="*/ 359450 w 1293444"/>
              <a:gd name="connsiteY152" fmla="*/ 1231900 h 1704975"/>
              <a:gd name="connsiteX153" fmla="*/ 349925 w 1293444"/>
              <a:gd name="connsiteY153" fmla="*/ 1196975 h 1704975"/>
              <a:gd name="connsiteX154" fmla="*/ 340400 w 1293444"/>
              <a:gd name="connsiteY154" fmla="*/ 1155700 h 1704975"/>
              <a:gd name="connsiteX155" fmla="*/ 334050 w 1293444"/>
              <a:gd name="connsiteY155" fmla="*/ 1130300 h 1704975"/>
              <a:gd name="connsiteX156" fmla="*/ 327700 w 1293444"/>
              <a:gd name="connsiteY156" fmla="*/ 1104900 h 1704975"/>
              <a:gd name="connsiteX157" fmla="*/ 324525 w 1293444"/>
              <a:gd name="connsiteY157" fmla="*/ 1092200 h 1704975"/>
              <a:gd name="connsiteX158" fmla="*/ 318175 w 1293444"/>
              <a:gd name="connsiteY158" fmla="*/ 1050925 h 1704975"/>
              <a:gd name="connsiteX159" fmla="*/ 315000 w 1293444"/>
              <a:gd name="connsiteY159" fmla="*/ 1031875 h 1704975"/>
              <a:gd name="connsiteX160" fmla="*/ 311825 w 1293444"/>
              <a:gd name="connsiteY160" fmla="*/ 1022350 h 1704975"/>
              <a:gd name="connsiteX161" fmla="*/ 308650 w 1293444"/>
              <a:gd name="connsiteY161" fmla="*/ 1006475 h 1704975"/>
              <a:gd name="connsiteX162" fmla="*/ 302300 w 1293444"/>
              <a:gd name="connsiteY162" fmla="*/ 987425 h 1704975"/>
              <a:gd name="connsiteX163" fmla="*/ 299125 w 1293444"/>
              <a:gd name="connsiteY163" fmla="*/ 974725 h 1704975"/>
              <a:gd name="connsiteX164" fmla="*/ 292775 w 1293444"/>
              <a:gd name="connsiteY164" fmla="*/ 955675 h 1704975"/>
              <a:gd name="connsiteX165" fmla="*/ 289600 w 1293444"/>
              <a:gd name="connsiteY165" fmla="*/ 946150 h 1704975"/>
              <a:gd name="connsiteX166" fmla="*/ 280075 w 1293444"/>
              <a:gd name="connsiteY166" fmla="*/ 923925 h 1704975"/>
              <a:gd name="connsiteX167" fmla="*/ 261025 w 1293444"/>
              <a:gd name="connsiteY167" fmla="*/ 908050 h 1704975"/>
              <a:gd name="connsiteX168" fmla="*/ 241975 w 1293444"/>
              <a:gd name="connsiteY168" fmla="*/ 901700 h 1704975"/>
              <a:gd name="connsiteX169" fmla="*/ 222925 w 1293444"/>
              <a:gd name="connsiteY169" fmla="*/ 889000 h 1704975"/>
              <a:gd name="connsiteX170" fmla="*/ 213400 w 1293444"/>
              <a:gd name="connsiteY170" fmla="*/ 885825 h 1704975"/>
              <a:gd name="connsiteX171" fmla="*/ 194350 w 1293444"/>
              <a:gd name="connsiteY171" fmla="*/ 873125 h 1704975"/>
              <a:gd name="connsiteX172" fmla="*/ 175300 w 1293444"/>
              <a:gd name="connsiteY172" fmla="*/ 860425 h 1704975"/>
              <a:gd name="connsiteX173" fmla="*/ 162600 w 1293444"/>
              <a:gd name="connsiteY173" fmla="*/ 850900 h 1704975"/>
              <a:gd name="connsiteX174" fmla="*/ 153075 w 1293444"/>
              <a:gd name="connsiteY174" fmla="*/ 847725 h 1704975"/>
              <a:gd name="connsiteX175" fmla="*/ 134025 w 1293444"/>
              <a:gd name="connsiteY175" fmla="*/ 835025 h 1704975"/>
              <a:gd name="connsiteX176" fmla="*/ 114975 w 1293444"/>
              <a:gd name="connsiteY176" fmla="*/ 822325 h 1704975"/>
              <a:gd name="connsiteX177" fmla="*/ 105450 w 1293444"/>
              <a:gd name="connsiteY177" fmla="*/ 815975 h 1704975"/>
              <a:gd name="connsiteX178" fmla="*/ 95925 w 1293444"/>
              <a:gd name="connsiteY178" fmla="*/ 812800 h 1704975"/>
              <a:gd name="connsiteX179" fmla="*/ 64175 w 1293444"/>
              <a:gd name="connsiteY179" fmla="*/ 790575 h 1704975"/>
              <a:gd name="connsiteX180" fmla="*/ 54650 w 1293444"/>
              <a:gd name="connsiteY180" fmla="*/ 787400 h 1704975"/>
              <a:gd name="connsiteX181" fmla="*/ 38775 w 1293444"/>
              <a:gd name="connsiteY181" fmla="*/ 771525 h 1704975"/>
              <a:gd name="connsiteX182" fmla="*/ 29250 w 1293444"/>
              <a:gd name="connsiteY182" fmla="*/ 762000 h 1704975"/>
              <a:gd name="connsiteX183" fmla="*/ 19725 w 1293444"/>
              <a:gd name="connsiteY183" fmla="*/ 758825 h 1704975"/>
              <a:gd name="connsiteX184" fmla="*/ 675 w 1293444"/>
              <a:gd name="connsiteY184" fmla="*/ 746125 h 1704975"/>
              <a:gd name="connsiteX185" fmla="*/ 51475 w 1293444"/>
              <a:gd name="connsiteY185" fmla="*/ 739775 h 1704975"/>
              <a:gd name="connsiteX186" fmla="*/ 67350 w 1293444"/>
              <a:gd name="connsiteY186" fmla="*/ 736600 h 1704975"/>
              <a:gd name="connsiteX187" fmla="*/ 102275 w 1293444"/>
              <a:gd name="connsiteY187" fmla="*/ 733425 h 1704975"/>
              <a:gd name="connsiteX188" fmla="*/ 130850 w 1293444"/>
              <a:gd name="connsiteY188" fmla="*/ 727075 h 1704975"/>
              <a:gd name="connsiteX189" fmla="*/ 149900 w 1293444"/>
              <a:gd name="connsiteY189" fmla="*/ 723900 h 1704975"/>
              <a:gd name="connsiteX190" fmla="*/ 159425 w 1293444"/>
              <a:gd name="connsiteY190" fmla="*/ 720725 h 1704975"/>
              <a:gd name="connsiteX191" fmla="*/ 175300 w 1293444"/>
              <a:gd name="connsiteY191" fmla="*/ 717550 h 1704975"/>
              <a:gd name="connsiteX192" fmla="*/ 194350 w 1293444"/>
              <a:gd name="connsiteY192" fmla="*/ 711200 h 1704975"/>
              <a:gd name="connsiteX193" fmla="*/ 222925 w 1293444"/>
              <a:gd name="connsiteY193" fmla="*/ 701675 h 1704975"/>
              <a:gd name="connsiteX194" fmla="*/ 232450 w 1293444"/>
              <a:gd name="connsiteY194" fmla="*/ 698500 h 1704975"/>
              <a:gd name="connsiteX195" fmla="*/ 241975 w 1293444"/>
              <a:gd name="connsiteY195" fmla="*/ 695325 h 1704975"/>
              <a:gd name="connsiteX196" fmla="*/ 381675 w 1293444"/>
              <a:gd name="connsiteY196" fmla="*/ 688975 h 1704975"/>
              <a:gd name="connsiteX197" fmla="*/ 397550 w 1293444"/>
              <a:gd name="connsiteY197" fmla="*/ 685800 h 1704975"/>
              <a:gd name="connsiteX198" fmla="*/ 407075 w 1293444"/>
              <a:gd name="connsiteY198" fmla="*/ 682625 h 1704975"/>
              <a:gd name="connsiteX199" fmla="*/ 419775 w 1293444"/>
              <a:gd name="connsiteY199" fmla="*/ 679450 h 1704975"/>
              <a:gd name="connsiteX200" fmla="*/ 438825 w 1293444"/>
              <a:gd name="connsiteY200" fmla="*/ 673100 h 1704975"/>
              <a:gd name="connsiteX201" fmla="*/ 467400 w 1293444"/>
              <a:gd name="connsiteY201" fmla="*/ 663575 h 1704975"/>
              <a:gd name="connsiteX202" fmla="*/ 495975 w 1293444"/>
              <a:gd name="connsiteY202" fmla="*/ 654050 h 1704975"/>
              <a:gd name="connsiteX203" fmla="*/ 505500 w 1293444"/>
              <a:gd name="connsiteY203" fmla="*/ 650875 h 1704975"/>
              <a:gd name="connsiteX204" fmla="*/ 527725 w 1293444"/>
              <a:gd name="connsiteY204" fmla="*/ 641350 h 1704975"/>
              <a:gd name="connsiteX205" fmla="*/ 537250 w 1293444"/>
              <a:gd name="connsiteY205" fmla="*/ 635000 h 1704975"/>
              <a:gd name="connsiteX206" fmla="*/ 546775 w 1293444"/>
              <a:gd name="connsiteY206" fmla="*/ 631825 h 1704975"/>
              <a:gd name="connsiteX207" fmla="*/ 559475 w 1293444"/>
              <a:gd name="connsiteY207" fmla="*/ 625475 h 1704975"/>
              <a:gd name="connsiteX208" fmla="*/ 578525 w 1293444"/>
              <a:gd name="connsiteY208" fmla="*/ 657225 h 1704975"/>
              <a:gd name="connsiteX209" fmla="*/ 588050 w 1293444"/>
              <a:gd name="connsiteY209" fmla="*/ 660400 h 1704975"/>
              <a:gd name="connsiteX210" fmla="*/ 607100 w 1293444"/>
              <a:gd name="connsiteY210" fmla="*/ 673100 h 1704975"/>
              <a:gd name="connsiteX211" fmla="*/ 626150 w 1293444"/>
              <a:gd name="connsiteY211" fmla="*/ 679450 h 1704975"/>
              <a:gd name="connsiteX212" fmla="*/ 635675 w 1293444"/>
              <a:gd name="connsiteY212" fmla="*/ 685800 h 1704975"/>
              <a:gd name="connsiteX213" fmla="*/ 654725 w 1293444"/>
              <a:gd name="connsiteY213" fmla="*/ 692150 h 1704975"/>
              <a:gd name="connsiteX214" fmla="*/ 635675 w 1293444"/>
              <a:gd name="connsiteY214" fmla="*/ 676275 h 1704975"/>
              <a:gd name="connsiteX215" fmla="*/ 632500 w 1293444"/>
              <a:gd name="connsiteY215" fmla="*/ 666750 h 1704975"/>
              <a:gd name="connsiteX216" fmla="*/ 635675 w 1293444"/>
              <a:gd name="connsiteY216" fmla="*/ 590550 h 1704975"/>
              <a:gd name="connsiteX217" fmla="*/ 642025 w 1293444"/>
              <a:gd name="connsiteY217" fmla="*/ 571500 h 1704975"/>
              <a:gd name="connsiteX218" fmla="*/ 648375 w 1293444"/>
              <a:gd name="connsiteY218" fmla="*/ 561975 h 1704975"/>
              <a:gd name="connsiteX219" fmla="*/ 638850 w 1293444"/>
              <a:gd name="connsiteY219" fmla="*/ 536575 h 1704975"/>
              <a:gd name="connsiteX220" fmla="*/ 629325 w 1293444"/>
              <a:gd name="connsiteY220" fmla="*/ 533400 h 1704975"/>
              <a:gd name="connsiteX221" fmla="*/ 626150 w 1293444"/>
              <a:gd name="connsiteY221" fmla="*/ 523875 h 1704975"/>
              <a:gd name="connsiteX222" fmla="*/ 632500 w 1293444"/>
              <a:gd name="connsiteY222" fmla="*/ 498475 h 1704975"/>
              <a:gd name="connsiteX223" fmla="*/ 635675 w 1293444"/>
              <a:gd name="connsiteY223" fmla="*/ 485775 h 1704975"/>
              <a:gd name="connsiteX224" fmla="*/ 626150 w 1293444"/>
              <a:gd name="connsiteY224" fmla="*/ 463550 h 1704975"/>
              <a:gd name="connsiteX225" fmla="*/ 616625 w 1293444"/>
              <a:gd name="connsiteY225" fmla="*/ 460375 h 1704975"/>
              <a:gd name="connsiteX226" fmla="*/ 607100 w 1293444"/>
              <a:gd name="connsiteY226" fmla="*/ 454025 h 1704975"/>
              <a:gd name="connsiteX227" fmla="*/ 591225 w 1293444"/>
              <a:gd name="connsiteY227" fmla="*/ 450850 h 1704975"/>
              <a:gd name="connsiteX228" fmla="*/ 569000 w 1293444"/>
              <a:gd name="connsiteY228" fmla="*/ 441325 h 1704975"/>
              <a:gd name="connsiteX229" fmla="*/ 546775 w 1293444"/>
              <a:gd name="connsiteY229" fmla="*/ 415925 h 1704975"/>
              <a:gd name="connsiteX230" fmla="*/ 540425 w 1293444"/>
              <a:gd name="connsiteY230" fmla="*/ 406400 h 1704975"/>
              <a:gd name="connsiteX231" fmla="*/ 530900 w 1293444"/>
              <a:gd name="connsiteY231" fmla="*/ 400050 h 1704975"/>
              <a:gd name="connsiteX232" fmla="*/ 508675 w 1293444"/>
              <a:gd name="connsiteY232" fmla="*/ 374650 h 1704975"/>
              <a:gd name="connsiteX233" fmla="*/ 502325 w 1293444"/>
              <a:gd name="connsiteY233" fmla="*/ 365125 h 1704975"/>
              <a:gd name="connsiteX234" fmla="*/ 483275 w 1293444"/>
              <a:gd name="connsiteY234" fmla="*/ 346075 h 1704975"/>
              <a:gd name="connsiteX235" fmla="*/ 486450 w 1293444"/>
              <a:gd name="connsiteY235" fmla="*/ 333375 h 1704975"/>
              <a:gd name="connsiteX236" fmla="*/ 492800 w 1293444"/>
              <a:gd name="connsiteY236" fmla="*/ 314325 h 1704975"/>
              <a:gd name="connsiteX237" fmla="*/ 489625 w 1293444"/>
              <a:gd name="connsiteY237" fmla="*/ 292100 h 1704975"/>
              <a:gd name="connsiteX238" fmla="*/ 461050 w 1293444"/>
              <a:gd name="connsiteY238" fmla="*/ 266700 h 1704975"/>
              <a:gd name="connsiteX239" fmla="*/ 435650 w 1293444"/>
              <a:gd name="connsiteY239" fmla="*/ 254000 h 1704975"/>
              <a:gd name="connsiteX240" fmla="*/ 413425 w 1293444"/>
              <a:gd name="connsiteY240" fmla="*/ 238125 h 1704975"/>
              <a:gd name="connsiteX241" fmla="*/ 403900 w 1293444"/>
              <a:gd name="connsiteY241" fmla="*/ 231775 h 1704975"/>
              <a:gd name="connsiteX242" fmla="*/ 362625 w 1293444"/>
              <a:gd name="connsiteY242" fmla="*/ 114300 h 1704975"/>
              <a:gd name="connsiteX243" fmla="*/ 368975 w 1293444"/>
              <a:gd name="connsiteY243" fmla="*/ 104775 h 1704975"/>
              <a:gd name="connsiteX244" fmla="*/ 375325 w 1293444"/>
              <a:gd name="connsiteY244"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67425 w 1293444"/>
              <a:gd name="connsiteY126" fmla="*/ 1619250 h 1704975"/>
              <a:gd name="connsiteX127" fmla="*/ 648375 w 1293444"/>
              <a:gd name="connsiteY127" fmla="*/ 1631950 h 1704975"/>
              <a:gd name="connsiteX128" fmla="*/ 638850 w 1293444"/>
              <a:gd name="connsiteY128" fmla="*/ 1638300 h 1704975"/>
              <a:gd name="connsiteX129" fmla="*/ 607100 w 1293444"/>
              <a:gd name="connsiteY129" fmla="*/ 1676400 h 1704975"/>
              <a:gd name="connsiteX130" fmla="*/ 556300 w 1293444"/>
              <a:gd name="connsiteY130" fmla="*/ 1679575 h 1704975"/>
              <a:gd name="connsiteX131" fmla="*/ 537250 w 1293444"/>
              <a:gd name="connsiteY131" fmla="*/ 1685925 h 1704975"/>
              <a:gd name="connsiteX132" fmla="*/ 515025 w 1293444"/>
              <a:gd name="connsiteY132" fmla="*/ 1698625 h 1704975"/>
              <a:gd name="connsiteX133" fmla="*/ 495975 w 1293444"/>
              <a:gd name="connsiteY133" fmla="*/ 1704975 h 1704975"/>
              <a:gd name="connsiteX134" fmla="*/ 476925 w 1293444"/>
              <a:gd name="connsiteY134" fmla="*/ 1701800 h 1704975"/>
              <a:gd name="connsiteX135" fmla="*/ 470575 w 1293444"/>
              <a:gd name="connsiteY135" fmla="*/ 1692275 h 1704975"/>
              <a:gd name="connsiteX136" fmla="*/ 467400 w 1293444"/>
              <a:gd name="connsiteY136" fmla="*/ 1660525 h 1704975"/>
              <a:gd name="connsiteX137" fmla="*/ 457875 w 1293444"/>
              <a:gd name="connsiteY137" fmla="*/ 1641475 h 1704975"/>
              <a:gd name="connsiteX138" fmla="*/ 432475 w 1293444"/>
              <a:gd name="connsiteY138" fmla="*/ 1495425 h 1704975"/>
              <a:gd name="connsiteX139" fmla="*/ 429300 w 1293444"/>
              <a:gd name="connsiteY139" fmla="*/ 1485900 h 1704975"/>
              <a:gd name="connsiteX140" fmla="*/ 426125 w 1293444"/>
              <a:gd name="connsiteY140" fmla="*/ 1473200 h 1704975"/>
              <a:gd name="connsiteX141" fmla="*/ 419775 w 1293444"/>
              <a:gd name="connsiteY141" fmla="*/ 1463675 h 1704975"/>
              <a:gd name="connsiteX142" fmla="*/ 416600 w 1293444"/>
              <a:gd name="connsiteY142" fmla="*/ 1454150 h 1704975"/>
              <a:gd name="connsiteX143" fmla="*/ 394375 w 1293444"/>
              <a:gd name="connsiteY143" fmla="*/ 1381125 h 1704975"/>
              <a:gd name="connsiteX144" fmla="*/ 391200 w 1293444"/>
              <a:gd name="connsiteY144" fmla="*/ 1368425 h 1704975"/>
              <a:gd name="connsiteX145" fmla="*/ 388025 w 1293444"/>
              <a:gd name="connsiteY145" fmla="*/ 1352550 h 1704975"/>
              <a:gd name="connsiteX146" fmla="*/ 381675 w 1293444"/>
              <a:gd name="connsiteY146" fmla="*/ 1333500 h 1704975"/>
              <a:gd name="connsiteX147" fmla="*/ 378500 w 1293444"/>
              <a:gd name="connsiteY147" fmla="*/ 1323975 h 1704975"/>
              <a:gd name="connsiteX148" fmla="*/ 375325 w 1293444"/>
              <a:gd name="connsiteY148" fmla="*/ 1308100 h 1704975"/>
              <a:gd name="connsiteX149" fmla="*/ 368975 w 1293444"/>
              <a:gd name="connsiteY149" fmla="*/ 1289050 h 1704975"/>
              <a:gd name="connsiteX150" fmla="*/ 362625 w 1293444"/>
              <a:gd name="connsiteY150" fmla="*/ 1260475 h 1704975"/>
              <a:gd name="connsiteX151" fmla="*/ 359450 w 1293444"/>
              <a:gd name="connsiteY151" fmla="*/ 1231900 h 1704975"/>
              <a:gd name="connsiteX152" fmla="*/ 349925 w 1293444"/>
              <a:gd name="connsiteY152" fmla="*/ 1196975 h 1704975"/>
              <a:gd name="connsiteX153" fmla="*/ 340400 w 1293444"/>
              <a:gd name="connsiteY153" fmla="*/ 1155700 h 1704975"/>
              <a:gd name="connsiteX154" fmla="*/ 334050 w 1293444"/>
              <a:gd name="connsiteY154" fmla="*/ 1130300 h 1704975"/>
              <a:gd name="connsiteX155" fmla="*/ 327700 w 1293444"/>
              <a:gd name="connsiteY155" fmla="*/ 1104900 h 1704975"/>
              <a:gd name="connsiteX156" fmla="*/ 324525 w 1293444"/>
              <a:gd name="connsiteY156" fmla="*/ 1092200 h 1704975"/>
              <a:gd name="connsiteX157" fmla="*/ 318175 w 1293444"/>
              <a:gd name="connsiteY157" fmla="*/ 1050925 h 1704975"/>
              <a:gd name="connsiteX158" fmla="*/ 315000 w 1293444"/>
              <a:gd name="connsiteY158" fmla="*/ 1031875 h 1704975"/>
              <a:gd name="connsiteX159" fmla="*/ 311825 w 1293444"/>
              <a:gd name="connsiteY159" fmla="*/ 1022350 h 1704975"/>
              <a:gd name="connsiteX160" fmla="*/ 308650 w 1293444"/>
              <a:gd name="connsiteY160" fmla="*/ 1006475 h 1704975"/>
              <a:gd name="connsiteX161" fmla="*/ 302300 w 1293444"/>
              <a:gd name="connsiteY161" fmla="*/ 987425 h 1704975"/>
              <a:gd name="connsiteX162" fmla="*/ 299125 w 1293444"/>
              <a:gd name="connsiteY162" fmla="*/ 974725 h 1704975"/>
              <a:gd name="connsiteX163" fmla="*/ 292775 w 1293444"/>
              <a:gd name="connsiteY163" fmla="*/ 955675 h 1704975"/>
              <a:gd name="connsiteX164" fmla="*/ 289600 w 1293444"/>
              <a:gd name="connsiteY164" fmla="*/ 946150 h 1704975"/>
              <a:gd name="connsiteX165" fmla="*/ 280075 w 1293444"/>
              <a:gd name="connsiteY165" fmla="*/ 923925 h 1704975"/>
              <a:gd name="connsiteX166" fmla="*/ 261025 w 1293444"/>
              <a:gd name="connsiteY166" fmla="*/ 908050 h 1704975"/>
              <a:gd name="connsiteX167" fmla="*/ 241975 w 1293444"/>
              <a:gd name="connsiteY167" fmla="*/ 901700 h 1704975"/>
              <a:gd name="connsiteX168" fmla="*/ 222925 w 1293444"/>
              <a:gd name="connsiteY168" fmla="*/ 889000 h 1704975"/>
              <a:gd name="connsiteX169" fmla="*/ 213400 w 1293444"/>
              <a:gd name="connsiteY169" fmla="*/ 885825 h 1704975"/>
              <a:gd name="connsiteX170" fmla="*/ 194350 w 1293444"/>
              <a:gd name="connsiteY170" fmla="*/ 873125 h 1704975"/>
              <a:gd name="connsiteX171" fmla="*/ 175300 w 1293444"/>
              <a:gd name="connsiteY171" fmla="*/ 860425 h 1704975"/>
              <a:gd name="connsiteX172" fmla="*/ 162600 w 1293444"/>
              <a:gd name="connsiteY172" fmla="*/ 850900 h 1704975"/>
              <a:gd name="connsiteX173" fmla="*/ 153075 w 1293444"/>
              <a:gd name="connsiteY173" fmla="*/ 847725 h 1704975"/>
              <a:gd name="connsiteX174" fmla="*/ 134025 w 1293444"/>
              <a:gd name="connsiteY174" fmla="*/ 835025 h 1704975"/>
              <a:gd name="connsiteX175" fmla="*/ 114975 w 1293444"/>
              <a:gd name="connsiteY175" fmla="*/ 822325 h 1704975"/>
              <a:gd name="connsiteX176" fmla="*/ 105450 w 1293444"/>
              <a:gd name="connsiteY176" fmla="*/ 815975 h 1704975"/>
              <a:gd name="connsiteX177" fmla="*/ 95925 w 1293444"/>
              <a:gd name="connsiteY177" fmla="*/ 812800 h 1704975"/>
              <a:gd name="connsiteX178" fmla="*/ 64175 w 1293444"/>
              <a:gd name="connsiteY178" fmla="*/ 790575 h 1704975"/>
              <a:gd name="connsiteX179" fmla="*/ 54650 w 1293444"/>
              <a:gd name="connsiteY179" fmla="*/ 787400 h 1704975"/>
              <a:gd name="connsiteX180" fmla="*/ 38775 w 1293444"/>
              <a:gd name="connsiteY180" fmla="*/ 771525 h 1704975"/>
              <a:gd name="connsiteX181" fmla="*/ 29250 w 1293444"/>
              <a:gd name="connsiteY181" fmla="*/ 762000 h 1704975"/>
              <a:gd name="connsiteX182" fmla="*/ 19725 w 1293444"/>
              <a:gd name="connsiteY182" fmla="*/ 758825 h 1704975"/>
              <a:gd name="connsiteX183" fmla="*/ 675 w 1293444"/>
              <a:gd name="connsiteY183" fmla="*/ 746125 h 1704975"/>
              <a:gd name="connsiteX184" fmla="*/ 51475 w 1293444"/>
              <a:gd name="connsiteY184" fmla="*/ 739775 h 1704975"/>
              <a:gd name="connsiteX185" fmla="*/ 67350 w 1293444"/>
              <a:gd name="connsiteY185" fmla="*/ 736600 h 1704975"/>
              <a:gd name="connsiteX186" fmla="*/ 102275 w 1293444"/>
              <a:gd name="connsiteY186" fmla="*/ 733425 h 1704975"/>
              <a:gd name="connsiteX187" fmla="*/ 130850 w 1293444"/>
              <a:gd name="connsiteY187" fmla="*/ 727075 h 1704975"/>
              <a:gd name="connsiteX188" fmla="*/ 149900 w 1293444"/>
              <a:gd name="connsiteY188" fmla="*/ 723900 h 1704975"/>
              <a:gd name="connsiteX189" fmla="*/ 159425 w 1293444"/>
              <a:gd name="connsiteY189" fmla="*/ 720725 h 1704975"/>
              <a:gd name="connsiteX190" fmla="*/ 175300 w 1293444"/>
              <a:gd name="connsiteY190" fmla="*/ 717550 h 1704975"/>
              <a:gd name="connsiteX191" fmla="*/ 194350 w 1293444"/>
              <a:gd name="connsiteY191" fmla="*/ 711200 h 1704975"/>
              <a:gd name="connsiteX192" fmla="*/ 222925 w 1293444"/>
              <a:gd name="connsiteY192" fmla="*/ 701675 h 1704975"/>
              <a:gd name="connsiteX193" fmla="*/ 232450 w 1293444"/>
              <a:gd name="connsiteY193" fmla="*/ 698500 h 1704975"/>
              <a:gd name="connsiteX194" fmla="*/ 241975 w 1293444"/>
              <a:gd name="connsiteY194" fmla="*/ 695325 h 1704975"/>
              <a:gd name="connsiteX195" fmla="*/ 381675 w 1293444"/>
              <a:gd name="connsiteY195" fmla="*/ 688975 h 1704975"/>
              <a:gd name="connsiteX196" fmla="*/ 397550 w 1293444"/>
              <a:gd name="connsiteY196" fmla="*/ 685800 h 1704975"/>
              <a:gd name="connsiteX197" fmla="*/ 407075 w 1293444"/>
              <a:gd name="connsiteY197" fmla="*/ 682625 h 1704975"/>
              <a:gd name="connsiteX198" fmla="*/ 419775 w 1293444"/>
              <a:gd name="connsiteY198" fmla="*/ 679450 h 1704975"/>
              <a:gd name="connsiteX199" fmla="*/ 438825 w 1293444"/>
              <a:gd name="connsiteY199" fmla="*/ 673100 h 1704975"/>
              <a:gd name="connsiteX200" fmla="*/ 467400 w 1293444"/>
              <a:gd name="connsiteY200" fmla="*/ 663575 h 1704975"/>
              <a:gd name="connsiteX201" fmla="*/ 495975 w 1293444"/>
              <a:gd name="connsiteY201" fmla="*/ 654050 h 1704975"/>
              <a:gd name="connsiteX202" fmla="*/ 505500 w 1293444"/>
              <a:gd name="connsiteY202" fmla="*/ 650875 h 1704975"/>
              <a:gd name="connsiteX203" fmla="*/ 527725 w 1293444"/>
              <a:gd name="connsiteY203" fmla="*/ 641350 h 1704975"/>
              <a:gd name="connsiteX204" fmla="*/ 537250 w 1293444"/>
              <a:gd name="connsiteY204" fmla="*/ 635000 h 1704975"/>
              <a:gd name="connsiteX205" fmla="*/ 546775 w 1293444"/>
              <a:gd name="connsiteY205" fmla="*/ 631825 h 1704975"/>
              <a:gd name="connsiteX206" fmla="*/ 559475 w 1293444"/>
              <a:gd name="connsiteY206" fmla="*/ 625475 h 1704975"/>
              <a:gd name="connsiteX207" fmla="*/ 578525 w 1293444"/>
              <a:gd name="connsiteY207" fmla="*/ 657225 h 1704975"/>
              <a:gd name="connsiteX208" fmla="*/ 588050 w 1293444"/>
              <a:gd name="connsiteY208" fmla="*/ 660400 h 1704975"/>
              <a:gd name="connsiteX209" fmla="*/ 607100 w 1293444"/>
              <a:gd name="connsiteY209" fmla="*/ 673100 h 1704975"/>
              <a:gd name="connsiteX210" fmla="*/ 626150 w 1293444"/>
              <a:gd name="connsiteY210" fmla="*/ 679450 h 1704975"/>
              <a:gd name="connsiteX211" fmla="*/ 635675 w 1293444"/>
              <a:gd name="connsiteY211" fmla="*/ 685800 h 1704975"/>
              <a:gd name="connsiteX212" fmla="*/ 654725 w 1293444"/>
              <a:gd name="connsiteY212" fmla="*/ 692150 h 1704975"/>
              <a:gd name="connsiteX213" fmla="*/ 635675 w 1293444"/>
              <a:gd name="connsiteY213" fmla="*/ 676275 h 1704975"/>
              <a:gd name="connsiteX214" fmla="*/ 632500 w 1293444"/>
              <a:gd name="connsiteY214" fmla="*/ 666750 h 1704975"/>
              <a:gd name="connsiteX215" fmla="*/ 635675 w 1293444"/>
              <a:gd name="connsiteY215" fmla="*/ 590550 h 1704975"/>
              <a:gd name="connsiteX216" fmla="*/ 642025 w 1293444"/>
              <a:gd name="connsiteY216" fmla="*/ 571500 h 1704975"/>
              <a:gd name="connsiteX217" fmla="*/ 648375 w 1293444"/>
              <a:gd name="connsiteY217" fmla="*/ 561975 h 1704975"/>
              <a:gd name="connsiteX218" fmla="*/ 638850 w 1293444"/>
              <a:gd name="connsiteY218" fmla="*/ 536575 h 1704975"/>
              <a:gd name="connsiteX219" fmla="*/ 629325 w 1293444"/>
              <a:gd name="connsiteY219" fmla="*/ 533400 h 1704975"/>
              <a:gd name="connsiteX220" fmla="*/ 626150 w 1293444"/>
              <a:gd name="connsiteY220" fmla="*/ 523875 h 1704975"/>
              <a:gd name="connsiteX221" fmla="*/ 632500 w 1293444"/>
              <a:gd name="connsiteY221" fmla="*/ 498475 h 1704975"/>
              <a:gd name="connsiteX222" fmla="*/ 635675 w 1293444"/>
              <a:gd name="connsiteY222" fmla="*/ 485775 h 1704975"/>
              <a:gd name="connsiteX223" fmla="*/ 626150 w 1293444"/>
              <a:gd name="connsiteY223" fmla="*/ 463550 h 1704975"/>
              <a:gd name="connsiteX224" fmla="*/ 616625 w 1293444"/>
              <a:gd name="connsiteY224" fmla="*/ 460375 h 1704975"/>
              <a:gd name="connsiteX225" fmla="*/ 607100 w 1293444"/>
              <a:gd name="connsiteY225" fmla="*/ 454025 h 1704975"/>
              <a:gd name="connsiteX226" fmla="*/ 591225 w 1293444"/>
              <a:gd name="connsiteY226" fmla="*/ 450850 h 1704975"/>
              <a:gd name="connsiteX227" fmla="*/ 569000 w 1293444"/>
              <a:gd name="connsiteY227" fmla="*/ 441325 h 1704975"/>
              <a:gd name="connsiteX228" fmla="*/ 546775 w 1293444"/>
              <a:gd name="connsiteY228" fmla="*/ 415925 h 1704975"/>
              <a:gd name="connsiteX229" fmla="*/ 540425 w 1293444"/>
              <a:gd name="connsiteY229" fmla="*/ 406400 h 1704975"/>
              <a:gd name="connsiteX230" fmla="*/ 530900 w 1293444"/>
              <a:gd name="connsiteY230" fmla="*/ 400050 h 1704975"/>
              <a:gd name="connsiteX231" fmla="*/ 508675 w 1293444"/>
              <a:gd name="connsiteY231" fmla="*/ 374650 h 1704975"/>
              <a:gd name="connsiteX232" fmla="*/ 502325 w 1293444"/>
              <a:gd name="connsiteY232" fmla="*/ 365125 h 1704975"/>
              <a:gd name="connsiteX233" fmla="*/ 483275 w 1293444"/>
              <a:gd name="connsiteY233" fmla="*/ 346075 h 1704975"/>
              <a:gd name="connsiteX234" fmla="*/ 486450 w 1293444"/>
              <a:gd name="connsiteY234" fmla="*/ 333375 h 1704975"/>
              <a:gd name="connsiteX235" fmla="*/ 492800 w 1293444"/>
              <a:gd name="connsiteY235" fmla="*/ 314325 h 1704975"/>
              <a:gd name="connsiteX236" fmla="*/ 489625 w 1293444"/>
              <a:gd name="connsiteY236" fmla="*/ 292100 h 1704975"/>
              <a:gd name="connsiteX237" fmla="*/ 461050 w 1293444"/>
              <a:gd name="connsiteY237" fmla="*/ 266700 h 1704975"/>
              <a:gd name="connsiteX238" fmla="*/ 435650 w 1293444"/>
              <a:gd name="connsiteY238" fmla="*/ 254000 h 1704975"/>
              <a:gd name="connsiteX239" fmla="*/ 413425 w 1293444"/>
              <a:gd name="connsiteY239" fmla="*/ 238125 h 1704975"/>
              <a:gd name="connsiteX240" fmla="*/ 403900 w 1293444"/>
              <a:gd name="connsiteY240" fmla="*/ 231775 h 1704975"/>
              <a:gd name="connsiteX241" fmla="*/ 362625 w 1293444"/>
              <a:gd name="connsiteY241" fmla="*/ 114300 h 1704975"/>
              <a:gd name="connsiteX242" fmla="*/ 368975 w 1293444"/>
              <a:gd name="connsiteY242" fmla="*/ 104775 h 1704975"/>
              <a:gd name="connsiteX243" fmla="*/ 375325 w 1293444"/>
              <a:gd name="connsiteY243"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2675 w 1293444"/>
              <a:gd name="connsiteY111" fmla="*/ 1346200 h 1704975"/>
              <a:gd name="connsiteX112" fmla="*/ 769025 w 1293444"/>
              <a:gd name="connsiteY112" fmla="*/ 1393825 h 1704975"/>
              <a:gd name="connsiteX113" fmla="*/ 775375 w 1293444"/>
              <a:gd name="connsiteY113" fmla="*/ 1412875 h 1704975"/>
              <a:gd name="connsiteX114" fmla="*/ 781725 w 1293444"/>
              <a:gd name="connsiteY114" fmla="*/ 1435100 h 1704975"/>
              <a:gd name="connsiteX115" fmla="*/ 772200 w 1293444"/>
              <a:gd name="connsiteY115" fmla="*/ 1460500 h 1704975"/>
              <a:gd name="connsiteX116" fmla="*/ 762675 w 1293444"/>
              <a:gd name="connsiteY116" fmla="*/ 1466850 h 1704975"/>
              <a:gd name="connsiteX117" fmla="*/ 753150 w 1293444"/>
              <a:gd name="connsiteY117" fmla="*/ 1485900 h 1704975"/>
              <a:gd name="connsiteX118" fmla="*/ 749975 w 1293444"/>
              <a:gd name="connsiteY118" fmla="*/ 1514475 h 1704975"/>
              <a:gd name="connsiteX119" fmla="*/ 740450 w 1293444"/>
              <a:gd name="connsiteY119" fmla="*/ 1520825 h 1704975"/>
              <a:gd name="connsiteX120" fmla="*/ 730925 w 1293444"/>
              <a:gd name="connsiteY120" fmla="*/ 1530350 h 1704975"/>
              <a:gd name="connsiteX121" fmla="*/ 718225 w 1293444"/>
              <a:gd name="connsiteY121" fmla="*/ 1549400 h 1704975"/>
              <a:gd name="connsiteX122" fmla="*/ 711875 w 1293444"/>
              <a:gd name="connsiteY122" fmla="*/ 1558925 h 1704975"/>
              <a:gd name="connsiteX123" fmla="*/ 702350 w 1293444"/>
              <a:gd name="connsiteY123" fmla="*/ 1568450 h 1704975"/>
              <a:gd name="connsiteX124" fmla="*/ 699175 w 1293444"/>
              <a:gd name="connsiteY124" fmla="*/ 1577975 h 1704975"/>
              <a:gd name="connsiteX125" fmla="*/ 686475 w 1293444"/>
              <a:gd name="connsiteY125" fmla="*/ 1597025 h 1704975"/>
              <a:gd name="connsiteX126" fmla="*/ 648375 w 1293444"/>
              <a:gd name="connsiteY126" fmla="*/ 1631950 h 1704975"/>
              <a:gd name="connsiteX127" fmla="*/ 638850 w 1293444"/>
              <a:gd name="connsiteY127" fmla="*/ 1638300 h 1704975"/>
              <a:gd name="connsiteX128" fmla="*/ 607100 w 1293444"/>
              <a:gd name="connsiteY128" fmla="*/ 1676400 h 1704975"/>
              <a:gd name="connsiteX129" fmla="*/ 556300 w 1293444"/>
              <a:gd name="connsiteY129" fmla="*/ 1679575 h 1704975"/>
              <a:gd name="connsiteX130" fmla="*/ 537250 w 1293444"/>
              <a:gd name="connsiteY130" fmla="*/ 1685925 h 1704975"/>
              <a:gd name="connsiteX131" fmla="*/ 515025 w 1293444"/>
              <a:gd name="connsiteY131" fmla="*/ 1698625 h 1704975"/>
              <a:gd name="connsiteX132" fmla="*/ 495975 w 1293444"/>
              <a:gd name="connsiteY132" fmla="*/ 1704975 h 1704975"/>
              <a:gd name="connsiteX133" fmla="*/ 476925 w 1293444"/>
              <a:gd name="connsiteY133" fmla="*/ 1701800 h 1704975"/>
              <a:gd name="connsiteX134" fmla="*/ 470575 w 1293444"/>
              <a:gd name="connsiteY134" fmla="*/ 1692275 h 1704975"/>
              <a:gd name="connsiteX135" fmla="*/ 467400 w 1293444"/>
              <a:gd name="connsiteY135" fmla="*/ 1660525 h 1704975"/>
              <a:gd name="connsiteX136" fmla="*/ 457875 w 1293444"/>
              <a:gd name="connsiteY136" fmla="*/ 1641475 h 1704975"/>
              <a:gd name="connsiteX137" fmla="*/ 432475 w 1293444"/>
              <a:gd name="connsiteY137" fmla="*/ 1495425 h 1704975"/>
              <a:gd name="connsiteX138" fmla="*/ 429300 w 1293444"/>
              <a:gd name="connsiteY138" fmla="*/ 1485900 h 1704975"/>
              <a:gd name="connsiteX139" fmla="*/ 426125 w 1293444"/>
              <a:gd name="connsiteY139" fmla="*/ 1473200 h 1704975"/>
              <a:gd name="connsiteX140" fmla="*/ 419775 w 1293444"/>
              <a:gd name="connsiteY140" fmla="*/ 1463675 h 1704975"/>
              <a:gd name="connsiteX141" fmla="*/ 416600 w 1293444"/>
              <a:gd name="connsiteY141" fmla="*/ 1454150 h 1704975"/>
              <a:gd name="connsiteX142" fmla="*/ 394375 w 1293444"/>
              <a:gd name="connsiteY142" fmla="*/ 1381125 h 1704975"/>
              <a:gd name="connsiteX143" fmla="*/ 391200 w 1293444"/>
              <a:gd name="connsiteY143" fmla="*/ 1368425 h 1704975"/>
              <a:gd name="connsiteX144" fmla="*/ 388025 w 1293444"/>
              <a:gd name="connsiteY144" fmla="*/ 1352550 h 1704975"/>
              <a:gd name="connsiteX145" fmla="*/ 381675 w 1293444"/>
              <a:gd name="connsiteY145" fmla="*/ 1333500 h 1704975"/>
              <a:gd name="connsiteX146" fmla="*/ 378500 w 1293444"/>
              <a:gd name="connsiteY146" fmla="*/ 1323975 h 1704975"/>
              <a:gd name="connsiteX147" fmla="*/ 375325 w 1293444"/>
              <a:gd name="connsiteY147" fmla="*/ 1308100 h 1704975"/>
              <a:gd name="connsiteX148" fmla="*/ 368975 w 1293444"/>
              <a:gd name="connsiteY148" fmla="*/ 1289050 h 1704975"/>
              <a:gd name="connsiteX149" fmla="*/ 362625 w 1293444"/>
              <a:gd name="connsiteY149" fmla="*/ 1260475 h 1704975"/>
              <a:gd name="connsiteX150" fmla="*/ 359450 w 1293444"/>
              <a:gd name="connsiteY150" fmla="*/ 1231900 h 1704975"/>
              <a:gd name="connsiteX151" fmla="*/ 349925 w 1293444"/>
              <a:gd name="connsiteY151" fmla="*/ 1196975 h 1704975"/>
              <a:gd name="connsiteX152" fmla="*/ 340400 w 1293444"/>
              <a:gd name="connsiteY152" fmla="*/ 1155700 h 1704975"/>
              <a:gd name="connsiteX153" fmla="*/ 334050 w 1293444"/>
              <a:gd name="connsiteY153" fmla="*/ 1130300 h 1704975"/>
              <a:gd name="connsiteX154" fmla="*/ 327700 w 1293444"/>
              <a:gd name="connsiteY154" fmla="*/ 1104900 h 1704975"/>
              <a:gd name="connsiteX155" fmla="*/ 324525 w 1293444"/>
              <a:gd name="connsiteY155" fmla="*/ 1092200 h 1704975"/>
              <a:gd name="connsiteX156" fmla="*/ 318175 w 1293444"/>
              <a:gd name="connsiteY156" fmla="*/ 1050925 h 1704975"/>
              <a:gd name="connsiteX157" fmla="*/ 315000 w 1293444"/>
              <a:gd name="connsiteY157" fmla="*/ 1031875 h 1704975"/>
              <a:gd name="connsiteX158" fmla="*/ 311825 w 1293444"/>
              <a:gd name="connsiteY158" fmla="*/ 1022350 h 1704975"/>
              <a:gd name="connsiteX159" fmla="*/ 308650 w 1293444"/>
              <a:gd name="connsiteY159" fmla="*/ 1006475 h 1704975"/>
              <a:gd name="connsiteX160" fmla="*/ 302300 w 1293444"/>
              <a:gd name="connsiteY160" fmla="*/ 987425 h 1704975"/>
              <a:gd name="connsiteX161" fmla="*/ 299125 w 1293444"/>
              <a:gd name="connsiteY161" fmla="*/ 974725 h 1704975"/>
              <a:gd name="connsiteX162" fmla="*/ 292775 w 1293444"/>
              <a:gd name="connsiteY162" fmla="*/ 955675 h 1704975"/>
              <a:gd name="connsiteX163" fmla="*/ 289600 w 1293444"/>
              <a:gd name="connsiteY163" fmla="*/ 946150 h 1704975"/>
              <a:gd name="connsiteX164" fmla="*/ 280075 w 1293444"/>
              <a:gd name="connsiteY164" fmla="*/ 923925 h 1704975"/>
              <a:gd name="connsiteX165" fmla="*/ 261025 w 1293444"/>
              <a:gd name="connsiteY165" fmla="*/ 908050 h 1704975"/>
              <a:gd name="connsiteX166" fmla="*/ 241975 w 1293444"/>
              <a:gd name="connsiteY166" fmla="*/ 901700 h 1704975"/>
              <a:gd name="connsiteX167" fmla="*/ 222925 w 1293444"/>
              <a:gd name="connsiteY167" fmla="*/ 889000 h 1704975"/>
              <a:gd name="connsiteX168" fmla="*/ 213400 w 1293444"/>
              <a:gd name="connsiteY168" fmla="*/ 885825 h 1704975"/>
              <a:gd name="connsiteX169" fmla="*/ 194350 w 1293444"/>
              <a:gd name="connsiteY169" fmla="*/ 873125 h 1704975"/>
              <a:gd name="connsiteX170" fmla="*/ 175300 w 1293444"/>
              <a:gd name="connsiteY170" fmla="*/ 860425 h 1704975"/>
              <a:gd name="connsiteX171" fmla="*/ 162600 w 1293444"/>
              <a:gd name="connsiteY171" fmla="*/ 850900 h 1704975"/>
              <a:gd name="connsiteX172" fmla="*/ 153075 w 1293444"/>
              <a:gd name="connsiteY172" fmla="*/ 847725 h 1704975"/>
              <a:gd name="connsiteX173" fmla="*/ 134025 w 1293444"/>
              <a:gd name="connsiteY173" fmla="*/ 835025 h 1704975"/>
              <a:gd name="connsiteX174" fmla="*/ 114975 w 1293444"/>
              <a:gd name="connsiteY174" fmla="*/ 822325 h 1704975"/>
              <a:gd name="connsiteX175" fmla="*/ 105450 w 1293444"/>
              <a:gd name="connsiteY175" fmla="*/ 815975 h 1704975"/>
              <a:gd name="connsiteX176" fmla="*/ 95925 w 1293444"/>
              <a:gd name="connsiteY176" fmla="*/ 812800 h 1704975"/>
              <a:gd name="connsiteX177" fmla="*/ 64175 w 1293444"/>
              <a:gd name="connsiteY177" fmla="*/ 790575 h 1704975"/>
              <a:gd name="connsiteX178" fmla="*/ 54650 w 1293444"/>
              <a:gd name="connsiteY178" fmla="*/ 787400 h 1704975"/>
              <a:gd name="connsiteX179" fmla="*/ 38775 w 1293444"/>
              <a:gd name="connsiteY179" fmla="*/ 771525 h 1704975"/>
              <a:gd name="connsiteX180" fmla="*/ 29250 w 1293444"/>
              <a:gd name="connsiteY180" fmla="*/ 762000 h 1704975"/>
              <a:gd name="connsiteX181" fmla="*/ 19725 w 1293444"/>
              <a:gd name="connsiteY181" fmla="*/ 758825 h 1704975"/>
              <a:gd name="connsiteX182" fmla="*/ 675 w 1293444"/>
              <a:gd name="connsiteY182" fmla="*/ 746125 h 1704975"/>
              <a:gd name="connsiteX183" fmla="*/ 51475 w 1293444"/>
              <a:gd name="connsiteY183" fmla="*/ 739775 h 1704975"/>
              <a:gd name="connsiteX184" fmla="*/ 67350 w 1293444"/>
              <a:gd name="connsiteY184" fmla="*/ 736600 h 1704975"/>
              <a:gd name="connsiteX185" fmla="*/ 102275 w 1293444"/>
              <a:gd name="connsiteY185" fmla="*/ 733425 h 1704975"/>
              <a:gd name="connsiteX186" fmla="*/ 130850 w 1293444"/>
              <a:gd name="connsiteY186" fmla="*/ 727075 h 1704975"/>
              <a:gd name="connsiteX187" fmla="*/ 149900 w 1293444"/>
              <a:gd name="connsiteY187" fmla="*/ 723900 h 1704975"/>
              <a:gd name="connsiteX188" fmla="*/ 159425 w 1293444"/>
              <a:gd name="connsiteY188" fmla="*/ 720725 h 1704975"/>
              <a:gd name="connsiteX189" fmla="*/ 175300 w 1293444"/>
              <a:gd name="connsiteY189" fmla="*/ 717550 h 1704975"/>
              <a:gd name="connsiteX190" fmla="*/ 194350 w 1293444"/>
              <a:gd name="connsiteY190" fmla="*/ 711200 h 1704975"/>
              <a:gd name="connsiteX191" fmla="*/ 222925 w 1293444"/>
              <a:gd name="connsiteY191" fmla="*/ 701675 h 1704975"/>
              <a:gd name="connsiteX192" fmla="*/ 232450 w 1293444"/>
              <a:gd name="connsiteY192" fmla="*/ 698500 h 1704975"/>
              <a:gd name="connsiteX193" fmla="*/ 241975 w 1293444"/>
              <a:gd name="connsiteY193" fmla="*/ 695325 h 1704975"/>
              <a:gd name="connsiteX194" fmla="*/ 381675 w 1293444"/>
              <a:gd name="connsiteY194" fmla="*/ 688975 h 1704975"/>
              <a:gd name="connsiteX195" fmla="*/ 397550 w 1293444"/>
              <a:gd name="connsiteY195" fmla="*/ 685800 h 1704975"/>
              <a:gd name="connsiteX196" fmla="*/ 407075 w 1293444"/>
              <a:gd name="connsiteY196" fmla="*/ 682625 h 1704975"/>
              <a:gd name="connsiteX197" fmla="*/ 419775 w 1293444"/>
              <a:gd name="connsiteY197" fmla="*/ 679450 h 1704975"/>
              <a:gd name="connsiteX198" fmla="*/ 438825 w 1293444"/>
              <a:gd name="connsiteY198" fmla="*/ 673100 h 1704975"/>
              <a:gd name="connsiteX199" fmla="*/ 467400 w 1293444"/>
              <a:gd name="connsiteY199" fmla="*/ 663575 h 1704975"/>
              <a:gd name="connsiteX200" fmla="*/ 495975 w 1293444"/>
              <a:gd name="connsiteY200" fmla="*/ 654050 h 1704975"/>
              <a:gd name="connsiteX201" fmla="*/ 505500 w 1293444"/>
              <a:gd name="connsiteY201" fmla="*/ 650875 h 1704975"/>
              <a:gd name="connsiteX202" fmla="*/ 527725 w 1293444"/>
              <a:gd name="connsiteY202" fmla="*/ 641350 h 1704975"/>
              <a:gd name="connsiteX203" fmla="*/ 537250 w 1293444"/>
              <a:gd name="connsiteY203" fmla="*/ 635000 h 1704975"/>
              <a:gd name="connsiteX204" fmla="*/ 546775 w 1293444"/>
              <a:gd name="connsiteY204" fmla="*/ 631825 h 1704975"/>
              <a:gd name="connsiteX205" fmla="*/ 559475 w 1293444"/>
              <a:gd name="connsiteY205" fmla="*/ 625475 h 1704975"/>
              <a:gd name="connsiteX206" fmla="*/ 578525 w 1293444"/>
              <a:gd name="connsiteY206" fmla="*/ 657225 h 1704975"/>
              <a:gd name="connsiteX207" fmla="*/ 588050 w 1293444"/>
              <a:gd name="connsiteY207" fmla="*/ 660400 h 1704975"/>
              <a:gd name="connsiteX208" fmla="*/ 607100 w 1293444"/>
              <a:gd name="connsiteY208" fmla="*/ 673100 h 1704975"/>
              <a:gd name="connsiteX209" fmla="*/ 626150 w 1293444"/>
              <a:gd name="connsiteY209" fmla="*/ 679450 h 1704975"/>
              <a:gd name="connsiteX210" fmla="*/ 635675 w 1293444"/>
              <a:gd name="connsiteY210" fmla="*/ 685800 h 1704975"/>
              <a:gd name="connsiteX211" fmla="*/ 654725 w 1293444"/>
              <a:gd name="connsiteY211" fmla="*/ 692150 h 1704975"/>
              <a:gd name="connsiteX212" fmla="*/ 635675 w 1293444"/>
              <a:gd name="connsiteY212" fmla="*/ 676275 h 1704975"/>
              <a:gd name="connsiteX213" fmla="*/ 632500 w 1293444"/>
              <a:gd name="connsiteY213" fmla="*/ 666750 h 1704975"/>
              <a:gd name="connsiteX214" fmla="*/ 635675 w 1293444"/>
              <a:gd name="connsiteY214" fmla="*/ 590550 h 1704975"/>
              <a:gd name="connsiteX215" fmla="*/ 642025 w 1293444"/>
              <a:gd name="connsiteY215" fmla="*/ 571500 h 1704975"/>
              <a:gd name="connsiteX216" fmla="*/ 648375 w 1293444"/>
              <a:gd name="connsiteY216" fmla="*/ 561975 h 1704975"/>
              <a:gd name="connsiteX217" fmla="*/ 638850 w 1293444"/>
              <a:gd name="connsiteY217" fmla="*/ 536575 h 1704975"/>
              <a:gd name="connsiteX218" fmla="*/ 629325 w 1293444"/>
              <a:gd name="connsiteY218" fmla="*/ 533400 h 1704975"/>
              <a:gd name="connsiteX219" fmla="*/ 626150 w 1293444"/>
              <a:gd name="connsiteY219" fmla="*/ 523875 h 1704975"/>
              <a:gd name="connsiteX220" fmla="*/ 632500 w 1293444"/>
              <a:gd name="connsiteY220" fmla="*/ 498475 h 1704975"/>
              <a:gd name="connsiteX221" fmla="*/ 635675 w 1293444"/>
              <a:gd name="connsiteY221" fmla="*/ 485775 h 1704975"/>
              <a:gd name="connsiteX222" fmla="*/ 626150 w 1293444"/>
              <a:gd name="connsiteY222" fmla="*/ 463550 h 1704975"/>
              <a:gd name="connsiteX223" fmla="*/ 616625 w 1293444"/>
              <a:gd name="connsiteY223" fmla="*/ 460375 h 1704975"/>
              <a:gd name="connsiteX224" fmla="*/ 607100 w 1293444"/>
              <a:gd name="connsiteY224" fmla="*/ 454025 h 1704975"/>
              <a:gd name="connsiteX225" fmla="*/ 591225 w 1293444"/>
              <a:gd name="connsiteY225" fmla="*/ 450850 h 1704975"/>
              <a:gd name="connsiteX226" fmla="*/ 569000 w 1293444"/>
              <a:gd name="connsiteY226" fmla="*/ 441325 h 1704975"/>
              <a:gd name="connsiteX227" fmla="*/ 546775 w 1293444"/>
              <a:gd name="connsiteY227" fmla="*/ 415925 h 1704975"/>
              <a:gd name="connsiteX228" fmla="*/ 540425 w 1293444"/>
              <a:gd name="connsiteY228" fmla="*/ 406400 h 1704975"/>
              <a:gd name="connsiteX229" fmla="*/ 530900 w 1293444"/>
              <a:gd name="connsiteY229" fmla="*/ 400050 h 1704975"/>
              <a:gd name="connsiteX230" fmla="*/ 508675 w 1293444"/>
              <a:gd name="connsiteY230" fmla="*/ 374650 h 1704975"/>
              <a:gd name="connsiteX231" fmla="*/ 502325 w 1293444"/>
              <a:gd name="connsiteY231" fmla="*/ 365125 h 1704975"/>
              <a:gd name="connsiteX232" fmla="*/ 483275 w 1293444"/>
              <a:gd name="connsiteY232" fmla="*/ 346075 h 1704975"/>
              <a:gd name="connsiteX233" fmla="*/ 486450 w 1293444"/>
              <a:gd name="connsiteY233" fmla="*/ 333375 h 1704975"/>
              <a:gd name="connsiteX234" fmla="*/ 492800 w 1293444"/>
              <a:gd name="connsiteY234" fmla="*/ 314325 h 1704975"/>
              <a:gd name="connsiteX235" fmla="*/ 489625 w 1293444"/>
              <a:gd name="connsiteY235" fmla="*/ 292100 h 1704975"/>
              <a:gd name="connsiteX236" fmla="*/ 461050 w 1293444"/>
              <a:gd name="connsiteY236" fmla="*/ 266700 h 1704975"/>
              <a:gd name="connsiteX237" fmla="*/ 435650 w 1293444"/>
              <a:gd name="connsiteY237" fmla="*/ 254000 h 1704975"/>
              <a:gd name="connsiteX238" fmla="*/ 413425 w 1293444"/>
              <a:gd name="connsiteY238" fmla="*/ 238125 h 1704975"/>
              <a:gd name="connsiteX239" fmla="*/ 403900 w 1293444"/>
              <a:gd name="connsiteY239" fmla="*/ 231775 h 1704975"/>
              <a:gd name="connsiteX240" fmla="*/ 362625 w 1293444"/>
              <a:gd name="connsiteY240" fmla="*/ 114300 h 1704975"/>
              <a:gd name="connsiteX241" fmla="*/ 368975 w 1293444"/>
              <a:gd name="connsiteY241" fmla="*/ 104775 h 1704975"/>
              <a:gd name="connsiteX242" fmla="*/ 375325 w 1293444"/>
              <a:gd name="connsiteY242"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56325 w 1293444"/>
              <a:gd name="connsiteY110" fmla="*/ 1336675 h 1704975"/>
              <a:gd name="connsiteX111" fmla="*/ 769025 w 1293444"/>
              <a:gd name="connsiteY111" fmla="*/ 1393825 h 1704975"/>
              <a:gd name="connsiteX112" fmla="*/ 775375 w 1293444"/>
              <a:gd name="connsiteY112" fmla="*/ 1412875 h 1704975"/>
              <a:gd name="connsiteX113" fmla="*/ 781725 w 1293444"/>
              <a:gd name="connsiteY113" fmla="*/ 1435100 h 1704975"/>
              <a:gd name="connsiteX114" fmla="*/ 772200 w 1293444"/>
              <a:gd name="connsiteY114" fmla="*/ 1460500 h 1704975"/>
              <a:gd name="connsiteX115" fmla="*/ 762675 w 1293444"/>
              <a:gd name="connsiteY115" fmla="*/ 1466850 h 1704975"/>
              <a:gd name="connsiteX116" fmla="*/ 753150 w 1293444"/>
              <a:gd name="connsiteY116" fmla="*/ 1485900 h 1704975"/>
              <a:gd name="connsiteX117" fmla="*/ 749975 w 1293444"/>
              <a:gd name="connsiteY117" fmla="*/ 1514475 h 1704975"/>
              <a:gd name="connsiteX118" fmla="*/ 740450 w 1293444"/>
              <a:gd name="connsiteY118" fmla="*/ 1520825 h 1704975"/>
              <a:gd name="connsiteX119" fmla="*/ 730925 w 1293444"/>
              <a:gd name="connsiteY119" fmla="*/ 1530350 h 1704975"/>
              <a:gd name="connsiteX120" fmla="*/ 718225 w 1293444"/>
              <a:gd name="connsiteY120" fmla="*/ 1549400 h 1704975"/>
              <a:gd name="connsiteX121" fmla="*/ 711875 w 1293444"/>
              <a:gd name="connsiteY121" fmla="*/ 1558925 h 1704975"/>
              <a:gd name="connsiteX122" fmla="*/ 702350 w 1293444"/>
              <a:gd name="connsiteY122" fmla="*/ 1568450 h 1704975"/>
              <a:gd name="connsiteX123" fmla="*/ 699175 w 1293444"/>
              <a:gd name="connsiteY123" fmla="*/ 1577975 h 1704975"/>
              <a:gd name="connsiteX124" fmla="*/ 686475 w 1293444"/>
              <a:gd name="connsiteY124" fmla="*/ 1597025 h 1704975"/>
              <a:gd name="connsiteX125" fmla="*/ 648375 w 1293444"/>
              <a:gd name="connsiteY125" fmla="*/ 1631950 h 1704975"/>
              <a:gd name="connsiteX126" fmla="*/ 638850 w 1293444"/>
              <a:gd name="connsiteY126" fmla="*/ 1638300 h 1704975"/>
              <a:gd name="connsiteX127" fmla="*/ 607100 w 1293444"/>
              <a:gd name="connsiteY127" fmla="*/ 1676400 h 1704975"/>
              <a:gd name="connsiteX128" fmla="*/ 556300 w 1293444"/>
              <a:gd name="connsiteY128" fmla="*/ 1679575 h 1704975"/>
              <a:gd name="connsiteX129" fmla="*/ 537250 w 1293444"/>
              <a:gd name="connsiteY129" fmla="*/ 1685925 h 1704975"/>
              <a:gd name="connsiteX130" fmla="*/ 515025 w 1293444"/>
              <a:gd name="connsiteY130" fmla="*/ 1698625 h 1704975"/>
              <a:gd name="connsiteX131" fmla="*/ 495975 w 1293444"/>
              <a:gd name="connsiteY131" fmla="*/ 1704975 h 1704975"/>
              <a:gd name="connsiteX132" fmla="*/ 476925 w 1293444"/>
              <a:gd name="connsiteY132" fmla="*/ 1701800 h 1704975"/>
              <a:gd name="connsiteX133" fmla="*/ 470575 w 1293444"/>
              <a:gd name="connsiteY133" fmla="*/ 1692275 h 1704975"/>
              <a:gd name="connsiteX134" fmla="*/ 467400 w 1293444"/>
              <a:gd name="connsiteY134" fmla="*/ 1660525 h 1704975"/>
              <a:gd name="connsiteX135" fmla="*/ 457875 w 1293444"/>
              <a:gd name="connsiteY135" fmla="*/ 1641475 h 1704975"/>
              <a:gd name="connsiteX136" fmla="*/ 432475 w 1293444"/>
              <a:gd name="connsiteY136" fmla="*/ 1495425 h 1704975"/>
              <a:gd name="connsiteX137" fmla="*/ 429300 w 1293444"/>
              <a:gd name="connsiteY137" fmla="*/ 1485900 h 1704975"/>
              <a:gd name="connsiteX138" fmla="*/ 426125 w 1293444"/>
              <a:gd name="connsiteY138" fmla="*/ 1473200 h 1704975"/>
              <a:gd name="connsiteX139" fmla="*/ 419775 w 1293444"/>
              <a:gd name="connsiteY139" fmla="*/ 1463675 h 1704975"/>
              <a:gd name="connsiteX140" fmla="*/ 416600 w 1293444"/>
              <a:gd name="connsiteY140" fmla="*/ 1454150 h 1704975"/>
              <a:gd name="connsiteX141" fmla="*/ 394375 w 1293444"/>
              <a:gd name="connsiteY141" fmla="*/ 1381125 h 1704975"/>
              <a:gd name="connsiteX142" fmla="*/ 391200 w 1293444"/>
              <a:gd name="connsiteY142" fmla="*/ 1368425 h 1704975"/>
              <a:gd name="connsiteX143" fmla="*/ 388025 w 1293444"/>
              <a:gd name="connsiteY143" fmla="*/ 1352550 h 1704975"/>
              <a:gd name="connsiteX144" fmla="*/ 381675 w 1293444"/>
              <a:gd name="connsiteY144" fmla="*/ 1333500 h 1704975"/>
              <a:gd name="connsiteX145" fmla="*/ 378500 w 1293444"/>
              <a:gd name="connsiteY145" fmla="*/ 1323975 h 1704975"/>
              <a:gd name="connsiteX146" fmla="*/ 375325 w 1293444"/>
              <a:gd name="connsiteY146" fmla="*/ 1308100 h 1704975"/>
              <a:gd name="connsiteX147" fmla="*/ 368975 w 1293444"/>
              <a:gd name="connsiteY147" fmla="*/ 1289050 h 1704975"/>
              <a:gd name="connsiteX148" fmla="*/ 362625 w 1293444"/>
              <a:gd name="connsiteY148" fmla="*/ 1260475 h 1704975"/>
              <a:gd name="connsiteX149" fmla="*/ 359450 w 1293444"/>
              <a:gd name="connsiteY149" fmla="*/ 1231900 h 1704975"/>
              <a:gd name="connsiteX150" fmla="*/ 349925 w 1293444"/>
              <a:gd name="connsiteY150" fmla="*/ 1196975 h 1704975"/>
              <a:gd name="connsiteX151" fmla="*/ 340400 w 1293444"/>
              <a:gd name="connsiteY151" fmla="*/ 1155700 h 1704975"/>
              <a:gd name="connsiteX152" fmla="*/ 334050 w 1293444"/>
              <a:gd name="connsiteY152" fmla="*/ 1130300 h 1704975"/>
              <a:gd name="connsiteX153" fmla="*/ 327700 w 1293444"/>
              <a:gd name="connsiteY153" fmla="*/ 1104900 h 1704975"/>
              <a:gd name="connsiteX154" fmla="*/ 324525 w 1293444"/>
              <a:gd name="connsiteY154" fmla="*/ 1092200 h 1704975"/>
              <a:gd name="connsiteX155" fmla="*/ 318175 w 1293444"/>
              <a:gd name="connsiteY155" fmla="*/ 1050925 h 1704975"/>
              <a:gd name="connsiteX156" fmla="*/ 315000 w 1293444"/>
              <a:gd name="connsiteY156" fmla="*/ 1031875 h 1704975"/>
              <a:gd name="connsiteX157" fmla="*/ 311825 w 1293444"/>
              <a:gd name="connsiteY157" fmla="*/ 1022350 h 1704975"/>
              <a:gd name="connsiteX158" fmla="*/ 308650 w 1293444"/>
              <a:gd name="connsiteY158" fmla="*/ 1006475 h 1704975"/>
              <a:gd name="connsiteX159" fmla="*/ 302300 w 1293444"/>
              <a:gd name="connsiteY159" fmla="*/ 987425 h 1704975"/>
              <a:gd name="connsiteX160" fmla="*/ 299125 w 1293444"/>
              <a:gd name="connsiteY160" fmla="*/ 974725 h 1704975"/>
              <a:gd name="connsiteX161" fmla="*/ 292775 w 1293444"/>
              <a:gd name="connsiteY161" fmla="*/ 955675 h 1704975"/>
              <a:gd name="connsiteX162" fmla="*/ 289600 w 1293444"/>
              <a:gd name="connsiteY162" fmla="*/ 946150 h 1704975"/>
              <a:gd name="connsiteX163" fmla="*/ 280075 w 1293444"/>
              <a:gd name="connsiteY163" fmla="*/ 923925 h 1704975"/>
              <a:gd name="connsiteX164" fmla="*/ 261025 w 1293444"/>
              <a:gd name="connsiteY164" fmla="*/ 908050 h 1704975"/>
              <a:gd name="connsiteX165" fmla="*/ 241975 w 1293444"/>
              <a:gd name="connsiteY165" fmla="*/ 901700 h 1704975"/>
              <a:gd name="connsiteX166" fmla="*/ 222925 w 1293444"/>
              <a:gd name="connsiteY166" fmla="*/ 889000 h 1704975"/>
              <a:gd name="connsiteX167" fmla="*/ 213400 w 1293444"/>
              <a:gd name="connsiteY167" fmla="*/ 885825 h 1704975"/>
              <a:gd name="connsiteX168" fmla="*/ 194350 w 1293444"/>
              <a:gd name="connsiteY168" fmla="*/ 873125 h 1704975"/>
              <a:gd name="connsiteX169" fmla="*/ 175300 w 1293444"/>
              <a:gd name="connsiteY169" fmla="*/ 860425 h 1704975"/>
              <a:gd name="connsiteX170" fmla="*/ 162600 w 1293444"/>
              <a:gd name="connsiteY170" fmla="*/ 850900 h 1704975"/>
              <a:gd name="connsiteX171" fmla="*/ 153075 w 1293444"/>
              <a:gd name="connsiteY171" fmla="*/ 847725 h 1704975"/>
              <a:gd name="connsiteX172" fmla="*/ 134025 w 1293444"/>
              <a:gd name="connsiteY172" fmla="*/ 835025 h 1704975"/>
              <a:gd name="connsiteX173" fmla="*/ 114975 w 1293444"/>
              <a:gd name="connsiteY173" fmla="*/ 822325 h 1704975"/>
              <a:gd name="connsiteX174" fmla="*/ 105450 w 1293444"/>
              <a:gd name="connsiteY174" fmla="*/ 815975 h 1704975"/>
              <a:gd name="connsiteX175" fmla="*/ 95925 w 1293444"/>
              <a:gd name="connsiteY175" fmla="*/ 812800 h 1704975"/>
              <a:gd name="connsiteX176" fmla="*/ 64175 w 1293444"/>
              <a:gd name="connsiteY176" fmla="*/ 790575 h 1704975"/>
              <a:gd name="connsiteX177" fmla="*/ 54650 w 1293444"/>
              <a:gd name="connsiteY177" fmla="*/ 787400 h 1704975"/>
              <a:gd name="connsiteX178" fmla="*/ 38775 w 1293444"/>
              <a:gd name="connsiteY178" fmla="*/ 771525 h 1704975"/>
              <a:gd name="connsiteX179" fmla="*/ 29250 w 1293444"/>
              <a:gd name="connsiteY179" fmla="*/ 762000 h 1704975"/>
              <a:gd name="connsiteX180" fmla="*/ 19725 w 1293444"/>
              <a:gd name="connsiteY180" fmla="*/ 758825 h 1704975"/>
              <a:gd name="connsiteX181" fmla="*/ 675 w 1293444"/>
              <a:gd name="connsiteY181" fmla="*/ 746125 h 1704975"/>
              <a:gd name="connsiteX182" fmla="*/ 51475 w 1293444"/>
              <a:gd name="connsiteY182" fmla="*/ 739775 h 1704975"/>
              <a:gd name="connsiteX183" fmla="*/ 67350 w 1293444"/>
              <a:gd name="connsiteY183" fmla="*/ 736600 h 1704975"/>
              <a:gd name="connsiteX184" fmla="*/ 102275 w 1293444"/>
              <a:gd name="connsiteY184" fmla="*/ 733425 h 1704975"/>
              <a:gd name="connsiteX185" fmla="*/ 130850 w 1293444"/>
              <a:gd name="connsiteY185" fmla="*/ 727075 h 1704975"/>
              <a:gd name="connsiteX186" fmla="*/ 149900 w 1293444"/>
              <a:gd name="connsiteY186" fmla="*/ 723900 h 1704975"/>
              <a:gd name="connsiteX187" fmla="*/ 159425 w 1293444"/>
              <a:gd name="connsiteY187" fmla="*/ 720725 h 1704975"/>
              <a:gd name="connsiteX188" fmla="*/ 175300 w 1293444"/>
              <a:gd name="connsiteY188" fmla="*/ 717550 h 1704975"/>
              <a:gd name="connsiteX189" fmla="*/ 194350 w 1293444"/>
              <a:gd name="connsiteY189" fmla="*/ 711200 h 1704975"/>
              <a:gd name="connsiteX190" fmla="*/ 222925 w 1293444"/>
              <a:gd name="connsiteY190" fmla="*/ 701675 h 1704975"/>
              <a:gd name="connsiteX191" fmla="*/ 232450 w 1293444"/>
              <a:gd name="connsiteY191" fmla="*/ 698500 h 1704975"/>
              <a:gd name="connsiteX192" fmla="*/ 241975 w 1293444"/>
              <a:gd name="connsiteY192" fmla="*/ 695325 h 1704975"/>
              <a:gd name="connsiteX193" fmla="*/ 381675 w 1293444"/>
              <a:gd name="connsiteY193" fmla="*/ 688975 h 1704975"/>
              <a:gd name="connsiteX194" fmla="*/ 397550 w 1293444"/>
              <a:gd name="connsiteY194" fmla="*/ 685800 h 1704975"/>
              <a:gd name="connsiteX195" fmla="*/ 407075 w 1293444"/>
              <a:gd name="connsiteY195" fmla="*/ 682625 h 1704975"/>
              <a:gd name="connsiteX196" fmla="*/ 419775 w 1293444"/>
              <a:gd name="connsiteY196" fmla="*/ 679450 h 1704975"/>
              <a:gd name="connsiteX197" fmla="*/ 438825 w 1293444"/>
              <a:gd name="connsiteY197" fmla="*/ 673100 h 1704975"/>
              <a:gd name="connsiteX198" fmla="*/ 467400 w 1293444"/>
              <a:gd name="connsiteY198" fmla="*/ 663575 h 1704975"/>
              <a:gd name="connsiteX199" fmla="*/ 495975 w 1293444"/>
              <a:gd name="connsiteY199" fmla="*/ 654050 h 1704975"/>
              <a:gd name="connsiteX200" fmla="*/ 505500 w 1293444"/>
              <a:gd name="connsiteY200" fmla="*/ 650875 h 1704975"/>
              <a:gd name="connsiteX201" fmla="*/ 527725 w 1293444"/>
              <a:gd name="connsiteY201" fmla="*/ 641350 h 1704975"/>
              <a:gd name="connsiteX202" fmla="*/ 537250 w 1293444"/>
              <a:gd name="connsiteY202" fmla="*/ 635000 h 1704975"/>
              <a:gd name="connsiteX203" fmla="*/ 546775 w 1293444"/>
              <a:gd name="connsiteY203" fmla="*/ 631825 h 1704975"/>
              <a:gd name="connsiteX204" fmla="*/ 559475 w 1293444"/>
              <a:gd name="connsiteY204" fmla="*/ 625475 h 1704975"/>
              <a:gd name="connsiteX205" fmla="*/ 578525 w 1293444"/>
              <a:gd name="connsiteY205" fmla="*/ 657225 h 1704975"/>
              <a:gd name="connsiteX206" fmla="*/ 588050 w 1293444"/>
              <a:gd name="connsiteY206" fmla="*/ 660400 h 1704975"/>
              <a:gd name="connsiteX207" fmla="*/ 607100 w 1293444"/>
              <a:gd name="connsiteY207" fmla="*/ 673100 h 1704975"/>
              <a:gd name="connsiteX208" fmla="*/ 626150 w 1293444"/>
              <a:gd name="connsiteY208" fmla="*/ 679450 h 1704975"/>
              <a:gd name="connsiteX209" fmla="*/ 635675 w 1293444"/>
              <a:gd name="connsiteY209" fmla="*/ 685800 h 1704975"/>
              <a:gd name="connsiteX210" fmla="*/ 654725 w 1293444"/>
              <a:gd name="connsiteY210" fmla="*/ 692150 h 1704975"/>
              <a:gd name="connsiteX211" fmla="*/ 635675 w 1293444"/>
              <a:gd name="connsiteY211" fmla="*/ 676275 h 1704975"/>
              <a:gd name="connsiteX212" fmla="*/ 632500 w 1293444"/>
              <a:gd name="connsiteY212" fmla="*/ 666750 h 1704975"/>
              <a:gd name="connsiteX213" fmla="*/ 635675 w 1293444"/>
              <a:gd name="connsiteY213" fmla="*/ 590550 h 1704975"/>
              <a:gd name="connsiteX214" fmla="*/ 642025 w 1293444"/>
              <a:gd name="connsiteY214" fmla="*/ 571500 h 1704975"/>
              <a:gd name="connsiteX215" fmla="*/ 648375 w 1293444"/>
              <a:gd name="connsiteY215" fmla="*/ 561975 h 1704975"/>
              <a:gd name="connsiteX216" fmla="*/ 638850 w 1293444"/>
              <a:gd name="connsiteY216" fmla="*/ 536575 h 1704975"/>
              <a:gd name="connsiteX217" fmla="*/ 629325 w 1293444"/>
              <a:gd name="connsiteY217" fmla="*/ 533400 h 1704975"/>
              <a:gd name="connsiteX218" fmla="*/ 626150 w 1293444"/>
              <a:gd name="connsiteY218" fmla="*/ 523875 h 1704975"/>
              <a:gd name="connsiteX219" fmla="*/ 632500 w 1293444"/>
              <a:gd name="connsiteY219" fmla="*/ 498475 h 1704975"/>
              <a:gd name="connsiteX220" fmla="*/ 635675 w 1293444"/>
              <a:gd name="connsiteY220" fmla="*/ 485775 h 1704975"/>
              <a:gd name="connsiteX221" fmla="*/ 626150 w 1293444"/>
              <a:gd name="connsiteY221" fmla="*/ 463550 h 1704975"/>
              <a:gd name="connsiteX222" fmla="*/ 616625 w 1293444"/>
              <a:gd name="connsiteY222" fmla="*/ 460375 h 1704975"/>
              <a:gd name="connsiteX223" fmla="*/ 607100 w 1293444"/>
              <a:gd name="connsiteY223" fmla="*/ 454025 h 1704975"/>
              <a:gd name="connsiteX224" fmla="*/ 591225 w 1293444"/>
              <a:gd name="connsiteY224" fmla="*/ 450850 h 1704975"/>
              <a:gd name="connsiteX225" fmla="*/ 569000 w 1293444"/>
              <a:gd name="connsiteY225" fmla="*/ 441325 h 1704975"/>
              <a:gd name="connsiteX226" fmla="*/ 546775 w 1293444"/>
              <a:gd name="connsiteY226" fmla="*/ 415925 h 1704975"/>
              <a:gd name="connsiteX227" fmla="*/ 540425 w 1293444"/>
              <a:gd name="connsiteY227" fmla="*/ 406400 h 1704975"/>
              <a:gd name="connsiteX228" fmla="*/ 530900 w 1293444"/>
              <a:gd name="connsiteY228" fmla="*/ 400050 h 1704975"/>
              <a:gd name="connsiteX229" fmla="*/ 508675 w 1293444"/>
              <a:gd name="connsiteY229" fmla="*/ 374650 h 1704975"/>
              <a:gd name="connsiteX230" fmla="*/ 502325 w 1293444"/>
              <a:gd name="connsiteY230" fmla="*/ 365125 h 1704975"/>
              <a:gd name="connsiteX231" fmla="*/ 483275 w 1293444"/>
              <a:gd name="connsiteY231" fmla="*/ 346075 h 1704975"/>
              <a:gd name="connsiteX232" fmla="*/ 486450 w 1293444"/>
              <a:gd name="connsiteY232" fmla="*/ 333375 h 1704975"/>
              <a:gd name="connsiteX233" fmla="*/ 492800 w 1293444"/>
              <a:gd name="connsiteY233" fmla="*/ 314325 h 1704975"/>
              <a:gd name="connsiteX234" fmla="*/ 489625 w 1293444"/>
              <a:gd name="connsiteY234" fmla="*/ 292100 h 1704975"/>
              <a:gd name="connsiteX235" fmla="*/ 461050 w 1293444"/>
              <a:gd name="connsiteY235" fmla="*/ 266700 h 1704975"/>
              <a:gd name="connsiteX236" fmla="*/ 435650 w 1293444"/>
              <a:gd name="connsiteY236" fmla="*/ 254000 h 1704975"/>
              <a:gd name="connsiteX237" fmla="*/ 413425 w 1293444"/>
              <a:gd name="connsiteY237" fmla="*/ 238125 h 1704975"/>
              <a:gd name="connsiteX238" fmla="*/ 403900 w 1293444"/>
              <a:gd name="connsiteY238" fmla="*/ 231775 h 1704975"/>
              <a:gd name="connsiteX239" fmla="*/ 362625 w 1293444"/>
              <a:gd name="connsiteY239" fmla="*/ 114300 h 1704975"/>
              <a:gd name="connsiteX240" fmla="*/ 368975 w 1293444"/>
              <a:gd name="connsiteY240" fmla="*/ 104775 h 1704975"/>
              <a:gd name="connsiteX241" fmla="*/ 375325 w 1293444"/>
              <a:gd name="connsiteY241"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46800 w 1293444"/>
              <a:gd name="connsiteY109" fmla="*/ 1330325 h 1704975"/>
              <a:gd name="connsiteX110" fmla="*/ 769025 w 1293444"/>
              <a:gd name="connsiteY110" fmla="*/ 1393825 h 1704975"/>
              <a:gd name="connsiteX111" fmla="*/ 775375 w 1293444"/>
              <a:gd name="connsiteY111" fmla="*/ 1412875 h 1704975"/>
              <a:gd name="connsiteX112" fmla="*/ 781725 w 1293444"/>
              <a:gd name="connsiteY112" fmla="*/ 1435100 h 1704975"/>
              <a:gd name="connsiteX113" fmla="*/ 772200 w 1293444"/>
              <a:gd name="connsiteY113" fmla="*/ 1460500 h 1704975"/>
              <a:gd name="connsiteX114" fmla="*/ 762675 w 1293444"/>
              <a:gd name="connsiteY114" fmla="*/ 1466850 h 1704975"/>
              <a:gd name="connsiteX115" fmla="*/ 753150 w 1293444"/>
              <a:gd name="connsiteY115" fmla="*/ 1485900 h 1704975"/>
              <a:gd name="connsiteX116" fmla="*/ 749975 w 1293444"/>
              <a:gd name="connsiteY116" fmla="*/ 1514475 h 1704975"/>
              <a:gd name="connsiteX117" fmla="*/ 740450 w 1293444"/>
              <a:gd name="connsiteY117" fmla="*/ 1520825 h 1704975"/>
              <a:gd name="connsiteX118" fmla="*/ 730925 w 1293444"/>
              <a:gd name="connsiteY118" fmla="*/ 1530350 h 1704975"/>
              <a:gd name="connsiteX119" fmla="*/ 718225 w 1293444"/>
              <a:gd name="connsiteY119" fmla="*/ 1549400 h 1704975"/>
              <a:gd name="connsiteX120" fmla="*/ 711875 w 1293444"/>
              <a:gd name="connsiteY120" fmla="*/ 1558925 h 1704975"/>
              <a:gd name="connsiteX121" fmla="*/ 702350 w 1293444"/>
              <a:gd name="connsiteY121" fmla="*/ 1568450 h 1704975"/>
              <a:gd name="connsiteX122" fmla="*/ 699175 w 1293444"/>
              <a:gd name="connsiteY122" fmla="*/ 1577975 h 1704975"/>
              <a:gd name="connsiteX123" fmla="*/ 686475 w 1293444"/>
              <a:gd name="connsiteY123" fmla="*/ 1597025 h 1704975"/>
              <a:gd name="connsiteX124" fmla="*/ 648375 w 1293444"/>
              <a:gd name="connsiteY124" fmla="*/ 1631950 h 1704975"/>
              <a:gd name="connsiteX125" fmla="*/ 638850 w 1293444"/>
              <a:gd name="connsiteY125" fmla="*/ 1638300 h 1704975"/>
              <a:gd name="connsiteX126" fmla="*/ 607100 w 1293444"/>
              <a:gd name="connsiteY126" fmla="*/ 1676400 h 1704975"/>
              <a:gd name="connsiteX127" fmla="*/ 556300 w 1293444"/>
              <a:gd name="connsiteY127" fmla="*/ 1679575 h 1704975"/>
              <a:gd name="connsiteX128" fmla="*/ 537250 w 1293444"/>
              <a:gd name="connsiteY128" fmla="*/ 1685925 h 1704975"/>
              <a:gd name="connsiteX129" fmla="*/ 515025 w 1293444"/>
              <a:gd name="connsiteY129" fmla="*/ 1698625 h 1704975"/>
              <a:gd name="connsiteX130" fmla="*/ 495975 w 1293444"/>
              <a:gd name="connsiteY130" fmla="*/ 1704975 h 1704975"/>
              <a:gd name="connsiteX131" fmla="*/ 476925 w 1293444"/>
              <a:gd name="connsiteY131" fmla="*/ 1701800 h 1704975"/>
              <a:gd name="connsiteX132" fmla="*/ 470575 w 1293444"/>
              <a:gd name="connsiteY132" fmla="*/ 1692275 h 1704975"/>
              <a:gd name="connsiteX133" fmla="*/ 467400 w 1293444"/>
              <a:gd name="connsiteY133" fmla="*/ 1660525 h 1704975"/>
              <a:gd name="connsiteX134" fmla="*/ 457875 w 1293444"/>
              <a:gd name="connsiteY134" fmla="*/ 1641475 h 1704975"/>
              <a:gd name="connsiteX135" fmla="*/ 432475 w 1293444"/>
              <a:gd name="connsiteY135" fmla="*/ 1495425 h 1704975"/>
              <a:gd name="connsiteX136" fmla="*/ 429300 w 1293444"/>
              <a:gd name="connsiteY136" fmla="*/ 1485900 h 1704975"/>
              <a:gd name="connsiteX137" fmla="*/ 426125 w 1293444"/>
              <a:gd name="connsiteY137" fmla="*/ 1473200 h 1704975"/>
              <a:gd name="connsiteX138" fmla="*/ 419775 w 1293444"/>
              <a:gd name="connsiteY138" fmla="*/ 1463675 h 1704975"/>
              <a:gd name="connsiteX139" fmla="*/ 416600 w 1293444"/>
              <a:gd name="connsiteY139" fmla="*/ 1454150 h 1704975"/>
              <a:gd name="connsiteX140" fmla="*/ 394375 w 1293444"/>
              <a:gd name="connsiteY140" fmla="*/ 1381125 h 1704975"/>
              <a:gd name="connsiteX141" fmla="*/ 391200 w 1293444"/>
              <a:gd name="connsiteY141" fmla="*/ 1368425 h 1704975"/>
              <a:gd name="connsiteX142" fmla="*/ 388025 w 1293444"/>
              <a:gd name="connsiteY142" fmla="*/ 1352550 h 1704975"/>
              <a:gd name="connsiteX143" fmla="*/ 381675 w 1293444"/>
              <a:gd name="connsiteY143" fmla="*/ 1333500 h 1704975"/>
              <a:gd name="connsiteX144" fmla="*/ 378500 w 1293444"/>
              <a:gd name="connsiteY144" fmla="*/ 1323975 h 1704975"/>
              <a:gd name="connsiteX145" fmla="*/ 375325 w 1293444"/>
              <a:gd name="connsiteY145" fmla="*/ 1308100 h 1704975"/>
              <a:gd name="connsiteX146" fmla="*/ 368975 w 1293444"/>
              <a:gd name="connsiteY146" fmla="*/ 1289050 h 1704975"/>
              <a:gd name="connsiteX147" fmla="*/ 362625 w 1293444"/>
              <a:gd name="connsiteY147" fmla="*/ 1260475 h 1704975"/>
              <a:gd name="connsiteX148" fmla="*/ 359450 w 1293444"/>
              <a:gd name="connsiteY148" fmla="*/ 1231900 h 1704975"/>
              <a:gd name="connsiteX149" fmla="*/ 349925 w 1293444"/>
              <a:gd name="connsiteY149" fmla="*/ 1196975 h 1704975"/>
              <a:gd name="connsiteX150" fmla="*/ 340400 w 1293444"/>
              <a:gd name="connsiteY150" fmla="*/ 1155700 h 1704975"/>
              <a:gd name="connsiteX151" fmla="*/ 334050 w 1293444"/>
              <a:gd name="connsiteY151" fmla="*/ 1130300 h 1704975"/>
              <a:gd name="connsiteX152" fmla="*/ 327700 w 1293444"/>
              <a:gd name="connsiteY152" fmla="*/ 1104900 h 1704975"/>
              <a:gd name="connsiteX153" fmla="*/ 324525 w 1293444"/>
              <a:gd name="connsiteY153" fmla="*/ 1092200 h 1704975"/>
              <a:gd name="connsiteX154" fmla="*/ 318175 w 1293444"/>
              <a:gd name="connsiteY154" fmla="*/ 1050925 h 1704975"/>
              <a:gd name="connsiteX155" fmla="*/ 315000 w 1293444"/>
              <a:gd name="connsiteY155" fmla="*/ 1031875 h 1704975"/>
              <a:gd name="connsiteX156" fmla="*/ 311825 w 1293444"/>
              <a:gd name="connsiteY156" fmla="*/ 1022350 h 1704975"/>
              <a:gd name="connsiteX157" fmla="*/ 308650 w 1293444"/>
              <a:gd name="connsiteY157" fmla="*/ 1006475 h 1704975"/>
              <a:gd name="connsiteX158" fmla="*/ 302300 w 1293444"/>
              <a:gd name="connsiteY158" fmla="*/ 987425 h 1704975"/>
              <a:gd name="connsiteX159" fmla="*/ 299125 w 1293444"/>
              <a:gd name="connsiteY159" fmla="*/ 974725 h 1704975"/>
              <a:gd name="connsiteX160" fmla="*/ 292775 w 1293444"/>
              <a:gd name="connsiteY160" fmla="*/ 955675 h 1704975"/>
              <a:gd name="connsiteX161" fmla="*/ 289600 w 1293444"/>
              <a:gd name="connsiteY161" fmla="*/ 946150 h 1704975"/>
              <a:gd name="connsiteX162" fmla="*/ 280075 w 1293444"/>
              <a:gd name="connsiteY162" fmla="*/ 923925 h 1704975"/>
              <a:gd name="connsiteX163" fmla="*/ 261025 w 1293444"/>
              <a:gd name="connsiteY163" fmla="*/ 908050 h 1704975"/>
              <a:gd name="connsiteX164" fmla="*/ 241975 w 1293444"/>
              <a:gd name="connsiteY164" fmla="*/ 901700 h 1704975"/>
              <a:gd name="connsiteX165" fmla="*/ 222925 w 1293444"/>
              <a:gd name="connsiteY165" fmla="*/ 889000 h 1704975"/>
              <a:gd name="connsiteX166" fmla="*/ 213400 w 1293444"/>
              <a:gd name="connsiteY166" fmla="*/ 885825 h 1704975"/>
              <a:gd name="connsiteX167" fmla="*/ 194350 w 1293444"/>
              <a:gd name="connsiteY167" fmla="*/ 873125 h 1704975"/>
              <a:gd name="connsiteX168" fmla="*/ 175300 w 1293444"/>
              <a:gd name="connsiteY168" fmla="*/ 860425 h 1704975"/>
              <a:gd name="connsiteX169" fmla="*/ 162600 w 1293444"/>
              <a:gd name="connsiteY169" fmla="*/ 850900 h 1704975"/>
              <a:gd name="connsiteX170" fmla="*/ 153075 w 1293444"/>
              <a:gd name="connsiteY170" fmla="*/ 847725 h 1704975"/>
              <a:gd name="connsiteX171" fmla="*/ 134025 w 1293444"/>
              <a:gd name="connsiteY171" fmla="*/ 835025 h 1704975"/>
              <a:gd name="connsiteX172" fmla="*/ 114975 w 1293444"/>
              <a:gd name="connsiteY172" fmla="*/ 822325 h 1704975"/>
              <a:gd name="connsiteX173" fmla="*/ 105450 w 1293444"/>
              <a:gd name="connsiteY173" fmla="*/ 815975 h 1704975"/>
              <a:gd name="connsiteX174" fmla="*/ 95925 w 1293444"/>
              <a:gd name="connsiteY174" fmla="*/ 812800 h 1704975"/>
              <a:gd name="connsiteX175" fmla="*/ 64175 w 1293444"/>
              <a:gd name="connsiteY175" fmla="*/ 790575 h 1704975"/>
              <a:gd name="connsiteX176" fmla="*/ 54650 w 1293444"/>
              <a:gd name="connsiteY176" fmla="*/ 787400 h 1704975"/>
              <a:gd name="connsiteX177" fmla="*/ 38775 w 1293444"/>
              <a:gd name="connsiteY177" fmla="*/ 771525 h 1704975"/>
              <a:gd name="connsiteX178" fmla="*/ 29250 w 1293444"/>
              <a:gd name="connsiteY178" fmla="*/ 762000 h 1704975"/>
              <a:gd name="connsiteX179" fmla="*/ 19725 w 1293444"/>
              <a:gd name="connsiteY179" fmla="*/ 758825 h 1704975"/>
              <a:gd name="connsiteX180" fmla="*/ 675 w 1293444"/>
              <a:gd name="connsiteY180" fmla="*/ 746125 h 1704975"/>
              <a:gd name="connsiteX181" fmla="*/ 51475 w 1293444"/>
              <a:gd name="connsiteY181" fmla="*/ 739775 h 1704975"/>
              <a:gd name="connsiteX182" fmla="*/ 67350 w 1293444"/>
              <a:gd name="connsiteY182" fmla="*/ 736600 h 1704975"/>
              <a:gd name="connsiteX183" fmla="*/ 102275 w 1293444"/>
              <a:gd name="connsiteY183" fmla="*/ 733425 h 1704975"/>
              <a:gd name="connsiteX184" fmla="*/ 130850 w 1293444"/>
              <a:gd name="connsiteY184" fmla="*/ 727075 h 1704975"/>
              <a:gd name="connsiteX185" fmla="*/ 149900 w 1293444"/>
              <a:gd name="connsiteY185" fmla="*/ 723900 h 1704975"/>
              <a:gd name="connsiteX186" fmla="*/ 159425 w 1293444"/>
              <a:gd name="connsiteY186" fmla="*/ 720725 h 1704975"/>
              <a:gd name="connsiteX187" fmla="*/ 175300 w 1293444"/>
              <a:gd name="connsiteY187" fmla="*/ 717550 h 1704975"/>
              <a:gd name="connsiteX188" fmla="*/ 194350 w 1293444"/>
              <a:gd name="connsiteY188" fmla="*/ 711200 h 1704975"/>
              <a:gd name="connsiteX189" fmla="*/ 222925 w 1293444"/>
              <a:gd name="connsiteY189" fmla="*/ 701675 h 1704975"/>
              <a:gd name="connsiteX190" fmla="*/ 232450 w 1293444"/>
              <a:gd name="connsiteY190" fmla="*/ 698500 h 1704975"/>
              <a:gd name="connsiteX191" fmla="*/ 241975 w 1293444"/>
              <a:gd name="connsiteY191" fmla="*/ 695325 h 1704975"/>
              <a:gd name="connsiteX192" fmla="*/ 381675 w 1293444"/>
              <a:gd name="connsiteY192" fmla="*/ 688975 h 1704975"/>
              <a:gd name="connsiteX193" fmla="*/ 397550 w 1293444"/>
              <a:gd name="connsiteY193" fmla="*/ 685800 h 1704975"/>
              <a:gd name="connsiteX194" fmla="*/ 407075 w 1293444"/>
              <a:gd name="connsiteY194" fmla="*/ 682625 h 1704975"/>
              <a:gd name="connsiteX195" fmla="*/ 419775 w 1293444"/>
              <a:gd name="connsiteY195" fmla="*/ 679450 h 1704975"/>
              <a:gd name="connsiteX196" fmla="*/ 438825 w 1293444"/>
              <a:gd name="connsiteY196" fmla="*/ 673100 h 1704975"/>
              <a:gd name="connsiteX197" fmla="*/ 467400 w 1293444"/>
              <a:gd name="connsiteY197" fmla="*/ 663575 h 1704975"/>
              <a:gd name="connsiteX198" fmla="*/ 495975 w 1293444"/>
              <a:gd name="connsiteY198" fmla="*/ 654050 h 1704975"/>
              <a:gd name="connsiteX199" fmla="*/ 505500 w 1293444"/>
              <a:gd name="connsiteY199" fmla="*/ 650875 h 1704975"/>
              <a:gd name="connsiteX200" fmla="*/ 527725 w 1293444"/>
              <a:gd name="connsiteY200" fmla="*/ 641350 h 1704975"/>
              <a:gd name="connsiteX201" fmla="*/ 537250 w 1293444"/>
              <a:gd name="connsiteY201" fmla="*/ 635000 h 1704975"/>
              <a:gd name="connsiteX202" fmla="*/ 546775 w 1293444"/>
              <a:gd name="connsiteY202" fmla="*/ 631825 h 1704975"/>
              <a:gd name="connsiteX203" fmla="*/ 559475 w 1293444"/>
              <a:gd name="connsiteY203" fmla="*/ 625475 h 1704975"/>
              <a:gd name="connsiteX204" fmla="*/ 578525 w 1293444"/>
              <a:gd name="connsiteY204" fmla="*/ 657225 h 1704975"/>
              <a:gd name="connsiteX205" fmla="*/ 588050 w 1293444"/>
              <a:gd name="connsiteY205" fmla="*/ 660400 h 1704975"/>
              <a:gd name="connsiteX206" fmla="*/ 607100 w 1293444"/>
              <a:gd name="connsiteY206" fmla="*/ 673100 h 1704975"/>
              <a:gd name="connsiteX207" fmla="*/ 626150 w 1293444"/>
              <a:gd name="connsiteY207" fmla="*/ 679450 h 1704975"/>
              <a:gd name="connsiteX208" fmla="*/ 635675 w 1293444"/>
              <a:gd name="connsiteY208" fmla="*/ 685800 h 1704975"/>
              <a:gd name="connsiteX209" fmla="*/ 654725 w 1293444"/>
              <a:gd name="connsiteY209" fmla="*/ 692150 h 1704975"/>
              <a:gd name="connsiteX210" fmla="*/ 635675 w 1293444"/>
              <a:gd name="connsiteY210" fmla="*/ 676275 h 1704975"/>
              <a:gd name="connsiteX211" fmla="*/ 632500 w 1293444"/>
              <a:gd name="connsiteY211" fmla="*/ 666750 h 1704975"/>
              <a:gd name="connsiteX212" fmla="*/ 635675 w 1293444"/>
              <a:gd name="connsiteY212" fmla="*/ 590550 h 1704975"/>
              <a:gd name="connsiteX213" fmla="*/ 642025 w 1293444"/>
              <a:gd name="connsiteY213" fmla="*/ 571500 h 1704975"/>
              <a:gd name="connsiteX214" fmla="*/ 648375 w 1293444"/>
              <a:gd name="connsiteY214" fmla="*/ 561975 h 1704975"/>
              <a:gd name="connsiteX215" fmla="*/ 638850 w 1293444"/>
              <a:gd name="connsiteY215" fmla="*/ 536575 h 1704975"/>
              <a:gd name="connsiteX216" fmla="*/ 629325 w 1293444"/>
              <a:gd name="connsiteY216" fmla="*/ 533400 h 1704975"/>
              <a:gd name="connsiteX217" fmla="*/ 626150 w 1293444"/>
              <a:gd name="connsiteY217" fmla="*/ 523875 h 1704975"/>
              <a:gd name="connsiteX218" fmla="*/ 632500 w 1293444"/>
              <a:gd name="connsiteY218" fmla="*/ 498475 h 1704975"/>
              <a:gd name="connsiteX219" fmla="*/ 635675 w 1293444"/>
              <a:gd name="connsiteY219" fmla="*/ 485775 h 1704975"/>
              <a:gd name="connsiteX220" fmla="*/ 626150 w 1293444"/>
              <a:gd name="connsiteY220" fmla="*/ 463550 h 1704975"/>
              <a:gd name="connsiteX221" fmla="*/ 616625 w 1293444"/>
              <a:gd name="connsiteY221" fmla="*/ 460375 h 1704975"/>
              <a:gd name="connsiteX222" fmla="*/ 607100 w 1293444"/>
              <a:gd name="connsiteY222" fmla="*/ 454025 h 1704975"/>
              <a:gd name="connsiteX223" fmla="*/ 591225 w 1293444"/>
              <a:gd name="connsiteY223" fmla="*/ 450850 h 1704975"/>
              <a:gd name="connsiteX224" fmla="*/ 569000 w 1293444"/>
              <a:gd name="connsiteY224" fmla="*/ 441325 h 1704975"/>
              <a:gd name="connsiteX225" fmla="*/ 546775 w 1293444"/>
              <a:gd name="connsiteY225" fmla="*/ 415925 h 1704975"/>
              <a:gd name="connsiteX226" fmla="*/ 540425 w 1293444"/>
              <a:gd name="connsiteY226" fmla="*/ 406400 h 1704975"/>
              <a:gd name="connsiteX227" fmla="*/ 530900 w 1293444"/>
              <a:gd name="connsiteY227" fmla="*/ 400050 h 1704975"/>
              <a:gd name="connsiteX228" fmla="*/ 508675 w 1293444"/>
              <a:gd name="connsiteY228" fmla="*/ 374650 h 1704975"/>
              <a:gd name="connsiteX229" fmla="*/ 502325 w 1293444"/>
              <a:gd name="connsiteY229" fmla="*/ 365125 h 1704975"/>
              <a:gd name="connsiteX230" fmla="*/ 483275 w 1293444"/>
              <a:gd name="connsiteY230" fmla="*/ 346075 h 1704975"/>
              <a:gd name="connsiteX231" fmla="*/ 486450 w 1293444"/>
              <a:gd name="connsiteY231" fmla="*/ 333375 h 1704975"/>
              <a:gd name="connsiteX232" fmla="*/ 492800 w 1293444"/>
              <a:gd name="connsiteY232" fmla="*/ 314325 h 1704975"/>
              <a:gd name="connsiteX233" fmla="*/ 489625 w 1293444"/>
              <a:gd name="connsiteY233" fmla="*/ 292100 h 1704975"/>
              <a:gd name="connsiteX234" fmla="*/ 461050 w 1293444"/>
              <a:gd name="connsiteY234" fmla="*/ 266700 h 1704975"/>
              <a:gd name="connsiteX235" fmla="*/ 435650 w 1293444"/>
              <a:gd name="connsiteY235" fmla="*/ 254000 h 1704975"/>
              <a:gd name="connsiteX236" fmla="*/ 413425 w 1293444"/>
              <a:gd name="connsiteY236" fmla="*/ 238125 h 1704975"/>
              <a:gd name="connsiteX237" fmla="*/ 403900 w 1293444"/>
              <a:gd name="connsiteY237" fmla="*/ 231775 h 1704975"/>
              <a:gd name="connsiteX238" fmla="*/ 362625 w 1293444"/>
              <a:gd name="connsiteY238" fmla="*/ 114300 h 1704975"/>
              <a:gd name="connsiteX239" fmla="*/ 368975 w 1293444"/>
              <a:gd name="connsiteY239" fmla="*/ 104775 h 1704975"/>
              <a:gd name="connsiteX240" fmla="*/ 375325 w 1293444"/>
              <a:gd name="connsiteY240"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43625 w 1293444"/>
              <a:gd name="connsiteY108" fmla="*/ 1320800 h 1704975"/>
              <a:gd name="connsiteX109" fmla="*/ 769025 w 1293444"/>
              <a:gd name="connsiteY109" fmla="*/ 1393825 h 1704975"/>
              <a:gd name="connsiteX110" fmla="*/ 775375 w 1293444"/>
              <a:gd name="connsiteY110" fmla="*/ 1412875 h 1704975"/>
              <a:gd name="connsiteX111" fmla="*/ 781725 w 1293444"/>
              <a:gd name="connsiteY111" fmla="*/ 1435100 h 1704975"/>
              <a:gd name="connsiteX112" fmla="*/ 772200 w 1293444"/>
              <a:gd name="connsiteY112" fmla="*/ 1460500 h 1704975"/>
              <a:gd name="connsiteX113" fmla="*/ 762675 w 1293444"/>
              <a:gd name="connsiteY113" fmla="*/ 1466850 h 1704975"/>
              <a:gd name="connsiteX114" fmla="*/ 753150 w 1293444"/>
              <a:gd name="connsiteY114" fmla="*/ 1485900 h 1704975"/>
              <a:gd name="connsiteX115" fmla="*/ 749975 w 1293444"/>
              <a:gd name="connsiteY115" fmla="*/ 1514475 h 1704975"/>
              <a:gd name="connsiteX116" fmla="*/ 740450 w 1293444"/>
              <a:gd name="connsiteY116" fmla="*/ 1520825 h 1704975"/>
              <a:gd name="connsiteX117" fmla="*/ 730925 w 1293444"/>
              <a:gd name="connsiteY117" fmla="*/ 1530350 h 1704975"/>
              <a:gd name="connsiteX118" fmla="*/ 718225 w 1293444"/>
              <a:gd name="connsiteY118" fmla="*/ 1549400 h 1704975"/>
              <a:gd name="connsiteX119" fmla="*/ 711875 w 1293444"/>
              <a:gd name="connsiteY119" fmla="*/ 1558925 h 1704975"/>
              <a:gd name="connsiteX120" fmla="*/ 702350 w 1293444"/>
              <a:gd name="connsiteY120" fmla="*/ 1568450 h 1704975"/>
              <a:gd name="connsiteX121" fmla="*/ 699175 w 1293444"/>
              <a:gd name="connsiteY121" fmla="*/ 1577975 h 1704975"/>
              <a:gd name="connsiteX122" fmla="*/ 686475 w 1293444"/>
              <a:gd name="connsiteY122" fmla="*/ 1597025 h 1704975"/>
              <a:gd name="connsiteX123" fmla="*/ 648375 w 1293444"/>
              <a:gd name="connsiteY123" fmla="*/ 1631950 h 1704975"/>
              <a:gd name="connsiteX124" fmla="*/ 638850 w 1293444"/>
              <a:gd name="connsiteY124" fmla="*/ 1638300 h 1704975"/>
              <a:gd name="connsiteX125" fmla="*/ 607100 w 1293444"/>
              <a:gd name="connsiteY125" fmla="*/ 1676400 h 1704975"/>
              <a:gd name="connsiteX126" fmla="*/ 556300 w 1293444"/>
              <a:gd name="connsiteY126" fmla="*/ 1679575 h 1704975"/>
              <a:gd name="connsiteX127" fmla="*/ 537250 w 1293444"/>
              <a:gd name="connsiteY127" fmla="*/ 1685925 h 1704975"/>
              <a:gd name="connsiteX128" fmla="*/ 515025 w 1293444"/>
              <a:gd name="connsiteY128" fmla="*/ 1698625 h 1704975"/>
              <a:gd name="connsiteX129" fmla="*/ 495975 w 1293444"/>
              <a:gd name="connsiteY129" fmla="*/ 1704975 h 1704975"/>
              <a:gd name="connsiteX130" fmla="*/ 476925 w 1293444"/>
              <a:gd name="connsiteY130" fmla="*/ 1701800 h 1704975"/>
              <a:gd name="connsiteX131" fmla="*/ 470575 w 1293444"/>
              <a:gd name="connsiteY131" fmla="*/ 1692275 h 1704975"/>
              <a:gd name="connsiteX132" fmla="*/ 467400 w 1293444"/>
              <a:gd name="connsiteY132" fmla="*/ 1660525 h 1704975"/>
              <a:gd name="connsiteX133" fmla="*/ 457875 w 1293444"/>
              <a:gd name="connsiteY133" fmla="*/ 1641475 h 1704975"/>
              <a:gd name="connsiteX134" fmla="*/ 432475 w 1293444"/>
              <a:gd name="connsiteY134" fmla="*/ 1495425 h 1704975"/>
              <a:gd name="connsiteX135" fmla="*/ 429300 w 1293444"/>
              <a:gd name="connsiteY135" fmla="*/ 1485900 h 1704975"/>
              <a:gd name="connsiteX136" fmla="*/ 426125 w 1293444"/>
              <a:gd name="connsiteY136" fmla="*/ 1473200 h 1704975"/>
              <a:gd name="connsiteX137" fmla="*/ 419775 w 1293444"/>
              <a:gd name="connsiteY137" fmla="*/ 1463675 h 1704975"/>
              <a:gd name="connsiteX138" fmla="*/ 416600 w 1293444"/>
              <a:gd name="connsiteY138" fmla="*/ 1454150 h 1704975"/>
              <a:gd name="connsiteX139" fmla="*/ 394375 w 1293444"/>
              <a:gd name="connsiteY139" fmla="*/ 1381125 h 1704975"/>
              <a:gd name="connsiteX140" fmla="*/ 391200 w 1293444"/>
              <a:gd name="connsiteY140" fmla="*/ 1368425 h 1704975"/>
              <a:gd name="connsiteX141" fmla="*/ 388025 w 1293444"/>
              <a:gd name="connsiteY141" fmla="*/ 1352550 h 1704975"/>
              <a:gd name="connsiteX142" fmla="*/ 381675 w 1293444"/>
              <a:gd name="connsiteY142" fmla="*/ 1333500 h 1704975"/>
              <a:gd name="connsiteX143" fmla="*/ 378500 w 1293444"/>
              <a:gd name="connsiteY143" fmla="*/ 1323975 h 1704975"/>
              <a:gd name="connsiteX144" fmla="*/ 375325 w 1293444"/>
              <a:gd name="connsiteY144" fmla="*/ 1308100 h 1704975"/>
              <a:gd name="connsiteX145" fmla="*/ 368975 w 1293444"/>
              <a:gd name="connsiteY145" fmla="*/ 1289050 h 1704975"/>
              <a:gd name="connsiteX146" fmla="*/ 362625 w 1293444"/>
              <a:gd name="connsiteY146" fmla="*/ 1260475 h 1704975"/>
              <a:gd name="connsiteX147" fmla="*/ 359450 w 1293444"/>
              <a:gd name="connsiteY147" fmla="*/ 1231900 h 1704975"/>
              <a:gd name="connsiteX148" fmla="*/ 349925 w 1293444"/>
              <a:gd name="connsiteY148" fmla="*/ 1196975 h 1704975"/>
              <a:gd name="connsiteX149" fmla="*/ 340400 w 1293444"/>
              <a:gd name="connsiteY149" fmla="*/ 1155700 h 1704975"/>
              <a:gd name="connsiteX150" fmla="*/ 334050 w 1293444"/>
              <a:gd name="connsiteY150" fmla="*/ 1130300 h 1704975"/>
              <a:gd name="connsiteX151" fmla="*/ 327700 w 1293444"/>
              <a:gd name="connsiteY151" fmla="*/ 1104900 h 1704975"/>
              <a:gd name="connsiteX152" fmla="*/ 324525 w 1293444"/>
              <a:gd name="connsiteY152" fmla="*/ 1092200 h 1704975"/>
              <a:gd name="connsiteX153" fmla="*/ 318175 w 1293444"/>
              <a:gd name="connsiteY153" fmla="*/ 1050925 h 1704975"/>
              <a:gd name="connsiteX154" fmla="*/ 315000 w 1293444"/>
              <a:gd name="connsiteY154" fmla="*/ 1031875 h 1704975"/>
              <a:gd name="connsiteX155" fmla="*/ 311825 w 1293444"/>
              <a:gd name="connsiteY155" fmla="*/ 1022350 h 1704975"/>
              <a:gd name="connsiteX156" fmla="*/ 308650 w 1293444"/>
              <a:gd name="connsiteY156" fmla="*/ 1006475 h 1704975"/>
              <a:gd name="connsiteX157" fmla="*/ 302300 w 1293444"/>
              <a:gd name="connsiteY157" fmla="*/ 987425 h 1704975"/>
              <a:gd name="connsiteX158" fmla="*/ 299125 w 1293444"/>
              <a:gd name="connsiteY158" fmla="*/ 974725 h 1704975"/>
              <a:gd name="connsiteX159" fmla="*/ 292775 w 1293444"/>
              <a:gd name="connsiteY159" fmla="*/ 955675 h 1704975"/>
              <a:gd name="connsiteX160" fmla="*/ 289600 w 1293444"/>
              <a:gd name="connsiteY160" fmla="*/ 946150 h 1704975"/>
              <a:gd name="connsiteX161" fmla="*/ 280075 w 1293444"/>
              <a:gd name="connsiteY161" fmla="*/ 923925 h 1704975"/>
              <a:gd name="connsiteX162" fmla="*/ 261025 w 1293444"/>
              <a:gd name="connsiteY162" fmla="*/ 908050 h 1704975"/>
              <a:gd name="connsiteX163" fmla="*/ 241975 w 1293444"/>
              <a:gd name="connsiteY163" fmla="*/ 901700 h 1704975"/>
              <a:gd name="connsiteX164" fmla="*/ 222925 w 1293444"/>
              <a:gd name="connsiteY164" fmla="*/ 889000 h 1704975"/>
              <a:gd name="connsiteX165" fmla="*/ 213400 w 1293444"/>
              <a:gd name="connsiteY165" fmla="*/ 885825 h 1704975"/>
              <a:gd name="connsiteX166" fmla="*/ 194350 w 1293444"/>
              <a:gd name="connsiteY166" fmla="*/ 873125 h 1704975"/>
              <a:gd name="connsiteX167" fmla="*/ 175300 w 1293444"/>
              <a:gd name="connsiteY167" fmla="*/ 860425 h 1704975"/>
              <a:gd name="connsiteX168" fmla="*/ 162600 w 1293444"/>
              <a:gd name="connsiteY168" fmla="*/ 850900 h 1704975"/>
              <a:gd name="connsiteX169" fmla="*/ 153075 w 1293444"/>
              <a:gd name="connsiteY169" fmla="*/ 847725 h 1704975"/>
              <a:gd name="connsiteX170" fmla="*/ 134025 w 1293444"/>
              <a:gd name="connsiteY170" fmla="*/ 835025 h 1704975"/>
              <a:gd name="connsiteX171" fmla="*/ 114975 w 1293444"/>
              <a:gd name="connsiteY171" fmla="*/ 822325 h 1704975"/>
              <a:gd name="connsiteX172" fmla="*/ 105450 w 1293444"/>
              <a:gd name="connsiteY172" fmla="*/ 815975 h 1704975"/>
              <a:gd name="connsiteX173" fmla="*/ 95925 w 1293444"/>
              <a:gd name="connsiteY173" fmla="*/ 812800 h 1704975"/>
              <a:gd name="connsiteX174" fmla="*/ 64175 w 1293444"/>
              <a:gd name="connsiteY174" fmla="*/ 790575 h 1704975"/>
              <a:gd name="connsiteX175" fmla="*/ 54650 w 1293444"/>
              <a:gd name="connsiteY175" fmla="*/ 787400 h 1704975"/>
              <a:gd name="connsiteX176" fmla="*/ 38775 w 1293444"/>
              <a:gd name="connsiteY176" fmla="*/ 771525 h 1704975"/>
              <a:gd name="connsiteX177" fmla="*/ 29250 w 1293444"/>
              <a:gd name="connsiteY177" fmla="*/ 762000 h 1704975"/>
              <a:gd name="connsiteX178" fmla="*/ 19725 w 1293444"/>
              <a:gd name="connsiteY178" fmla="*/ 758825 h 1704975"/>
              <a:gd name="connsiteX179" fmla="*/ 675 w 1293444"/>
              <a:gd name="connsiteY179" fmla="*/ 746125 h 1704975"/>
              <a:gd name="connsiteX180" fmla="*/ 51475 w 1293444"/>
              <a:gd name="connsiteY180" fmla="*/ 739775 h 1704975"/>
              <a:gd name="connsiteX181" fmla="*/ 67350 w 1293444"/>
              <a:gd name="connsiteY181" fmla="*/ 736600 h 1704975"/>
              <a:gd name="connsiteX182" fmla="*/ 102275 w 1293444"/>
              <a:gd name="connsiteY182" fmla="*/ 733425 h 1704975"/>
              <a:gd name="connsiteX183" fmla="*/ 130850 w 1293444"/>
              <a:gd name="connsiteY183" fmla="*/ 727075 h 1704975"/>
              <a:gd name="connsiteX184" fmla="*/ 149900 w 1293444"/>
              <a:gd name="connsiteY184" fmla="*/ 723900 h 1704975"/>
              <a:gd name="connsiteX185" fmla="*/ 159425 w 1293444"/>
              <a:gd name="connsiteY185" fmla="*/ 720725 h 1704975"/>
              <a:gd name="connsiteX186" fmla="*/ 175300 w 1293444"/>
              <a:gd name="connsiteY186" fmla="*/ 717550 h 1704975"/>
              <a:gd name="connsiteX187" fmla="*/ 194350 w 1293444"/>
              <a:gd name="connsiteY187" fmla="*/ 711200 h 1704975"/>
              <a:gd name="connsiteX188" fmla="*/ 222925 w 1293444"/>
              <a:gd name="connsiteY188" fmla="*/ 701675 h 1704975"/>
              <a:gd name="connsiteX189" fmla="*/ 232450 w 1293444"/>
              <a:gd name="connsiteY189" fmla="*/ 698500 h 1704975"/>
              <a:gd name="connsiteX190" fmla="*/ 241975 w 1293444"/>
              <a:gd name="connsiteY190" fmla="*/ 695325 h 1704975"/>
              <a:gd name="connsiteX191" fmla="*/ 381675 w 1293444"/>
              <a:gd name="connsiteY191" fmla="*/ 688975 h 1704975"/>
              <a:gd name="connsiteX192" fmla="*/ 397550 w 1293444"/>
              <a:gd name="connsiteY192" fmla="*/ 685800 h 1704975"/>
              <a:gd name="connsiteX193" fmla="*/ 407075 w 1293444"/>
              <a:gd name="connsiteY193" fmla="*/ 682625 h 1704975"/>
              <a:gd name="connsiteX194" fmla="*/ 419775 w 1293444"/>
              <a:gd name="connsiteY194" fmla="*/ 679450 h 1704975"/>
              <a:gd name="connsiteX195" fmla="*/ 438825 w 1293444"/>
              <a:gd name="connsiteY195" fmla="*/ 673100 h 1704975"/>
              <a:gd name="connsiteX196" fmla="*/ 467400 w 1293444"/>
              <a:gd name="connsiteY196" fmla="*/ 663575 h 1704975"/>
              <a:gd name="connsiteX197" fmla="*/ 495975 w 1293444"/>
              <a:gd name="connsiteY197" fmla="*/ 654050 h 1704975"/>
              <a:gd name="connsiteX198" fmla="*/ 505500 w 1293444"/>
              <a:gd name="connsiteY198" fmla="*/ 650875 h 1704975"/>
              <a:gd name="connsiteX199" fmla="*/ 527725 w 1293444"/>
              <a:gd name="connsiteY199" fmla="*/ 641350 h 1704975"/>
              <a:gd name="connsiteX200" fmla="*/ 537250 w 1293444"/>
              <a:gd name="connsiteY200" fmla="*/ 635000 h 1704975"/>
              <a:gd name="connsiteX201" fmla="*/ 546775 w 1293444"/>
              <a:gd name="connsiteY201" fmla="*/ 631825 h 1704975"/>
              <a:gd name="connsiteX202" fmla="*/ 559475 w 1293444"/>
              <a:gd name="connsiteY202" fmla="*/ 625475 h 1704975"/>
              <a:gd name="connsiteX203" fmla="*/ 578525 w 1293444"/>
              <a:gd name="connsiteY203" fmla="*/ 657225 h 1704975"/>
              <a:gd name="connsiteX204" fmla="*/ 588050 w 1293444"/>
              <a:gd name="connsiteY204" fmla="*/ 660400 h 1704975"/>
              <a:gd name="connsiteX205" fmla="*/ 607100 w 1293444"/>
              <a:gd name="connsiteY205" fmla="*/ 673100 h 1704975"/>
              <a:gd name="connsiteX206" fmla="*/ 626150 w 1293444"/>
              <a:gd name="connsiteY206" fmla="*/ 679450 h 1704975"/>
              <a:gd name="connsiteX207" fmla="*/ 635675 w 1293444"/>
              <a:gd name="connsiteY207" fmla="*/ 685800 h 1704975"/>
              <a:gd name="connsiteX208" fmla="*/ 654725 w 1293444"/>
              <a:gd name="connsiteY208" fmla="*/ 692150 h 1704975"/>
              <a:gd name="connsiteX209" fmla="*/ 635675 w 1293444"/>
              <a:gd name="connsiteY209" fmla="*/ 676275 h 1704975"/>
              <a:gd name="connsiteX210" fmla="*/ 632500 w 1293444"/>
              <a:gd name="connsiteY210" fmla="*/ 666750 h 1704975"/>
              <a:gd name="connsiteX211" fmla="*/ 635675 w 1293444"/>
              <a:gd name="connsiteY211" fmla="*/ 590550 h 1704975"/>
              <a:gd name="connsiteX212" fmla="*/ 642025 w 1293444"/>
              <a:gd name="connsiteY212" fmla="*/ 571500 h 1704975"/>
              <a:gd name="connsiteX213" fmla="*/ 648375 w 1293444"/>
              <a:gd name="connsiteY213" fmla="*/ 561975 h 1704975"/>
              <a:gd name="connsiteX214" fmla="*/ 638850 w 1293444"/>
              <a:gd name="connsiteY214" fmla="*/ 536575 h 1704975"/>
              <a:gd name="connsiteX215" fmla="*/ 629325 w 1293444"/>
              <a:gd name="connsiteY215" fmla="*/ 533400 h 1704975"/>
              <a:gd name="connsiteX216" fmla="*/ 626150 w 1293444"/>
              <a:gd name="connsiteY216" fmla="*/ 523875 h 1704975"/>
              <a:gd name="connsiteX217" fmla="*/ 632500 w 1293444"/>
              <a:gd name="connsiteY217" fmla="*/ 498475 h 1704975"/>
              <a:gd name="connsiteX218" fmla="*/ 635675 w 1293444"/>
              <a:gd name="connsiteY218" fmla="*/ 485775 h 1704975"/>
              <a:gd name="connsiteX219" fmla="*/ 626150 w 1293444"/>
              <a:gd name="connsiteY219" fmla="*/ 463550 h 1704975"/>
              <a:gd name="connsiteX220" fmla="*/ 616625 w 1293444"/>
              <a:gd name="connsiteY220" fmla="*/ 460375 h 1704975"/>
              <a:gd name="connsiteX221" fmla="*/ 607100 w 1293444"/>
              <a:gd name="connsiteY221" fmla="*/ 454025 h 1704975"/>
              <a:gd name="connsiteX222" fmla="*/ 591225 w 1293444"/>
              <a:gd name="connsiteY222" fmla="*/ 450850 h 1704975"/>
              <a:gd name="connsiteX223" fmla="*/ 569000 w 1293444"/>
              <a:gd name="connsiteY223" fmla="*/ 441325 h 1704975"/>
              <a:gd name="connsiteX224" fmla="*/ 546775 w 1293444"/>
              <a:gd name="connsiteY224" fmla="*/ 415925 h 1704975"/>
              <a:gd name="connsiteX225" fmla="*/ 540425 w 1293444"/>
              <a:gd name="connsiteY225" fmla="*/ 406400 h 1704975"/>
              <a:gd name="connsiteX226" fmla="*/ 530900 w 1293444"/>
              <a:gd name="connsiteY226" fmla="*/ 400050 h 1704975"/>
              <a:gd name="connsiteX227" fmla="*/ 508675 w 1293444"/>
              <a:gd name="connsiteY227" fmla="*/ 374650 h 1704975"/>
              <a:gd name="connsiteX228" fmla="*/ 502325 w 1293444"/>
              <a:gd name="connsiteY228" fmla="*/ 365125 h 1704975"/>
              <a:gd name="connsiteX229" fmla="*/ 483275 w 1293444"/>
              <a:gd name="connsiteY229" fmla="*/ 346075 h 1704975"/>
              <a:gd name="connsiteX230" fmla="*/ 486450 w 1293444"/>
              <a:gd name="connsiteY230" fmla="*/ 333375 h 1704975"/>
              <a:gd name="connsiteX231" fmla="*/ 492800 w 1293444"/>
              <a:gd name="connsiteY231" fmla="*/ 314325 h 1704975"/>
              <a:gd name="connsiteX232" fmla="*/ 489625 w 1293444"/>
              <a:gd name="connsiteY232" fmla="*/ 292100 h 1704975"/>
              <a:gd name="connsiteX233" fmla="*/ 461050 w 1293444"/>
              <a:gd name="connsiteY233" fmla="*/ 266700 h 1704975"/>
              <a:gd name="connsiteX234" fmla="*/ 435650 w 1293444"/>
              <a:gd name="connsiteY234" fmla="*/ 254000 h 1704975"/>
              <a:gd name="connsiteX235" fmla="*/ 413425 w 1293444"/>
              <a:gd name="connsiteY235" fmla="*/ 238125 h 1704975"/>
              <a:gd name="connsiteX236" fmla="*/ 403900 w 1293444"/>
              <a:gd name="connsiteY236" fmla="*/ 231775 h 1704975"/>
              <a:gd name="connsiteX237" fmla="*/ 362625 w 1293444"/>
              <a:gd name="connsiteY237" fmla="*/ 114300 h 1704975"/>
              <a:gd name="connsiteX238" fmla="*/ 368975 w 1293444"/>
              <a:gd name="connsiteY238" fmla="*/ 104775 h 1704975"/>
              <a:gd name="connsiteX239" fmla="*/ 375325 w 1293444"/>
              <a:gd name="connsiteY239"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69025 w 1293444"/>
              <a:gd name="connsiteY108" fmla="*/ 1393825 h 1704975"/>
              <a:gd name="connsiteX109" fmla="*/ 775375 w 1293444"/>
              <a:gd name="connsiteY109" fmla="*/ 1412875 h 1704975"/>
              <a:gd name="connsiteX110" fmla="*/ 781725 w 1293444"/>
              <a:gd name="connsiteY110" fmla="*/ 1435100 h 1704975"/>
              <a:gd name="connsiteX111" fmla="*/ 772200 w 1293444"/>
              <a:gd name="connsiteY111" fmla="*/ 1460500 h 1704975"/>
              <a:gd name="connsiteX112" fmla="*/ 762675 w 1293444"/>
              <a:gd name="connsiteY112" fmla="*/ 1466850 h 1704975"/>
              <a:gd name="connsiteX113" fmla="*/ 753150 w 1293444"/>
              <a:gd name="connsiteY113" fmla="*/ 1485900 h 1704975"/>
              <a:gd name="connsiteX114" fmla="*/ 749975 w 1293444"/>
              <a:gd name="connsiteY114" fmla="*/ 1514475 h 1704975"/>
              <a:gd name="connsiteX115" fmla="*/ 740450 w 1293444"/>
              <a:gd name="connsiteY115" fmla="*/ 1520825 h 1704975"/>
              <a:gd name="connsiteX116" fmla="*/ 730925 w 1293444"/>
              <a:gd name="connsiteY116" fmla="*/ 1530350 h 1704975"/>
              <a:gd name="connsiteX117" fmla="*/ 718225 w 1293444"/>
              <a:gd name="connsiteY117" fmla="*/ 1549400 h 1704975"/>
              <a:gd name="connsiteX118" fmla="*/ 711875 w 1293444"/>
              <a:gd name="connsiteY118" fmla="*/ 1558925 h 1704975"/>
              <a:gd name="connsiteX119" fmla="*/ 702350 w 1293444"/>
              <a:gd name="connsiteY119" fmla="*/ 1568450 h 1704975"/>
              <a:gd name="connsiteX120" fmla="*/ 699175 w 1293444"/>
              <a:gd name="connsiteY120" fmla="*/ 1577975 h 1704975"/>
              <a:gd name="connsiteX121" fmla="*/ 686475 w 1293444"/>
              <a:gd name="connsiteY121" fmla="*/ 1597025 h 1704975"/>
              <a:gd name="connsiteX122" fmla="*/ 648375 w 1293444"/>
              <a:gd name="connsiteY122" fmla="*/ 1631950 h 1704975"/>
              <a:gd name="connsiteX123" fmla="*/ 638850 w 1293444"/>
              <a:gd name="connsiteY123" fmla="*/ 1638300 h 1704975"/>
              <a:gd name="connsiteX124" fmla="*/ 607100 w 1293444"/>
              <a:gd name="connsiteY124" fmla="*/ 1676400 h 1704975"/>
              <a:gd name="connsiteX125" fmla="*/ 556300 w 1293444"/>
              <a:gd name="connsiteY125" fmla="*/ 1679575 h 1704975"/>
              <a:gd name="connsiteX126" fmla="*/ 537250 w 1293444"/>
              <a:gd name="connsiteY126" fmla="*/ 1685925 h 1704975"/>
              <a:gd name="connsiteX127" fmla="*/ 515025 w 1293444"/>
              <a:gd name="connsiteY127" fmla="*/ 1698625 h 1704975"/>
              <a:gd name="connsiteX128" fmla="*/ 495975 w 1293444"/>
              <a:gd name="connsiteY128" fmla="*/ 1704975 h 1704975"/>
              <a:gd name="connsiteX129" fmla="*/ 476925 w 1293444"/>
              <a:gd name="connsiteY129" fmla="*/ 1701800 h 1704975"/>
              <a:gd name="connsiteX130" fmla="*/ 470575 w 1293444"/>
              <a:gd name="connsiteY130" fmla="*/ 1692275 h 1704975"/>
              <a:gd name="connsiteX131" fmla="*/ 467400 w 1293444"/>
              <a:gd name="connsiteY131" fmla="*/ 1660525 h 1704975"/>
              <a:gd name="connsiteX132" fmla="*/ 457875 w 1293444"/>
              <a:gd name="connsiteY132" fmla="*/ 1641475 h 1704975"/>
              <a:gd name="connsiteX133" fmla="*/ 432475 w 1293444"/>
              <a:gd name="connsiteY133" fmla="*/ 1495425 h 1704975"/>
              <a:gd name="connsiteX134" fmla="*/ 429300 w 1293444"/>
              <a:gd name="connsiteY134" fmla="*/ 1485900 h 1704975"/>
              <a:gd name="connsiteX135" fmla="*/ 426125 w 1293444"/>
              <a:gd name="connsiteY135" fmla="*/ 1473200 h 1704975"/>
              <a:gd name="connsiteX136" fmla="*/ 419775 w 1293444"/>
              <a:gd name="connsiteY136" fmla="*/ 1463675 h 1704975"/>
              <a:gd name="connsiteX137" fmla="*/ 416600 w 1293444"/>
              <a:gd name="connsiteY137" fmla="*/ 1454150 h 1704975"/>
              <a:gd name="connsiteX138" fmla="*/ 394375 w 1293444"/>
              <a:gd name="connsiteY138" fmla="*/ 1381125 h 1704975"/>
              <a:gd name="connsiteX139" fmla="*/ 391200 w 1293444"/>
              <a:gd name="connsiteY139" fmla="*/ 1368425 h 1704975"/>
              <a:gd name="connsiteX140" fmla="*/ 388025 w 1293444"/>
              <a:gd name="connsiteY140" fmla="*/ 1352550 h 1704975"/>
              <a:gd name="connsiteX141" fmla="*/ 381675 w 1293444"/>
              <a:gd name="connsiteY141" fmla="*/ 1333500 h 1704975"/>
              <a:gd name="connsiteX142" fmla="*/ 378500 w 1293444"/>
              <a:gd name="connsiteY142" fmla="*/ 1323975 h 1704975"/>
              <a:gd name="connsiteX143" fmla="*/ 375325 w 1293444"/>
              <a:gd name="connsiteY143" fmla="*/ 1308100 h 1704975"/>
              <a:gd name="connsiteX144" fmla="*/ 368975 w 1293444"/>
              <a:gd name="connsiteY144" fmla="*/ 1289050 h 1704975"/>
              <a:gd name="connsiteX145" fmla="*/ 362625 w 1293444"/>
              <a:gd name="connsiteY145" fmla="*/ 1260475 h 1704975"/>
              <a:gd name="connsiteX146" fmla="*/ 359450 w 1293444"/>
              <a:gd name="connsiteY146" fmla="*/ 1231900 h 1704975"/>
              <a:gd name="connsiteX147" fmla="*/ 349925 w 1293444"/>
              <a:gd name="connsiteY147" fmla="*/ 1196975 h 1704975"/>
              <a:gd name="connsiteX148" fmla="*/ 340400 w 1293444"/>
              <a:gd name="connsiteY148" fmla="*/ 1155700 h 1704975"/>
              <a:gd name="connsiteX149" fmla="*/ 334050 w 1293444"/>
              <a:gd name="connsiteY149" fmla="*/ 1130300 h 1704975"/>
              <a:gd name="connsiteX150" fmla="*/ 327700 w 1293444"/>
              <a:gd name="connsiteY150" fmla="*/ 1104900 h 1704975"/>
              <a:gd name="connsiteX151" fmla="*/ 324525 w 1293444"/>
              <a:gd name="connsiteY151" fmla="*/ 1092200 h 1704975"/>
              <a:gd name="connsiteX152" fmla="*/ 318175 w 1293444"/>
              <a:gd name="connsiteY152" fmla="*/ 1050925 h 1704975"/>
              <a:gd name="connsiteX153" fmla="*/ 315000 w 1293444"/>
              <a:gd name="connsiteY153" fmla="*/ 1031875 h 1704975"/>
              <a:gd name="connsiteX154" fmla="*/ 311825 w 1293444"/>
              <a:gd name="connsiteY154" fmla="*/ 1022350 h 1704975"/>
              <a:gd name="connsiteX155" fmla="*/ 308650 w 1293444"/>
              <a:gd name="connsiteY155" fmla="*/ 1006475 h 1704975"/>
              <a:gd name="connsiteX156" fmla="*/ 302300 w 1293444"/>
              <a:gd name="connsiteY156" fmla="*/ 987425 h 1704975"/>
              <a:gd name="connsiteX157" fmla="*/ 299125 w 1293444"/>
              <a:gd name="connsiteY157" fmla="*/ 974725 h 1704975"/>
              <a:gd name="connsiteX158" fmla="*/ 292775 w 1293444"/>
              <a:gd name="connsiteY158" fmla="*/ 955675 h 1704975"/>
              <a:gd name="connsiteX159" fmla="*/ 289600 w 1293444"/>
              <a:gd name="connsiteY159" fmla="*/ 946150 h 1704975"/>
              <a:gd name="connsiteX160" fmla="*/ 280075 w 1293444"/>
              <a:gd name="connsiteY160" fmla="*/ 923925 h 1704975"/>
              <a:gd name="connsiteX161" fmla="*/ 261025 w 1293444"/>
              <a:gd name="connsiteY161" fmla="*/ 908050 h 1704975"/>
              <a:gd name="connsiteX162" fmla="*/ 241975 w 1293444"/>
              <a:gd name="connsiteY162" fmla="*/ 901700 h 1704975"/>
              <a:gd name="connsiteX163" fmla="*/ 222925 w 1293444"/>
              <a:gd name="connsiteY163" fmla="*/ 889000 h 1704975"/>
              <a:gd name="connsiteX164" fmla="*/ 213400 w 1293444"/>
              <a:gd name="connsiteY164" fmla="*/ 885825 h 1704975"/>
              <a:gd name="connsiteX165" fmla="*/ 194350 w 1293444"/>
              <a:gd name="connsiteY165" fmla="*/ 873125 h 1704975"/>
              <a:gd name="connsiteX166" fmla="*/ 175300 w 1293444"/>
              <a:gd name="connsiteY166" fmla="*/ 860425 h 1704975"/>
              <a:gd name="connsiteX167" fmla="*/ 162600 w 1293444"/>
              <a:gd name="connsiteY167" fmla="*/ 850900 h 1704975"/>
              <a:gd name="connsiteX168" fmla="*/ 153075 w 1293444"/>
              <a:gd name="connsiteY168" fmla="*/ 847725 h 1704975"/>
              <a:gd name="connsiteX169" fmla="*/ 134025 w 1293444"/>
              <a:gd name="connsiteY169" fmla="*/ 835025 h 1704975"/>
              <a:gd name="connsiteX170" fmla="*/ 114975 w 1293444"/>
              <a:gd name="connsiteY170" fmla="*/ 822325 h 1704975"/>
              <a:gd name="connsiteX171" fmla="*/ 105450 w 1293444"/>
              <a:gd name="connsiteY171" fmla="*/ 815975 h 1704975"/>
              <a:gd name="connsiteX172" fmla="*/ 95925 w 1293444"/>
              <a:gd name="connsiteY172" fmla="*/ 812800 h 1704975"/>
              <a:gd name="connsiteX173" fmla="*/ 64175 w 1293444"/>
              <a:gd name="connsiteY173" fmla="*/ 790575 h 1704975"/>
              <a:gd name="connsiteX174" fmla="*/ 54650 w 1293444"/>
              <a:gd name="connsiteY174" fmla="*/ 787400 h 1704975"/>
              <a:gd name="connsiteX175" fmla="*/ 38775 w 1293444"/>
              <a:gd name="connsiteY175" fmla="*/ 771525 h 1704975"/>
              <a:gd name="connsiteX176" fmla="*/ 29250 w 1293444"/>
              <a:gd name="connsiteY176" fmla="*/ 762000 h 1704975"/>
              <a:gd name="connsiteX177" fmla="*/ 19725 w 1293444"/>
              <a:gd name="connsiteY177" fmla="*/ 758825 h 1704975"/>
              <a:gd name="connsiteX178" fmla="*/ 675 w 1293444"/>
              <a:gd name="connsiteY178" fmla="*/ 746125 h 1704975"/>
              <a:gd name="connsiteX179" fmla="*/ 51475 w 1293444"/>
              <a:gd name="connsiteY179" fmla="*/ 739775 h 1704975"/>
              <a:gd name="connsiteX180" fmla="*/ 67350 w 1293444"/>
              <a:gd name="connsiteY180" fmla="*/ 736600 h 1704975"/>
              <a:gd name="connsiteX181" fmla="*/ 102275 w 1293444"/>
              <a:gd name="connsiteY181" fmla="*/ 733425 h 1704975"/>
              <a:gd name="connsiteX182" fmla="*/ 130850 w 1293444"/>
              <a:gd name="connsiteY182" fmla="*/ 727075 h 1704975"/>
              <a:gd name="connsiteX183" fmla="*/ 149900 w 1293444"/>
              <a:gd name="connsiteY183" fmla="*/ 723900 h 1704975"/>
              <a:gd name="connsiteX184" fmla="*/ 159425 w 1293444"/>
              <a:gd name="connsiteY184" fmla="*/ 720725 h 1704975"/>
              <a:gd name="connsiteX185" fmla="*/ 175300 w 1293444"/>
              <a:gd name="connsiteY185" fmla="*/ 717550 h 1704975"/>
              <a:gd name="connsiteX186" fmla="*/ 194350 w 1293444"/>
              <a:gd name="connsiteY186" fmla="*/ 711200 h 1704975"/>
              <a:gd name="connsiteX187" fmla="*/ 222925 w 1293444"/>
              <a:gd name="connsiteY187" fmla="*/ 701675 h 1704975"/>
              <a:gd name="connsiteX188" fmla="*/ 232450 w 1293444"/>
              <a:gd name="connsiteY188" fmla="*/ 698500 h 1704975"/>
              <a:gd name="connsiteX189" fmla="*/ 241975 w 1293444"/>
              <a:gd name="connsiteY189" fmla="*/ 695325 h 1704975"/>
              <a:gd name="connsiteX190" fmla="*/ 381675 w 1293444"/>
              <a:gd name="connsiteY190" fmla="*/ 688975 h 1704975"/>
              <a:gd name="connsiteX191" fmla="*/ 397550 w 1293444"/>
              <a:gd name="connsiteY191" fmla="*/ 685800 h 1704975"/>
              <a:gd name="connsiteX192" fmla="*/ 407075 w 1293444"/>
              <a:gd name="connsiteY192" fmla="*/ 682625 h 1704975"/>
              <a:gd name="connsiteX193" fmla="*/ 419775 w 1293444"/>
              <a:gd name="connsiteY193" fmla="*/ 679450 h 1704975"/>
              <a:gd name="connsiteX194" fmla="*/ 438825 w 1293444"/>
              <a:gd name="connsiteY194" fmla="*/ 673100 h 1704975"/>
              <a:gd name="connsiteX195" fmla="*/ 467400 w 1293444"/>
              <a:gd name="connsiteY195" fmla="*/ 663575 h 1704975"/>
              <a:gd name="connsiteX196" fmla="*/ 495975 w 1293444"/>
              <a:gd name="connsiteY196" fmla="*/ 654050 h 1704975"/>
              <a:gd name="connsiteX197" fmla="*/ 505500 w 1293444"/>
              <a:gd name="connsiteY197" fmla="*/ 650875 h 1704975"/>
              <a:gd name="connsiteX198" fmla="*/ 527725 w 1293444"/>
              <a:gd name="connsiteY198" fmla="*/ 641350 h 1704975"/>
              <a:gd name="connsiteX199" fmla="*/ 537250 w 1293444"/>
              <a:gd name="connsiteY199" fmla="*/ 635000 h 1704975"/>
              <a:gd name="connsiteX200" fmla="*/ 546775 w 1293444"/>
              <a:gd name="connsiteY200" fmla="*/ 631825 h 1704975"/>
              <a:gd name="connsiteX201" fmla="*/ 559475 w 1293444"/>
              <a:gd name="connsiteY201" fmla="*/ 625475 h 1704975"/>
              <a:gd name="connsiteX202" fmla="*/ 578525 w 1293444"/>
              <a:gd name="connsiteY202" fmla="*/ 657225 h 1704975"/>
              <a:gd name="connsiteX203" fmla="*/ 588050 w 1293444"/>
              <a:gd name="connsiteY203" fmla="*/ 660400 h 1704975"/>
              <a:gd name="connsiteX204" fmla="*/ 607100 w 1293444"/>
              <a:gd name="connsiteY204" fmla="*/ 673100 h 1704975"/>
              <a:gd name="connsiteX205" fmla="*/ 626150 w 1293444"/>
              <a:gd name="connsiteY205" fmla="*/ 679450 h 1704975"/>
              <a:gd name="connsiteX206" fmla="*/ 635675 w 1293444"/>
              <a:gd name="connsiteY206" fmla="*/ 685800 h 1704975"/>
              <a:gd name="connsiteX207" fmla="*/ 654725 w 1293444"/>
              <a:gd name="connsiteY207" fmla="*/ 692150 h 1704975"/>
              <a:gd name="connsiteX208" fmla="*/ 635675 w 1293444"/>
              <a:gd name="connsiteY208" fmla="*/ 676275 h 1704975"/>
              <a:gd name="connsiteX209" fmla="*/ 632500 w 1293444"/>
              <a:gd name="connsiteY209" fmla="*/ 666750 h 1704975"/>
              <a:gd name="connsiteX210" fmla="*/ 635675 w 1293444"/>
              <a:gd name="connsiteY210" fmla="*/ 590550 h 1704975"/>
              <a:gd name="connsiteX211" fmla="*/ 642025 w 1293444"/>
              <a:gd name="connsiteY211" fmla="*/ 571500 h 1704975"/>
              <a:gd name="connsiteX212" fmla="*/ 648375 w 1293444"/>
              <a:gd name="connsiteY212" fmla="*/ 561975 h 1704975"/>
              <a:gd name="connsiteX213" fmla="*/ 638850 w 1293444"/>
              <a:gd name="connsiteY213" fmla="*/ 536575 h 1704975"/>
              <a:gd name="connsiteX214" fmla="*/ 629325 w 1293444"/>
              <a:gd name="connsiteY214" fmla="*/ 533400 h 1704975"/>
              <a:gd name="connsiteX215" fmla="*/ 626150 w 1293444"/>
              <a:gd name="connsiteY215" fmla="*/ 523875 h 1704975"/>
              <a:gd name="connsiteX216" fmla="*/ 632500 w 1293444"/>
              <a:gd name="connsiteY216" fmla="*/ 498475 h 1704975"/>
              <a:gd name="connsiteX217" fmla="*/ 635675 w 1293444"/>
              <a:gd name="connsiteY217" fmla="*/ 485775 h 1704975"/>
              <a:gd name="connsiteX218" fmla="*/ 626150 w 1293444"/>
              <a:gd name="connsiteY218" fmla="*/ 463550 h 1704975"/>
              <a:gd name="connsiteX219" fmla="*/ 616625 w 1293444"/>
              <a:gd name="connsiteY219" fmla="*/ 460375 h 1704975"/>
              <a:gd name="connsiteX220" fmla="*/ 607100 w 1293444"/>
              <a:gd name="connsiteY220" fmla="*/ 454025 h 1704975"/>
              <a:gd name="connsiteX221" fmla="*/ 591225 w 1293444"/>
              <a:gd name="connsiteY221" fmla="*/ 450850 h 1704975"/>
              <a:gd name="connsiteX222" fmla="*/ 569000 w 1293444"/>
              <a:gd name="connsiteY222" fmla="*/ 441325 h 1704975"/>
              <a:gd name="connsiteX223" fmla="*/ 546775 w 1293444"/>
              <a:gd name="connsiteY223" fmla="*/ 415925 h 1704975"/>
              <a:gd name="connsiteX224" fmla="*/ 540425 w 1293444"/>
              <a:gd name="connsiteY224" fmla="*/ 406400 h 1704975"/>
              <a:gd name="connsiteX225" fmla="*/ 530900 w 1293444"/>
              <a:gd name="connsiteY225" fmla="*/ 400050 h 1704975"/>
              <a:gd name="connsiteX226" fmla="*/ 508675 w 1293444"/>
              <a:gd name="connsiteY226" fmla="*/ 374650 h 1704975"/>
              <a:gd name="connsiteX227" fmla="*/ 502325 w 1293444"/>
              <a:gd name="connsiteY227" fmla="*/ 365125 h 1704975"/>
              <a:gd name="connsiteX228" fmla="*/ 483275 w 1293444"/>
              <a:gd name="connsiteY228" fmla="*/ 346075 h 1704975"/>
              <a:gd name="connsiteX229" fmla="*/ 486450 w 1293444"/>
              <a:gd name="connsiteY229" fmla="*/ 333375 h 1704975"/>
              <a:gd name="connsiteX230" fmla="*/ 492800 w 1293444"/>
              <a:gd name="connsiteY230" fmla="*/ 314325 h 1704975"/>
              <a:gd name="connsiteX231" fmla="*/ 489625 w 1293444"/>
              <a:gd name="connsiteY231" fmla="*/ 292100 h 1704975"/>
              <a:gd name="connsiteX232" fmla="*/ 461050 w 1293444"/>
              <a:gd name="connsiteY232" fmla="*/ 266700 h 1704975"/>
              <a:gd name="connsiteX233" fmla="*/ 435650 w 1293444"/>
              <a:gd name="connsiteY233" fmla="*/ 254000 h 1704975"/>
              <a:gd name="connsiteX234" fmla="*/ 413425 w 1293444"/>
              <a:gd name="connsiteY234" fmla="*/ 238125 h 1704975"/>
              <a:gd name="connsiteX235" fmla="*/ 403900 w 1293444"/>
              <a:gd name="connsiteY235" fmla="*/ 231775 h 1704975"/>
              <a:gd name="connsiteX236" fmla="*/ 362625 w 1293444"/>
              <a:gd name="connsiteY236" fmla="*/ 114300 h 1704975"/>
              <a:gd name="connsiteX237" fmla="*/ 368975 w 1293444"/>
              <a:gd name="connsiteY237" fmla="*/ 104775 h 1704975"/>
              <a:gd name="connsiteX238" fmla="*/ 375325 w 1293444"/>
              <a:gd name="connsiteY238"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69025 w 1293444"/>
              <a:gd name="connsiteY108" fmla="*/ 1393825 h 1704975"/>
              <a:gd name="connsiteX109" fmla="*/ 775375 w 1293444"/>
              <a:gd name="connsiteY109" fmla="*/ 1412875 h 1704975"/>
              <a:gd name="connsiteX110" fmla="*/ 781725 w 1293444"/>
              <a:gd name="connsiteY110" fmla="*/ 1435100 h 1704975"/>
              <a:gd name="connsiteX111" fmla="*/ 772200 w 1293444"/>
              <a:gd name="connsiteY111" fmla="*/ 1460500 h 1704975"/>
              <a:gd name="connsiteX112" fmla="*/ 762675 w 1293444"/>
              <a:gd name="connsiteY112" fmla="*/ 1466850 h 1704975"/>
              <a:gd name="connsiteX113" fmla="*/ 753150 w 1293444"/>
              <a:gd name="connsiteY113" fmla="*/ 1485900 h 1704975"/>
              <a:gd name="connsiteX114" fmla="*/ 749975 w 1293444"/>
              <a:gd name="connsiteY114" fmla="*/ 1514475 h 1704975"/>
              <a:gd name="connsiteX115" fmla="*/ 730925 w 1293444"/>
              <a:gd name="connsiteY115" fmla="*/ 1530350 h 1704975"/>
              <a:gd name="connsiteX116" fmla="*/ 718225 w 1293444"/>
              <a:gd name="connsiteY116" fmla="*/ 1549400 h 1704975"/>
              <a:gd name="connsiteX117" fmla="*/ 711875 w 1293444"/>
              <a:gd name="connsiteY117" fmla="*/ 1558925 h 1704975"/>
              <a:gd name="connsiteX118" fmla="*/ 702350 w 1293444"/>
              <a:gd name="connsiteY118" fmla="*/ 1568450 h 1704975"/>
              <a:gd name="connsiteX119" fmla="*/ 699175 w 1293444"/>
              <a:gd name="connsiteY119" fmla="*/ 1577975 h 1704975"/>
              <a:gd name="connsiteX120" fmla="*/ 686475 w 1293444"/>
              <a:gd name="connsiteY120" fmla="*/ 1597025 h 1704975"/>
              <a:gd name="connsiteX121" fmla="*/ 648375 w 1293444"/>
              <a:gd name="connsiteY121" fmla="*/ 1631950 h 1704975"/>
              <a:gd name="connsiteX122" fmla="*/ 638850 w 1293444"/>
              <a:gd name="connsiteY122" fmla="*/ 1638300 h 1704975"/>
              <a:gd name="connsiteX123" fmla="*/ 607100 w 1293444"/>
              <a:gd name="connsiteY123" fmla="*/ 1676400 h 1704975"/>
              <a:gd name="connsiteX124" fmla="*/ 556300 w 1293444"/>
              <a:gd name="connsiteY124" fmla="*/ 1679575 h 1704975"/>
              <a:gd name="connsiteX125" fmla="*/ 537250 w 1293444"/>
              <a:gd name="connsiteY125" fmla="*/ 1685925 h 1704975"/>
              <a:gd name="connsiteX126" fmla="*/ 515025 w 1293444"/>
              <a:gd name="connsiteY126" fmla="*/ 1698625 h 1704975"/>
              <a:gd name="connsiteX127" fmla="*/ 495975 w 1293444"/>
              <a:gd name="connsiteY127" fmla="*/ 1704975 h 1704975"/>
              <a:gd name="connsiteX128" fmla="*/ 476925 w 1293444"/>
              <a:gd name="connsiteY128" fmla="*/ 1701800 h 1704975"/>
              <a:gd name="connsiteX129" fmla="*/ 470575 w 1293444"/>
              <a:gd name="connsiteY129" fmla="*/ 1692275 h 1704975"/>
              <a:gd name="connsiteX130" fmla="*/ 467400 w 1293444"/>
              <a:gd name="connsiteY130" fmla="*/ 1660525 h 1704975"/>
              <a:gd name="connsiteX131" fmla="*/ 457875 w 1293444"/>
              <a:gd name="connsiteY131" fmla="*/ 1641475 h 1704975"/>
              <a:gd name="connsiteX132" fmla="*/ 432475 w 1293444"/>
              <a:gd name="connsiteY132" fmla="*/ 1495425 h 1704975"/>
              <a:gd name="connsiteX133" fmla="*/ 429300 w 1293444"/>
              <a:gd name="connsiteY133" fmla="*/ 1485900 h 1704975"/>
              <a:gd name="connsiteX134" fmla="*/ 426125 w 1293444"/>
              <a:gd name="connsiteY134" fmla="*/ 1473200 h 1704975"/>
              <a:gd name="connsiteX135" fmla="*/ 419775 w 1293444"/>
              <a:gd name="connsiteY135" fmla="*/ 1463675 h 1704975"/>
              <a:gd name="connsiteX136" fmla="*/ 416600 w 1293444"/>
              <a:gd name="connsiteY136" fmla="*/ 1454150 h 1704975"/>
              <a:gd name="connsiteX137" fmla="*/ 394375 w 1293444"/>
              <a:gd name="connsiteY137" fmla="*/ 1381125 h 1704975"/>
              <a:gd name="connsiteX138" fmla="*/ 391200 w 1293444"/>
              <a:gd name="connsiteY138" fmla="*/ 1368425 h 1704975"/>
              <a:gd name="connsiteX139" fmla="*/ 388025 w 1293444"/>
              <a:gd name="connsiteY139" fmla="*/ 1352550 h 1704975"/>
              <a:gd name="connsiteX140" fmla="*/ 381675 w 1293444"/>
              <a:gd name="connsiteY140" fmla="*/ 1333500 h 1704975"/>
              <a:gd name="connsiteX141" fmla="*/ 378500 w 1293444"/>
              <a:gd name="connsiteY141" fmla="*/ 1323975 h 1704975"/>
              <a:gd name="connsiteX142" fmla="*/ 375325 w 1293444"/>
              <a:gd name="connsiteY142" fmla="*/ 1308100 h 1704975"/>
              <a:gd name="connsiteX143" fmla="*/ 368975 w 1293444"/>
              <a:gd name="connsiteY143" fmla="*/ 1289050 h 1704975"/>
              <a:gd name="connsiteX144" fmla="*/ 362625 w 1293444"/>
              <a:gd name="connsiteY144" fmla="*/ 1260475 h 1704975"/>
              <a:gd name="connsiteX145" fmla="*/ 359450 w 1293444"/>
              <a:gd name="connsiteY145" fmla="*/ 1231900 h 1704975"/>
              <a:gd name="connsiteX146" fmla="*/ 349925 w 1293444"/>
              <a:gd name="connsiteY146" fmla="*/ 1196975 h 1704975"/>
              <a:gd name="connsiteX147" fmla="*/ 340400 w 1293444"/>
              <a:gd name="connsiteY147" fmla="*/ 1155700 h 1704975"/>
              <a:gd name="connsiteX148" fmla="*/ 334050 w 1293444"/>
              <a:gd name="connsiteY148" fmla="*/ 1130300 h 1704975"/>
              <a:gd name="connsiteX149" fmla="*/ 327700 w 1293444"/>
              <a:gd name="connsiteY149" fmla="*/ 1104900 h 1704975"/>
              <a:gd name="connsiteX150" fmla="*/ 324525 w 1293444"/>
              <a:gd name="connsiteY150" fmla="*/ 1092200 h 1704975"/>
              <a:gd name="connsiteX151" fmla="*/ 318175 w 1293444"/>
              <a:gd name="connsiteY151" fmla="*/ 1050925 h 1704975"/>
              <a:gd name="connsiteX152" fmla="*/ 315000 w 1293444"/>
              <a:gd name="connsiteY152" fmla="*/ 1031875 h 1704975"/>
              <a:gd name="connsiteX153" fmla="*/ 311825 w 1293444"/>
              <a:gd name="connsiteY153" fmla="*/ 1022350 h 1704975"/>
              <a:gd name="connsiteX154" fmla="*/ 308650 w 1293444"/>
              <a:gd name="connsiteY154" fmla="*/ 1006475 h 1704975"/>
              <a:gd name="connsiteX155" fmla="*/ 302300 w 1293444"/>
              <a:gd name="connsiteY155" fmla="*/ 987425 h 1704975"/>
              <a:gd name="connsiteX156" fmla="*/ 299125 w 1293444"/>
              <a:gd name="connsiteY156" fmla="*/ 974725 h 1704975"/>
              <a:gd name="connsiteX157" fmla="*/ 292775 w 1293444"/>
              <a:gd name="connsiteY157" fmla="*/ 955675 h 1704975"/>
              <a:gd name="connsiteX158" fmla="*/ 289600 w 1293444"/>
              <a:gd name="connsiteY158" fmla="*/ 946150 h 1704975"/>
              <a:gd name="connsiteX159" fmla="*/ 280075 w 1293444"/>
              <a:gd name="connsiteY159" fmla="*/ 923925 h 1704975"/>
              <a:gd name="connsiteX160" fmla="*/ 261025 w 1293444"/>
              <a:gd name="connsiteY160" fmla="*/ 908050 h 1704975"/>
              <a:gd name="connsiteX161" fmla="*/ 241975 w 1293444"/>
              <a:gd name="connsiteY161" fmla="*/ 901700 h 1704975"/>
              <a:gd name="connsiteX162" fmla="*/ 222925 w 1293444"/>
              <a:gd name="connsiteY162" fmla="*/ 889000 h 1704975"/>
              <a:gd name="connsiteX163" fmla="*/ 213400 w 1293444"/>
              <a:gd name="connsiteY163" fmla="*/ 885825 h 1704975"/>
              <a:gd name="connsiteX164" fmla="*/ 194350 w 1293444"/>
              <a:gd name="connsiteY164" fmla="*/ 873125 h 1704975"/>
              <a:gd name="connsiteX165" fmla="*/ 175300 w 1293444"/>
              <a:gd name="connsiteY165" fmla="*/ 860425 h 1704975"/>
              <a:gd name="connsiteX166" fmla="*/ 162600 w 1293444"/>
              <a:gd name="connsiteY166" fmla="*/ 850900 h 1704975"/>
              <a:gd name="connsiteX167" fmla="*/ 153075 w 1293444"/>
              <a:gd name="connsiteY167" fmla="*/ 847725 h 1704975"/>
              <a:gd name="connsiteX168" fmla="*/ 134025 w 1293444"/>
              <a:gd name="connsiteY168" fmla="*/ 835025 h 1704975"/>
              <a:gd name="connsiteX169" fmla="*/ 114975 w 1293444"/>
              <a:gd name="connsiteY169" fmla="*/ 822325 h 1704975"/>
              <a:gd name="connsiteX170" fmla="*/ 105450 w 1293444"/>
              <a:gd name="connsiteY170" fmla="*/ 815975 h 1704975"/>
              <a:gd name="connsiteX171" fmla="*/ 95925 w 1293444"/>
              <a:gd name="connsiteY171" fmla="*/ 812800 h 1704975"/>
              <a:gd name="connsiteX172" fmla="*/ 64175 w 1293444"/>
              <a:gd name="connsiteY172" fmla="*/ 790575 h 1704975"/>
              <a:gd name="connsiteX173" fmla="*/ 54650 w 1293444"/>
              <a:gd name="connsiteY173" fmla="*/ 787400 h 1704975"/>
              <a:gd name="connsiteX174" fmla="*/ 38775 w 1293444"/>
              <a:gd name="connsiteY174" fmla="*/ 771525 h 1704975"/>
              <a:gd name="connsiteX175" fmla="*/ 29250 w 1293444"/>
              <a:gd name="connsiteY175" fmla="*/ 762000 h 1704975"/>
              <a:gd name="connsiteX176" fmla="*/ 19725 w 1293444"/>
              <a:gd name="connsiteY176" fmla="*/ 758825 h 1704975"/>
              <a:gd name="connsiteX177" fmla="*/ 675 w 1293444"/>
              <a:gd name="connsiteY177" fmla="*/ 746125 h 1704975"/>
              <a:gd name="connsiteX178" fmla="*/ 51475 w 1293444"/>
              <a:gd name="connsiteY178" fmla="*/ 739775 h 1704975"/>
              <a:gd name="connsiteX179" fmla="*/ 67350 w 1293444"/>
              <a:gd name="connsiteY179" fmla="*/ 736600 h 1704975"/>
              <a:gd name="connsiteX180" fmla="*/ 102275 w 1293444"/>
              <a:gd name="connsiteY180" fmla="*/ 733425 h 1704975"/>
              <a:gd name="connsiteX181" fmla="*/ 130850 w 1293444"/>
              <a:gd name="connsiteY181" fmla="*/ 727075 h 1704975"/>
              <a:gd name="connsiteX182" fmla="*/ 149900 w 1293444"/>
              <a:gd name="connsiteY182" fmla="*/ 723900 h 1704975"/>
              <a:gd name="connsiteX183" fmla="*/ 159425 w 1293444"/>
              <a:gd name="connsiteY183" fmla="*/ 720725 h 1704975"/>
              <a:gd name="connsiteX184" fmla="*/ 175300 w 1293444"/>
              <a:gd name="connsiteY184" fmla="*/ 717550 h 1704975"/>
              <a:gd name="connsiteX185" fmla="*/ 194350 w 1293444"/>
              <a:gd name="connsiteY185" fmla="*/ 711200 h 1704975"/>
              <a:gd name="connsiteX186" fmla="*/ 222925 w 1293444"/>
              <a:gd name="connsiteY186" fmla="*/ 701675 h 1704975"/>
              <a:gd name="connsiteX187" fmla="*/ 232450 w 1293444"/>
              <a:gd name="connsiteY187" fmla="*/ 698500 h 1704975"/>
              <a:gd name="connsiteX188" fmla="*/ 241975 w 1293444"/>
              <a:gd name="connsiteY188" fmla="*/ 695325 h 1704975"/>
              <a:gd name="connsiteX189" fmla="*/ 381675 w 1293444"/>
              <a:gd name="connsiteY189" fmla="*/ 688975 h 1704975"/>
              <a:gd name="connsiteX190" fmla="*/ 397550 w 1293444"/>
              <a:gd name="connsiteY190" fmla="*/ 685800 h 1704975"/>
              <a:gd name="connsiteX191" fmla="*/ 407075 w 1293444"/>
              <a:gd name="connsiteY191" fmla="*/ 682625 h 1704975"/>
              <a:gd name="connsiteX192" fmla="*/ 419775 w 1293444"/>
              <a:gd name="connsiteY192" fmla="*/ 679450 h 1704975"/>
              <a:gd name="connsiteX193" fmla="*/ 438825 w 1293444"/>
              <a:gd name="connsiteY193" fmla="*/ 673100 h 1704975"/>
              <a:gd name="connsiteX194" fmla="*/ 467400 w 1293444"/>
              <a:gd name="connsiteY194" fmla="*/ 663575 h 1704975"/>
              <a:gd name="connsiteX195" fmla="*/ 495975 w 1293444"/>
              <a:gd name="connsiteY195" fmla="*/ 654050 h 1704975"/>
              <a:gd name="connsiteX196" fmla="*/ 505500 w 1293444"/>
              <a:gd name="connsiteY196" fmla="*/ 650875 h 1704975"/>
              <a:gd name="connsiteX197" fmla="*/ 527725 w 1293444"/>
              <a:gd name="connsiteY197" fmla="*/ 641350 h 1704975"/>
              <a:gd name="connsiteX198" fmla="*/ 537250 w 1293444"/>
              <a:gd name="connsiteY198" fmla="*/ 635000 h 1704975"/>
              <a:gd name="connsiteX199" fmla="*/ 546775 w 1293444"/>
              <a:gd name="connsiteY199" fmla="*/ 631825 h 1704975"/>
              <a:gd name="connsiteX200" fmla="*/ 559475 w 1293444"/>
              <a:gd name="connsiteY200" fmla="*/ 625475 h 1704975"/>
              <a:gd name="connsiteX201" fmla="*/ 578525 w 1293444"/>
              <a:gd name="connsiteY201" fmla="*/ 657225 h 1704975"/>
              <a:gd name="connsiteX202" fmla="*/ 588050 w 1293444"/>
              <a:gd name="connsiteY202" fmla="*/ 660400 h 1704975"/>
              <a:gd name="connsiteX203" fmla="*/ 607100 w 1293444"/>
              <a:gd name="connsiteY203" fmla="*/ 673100 h 1704975"/>
              <a:gd name="connsiteX204" fmla="*/ 626150 w 1293444"/>
              <a:gd name="connsiteY204" fmla="*/ 679450 h 1704975"/>
              <a:gd name="connsiteX205" fmla="*/ 635675 w 1293444"/>
              <a:gd name="connsiteY205" fmla="*/ 685800 h 1704975"/>
              <a:gd name="connsiteX206" fmla="*/ 654725 w 1293444"/>
              <a:gd name="connsiteY206" fmla="*/ 692150 h 1704975"/>
              <a:gd name="connsiteX207" fmla="*/ 635675 w 1293444"/>
              <a:gd name="connsiteY207" fmla="*/ 676275 h 1704975"/>
              <a:gd name="connsiteX208" fmla="*/ 632500 w 1293444"/>
              <a:gd name="connsiteY208" fmla="*/ 666750 h 1704975"/>
              <a:gd name="connsiteX209" fmla="*/ 635675 w 1293444"/>
              <a:gd name="connsiteY209" fmla="*/ 590550 h 1704975"/>
              <a:gd name="connsiteX210" fmla="*/ 642025 w 1293444"/>
              <a:gd name="connsiteY210" fmla="*/ 571500 h 1704975"/>
              <a:gd name="connsiteX211" fmla="*/ 648375 w 1293444"/>
              <a:gd name="connsiteY211" fmla="*/ 561975 h 1704975"/>
              <a:gd name="connsiteX212" fmla="*/ 638850 w 1293444"/>
              <a:gd name="connsiteY212" fmla="*/ 536575 h 1704975"/>
              <a:gd name="connsiteX213" fmla="*/ 629325 w 1293444"/>
              <a:gd name="connsiteY213" fmla="*/ 533400 h 1704975"/>
              <a:gd name="connsiteX214" fmla="*/ 626150 w 1293444"/>
              <a:gd name="connsiteY214" fmla="*/ 523875 h 1704975"/>
              <a:gd name="connsiteX215" fmla="*/ 632500 w 1293444"/>
              <a:gd name="connsiteY215" fmla="*/ 498475 h 1704975"/>
              <a:gd name="connsiteX216" fmla="*/ 635675 w 1293444"/>
              <a:gd name="connsiteY216" fmla="*/ 485775 h 1704975"/>
              <a:gd name="connsiteX217" fmla="*/ 626150 w 1293444"/>
              <a:gd name="connsiteY217" fmla="*/ 463550 h 1704975"/>
              <a:gd name="connsiteX218" fmla="*/ 616625 w 1293444"/>
              <a:gd name="connsiteY218" fmla="*/ 460375 h 1704975"/>
              <a:gd name="connsiteX219" fmla="*/ 607100 w 1293444"/>
              <a:gd name="connsiteY219" fmla="*/ 454025 h 1704975"/>
              <a:gd name="connsiteX220" fmla="*/ 591225 w 1293444"/>
              <a:gd name="connsiteY220" fmla="*/ 450850 h 1704975"/>
              <a:gd name="connsiteX221" fmla="*/ 569000 w 1293444"/>
              <a:gd name="connsiteY221" fmla="*/ 441325 h 1704975"/>
              <a:gd name="connsiteX222" fmla="*/ 546775 w 1293444"/>
              <a:gd name="connsiteY222" fmla="*/ 415925 h 1704975"/>
              <a:gd name="connsiteX223" fmla="*/ 540425 w 1293444"/>
              <a:gd name="connsiteY223" fmla="*/ 406400 h 1704975"/>
              <a:gd name="connsiteX224" fmla="*/ 530900 w 1293444"/>
              <a:gd name="connsiteY224" fmla="*/ 400050 h 1704975"/>
              <a:gd name="connsiteX225" fmla="*/ 508675 w 1293444"/>
              <a:gd name="connsiteY225" fmla="*/ 374650 h 1704975"/>
              <a:gd name="connsiteX226" fmla="*/ 502325 w 1293444"/>
              <a:gd name="connsiteY226" fmla="*/ 365125 h 1704975"/>
              <a:gd name="connsiteX227" fmla="*/ 483275 w 1293444"/>
              <a:gd name="connsiteY227" fmla="*/ 346075 h 1704975"/>
              <a:gd name="connsiteX228" fmla="*/ 486450 w 1293444"/>
              <a:gd name="connsiteY228" fmla="*/ 333375 h 1704975"/>
              <a:gd name="connsiteX229" fmla="*/ 492800 w 1293444"/>
              <a:gd name="connsiteY229" fmla="*/ 314325 h 1704975"/>
              <a:gd name="connsiteX230" fmla="*/ 489625 w 1293444"/>
              <a:gd name="connsiteY230" fmla="*/ 292100 h 1704975"/>
              <a:gd name="connsiteX231" fmla="*/ 461050 w 1293444"/>
              <a:gd name="connsiteY231" fmla="*/ 266700 h 1704975"/>
              <a:gd name="connsiteX232" fmla="*/ 435650 w 1293444"/>
              <a:gd name="connsiteY232" fmla="*/ 254000 h 1704975"/>
              <a:gd name="connsiteX233" fmla="*/ 413425 w 1293444"/>
              <a:gd name="connsiteY233" fmla="*/ 238125 h 1704975"/>
              <a:gd name="connsiteX234" fmla="*/ 403900 w 1293444"/>
              <a:gd name="connsiteY234" fmla="*/ 231775 h 1704975"/>
              <a:gd name="connsiteX235" fmla="*/ 362625 w 1293444"/>
              <a:gd name="connsiteY235" fmla="*/ 114300 h 1704975"/>
              <a:gd name="connsiteX236" fmla="*/ 368975 w 1293444"/>
              <a:gd name="connsiteY236" fmla="*/ 104775 h 1704975"/>
              <a:gd name="connsiteX237" fmla="*/ 375325 w 1293444"/>
              <a:gd name="connsiteY237" fmla="*/ 38100 h 1704975"/>
              <a:gd name="connsiteX0" fmla="*/ 375325 w 1293444"/>
              <a:gd name="connsiteY0" fmla="*/ 38100 h 1704975"/>
              <a:gd name="connsiteX1" fmla="*/ 410250 w 1293444"/>
              <a:gd name="connsiteY1" fmla="*/ 28575 h 1704975"/>
              <a:gd name="connsiteX2" fmla="*/ 419775 w 1293444"/>
              <a:gd name="connsiteY2" fmla="*/ 31750 h 1704975"/>
              <a:gd name="connsiteX3" fmla="*/ 464225 w 1293444"/>
              <a:gd name="connsiteY3" fmla="*/ 28575 h 1704975"/>
              <a:gd name="connsiteX4" fmla="*/ 483275 w 1293444"/>
              <a:gd name="connsiteY4" fmla="*/ 15875 h 1704975"/>
              <a:gd name="connsiteX5" fmla="*/ 502325 w 1293444"/>
              <a:gd name="connsiteY5" fmla="*/ 9525 h 1704975"/>
              <a:gd name="connsiteX6" fmla="*/ 502325 w 1293444"/>
              <a:gd name="connsiteY6" fmla="*/ 9525 h 1704975"/>
              <a:gd name="connsiteX7" fmla="*/ 518200 w 1293444"/>
              <a:gd name="connsiteY7" fmla="*/ 6350 h 1704975"/>
              <a:gd name="connsiteX8" fmla="*/ 537250 w 1293444"/>
              <a:gd name="connsiteY8" fmla="*/ 0 h 1704975"/>
              <a:gd name="connsiteX9" fmla="*/ 549950 w 1293444"/>
              <a:gd name="connsiteY9" fmla="*/ 19050 h 1704975"/>
              <a:gd name="connsiteX10" fmla="*/ 581700 w 1293444"/>
              <a:gd name="connsiteY10" fmla="*/ 28575 h 1704975"/>
              <a:gd name="connsiteX11" fmla="*/ 597575 w 1293444"/>
              <a:gd name="connsiteY11" fmla="*/ 31750 h 1704975"/>
              <a:gd name="connsiteX12" fmla="*/ 616625 w 1293444"/>
              <a:gd name="connsiteY12" fmla="*/ 38100 h 1704975"/>
              <a:gd name="connsiteX13" fmla="*/ 657900 w 1293444"/>
              <a:gd name="connsiteY13" fmla="*/ 50800 h 1704975"/>
              <a:gd name="connsiteX14" fmla="*/ 667425 w 1293444"/>
              <a:gd name="connsiteY14" fmla="*/ 69850 h 1704975"/>
              <a:gd name="connsiteX15" fmla="*/ 670600 w 1293444"/>
              <a:gd name="connsiteY15" fmla="*/ 104775 h 1704975"/>
              <a:gd name="connsiteX16" fmla="*/ 673775 w 1293444"/>
              <a:gd name="connsiteY16" fmla="*/ 114300 h 1704975"/>
              <a:gd name="connsiteX17" fmla="*/ 683300 w 1293444"/>
              <a:gd name="connsiteY17" fmla="*/ 120650 h 1704975"/>
              <a:gd name="connsiteX18" fmla="*/ 696000 w 1293444"/>
              <a:gd name="connsiteY18" fmla="*/ 139700 h 1704975"/>
              <a:gd name="connsiteX19" fmla="*/ 708700 w 1293444"/>
              <a:gd name="connsiteY19" fmla="*/ 168275 h 1704975"/>
              <a:gd name="connsiteX20" fmla="*/ 718225 w 1293444"/>
              <a:gd name="connsiteY20" fmla="*/ 174625 h 1704975"/>
              <a:gd name="connsiteX21" fmla="*/ 721400 w 1293444"/>
              <a:gd name="connsiteY21" fmla="*/ 184150 h 1704975"/>
              <a:gd name="connsiteX22" fmla="*/ 740450 w 1293444"/>
              <a:gd name="connsiteY22" fmla="*/ 196850 h 1704975"/>
              <a:gd name="connsiteX23" fmla="*/ 753150 w 1293444"/>
              <a:gd name="connsiteY23" fmla="*/ 215900 h 1704975"/>
              <a:gd name="connsiteX24" fmla="*/ 772200 w 1293444"/>
              <a:gd name="connsiteY24" fmla="*/ 231775 h 1704975"/>
              <a:gd name="connsiteX25" fmla="*/ 791250 w 1293444"/>
              <a:gd name="connsiteY25" fmla="*/ 244475 h 1704975"/>
              <a:gd name="connsiteX26" fmla="*/ 800775 w 1293444"/>
              <a:gd name="connsiteY26" fmla="*/ 250825 h 1704975"/>
              <a:gd name="connsiteX27" fmla="*/ 819825 w 1293444"/>
              <a:gd name="connsiteY27" fmla="*/ 257175 h 1704975"/>
              <a:gd name="connsiteX28" fmla="*/ 838875 w 1293444"/>
              <a:gd name="connsiteY28" fmla="*/ 266700 h 1704975"/>
              <a:gd name="connsiteX29" fmla="*/ 857925 w 1293444"/>
              <a:gd name="connsiteY29" fmla="*/ 276225 h 1704975"/>
              <a:gd name="connsiteX30" fmla="*/ 880150 w 1293444"/>
              <a:gd name="connsiteY30" fmla="*/ 269875 h 1704975"/>
              <a:gd name="connsiteX31" fmla="*/ 889675 w 1293444"/>
              <a:gd name="connsiteY31" fmla="*/ 263525 h 1704975"/>
              <a:gd name="connsiteX32" fmla="*/ 921425 w 1293444"/>
              <a:gd name="connsiteY32" fmla="*/ 254000 h 1704975"/>
              <a:gd name="connsiteX33" fmla="*/ 930950 w 1293444"/>
              <a:gd name="connsiteY33" fmla="*/ 250825 h 1704975"/>
              <a:gd name="connsiteX34" fmla="*/ 950000 w 1293444"/>
              <a:gd name="connsiteY34" fmla="*/ 254000 h 1704975"/>
              <a:gd name="connsiteX35" fmla="*/ 953175 w 1293444"/>
              <a:gd name="connsiteY35" fmla="*/ 263525 h 1704975"/>
              <a:gd name="connsiteX36" fmla="*/ 943650 w 1293444"/>
              <a:gd name="connsiteY36" fmla="*/ 317500 h 1704975"/>
              <a:gd name="connsiteX37" fmla="*/ 946825 w 1293444"/>
              <a:gd name="connsiteY37" fmla="*/ 330200 h 1704975"/>
              <a:gd name="connsiteX38" fmla="*/ 965875 w 1293444"/>
              <a:gd name="connsiteY38" fmla="*/ 339725 h 1704975"/>
              <a:gd name="connsiteX39" fmla="*/ 981750 w 1293444"/>
              <a:gd name="connsiteY39" fmla="*/ 336550 h 1704975"/>
              <a:gd name="connsiteX40" fmla="*/ 991275 w 1293444"/>
              <a:gd name="connsiteY40" fmla="*/ 330200 h 1704975"/>
              <a:gd name="connsiteX41" fmla="*/ 1000800 w 1293444"/>
              <a:gd name="connsiteY41" fmla="*/ 327025 h 1704975"/>
              <a:gd name="connsiteX42" fmla="*/ 1010325 w 1293444"/>
              <a:gd name="connsiteY42" fmla="*/ 320675 h 1704975"/>
              <a:gd name="connsiteX43" fmla="*/ 1029375 w 1293444"/>
              <a:gd name="connsiteY43" fmla="*/ 311150 h 1704975"/>
              <a:gd name="connsiteX44" fmla="*/ 1032550 w 1293444"/>
              <a:gd name="connsiteY44" fmla="*/ 301625 h 1704975"/>
              <a:gd name="connsiteX45" fmla="*/ 1026200 w 1293444"/>
              <a:gd name="connsiteY45" fmla="*/ 292100 h 1704975"/>
              <a:gd name="connsiteX46" fmla="*/ 1038900 w 1293444"/>
              <a:gd name="connsiteY46" fmla="*/ 279400 h 1704975"/>
              <a:gd name="connsiteX47" fmla="*/ 1083350 w 1293444"/>
              <a:gd name="connsiteY47" fmla="*/ 282575 h 1704975"/>
              <a:gd name="connsiteX48" fmla="*/ 1096050 w 1293444"/>
              <a:gd name="connsiteY48" fmla="*/ 307975 h 1704975"/>
              <a:gd name="connsiteX49" fmla="*/ 1105575 w 1293444"/>
              <a:gd name="connsiteY49" fmla="*/ 314325 h 1704975"/>
              <a:gd name="connsiteX50" fmla="*/ 1111925 w 1293444"/>
              <a:gd name="connsiteY50" fmla="*/ 327025 h 1704975"/>
              <a:gd name="connsiteX51" fmla="*/ 1134150 w 1293444"/>
              <a:gd name="connsiteY51" fmla="*/ 453979 h 1704975"/>
              <a:gd name="connsiteX52" fmla="*/ 1165900 w 1293444"/>
              <a:gd name="connsiteY52" fmla="*/ 454025 h 1704975"/>
              <a:gd name="connsiteX53" fmla="*/ 1207175 w 1293444"/>
              <a:gd name="connsiteY53" fmla="*/ 457200 h 1704975"/>
              <a:gd name="connsiteX54" fmla="*/ 1216700 w 1293444"/>
              <a:gd name="connsiteY54" fmla="*/ 463550 h 1704975"/>
              <a:gd name="connsiteX55" fmla="*/ 1270675 w 1293444"/>
              <a:gd name="connsiteY55" fmla="*/ 469900 h 1704975"/>
              <a:gd name="connsiteX56" fmla="*/ 1277025 w 1293444"/>
              <a:gd name="connsiteY56" fmla="*/ 479425 h 1704975"/>
              <a:gd name="connsiteX57" fmla="*/ 1273850 w 1293444"/>
              <a:gd name="connsiteY57" fmla="*/ 488950 h 1704975"/>
              <a:gd name="connsiteX58" fmla="*/ 1270675 w 1293444"/>
              <a:gd name="connsiteY58" fmla="*/ 511175 h 1704975"/>
              <a:gd name="connsiteX59" fmla="*/ 1264325 w 1293444"/>
              <a:gd name="connsiteY59" fmla="*/ 530225 h 1704975"/>
              <a:gd name="connsiteX60" fmla="*/ 1261150 w 1293444"/>
              <a:gd name="connsiteY60" fmla="*/ 539750 h 1704975"/>
              <a:gd name="connsiteX61" fmla="*/ 1254800 w 1293444"/>
              <a:gd name="connsiteY61" fmla="*/ 571500 h 1704975"/>
              <a:gd name="connsiteX62" fmla="*/ 1254800 w 1293444"/>
              <a:gd name="connsiteY62" fmla="*/ 692150 h 1704975"/>
              <a:gd name="connsiteX63" fmla="*/ 1257975 w 1293444"/>
              <a:gd name="connsiteY63" fmla="*/ 714375 h 1704975"/>
              <a:gd name="connsiteX64" fmla="*/ 1261150 w 1293444"/>
              <a:gd name="connsiteY64" fmla="*/ 723900 h 1704975"/>
              <a:gd name="connsiteX65" fmla="*/ 1273850 w 1293444"/>
              <a:gd name="connsiteY65" fmla="*/ 727075 h 1704975"/>
              <a:gd name="connsiteX66" fmla="*/ 1292900 w 1293444"/>
              <a:gd name="connsiteY66" fmla="*/ 739775 h 1704975"/>
              <a:gd name="connsiteX67" fmla="*/ 1289725 w 1293444"/>
              <a:gd name="connsiteY67" fmla="*/ 784225 h 1704975"/>
              <a:gd name="connsiteX68" fmla="*/ 1273850 w 1293444"/>
              <a:gd name="connsiteY68" fmla="*/ 800100 h 1704975"/>
              <a:gd name="connsiteX69" fmla="*/ 1264325 w 1293444"/>
              <a:gd name="connsiteY69" fmla="*/ 809625 h 1704975"/>
              <a:gd name="connsiteX70" fmla="*/ 1219875 w 1293444"/>
              <a:gd name="connsiteY70" fmla="*/ 819150 h 1704975"/>
              <a:gd name="connsiteX71" fmla="*/ 1200825 w 1293444"/>
              <a:gd name="connsiteY71" fmla="*/ 825500 h 1704975"/>
              <a:gd name="connsiteX72" fmla="*/ 1181775 w 1293444"/>
              <a:gd name="connsiteY72" fmla="*/ 838200 h 1704975"/>
              <a:gd name="connsiteX73" fmla="*/ 1172250 w 1293444"/>
              <a:gd name="connsiteY73" fmla="*/ 844550 h 1704975"/>
              <a:gd name="connsiteX74" fmla="*/ 1153200 w 1293444"/>
              <a:gd name="connsiteY74" fmla="*/ 850900 h 1704975"/>
              <a:gd name="connsiteX75" fmla="*/ 1140500 w 1293444"/>
              <a:gd name="connsiteY75" fmla="*/ 857250 h 1704975"/>
              <a:gd name="connsiteX76" fmla="*/ 1130975 w 1293444"/>
              <a:gd name="connsiteY76" fmla="*/ 863600 h 1704975"/>
              <a:gd name="connsiteX77" fmla="*/ 1105575 w 1293444"/>
              <a:gd name="connsiteY77" fmla="*/ 866775 h 1704975"/>
              <a:gd name="connsiteX78" fmla="*/ 1086525 w 1293444"/>
              <a:gd name="connsiteY78" fmla="*/ 873125 h 1704975"/>
              <a:gd name="connsiteX79" fmla="*/ 1077000 w 1293444"/>
              <a:gd name="connsiteY79" fmla="*/ 879475 h 1704975"/>
              <a:gd name="connsiteX80" fmla="*/ 1057950 w 1293444"/>
              <a:gd name="connsiteY80" fmla="*/ 885825 h 1704975"/>
              <a:gd name="connsiteX81" fmla="*/ 1048425 w 1293444"/>
              <a:gd name="connsiteY81" fmla="*/ 889000 h 1704975"/>
              <a:gd name="connsiteX82" fmla="*/ 1029375 w 1293444"/>
              <a:gd name="connsiteY82" fmla="*/ 908050 h 1704975"/>
              <a:gd name="connsiteX83" fmla="*/ 1010325 w 1293444"/>
              <a:gd name="connsiteY83" fmla="*/ 914400 h 1704975"/>
              <a:gd name="connsiteX84" fmla="*/ 1003975 w 1293444"/>
              <a:gd name="connsiteY84" fmla="*/ 923925 h 1704975"/>
              <a:gd name="connsiteX85" fmla="*/ 994450 w 1293444"/>
              <a:gd name="connsiteY85" fmla="*/ 933450 h 1704975"/>
              <a:gd name="connsiteX86" fmla="*/ 991275 w 1293444"/>
              <a:gd name="connsiteY86" fmla="*/ 942975 h 1704975"/>
              <a:gd name="connsiteX87" fmla="*/ 988100 w 1293444"/>
              <a:gd name="connsiteY87" fmla="*/ 962025 h 1704975"/>
              <a:gd name="connsiteX88" fmla="*/ 969050 w 1293444"/>
              <a:gd name="connsiteY88" fmla="*/ 968375 h 1704975"/>
              <a:gd name="connsiteX89" fmla="*/ 950000 w 1293444"/>
              <a:gd name="connsiteY89" fmla="*/ 981075 h 1704975"/>
              <a:gd name="connsiteX90" fmla="*/ 940475 w 1293444"/>
              <a:gd name="connsiteY90" fmla="*/ 987425 h 1704975"/>
              <a:gd name="connsiteX91" fmla="*/ 930950 w 1293444"/>
              <a:gd name="connsiteY91" fmla="*/ 1006475 h 1704975"/>
              <a:gd name="connsiteX92" fmla="*/ 924600 w 1293444"/>
              <a:gd name="connsiteY92" fmla="*/ 1016000 h 1704975"/>
              <a:gd name="connsiteX93" fmla="*/ 921425 w 1293444"/>
              <a:gd name="connsiteY93" fmla="*/ 1025525 h 1704975"/>
              <a:gd name="connsiteX94" fmla="*/ 905550 w 1293444"/>
              <a:gd name="connsiteY94" fmla="*/ 1044575 h 1704975"/>
              <a:gd name="connsiteX95" fmla="*/ 896025 w 1293444"/>
              <a:gd name="connsiteY95" fmla="*/ 1063625 h 1704975"/>
              <a:gd name="connsiteX96" fmla="*/ 867450 w 1293444"/>
              <a:gd name="connsiteY96" fmla="*/ 1085850 h 1704975"/>
              <a:gd name="connsiteX97" fmla="*/ 848400 w 1293444"/>
              <a:gd name="connsiteY97" fmla="*/ 1095375 h 1704975"/>
              <a:gd name="connsiteX98" fmla="*/ 813475 w 1293444"/>
              <a:gd name="connsiteY98" fmla="*/ 1092200 h 1704975"/>
              <a:gd name="connsiteX99" fmla="*/ 772200 w 1293444"/>
              <a:gd name="connsiteY99" fmla="*/ 1098550 h 1704975"/>
              <a:gd name="connsiteX100" fmla="*/ 759500 w 1293444"/>
              <a:gd name="connsiteY100" fmla="*/ 1127125 h 1704975"/>
              <a:gd name="connsiteX101" fmla="*/ 756325 w 1293444"/>
              <a:gd name="connsiteY101" fmla="*/ 1136650 h 1704975"/>
              <a:gd name="connsiteX102" fmla="*/ 740450 w 1293444"/>
              <a:gd name="connsiteY102" fmla="*/ 1155700 h 1704975"/>
              <a:gd name="connsiteX103" fmla="*/ 718225 w 1293444"/>
              <a:gd name="connsiteY103" fmla="*/ 1181100 h 1704975"/>
              <a:gd name="connsiteX104" fmla="*/ 721400 w 1293444"/>
              <a:gd name="connsiteY104" fmla="*/ 1238250 h 1704975"/>
              <a:gd name="connsiteX105" fmla="*/ 727750 w 1293444"/>
              <a:gd name="connsiteY105" fmla="*/ 1247775 h 1704975"/>
              <a:gd name="connsiteX106" fmla="*/ 730925 w 1293444"/>
              <a:gd name="connsiteY106" fmla="*/ 1257300 h 1704975"/>
              <a:gd name="connsiteX107" fmla="*/ 740450 w 1293444"/>
              <a:gd name="connsiteY107" fmla="*/ 1276350 h 1704975"/>
              <a:gd name="connsiteX108" fmla="*/ 769025 w 1293444"/>
              <a:gd name="connsiteY108" fmla="*/ 1393825 h 1704975"/>
              <a:gd name="connsiteX109" fmla="*/ 775375 w 1293444"/>
              <a:gd name="connsiteY109" fmla="*/ 1412875 h 1704975"/>
              <a:gd name="connsiteX110" fmla="*/ 781725 w 1293444"/>
              <a:gd name="connsiteY110" fmla="*/ 1435100 h 1704975"/>
              <a:gd name="connsiteX111" fmla="*/ 772200 w 1293444"/>
              <a:gd name="connsiteY111" fmla="*/ 1460500 h 1704975"/>
              <a:gd name="connsiteX112" fmla="*/ 762675 w 1293444"/>
              <a:gd name="connsiteY112" fmla="*/ 1466850 h 1704975"/>
              <a:gd name="connsiteX113" fmla="*/ 753150 w 1293444"/>
              <a:gd name="connsiteY113" fmla="*/ 1485900 h 1704975"/>
              <a:gd name="connsiteX114" fmla="*/ 730925 w 1293444"/>
              <a:gd name="connsiteY114" fmla="*/ 1530350 h 1704975"/>
              <a:gd name="connsiteX115" fmla="*/ 718225 w 1293444"/>
              <a:gd name="connsiteY115" fmla="*/ 1549400 h 1704975"/>
              <a:gd name="connsiteX116" fmla="*/ 711875 w 1293444"/>
              <a:gd name="connsiteY116" fmla="*/ 1558925 h 1704975"/>
              <a:gd name="connsiteX117" fmla="*/ 702350 w 1293444"/>
              <a:gd name="connsiteY117" fmla="*/ 1568450 h 1704975"/>
              <a:gd name="connsiteX118" fmla="*/ 699175 w 1293444"/>
              <a:gd name="connsiteY118" fmla="*/ 1577975 h 1704975"/>
              <a:gd name="connsiteX119" fmla="*/ 686475 w 1293444"/>
              <a:gd name="connsiteY119" fmla="*/ 1597025 h 1704975"/>
              <a:gd name="connsiteX120" fmla="*/ 648375 w 1293444"/>
              <a:gd name="connsiteY120" fmla="*/ 1631950 h 1704975"/>
              <a:gd name="connsiteX121" fmla="*/ 638850 w 1293444"/>
              <a:gd name="connsiteY121" fmla="*/ 1638300 h 1704975"/>
              <a:gd name="connsiteX122" fmla="*/ 607100 w 1293444"/>
              <a:gd name="connsiteY122" fmla="*/ 1676400 h 1704975"/>
              <a:gd name="connsiteX123" fmla="*/ 556300 w 1293444"/>
              <a:gd name="connsiteY123" fmla="*/ 1679575 h 1704975"/>
              <a:gd name="connsiteX124" fmla="*/ 537250 w 1293444"/>
              <a:gd name="connsiteY124" fmla="*/ 1685925 h 1704975"/>
              <a:gd name="connsiteX125" fmla="*/ 515025 w 1293444"/>
              <a:gd name="connsiteY125" fmla="*/ 1698625 h 1704975"/>
              <a:gd name="connsiteX126" fmla="*/ 495975 w 1293444"/>
              <a:gd name="connsiteY126" fmla="*/ 1704975 h 1704975"/>
              <a:gd name="connsiteX127" fmla="*/ 476925 w 1293444"/>
              <a:gd name="connsiteY127" fmla="*/ 1701800 h 1704975"/>
              <a:gd name="connsiteX128" fmla="*/ 470575 w 1293444"/>
              <a:gd name="connsiteY128" fmla="*/ 1692275 h 1704975"/>
              <a:gd name="connsiteX129" fmla="*/ 467400 w 1293444"/>
              <a:gd name="connsiteY129" fmla="*/ 1660525 h 1704975"/>
              <a:gd name="connsiteX130" fmla="*/ 457875 w 1293444"/>
              <a:gd name="connsiteY130" fmla="*/ 1641475 h 1704975"/>
              <a:gd name="connsiteX131" fmla="*/ 432475 w 1293444"/>
              <a:gd name="connsiteY131" fmla="*/ 1495425 h 1704975"/>
              <a:gd name="connsiteX132" fmla="*/ 429300 w 1293444"/>
              <a:gd name="connsiteY132" fmla="*/ 1485900 h 1704975"/>
              <a:gd name="connsiteX133" fmla="*/ 426125 w 1293444"/>
              <a:gd name="connsiteY133" fmla="*/ 1473200 h 1704975"/>
              <a:gd name="connsiteX134" fmla="*/ 419775 w 1293444"/>
              <a:gd name="connsiteY134" fmla="*/ 1463675 h 1704975"/>
              <a:gd name="connsiteX135" fmla="*/ 416600 w 1293444"/>
              <a:gd name="connsiteY135" fmla="*/ 1454150 h 1704975"/>
              <a:gd name="connsiteX136" fmla="*/ 394375 w 1293444"/>
              <a:gd name="connsiteY136" fmla="*/ 1381125 h 1704975"/>
              <a:gd name="connsiteX137" fmla="*/ 391200 w 1293444"/>
              <a:gd name="connsiteY137" fmla="*/ 1368425 h 1704975"/>
              <a:gd name="connsiteX138" fmla="*/ 388025 w 1293444"/>
              <a:gd name="connsiteY138" fmla="*/ 1352550 h 1704975"/>
              <a:gd name="connsiteX139" fmla="*/ 381675 w 1293444"/>
              <a:gd name="connsiteY139" fmla="*/ 1333500 h 1704975"/>
              <a:gd name="connsiteX140" fmla="*/ 378500 w 1293444"/>
              <a:gd name="connsiteY140" fmla="*/ 1323975 h 1704975"/>
              <a:gd name="connsiteX141" fmla="*/ 375325 w 1293444"/>
              <a:gd name="connsiteY141" fmla="*/ 1308100 h 1704975"/>
              <a:gd name="connsiteX142" fmla="*/ 368975 w 1293444"/>
              <a:gd name="connsiteY142" fmla="*/ 1289050 h 1704975"/>
              <a:gd name="connsiteX143" fmla="*/ 362625 w 1293444"/>
              <a:gd name="connsiteY143" fmla="*/ 1260475 h 1704975"/>
              <a:gd name="connsiteX144" fmla="*/ 359450 w 1293444"/>
              <a:gd name="connsiteY144" fmla="*/ 1231900 h 1704975"/>
              <a:gd name="connsiteX145" fmla="*/ 349925 w 1293444"/>
              <a:gd name="connsiteY145" fmla="*/ 1196975 h 1704975"/>
              <a:gd name="connsiteX146" fmla="*/ 340400 w 1293444"/>
              <a:gd name="connsiteY146" fmla="*/ 1155700 h 1704975"/>
              <a:gd name="connsiteX147" fmla="*/ 334050 w 1293444"/>
              <a:gd name="connsiteY147" fmla="*/ 1130300 h 1704975"/>
              <a:gd name="connsiteX148" fmla="*/ 327700 w 1293444"/>
              <a:gd name="connsiteY148" fmla="*/ 1104900 h 1704975"/>
              <a:gd name="connsiteX149" fmla="*/ 324525 w 1293444"/>
              <a:gd name="connsiteY149" fmla="*/ 1092200 h 1704975"/>
              <a:gd name="connsiteX150" fmla="*/ 318175 w 1293444"/>
              <a:gd name="connsiteY150" fmla="*/ 1050925 h 1704975"/>
              <a:gd name="connsiteX151" fmla="*/ 315000 w 1293444"/>
              <a:gd name="connsiteY151" fmla="*/ 1031875 h 1704975"/>
              <a:gd name="connsiteX152" fmla="*/ 311825 w 1293444"/>
              <a:gd name="connsiteY152" fmla="*/ 1022350 h 1704975"/>
              <a:gd name="connsiteX153" fmla="*/ 308650 w 1293444"/>
              <a:gd name="connsiteY153" fmla="*/ 1006475 h 1704975"/>
              <a:gd name="connsiteX154" fmla="*/ 302300 w 1293444"/>
              <a:gd name="connsiteY154" fmla="*/ 987425 h 1704975"/>
              <a:gd name="connsiteX155" fmla="*/ 299125 w 1293444"/>
              <a:gd name="connsiteY155" fmla="*/ 974725 h 1704975"/>
              <a:gd name="connsiteX156" fmla="*/ 292775 w 1293444"/>
              <a:gd name="connsiteY156" fmla="*/ 955675 h 1704975"/>
              <a:gd name="connsiteX157" fmla="*/ 289600 w 1293444"/>
              <a:gd name="connsiteY157" fmla="*/ 946150 h 1704975"/>
              <a:gd name="connsiteX158" fmla="*/ 280075 w 1293444"/>
              <a:gd name="connsiteY158" fmla="*/ 923925 h 1704975"/>
              <a:gd name="connsiteX159" fmla="*/ 261025 w 1293444"/>
              <a:gd name="connsiteY159" fmla="*/ 908050 h 1704975"/>
              <a:gd name="connsiteX160" fmla="*/ 241975 w 1293444"/>
              <a:gd name="connsiteY160" fmla="*/ 901700 h 1704975"/>
              <a:gd name="connsiteX161" fmla="*/ 222925 w 1293444"/>
              <a:gd name="connsiteY161" fmla="*/ 889000 h 1704975"/>
              <a:gd name="connsiteX162" fmla="*/ 213400 w 1293444"/>
              <a:gd name="connsiteY162" fmla="*/ 885825 h 1704975"/>
              <a:gd name="connsiteX163" fmla="*/ 194350 w 1293444"/>
              <a:gd name="connsiteY163" fmla="*/ 873125 h 1704975"/>
              <a:gd name="connsiteX164" fmla="*/ 175300 w 1293444"/>
              <a:gd name="connsiteY164" fmla="*/ 860425 h 1704975"/>
              <a:gd name="connsiteX165" fmla="*/ 162600 w 1293444"/>
              <a:gd name="connsiteY165" fmla="*/ 850900 h 1704975"/>
              <a:gd name="connsiteX166" fmla="*/ 153075 w 1293444"/>
              <a:gd name="connsiteY166" fmla="*/ 847725 h 1704975"/>
              <a:gd name="connsiteX167" fmla="*/ 134025 w 1293444"/>
              <a:gd name="connsiteY167" fmla="*/ 835025 h 1704975"/>
              <a:gd name="connsiteX168" fmla="*/ 114975 w 1293444"/>
              <a:gd name="connsiteY168" fmla="*/ 822325 h 1704975"/>
              <a:gd name="connsiteX169" fmla="*/ 105450 w 1293444"/>
              <a:gd name="connsiteY169" fmla="*/ 815975 h 1704975"/>
              <a:gd name="connsiteX170" fmla="*/ 95925 w 1293444"/>
              <a:gd name="connsiteY170" fmla="*/ 812800 h 1704975"/>
              <a:gd name="connsiteX171" fmla="*/ 64175 w 1293444"/>
              <a:gd name="connsiteY171" fmla="*/ 790575 h 1704975"/>
              <a:gd name="connsiteX172" fmla="*/ 54650 w 1293444"/>
              <a:gd name="connsiteY172" fmla="*/ 787400 h 1704975"/>
              <a:gd name="connsiteX173" fmla="*/ 38775 w 1293444"/>
              <a:gd name="connsiteY173" fmla="*/ 771525 h 1704975"/>
              <a:gd name="connsiteX174" fmla="*/ 29250 w 1293444"/>
              <a:gd name="connsiteY174" fmla="*/ 762000 h 1704975"/>
              <a:gd name="connsiteX175" fmla="*/ 19725 w 1293444"/>
              <a:gd name="connsiteY175" fmla="*/ 758825 h 1704975"/>
              <a:gd name="connsiteX176" fmla="*/ 675 w 1293444"/>
              <a:gd name="connsiteY176" fmla="*/ 746125 h 1704975"/>
              <a:gd name="connsiteX177" fmla="*/ 51475 w 1293444"/>
              <a:gd name="connsiteY177" fmla="*/ 739775 h 1704975"/>
              <a:gd name="connsiteX178" fmla="*/ 67350 w 1293444"/>
              <a:gd name="connsiteY178" fmla="*/ 736600 h 1704975"/>
              <a:gd name="connsiteX179" fmla="*/ 102275 w 1293444"/>
              <a:gd name="connsiteY179" fmla="*/ 733425 h 1704975"/>
              <a:gd name="connsiteX180" fmla="*/ 130850 w 1293444"/>
              <a:gd name="connsiteY180" fmla="*/ 727075 h 1704975"/>
              <a:gd name="connsiteX181" fmla="*/ 149900 w 1293444"/>
              <a:gd name="connsiteY181" fmla="*/ 723900 h 1704975"/>
              <a:gd name="connsiteX182" fmla="*/ 159425 w 1293444"/>
              <a:gd name="connsiteY182" fmla="*/ 720725 h 1704975"/>
              <a:gd name="connsiteX183" fmla="*/ 175300 w 1293444"/>
              <a:gd name="connsiteY183" fmla="*/ 717550 h 1704975"/>
              <a:gd name="connsiteX184" fmla="*/ 194350 w 1293444"/>
              <a:gd name="connsiteY184" fmla="*/ 711200 h 1704975"/>
              <a:gd name="connsiteX185" fmla="*/ 222925 w 1293444"/>
              <a:gd name="connsiteY185" fmla="*/ 701675 h 1704975"/>
              <a:gd name="connsiteX186" fmla="*/ 232450 w 1293444"/>
              <a:gd name="connsiteY186" fmla="*/ 698500 h 1704975"/>
              <a:gd name="connsiteX187" fmla="*/ 241975 w 1293444"/>
              <a:gd name="connsiteY187" fmla="*/ 695325 h 1704975"/>
              <a:gd name="connsiteX188" fmla="*/ 381675 w 1293444"/>
              <a:gd name="connsiteY188" fmla="*/ 688975 h 1704975"/>
              <a:gd name="connsiteX189" fmla="*/ 397550 w 1293444"/>
              <a:gd name="connsiteY189" fmla="*/ 685800 h 1704975"/>
              <a:gd name="connsiteX190" fmla="*/ 407075 w 1293444"/>
              <a:gd name="connsiteY190" fmla="*/ 682625 h 1704975"/>
              <a:gd name="connsiteX191" fmla="*/ 419775 w 1293444"/>
              <a:gd name="connsiteY191" fmla="*/ 679450 h 1704975"/>
              <a:gd name="connsiteX192" fmla="*/ 438825 w 1293444"/>
              <a:gd name="connsiteY192" fmla="*/ 673100 h 1704975"/>
              <a:gd name="connsiteX193" fmla="*/ 467400 w 1293444"/>
              <a:gd name="connsiteY193" fmla="*/ 663575 h 1704975"/>
              <a:gd name="connsiteX194" fmla="*/ 495975 w 1293444"/>
              <a:gd name="connsiteY194" fmla="*/ 654050 h 1704975"/>
              <a:gd name="connsiteX195" fmla="*/ 505500 w 1293444"/>
              <a:gd name="connsiteY195" fmla="*/ 650875 h 1704975"/>
              <a:gd name="connsiteX196" fmla="*/ 527725 w 1293444"/>
              <a:gd name="connsiteY196" fmla="*/ 641350 h 1704975"/>
              <a:gd name="connsiteX197" fmla="*/ 537250 w 1293444"/>
              <a:gd name="connsiteY197" fmla="*/ 635000 h 1704975"/>
              <a:gd name="connsiteX198" fmla="*/ 546775 w 1293444"/>
              <a:gd name="connsiteY198" fmla="*/ 631825 h 1704975"/>
              <a:gd name="connsiteX199" fmla="*/ 559475 w 1293444"/>
              <a:gd name="connsiteY199" fmla="*/ 625475 h 1704975"/>
              <a:gd name="connsiteX200" fmla="*/ 578525 w 1293444"/>
              <a:gd name="connsiteY200" fmla="*/ 657225 h 1704975"/>
              <a:gd name="connsiteX201" fmla="*/ 588050 w 1293444"/>
              <a:gd name="connsiteY201" fmla="*/ 660400 h 1704975"/>
              <a:gd name="connsiteX202" fmla="*/ 607100 w 1293444"/>
              <a:gd name="connsiteY202" fmla="*/ 673100 h 1704975"/>
              <a:gd name="connsiteX203" fmla="*/ 626150 w 1293444"/>
              <a:gd name="connsiteY203" fmla="*/ 679450 h 1704975"/>
              <a:gd name="connsiteX204" fmla="*/ 635675 w 1293444"/>
              <a:gd name="connsiteY204" fmla="*/ 685800 h 1704975"/>
              <a:gd name="connsiteX205" fmla="*/ 654725 w 1293444"/>
              <a:gd name="connsiteY205" fmla="*/ 692150 h 1704975"/>
              <a:gd name="connsiteX206" fmla="*/ 635675 w 1293444"/>
              <a:gd name="connsiteY206" fmla="*/ 676275 h 1704975"/>
              <a:gd name="connsiteX207" fmla="*/ 632500 w 1293444"/>
              <a:gd name="connsiteY207" fmla="*/ 666750 h 1704975"/>
              <a:gd name="connsiteX208" fmla="*/ 635675 w 1293444"/>
              <a:gd name="connsiteY208" fmla="*/ 590550 h 1704975"/>
              <a:gd name="connsiteX209" fmla="*/ 642025 w 1293444"/>
              <a:gd name="connsiteY209" fmla="*/ 571500 h 1704975"/>
              <a:gd name="connsiteX210" fmla="*/ 648375 w 1293444"/>
              <a:gd name="connsiteY210" fmla="*/ 561975 h 1704975"/>
              <a:gd name="connsiteX211" fmla="*/ 638850 w 1293444"/>
              <a:gd name="connsiteY211" fmla="*/ 536575 h 1704975"/>
              <a:gd name="connsiteX212" fmla="*/ 629325 w 1293444"/>
              <a:gd name="connsiteY212" fmla="*/ 533400 h 1704975"/>
              <a:gd name="connsiteX213" fmla="*/ 626150 w 1293444"/>
              <a:gd name="connsiteY213" fmla="*/ 523875 h 1704975"/>
              <a:gd name="connsiteX214" fmla="*/ 632500 w 1293444"/>
              <a:gd name="connsiteY214" fmla="*/ 498475 h 1704975"/>
              <a:gd name="connsiteX215" fmla="*/ 635675 w 1293444"/>
              <a:gd name="connsiteY215" fmla="*/ 485775 h 1704975"/>
              <a:gd name="connsiteX216" fmla="*/ 626150 w 1293444"/>
              <a:gd name="connsiteY216" fmla="*/ 463550 h 1704975"/>
              <a:gd name="connsiteX217" fmla="*/ 616625 w 1293444"/>
              <a:gd name="connsiteY217" fmla="*/ 460375 h 1704975"/>
              <a:gd name="connsiteX218" fmla="*/ 607100 w 1293444"/>
              <a:gd name="connsiteY218" fmla="*/ 454025 h 1704975"/>
              <a:gd name="connsiteX219" fmla="*/ 591225 w 1293444"/>
              <a:gd name="connsiteY219" fmla="*/ 450850 h 1704975"/>
              <a:gd name="connsiteX220" fmla="*/ 569000 w 1293444"/>
              <a:gd name="connsiteY220" fmla="*/ 441325 h 1704975"/>
              <a:gd name="connsiteX221" fmla="*/ 546775 w 1293444"/>
              <a:gd name="connsiteY221" fmla="*/ 415925 h 1704975"/>
              <a:gd name="connsiteX222" fmla="*/ 540425 w 1293444"/>
              <a:gd name="connsiteY222" fmla="*/ 406400 h 1704975"/>
              <a:gd name="connsiteX223" fmla="*/ 530900 w 1293444"/>
              <a:gd name="connsiteY223" fmla="*/ 400050 h 1704975"/>
              <a:gd name="connsiteX224" fmla="*/ 508675 w 1293444"/>
              <a:gd name="connsiteY224" fmla="*/ 374650 h 1704975"/>
              <a:gd name="connsiteX225" fmla="*/ 502325 w 1293444"/>
              <a:gd name="connsiteY225" fmla="*/ 365125 h 1704975"/>
              <a:gd name="connsiteX226" fmla="*/ 483275 w 1293444"/>
              <a:gd name="connsiteY226" fmla="*/ 346075 h 1704975"/>
              <a:gd name="connsiteX227" fmla="*/ 486450 w 1293444"/>
              <a:gd name="connsiteY227" fmla="*/ 333375 h 1704975"/>
              <a:gd name="connsiteX228" fmla="*/ 492800 w 1293444"/>
              <a:gd name="connsiteY228" fmla="*/ 314325 h 1704975"/>
              <a:gd name="connsiteX229" fmla="*/ 489625 w 1293444"/>
              <a:gd name="connsiteY229" fmla="*/ 292100 h 1704975"/>
              <a:gd name="connsiteX230" fmla="*/ 461050 w 1293444"/>
              <a:gd name="connsiteY230" fmla="*/ 266700 h 1704975"/>
              <a:gd name="connsiteX231" fmla="*/ 435650 w 1293444"/>
              <a:gd name="connsiteY231" fmla="*/ 254000 h 1704975"/>
              <a:gd name="connsiteX232" fmla="*/ 413425 w 1293444"/>
              <a:gd name="connsiteY232" fmla="*/ 238125 h 1704975"/>
              <a:gd name="connsiteX233" fmla="*/ 403900 w 1293444"/>
              <a:gd name="connsiteY233" fmla="*/ 231775 h 1704975"/>
              <a:gd name="connsiteX234" fmla="*/ 362625 w 1293444"/>
              <a:gd name="connsiteY234" fmla="*/ 114300 h 1704975"/>
              <a:gd name="connsiteX235" fmla="*/ 368975 w 1293444"/>
              <a:gd name="connsiteY235" fmla="*/ 104775 h 1704975"/>
              <a:gd name="connsiteX236" fmla="*/ 375325 w 1293444"/>
              <a:gd name="connsiteY236" fmla="*/ 38100 h 170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Lst>
            <a:rect l="l" t="t" r="r" b="b"/>
            <a:pathLst>
              <a:path w="1293444" h="1704975">
                <a:moveTo>
                  <a:pt x="375325" y="38100"/>
                </a:moveTo>
                <a:cubicBezTo>
                  <a:pt x="382204" y="25400"/>
                  <a:pt x="388166" y="23054"/>
                  <a:pt x="410250" y="28575"/>
                </a:cubicBezTo>
                <a:cubicBezTo>
                  <a:pt x="413497" y="29387"/>
                  <a:pt x="416600" y="30692"/>
                  <a:pt x="419775" y="31750"/>
                </a:cubicBezTo>
                <a:cubicBezTo>
                  <a:pt x="434592" y="30692"/>
                  <a:pt x="449814" y="32178"/>
                  <a:pt x="464225" y="28575"/>
                </a:cubicBezTo>
                <a:cubicBezTo>
                  <a:pt x="471629" y="26724"/>
                  <a:pt x="476035" y="18288"/>
                  <a:pt x="483275" y="15875"/>
                </a:cubicBezTo>
                <a:lnTo>
                  <a:pt x="502325" y="9525"/>
                </a:lnTo>
                <a:lnTo>
                  <a:pt x="502325" y="9525"/>
                </a:lnTo>
                <a:cubicBezTo>
                  <a:pt x="507617" y="8467"/>
                  <a:pt x="512994" y="7770"/>
                  <a:pt x="518200" y="6350"/>
                </a:cubicBezTo>
                <a:cubicBezTo>
                  <a:pt x="524658" y="4589"/>
                  <a:pt x="537250" y="0"/>
                  <a:pt x="537250" y="0"/>
                </a:cubicBezTo>
                <a:cubicBezTo>
                  <a:pt x="541483" y="6350"/>
                  <a:pt x="542710" y="16637"/>
                  <a:pt x="549950" y="19050"/>
                </a:cubicBezTo>
                <a:cubicBezTo>
                  <a:pt x="565779" y="24326"/>
                  <a:pt x="567305" y="25376"/>
                  <a:pt x="581700" y="28575"/>
                </a:cubicBezTo>
                <a:cubicBezTo>
                  <a:pt x="586968" y="29746"/>
                  <a:pt x="592369" y="30330"/>
                  <a:pt x="597575" y="31750"/>
                </a:cubicBezTo>
                <a:cubicBezTo>
                  <a:pt x="604033" y="33511"/>
                  <a:pt x="616625" y="38100"/>
                  <a:pt x="616625" y="38100"/>
                </a:cubicBezTo>
                <a:cubicBezTo>
                  <a:pt x="624641" y="62149"/>
                  <a:pt x="613375" y="38079"/>
                  <a:pt x="657900" y="50800"/>
                </a:cubicBezTo>
                <a:cubicBezTo>
                  <a:pt x="662435" y="52096"/>
                  <a:pt x="666263" y="66365"/>
                  <a:pt x="667425" y="69850"/>
                </a:cubicBezTo>
                <a:cubicBezTo>
                  <a:pt x="668483" y="81492"/>
                  <a:pt x="668947" y="93203"/>
                  <a:pt x="670600" y="104775"/>
                </a:cubicBezTo>
                <a:cubicBezTo>
                  <a:pt x="671073" y="108088"/>
                  <a:pt x="671684" y="111687"/>
                  <a:pt x="673775" y="114300"/>
                </a:cubicBezTo>
                <a:cubicBezTo>
                  <a:pt x="676159" y="117280"/>
                  <a:pt x="680125" y="118533"/>
                  <a:pt x="683300" y="120650"/>
                </a:cubicBezTo>
                <a:cubicBezTo>
                  <a:pt x="687533" y="127000"/>
                  <a:pt x="693587" y="132460"/>
                  <a:pt x="696000" y="139700"/>
                </a:cubicBezTo>
                <a:cubicBezTo>
                  <a:pt x="699144" y="149131"/>
                  <a:pt x="701153" y="160728"/>
                  <a:pt x="708700" y="168275"/>
                </a:cubicBezTo>
                <a:cubicBezTo>
                  <a:pt x="711398" y="170973"/>
                  <a:pt x="715050" y="172508"/>
                  <a:pt x="718225" y="174625"/>
                </a:cubicBezTo>
                <a:cubicBezTo>
                  <a:pt x="719283" y="177800"/>
                  <a:pt x="719033" y="181783"/>
                  <a:pt x="721400" y="184150"/>
                </a:cubicBezTo>
                <a:cubicBezTo>
                  <a:pt x="726796" y="189546"/>
                  <a:pt x="740450" y="196850"/>
                  <a:pt x="740450" y="196850"/>
                </a:cubicBezTo>
                <a:cubicBezTo>
                  <a:pt x="744683" y="203200"/>
                  <a:pt x="746800" y="211667"/>
                  <a:pt x="753150" y="215900"/>
                </a:cubicBezTo>
                <a:cubicBezTo>
                  <a:pt x="787187" y="238591"/>
                  <a:pt x="735530" y="203254"/>
                  <a:pt x="772200" y="231775"/>
                </a:cubicBezTo>
                <a:cubicBezTo>
                  <a:pt x="778224" y="236460"/>
                  <a:pt x="784900" y="240242"/>
                  <a:pt x="791250" y="244475"/>
                </a:cubicBezTo>
                <a:cubicBezTo>
                  <a:pt x="794425" y="246592"/>
                  <a:pt x="797155" y="249618"/>
                  <a:pt x="800775" y="250825"/>
                </a:cubicBezTo>
                <a:cubicBezTo>
                  <a:pt x="807125" y="252942"/>
                  <a:pt x="814256" y="253462"/>
                  <a:pt x="819825" y="257175"/>
                </a:cubicBezTo>
                <a:cubicBezTo>
                  <a:pt x="847122" y="275373"/>
                  <a:pt x="812585" y="253555"/>
                  <a:pt x="838875" y="266700"/>
                </a:cubicBezTo>
                <a:cubicBezTo>
                  <a:pt x="863494" y="279010"/>
                  <a:pt x="833984" y="268245"/>
                  <a:pt x="857925" y="276225"/>
                </a:cubicBezTo>
                <a:cubicBezTo>
                  <a:pt x="861994" y="275208"/>
                  <a:pt x="875595" y="272152"/>
                  <a:pt x="880150" y="269875"/>
                </a:cubicBezTo>
                <a:cubicBezTo>
                  <a:pt x="883563" y="268168"/>
                  <a:pt x="886188" y="265075"/>
                  <a:pt x="889675" y="263525"/>
                </a:cubicBezTo>
                <a:cubicBezTo>
                  <a:pt x="903256" y="257489"/>
                  <a:pt x="908495" y="257694"/>
                  <a:pt x="921425" y="254000"/>
                </a:cubicBezTo>
                <a:cubicBezTo>
                  <a:pt x="924643" y="253081"/>
                  <a:pt x="927775" y="251883"/>
                  <a:pt x="930950" y="250825"/>
                </a:cubicBezTo>
                <a:cubicBezTo>
                  <a:pt x="937300" y="251883"/>
                  <a:pt x="944411" y="250806"/>
                  <a:pt x="950000" y="254000"/>
                </a:cubicBezTo>
                <a:cubicBezTo>
                  <a:pt x="952906" y="255660"/>
                  <a:pt x="953175" y="260178"/>
                  <a:pt x="953175" y="263525"/>
                </a:cubicBezTo>
                <a:cubicBezTo>
                  <a:pt x="953175" y="306611"/>
                  <a:pt x="957354" y="296944"/>
                  <a:pt x="943650" y="317500"/>
                </a:cubicBezTo>
                <a:cubicBezTo>
                  <a:pt x="944708" y="321733"/>
                  <a:pt x="944404" y="326569"/>
                  <a:pt x="946825" y="330200"/>
                </a:cubicBezTo>
                <a:cubicBezTo>
                  <a:pt x="950342" y="335476"/>
                  <a:pt x="960442" y="337914"/>
                  <a:pt x="965875" y="339725"/>
                </a:cubicBezTo>
                <a:cubicBezTo>
                  <a:pt x="971167" y="338667"/>
                  <a:pt x="976697" y="338445"/>
                  <a:pt x="981750" y="336550"/>
                </a:cubicBezTo>
                <a:cubicBezTo>
                  <a:pt x="985323" y="335210"/>
                  <a:pt x="987862" y="331907"/>
                  <a:pt x="991275" y="330200"/>
                </a:cubicBezTo>
                <a:cubicBezTo>
                  <a:pt x="994268" y="328703"/>
                  <a:pt x="997807" y="328522"/>
                  <a:pt x="1000800" y="327025"/>
                </a:cubicBezTo>
                <a:cubicBezTo>
                  <a:pt x="1004213" y="325318"/>
                  <a:pt x="1006912" y="322382"/>
                  <a:pt x="1010325" y="320675"/>
                </a:cubicBezTo>
                <a:cubicBezTo>
                  <a:pt x="1036615" y="307530"/>
                  <a:pt x="1002078" y="329348"/>
                  <a:pt x="1029375" y="311150"/>
                </a:cubicBezTo>
                <a:cubicBezTo>
                  <a:pt x="1030433" y="307975"/>
                  <a:pt x="1033100" y="304926"/>
                  <a:pt x="1032550" y="301625"/>
                </a:cubicBezTo>
                <a:cubicBezTo>
                  <a:pt x="1031923" y="297861"/>
                  <a:pt x="1026827" y="295864"/>
                  <a:pt x="1026200" y="292100"/>
                </a:cubicBezTo>
                <a:cubicBezTo>
                  <a:pt x="1024418" y="281405"/>
                  <a:pt x="1032216" y="281628"/>
                  <a:pt x="1038900" y="279400"/>
                </a:cubicBezTo>
                <a:cubicBezTo>
                  <a:pt x="1053717" y="280458"/>
                  <a:pt x="1068890" y="279173"/>
                  <a:pt x="1083350" y="282575"/>
                </a:cubicBezTo>
                <a:cubicBezTo>
                  <a:pt x="1097196" y="285833"/>
                  <a:pt x="1091387" y="299815"/>
                  <a:pt x="1096050" y="307975"/>
                </a:cubicBezTo>
                <a:cubicBezTo>
                  <a:pt x="1097943" y="311288"/>
                  <a:pt x="1102400" y="312208"/>
                  <a:pt x="1105575" y="314325"/>
                </a:cubicBezTo>
                <a:cubicBezTo>
                  <a:pt x="1107692" y="318558"/>
                  <a:pt x="1110049" y="322680"/>
                  <a:pt x="1111925" y="327025"/>
                </a:cubicBezTo>
                <a:cubicBezTo>
                  <a:pt x="1116687" y="338667"/>
                  <a:pt x="1083103" y="380433"/>
                  <a:pt x="1134150" y="453979"/>
                </a:cubicBezTo>
                <a:cubicBezTo>
                  <a:pt x="1165900" y="464032"/>
                  <a:pt x="1153729" y="441854"/>
                  <a:pt x="1165900" y="454025"/>
                </a:cubicBezTo>
                <a:cubicBezTo>
                  <a:pt x="1174048" y="465161"/>
                  <a:pt x="1193417" y="456142"/>
                  <a:pt x="1207175" y="457200"/>
                </a:cubicBezTo>
                <a:cubicBezTo>
                  <a:pt x="1210350" y="459317"/>
                  <a:pt x="1213287" y="461843"/>
                  <a:pt x="1216700" y="463550"/>
                </a:cubicBezTo>
                <a:cubicBezTo>
                  <a:pt x="1231133" y="470766"/>
                  <a:pt x="1263652" y="469398"/>
                  <a:pt x="1270675" y="469900"/>
                </a:cubicBezTo>
                <a:cubicBezTo>
                  <a:pt x="1272792" y="473075"/>
                  <a:pt x="1276398" y="475661"/>
                  <a:pt x="1277025" y="479425"/>
                </a:cubicBezTo>
                <a:cubicBezTo>
                  <a:pt x="1277575" y="482726"/>
                  <a:pt x="1274506" y="485668"/>
                  <a:pt x="1273850" y="488950"/>
                </a:cubicBezTo>
                <a:cubicBezTo>
                  <a:pt x="1272382" y="496288"/>
                  <a:pt x="1272358" y="503883"/>
                  <a:pt x="1270675" y="511175"/>
                </a:cubicBezTo>
                <a:cubicBezTo>
                  <a:pt x="1269170" y="517697"/>
                  <a:pt x="1266442" y="523875"/>
                  <a:pt x="1264325" y="530225"/>
                </a:cubicBezTo>
                <a:cubicBezTo>
                  <a:pt x="1263267" y="533400"/>
                  <a:pt x="1261806" y="536468"/>
                  <a:pt x="1261150" y="539750"/>
                </a:cubicBezTo>
                <a:lnTo>
                  <a:pt x="1254800" y="571500"/>
                </a:lnTo>
                <a:cubicBezTo>
                  <a:pt x="1250678" y="633337"/>
                  <a:pt x="1249903" y="618694"/>
                  <a:pt x="1254800" y="692150"/>
                </a:cubicBezTo>
                <a:cubicBezTo>
                  <a:pt x="1255298" y="699617"/>
                  <a:pt x="1256507" y="707037"/>
                  <a:pt x="1257975" y="714375"/>
                </a:cubicBezTo>
                <a:cubicBezTo>
                  <a:pt x="1258631" y="717657"/>
                  <a:pt x="1258537" y="721809"/>
                  <a:pt x="1261150" y="723900"/>
                </a:cubicBezTo>
                <a:cubicBezTo>
                  <a:pt x="1264557" y="726626"/>
                  <a:pt x="1269617" y="726017"/>
                  <a:pt x="1273850" y="727075"/>
                </a:cubicBezTo>
                <a:cubicBezTo>
                  <a:pt x="1280200" y="731308"/>
                  <a:pt x="1293444" y="732163"/>
                  <a:pt x="1292900" y="739775"/>
                </a:cubicBezTo>
                <a:cubicBezTo>
                  <a:pt x="1291842" y="754592"/>
                  <a:pt x="1292306" y="769597"/>
                  <a:pt x="1289725" y="784225"/>
                </a:cubicBezTo>
                <a:cubicBezTo>
                  <a:pt x="1288119" y="793324"/>
                  <a:pt x="1279689" y="795234"/>
                  <a:pt x="1273850" y="800100"/>
                </a:cubicBezTo>
                <a:cubicBezTo>
                  <a:pt x="1270401" y="802975"/>
                  <a:pt x="1268250" y="807444"/>
                  <a:pt x="1264325" y="809625"/>
                </a:cubicBezTo>
                <a:cubicBezTo>
                  <a:pt x="1251190" y="816922"/>
                  <a:pt x="1234057" y="817377"/>
                  <a:pt x="1219875" y="819150"/>
                </a:cubicBezTo>
                <a:cubicBezTo>
                  <a:pt x="1213525" y="821267"/>
                  <a:pt x="1206394" y="821787"/>
                  <a:pt x="1200825" y="825500"/>
                </a:cubicBezTo>
                <a:lnTo>
                  <a:pt x="1181775" y="838200"/>
                </a:lnTo>
                <a:cubicBezTo>
                  <a:pt x="1178600" y="840317"/>
                  <a:pt x="1175870" y="843343"/>
                  <a:pt x="1172250" y="844550"/>
                </a:cubicBezTo>
                <a:cubicBezTo>
                  <a:pt x="1165900" y="846667"/>
                  <a:pt x="1159187" y="847907"/>
                  <a:pt x="1153200" y="850900"/>
                </a:cubicBezTo>
                <a:cubicBezTo>
                  <a:pt x="1148967" y="853017"/>
                  <a:pt x="1144609" y="854902"/>
                  <a:pt x="1140500" y="857250"/>
                </a:cubicBezTo>
                <a:cubicBezTo>
                  <a:pt x="1137187" y="859143"/>
                  <a:pt x="1134656" y="862596"/>
                  <a:pt x="1130975" y="863600"/>
                </a:cubicBezTo>
                <a:cubicBezTo>
                  <a:pt x="1122743" y="865845"/>
                  <a:pt x="1114042" y="865717"/>
                  <a:pt x="1105575" y="866775"/>
                </a:cubicBezTo>
                <a:cubicBezTo>
                  <a:pt x="1099225" y="868892"/>
                  <a:pt x="1092094" y="869412"/>
                  <a:pt x="1086525" y="873125"/>
                </a:cubicBezTo>
                <a:cubicBezTo>
                  <a:pt x="1083350" y="875242"/>
                  <a:pt x="1080487" y="877925"/>
                  <a:pt x="1077000" y="879475"/>
                </a:cubicBezTo>
                <a:cubicBezTo>
                  <a:pt x="1070883" y="882193"/>
                  <a:pt x="1064300" y="883708"/>
                  <a:pt x="1057950" y="885825"/>
                </a:cubicBezTo>
                <a:lnTo>
                  <a:pt x="1048425" y="889000"/>
                </a:lnTo>
                <a:cubicBezTo>
                  <a:pt x="1042075" y="895350"/>
                  <a:pt x="1037894" y="905210"/>
                  <a:pt x="1029375" y="908050"/>
                </a:cubicBezTo>
                <a:lnTo>
                  <a:pt x="1010325" y="914400"/>
                </a:lnTo>
                <a:cubicBezTo>
                  <a:pt x="1008208" y="917575"/>
                  <a:pt x="1006418" y="920994"/>
                  <a:pt x="1003975" y="923925"/>
                </a:cubicBezTo>
                <a:cubicBezTo>
                  <a:pt x="1001100" y="927374"/>
                  <a:pt x="996941" y="929714"/>
                  <a:pt x="994450" y="933450"/>
                </a:cubicBezTo>
                <a:cubicBezTo>
                  <a:pt x="992594" y="936235"/>
                  <a:pt x="992001" y="939708"/>
                  <a:pt x="991275" y="942975"/>
                </a:cubicBezTo>
                <a:cubicBezTo>
                  <a:pt x="989878" y="949259"/>
                  <a:pt x="992339" y="957180"/>
                  <a:pt x="988100" y="962025"/>
                </a:cubicBezTo>
                <a:cubicBezTo>
                  <a:pt x="983692" y="967062"/>
                  <a:pt x="974619" y="964662"/>
                  <a:pt x="969050" y="968375"/>
                </a:cubicBezTo>
                <a:lnTo>
                  <a:pt x="950000" y="981075"/>
                </a:lnTo>
                <a:lnTo>
                  <a:pt x="940475" y="987425"/>
                </a:lnTo>
                <a:cubicBezTo>
                  <a:pt x="922277" y="1014722"/>
                  <a:pt x="944095" y="980185"/>
                  <a:pt x="930950" y="1006475"/>
                </a:cubicBezTo>
                <a:cubicBezTo>
                  <a:pt x="929243" y="1009888"/>
                  <a:pt x="926307" y="1012587"/>
                  <a:pt x="924600" y="1016000"/>
                </a:cubicBezTo>
                <a:cubicBezTo>
                  <a:pt x="923103" y="1018993"/>
                  <a:pt x="922922" y="1022532"/>
                  <a:pt x="921425" y="1025525"/>
                </a:cubicBezTo>
                <a:cubicBezTo>
                  <a:pt x="915513" y="1037349"/>
                  <a:pt x="914327" y="1034042"/>
                  <a:pt x="905550" y="1044575"/>
                </a:cubicBezTo>
                <a:cubicBezTo>
                  <a:pt x="880571" y="1074550"/>
                  <a:pt x="915118" y="1034986"/>
                  <a:pt x="896025" y="1063625"/>
                </a:cubicBezTo>
                <a:cubicBezTo>
                  <a:pt x="890056" y="1072578"/>
                  <a:pt x="875019" y="1080804"/>
                  <a:pt x="867450" y="1085850"/>
                </a:cubicBezTo>
                <a:cubicBezTo>
                  <a:pt x="855140" y="1094056"/>
                  <a:pt x="861545" y="1090993"/>
                  <a:pt x="848400" y="1095375"/>
                </a:cubicBezTo>
                <a:cubicBezTo>
                  <a:pt x="836758" y="1094317"/>
                  <a:pt x="825165" y="1092200"/>
                  <a:pt x="813475" y="1092200"/>
                </a:cubicBezTo>
                <a:cubicBezTo>
                  <a:pt x="788919" y="1092200"/>
                  <a:pt x="788504" y="1093115"/>
                  <a:pt x="772200" y="1098550"/>
                </a:cubicBezTo>
                <a:cubicBezTo>
                  <a:pt x="762137" y="1113644"/>
                  <a:pt x="767057" y="1104455"/>
                  <a:pt x="759500" y="1127125"/>
                </a:cubicBezTo>
                <a:cubicBezTo>
                  <a:pt x="758442" y="1130300"/>
                  <a:pt x="758181" y="1133865"/>
                  <a:pt x="756325" y="1136650"/>
                </a:cubicBezTo>
                <a:cubicBezTo>
                  <a:pt x="733634" y="1170687"/>
                  <a:pt x="768971" y="1119030"/>
                  <a:pt x="740450" y="1155700"/>
                </a:cubicBezTo>
                <a:cubicBezTo>
                  <a:pt x="720504" y="1181344"/>
                  <a:pt x="736664" y="1168807"/>
                  <a:pt x="718225" y="1181100"/>
                </a:cubicBezTo>
                <a:cubicBezTo>
                  <a:pt x="719283" y="1200150"/>
                  <a:pt x="718702" y="1219362"/>
                  <a:pt x="721400" y="1238250"/>
                </a:cubicBezTo>
                <a:cubicBezTo>
                  <a:pt x="721940" y="1242028"/>
                  <a:pt x="726043" y="1244362"/>
                  <a:pt x="727750" y="1247775"/>
                </a:cubicBezTo>
                <a:cubicBezTo>
                  <a:pt x="729247" y="1250768"/>
                  <a:pt x="729428" y="1254307"/>
                  <a:pt x="730925" y="1257300"/>
                </a:cubicBezTo>
                <a:cubicBezTo>
                  <a:pt x="743235" y="1281919"/>
                  <a:pt x="732470" y="1252409"/>
                  <a:pt x="740450" y="1276350"/>
                </a:cubicBezTo>
                <a:cubicBezTo>
                  <a:pt x="746800" y="1299104"/>
                  <a:pt x="763204" y="1371071"/>
                  <a:pt x="769025" y="1393825"/>
                </a:cubicBezTo>
                <a:cubicBezTo>
                  <a:pt x="770125" y="1400427"/>
                  <a:pt x="773752" y="1406381"/>
                  <a:pt x="775375" y="1412875"/>
                </a:cubicBezTo>
                <a:cubicBezTo>
                  <a:pt x="779362" y="1428822"/>
                  <a:pt x="777170" y="1421435"/>
                  <a:pt x="781725" y="1435100"/>
                </a:cubicBezTo>
                <a:cubicBezTo>
                  <a:pt x="779453" y="1446458"/>
                  <a:pt x="780375" y="1452325"/>
                  <a:pt x="772200" y="1460500"/>
                </a:cubicBezTo>
                <a:cubicBezTo>
                  <a:pt x="769502" y="1463198"/>
                  <a:pt x="765850" y="1464733"/>
                  <a:pt x="762675" y="1466850"/>
                </a:cubicBezTo>
                <a:cubicBezTo>
                  <a:pt x="757799" y="1474164"/>
                  <a:pt x="754611" y="1477137"/>
                  <a:pt x="753150" y="1485900"/>
                </a:cubicBezTo>
                <a:cubicBezTo>
                  <a:pt x="747858" y="1496483"/>
                  <a:pt x="736746" y="1519767"/>
                  <a:pt x="730925" y="1530350"/>
                </a:cubicBezTo>
                <a:cubicBezTo>
                  <a:pt x="726240" y="1536374"/>
                  <a:pt x="722458" y="1543050"/>
                  <a:pt x="718225" y="1549400"/>
                </a:cubicBezTo>
                <a:cubicBezTo>
                  <a:pt x="716108" y="1552575"/>
                  <a:pt x="714573" y="1556227"/>
                  <a:pt x="711875" y="1558925"/>
                </a:cubicBezTo>
                <a:lnTo>
                  <a:pt x="702350" y="1568450"/>
                </a:lnTo>
                <a:cubicBezTo>
                  <a:pt x="701292" y="1571625"/>
                  <a:pt x="700800" y="1575049"/>
                  <a:pt x="699175" y="1577975"/>
                </a:cubicBezTo>
                <a:cubicBezTo>
                  <a:pt x="695469" y="1584646"/>
                  <a:pt x="688888" y="1589785"/>
                  <a:pt x="686475" y="1597025"/>
                </a:cubicBezTo>
                <a:cubicBezTo>
                  <a:pt x="678008" y="1606021"/>
                  <a:pt x="656313" y="1625071"/>
                  <a:pt x="648375" y="1631950"/>
                </a:cubicBezTo>
                <a:lnTo>
                  <a:pt x="638850" y="1638300"/>
                </a:lnTo>
                <a:cubicBezTo>
                  <a:pt x="634718" y="1644498"/>
                  <a:pt x="615603" y="1675869"/>
                  <a:pt x="607100" y="1676400"/>
                </a:cubicBezTo>
                <a:lnTo>
                  <a:pt x="556300" y="1679575"/>
                </a:lnTo>
                <a:cubicBezTo>
                  <a:pt x="549950" y="1681692"/>
                  <a:pt x="542819" y="1682212"/>
                  <a:pt x="537250" y="1685925"/>
                </a:cubicBezTo>
                <a:cubicBezTo>
                  <a:pt x="528658" y="1691653"/>
                  <a:pt x="525096" y="1694597"/>
                  <a:pt x="515025" y="1698625"/>
                </a:cubicBezTo>
                <a:cubicBezTo>
                  <a:pt x="508810" y="1701111"/>
                  <a:pt x="495975" y="1704975"/>
                  <a:pt x="495975" y="1704975"/>
                </a:cubicBezTo>
                <a:cubicBezTo>
                  <a:pt x="489625" y="1703917"/>
                  <a:pt x="482683" y="1704679"/>
                  <a:pt x="476925" y="1701800"/>
                </a:cubicBezTo>
                <a:cubicBezTo>
                  <a:pt x="473512" y="1700093"/>
                  <a:pt x="471433" y="1695993"/>
                  <a:pt x="470575" y="1692275"/>
                </a:cubicBezTo>
                <a:cubicBezTo>
                  <a:pt x="468183" y="1681911"/>
                  <a:pt x="469017" y="1671037"/>
                  <a:pt x="467400" y="1660525"/>
                </a:cubicBezTo>
                <a:cubicBezTo>
                  <a:pt x="466461" y="1654421"/>
                  <a:pt x="462156" y="1645756"/>
                  <a:pt x="457875" y="1641475"/>
                </a:cubicBezTo>
                <a:cubicBezTo>
                  <a:pt x="452054" y="1613958"/>
                  <a:pt x="437237" y="1521354"/>
                  <a:pt x="432475" y="1495425"/>
                </a:cubicBezTo>
                <a:cubicBezTo>
                  <a:pt x="432299" y="1492083"/>
                  <a:pt x="430219" y="1489118"/>
                  <a:pt x="429300" y="1485900"/>
                </a:cubicBezTo>
                <a:cubicBezTo>
                  <a:pt x="428101" y="1481704"/>
                  <a:pt x="427844" y="1477211"/>
                  <a:pt x="426125" y="1473200"/>
                </a:cubicBezTo>
                <a:cubicBezTo>
                  <a:pt x="424622" y="1469693"/>
                  <a:pt x="421482" y="1467088"/>
                  <a:pt x="419775" y="1463675"/>
                </a:cubicBezTo>
                <a:cubicBezTo>
                  <a:pt x="418278" y="1460682"/>
                  <a:pt x="418225" y="1457076"/>
                  <a:pt x="416600" y="1454150"/>
                </a:cubicBezTo>
                <a:cubicBezTo>
                  <a:pt x="412367" y="1440392"/>
                  <a:pt x="398608" y="1395412"/>
                  <a:pt x="394375" y="1381125"/>
                </a:cubicBezTo>
                <a:cubicBezTo>
                  <a:pt x="393798" y="1376800"/>
                  <a:pt x="392147" y="1372685"/>
                  <a:pt x="391200" y="1368425"/>
                </a:cubicBezTo>
                <a:cubicBezTo>
                  <a:pt x="390029" y="1363157"/>
                  <a:pt x="389445" y="1357756"/>
                  <a:pt x="388025" y="1352550"/>
                </a:cubicBezTo>
                <a:cubicBezTo>
                  <a:pt x="386264" y="1346092"/>
                  <a:pt x="383792" y="1339850"/>
                  <a:pt x="381675" y="1333500"/>
                </a:cubicBezTo>
                <a:cubicBezTo>
                  <a:pt x="380617" y="1330325"/>
                  <a:pt x="379156" y="1327257"/>
                  <a:pt x="378500" y="1323975"/>
                </a:cubicBezTo>
                <a:cubicBezTo>
                  <a:pt x="377442" y="1318683"/>
                  <a:pt x="376745" y="1313306"/>
                  <a:pt x="375325" y="1308100"/>
                </a:cubicBezTo>
                <a:cubicBezTo>
                  <a:pt x="373564" y="1301642"/>
                  <a:pt x="370598" y="1295544"/>
                  <a:pt x="368975" y="1289050"/>
                </a:cubicBezTo>
                <a:cubicBezTo>
                  <a:pt x="366664" y="1279806"/>
                  <a:pt x="363969" y="1269880"/>
                  <a:pt x="362625" y="1260475"/>
                </a:cubicBezTo>
                <a:cubicBezTo>
                  <a:pt x="361270" y="1250988"/>
                  <a:pt x="361115" y="1241338"/>
                  <a:pt x="359450" y="1231900"/>
                </a:cubicBezTo>
                <a:cubicBezTo>
                  <a:pt x="353098" y="1195904"/>
                  <a:pt x="355549" y="1217598"/>
                  <a:pt x="349925" y="1196975"/>
                </a:cubicBezTo>
                <a:cubicBezTo>
                  <a:pt x="338193" y="1153958"/>
                  <a:pt x="347805" y="1187789"/>
                  <a:pt x="340400" y="1155700"/>
                </a:cubicBezTo>
                <a:cubicBezTo>
                  <a:pt x="338438" y="1147196"/>
                  <a:pt x="336167" y="1138767"/>
                  <a:pt x="334050" y="1130300"/>
                </a:cubicBezTo>
                <a:lnTo>
                  <a:pt x="327700" y="1104900"/>
                </a:lnTo>
                <a:cubicBezTo>
                  <a:pt x="326642" y="1100667"/>
                  <a:pt x="325242" y="1096504"/>
                  <a:pt x="324525" y="1092200"/>
                </a:cubicBezTo>
                <a:cubicBezTo>
                  <a:pt x="316605" y="1044682"/>
                  <a:pt x="326346" y="1104035"/>
                  <a:pt x="318175" y="1050925"/>
                </a:cubicBezTo>
                <a:cubicBezTo>
                  <a:pt x="317196" y="1044562"/>
                  <a:pt x="316397" y="1038159"/>
                  <a:pt x="315000" y="1031875"/>
                </a:cubicBezTo>
                <a:cubicBezTo>
                  <a:pt x="314274" y="1028608"/>
                  <a:pt x="312637" y="1025597"/>
                  <a:pt x="311825" y="1022350"/>
                </a:cubicBezTo>
                <a:cubicBezTo>
                  <a:pt x="310516" y="1017115"/>
                  <a:pt x="310070" y="1011681"/>
                  <a:pt x="308650" y="1006475"/>
                </a:cubicBezTo>
                <a:cubicBezTo>
                  <a:pt x="306889" y="1000017"/>
                  <a:pt x="303923" y="993919"/>
                  <a:pt x="302300" y="987425"/>
                </a:cubicBezTo>
                <a:cubicBezTo>
                  <a:pt x="301242" y="983192"/>
                  <a:pt x="300379" y="978905"/>
                  <a:pt x="299125" y="974725"/>
                </a:cubicBezTo>
                <a:cubicBezTo>
                  <a:pt x="297202" y="968314"/>
                  <a:pt x="294892" y="962025"/>
                  <a:pt x="292775" y="955675"/>
                </a:cubicBezTo>
                <a:cubicBezTo>
                  <a:pt x="291717" y="952500"/>
                  <a:pt x="290412" y="949397"/>
                  <a:pt x="289600" y="946150"/>
                </a:cubicBezTo>
                <a:cubicBezTo>
                  <a:pt x="286574" y="934046"/>
                  <a:pt x="287906" y="933322"/>
                  <a:pt x="280075" y="923925"/>
                </a:cubicBezTo>
                <a:cubicBezTo>
                  <a:pt x="275677" y="918647"/>
                  <a:pt x="267636" y="910988"/>
                  <a:pt x="261025" y="908050"/>
                </a:cubicBezTo>
                <a:cubicBezTo>
                  <a:pt x="254908" y="905332"/>
                  <a:pt x="247544" y="905413"/>
                  <a:pt x="241975" y="901700"/>
                </a:cubicBezTo>
                <a:cubicBezTo>
                  <a:pt x="235625" y="897467"/>
                  <a:pt x="230165" y="891413"/>
                  <a:pt x="222925" y="889000"/>
                </a:cubicBezTo>
                <a:cubicBezTo>
                  <a:pt x="219750" y="887942"/>
                  <a:pt x="216326" y="887450"/>
                  <a:pt x="213400" y="885825"/>
                </a:cubicBezTo>
                <a:cubicBezTo>
                  <a:pt x="206729" y="882119"/>
                  <a:pt x="200700" y="877358"/>
                  <a:pt x="194350" y="873125"/>
                </a:cubicBezTo>
                <a:cubicBezTo>
                  <a:pt x="194328" y="873110"/>
                  <a:pt x="175300" y="860425"/>
                  <a:pt x="175300" y="860425"/>
                </a:cubicBezTo>
                <a:cubicBezTo>
                  <a:pt x="171067" y="857250"/>
                  <a:pt x="167194" y="853525"/>
                  <a:pt x="162600" y="850900"/>
                </a:cubicBezTo>
                <a:cubicBezTo>
                  <a:pt x="159694" y="849240"/>
                  <a:pt x="156001" y="849350"/>
                  <a:pt x="153075" y="847725"/>
                </a:cubicBezTo>
                <a:cubicBezTo>
                  <a:pt x="146404" y="844019"/>
                  <a:pt x="140375" y="839258"/>
                  <a:pt x="134025" y="835025"/>
                </a:cubicBezTo>
                <a:lnTo>
                  <a:pt x="114975" y="822325"/>
                </a:lnTo>
                <a:cubicBezTo>
                  <a:pt x="111800" y="820208"/>
                  <a:pt x="109070" y="817182"/>
                  <a:pt x="105450" y="815975"/>
                </a:cubicBezTo>
                <a:lnTo>
                  <a:pt x="95925" y="812800"/>
                </a:lnTo>
                <a:cubicBezTo>
                  <a:pt x="90129" y="808453"/>
                  <a:pt x="68866" y="792139"/>
                  <a:pt x="64175" y="790575"/>
                </a:cubicBezTo>
                <a:lnTo>
                  <a:pt x="54650" y="787400"/>
                </a:lnTo>
                <a:cubicBezTo>
                  <a:pt x="43008" y="769938"/>
                  <a:pt x="54650" y="784754"/>
                  <a:pt x="38775" y="771525"/>
                </a:cubicBezTo>
                <a:cubicBezTo>
                  <a:pt x="35326" y="768650"/>
                  <a:pt x="32986" y="764491"/>
                  <a:pt x="29250" y="762000"/>
                </a:cubicBezTo>
                <a:cubicBezTo>
                  <a:pt x="26465" y="760144"/>
                  <a:pt x="22651" y="760450"/>
                  <a:pt x="19725" y="758825"/>
                </a:cubicBezTo>
                <a:cubicBezTo>
                  <a:pt x="13054" y="755119"/>
                  <a:pt x="675" y="746125"/>
                  <a:pt x="675" y="746125"/>
                </a:cubicBezTo>
                <a:cubicBezTo>
                  <a:pt x="24955" y="738032"/>
                  <a:pt x="0" y="745494"/>
                  <a:pt x="51475" y="739775"/>
                </a:cubicBezTo>
                <a:cubicBezTo>
                  <a:pt x="56838" y="739179"/>
                  <a:pt x="61995" y="737269"/>
                  <a:pt x="67350" y="736600"/>
                </a:cubicBezTo>
                <a:cubicBezTo>
                  <a:pt x="78949" y="735150"/>
                  <a:pt x="90633" y="734483"/>
                  <a:pt x="102275" y="733425"/>
                </a:cubicBezTo>
                <a:cubicBezTo>
                  <a:pt x="115865" y="730028"/>
                  <a:pt x="116070" y="729762"/>
                  <a:pt x="130850" y="727075"/>
                </a:cubicBezTo>
                <a:cubicBezTo>
                  <a:pt x="137184" y="725923"/>
                  <a:pt x="143616" y="725297"/>
                  <a:pt x="149900" y="723900"/>
                </a:cubicBezTo>
                <a:cubicBezTo>
                  <a:pt x="153167" y="723174"/>
                  <a:pt x="156178" y="721537"/>
                  <a:pt x="159425" y="720725"/>
                </a:cubicBezTo>
                <a:cubicBezTo>
                  <a:pt x="164660" y="719416"/>
                  <a:pt x="170094" y="718970"/>
                  <a:pt x="175300" y="717550"/>
                </a:cubicBezTo>
                <a:cubicBezTo>
                  <a:pt x="181758" y="715789"/>
                  <a:pt x="188000" y="713317"/>
                  <a:pt x="194350" y="711200"/>
                </a:cubicBezTo>
                <a:lnTo>
                  <a:pt x="222925" y="701675"/>
                </a:lnTo>
                <a:lnTo>
                  <a:pt x="232450" y="698500"/>
                </a:lnTo>
                <a:cubicBezTo>
                  <a:pt x="235625" y="697442"/>
                  <a:pt x="238645" y="695658"/>
                  <a:pt x="241975" y="695325"/>
                </a:cubicBezTo>
                <a:cubicBezTo>
                  <a:pt x="309545" y="688568"/>
                  <a:pt x="263093" y="692463"/>
                  <a:pt x="381675" y="688975"/>
                </a:cubicBezTo>
                <a:cubicBezTo>
                  <a:pt x="386967" y="687917"/>
                  <a:pt x="392315" y="687109"/>
                  <a:pt x="397550" y="685800"/>
                </a:cubicBezTo>
                <a:cubicBezTo>
                  <a:pt x="400797" y="684988"/>
                  <a:pt x="403857" y="683544"/>
                  <a:pt x="407075" y="682625"/>
                </a:cubicBezTo>
                <a:cubicBezTo>
                  <a:pt x="411271" y="681426"/>
                  <a:pt x="415595" y="680704"/>
                  <a:pt x="419775" y="679450"/>
                </a:cubicBezTo>
                <a:cubicBezTo>
                  <a:pt x="426186" y="677527"/>
                  <a:pt x="432475" y="675217"/>
                  <a:pt x="438825" y="673100"/>
                </a:cubicBezTo>
                <a:lnTo>
                  <a:pt x="467400" y="663575"/>
                </a:lnTo>
                <a:lnTo>
                  <a:pt x="495975" y="654050"/>
                </a:lnTo>
                <a:cubicBezTo>
                  <a:pt x="499150" y="652992"/>
                  <a:pt x="502715" y="652731"/>
                  <a:pt x="505500" y="650875"/>
                </a:cubicBezTo>
                <a:cubicBezTo>
                  <a:pt x="518656" y="642104"/>
                  <a:pt x="511323" y="645450"/>
                  <a:pt x="527725" y="641350"/>
                </a:cubicBezTo>
                <a:cubicBezTo>
                  <a:pt x="530900" y="639233"/>
                  <a:pt x="533837" y="636707"/>
                  <a:pt x="537250" y="635000"/>
                </a:cubicBezTo>
                <a:cubicBezTo>
                  <a:pt x="540243" y="633503"/>
                  <a:pt x="543699" y="633143"/>
                  <a:pt x="546775" y="631825"/>
                </a:cubicBezTo>
                <a:cubicBezTo>
                  <a:pt x="551125" y="629961"/>
                  <a:pt x="555242" y="627592"/>
                  <a:pt x="559475" y="625475"/>
                </a:cubicBezTo>
                <a:cubicBezTo>
                  <a:pt x="562585" y="631695"/>
                  <a:pt x="573927" y="655692"/>
                  <a:pt x="578525" y="657225"/>
                </a:cubicBezTo>
                <a:cubicBezTo>
                  <a:pt x="581700" y="658283"/>
                  <a:pt x="585124" y="658775"/>
                  <a:pt x="588050" y="660400"/>
                </a:cubicBezTo>
                <a:cubicBezTo>
                  <a:pt x="594721" y="664106"/>
                  <a:pt x="599860" y="670687"/>
                  <a:pt x="607100" y="673100"/>
                </a:cubicBezTo>
                <a:cubicBezTo>
                  <a:pt x="613450" y="675217"/>
                  <a:pt x="620581" y="675737"/>
                  <a:pt x="626150" y="679450"/>
                </a:cubicBezTo>
                <a:cubicBezTo>
                  <a:pt x="629325" y="681567"/>
                  <a:pt x="632188" y="684250"/>
                  <a:pt x="635675" y="685800"/>
                </a:cubicBezTo>
                <a:cubicBezTo>
                  <a:pt x="641792" y="688518"/>
                  <a:pt x="654725" y="692150"/>
                  <a:pt x="654725" y="692150"/>
                </a:cubicBezTo>
                <a:cubicBezTo>
                  <a:pt x="654725" y="690563"/>
                  <a:pt x="639379" y="680508"/>
                  <a:pt x="635675" y="676275"/>
                </a:cubicBezTo>
                <a:cubicBezTo>
                  <a:pt x="633584" y="673662"/>
                  <a:pt x="633558" y="669925"/>
                  <a:pt x="632500" y="666750"/>
                </a:cubicBezTo>
                <a:cubicBezTo>
                  <a:pt x="633558" y="641350"/>
                  <a:pt x="633145" y="615846"/>
                  <a:pt x="635675" y="590550"/>
                </a:cubicBezTo>
                <a:cubicBezTo>
                  <a:pt x="636341" y="583890"/>
                  <a:pt x="638312" y="577069"/>
                  <a:pt x="642025" y="571500"/>
                </a:cubicBezTo>
                <a:lnTo>
                  <a:pt x="648375" y="561975"/>
                </a:lnTo>
                <a:cubicBezTo>
                  <a:pt x="646654" y="553370"/>
                  <a:pt x="646636" y="542804"/>
                  <a:pt x="638850" y="536575"/>
                </a:cubicBezTo>
                <a:cubicBezTo>
                  <a:pt x="636237" y="534484"/>
                  <a:pt x="632500" y="534458"/>
                  <a:pt x="629325" y="533400"/>
                </a:cubicBezTo>
                <a:cubicBezTo>
                  <a:pt x="628267" y="530225"/>
                  <a:pt x="626150" y="527222"/>
                  <a:pt x="626150" y="523875"/>
                </a:cubicBezTo>
                <a:cubicBezTo>
                  <a:pt x="626150" y="514192"/>
                  <a:pt x="629995" y="507244"/>
                  <a:pt x="632500" y="498475"/>
                </a:cubicBezTo>
                <a:cubicBezTo>
                  <a:pt x="633699" y="494279"/>
                  <a:pt x="634617" y="490008"/>
                  <a:pt x="635675" y="485775"/>
                </a:cubicBezTo>
                <a:cubicBezTo>
                  <a:pt x="633768" y="478149"/>
                  <a:pt x="633002" y="469032"/>
                  <a:pt x="626150" y="463550"/>
                </a:cubicBezTo>
                <a:cubicBezTo>
                  <a:pt x="623537" y="461459"/>
                  <a:pt x="619618" y="461872"/>
                  <a:pt x="616625" y="460375"/>
                </a:cubicBezTo>
                <a:cubicBezTo>
                  <a:pt x="613212" y="458668"/>
                  <a:pt x="610673" y="455365"/>
                  <a:pt x="607100" y="454025"/>
                </a:cubicBezTo>
                <a:cubicBezTo>
                  <a:pt x="602047" y="452130"/>
                  <a:pt x="596460" y="452159"/>
                  <a:pt x="591225" y="450850"/>
                </a:cubicBezTo>
                <a:cubicBezTo>
                  <a:pt x="581882" y="448514"/>
                  <a:pt x="578087" y="445868"/>
                  <a:pt x="569000" y="441325"/>
                </a:cubicBezTo>
                <a:cubicBezTo>
                  <a:pt x="554183" y="419100"/>
                  <a:pt x="562650" y="426508"/>
                  <a:pt x="546775" y="415925"/>
                </a:cubicBezTo>
                <a:cubicBezTo>
                  <a:pt x="544658" y="412750"/>
                  <a:pt x="543123" y="409098"/>
                  <a:pt x="540425" y="406400"/>
                </a:cubicBezTo>
                <a:cubicBezTo>
                  <a:pt x="537727" y="403702"/>
                  <a:pt x="533413" y="402922"/>
                  <a:pt x="530900" y="400050"/>
                </a:cubicBezTo>
                <a:cubicBezTo>
                  <a:pt x="504971" y="370417"/>
                  <a:pt x="530106" y="388938"/>
                  <a:pt x="508675" y="374650"/>
                </a:cubicBezTo>
                <a:cubicBezTo>
                  <a:pt x="506558" y="371475"/>
                  <a:pt x="504860" y="367977"/>
                  <a:pt x="502325" y="365125"/>
                </a:cubicBezTo>
                <a:cubicBezTo>
                  <a:pt x="496359" y="358413"/>
                  <a:pt x="483275" y="346075"/>
                  <a:pt x="483275" y="346075"/>
                </a:cubicBezTo>
                <a:cubicBezTo>
                  <a:pt x="484333" y="341842"/>
                  <a:pt x="485196" y="337555"/>
                  <a:pt x="486450" y="333375"/>
                </a:cubicBezTo>
                <a:cubicBezTo>
                  <a:pt x="488373" y="326964"/>
                  <a:pt x="492800" y="314325"/>
                  <a:pt x="492800" y="314325"/>
                </a:cubicBezTo>
                <a:cubicBezTo>
                  <a:pt x="491742" y="306917"/>
                  <a:pt x="493173" y="298689"/>
                  <a:pt x="489625" y="292100"/>
                </a:cubicBezTo>
                <a:cubicBezTo>
                  <a:pt x="483535" y="280791"/>
                  <a:pt x="471393" y="273596"/>
                  <a:pt x="461050" y="266700"/>
                </a:cubicBezTo>
                <a:cubicBezTo>
                  <a:pt x="449627" y="249565"/>
                  <a:pt x="460999" y="261605"/>
                  <a:pt x="435650" y="254000"/>
                </a:cubicBezTo>
                <a:cubicBezTo>
                  <a:pt x="420962" y="249594"/>
                  <a:pt x="424372" y="247248"/>
                  <a:pt x="413425" y="238125"/>
                </a:cubicBezTo>
                <a:cubicBezTo>
                  <a:pt x="410494" y="235682"/>
                  <a:pt x="407075" y="233892"/>
                  <a:pt x="403900" y="231775"/>
                </a:cubicBezTo>
                <a:cubicBezTo>
                  <a:pt x="395433" y="211137"/>
                  <a:pt x="368446" y="135467"/>
                  <a:pt x="362625" y="114300"/>
                </a:cubicBezTo>
                <a:cubicBezTo>
                  <a:pt x="363425" y="110569"/>
                  <a:pt x="367879" y="108430"/>
                  <a:pt x="368975" y="104775"/>
                </a:cubicBezTo>
                <a:cubicBezTo>
                  <a:pt x="373946" y="88205"/>
                  <a:pt x="368446" y="50800"/>
                  <a:pt x="375325" y="38100"/>
                </a:cubicBezTo>
                <a:close/>
              </a:path>
            </a:pathLst>
          </a:custGeom>
          <a:solidFill>
            <a:schemeClr val="accent3"/>
          </a:solidFill>
          <a:ln w="12700">
            <a:solidFill>
              <a:schemeClr val="bg1"/>
            </a:solidFill>
            <a:round/>
            <a:headEnd/>
            <a:tailEnd/>
          </a:ln>
        </p:spPr>
        <p:txBody>
          <a:bodyPr/>
          <a:lstStyle/>
          <a:p>
            <a:pPr>
              <a:defRPr/>
            </a:pPr>
            <a:endParaRPr lang="nl-NL"/>
          </a:p>
        </p:txBody>
      </p:sp>
      <p:sp>
        <p:nvSpPr>
          <p:cNvPr id="109" name="Freeform 26"/>
          <p:cNvSpPr>
            <a:spLocks noChangeArrowheads="1"/>
          </p:cNvSpPr>
          <p:nvPr/>
        </p:nvSpPr>
        <p:spPr bwMode="auto">
          <a:xfrm>
            <a:off x="1354118" y="3589338"/>
            <a:ext cx="1312985" cy="1358900"/>
          </a:xfrm>
          <a:custGeom>
            <a:avLst/>
            <a:gdLst>
              <a:gd name="T0" fmla="*/ 0 w 991532"/>
              <a:gd name="T1" fmla="*/ 0 h 946260"/>
              <a:gd name="T2" fmla="*/ 991532 w 991532"/>
              <a:gd name="T3" fmla="*/ 946260 h 946260"/>
            </a:gdLst>
            <a:ahLst/>
            <a:cxnLst/>
            <a:rect l="T0" t="T1" r="T2" b="T3"/>
            <a:pathLst>
              <a:path w="991532" h="946260">
                <a:moveTo>
                  <a:pt x="343832" y="936206"/>
                </a:moveTo>
                <a:cubicBezTo>
                  <a:pt x="339599" y="926152"/>
                  <a:pt x="334210" y="896198"/>
                  <a:pt x="331132" y="875881"/>
                </a:cubicBezTo>
                <a:cubicBezTo>
                  <a:pt x="328907" y="861194"/>
                  <a:pt x="331560" y="845842"/>
                  <a:pt x="327957" y="831431"/>
                </a:cubicBezTo>
                <a:cubicBezTo>
                  <a:pt x="319490" y="811323"/>
                  <a:pt x="289857" y="768989"/>
                  <a:pt x="280332" y="755231"/>
                </a:cubicBezTo>
                <a:cubicBezTo>
                  <a:pt x="277634" y="752533"/>
                  <a:pt x="273982" y="750998"/>
                  <a:pt x="270807" y="748881"/>
                </a:cubicBezTo>
                <a:cubicBezTo>
                  <a:pt x="268690" y="745706"/>
                  <a:pt x="266900" y="742287"/>
                  <a:pt x="264457" y="739356"/>
                </a:cubicBezTo>
                <a:cubicBezTo>
                  <a:pt x="261582" y="735907"/>
                  <a:pt x="257542" y="733485"/>
                  <a:pt x="254932" y="729831"/>
                </a:cubicBezTo>
                <a:cubicBezTo>
                  <a:pt x="247982" y="720100"/>
                  <a:pt x="246672" y="705275"/>
                  <a:pt x="235882" y="698081"/>
                </a:cubicBezTo>
                <a:cubicBezTo>
                  <a:pt x="232707" y="695964"/>
                  <a:pt x="229977" y="692938"/>
                  <a:pt x="226357" y="691731"/>
                </a:cubicBezTo>
                <a:cubicBezTo>
                  <a:pt x="220250" y="689695"/>
                  <a:pt x="213591" y="689953"/>
                  <a:pt x="207307" y="688556"/>
                </a:cubicBezTo>
                <a:cubicBezTo>
                  <a:pt x="204040" y="687830"/>
                  <a:pt x="201000" y="686300"/>
                  <a:pt x="197782" y="685381"/>
                </a:cubicBezTo>
                <a:cubicBezTo>
                  <a:pt x="193586" y="684182"/>
                  <a:pt x="189262" y="683460"/>
                  <a:pt x="185082" y="682206"/>
                </a:cubicBezTo>
                <a:cubicBezTo>
                  <a:pt x="178671" y="680283"/>
                  <a:pt x="172382" y="677973"/>
                  <a:pt x="166032" y="675856"/>
                </a:cubicBezTo>
                <a:cubicBezTo>
                  <a:pt x="162857" y="674798"/>
                  <a:pt x="159292" y="674537"/>
                  <a:pt x="156507" y="672681"/>
                </a:cubicBezTo>
                <a:cubicBezTo>
                  <a:pt x="150157" y="668448"/>
                  <a:pt x="144697" y="662394"/>
                  <a:pt x="137457" y="659981"/>
                </a:cubicBezTo>
                <a:cubicBezTo>
                  <a:pt x="113516" y="652001"/>
                  <a:pt x="143026" y="662766"/>
                  <a:pt x="118407" y="650456"/>
                </a:cubicBezTo>
                <a:cubicBezTo>
                  <a:pt x="92117" y="637311"/>
                  <a:pt x="126654" y="659129"/>
                  <a:pt x="99357" y="640931"/>
                </a:cubicBezTo>
                <a:cubicBezTo>
                  <a:pt x="97240" y="637756"/>
                  <a:pt x="94714" y="634819"/>
                  <a:pt x="93007" y="631406"/>
                </a:cubicBezTo>
                <a:cubicBezTo>
                  <a:pt x="91510" y="628413"/>
                  <a:pt x="90079" y="625219"/>
                  <a:pt x="89832" y="621881"/>
                </a:cubicBezTo>
                <a:cubicBezTo>
                  <a:pt x="87954" y="596528"/>
                  <a:pt x="92434" y="570438"/>
                  <a:pt x="86657" y="545681"/>
                </a:cubicBezTo>
                <a:cubicBezTo>
                  <a:pt x="84616" y="536936"/>
                  <a:pt x="71623" y="534663"/>
                  <a:pt x="67607" y="526631"/>
                </a:cubicBezTo>
                <a:cubicBezTo>
                  <a:pt x="57844" y="507105"/>
                  <a:pt x="63882" y="517869"/>
                  <a:pt x="48557" y="494881"/>
                </a:cubicBezTo>
                <a:lnTo>
                  <a:pt x="42207" y="485356"/>
                </a:lnTo>
                <a:cubicBezTo>
                  <a:pt x="40090" y="482181"/>
                  <a:pt x="38555" y="478529"/>
                  <a:pt x="35857" y="475831"/>
                </a:cubicBezTo>
                <a:cubicBezTo>
                  <a:pt x="30036" y="459956"/>
                  <a:pt x="13103" y="405981"/>
                  <a:pt x="7282" y="390106"/>
                </a:cubicBezTo>
                <a:cubicBezTo>
                  <a:pt x="6742" y="386328"/>
                  <a:pt x="1085" y="384394"/>
                  <a:pt x="932" y="380581"/>
                </a:cubicBezTo>
                <a:cubicBezTo>
                  <a:pt x="0" y="357292"/>
                  <a:pt x="2697" y="333996"/>
                  <a:pt x="4107" y="310731"/>
                </a:cubicBezTo>
                <a:cubicBezTo>
                  <a:pt x="4814" y="299063"/>
                  <a:pt x="5629" y="287378"/>
                  <a:pt x="7282" y="275806"/>
                </a:cubicBezTo>
                <a:cubicBezTo>
                  <a:pt x="7755" y="272493"/>
                  <a:pt x="8366" y="268894"/>
                  <a:pt x="10457" y="266281"/>
                </a:cubicBezTo>
                <a:cubicBezTo>
                  <a:pt x="14933" y="260686"/>
                  <a:pt x="23232" y="258848"/>
                  <a:pt x="29507" y="256756"/>
                </a:cubicBezTo>
                <a:cubicBezTo>
                  <a:pt x="31624" y="253581"/>
                  <a:pt x="33322" y="250083"/>
                  <a:pt x="35857" y="247231"/>
                </a:cubicBezTo>
                <a:cubicBezTo>
                  <a:pt x="61229" y="218688"/>
                  <a:pt x="51233" y="228464"/>
                  <a:pt x="96182" y="225006"/>
                </a:cubicBezTo>
                <a:cubicBezTo>
                  <a:pt x="102532" y="220773"/>
                  <a:pt x="109836" y="217702"/>
                  <a:pt x="115232" y="212306"/>
                </a:cubicBezTo>
                <a:cubicBezTo>
                  <a:pt x="127455" y="200083"/>
                  <a:pt x="121021" y="205272"/>
                  <a:pt x="134282" y="196431"/>
                </a:cubicBezTo>
                <a:cubicBezTo>
                  <a:pt x="138742" y="189742"/>
                  <a:pt x="142712" y="185597"/>
                  <a:pt x="143807" y="177381"/>
                </a:cubicBezTo>
                <a:cubicBezTo>
                  <a:pt x="145491" y="164749"/>
                  <a:pt x="145298" y="151913"/>
                  <a:pt x="146982" y="139281"/>
                </a:cubicBezTo>
                <a:cubicBezTo>
                  <a:pt x="147424" y="135964"/>
                  <a:pt x="147790" y="132123"/>
                  <a:pt x="150157" y="129756"/>
                </a:cubicBezTo>
                <a:cubicBezTo>
                  <a:pt x="152524" y="127389"/>
                  <a:pt x="156507" y="127639"/>
                  <a:pt x="159682" y="126581"/>
                </a:cubicBezTo>
                <a:cubicBezTo>
                  <a:pt x="163915" y="123406"/>
                  <a:pt x="167649" y="119423"/>
                  <a:pt x="172382" y="117056"/>
                </a:cubicBezTo>
                <a:cubicBezTo>
                  <a:pt x="190130" y="108182"/>
                  <a:pt x="183159" y="121513"/>
                  <a:pt x="204132" y="107531"/>
                </a:cubicBezTo>
                <a:cubicBezTo>
                  <a:pt x="207307" y="105414"/>
                  <a:pt x="210170" y="102731"/>
                  <a:pt x="213657" y="101181"/>
                </a:cubicBezTo>
                <a:cubicBezTo>
                  <a:pt x="228751" y="94472"/>
                  <a:pt x="235783" y="94318"/>
                  <a:pt x="251757" y="91656"/>
                </a:cubicBezTo>
                <a:cubicBezTo>
                  <a:pt x="257808" y="82580"/>
                  <a:pt x="267836" y="66188"/>
                  <a:pt x="277157" y="63081"/>
                </a:cubicBezTo>
                <a:cubicBezTo>
                  <a:pt x="290302" y="58699"/>
                  <a:pt x="283897" y="61762"/>
                  <a:pt x="296207" y="53556"/>
                </a:cubicBezTo>
                <a:cubicBezTo>
                  <a:pt x="297265" y="50381"/>
                  <a:pt x="299752" y="47357"/>
                  <a:pt x="299382" y="44031"/>
                </a:cubicBezTo>
                <a:cubicBezTo>
                  <a:pt x="298643" y="37378"/>
                  <a:pt x="293032" y="24981"/>
                  <a:pt x="293032" y="24981"/>
                </a:cubicBezTo>
                <a:cubicBezTo>
                  <a:pt x="296207" y="21806"/>
                  <a:pt x="299108" y="18331"/>
                  <a:pt x="302557" y="15456"/>
                </a:cubicBezTo>
                <a:cubicBezTo>
                  <a:pt x="321105" y="0"/>
                  <a:pt x="325851" y="10024"/>
                  <a:pt x="359707" y="12281"/>
                </a:cubicBezTo>
                <a:cubicBezTo>
                  <a:pt x="402606" y="19431"/>
                  <a:pt x="361495" y="9901"/>
                  <a:pt x="388282" y="21806"/>
                </a:cubicBezTo>
                <a:cubicBezTo>
                  <a:pt x="394399" y="24524"/>
                  <a:pt x="407332" y="28156"/>
                  <a:pt x="407332" y="28156"/>
                </a:cubicBezTo>
                <a:cubicBezTo>
                  <a:pt x="483869" y="24677"/>
                  <a:pt x="455071" y="32351"/>
                  <a:pt x="496232" y="18631"/>
                </a:cubicBezTo>
                <a:cubicBezTo>
                  <a:pt x="530970" y="7052"/>
                  <a:pt x="478353" y="25519"/>
                  <a:pt x="515282" y="9106"/>
                </a:cubicBezTo>
                <a:cubicBezTo>
                  <a:pt x="521399" y="6388"/>
                  <a:pt x="534332" y="2756"/>
                  <a:pt x="534332" y="2756"/>
                </a:cubicBezTo>
                <a:cubicBezTo>
                  <a:pt x="538565" y="3814"/>
                  <a:pt x="542836" y="4732"/>
                  <a:pt x="547032" y="5931"/>
                </a:cubicBezTo>
                <a:cubicBezTo>
                  <a:pt x="550250" y="6850"/>
                  <a:pt x="553223" y="8816"/>
                  <a:pt x="556557" y="9106"/>
                </a:cubicBezTo>
                <a:cubicBezTo>
                  <a:pt x="577670" y="10942"/>
                  <a:pt x="598890" y="11223"/>
                  <a:pt x="620057" y="12281"/>
                </a:cubicBezTo>
                <a:cubicBezTo>
                  <a:pt x="635151" y="22344"/>
                  <a:pt x="625962" y="17424"/>
                  <a:pt x="648632" y="24981"/>
                </a:cubicBezTo>
                <a:lnTo>
                  <a:pt x="658157" y="28156"/>
                </a:lnTo>
                <a:cubicBezTo>
                  <a:pt x="661332" y="29214"/>
                  <a:pt x="664361" y="30916"/>
                  <a:pt x="667682" y="31331"/>
                </a:cubicBezTo>
                <a:lnTo>
                  <a:pt x="693082" y="34506"/>
                </a:lnTo>
                <a:cubicBezTo>
                  <a:pt x="695199" y="37681"/>
                  <a:pt x="697882" y="40544"/>
                  <a:pt x="699432" y="44031"/>
                </a:cubicBezTo>
                <a:cubicBezTo>
                  <a:pt x="702150" y="50148"/>
                  <a:pt x="700213" y="59368"/>
                  <a:pt x="705782" y="63081"/>
                </a:cubicBezTo>
                <a:lnTo>
                  <a:pt x="724832" y="75781"/>
                </a:lnTo>
                <a:cubicBezTo>
                  <a:pt x="725890" y="78956"/>
                  <a:pt x="725864" y="82735"/>
                  <a:pt x="728007" y="85306"/>
                </a:cubicBezTo>
                <a:cubicBezTo>
                  <a:pt x="735415" y="93773"/>
                  <a:pt x="760815" y="118644"/>
                  <a:pt x="769282" y="126581"/>
                </a:cubicBezTo>
                <a:cubicBezTo>
                  <a:pt x="772213" y="129024"/>
                  <a:pt x="775320" y="131381"/>
                  <a:pt x="778807" y="132931"/>
                </a:cubicBezTo>
                <a:cubicBezTo>
                  <a:pt x="784924" y="135649"/>
                  <a:pt x="797857" y="139281"/>
                  <a:pt x="797857" y="139281"/>
                </a:cubicBezTo>
                <a:cubicBezTo>
                  <a:pt x="801032" y="142456"/>
                  <a:pt x="803838" y="146049"/>
                  <a:pt x="807382" y="148806"/>
                </a:cubicBezTo>
                <a:cubicBezTo>
                  <a:pt x="813406" y="153491"/>
                  <a:pt x="826432" y="161506"/>
                  <a:pt x="826432" y="161506"/>
                </a:cubicBezTo>
                <a:cubicBezTo>
                  <a:pt x="827490" y="164681"/>
                  <a:pt x="829783" y="167689"/>
                  <a:pt x="829607" y="171031"/>
                </a:cubicBezTo>
                <a:cubicBezTo>
                  <a:pt x="828710" y="188073"/>
                  <a:pt x="830188" y="206237"/>
                  <a:pt x="823257" y="221831"/>
                </a:cubicBezTo>
                <a:cubicBezTo>
                  <a:pt x="820539" y="227948"/>
                  <a:pt x="810895" y="227902"/>
                  <a:pt x="804207" y="228181"/>
                </a:cubicBezTo>
                <a:lnTo>
                  <a:pt x="728007" y="231356"/>
                </a:lnTo>
                <a:cubicBezTo>
                  <a:pt x="724832" y="233473"/>
                  <a:pt x="720866" y="234726"/>
                  <a:pt x="718482" y="237706"/>
                </a:cubicBezTo>
                <a:cubicBezTo>
                  <a:pt x="716391" y="240319"/>
                  <a:pt x="715780" y="243918"/>
                  <a:pt x="715307" y="247231"/>
                </a:cubicBezTo>
                <a:cubicBezTo>
                  <a:pt x="713654" y="258803"/>
                  <a:pt x="713677" y="270569"/>
                  <a:pt x="712132" y="282156"/>
                </a:cubicBezTo>
                <a:cubicBezTo>
                  <a:pt x="711246" y="288801"/>
                  <a:pt x="707959" y="297851"/>
                  <a:pt x="705782" y="304381"/>
                </a:cubicBezTo>
                <a:cubicBezTo>
                  <a:pt x="706840" y="311789"/>
                  <a:pt x="707489" y="319268"/>
                  <a:pt x="708957" y="326606"/>
                </a:cubicBezTo>
                <a:cubicBezTo>
                  <a:pt x="709613" y="329888"/>
                  <a:pt x="711582" y="332830"/>
                  <a:pt x="712132" y="336131"/>
                </a:cubicBezTo>
                <a:cubicBezTo>
                  <a:pt x="712266" y="336934"/>
                  <a:pt x="715476" y="373967"/>
                  <a:pt x="718482" y="380581"/>
                </a:cubicBezTo>
                <a:cubicBezTo>
                  <a:pt x="721640" y="387529"/>
                  <a:pt x="728769" y="392391"/>
                  <a:pt x="731182" y="399631"/>
                </a:cubicBezTo>
                <a:cubicBezTo>
                  <a:pt x="734217" y="408736"/>
                  <a:pt x="738323" y="423839"/>
                  <a:pt x="747057" y="428206"/>
                </a:cubicBezTo>
                <a:lnTo>
                  <a:pt x="759757" y="434556"/>
                </a:lnTo>
                <a:cubicBezTo>
                  <a:pt x="764443" y="441584"/>
                  <a:pt x="768298" y="448717"/>
                  <a:pt x="775632" y="453606"/>
                </a:cubicBezTo>
                <a:cubicBezTo>
                  <a:pt x="779987" y="456509"/>
                  <a:pt x="798467" y="459315"/>
                  <a:pt x="801032" y="459956"/>
                </a:cubicBezTo>
                <a:cubicBezTo>
                  <a:pt x="811548" y="462585"/>
                  <a:pt x="810770" y="463273"/>
                  <a:pt x="820082" y="469481"/>
                </a:cubicBezTo>
                <a:cubicBezTo>
                  <a:pt x="834638" y="491316"/>
                  <a:pt x="830369" y="481291"/>
                  <a:pt x="835957" y="498056"/>
                </a:cubicBezTo>
                <a:cubicBezTo>
                  <a:pt x="834544" y="513594"/>
                  <a:pt x="829567" y="538591"/>
                  <a:pt x="835957" y="555206"/>
                </a:cubicBezTo>
                <a:cubicBezTo>
                  <a:pt x="838697" y="562329"/>
                  <a:pt x="842307" y="570023"/>
                  <a:pt x="848657" y="574256"/>
                </a:cubicBezTo>
                <a:lnTo>
                  <a:pt x="858182" y="580606"/>
                </a:lnTo>
                <a:cubicBezTo>
                  <a:pt x="864426" y="589972"/>
                  <a:pt x="864890" y="592016"/>
                  <a:pt x="874057" y="599656"/>
                </a:cubicBezTo>
                <a:cubicBezTo>
                  <a:pt x="876988" y="602099"/>
                  <a:pt x="880407" y="603889"/>
                  <a:pt x="883582" y="606006"/>
                </a:cubicBezTo>
                <a:cubicBezTo>
                  <a:pt x="900515" y="631406"/>
                  <a:pt x="878290" y="600714"/>
                  <a:pt x="899457" y="621881"/>
                </a:cubicBezTo>
                <a:cubicBezTo>
                  <a:pt x="913818" y="636242"/>
                  <a:pt x="896789" y="628400"/>
                  <a:pt x="915332" y="634581"/>
                </a:cubicBezTo>
                <a:cubicBezTo>
                  <a:pt x="917449" y="637756"/>
                  <a:pt x="918507" y="641989"/>
                  <a:pt x="921682" y="644106"/>
                </a:cubicBezTo>
                <a:cubicBezTo>
                  <a:pt x="925313" y="646527"/>
                  <a:pt x="930186" y="646082"/>
                  <a:pt x="934382" y="647281"/>
                </a:cubicBezTo>
                <a:cubicBezTo>
                  <a:pt x="966266" y="656391"/>
                  <a:pt x="916905" y="643705"/>
                  <a:pt x="956607" y="653631"/>
                </a:cubicBezTo>
                <a:cubicBezTo>
                  <a:pt x="959782" y="655748"/>
                  <a:pt x="963748" y="657001"/>
                  <a:pt x="966132" y="659981"/>
                </a:cubicBezTo>
                <a:cubicBezTo>
                  <a:pt x="969423" y="664095"/>
                  <a:pt x="972450" y="688361"/>
                  <a:pt x="972482" y="688556"/>
                </a:cubicBezTo>
                <a:cubicBezTo>
                  <a:pt x="973540" y="704431"/>
                  <a:pt x="971972" y="720703"/>
                  <a:pt x="975657" y="736181"/>
                </a:cubicBezTo>
                <a:cubicBezTo>
                  <a:pt x="977425" y="743605"/>
                  <a:pt x="985944" y="747991"/>
                  <a:pt x="988357" y="755231"/>
                </a:cubicBezTo>
                <a:lnTo>
                  <a:pt x="991532" y="764756"/>
                </a:lnTo>
                <a:cubicBezTo>
                  <a:pt x="990474" y="768989"/>
                  <a:pt x="989213" y="773177"/>
                  <a:pt x="988357" y="777456"/>
                </a:cubicBezTo>
                <a:cubicBezTo>
                  <a:pt x="981455" y="811964"/>
                  <a:pt x="980777" y="847226"/>
                  <a:pt x="978832" y="882231"/>
                </a:cubicBezTo>
                <a:lnTo>
                  <a:pt x="950257" y="872706"/>
                </a:lnTo>
                <a:lnTo>
                  <a:pt x="940732" y="869531"/>
                </a:lnTo>
                <a:lnTo>
                  <a:pt x="931207" y="866356"/>
                </a:lnTo>
                <a:cubicBezTo>
                  <a:pt x="924857" y="860006"/>
                  <a:pt x="919629" y="852287"/>
                  <a:pt x="912157" y="847306"/>
                </a:cubicBezTo>
                <a:cubicBezTo>
                  <a:pt x="889371" y="832115"/>
                  <a:pt x="898503" y="840002"/>
                  <a:pt x="883582" y="825081"/>
                </a:cubicBezTo>
                <a:cubicBezTo>
                  <a:pt x="872999" y="826139"/>
                  <a:pt x="861576" y="823993"/>
                  <a:pt x="851832" y="828256"/>
                </a:cubicBezTo>
                <a:cubicBezTo>
                  <a:pt x="843605" y="831855"/>
                  <a:pt x="840254" y="842325"/>
                  <a:pt x="832782" y="847306"/>
                </a:cubicBezTo>
                <a:cubicBezTo>
                  <a:pt x="829607" y="849423"/>
                  <a:pt x="826975" y="852798"/>
                  <a:pt x="823257" y="853656"/>
                </a:cubicBezTo>
                <a:cubicBezTo>
                  <a:pt x="812893" y="856048"/>
                  <a:pt x="802070" y="855588"/>
                  <a:pt x="791507" y="856831"/>
                </a:cubicBezTo>
                <a:cubicBezTo>
                  <a:pt x="784075" y="857705"/>
                  <a:pt x="776690" y="858948"/>
                  <a:pt x="769282" y="860006"/>
                </a:cubicBezTo>
                <a:cubicBezTo>
                  <a:pt x="765049" y="862123"/>
                  <a:pt x="760691" y="864008"/>
                  <a:pt x="756582" y="866356"/>
                </a:cubicBezTo>
                <a:cubicBezTo>
                  <a:pt x="753269" y="868249"/>
                  <a:pt x="750544" y="871156"/>
                  <a:pt x="747057" y="872706"/>
                </a:cubicBezTo>
                <a:cubicBezTo>
                  <a:pt x="710396" y="889000"/>
                  <a:pt x="668346" y="880981"/>
                  <a:pt x="629582" y="882231"/>
                </a:cubicBezTo>
                <a:lnTo>
                  <a:pt x="604182" y="888581"/>
                </a:lnTo>
                <a:cubicBezTo>
                  <a:pt x="599949" y="889639"/>
                  <a:pt x="595838" y="891500"/>
                  <a:pt x="591482" y="891756"/>
                </a:cubicBezTo>
                <a:lnTo>
                  <a:pt x="537507" y="894931"/>
                </a:lnTo>
                <a:cubicBezTo>
                  <a:pt x="533274" y="895989"/>
                  <a:pt x="528818" y="896387"/>
                  <a:pt x="524807" y="898106"/>
                </a:cubicBezTo>
                <a:cubicBezTo>
                  <a:pt x="521300" y="899609"/>
                  <a:pt x="518902" y="903249"/>
                  <a:pt x="515282" y="904456"/>
                </a:cubicBezTo>
                <a:cubicBezTo>
                  <a:pt x="509175" y="906492"/>
                  <a:pt x="502545" y="906368"/>
                  <a:pt x="496232" y="907631"/>
                </a:cubicBezTo>
                <a:cubicBezTo>
                  <a:pt x="491953" y="908487"/>
                  <a:pt x="487799" y="909892"/>
                  <a:pt x="483532" y="910806"/>
                </a:cubicBezTo>
                <a:cubicBezTo>
                  <a:pt x="472979" y="913067"/>
                  <a:pt x="462428" y="915382"/>
                  <a:pt x="451782" y="917156"/>
                </a:cubicBezTo>
                <a:cubicBezTo>
                  <a:pt x="423279" y="921907"/>
                  <a:pt x="439130" y="919620"/>
                  <a:pt x="404157" y="923506"/>
                </a:cubicBezTo>
                <a:cubicBezTo>
                  <a:pt x="374421" y="933418"/>
                  <a:pt x="396158" y="927047"/>
                  <a:pt x="369232" y="933031"/>
                </a:cubicBezTo>
                <a:cubicBezTo>
                  <a:pt x="364972" y="933978"/>
                  <a:pt x="360881" y="935844"/>
                  <a:pt x="356532" y="936206"/>
                </a:cubicBezTo>
                <a:cubicBezTo>
                  <a:pt x="348095" y="936909"/>
                  <a:pt x="348065" y="946260"/>
                  <a:pt x="343832" y="936206"/>
                </a:cubicBezTo>
                <a:close/>
              </a:path>
            </a:pathLst>
          </a:custGeom>
          <a:solidFill>
            <a:schemeClr val="accent3"/>
          </a:solidFill>
          <a:ln w="12700">
            <a:solidFill>
              <a:schemeClr val="bg1"/>
            </a:solidFill>
            <a:round/>
            <a:headEnd/>
            <a:tailEnd/>
          </a:ln>
        </p:spPr>
        <p:txBody>
          <a:bodyPr/>
          <a:lstStyle/>
          <a:p>
            <a:pPr>
              <a:defRPr/>
            </a:pPr>
            <a:endParaRPr lang="nl-NL"/>
          </a:p>
        </p:txBody>
      </p:sp>
      <p:sp>
        <p:nvSpPr>
          <p:cNvPr id="110" name="Freeform 109"/>
          <p:cNvSpPr/>
          <p:nvPr/>
        </p:nvSpPr>
        <p:spPr bwMode="auto">
          <a:xfrm>
            <a:off x="1758564" y="2782888"/>
            <a:ext cx="1097573" cy="1120775"/>
          </a:xfrm>
          <a:custGeom>
            <a:avLst/>
            <a:gdLst>
              <a:gd name="connsiteX0" fmla="*/ 15875 w 808704"/>
              <a:gd name="connsiteY0" fmla="*/ 565150 h 780573"/>
              <a:gd name="connsiteX1" fmla="*/ 9525 w 808704"/>
              <a:gd name="connsiteY1" fmla="*/ 555625 h 780573"/>
              <a:gd name="connsiteX2" fmla="*/ 6350 w 808704"/>
              <a:gd name="connsiteY2" fmla="*/ 542925 h 780573"/>
              <a:gd name="connsiteX3" fmla="*/ 0 w 808704"/>
              <a:gd name="connsiteY3" fmla="*/ 530225 h 780573"/>
              <a:gd name="connsiteX4" fmla="*/ 3175 w 808704"/>
              <a:gd name="connsiteY4" fmla="*/ 450850 h 780573"/>
              <a:gd name="connsiteX5" fmla="*/ 9525 w 808704"/>
              <a:gd name="connsiteY5" fmla="*/ 422275 h 780573"/>
              <a:gd name="connsiteX6" fmla="*/ 31750 w 808704"/>
              <a:gd name="connsiteY6" fmla="*/ 409575 h 780573"/>
              <a:gd name="connsiteX7" fmla="*/ 47625 w 808704"/>
              <a:gd name="connsiteY7" fmla="*/ 393700 h 780573"/>
              <a:gd name="connsiteX8" fmla="*/ 57150 w 808704"/>
              <a:gd name="connsiteY8" fmla="*/ 374650 h 780573"/>
              <a:gd name="connsiteX9" fmla="*/ 41275 w 808704"/>
              <a:gd name="connsiteY9" fmla="*/ 358775 h 780573"/>
              <a:gd name="connsiteX10" fmla="*/ 25400 w 808704"/>
              <a:gd name="connsiteY10" fmla="*/ 342900 h 780573"/>
              <a:gd name="connsiteX11" fmla="*/ 22225 w 808704"/>
              <a:gd name="connsiteY11" fmla="*/ 241300 h 780573"/>
              <a:gd name="connsiteX12" fmla="*/ 25400 w 808704"/>
              <a:gd name="connsiteY12" fmla="*/ 203200 h 780573"/>
              <a:gd name="connsiteX13" fmla="*/ 34925 w 808704"/>
              <a:gd name="connsiteY13" fmla="*/ 193675 h 780573"/>
              <a:gd name="connsiteX14" fmla="*/ 41275 w 808704"/>
              <a:gd name="connsiteY14" fmla="*/ 184150 h 780573"/>
              <a:gd name="connsiteX15" fmla="*/ 79375 w 808704"/>
              <a:gd name="connsiteY15" fmla="*/ 187325 h 780573"/>
              <a:gd name="connsiteX16" fmla="*/ 88900 w 808704"/>
              <a:gd name="connsiteY16" fmla="*/ 184150 h 780573"/>
              <a:gd name="connsiteX17" fmla="*/ 142875 w 808704"/>
              <a:gd name="connsiteY17" fmla="*/ 180975 h 780573"/>
              <a:gd name="connsiteX18" fmla="*/ 155575 w 808704"/>
              <a:gd name="connsiteY18" fmla="*/ 161925 h 780573"/>
              <a:gd name="connsiteX19" fmla="*/ 161925 w 808704"/>
              <a:gd name="connsiteY19" fmla="*/ 152400 h 780573"/>
              <a:gd name="connsiteX20" fmla="*/ 168275 w 808704"/>
              <a:gd name="connsiteY20" fmla="*/ 133350 h 780573"/>
              <a:gd name="connsiteX21" fmla="*/ 177800 w 808704"/>
              <a:gd name="connsiteY21" fmla="*/ 130175 h 780573"/>
              <a:gd name="connsiteX22" fmla="*/ 250825 w 808704"/>
              <a:gd name="connsiteY22" fmla="*/ 136525 h 780573"/>
              <a:gd name="connsiteX23" fmla="*/ 269875 w 808704"/>
              <a:gd name="connsiteY23" fmla="*/ 146050 h 780573"/>
              <a:gd name="connsiteX24" fmla="*/ 311150 w 808704"/>
              <a:gd name="connsiteY24" fmla="*/ 155575 h 780573"/>
              <a:gd name="connsiteX25" fmla="*/ 317500 w 808704"/>
              <a:gd name="connsiteY25" fmla="*/ 180975 h 780573"/>
              <a:gd name="connsiteX26" fmla="*/ 320675 w 808704"/>
              <a:gd name="connsiteY26" fmla="*/ 190500 h 780573"/>
              <a:gd name="connsiteX27" fmla="*/ 330200 w 808704"/>
              <a:gd name="connsiteY27" fmla="*/ 193675 h 780573"/>
              <a:gd name="connsiteX28" fmla="*/ 368300 w 808704"/>
              <a:gd name="connsiteY28" fmla="*/ 196850 h 780573"/>
              <a:gd name="connsiteX29" fmla="*/ 390525 w 808704"/>
              <a:gd name="connsiteY29" fmla="*/ 206375 h 780573"/>
              <a:gd name="connsiteX30" fmla="*/ 400050 w 808704"/>
              <a:gd name="connsiteY30" fmla="*/ 212725 h 780573"/>
              <a:gd name="connsiteX31" fmla="*/ 409575 w 808704"/>
              <a:gd name="connsiteY31" fmla="*/ 215900 h 780573"/>
              <a:gd name="connsiteX32" fmla="*/ 425450 w 808704"/>
              <a:gd name="connsiteY32" fmla="*/ 228600 h 780573"/>
              <a:gd name="connsiteX33" fmla="*/ 431800 w 808704"/>
              <a:gd name="connsiteY33" fmla="*/ 238125 h 780573"/>
              <a:gd name="connsiteX34" fmla="*/ 441325 w 808704"/>
              <a:gd name="connsiteY34" fmla="*/ 241300 h 780573"/>
              <a:gd name="connsiteX35" fmla="*/ 454025 w 808704"/>
              <a:gd name="connsiteY35" fmla="*/ 247650 h 780573"/>
              <a:gd name="connsiteX36" fmla="*/ 476250 w 808704"/>
              <a:gd name="connsiteY36" fmla="*/ 234950 h 780573"/>
              <a:gd name="connsiteX37" fmla="*/ 466725 w 808704"/>
              <a:gd name="connsiteY37" fmla="*/ 228600 h 780573"/>
              <a:gd name="connsiteX38" fmla="*/ 444500 w 808704"/>
              <a:gd name="connsiteY38" fmla="*/ 203200 h 780573"/>
              <a:gd name="connsiteX39" fmla="*/ 428625 w 808704"/>
              <a:gd name="connsiteY39" fmla="*/ 184150 h 780573"/>
              <a:gd name="connsiteX40" fmla="*/ 409575 w 808704"/>
              <a:gd name="connsiteY40" fmla="*/ 161925 h 780573"/>
              <a:gd name="connsiteX41" fmla="*/ 419100 w 808704"/>
              <a:gd name="connsiteY41" fmla="*/ 158750 h 780573"/>
              <a:gd name="connsiteX42" fmla="*/ 492125 w 808704"/>
              <a:gd name="connsiteY42" fmla="*/ 152400 h 780573"/>
              <a:gd name="connsiteX43" fmla="*/ 508000 w 808704"/>
              <a:gd name="connsiteY43" fmla="*/ 133350 h 780573"/>
              <a:gd name="connsiteX44" fmla="*/ 504825 w 808704"/>
              <a:gd name="connsiteY44" fmla="*/ 123825 h 780573"/>
              <a:gd name="connsiteX45" fmla="*/ 495300 w 808704"/>
              <a:gd name="connsiteY45" fmla="*/ 117475 h 780573"/>
              <a:gd name="connsiteX46" fmla="*/ 492125 w 808704"/>
              <a:gd name="connsiteY46" fmla="*/ 107950 h 780573"/>
              <a:gd name="connsiteX47" fmla="*/ 495300 w 808704"/>
              <a:gd name="connsiteY47" fmla="*/ 95250 h 780573"/>
              <a:gd name="connsiteX48" fmla="*/ 498475 w 808704"/>
              <a:gd name="connsiteY48" fmla="*/ 79375 h 780573"/>
              <a:gd name="connsiteX49" fmla="*/ 501650 w 808704"/>
              <a:gd name="connsiteY49" fmla="*/ 69850 h 780573"/>
              <a:gd name="connsiteX50" fmla="*/ 511175 w 808704"/>
              <a:gd name="connsiteY50" fmla="*/ 63500 h 780573"/>
              <a:gd name="connsiteX51" fmla="*/ 536575 w 808704"/>
              <a:gd name="connsiteY51" fmla="*/ 34925 h 780573"/>
              <a:gd name="connsiteX52" fmla="*/ 555625 w 808704"/>
              <a:gd name="connsiteY52" fmla="*/ 22225 h 780573"/>
              <a:gd name="connsiteX53" fmla="*/ 565150 w 808704"/>
              <a:gd name="connsiteY53" fmla="*/ 15875 h 780573"/>
              <a:gd name="connsiteX54" fmla="*/ 593725 w 808704"/>
              <a:gd name="connsiteY54" fmla="*/ 6350 h 780573"/>
              <a:gd name="connsiteX55" fmla="*/ 603250 w 808704"/>
              <a:gd name="connsiteY55" fmla="*/ 3175 h 780573"/>
              <a:gd name="connsiteX56" fmla="*/ 619125 w 808704"/>
              <a:gd name="connsiteY56" fmla="*/ 0 h 780573"/>
              <a:gd name="connsiteX57" fmla="*/ 628650 w 808704"/>
              <a:gd name="connsiteY57" fmla="*/ 3175 h 780573"/>
              <a:gd name="connsiteX58" fmla="*/ 676275 w 808704"/>
              <a:gd name="connsiteY58" fmla="*/ 9525 h 780573"/>
              <a:gd name="connsiteX59" fmla="*/ 695325 w 808704"/>
              <a:gd name="connsiteY59" fmla="*/ 15875 h 780573"/>
              <a:gd name="connsiteX60" fmla="*/ 704850 w 808704"/>
              <a:gd name="connsiteY60" fmla="*/ 19050 h 780573"/>
              <a:gd name="connsiteX61" fmla="*/ 730250 w 808704"/>
              <a:gd name="connsiteY61" fmla="*/ 15875 h 780573"/>
              <a:gd name="connsiteX62" fmla="*/ 739775 w 808704"/>
              <a:gd name="connsiteY62" fmla="*/ 6350 h 780573"/>
              <a:gd name="connsiteX63" fmla="*/ 749300 w 808704"/>
              <a:gd name="connsiteY63" fmla="*/ 0 h 780573"/>
              <a:gd name="connsiteX64" fmla="*/ 777875 w 808704"/>
              <a:gd name="connsiteY64" fmla="*/ 15875 h 780573"/>
              <a:gd name="connsiteX65" fmla="*/ 787400 w 808704"/>
              <a:gd name="connsiteY65" fmla="*/ 19050 h 780573"/>
              <a:gd name="connsiteX66" fmla="*/ 793750 w 808704"/>
              <a:gd name="connsiteY66" fmla="*/ 28575 h 780573"/>
              <a:gd name="connsiteX67" fmla="*/ 784225 w 808704"/>
              <a:gd name="connsiteY67" fmla="*/ 66675 h 780573"/>
              <a:gd name="connsiteX68" fmla="*/ 781050 w 808704"/>
              <a:gd name="connsiteY68" fmla="*/ 76200 h 780573"/>
              <a:gd name="connsiteX69" fmla="*/ 771525 w 808704"/>
              <a:gd name="connsiteY69" fmla="*/ 85725 h 780573"/>
              <a:gd name="connsiteX70" fmla="*/ 765175 w 808704"/>
              <a:gd name="connsiteY70" fmla="*/ 95250 h 780573"/>
              <a:gd name="connsiteX71" fmla="*/ 765175 w 808704"/>
              <a:gd name="connsiteY71" fmla="*/ 130175 h 780573"/>
              <a:gd name="connsiteX72" fmla="*/ 774700 w 808704"/>
              <a:gd name="connsiteY72" fmla="*/ 136525 h 780573"/>
              <a:gd name="connsiteX73" fmla="*/ 787400 w 808704"/>
              <a:gd name="connsiteY73" fmla="*/ 152400 h 780573"/>
              <a:gd name="connsiteX74" fmla="*/ 790575 w 808704"/>
              <a:gd name="connsiteY74" fmla="*/ 161925 h 780573"/>
              <a:gd name="connsiteX75" fmla="*/ 806450 w 808704"/>
              <a:gd name="connsiteY75" fmla="*/ 177800 h 780573"/>
              <a:gd name="connsiteX76" fmla="*/ 803275 w 808704"/>
              <a:gd name="connsiteY76" fmla="*/ 238125 h 780573"/>
              <a:gd name="connsiteX77" fmla="*/ 784225 w 808704"/>
              <a:gd name="connsiteY77" fmla="*/ 257175 h 780573"/>
              <a:gd name="connsiteX78" fmla="*/ 781050 w 808704"/>
              <a:gd name="connsiteY78" fmla="*/ 269875 h 780573"/>
              <a:gd name="connsiteX79" fmla="*/ 777875 w 808704"/>
              <a:gd name="connsiteY79" fmla="*/ 279400 h 780573"/>
              <a:gd name="connsiteX80" fmla="*/ 781050 w 808704"/>
              <a:gd name="connsiteY80" fmla="*/ 342900 h 780573"/>
              <a:gd name="connsiteX81" fmla="*/ 787400 w 808704"/>
              <a:gd name="connsiteY81" fmla="*/ 361950 h 780573"/>
              <a:gd name="connsiteX82" fmla="*/ 784225 w 808704"/>
              <a:gd name="connsiteY82" fmla="*/ 390525 h 780573"/>
              <a:gd name="connsiteX83" fmla="*/ 774700 w 808704"/>
              <a:gd name="connsiteY83" fmla="*/ 393700 h 780573"/>
              <a:gd name="connsiteX84" fmla="*/ 746125 w 808704"/>
              <a:gd name="connsiteY84" fmla="*/ 409575 h 780573"/>
              <a:gd name="connsiteX85" fmla="*/ 720725 w 808704"/>
              <a:gd name="connsiteY85" fmla="*/ 438150 h 780573"/>
              <a:gd name="connsiteX86" fmla="*/ 701675 w 808704"/>
              <a:gd name="connsiteY86" fmla="*/ 454025 h 780573"/>
              <a:gd name="connsiteX87" fmla="*/ 688975 w 808704"/>
              <a:gd name="connsiteY87" fmla="*/ 473075 h 780573"/>
              <a:gd name="connsiteX88" fmla="*/ 685800 w 808704"/>
              <a:gd name="connsiteY88" fmla="*/ 485775 h 780573"/>
              <a:gd name="connsiteX89" fmla="*/ 682625 w 808704"/>
              <a:gd name="connsiteY89" fmla="*/ 517525 h 780573"/>
              <a:gd name="connsiteX90" fmla="*/ 666750 w 808704"/>
              <a:gd name="connsiteY90" fmla="*/ 533400 h 780573"/>
              <a:gd name="connsiteX91" fmla="*/ 660400 w 808704"/>
              <a:gd name="connsiteY91" fmla="*/ 542925 h 780573"/>
              <a:gd name="connsiteX92" fmla="*/ 650875 w 808704"/>
              <a:gd name="connsiteY92" fmla="*/ 552450 h 780573"/>
              <a:gd name="connsiteX93" fmla="*/ 647700 w 808704"/>
              <a:gd name="connsiteY93" fmla="*/ 561975 h 780573"/>
              <a:gd name="connsiteX94" fmla="*/ 641350 w 808704"/>
              <a:gd name="connsiteY94" fmla="*/ 571500 h 780573"/>
              <a:gd name="connsiteX95" fmla="*/ 635000 w 808704"/>
              <a:gd name="connsiteY95" fmla="*/ 596900 h 780573"/>
              <a:gd name="connsiteX96" fmla="*/ 638175 w 808704"/>
              <a:gd name="connsiteY96" fmla="*/ 609600 h 780573"/>
              <a:gd name="connsiteX97" fmla="*/ 654050 w 808704"/>
              <a:gd name="connsiteY97" fmla="*/ 612775 h 780573"/>
              <a:gd name="connsiteX98" fmla="*/ 663575 w 808704"/>
              <a:gd name="connsiteY98" fmla="*/ 615950 h 780573"/>
              <a:gd name="connsiteX99" fmla="*/ 695325 w 808704"/>
              <a:gd name="connsiteY99" fmla="*/ 631825 h 780573"/>
              <a:gd name="connsiteX100" fmla="*/ 714375 w 808704"/>
              <a:gd name="connsiteY100" fmla="*/ 644525 h 780573"/>
              <a:gd name="connsiteX101" fmla="*/ 720725 w 808704"/>
              <a:gd name="connsiteY101" fmla="*/ 663575 h 780573"/>
              <a:gd name="connsiteX102" fmla="*/ 717550 w 808704"/>
              <a:gd name="connsiteY102" fmla="*/ 676275 h 780573"/>
              <a:gd name="connsiteX103" fmla="*/ 708025 w 808704"/>
              <a:gd name="connsiteY103" fmla="*/ 685800 h 780573"/>
              <a:gd name="connsiteX104" fmla="*/ 695325 w 808704"/>
              <a:gd name="connsiteY104" fmla="*/ 688975 h 780573"/>
              <a:gd name="connsiteX105" fmla="*/ 685800 w 808704"/>
              <a:gd name="connsiteY105" fmla="*/ 692150 h 780573"/>
              <a:gd name="connsiteX106" fmla="*/ 666750 w 808704"/>
              <a:gd name="connsiteY106" fmla="*/ 704850 h 780573"/>
              <a:gd name="connsiteX107" fmla="*/ 660400 w 808704"/>
              <a:gd name="connsiteY107" fmla="*/ 714375 h 780573"/>
              <a:gd name="connsiteX108" fmla="*/ 647700 w 808704"/>
              <a:gd name="connsiteY108" fmla="*/ 717550 h 780573"/>
              <a:gd name="connsiteX109" fmla="*/ 612775 w 808704"/>
              <a:gd name="connsiteY109" fmla="*/ 723900 h 780573"/>
              <a:gd name="connsiteX110" fmla="*/ 590550 w 808704"/>
              <a:gd name="connsiteY110" fmla="*/ 730250 h 780573"/>
              <a:gd name="connsiteX111" fmla="*/ 581025 w 808704"/>
              <a:gd name="connsiteY111" fmla="*/ 749300 h 780573"/>
              <a:gd name="connsiteX112" fmla="*/ 584200 w 808704"/>
              <a:gd name="connsiteY112" fmla="*/ 758825 h 780573"/>
              <a:gd name="connsiteX113" fmla="*/ 581025 w 808704"/>
              <a:gd name="connsiteY113" fmla="*/ 777875 h 780573"/>
              <a:gd name="connsiteX114" fmla="*/ 574675 w 808704"/>
              <a:gd name="connsiteY114" fmla="*/ 768350 h 780573"/>
              <a:gd name="connsiteX115" fmla="*/ 552450 w 808704"/>
              <a:gd name="connsiteY115" fmla="*/ 762000 h 780573"/>
              <a:gd name="connsiteX116" fmla="*/ 536575 w 808704"/>
              <a:gd name="connsiteY116" fmla="*/ 765175 h 780573"/>
              <a:gd name="connsiteX117" fmla="*/ 517525 w 808704"/>
              <a:gd name="connsiteY117" fmla="*/ 771525 h 780573"/>
              <a:gd name="connsiteX118" fmla="*/ 520700 w 808704"/>
              <a:gd name="connsiteY118" fmla="*/ 742950 h 780573"/>
              <a:gd name="connsiteX119" fmla="*/ 523875 w 808704"/>
              <a:gd name="connsiteY119" fmla="*/ 733425 h 780573"/>
              <a:gd name="connsiteX120" fmla="*/ 498475 w 808704"/>
              <a:gd name="connsiteY120" fmla="*/ 711200 h 780573"/>
              <a:gd name="connsiteX121" fmla="*/ 488950 w 808704"/>
              <a:gd name="connsiteY121" fmla="*/ 704850 h 780573"/>
              <a:gd name="connsiteX122" fmla="*/ 479425 w 808704"/>
              <a:gd name="connsiteY122" fmla="*/ 698500 h 780573"/>
              <a:gd name="connsiteX123" fmla="*/ 450850 w 808704"/>
              <a:gd name="connsiteY123" fmla="*/ 685800 h 780573"/>
              <a:gd name="connsiteX124" fmla="*/ 431800 w 808704"/>
              <a:gd name="connsiteY124" fmla="*/ 666750 h 780573"/>
              <a:gd name="connsiteX125" fmla="*/ 425450 w 808704"/>
              <a:gd name="connsiteY125" fmla="*/ 657225 h 780573"/>
              <a:gd name="connsiteX126" fmla="*/ 415925 w 808704"/>
              <a:gd name="connsiteY126" fmla="*/ 650875 h 780573"/>
              <a:gd name="connsiteX127" fmla="*/ 409575 w 808704"/>
              <a:gd name="connsiteY127" fmla="*/ 641350 h 780573"/>
              <a:gd name="connsiteX128" fmla="*/ 396875 w 808704"/>
              <a:gd name="connsiteY128" fmla="*/ 635000 h 780573"/>
              <a:gd name="connsiteX129" fmla="*/ 387350 w 808704"/>
              <a:gd name="connsiteY129" fmla="*/ 628650 h 780573"/>
              <a:gd name="connsiteX130" fmla="*/ 384175 w 808704"/>
              <a:gd name="connsiteY130" fmla="*/ 619125 h 780573"/>
              <a:gd name="connsiteX131" fmla="*/ 346075 w 808704"/>
              <a:gd name="connsiteY131" fmla="*/ 587375 h 780573"/>
              <a:gd name="connsiteX132" fmla="*/ 327025 w 808704"/>
              <a:gd name="connsiteY132" fmla="*/ 581025 h 780573"/>
              <a:gd name="connsiteX133" fmla="*/ 301625 w 808704"/>
              <a:gd name="connsiteY133" fmla="*/ 571500 h 780573"/>
              <a:gd name="connsiteX134" fmla="*/ 215900 w 808704"/>
              <a:gd name="connsiteY134" fmla="*/ 574675 h 780573"/>
              <a:gd name="connsiteX135" fmla="*/ 196850 w 808704"/>
              <a:gd name="connsiteY135" fmla="*/ 584200 h 780573"/>
              <a:gd name="connsiteX136" fmla="*/ 187325 w 808704"/>
              <a:gd name="connsiteY136" fmla="*/ 587375 h 780573"/>
              <a:gd name="connsiteX137" fmla="*/ 69850 w 808704"/>
              <a:gd name="connsiteY137" fmla="*/ 584200 h 780573"/>
              <a:gd name="connsiteX138" fmla="*/ 47625 w 808704"/>
              <a:gd name="connsiteY138" fmla="*/ 577850 h 780573"/>
              <a:gd name="connsiteX139" fmla="*/ 28575 w 808704"/>
              <a:gd name="connsiteY139" fmla="*/ 574675 h 780573"/>
              <a:gd name="connsiteX140" fmla="*/ 6350 w 808704"/>
              <a:gd name="connsiteY140" fmla="*/ 568325 h 780573"/>
              <a:gd name="connsiteX141" fmla="*/ 15875 w 808704"/>
              <a:gd name="connsiteY141" fmla="*/ 565150 h 780573"/>
              <a:gd name="connsiteX0" fmla="*/ 15875 w 808704"/>
              <a:gd name="connsiteY0" fmla="*/ 565150 h 780573"/>
              <a:gd name="connsiteX1" fmla="*/ 9525 w 808704"/>
              <a:gd name="connsiteY1" fmla="*/ 555625 h 780573"/>
              <a:gd name="connsiteX2" fmla="*/ 6350 w 808704"/>
              <a:gd name="connsiteY2" fmla="*/ 542925 h 780573"/>
              <a:gd name="connsiteX3" fmla="*/ 0 w 808704"/>
              <a:gd name="connsiteY3" fmla="*/ 530225 h 780573"/>
              <a:gd name="connsiteX4" fmla="*/ 3175 w 808704"/>
              <a:gd name="connsiteY4" fmla="*/ 450850 h 780573"/>
              <a:gd name="connsiteX5" fmla="*/ 9525 w 808704"/>
              <a:gd name="connsiteY5" fmla="*/ 422275 h 780573"/>
              <a:gd name="connsiteX6" fmla="*/ 31750 w 808704"/>
              <a:gd name="connsiteY6" fmla="*/ 409575 h 780573"/>
              <a:gd name="connsiteX7" fmla="*/ 47625 w 808704"/>
              <a:gd name="connsiteY7" fmla="*/ 393700 h 780573"/>
              <a:gd name="connsiteX8" fmla="*/ 57150 w 808704"/>
              <a:gd name="connsiteY8" fmla="*/ 374650 h 780573"/>
              <a:gd name="connsiteX9" fmla="*/ 41275 w 808704"/>
              <a:gd name="connsiteY9" fmla="*/ 358775 h 780573"/>
              <a:gd name="connsiteX10" fmla="*/ 25400 w 808704"/>
              <a:gd name="connsiteY10" fmla="*/ 342900 h 780573"/>
              <a:gd name="connsiteX11" fmla="*/ 22225 w 808704"/>
              <a:gd name="connsiteY11" fmla="*/ 241300 h 780573"/>
              <a:gd name="connsiteX12" fmla="*/ 25400 w 808704"/>
              <a:gd name="connsiteY12" fmla="*/ 203200 h 780573"/>
              <a:gd name="connsiteX13" fmla="*/ 34925 w 808704"/>
              <a:gd name="connsiteY13" fmla="*/ 193675 h 780573"/>
              <a:gd name="connsiteX14" fmla="*/ 41275 w 808704"/>
              <a:gd name="connsiteY14" fmla="*/ 184150 h 780573"/>
              <a:gd name="connsiteX15" fmla="*/ 79375 w 808704"/>
              <a:gd name="connsiteY15" fmla="*/ 187325 h 780573"/>
              <a:gd name="connsiteX16" fmla="*/ 88900 w 808704"/>
              <a:gd name="connsiteY16" fmla="*/ 184150 h 780573"/>
              <a:gd name="connsiteX17" fmla="*/ 142875 w 808704"/>
              <a:gd name="connsiteY17" fmla="*/ 180975 h 780573"/>
              <a:gd name="connsiteX18" fmla="*/ 155575 w 808704"/>
              <a:gd name="connsiteY18" fmla="*/ 161925 h 780573"/>
              <a:gd name="connsiteX19" fmla="*/ 161925 w 808704"/>
              <a:gd name="connsiteY19" fmla="*/ 152400 h 780573"/>
              <a:gd name="connsiteX20" fmla="*/ 168275 w 808704"/>
              <a:gd name="connsiteY20" fmla="*/ 133350 h 780573"/>
              <a:gd name="connsiteX21" fmla="*/ 177800 w 808704"/>
              <a:gd name="connsiteY21" fmla="*/ 130175 h 780573"/>
              <a:gd name="connsiteX22" fmla="*/ 250825 w 808704"/>
              <a:gd name="connsiteY22" fmla="*/ 136525 h 780573"/>
              <a:gd name="connsiteX23" fmla="*/ 269875 w 808704"/>
              <a:gd name="connsiteY23" fmla="*/ 146050 h 780573"/>
              <a:gd name="connsiteX24" fmla="*/ 311150 w 808704"/>
              <a:gd name="connsiteY24" fmla="*/ 155575 h 780573"/>
              <a:gd name="connsiteX25" fmla="*/ 317500 w 808704"/>
              <a:gd name="connsiteY25" fmla="*/ 180975 h 780573"/>
              <a:gd name="connsiteX26" fmla="*/ 320675 w 808704"/>
              <a:gd name="connsiteY26" fmla="*/ 190500 h 780573"/>
              <a:gd name="connsiteX27" fmla="*/ 330200 w 808704"/>
              <a:gd name="connsiteY27" fmla="*/ 193675 h 780573"/>
              <a:gd name="connsiteX28" fmla="*/ 368300 w 808704"/>
              <a:gd name="connsiteY28" fmla="*/ 196850 h 780573"/>
              <a:gd name="connsiteX29" fmla="*/ 390525 w 808704"/>
              <a:gd name="connsiteY29" fmla="*/ 206375 h 780573"/>
              <a:gd name="connsiteX30" fmla="*/ 400050 w 808704"/>
              <a:gd name="connsiteY30" fmla="*/ 212725 h 780573"/>
              <a:gd name="connsiteX31" fmla="*/ 409575 w 808704"/>
              <a:gd name="connsiteY31" fmla="*/ 215900 h 780573"/>
              <a:gd name="connsiteX32" fmla="*/ 425450 w 808704"/>
              <a:gd name="connsiteY32" fmla="*/ 228600 h 780573"/>
              <a:gd name="connsiteX33" fmla="*/ 431800 w 808704"/>
              <a:gd name="connsiteY33" fmla="*/ 238125 h 780573"/>
              <a:gd name="connsiteX34" fmla="*/ 441325 w 808704"/>
              <a:gd name="connsiteY34" fmla="*/ 241300 h 780573"/>
              <a:gd name="connsiteX35" fmla="*/ 454025 w 808704"/>
              <a:gd name="connsiteY35" fmla="*/ 247650 h 780573"/>
              <a:gd name="connsiteX36" fmla="*/ 476250 w 808704"/>
              <a:gd name="connsiteY36" fmla="*/ 234950 h 780573"/>
              <a:gd name="connsiteX37" fmla="*/ 466725 w 808704"/>
              <a:gd name="connsiteY37" fmla="*/ 228600 h 780573"/>
              <a:gd name="connsiteX38" fmla="*/ 444500 w 808704"/>
              <a:gd name="connsiteY38" fmla="*/ 203200 h 780573"/>
              <a:gd name="connsiteX39" fmla="*/ 428625 w 808704"/>
              <a:gd name="connsiteY39" fmla="*/ 184150 h 780573"/>
              <a:gd name="connsiteX40" fmla="*/ 409575 w 808704"/>
              <a:gd name="connsiteY40" fmla="*/ 161925 h 780573"/>
              <a:gd name="connsiteX41" fmla="*/ 419100 w 808704"/>
              <a:gd name="connsiteY41" fmla="*/ 158750 h 780573"/>
              <a:gd name="connsiteX42" fmla="*/ 492125 w 808704"/>
              <a:gd name="connsiteY42" fmla="*/ 152400 h 780573"/>
              <a:gd name="connsiteX43" fmla="*/ 508000 w 808704"/>
              <a:gd name="connsiteY43" fmla="*/ 133350 h 780573"/>
              <a:gd name="connsiteX44" fmla="*/ 504825 w 808704"/>
              <a:gd name="connsiteY44" fmla="*/ 123825 h 780573"/>
              <a:gd name="connsiteX45" fmla="*/ 495300 w 808704"/>
              <a:gd name="connsiteY45" fmla="*/ 117475 h 780573"/>
              <a:gd name="connsiteX46" fmla="*/ 492125 w 808704"/>
              <a:gd name="connsiteY46" fmla="*/ 107950 h 780573"/>
              <a:gd name="connsiteX47" fmla="*/ 495300 w 808704"/>
              <a:gd name="connsiteY47" fmla="*/ 95250 h 780573"/>
              <a:gd name="connsiteX48" fmla="*/ 498475 w 808704"/>
              <a:gd name="connsiteY48" fmla="*/ 79375 h 780573"/>
              <a:gd name="connsiteX49" fmla="*/ 501650 w 808704"/>
              <a:gd name="connsiteY49" fmla="*/ 69850 h 780573"/>
              <a:gd name="connsiteX50" fmla="*/ 511175 w 808704"/>
              <a:gd name="connsiteY50" fmla="*/ 63500 h 780573"/>
              <a:gd name="connsiteX51" fmla="*/ 536575 w 808704"/>
              <a:gd name="connsiteY51" fmla="*/ 34925 h 780573"/>
              <a:gd name="connsiteX52" fmla="*/ 555625 w 808704"/>
              <a:gd name="connsiteY52" fmla="*/ 22225 h 780573"/>
              <a:gd name="connsiteX53" fmla="*/ 565150 w 808704"/>
              <a:gd name="connsiteY53" fmla="*/ 15875 h 780573"/>
              <a:gd name="connsiteX54" fmla="*/ 593725 w 808704"/>
              <a:gd name="connsiteY54" fmla="*/ 6350 h 780573"/>
              <a:gd name="connsiteX55" fmla="*/ 603250 w 808704"/>
              <a:gd name="connsiteY55" fmla="*/ 3175 h 780573"/>
              <a:gd name="connsiteX56" fmla="*/ 619125 w 808704"/>
              <a:gd name="connsiteY56" fmla="*/ 0 h 780573"/>
              <a:gd name="connsiteX57" fmla="*/ 628650 w 808704"/>
              <a:gd name="connsiteY57" fmla="*/ 3175 h 780573"/>
              <a:gd name="connsiteX58" fmla="*/ 676275 w 808704"/>
              <a:gd name="connsiteY58" fmla="*/ 9525 h 780573"/>
              <a:gd name="connsiteX59" fmla="*/ 695325 w 808704"/>
              <a:gd name="connsiteY59" fmla="*/ 15875 h 780573"/>
              <a:gd name="connsiteX60" fmla="*/ 704850 w 808704"/>
              <a:gd name="connsiteY60" fmla="*/ 19050 h 780573"/>
              <a:gd name="connsiteX61" fmla="*/ 730250 w 808704"/>
              <a:gd name="connsiteY61" fmla="*/ 15875 h 780573"/>
              <a:gd name="connsiteX62" fmla="*/ 739775 w 808704"/>
              <a:gd name="connsiteY62" fmla="*/ 6350 h 780573"/>
              <a:gd name="connsiteX63" fmla="*/ 749300 w 808704"/>
              <a:gd name="connsiteY63" fmla="*/ 0 h 780573"/>
              <a:gd name="connsiteX64" fmla="*/ 777875 w 808704"/>
              <a:gd name="connsiteY64" fmla="*/ 15875 h 780573"/>
              <a:gd name="connsiteX65" fmla="*/ 787400 w 808704"/>
              <a:gd name="connsiteY65" fmla="*/ 19050 h 780573"/>
              <a:gd name="connsiteX66" fmla="*/ 793750 w 808704"/>
              <a:gd name="connsiteY66" fmla="*/ 28575 h 780573"/>
              <a:gd name="connsiteX67" fmla="*/ 784225 w 808704"/>
              <a:gd name="connsiteY67" fmla="*/ 66675 h 780573"/>
              <a:gd name="connsiteX68" fmla="*/ 781050 w 808704"/>
              <a:gd name="connsiteY68" fmla="*/ 76200 h 780573"/>
              <a:gd name="connsiteX69" fmla="*/ 771525 w 808704"/>
              <a:gd name="connsiteY69" fmla="*/ 85725 h 780573"/>
              <a:gd name="connsiteX70" fmla="*/ 765175 w 808704"/>
              <a:gd name="connsiteY70" fmla="*/ 95250 h 780573"/>
              <a:gd name="connsiteX71" fmla="*/ 765175 w 808704"/>
              <a:gd name="connsiteY71" fmla="*/ 130175 h 780573"/>
              <a:gd name="connsiteX72" fmla="*/ 774700 w 808704"/>
              <a:gd name="connsiteY72" fmla="*/ 136525 h 780573"/>
              <a:gd name="connsiteX73" fmla="*/ 787400 w 808704"/>
              <a:gd name="connsiteY73" fmla="*/ 152400 h 780573"/>
              <a:gd name="connsiteX74" fmla="*/ 790575 w 808704"/>
              <a:gd name="connsiteY74" fmla="*/ 161925 h 780573"/>
              <a:gd name="connsiteX75" fmla="*/ 806450 w 808704"/>
              <a:gd name="connsiteY75" fmla="*/ 177800 h 780573"/>
              <a:gd name="connsiteX76" fmla="*/ 803275 w 808704"/>
              <a:gd name="connsiteY76" fmla="*/ 238125 h 780573"/>
              <a:gd name="connsiteX77" fmla="*/ 784225 w 808704"/>
              <a:gd name="connsiteY77" fmla="*/ 257175 h 780573"/>
              <a:gd name="connsiteX78" fmla="*/ 781050 w 808704"/>
              <a:gd name="connsiteY78" fmla="*/ 269875 h 780573"/>
              <a:gd name="connsiteX79" fmla="*/ 777875 w 808704"/>
              <a:gd name="connsiteY79" fmla="*/ 279400 h 780573"/>
              <a:gd name="connsiteX80" fmla="*/ 781050 w 808704"/>
              <a:gd name="connsiteY80" fmla="*/ 342900 h 780573"/>
              <a:gd name="connsiteX81" fmla="*/ 787400 w 808704"/>
              <a:gd name="connsiteY81" fmla="*/ 361950 h 780573"/>
              <a:gd name="connsiteX82" fmla="*/ 784225 w 808704"/>
              <a:gd name="connsiteY82" fmla="*/ 390525 h 780573"/>
              <a:gd name="connsiteX83" fmla="*/ 774700 w 808704"/>
              <a:gd name="connsiteY83" fmla="*/ 393700 h 780573"/>
              <a:gd name="connsiteX84" fmla="*/ 746125 w 808704"/>
              <a:gd name="connsiteY84" fmla="*/ 409575 h 780573"/>
              <a:gd name="connsiteX85" fmla="*/ 720725 w 808704"/>
              <a:gd name="connsiteY85" fmla="*/ 438150 h 780573"/>
              <a:gd name="connsiteX86" fmla="*/ 701675 w 808704"/>
              <a:gd name="connsiteY86" fmla="*/ 454025 h 780573"/>
              <a:gd name="connsiteX87" fmla="*/ 688975 w 808704"/>
              <a:gd name="connsiteY87" fmla="*/ 473075 h 780573"/>
              <a:gd name="connsiteX88" fmla="*/ 685800 w 808704"/>
              <a:gd name="connsiteY88" fmla="*/ 485775 h 780573"/>
              <a:gd name="connsiteX89" fmla="*/ 682625 w 808704"/>
              <a:gd name="connsiteY89" fmla="*/ 517525 h 780573"/>
              <a:gd name="connsiteX90" fmla="*/ 666750 w 808704"/>
              <a:gd name="connsiteY90" fmla="*/ 533400 h 780573"/>
              <a:gd name="connsiteX91" fmla="*/ 660400 w 808704"/>
              <a:gd name="connsiteY91" fmla="*/ 542925 h 780573"/>
              <a:gd name="connsiteX92" fmla="*/ 650875 w 808704"/>
              <a:gd name="connsiteY92" fmla="*/ 552450 h 780573"/>
              <a:gd name="connsiteX93" fmla="*/ 647700 w 808704"/>
              <a:gd name="connsiteY93" fmla="*/ 561975 h 780573"/>
              <a:gd name="connsiteX94" fmla="*/ 641350 w 808704"/>
              <a:gd name="connsiteY94" fmla="*/ 571500 h 780573"/>
              <a:gd name="connsiteX95" fmla="*/ 635000 w 808704"/>
              <a:gd name="connsiteY95" fmla="*/ 596900 h 780573"/>
              <a:gd name="connsiteX96" fmla="*/ 638175 w 808704"/>
              <a:gd name="connsiteY96" fmla="*/ 609600 h 780573"/>
              <a:gd name="connsiteX97" fmla="*/ 654050 w 808704"/>
              <a:gd name="connsiteY97" fmla="*/ 612775 h 780573"/>
              <a:gd name="connsiteX98" fmla="*/ 663575 w 808704"/>
              <a:gd name="connsiteY98" fmla="*/ 615950 h 780573"/>
              <a:gd name="connsiteX99" fmla="*/ 695325 w 808704"/>
              <a:gd name="connsiteY99" fmla="*/ 631825 h 780573"/>
              <a:gd name="connsiteX100" fmla="*/ 714375 w 808704"/>
              <a:gd name="connsiteY100" fmla="*/ 644525 h 780573"/>
              <a:gd name="connsiteX101" fmla="*/ 720725 w 808704"/>
              <a:gd name="connsiteY101" fmla="*/ 663575 h 780573"/>
              <a:gd name="connsiteX102" fmla="*/ 717550 w 808704"/>
              <a:gd name="connsiteY102" fmla="*/ 676275 h 780573"/>
              <a:gd name="connsiteX103" fmla="*/ 708025 w 808704"/>
              <a:gd name="connsiteY103" fmla="*/ 685800 h 780573"/>
              <a:gd name="connsiteX104" fmla="*/ 695325 w 808704"/>
              <a:gd name="connsiteY104" fmla="*/ 688975 h 780573"/>
              <a:gd name="connsiteX105" fmla="*/ 685800 w 808704"/>
              <a:gd name="connsiteY105" fmla="*/ 692150 h 780573"/>
              <a:gd name="connsiteX106" fmla="*/ 666750 w 808704"/>
              <a:gd name="connsiteY106" fmla="*/ 704850 h 780573"/>
              <a:gd name="connsiteX107" fmla="*/ 660400 w 808704"/>
              <a:gd name="connsiteY107" fmla="*/ 714375 h 780573"/>
              <a:gd name="connsiteX108" fmla="*/ 647700 w 808704"/>
              <a:gd name="connsiteY108" fmla="*/ 717550 h 780573"/>
              <a:gd name="connsiteX109" fmla="*/ 612775 w 808704"/>
              <a:gd name="connsiteY109" fmla="*/ 723900 h 780573"/>
              <a:gd name="connsiteX110" fmla="*/ 590550 w 808704"/>
              <a:gd name="connsiteY110" fmla="*/ 730250 h 780573"/>
              <a:gd name="connsiteX111" fmla="*/ 581025 w 808704"/>
              <a:gd name="connsiteY111" fmla="*/ 749300 h 780573"/>
              <a:gd name="connsiteX112" fmla="*/ 584200 w 808704"/>
              <a:gd name="connsiteY112" fmla="*/ 758825 h 780573"/>
              <a:gd name="connsiteX113" fmla="*/ 581025 w 808704"/>
              <a:gd name="connsiteY113" fmla="*/ 777875 h 780573"/>
              <a:gd name="connsiteX114" fmla="*/ 574675 w 808704"/>
              <a:gd name="connsiteY114" fmla="*/ 768350 h 780573"/>
              <a:gd name="connsiteX115" fmla="*/ 552450 w 808704"/>
              <a:gd name="connsiteY115" fmla="*/ 762000 h 780573"/>
              <a:gd name="connsiteX116" fmla="*/ 536575 w 808704"/>
              <a:gd name="connsiteY116" fmla="*/ 765175 h 780573"/>
              <a:gd name="connsiteX117" fmla="*/ 517525 w 808704"/>
              <a:gd name="connsiteY117" fmla="*/ 771525 h 780573"/>
              <a:gd name="connsiteX118" fmla="*/ 520700 w 808704"/>
              <a:gd name="connsiteY118" fmla="*/ 742950 h 780573"/>
              <a:gd name="connsiteX119" fmla="*/ 523875 w 808704"/>
              <a:gd name="connsiteY119" fmla="*/ 733425 h 780573"/>
              <a:gd name="connsiteX120" fmla="*/ 498475 w 808704"/>
              <a:gd name="connsiteY120" fmla="*/ 711200 h 780573"/>
              <a:gd name="connsiteX121" fmla="*/ 488950 w 808704"/>
              <a:gd name="connsiteY121" fmla="*/ 704850 h 780573"/>
              <a:gd name="connsiteX122" fmla="*/ 479425 w 808704"/>
              <a:gd name="connsiteY122" fmla="*/ 698500 h 780573"/>
              <a:gd name="connsiteX123" fmla="*/ 450850 w 808704"/>
              <a:gd name="connsiteY123" fmla="*/ 685800 h 780573"/>
              <a:gd name="connsiteX124" fmla="*/ 431800 w 808704"/>
              <a:gd name="connsiteY124" fmla="*/ 666750 h 780573"/>
              <a:gd name="connsiteX125" fmla="*/ 425450 w 808704"/>
              <a:gd name="connsiteY125" fmla="*/ 657225 h 780573"/>
              <a:gd name="connsiteX126" fmla="*/ 415925 w 808704"/>
              <a:gd name="connsiteY126" fmla="*/ 650875 h 780573"/>
              <a:gd name="connsiteX127" fmla="*/ 409575 w 808704"/>
              <a:gd name="connsiteY127" fmla="*/ 641350 h 780573"/>
              <a:gd name="connsiteX128" fmla="*/ 396875 w 808704"/>
              <a:gd name="connsiteY128" fmla="*/ 635000 h 780573"/>
              <a:gd name="connsiteX129" fmla="*/ 387350 w 808704"/>
              <a:gd name="connsiteY129" fmla="*/ 628650 h 780573"/>
              <a:gd name="connsiteX130" fmla="*/ 384175 w 808704"/>
              <a:gd name="connsiteY130" fmla="*/ 619125 h 780573"/>
              <a:gd name="connsiteX131" fmla="*/ 346075 w 808704"/>
              <a:gd name="connsiteY131" fmla="*/ 587375 h 780573"/>
              <a:gd name="connsiteX132" fmla="*/ 327025 w 808704"/>
              <a:gd name="connsiteY132" fmla="*/ 581025 h 780573"/>
              <a:gd name="connsiteX133" fmla="*/ 301625 w 808704"/>
              <a:gd name="connsiteY133" fmla="*/ 571500 h 780573"/>
              <a:gd name="connsiteX134" fmla="*/ 215900 w 808704"/>
              <a:gd name="connsiteY134" fmla="*/ 574675 h 780573"/>
              <a:gd name="connsiteX135" fmla="*/ 196850 w 808704"/>
              <a:gd name="connsiteY135" fmla="*/ 584200 h 780573"/>
              <a:gd name="connsiteX136" fmla="*/ 187325 w 808704"/>
              <a:gd name="connsiteY136" fmla="*/ 587375 h 780573"/>
              <a:gd name="connsiteX137" fmla="*/ 69850 w 808704"/>
              <a:gd name="connsiteY137" fmla="*/ 584200 h 780573"/>
              <a:gd name="connsiteX138" fmla="*/ 47625 w 808704"/>
              <a:gd name="connsiteY138" fmla="*/ 577850 h 780573"/>
              <a:gd name="connsiteX139" fmla="*/ 28575 w 808704"/>
              <a:gd name="connsiteY139" fmla="*/ 574675 h 780573"/>
              <a:gd name="connsiteX140" fmla="*/ 6350 w 808704"/>
              <a:gd name="connsiteY140" fmla="*/ 568325 h 780573"/>
              <a:gd name="connsiteX141" fmla="*/ 15875 w 808704"/>
              <a:gd name="connsiteY141" fmla="*/ 565150 h 780573"/>
              <a:gd name="connsiteX0" fmla="*/ 15875 w 808704"/>
              <a:gd name="connsiteY0" fmla="*/ 565150 h 780573"/>
              <a:gd name="connsiteX1" fmla="*/ 9525 w 808704"/>
              <a:gd name="connsiteY1" fmla="*/ 555625 h 780573"/>
              <a:gd name="connsiteX2" fmla="*/ 6350 w 808704"/>
              <a:gd name="connsiteY2" fmla="*/ 542925 h 780573"/>
              <a:gd name="connsiteX3" fmla="*/ 0 w 808704"/>
              <a:gd name="connsiteY3" fmla="*/ 530225 h 780573"/>
              <a:gd name="connsiteX4" fmla="*/ 3175 w 808704"/>
              <a:gd name="connsiteY4" fmla="*/ 450850 h 780573"/>
              <a:gd name="connsiteX5" fmla="*/ 9525 w 808704"/>
              <a:gd name="connsiteY5" fmla="*/ 422275 h 780573"/>
              <a:gd name="connsiteX6" fmla="*/ 31750 w 808704"/>
              <a:gd name="connsiteY6" fmla="*/ 409575 h 780573"/>
              <a:gd name="connsiteX7" fmla="*/ 47625 w 808704"/>
              <a:gd name="connsiteY7" fmla="*/ 393700 h 780573"/>
              <a:gd name="connsiteX8" fmla="*/ 57150 w 808704"/>
              <a:gd name="connsiteY8" fmla="*/ 374650 h 780573"/>
              <a:gd name="connsiteX9" fmla="*/ 41275 w 808704"/>
              <a:gd name="connsiteY9" fmla="*/ 358775 h 780573"/>
              <a:gd name="connsiteX10" fmla="*/ 25400 w 808704"/>
              <a:gd name="connsiteY10" fmla="*/ 342900 h 780573"/>
              <a:gd name="connsiteX11" fmla="*/ 22225 w 808704"/>
              <a:gd name="connsiteY11" fmla="*/ 241300 h 780573"/>
              <a:gd name="connsiteX12" fmla="*/ 25400 w 808704"/>
              <a:gd name="connsiteY12" fmla="*/ 203200 h 780573"/>
              <a:gd name="connsiteX13" fmla="*/ 34925 w 808704"/>
              <a:gd name="connsiteY13" fmla="*/ 193675 h 780573"/>
              <a:gd name="connsiteX14" fmla="*/ 41275 w 808704"/>
              <a:gd name="connsiteY14" fmla="*/ 184150 h 780573"/>
              <a:gd name="connsiteX15" fmla="*/ 79375 w 808704"/>
              <a:gd name="connsiteY15" fmla="*/ 187325 h 780573"/>
              <a:gd name="connsiteX16" fmla="*/ 88900 w 808704"/>
              <a:gd name="connsiteY16" fmla="*/ 184150 h 780573"/>
              <a:gd name="connsiteX17" fmla="*/ 142875 w 808704"/>
              <a:gd name="connsiteY17" fmla="*/ 180975 h 780573"/>
              <a:gd name="connsiteX18" fmla="*/ 155575 w 808704"/>
              <a:gd name="connsiteY18" fmla="*/ 161925 h 780573"/>
              <a:gd name="connsiteX19" fmla="*/ 161925 w 808704"/>
              <a:gd name="connsiteY19" fmla="*/ 152400 h 780573"/>
              <a:gd name="connsiteX20" fmla="*/ 168275 w 808704"/>
              <a:gd name="connsiteY20" fmla="*/ 133350 h 780573"/>
              <a:gd name="connsiteX21" fmla="*/ 177800 w 808704"/>
              <a:gd name="connsiteY21" fmla="*/ 130175 h 780573"/>
              <a:gd name="connsiteX22" fmla="*/ 250825 w 808704"/>
              <a:gd name="connsiteY22" fmla="*/ 136525 h 780573"/>
              <a:gd name="connsiteX23" fmla="*/ 269875 w 808704"/>
              <a:gd name="connsiteY23" fmla="*/ 146050 h 780573"/>
              <a:gd name="connsiteX24" fmla="*/ 311150 w 808704"/>
              <a:gd name="connsiteY24" fmla="*/ 155575 h 780573"/>
              <a:gd name="connsiteX25" fmla="*/ 317500 w 808704"/>
              <a:gd name="connsiteY25" fmla="*/ 180975 h 780573"/>
              <a:gd name="connsiteX26" fmla="*/ 320675 w 808704"/>
              <a:gd name="connsiteY26" fmla="*/ 190500 h 780573"/>
              <a:gd name="connsiteX27" fmla="*/ 330200 w 808704"/>
              <a:gd name="connsiteY27" fmla="*/ 193675 h 780573"/>
              <a:gd name="connsiteX28" fmla="*/ 368300 w 808704"/>
              <a:gd name="connsiteY28" fmla="*/ 196850 h 780573"/>
              <a:gd name="connsiteX29" fmla="*/ 390525 w 808704"/>
              <a:gd name="connsiteY29" fmla="*/ 206375 h 780573"/>
              <a:gd name="connsiteX30" fmla="*/ 400050 w 808704"/>
              <a:gd name="connsiteY30" fmla="*/ 212725 h 780573"/>
              <a:gd name="connsiteX31" fmla="*/ 409575 w 808704"/>
              <a:gd name="connsiteY31" fmla="*/ 215900 h 780573"/>
              <a:gd name="connsiteX32" fmla="*/ 425450 w 808704"/>
              <a:gd name="connsiteY32" fmla="*/ 228600 h 780573"/>
              <a:gd name="connsiteX33" fmla="*/ 431800 w 808704"/>
              <a:gd name="connsiteY33" fmla="*/ 238125 h 780573"/>
              <a:gd name="connsiteX34" fmla="*/ 441325 w 808704"/>
              <a:gd name="connsiteY34" fmla="*/ 241300 h 780573"/>
              <a:gd name="connsiteX35" fmla="*/ 454025 w 808704"/>
              <a:gd name="connsiteY35" fmla="*/ 247650 h 780573"/>
              <a:gd name="connsiteX36" fmla="*/ 476250 w 808704"/>
              <a:gd name="connsiteY36" fmla="*/ 234950 h 780573"/>
              <a:gd name="connsiteX37" fmla="*/ 466725 w 808704"/>
              <a:gd name="connsiteY37" fmla="*/ 228600 h 780573"/>
              <a:gd name="connsiteX38" fmla="*/ 444500 w 808704"/>
              <a:gd name="connsiteY38" fmla="*/ 203200 h 780573"/>
              <a:gd name="connsiteX39" fmla="*/ 428625 w 808704"/>
              <a:gd name="connsiteY39" fmla="*/ 184150 h 780573"/>
              <a:gd name="connsiteX40" fmla="*/ 409575 w 808704"/>
              <a:gd name="connsiteY40" fmla="*/ 161925 h 780573"/>
              <a:gd name="connsiteX41" fmla="*/ 419100 w 808704"/>
              <a:gd name="connsiteY41" fmla="*/ 158750 h 780573"/>
              <a:gd name="connsiteX42" fmla="*/ 492125 w 808704"/>
              <a:gd name="connsiteY42" fmla="*/ 152400 h 780573"/>
              <a:gd name="connsiteX43" fmla="*/ 508000 w 808704"/>
              <a:gd name="connsiteY43" fmla="*/ 133350 h 780573"/>
              <a:gd name="connsiteX44" fmla="*/ 504825 w 808704"/>
              <a:gd name="connsiteY44" fmla="*/ 123825 h 780573"/>
              <a:gd name="connsiteX45" fmla="*/ 495300 w 808704"/>
              <a:gd name="connsiteY45" fmla="*/ 117475 h 780573"/>
              <a:gd name="connsiteX46" fmla="*/ 492125 w 808704"/>
              <a:gd name="connsiteY46" fmla="*/ 107950 h 780573"/>
              <a:gd name="connsiteX47" fmla="*/ 495300 w 808704"/>
              <a:gd name="connsiteY47" fmla="*/ 95250 h 780573"/>
              <a:gd name="connsiteX48" fmla="*/ 498475 w 808704"/>
              <a:gd name="connsiteY48" fmla="*/ 79375 h 780573"/>
              <a:gd name="connsiteX49" fmla="*/ 501650 w 808704"/>
              <a:gd name="connsiteY49" fmla="*/ 69850 h 780573"/>
              <a:gd name="connsiteX50" fmla="*/ 511175 w 808704"/>
              <a:gd name="connsiteY50" fmla="*/ 63500 h 780573"/>
              <a:gd name="connsiteX51" fmla="*/ 536575 w 808704"/>
              <a:gd name="connsiteY51" fmla="*/ 34925 h 780573"/>
              <a:gd name="connsiteX52" fmla="*/ 555625 w 808704"/>
              <a:gd name="connsiteY52" fmla="*/ 22225 h 780573"/>
              <a:gd name="connsiteX53" fmla="*/ 565150 w 808704"/>
              <a:gd name="connsiteY53" fmla="*/ 15875 h 780573"/>
              <a:gd name="connsiteX54" fmla="*/ 593725 w 808704"/>
              <a:gd name="connsiteY54" fmla="*/ 6350 h 780573"/>
              <a:gd name="connsiteX55" fmla="*/ 603250 w 808704"/>
              <a:gd name="connsiteY55" fmla="*/ 3175 h 780573"/>
              <a:gd name="connsiteX56" fmla="*/ 619125 w 808704"/>
              <a:gd name="connsiteY56" fmla="*/ 0 h 780573"/>
              <a:gd name="connsiteX57" fmla="*/ 628650 w 808704"/>
              <a:gd name="connsiteY57" fmla="*/ 3175 h 780573"/>
              <a:gd name="connsiteX58" fmla="*/ 676275 w 808704"/>
              <a:gd name="connsiteY58" fmla="*/ 9525 h 780573"/>
              <a:gd name="connsiteX59" fmla="*/ 695325 w 808704"/>
              <a:gd name="connsiteY59" fmla="*/ 15875 h 780573"/>
              <a:gd name="connsiteX60" fmla="*/ 704850 w 808704"/>
              <a:gd name="connsiteY60" fmla="*/ 19050 h 780573"/>
              <a:gd name="connsiteX61" fmla="*/ 730250 w 808704"/>
              <a:gd name="connsiteY61" fmla="*/ 15875 h 780573"/>
              <a:gd name="connsiteX62" fmla="*/ 739775 w 808704"/>
              <a:gd name="connsiteY62" fmla="*/ 6350 h 780573"/>
              <a:gd name="connsiteX63" fmla="*/ 749300 w 808704"/>
              <a:gd name="connsiteY63" fmla="*/ 0 h 780573"/>
              <a:gd name="connsiteX64" fmla="*/ 777875 w 808704"/>
              <a:gd name="connsiteY64" fmla="*/ 15875 h 780573"/>
              <a:gd name="connsiteX65" fmla="*/ 787400 w 808704"/>
              <a:gd name="connsiteY65" fmla="*/ 19050 h 780573"/>
              <a:gd name="connsiteX66" fmla="*/ 793750 w 808704"/>
              <a:gd name="connsiteY66" fmla="*/ 28575 h 780573"/>
              <a:gd name="connsiteX67" fmla="*/ 784225 w 808704"/>
              <a:gd name="connsiteY67" fmla="*/ 66675 h 780573"/>
              <a:gd name="connsiteX68" fmla="*/ 781050 w 808704"/>
              <a:gd name="connsiteY68" fmla="*/ 76200 h 780573"/>
              <a:gd name="connsiteX69" fmla="*/ 771525 w 808704"/>
              <a:gd name="connsiteY69" fmla="*/ 85725 h 780573"/>
              <a:gd name="connsiteX70" fmla="*/ 765175 w 808704"/>
              <a:gd name="connsiteY70" fmla="*/ 95250 h 780573"/>
              <a:gd name="connsiteX71" fmla="*/ 765175 w 808704"/>
              <a:gd name="connsiteY71" fmla="*/ 130175 h 780573"/>
              <a:gd name="connsiteX72" fmla="*/ 774700 w 808704"/>
              <a:gd name="connsiteY72" fmla="*/ 136525 h 780573"/>
              <a:gd name="connsiteX73" fmla="*/ 787400 w 808704"/>
              <a:gd name="connsiteY73" fmla="*/ 152400 h 780573"/>
              <a:gd name="connsiteX74" fmla="*/ 790575 w 808704"/>
              <a:gd name="connsiteY74" fmla="*/ 161925 h 780573"/>
              <a:gd name="connsiteX75" fmla="*/ 806450 w 808704"/>
              <a:gd name="connsiteY75" fmla="*/ 177800 h 780573"/>
              <a:gd name="connsiteX76" fmla="*/ 803275 w 808704"/>
              <a:gd name="connsiteY76" fmla="*/ 238125 h 780573"/>
              <a:gd name="connsiteX77" fmla="*/ 784225 w 808704"/>
              <a:gd name="connsiteY77" fmla="*/ 257175 h 780573"/>
              <a:gd name="connsiteX78" fmla="*/ 781050 w 808704"/>
              <a:gd name="connsiteY78" fmla="*/ 269875 h 780573"/>
              <a:gd name="connsiteX79" fmla="*/ 777875 w 808704"/>
              <a:gd name="connsiteY79" fmla="*/ 279400 h 780573"/>
              <a:gd name="connsiteX80" fmla="*/ 781050 w 808704"/>
              <a:gd name="connsiteY80" fmla="*/ 342900 h 780573"/>
              <a:gd name="connsiteX81" fmla="*/ 787400 w 808704"/>
              <a:gd name="connsiteY81" fmla="*/ 361950 h 780573"/>
              <a:gd name="connsiteX82" fmla="*/ 784225 w 808704"/>
              <a:gd name="connsiteY82" fmla="*/ 390525 h 780573"/>
              <a:gd name="connsiteX83" fmla="*/ 774700 w 808704"/>
              <a:gd name="connsiteY83" fmla="*/ 393700 h 780573"/>
              <a:gd name="connsiteX84" fmla="*/ 746125 w 808704"/>
              <a:gd name="connsiteY84" fmla="*/ 409575 h 780573"/>
              <a:gd name="connsiteX85" fmla="*/ 720725 w 808704"/>
              <a:gd name="connsiteY85" fmla="*/ 438150 h 780573"/>
              <a:gd name="connsiteX86" fmla="*/ 701675 w 808704"/>
              <a:gd name="connsiteY86" fmla="*/ 454025 h 780573"/>
              <a:gd name="connsiteX87" fmla="*/ 688975 w 808704"/>
              <a:gd name="connsiteY87" fmla="*/ 473075 h 780573"/>
              <a:gd name="connsiteX88" fmla="*/ 685800 w 808704"/>
              <a:gd name="connsiteY88" fmla="*/ 485775 h 780573"/>
              <a:gd name="connsiteX89" fmla="*/ 682625 w 808704"/>
              <a:gd name="connsiteY89" fmla="*/ 517525 h 780573"/>
              <a:gd name="connsiteX90" fmla="*/ 666750 w 808704"/>
              <a:gd name="connsiteY90" fmla="*/ 533400 h 780573"/>
              <a:gd name="connsiteX91" fmla="*/ 660400 w 808704"/>
              <a:gd name="connsiteY91" fmla="*/ 542925 h 780573"/>
              <a:gd name="connsiteX92" fmla="*/ 650875 w 808704"/>
              <a:gd name="connsiteY92" fmla="*/ 552450 h 780573"/>
              <a:gd name="connsiteX93" fmla="*/ 647700 w 808704"/>
              <a:gd name="connsiteY93" fmla="*/ 561975 h 780573"/>
              <a:gd name="connsiteX94" fmla="*/ 641350 w 808704"/>
              <a:gd name="connsiteY94" fmla="*/ 571500 h 780573"/>
              <a:gd name="connsiteX95" fmla="*/ 635000 w 808704"/>
              <a:gd name="connsiteY95" fmla="*/ 596900 h 780573"/>
              <a:gd name="connsiteX96" fmla="*/ 638175 w 808704"/>
              <a:gd name="connsiteY96" fmla="*/ 609600 h 780573"/>
              <a:gd name="connsiteX97" fmla="*/ 654050 w 808704"/>
              <a:gd name="connsiteY97" fmla="*/ 612775 h 780573"/>
              <a:gd name="connsiteX98" fmla="*/ 663575 w 808704"/>
              <a:gd name="connsiteY98" fmla="*/ 615950 h 780573"/>
              <a:gd name="connsiteX99" fmla="*/ 695325 w 808704"/>
              <a:gd name="connsiteY99" fmla="*/ 631825 h 780573"/>
              <a:gd name="connsiteX100" fmla="*/ 714375 w 808704"/>
              <a:gd name="connsiteY100" fmla="*/ 644525 h 780573"/>
              <a:gd name="connsiteX101" fmla="*/ 720725 w 808704"/>
              <a:gd name="connsiteY101" fmla="*/ 663575 h 780573"/>
              <a:gd name="connsiteX102" fmla="*/ 717550 w 808704"/>
              <a:gd name="connsiteY102" fmla="*/ 676275 h 780573"/>
              <a:gd name="connsiteX103" fmla="*/ 708025 w 808704"/>
              <a:gd name="connsiteY103" fmla="*/ 685800 h 780573"/>
              <a:gd name="connsiteX104" fmla="*/ 695325 w 808704"/>
              <a:gd name="connsiteY104" fmla="*/ 688975 h 780573"/>
              <a:gd name="connsiteX105" fmla="*/ 685800 w 808704"/>
              <a:gd name="connsiteY105" fmla="*/ 692150 h 780573"/>
              <a:gd name="connsiteX106" fmla="*/ 666750 w 808704"/>
              <a:gd name="connsiteY106" fmla="*/ 704850 h 780573"/>
              <a:gd name="connsiteX107" fmla="*/ 660400 w 808704"/>
              <a:gd name="connsiteY107" fmla="*/ 714375 h 780573"/>
              <a:gd name="connsiteX108" fmla="*/ 647700 w 808704"/>
              <a:gd name="connsiteY108" fmla="*/ 717550 h 780573"/>
              <a:gd name="connsiteX109" fmla="*/ 612775 w 808704"/>
              <a:gd name="connsiteY109" fmla="*/ 723900 h 780573"/>
              <a:gd name="connsiteX110" fmla="*/ 590550 w 808704"/>
              <a:gd name="connsiteY110" fmla="*/ 730250 h 780573"/>
              <a:gd name="connsiteX111" fmla="*/ 581025 w 808704"/>
              <a:gd name="connsiteY111" fmla="*/ 749300 h 780573"/>
              <a:gd name="connsiteX112" fmla="*/ 584200 w 808704"/>
              <a:gd name="connsiteY112" fmla="*/ 758825 h 780573"/>
              <a:gd name="connsiteX113" fmla="*/ 581025 w 808704"/>
              <a:gd name="connsiteY113" fmla="*/ 777875 h 780573"/>
              <a:gd name="connsiteX114" fmla="*/ 574675 w 808704"/>
              <a:gd name="connsiteY114" fmla="*/ 768350 h 780573"/>
              <a:gd name="connsiteX115" fmla="*/ 552450 w 808704"/>
              <a:gd name="connsiteY115" fmla="*/ 762000 h 780573"/>
              <a:gd name="connsiteX116" fmla="*/ 536575 w 808704"/>
              <a:gd name="connsiteY116" fmla="*/ 765175 h 780573"/>
              <a:gd name="connsiteX117" fmla="*/ 517525 w 808704"/>
              <a:gd name="connsiteY117" fmla="*/ 771525 h 780573"/>
              <a:gd name="connsiteX118" fmla="*/ 520700 w 808704"/>
              <a:gd name="connsiteY118" fmla="*/ 742950 h 780573"/>
              <a:gd name="connsiteX119" fmla="*/ 523875 w 808704"/>
              <a:gd name="connsiteY119" fmla="*/ 733425 h 780573"/>
              <a:gd name="connsiteX120" fmla="*/ 498475 w 808704"/>
              <a:gd name="connsiteY120" fmla="*/ 711200 h 780573"/>
              <a:gd name="connsiteX121" fmla="*/ 488950 w 808704"/>
              <a:gd name="connsiteY121" fmla="*/ 704850 h 780573"/>
              <a:gd name="connsiteX122" fmla="*/ 479425 w 808704"/>
              <a:gd name="connsiteY122" fmla="*/ 698500 h 780573"/>
              <a:gd name="connsiteX123" fmla="*/ 450850 w 808704"/>
              <a:gd name="connsiteY123" fmla="*/ 685800 h 780573"/>
              <a:gd name="connsiteX124" fmla="*/ 431800 w 808704"/>
              <a:gd name="connsiteY124" fmla="*/ 666750 h 780573"/>
              <a:gd name="connsiteX125" fmla="*/ 425450 w 808704"/>
              <a:gd name="connsiteY125" fmla="*/ 657225 h 780573"/>
              <a:gd name="connsiteX126" fmla="*/ 415925 w 808704"/>
              <a:gd name="connsiteY126" fmla="*/ 650875 h 780573"/>
              <a:gd name="connsiteX127" fmla="*/ 409575 w 808704"/>
              <a:gd name="connsiteY127" fmla="*/ 641350 h 780573"/>
              <a:gd name="connsiteX128" fmla="*/ 396875 w 808704"/>
              <a:gd name="connsiteY128" fmla="*/ 635000 h 780573"/>
              <a:gd name="connsiteX129" fmla="*/ 387350 w 808704"/>
              <a:gd name="connsiteY129" fmla="*/ 628650 h 780573"/>
              <a:gd name="connsiteX130" fmla="*/ 384175 w 808704"/>
              <a:gd name="connsiteY130" fmla="*/ 619125 h 780573"/>
              <a:gd name="connsiteX131" fmla="*/ 346075 w 808704"/>
              <a:gd name="connsiteY131" fmla="*/ 587375 h 780573"/>
              <a:gd name="connsiteX132" fmla="*/ 327025 w 808704"/>
              <a:gd name="connsiteY132" fmla="*/ 581025 h 780573"/>
              <a:gd name="connsiteX133" fmla="*/ 301625 w 808704"/>
              <a:gd name="connsiteY133" fmla="*/ 571500 h 780573"/>
              <a:gd name="connsiteX134" fmla="*/ 215900 w 808704"/>
              <a:gd name="connsiteY134" fmla="*/ 574675 h 780573"/>
              <a:gd name="connsiteX135" fmla="*/ 196850 w 808704"/>
              <a:gd name="connsiteY135" fmla="*/ 584200 h 780573"/>
              <a:gd name="connsiteX136" fmla="*/ 187325 w 808704"/>
              <a:gd name="connsiteY136" fmla="*/ 587375 h 780573"/>
              <a:gd name="connsiteX137" fmla="*/ 69850 w 808704"/>
              <a:gd name="connsiteY137" fmla="*/ 584200 h 780573"/>
              <a:gd name="connsiteX138" fmla="*/ 47625 w 808704"/>
              <a:gd name="connsiteY138" fmla="*/ 577850 h 780573"/>
              <a:gd name="connsiteX139" fmla="*/ 28575 w 808704"/>
              <a:gd name="connsiteY139" fmla="*/ 574675 h 780573"/>
              <a:gd name="connsiteX140" fmla="*/ 6350 w 808704"/>
              <a:gd name="connsiteY140" fmla="*/ 568325 h 780573"/>
              <a:gd name="connsiteX141" fmla="*/ 15875 w 808704"/>
              <a:gd name="connsiteY141" fmla="*/ 565150 h 780573"/>
              <a:gd name="connsiteX0" fmla="*/ 15875 w 808704"/>
              <a:gd name="connsiteY0" fmla="*/ 565150 h 780573"/>
              <a:gd name="connsiteX1" fmla="*/ 9525 w 808704"/>
              <a:gd name="connsiteY1" fmla="*/ 555625 h 780573"/>
              <a:gd name="connsiteX2" fmla="*/ 6350 w 808704"/>
              <a:gd name="connsiteY2" fmla="*/ 542925 h 780573"/>
              <a:gd name="connsiteX3" fmla="*/ 0 w 808704"/>
              <a:gd name="connsiteY3" fmla="*/ 530225 h 780573"/>
              <a:gd name="connsiteX4" fmla="*/ 3175 w 808704"/>
              <a:gd name="connsiteY4" fmla="*/ 450850 h 780573"/>
              <a:gd name="connsiteX5" fmla="*/ 9525 w 808704"/>
              <a:gd name="connsiteY5" fmla="*/ 422275 h 780573"/>
              <a:gd name="connsiteX6" fmla="*/ 31750 w 808704"/>
              <a:gd name="connsiteY6" fmla="*/ 409575 h 780573"/>
              <a:gd name="connsiteX7" fmla="*/ 47625 w 808704"/>
              <a:gd name="connsiteY7" fmla="*/ 393700 h 780573"/>
              <a:gd name="connsiteX8" fmla="*/ 57150 w 808704"/>
              <a:gd name="connsiteY8" fmla="*/ 374650 h 780573"/>
              <a:gd name="connsiteX9" fmla="*/ 41275 w 808704"/>
              <a:gd name="connsiteY9" fmla="*/ 358775 h 780573"/>
              <a:gd name="connsiteX10" fmla="*/ 25400 w 808704"/>
              <a:gd name="connsiteY10" fmla="*/ 342900 h 780573"/>
              <a:gd name="connsiteX11" fmla="*/ 22225 w 808704"/>
              <a:gd name="connsiteY11" fmla="*/ 241300 h 780573"/>
              <a:gd name="connsiteX12" fmla="*/ 25400 w 808704"/>
              <a:gd name="connsiteY12" fmla="*/ 203200 h 780573"/>
              <a:gd name="connsiteX13" fmla="*/ 34925 w 808704"/>
              <a:gd name="connsiteY13" fmla="*/ 193675 h 780573"/>
              <a:gd name="connsiteX14" fmla="*/ 41275 w 808704"/>
              <a:gd name="connsiteY14" fmla="*/ 184150 h 780573"/>
              <a:gd name="connsiteX15" fmla="*/ 79375 w 808704"/>
              <a:gd name="connsiteY15" fmla="*/ 187325 h 780573"/>
              <a:gd name="connsiteX16" fmla="*/ 88900 w 808704"/>
              <a:gd name="connsiteY16" fmla="*/ 184150 h 780573"/>
              <a:gd name="connsiteX17" fmla="*/ 142875 w 808704"/>
              <a:gd name="connsiteY17" fmla="*/ 180975 h 780573"/>
              <a:gd name="connsiteX18" fmla="*/ 155575 w 808704"/>
              <a:gd name="connsiteY18" fmla="*/ 161925 h 780573"/>
              <a:gd name="connsiteX19" fmla="*/ 161925 w 808704"/>
              <a:gd name="connsiteY19" fmla="*/ 152400 h 780573"/>
              <a:gd name="connsiteX20" fmla="*/ 168275 w 808704"/>
              <a:gd name="connsiteY20" fmla="*/ 133350 h 780573"/>
              <a:gd name="connsiteX21" fmla="*/ 177800 w 808704"/>
              <a:gd name="connsiteY21" fmla="*/ 130175 h 780573"/>
              <a:gd name="connsiteX22" fmla="*/ 250825 w 808704"/>
              <a:gd name="connsiteY22" fmla="*/ 136525 h 780573"/>
              <a:gd name="connsiteX23" fmla="*/ 269875 w 808704"/>
              <a:gd name="connsiteY23" fmla="*/ 146050 h 780573"/>
              <a:gd name="connsiteX24" fmla="*/ 311150 w 808704"/>
              <a:gd name="connsiteY24" fmla="*/ 155575 h 780573"/>
              <a:gd name="connsiteX25" fmla="*/ 317500 w 808704"/>
              <a:gd name="connsiteY25" fmla="*/ 180975 h 780573"/>
              <a:gd name="connsiteX26" fmla="*/ 320675 w 808704"/>
              <a:gd name="connsiteY26" fmla="*/ 190500 h 780573"/>
              <a:gd name="connsiteX27" fmla="*/ 330200 w 808704"/>
              <a:gd name="connsiteY27" fmla="*/ 193675 h 780573"/>
              <a:gd name="connsiteX28" fmla="*/ 368300 w 808704"/>
              <a:gd name="connsiteY28" fmla="*/ 196850 h 780573"/>
              <a:gd name="connsiteX29" fmla="*/ 390525 w 808704"/>
              <a:gd name="connsiteY29" fmla="*/ 206375 h 780573"/>
              <a:gd name="connsiteX30" fmla="*/ 400050 w 808704"/>
              <a:gd name="connsiteY30" fmla="*/ 212725 h 780573"/>
              <a:gd name="connsiteX31" fmla="*/ 409575 w 808704"/>
              <a:gd name="connsiteY31" fmla="*/ 215900 h 780573"/>
              <a:gd name="connsiteX32" fmla="*/ 425450 w 808704"/>
              <a:gd name="connsiteY32" fmla="*/ 228600 h 780573"/>
              <a:gd name="connsiteX33" fmla="*/ 431800 w 808704"/>
              <a:gd name="connsiteY33" fmla="*/ 238125 h 780573"/>
              <a:gd name="connsiteX34" fmla="*/ 441325 w 808704"/>
              <a:gd name="connsiteY34" fmla="*/ 241300 h 780573"/>
              <a:gd name="connsiteX35" fmla="*/ 454025 w 808704"/>
              <a:gd name="connsiteY35" fmla="*/ 247650 h 780573"/>
              <a:gd name="connsiteX36" fmla="*/ 476250 w 808704"/>
              <a:gd name="connsiteY36" fmla="*/ 234950 h 780573"/>
              <a:gd name="connsiteX37" fmla="*/ 466725 w 808704"/>
              <a:gd name="connsiteY37" fmla="*/ 228600 h 780573"/>
              <a:gd name="connsiteX38" fmla="*/ 444500 w 808704"/>
              <a:gd name="connsiteY38" fmla="*/ 203200 h 780573"/>
              <a:gd name="connsiteX39" fmla="*/ 428625 w 808704"/>
              <a:gd name="connsiteY39" fmla="*/ 184150 h 780573"/>
              <a:gd name="connsiteX40" fmla="*/ 409575 w 808704"/>
              <a:gd name="connsiteY40" fmla="*/ 161925 h 780573"/>
              <a:gd name="connsiteX41" fmla="*/ 419100 w 808704"/>
              <a:gd name="connsiteY41" fmla="*/ 158750 h 780573"/>
              <a:gd name="connsiteX42" fmla="*/ 492125 w 808704"/>
              <a:gd name="connsiteY42" fmla="*/ 152400 h 780573"/>
              <a:gd name="connsiteX43" fmla="*/ 508000 w 808704"/>
              <a:gd name="connsiteY43" fmla="*/ 133350 h 780573"/>
              <a:gd name="connsiteX44" fmla="*/ 504825 w 808704"/>
              <a:gd name="connsiteY44" fmla="*/ 123825 h 780573"/>
              <a:gd name="connsiteX45" fmla="*/ 495300 w 808704"/>
              <a:gd name="connsiteY45" fmla="*/ 117475 h 780573"/>
              <a:gd name="connsiteX46" fmla="*/ 492125 w 808704"/>
              <a:gd name="connsiteY46" fmla="*/ 107950 h 780573"/>
              <a:gd name="connsiteX47" fmla="*/ 495300 w 808704"/>
              <a:gd name="connsiteY47" fmla="*/ 95250 h 780573"/>
              <a:gd name="connsiteX48" fmla="*/ 498475 w 808704"/>
              <a:gd name="connsiteY48" fmla="*/ 79375 h 780573"/>
              <a:gd name="connsiteX49" fmla="*/ 501650 w 808704"/>
              <a:gd name="connsiteY49" fmla="*/ 69850 h 780573"/>
              <a:gd name="connsiteX50" fmla="*/ 511175 w 808704"/>
              <a:gd name="connsiteY50" fmla="*/ 63500 h 780573"/>
              <a:gd name="connsiteX51" fmla="*/ 536575 w 808704"/>
              <a:gd name="connsiteY51" fmla="*/ 34925 h 780573"/>
              <a:gd name="connsiteX52" fmla="*/ 555625 w 808704"/>
              <a:gd name="connsiteY52" fmla="*/ 22225 h 780573"/>
              <a:gd name="connsiteX53" fmla="*/ 565150 w 808704"/>
              <a:gd name="connsiteY53" fmla="*/ 15875 h 780573"/>
              <a:gd name="connsiteX54" fmla="*/ 593725 w 808704"/>
              <a:gd name="connsiteY54" fmla="*/ 6350 h 780573"/>
              <a:gd name="connsiteX55" fmla="*/ 603250 w 808704"/>
              <a:gd name="connsiteY55" fmla="*/ 3175 h 780573"/>
              <a:gd name="connsiteX56" fmla="*/ 619125 w 808704"/>
              <a:gd name="connsiteY56" fmla="*/ 0 h 780573"/>
              <a:gd name="connsiteX57" fmla="*/ 628650 w 808704"/>
              <a:gd name="connsiteY57" fmla="*/ 3175 h 780573"/>
              <a:gd name="connsiteX58" fmla="*/ 676275 w 808704"/>
              <a:gd name="connsiteY58" fmla="*/ 9525 h 780573"/>
              <a:gd name="connsiteX59" fmla="*/ 695325 w 808704"/>
              <a:gd name="connsiteY59" fmla="*/ 15875 h 780573"/>
              <a:gd name="connsiteX60" fmla="*/ 704850 w 808704"/>
              <a:gd name="connsiteY60" fmla="*/ 19050 h 780573"/>
              <a:gd name="connsiteX61" fmla="*/ 730250 w 808704"/>
              <a:gd name="connsiteY61" fmla="*/ 15875 h 780573"/>
              <a:gd name="connsiteX62" fmla="*/ 739775 w 808704"/>
              <a:gd name="connsiteY62" fmla="*/ 6350 h 780573"/>
              <a:gd name="connsiteX63" fmla="*/ 749300 w 808704"/>
              <a:gd name="connsiteY63" fmla="*/ 0 h 780573"/>
              <a:gd name="connsiteX64" fmla="*/ 777875 w 808704"/>
              <a:gd name="connsiteY64" fmla="*/ 15875 h 780573"/>
              <a:gd name="connsiteX65" fmla="*/ 787400 w 808704"/>
              <a:gd name="connsiteY65" fmla="*/ 19050 h 780573"/>
              <a:gd name="connsiteX66" fmla="*/ 793750 w 808704"/>
              <a:gd name="connsiteY66" fmla="*/ 28575 h 780573"/>
              <a:gd name="connsiteX67" fmla="*/ 784225 w 808704"/>
              <a:gd name="connsiteY67" fmla="*/ 66675 h 780573"/>
              <a:gd name="connsiteX68" fmla="*/ 781050 w 808704"/>
              <a:gd name="connsiteY68" fmla="*/ 76200 h 780573"/>
              <a:gd name="connsiteX69" fmla="*/ 771525 w 808704"/>
              <a:gd name="connsiteY69" fmla="*/ 85725 h 780573"/>
              <a:gd name="connsiteX70" fmla="*/ 765175 w 808704"/>
              <a:gd name="connsiteY70" fmla="*/ 95250 h 780573"/>
              <a:gd name="connsiteX71" fmla="*/ 765175 w 808704"/>
              <a:gd name="connsiteY71" fmla="*/ 130175 h 780573"/>
              <a:gd name="connsiteX72" fmla="*/ 774700 w 808704"/>
              <a:gd name="connsiteY72" fmla="*/ 136525 h 780573"/>
              <a:gd name="connsiteX73" fmla="*/ 787400 w 808704"/>
              <a:gd name="connsiteY73" fmla="*/ 152400 h 780573"/>
              <a:gd name="connsiteX74" fmla="*/ 790575 w 808704"/>
              <a:gd name="connsiteY74" fmla="*/ 161925 h 780573"/>
              <a:gd name="connsiteX75" fmla="*/ 806450 w 808704"/>
              <a:gd name="connsiteY75" fmla="*/ 177800 h 780573"/>
              <a:gd name="connsiteX76" fmla="*/ 803275 w 808704"/>
              <a:gd name="connsiteY76" fmla="*/ 238125 h 780573"/>
              <a:gd name="connsiteX77" fmla="*/ 784225 w 808704"/>
              <a:gd name="connsiteY77" fmla="*/ 257175 h 780573"/>
              <a:gd name="connsiteX78" fmla="*/ 781050 w 808704"/>
              <a:gd name="connsiteY78" fmla="*/ 269875 h 780573"/>
              <a:gd name="connsiteX79" fmla="*/ 777875 w 808704"/>
              <a:gd name="connsiteY79" fmla="*/ 279400 h 780573"/>
              <a:gd name="connsiteX80" fmla="*/ 781050 w 808704"/>
              <a:gd name="connsiteY80" fmla="*/ 342900 h 780573"/>
              <a:gd name="connsiteX81" fmla="*/ 787400 w 808704"/>
              <a:gd name="connsiteY81" fmla="*/ 361950 h 780573"/>
              <a:gd name="connsiteX82" fmla="*/ 784225 w 808704"/>
              <a:gd name="connsiteY82" fmla="*/ 390525 h 780573"/>
              <a:gd name="connsiteX83" fmla="*/ 774700 w 808704"/>
              <a:gd name="connsiteY83" fmla="*/ 393700 h 780573"/>
              <a:gd name="connsiteX84" fmla="*/ 746125 w 808704"/>
              <a:gd name="connsiteY84" fmla="*/ 409575 h 780573"/>
              <a:gd name="connsiteX85" fmla="*/ 720725 w 808704"/>
              <a:gd name="connsiteY85" fmla="*/ 438150 h 780573"/>
              <a:gd name="connsiteX86" fmla="*/ 701675 w 808704"/>
              <a:gd name="connsiteY86" fmla="*/ 454025 h 780573"/>
              <a:gd name="connsiteX87" fmla="*/ 688975 w 808704"/>
              <a:gd name="connsiteY87" fmla="*/ 473075 h 780573"/>
              <a:gd name="connsiteX88" fmla="*/ 685800 w 808704"/>
              <a:gd name="connsiteY88" fmla="*/ 485775 h 780573"/>
              <a:gd name="connsiteX89" fmla="*/ 682625 w 808704"/>
              <a:gd name="connsiteY89" fmla="*/ 517525 h 780573"/>
              <a:gd name="connsiteX90" fmla="*/ 666750 w 808704"/>
              <a:gd name="connsiteY90" fmla="*/ 533400 h 780573"/>
              <a:gd name="connsiteX91" fmla="*/ 660400 w 808704"/>
              <a:gd name="connsiteY91" fmla="*/ 542925 h 780573"/>
              <a:gd name="connsiteX92" fmla="*/ 650875 w 808704"/>
              <a:gd name="connsiteY92" fmla="*/ 552450 h 780573"/>
              <a:gd name="connsiteX93" fmla="*/ 647700 w 808704"/>
              <a:gd name="connsiteY93" fmla="*/ 561975 h 780573"/>
              <a:gd name="connsiteX94" fmla="*/ 641350 w 808704"/>
              <a:gd name="connsiteY94" fmla="*/ 571500 h 780573"/>
              <a:gd name="connsiteX95" fmla="*/ 635000 w 808704"/>
              <a:gd name="connsiteY95" fmla="*/ 596900 h 780573"/>
              <a:gd name="connsiteX96" fmla="*/ 638175 w 808704"/>
              <a:gd name="connsiteY96" fmla="*/ 609600 h 780573"/>
              <a:gd name="connsiteX97" fmla="*/ 654050 w 808704"/>
              <a:gd name="connsiteY97" fmla="*/ 612775 h 780573"/>
              <a:gd name="connsiteX98" fmla="*/ 663575 w 808704"/>
              <a:gd name="connsiteY98" fmla="*/ 615950 h 780573"/>
              <a:gd name="connsiteX99" fmla="*/ 695325 w 808704"/>
              <a:gd name="connsiteY99" fmla="*/ 631825 h 780573"/>
              <a:gd name="connsiteX100" fmla="*/ 714375 w 808704"/>
              <a:gd name="connsiteY100" fmla="*/ 644525 h 780573"/>
              <a:gd name="connsiteX101" fmla="*/ 720725 w 808704"/>
              <a:gd name="connsiteY101" fmla="*/ 663575 h 780573"/>
              <a:gd name="connsiteX102" fmla="*/ 717550 w 808704"/>
              <a:gd name="connsiteY102" fmla="*/ 676275 h 780573"/>
              <a:gd name="connsiteX103" fmla="*/ 708025 w 808704"/>
              <a:gd name="connsiteY103" fmla="*/ 685800 h 780573"/>
              <a:gd name="connsiteX104" fmla="*/ 695325 w 808704"/>
              <a:gd name="connsiteY104" fmla="*/ 688975 h 780573"/>
              <a:gd name="connsiteX105" fmla="*/ 685800 w 808704"/>
              <a:gd name="connsiteY105" fmla="*/ 692150 h 780573"/>
              <a:gd name="connsiteX106" fmla="*/ 666750 w 808704"/>
              <a:gd name="connsiteY106" fmla="*/ 704850 h 780573"/>
              <a:gd name="connsiteX107" fmla="*/ 660400 w 808704"/>
              <a:gd name="connsiteY107" fmla="*/ 714375 h 780573"/>
              <a:gd name="connsiteX108" fmla="*/ 647700 w 808704"/>
              <a:gd name="connsiteY108" fmla="*/ 717550 h 780573"/>
              <a:gd name="connsiteX109" fmla="*/ 612775 w 808704"/>
              <a:gd name="connsiteY109" fmla="*/ 723900 h 780573"/>
              <a:gd name="connsiteX110" fmla="*/ 590550 w 808704"/>
              <a:gd name="connsiteY110" fmla="*/ 730250 h 780573"/>
              <a:gd name="connsiteX111" fmla="*/ 581025 w 808704"/>
              <a:gd name="connsiteY111" fmla="*/ 749300 h 780573"/>
              <a:gd name="connsiteX112" fmla="*/ 584200 w 808704"/>
              <a:gd name="connsiteY112" fmla="*/ 758825 h 780573"/>
              <a:gd name="connsiteX113" fmla="*/ 581025 w 808704"/>
              <a:gd name="connsiteY113" fmla="*/ 777875 h 780573"/>
              <a:gd name="connsiteX114" fmla="*/ 574675 w 808704"/>
              <a:gd name="connsiteY114" fmla="*/ 768350 h 780573"/>
              <a:gd name="connsiteX115" fmla="*/ 552450 w 808704"/>
              <a:gd name="connsiteY115" fmla="*/ 762000 h 780573"/>
              <a:gd name="connsiteX116" fmla="*/ 536575 w 808704"/>
              <a:gd name="connsiteY116" fmla="*/ 765175 h 780573"/>
              <a:gd name="connsiteX117" fmla="*/ 517525 w 808704"/>
              <a:gd name="connsiteY117" fmla="*/ 771525 h 780573"/>
              <a:gd name="connsiteX118" fmla="*/ 520700 w 808704"/>
              <a:gd name="connsiteY118" fmla="*/ 742950 h 780573"/>
              <a:gd name="connsiteX119" fmla="*/ 523875 w 808704"/>
              <a:gd name="connsiteY119" fmla="*/ 733425 h 780573"/>
              <a:gd name="connsiteX120" fmla="*/ 498475 w 808704"/>
              <a:gd name="connsiteY120" fmla="*/ 711200 h 780573"/>
              <a:gd name="connsiteX121" fmla="*/ 488950 w 808704"/>
              <a:gd name="connsiteY121" fmla="*/ 704850 h 780573"/>
              <a:gd name="connsiteX122" fmla="*/ 479425 w 808704"/>
              <a:gd name="connsiteY122" fmla="*/ 698500 h 780573"/>
              <a:gd name="connsiteX123" fmla="*/ 450850 w 808704"/>
              <a:gd name="connsiteY123" fmla="*/ 685800 h 780573"/>
              <a:gd name="connsiteX124" fmla="*/ 431800 w 808704"/>
              <a:gd name="connsiteY124" fmla="*/ 666750 h 780573"/>
              <a:gd name="connsiteX125" fmla="*/ 425450 w 808704"/>
              <a:gd name="connsiteY125" fmla="*/ 657225 h 780573"/>
              <a:gd name="connsiteX126" fmla="*/ 415925 w 808704"/>
              <a:gd name="connsiteY126" fmla="*/ 650875 h 780573"/>
              <a:gd name="connsiteX127" fmla="*/ 409575 w 808704"/>
              <a:gd name="connsiteY127" fmla="*/ 641350 h 780573"/>
              <a:gd name="connsiteX128" fmla="*/ 396875 w 808704"/>
              <a:gd name="connsiteY128" fmla="*/ 635000 h 780573"/>
              <a:gd name="connsiteX129" fmla="*/ 387350 w 808704"/>
              <a:gd name="connsiteY129" fmla="*/ 628650 h 780573"/>
              <a:gd name="connsiteX130" fmla="*/ 384175 w 808704"/>
              <a:gd name="connsiteY130" fmla="*/ 619125 h 780573"/>
              <a:gd name="connsiteX131" fmla="*/ 346075 w 808704"/>
              <a:gd name="connsiteY131" fmla="*/ 587375 h 780573"/>
              <a:gd name="connsiteX132" fmla="*/ 327025 w 808704"/>
              <a:gd name="connsiteY132" fmla="*/ 581025 h 780573"/>
              <a:gd name="connsiteX133" fmla="*/ 301625 w 808704"/>
              <a:gd name="connsiteY133" fmla="*/ 571500 h 780573"/>
              <a:gd name="connsiteX134" fmla="*/ 215900 w 808704"/>
              <a:gd name="connsiteY134" fmla="*/ 574675 h 780573"/>
              <a:gd name="connsiteX135" fmla="*/ 196850 w 808704"/>
              <a:gd name="connsiteY135" fmla="*/ 584200 h 780573"/>
              <a:gd name="connsiteX136" fmla="*/ 187325 w 808704"/>
              <a:gd name="connsiteY136" fmla="*/ 587375 h 780573"/>
              <a:gd name="connsiteX137" fmla="*/ 69850 w 808704"/>
              <a:gd name="connsiteY137" fmla="*/ 584200 h 780573"/>
              <a:gd name="connsiteX138" fmla="*/ 47625 w 808704"/>
              <a:gd name="connsiteY138" fmla="*/ 577850 h 780573"/>
              <a:gd name="connsiteX139" fmla="*/ 28575 w 808704"/>
              <a:gd name="connsiteY139" fmla="*/ 574675 h 780573"/>
              <a:gd name="connsiteX140" fmla="*/ 6350 w 808704"/>
              <a:gd name="connsiteY140" fmla="*/ 568325 h 780573"/>
              <a:gd name="connsiteX141" fmla="*/ 15875 w 808704"/>
              <a:gd name="connsiteY141" fmla="*/ 565150 h 780573"/>
              <a:gd name="connsiteX0" fmla="*/ 15875 w 808704"/>
              <a:gd name="connsiteY0" fmla="*/ 565150 h 780573"/>
              <a:gd name="connsiteX1" fmla="*/ 9525 w 808704"/>
              <a:gd name="connsiteY1" fmla="*/ 555625 h 780573"/>
              <a:gd name="connsiteX2" fmla="*/ 6350 w 808704"/>
              <a:gd name="connsiteY2" fmla="*/ 542925 h 780573"/>
              <a:gd name="connsiteX3" fmla="*/ 0 w 808704"/>
              <a:gd name="connsiteY3" fmla="*/ 530225 h 780573"/>
              <a:gd name="connsiteX4" fmla="*/ 3175 w 808704"/>
              <a:gd name="connsiteY4" fmla="*/ 450850 h 780573"/>
              <a:gd name="connsiteX5" fmla="*/ 9525 w 808704"/>
              <a:gd name="connsiteY5" fmla="*/ 422275 h 780573"/>
              <a:gd name="connsiteX6" fmla="*/ 31750 w 808704"/>
              <a:gd name="connsiteY6" fmla="*/ 409575 h 780573"/>
              <a:gd name="connsiteX7" fmla="*/ 47625 w 808704"/>
              <a:gd name="connsiteY7" fmla="*/ 393700 h 780573"/>
              <a:gd name="connsiteX8" fmla="*/ 57150 w 808704"/>
              <a:gd name="connsiteY8" fmla="*/ 374650 h 780573"/>
              <a:gd name="connsiteX9" fmla="*/ 41275 w 808704"/>
              <a:gd name="connsiteY9" fmla="*/ 358775 h 780573"/>
              <a:gd name="connsiteX10" fmla="*/ 25400 w 808704"/>
              <a:gd name="connsiteY10" fmla="*/ 342900 h 780573"/>
              <a:gd name="connsiteX11" fmla="*/ 22225 w 808704"/>
              <a:gd name="connsiteY11" fmla="*/ 241300 h 780573"/>
              <a:gd name="connsiteX12" fmla="*/ 25400 w 808704"/>
              <a:gd name="connsiteY12" fmla="*/ 203200 h 780573"/>
              <a:gd name="connsiteX13" fmla="*/ 34925 w 808704"/>
              <a:gd name="connsiteY13" fmla="*/ 193675 h 780573"/>
              <a:gd name="connsiteX14" fmla="*/ 41275 w 808704"/>
              <a:gd name="connsiteY14" fmla="*/ 184150 h 780573"/>
              <a:gd name="connsiteX15" fmla="*/ 79375 w 808704"/>
              <a:gd name="connsiteY15" fmla="*/ 187325 h 780573"/>
              <a:gd name="connsiteX16" fmla="*/ 88900 w 808704"/>
              <a:gd name="connsiteY16" fmla="*/ 184150 h 780573"/>
              <a:gd name="connsiteX17" fmla="*/ 142875 w 808704"/>
              <a:gd name="connsiteY17" fmla="*/ 180975 h 780573"/>
              <a:gd name="connsiteX18" fmla="*/ 155575 w 808704"/>
              <a:gd name="connsiteY18" fmla="*/ 161925 h 780573"/>
              <a:gd name="connsiteX19" fmla="*/ 161925 w 808704"/>
              <a:gd name="connsiteY19" fmla="*/ 152400 h 780573"/>
              <a:gd name="connsiteX20" fmla="*/ 168275 w 808704"/>
              <a:gd name="connsiteY20" fmla="*/ 133350 h 780573"/>
              <a:gd name="connsiteX21" fmla="*/ 177800 w 808704"/>
              <a:gd name="connsiteY21" fmla="*/ 130175 h 780573"/>
              <a:gd name="connsiteX22" fmla="*/ 250825 w 808704"/>
              <a:gd name="connsiteY22" fmla="*/ 136525 h 780573"/>
              <a:gd name="connsiteX23" fmla="*/ 269875 w 808704"/>
              <a:gd name="connsiteY23" fmla="*/ 146050 h 780573"/>
              <a:gd name="connsiteX24" fmla="*/ 311150 w 808704"/>
              <a:gd name="connsiteY24" fmla="*/ 155575 h 780573"/>
              <a:gd name="connsiteX25" fmla="*/ 317500 w 808704"/>
              <a:gd name="connsiteY25" fmla="*/ 180975 h 780573"/>
              <a:gd name="connsiteX26" fmla="*/ 320675 w 808704"/>
              <a:gd name="connsiteY26" fmla="*/ 190500 h 780573"/>
              <a:gd name="connsiteX27" fmla="*/ 330200 w 808704"/>
              <a:gd name="connsiteY27" fmla="*/ 193675 h 780573"/>
              <a:gd name="connsiteX28" fmla="*/ 368300 w 808704"/>
              <a:gd name="connsiteY28" fmla="*/ 196850 h 780573"/>
              <a:gd name="connsiteX29" fmla="*/ 390525 w 808704"/>
              <a:gd name="connsiteY29" fmla="*/ 206375 h 780573"/>
              <a:gd name="connsiteX30" fmla="*/ 400050 w 808704"/>
              <a:gd name="connsiteY30" fmla="*/ 212725 h 780573"/>
              <a:gd name="connsiteX31" fmla="*/ 409575 w 808704"/>
              <a:gd name="connsiteY31" fmla="*/ 215900 h 780573"/>
              <a:gd name="connsiteX32" fmla="*/ 425450 w 808704"/>
              <a:gd name="connsiteY32" fmla="*/ 228600 h 780573"/>
              <a:gd name="connsiteX33" fmla="*/ 431800 w 808704"/>
              <a:gd name="connsiteY33" fmla="*/ 238125 h 780573"/>
              <a:gd name="connsiteX34" fmla="*/ 441325 w 808704"/>
              <a:gd name="connsiteY34" fmla="*/ 241300 h 780573"/>
              <a:gd name="connsiteX35" fmla="*/ 454025 w 808704"/>
              <a:gd name="connsiteY35" fmla="*/ 247650 h 780573"/>
              <a:gd name="connsiteX36" fmla="*/ 476250 w 808704"/>
              <a:gd name="connsiteY36" fmla="*/ 234950 h 780573"/>
              <a:gd name="connsiteX37" fmla="*/ 466725 w 808704"/>
              <a:gd name="connsiteY37" fmla="*/ 228600 h 780573"/>
              <a:gd name="connsiteX38" fmla="*/ 444500 w 808704"/>
              <a:gd name="connsiteY38" fmla="*/ 203200 h 780573"/>
              <a:gd name="connsiteX39" fmla="*/ 428625 w 808704"/>
              <a:gd name="connsiteY39" fmla="*/ 184150 h 780573"/>
              <a:gd name="connsiteX40" fmla="*/ 409575 w 808704"/>
              <a:gd name="connsiteY40" fmla="*/ 161925 h 780573"/>
              <a:gd name="connsiteX41" fmla="*/ 419100 w 808704"/>
              <a:gd name="connsiteY41" fmla="*/ 158750 h 780573"/>
              <a:gd name="connsiteX42" fmla="*/ 492125 w 808704"/>
              <a:gd name="connsiteY42" fmla="*/ 152400 h 780573"/>
              <a:gd name="connsiteX43" fmla="*/ 508000 w 808704"/>
              <a:gd name="connsiteY43" fmla="*/ 133350 h 780573"/>
              <a:gd name="connsiteX44" fmla="*/ 504825 w 808704"/>
              <a:gd name="connsiteY44" fmla="*/ 123825 h 780573"/>
              <a:gd name="connsiteX45" fmla="*/ 495300 w 808704"/>
              <a:gd name="connsiteY45" fmla="*/ 117475 h 780573"/>
              <a:gd name="connsiteX46" fmla="*/ 492125 w 808704"/>
              <a:gd name="connsiteY46" fmla="*/ 107950 h 780573"/>
              <a:gd name="connsiteX47" fmla="*/ 495300 w 808704"/>
              <a:gd name="connsiteY47" fmla="*/ 95250 h 780573"/>
              <a:gd name="connsiteX48" fmla="*/ 498475 w 808704"/>
              <a:gd name="connsiteY48" fmla="*/ 79375 h 780573"/>
              <a:gd name="connsiteX49" fmla="*/ 501650 w 808704"/>
              <a:gd name="connsiteY49" fmla="*/ 69850 h 780573"/>
              <a:gd name="connsiteX50" fmla="*/ 511175 w 808704"/>
              <a:gd name="connsiteY50" fmla="*/ 63500 h 780573"/>
              <a:gd name="connsiteX51" fmla="*/ 536575 w 808704"/>
              <a:gd name="connsiteY51" fmla="*/ 34925 h 780573"/>
              <a:gd name="connsiteX52" fmla="*/ 555625 w 808704"/>
              <a:gd name="connsiteY52" fmla="*/ 22225 h 780573"/>
              <a:gd name="connsiteX53" fmla="*/ 565150 w 808704"/>
              <a:gd name="connsiteY53" fmla="*/ 15875 h 780573"/>
              <a:gd name="connsiteX54" fmla="*/ 593725 w 808704"/>
              <a:gd name="connsiteY54" fmla="*/ 6350 h 780573"/>
              <a:gd name="connsiteX55" fmla="*/ 603250 w 808704"/>
              <a:gd name="connsiteY55" fmla="*/ 3175 h 780573"/>
              <a:gd name="connsiteX56" fmla="*/ 619125 w 808704"/>
              <a:gd name="connsiteY56" fmla="*/ 0 h 780573"/>
              <a:gd name="connsiteX57" fmla="*/ 628650 w 808704"/>
              <a:gd name="connsiteY57" fmla="*/ 3175 h 780573"/>
              <a:gd name="connsiteX58" fmla="*/ 676275 w 808704"/>
              <a:gd name="connsiteY58" fmla="*/ 9525 h 780573"/>
              <a:gd name="connsiteX59" fmla="*/ 695325 w 808704"/>
              <a:gd name="connsiteY59" fmla="*/ 15875 h 780573"/>
              <a:gd name="connsiteX60" fmla="*/ 704850 w 808704"/>
              <a:gd name="connsiteY60" fmla="*/ 19050 h 780573"/>
              <a:gd name="connsiteX61" fmla="*/ 730250 w 808704"/>
              <a:gd name="connsiteY61" fmla="*/ 15875 h 780573"/>
              <a:gd name="connsiteX62" fmla="*/ 739775 w 808704"/>
              <a:gd name="connsiteY62" fmla="*/ 6350 h 780573"/>
              <a:gd name="connsiteX63" fmla="*/ 749300 w 808704"/>
              <a:gd name="connsiteY63" fmla="*/ 0 h 780573"/>
              <a:gd name="connsiteX64" fmla="*/ 777875 w 808704"/>
              <a:gd name="connsiteY64" fmla="*/ 15875 h 780573"/>
              <a:gd name="connsiteX65" fmla="*/ 787400 w 808704"/>
              <a:gd name="connsiteY65" fmla="*/ 19050 h 780573"/>
              <a:gd name="connsiteX66" fmla="*/ 793750 w 808704"/>
              <a:gd name="connsiteY66" fmla="*/ 28575 h 780573"/>
              <a:gd name="connsiteX67" fmla="*/ 784225 w 808704"/>
              <a:gd name="connsiteY67" fmla="*/ 66675 h 780573"/>
              <a:gd name="connsiteX68" fmla="*/ 781050 w 808704"/>
              <a:gd name="connsiteY68" fmla="*/ 76200 h 780573"/>
              <a:gd name="connsiteX69" fmla="*/ 771525 w 808704"/>
              <a:gd name="connsiteY69" fmla="*/ 85725 h 780573"/>
              <a:gd name="connsiteX70" fmla="*/ 765175 w 808704"/>
              <a:gd name="connsiteY70" fmla="*/ 95250 h 780573"/>
              <a:gd name="connsiteX71" fmla="*/ 765175 w 808704"/>
              <a:gd name="connsiteY71" fmla="*/ 130175 h 780573"/>
              <a:gd name="connsiteX72" fmla="*/ 774700 w 808704"/>
              <a:gd name="connsiteY72" fmla="*/ 136525 h 780573"/>
              <a:gd name="connsiteX73" fmla="*/ 787400 w 808704"/>
              <a:gd name="connsiteY73" fmla="*/ 152400 h 780573"/>
              <a:gd name="connsiteX74" fmla="*/ 790575 w 808704"/>
              <a:gd name="connsiteY74" fmla="*/ 161925 h 780573"/>
              <a:gd name="connsiteX75" fmla="*/ 806450 w 808704"/>
              <a:gd name="connsiteY75" fmla="*/ 177800 h 780573"/>
              <a:gd name="connsiteX76" fmla="*/ 803275 w 808704"/>
              <a:gd name="connsiteY76" fmla="*/ 238125 h 780573"/>
              <a:gd name="connsiteX77" fmla="*/ 784225 w 808704"/>
              <a:gd name="connsiteY77" fmla="*/ 257175 h 780573"/>
              <a:gd name="connsiteX78" fmla="*/ 781050 w 808704"/>
              <a:gd name="connsiteY78" fmla="*/ 269875 h 780573"/>
              <a:gd name="connsiteX79" fmla="*/ 777875 w 808704"/>
              <a:gd name="connsiteY79" fmla="*/ 279400 h 780573"/>
              <a:gd name="connsiteX80" fmla="*/ 781050 w 808704"/>
              <a:gd name="connsiteY80" fmla="*/ 342900 h 780573"/>
              <a:gd name="connsiteX81" fmla="*/ 787400 w 808704"/>
              <a:gd name="connsiteY81" fmla="*/ 361950 h 780573"/>
              <a:gd name="connsiteX82" fmla="*/ 784225 w 808704"/>
              <a:gd name="connsiteY82" fmla="*/ 390525 h 780573"/>
              <a:gd name="connsiteX83" fmla="*/ 774700 w 808704"/>
              <a:gd name="connsiteY83" fmla="*/ 393700 h 780573"/>
              <a:gd name="connsiteX84" fmla="*/ 746125 w 808704"/>
              <a:gd name="connsiteY84" fmla="*/ 409575 h 780573"/>
              <a:gd name="connsiteX85" fmla="*/ 720725 w 808704"/>
              <a:gd name="connsiteY85" fmla="*/ 438150 h 780573"/>
              <a:gd name="connsiteX86" fmla="*/ 701675 w 808704"/>
              <a:gd name="connsiteY86" fmla="*/ 454025 h 780573"/>
              <a:gd name="connsiteX87" fmla="*/ 688975 w 808704"/>
              <a:gd name="connsiteY87" fmla="*/ 473075 h 780573"/>
              <a:gd name="connsiteX88" fmla="*/ 685800 w 808704"/>
              <a:gd name="connsiteY88" fmla="*/ 485775 h 780573"/>
              <a:gd name="connsiteX89" fmla="*/ 682625 w 808704"/>
              <a:gd name="connsiteY89" fmla="*/ 517525 h 780573"/>
              <a:gd name="connsiteX90" fmla="*/ 666750 w 808704"/>
              <a:gd name="connsiteY90" fmla="*/ 533400 h 780573"/>
              <a:gd name="connsiteX91" fmla="*/ 660400 w 808704"/>
              <a:gd name="connsiteY91" fmla="*/ 542925 h 780573"/>
              <a:gd name="connsiteX92" fmla="*/ 650875 w 808704"/>
              <a:gd name="connsiteY92" fmla="*/ 552450 h 780573"/>
              <a:gd name="connsiteX93" fmla="*/ 647700 w 808704"/>
              <a:gd name="connsiteY93" fmla="*/ 561975 h 780573"/>
              <a:gd name="connsiteX94" fmla="*/ 641350 w 808704"/>
              <a:gd name="connsiteY94" fmla="*/ 571500 h 780573"/>
              <a:gd name="connsiteX95" fmla="*/ 635000 w 808704"/>
              <a:gd name="connsiteY95" fmla="*/ 596900 h 780573"/>
              <a:gd name="connsiteX96" fmla="*/ 638175 w 808704"/>
              <a:gd name="connsiteY96" fmla="*/ 609600 h 780573"/>
              <a:gd name="connsiteX97" fmla="*/ 654050 w 808704"/>
              <a:gd name="connsiteY97" fmla="*/ 612775 h 780573"/>
              <a:gd name="connsiteX98" fmla="*/ 663575 w 808704"/>
              <a:gd name="connsiteY98" fmla="*/ 615950 h 780573"/>
              <a:gd name="connsiteX99" fmla="*/ 695325 w 808704"/>
              <a:gd name="connsiteY99" fmla="*/ 631825 h 780573"/>
              <a:gd name="connsiteX100" fmla="*/ 714375 w 808704"/>
              <a:gd name="connsiteY100" fmla="*/ 644525 h 780573"/>
              <a:gd name="connsiteX101" fmla="*/ 720725 w 808704"/>
              <a:gd name="connsiteY101" fmla="*/ 663575 h 780573"/>
              <a:gd name="connsiteX102" fmla="*/ 717550 w 808704"/>
              <a:gd name="connsiteY102" fmla="*/ 676275 h 780573"/>
              <a:gd name="connsiteX103" fmla="*/ 708025 w 808704"/>
              <a:gd name="connsiteY103" fmla="*/ 685800 h 780573"/>
              <a:gd name="connsiteX104" fmla="*/ 695325 w 808704"/>
              <a:gd name="connsiteY104" fmla="*/ 688975 h 780573"/>
              <a:gd name="connsiteX105" fmla="*/ 685800 w 808704"/>
              <a:gd name="connsiteY105" fmla="*/ 692150 h 780573"/>
              <a:gd name="connsiteX106" fmla="*/ 666750 w 808704"/>
              <a:gd name="connsiteY106" fmla="*/ 704850 h 780573"/>
              <a:gd name="connsiteX107" fmla="*/ 660400 w 808704"/>
              <a:gd name="connsiteY107" fmla="*/ 714375 h 780573"/>
              <a:gd name="connsiteX108" fmla="*/ 647700 w 808704"/>
              <a:gd name="connsiteY108" fmla="*/ 717550 h 780573"/>
              <a:gd name="connsiteX109" fmla="*/ 612775 w 808704"/>
              <a:gd name="connsiteY109" fmla="*/ 723900 h 780573"/>
              <a:gd name="connsiteX110" fmla="*/ 590550 w 808704"/>
              <a:gd name="connsiteY110" fmla="*/ 730250 h 780573"/>
              <a:gd name="connsiteX111" fmla="*/ 581025 w 808704"/>
              <a:gd name="connsiteY111" fmla="*/ 749300 h 780573"/>
              <a:gd name="connsiteX112" fmla="*/ 584200 w 808704"/>
              <a:gd name="connsiteY112" fmla="*/ 758825 h 780573"/>
              <a:gd name="connsiteX113" fmla="*/ 581025 w 808704"/>
              <a:gd name="connsiteY113" fmla="*/ 777875 h 780573"/>
              <a:gd name="connsiteX114" fmla="*/ 574675 w 808704"/>
              <a:gd name="connsiteY114" fmla="*/ 768350 h 780573"/>
              <a:gd name="connsiteX115" fmla="*/ 552450 w 808704"/>
              <a:gd name="connsiteY115" fmla="*/ 762000 h 780573"/>
              <a:gd name="connsiteX116" fmla="*/ 536575 w 808704"/>
              <a:gd name="connsiteY116" fmla="*/ 765175 h 780573"/>
              <a:gd name="connsiteX117" fmla="*/ 517525 w 808704"/>
              <a:gd name="connsiteY117" fmla="*/ 771525 h 780573"/>
              <a:gd name="connsiteX118" fmla="*/ 520700 w 808704"/>
              <a:gd name="connsiteY118" fmla="*/ 742950 h 780573"/>
              <a:gd name="connsiteX119" fmla="*/ 523875 w 808704"/>
              <a:gd name="connsiteY119" fmla="*/ 733425 h 780573"/>
              <a:gd name="connsiteX120" fmla="*/ 498475 w 808704"/>
              <a:gd name="connsiteY120" fmla="*/ 711200 h 780573"/>
              <a:gd name="connsiteX121" fmla="*/ 488950 w 808704"/>
              <a:gd name="connsiteY121" fmla="*/ 704850 h 780573"/>
              <a:gd name="connsiteX122" fmla="*/ 479425 w 808704"/>
              <a:gd name="connsiteY122" fmla="*/ 698500 h 780573"/>
              <a:gd name="connsiteX123" fmla="*/ 450850 w 808704"/>
              <a:gd name="connsiteY123" fmla="*/ 685800 h 780573"/>
              <a:gd name="connsiteX124" fmla="*/ 431800 w 808704"/>
              <a:gd name="connsiteY124" fmla="*/ 666750 h 780573"/>
              <a:gd name="connsiteX125" fmla="*/ 425450 w 808704"/>
              <a:gd name="connsiteY125" fmla="*/ 657225 h 780573"/>
              <a:gd name="connsiteX126" fmla="*/ 415925 w 808704"/>
              <a:gd name="connsiteY126" fmla="*/ 650875 h 780573"/>
              <a:gd name="connsiteX127" fmla="*/ 409575 w 808704"/>
              <a:gd name="connsiteY127" fmla="*/ 641350 h 780573"/>
              <a:gd name="connsiteX128" fmla="*/ 396875 w 808704"/>
              <a:gd name="connsiteY128" fmla="*/ 635000 h 780573"/>
              <a:gd name="connsiteX129" fmla="*/ 387350 w 808704"/>
              <a:gd name="connsiteY129" fmla="*/ 628650 h 780573"/>
              <a:gd name="connsiteX130" fmla="*/ 384175 w 808704"/>
              <a:gd name="connsiteY130" fmla="*/ 619125 h 780573"/>
              <a:gd name="connsiteX131" fmla="*/ 346075 w 808704"/>
              <a:gd name="connsiteY131" fmla="*/ 587375 h 780573"/>
              <a:gd name="connsiteX132" fmla="*/ 327025 w 808704"/>
              <a:gd name="connsiteY132" fmla="*/ 581025 h 780573"/>
              <a:gd name="connsiteX133" fmla="*/ 301625 w 808704"/>
              <a:gd name="connsiteY133" fmla="*/ 571500 h 780573"/>
              <a:gd name="connsiteX134" fmla="*/ 215900 w 808704"/>
              <a:gd name="connsiteY134" fmla="*/ 574675 h 780573"/>
              <a:gd name="connsiteX135" fmla="*/ 196850 w 808704"/>
              <a:gd name="connsiteY135" fmla="*/ 584200 h 780573"/>
              <a:gd name="connsiteX136" fmla="*/ 187325 w 808704"/>
              <a:gd name="connsiteY136" fmla="*/ 587375 h 780573"/>
              <a:gd name="connsiteX137" fmla="*/ 69850 w 808704"/>
              <a:gd name="connsiteY137" fmla="*/ 584200 h 780573"/>
              <a:gd name="connsiteX138" fmla="*/ 47625 w 808704"/>
              <a:gd name="connsiteY138" fmla="*/ 577850 h 780573"/>
              <a:gd name="connsiteX139" fmla="*/ 28575 w 808704"/>
              <a:gd name="connsiteY139" fmla="*/ 574675 h 780573"/>
              <a:gd name="connsiteX140" fmla="*/ 6350 w 808704"/>
              <a:gd name="connsiteY140" fmla="*/ 568325 h 780573"/>
              <a:gd name="connsiteX141" fmla="*/ 15875 w 808704"/>
              <a:gd name="connsiteY141" fmla="*/ 565150 h 780573"/>
              <a:gd name="connsiteX0" fmla="*/ 15875 w 808704"/>
              <a:gd name="connsiteY0" fmla="*/ 565150 h 780573"/>
              <a:gd name="connsiteX1" fmla="*/ 9525 w 808704"/>
              <a:gd name="connsiteY1" fmla="*/ 555625 h 780573"/>
              <a:gd name="connsiteX2" fmla="*/ 6350 w 808704"/>
              <a:gd name="connsiteY2" fmla="*/ 542925 h 780573"/>
              <a:gd name="connsiteX3" fmla="*/ 0 w 808704"/>
              <a:gd name="connsiteY3" fmla="*/ 530225 h 780573"/>
              <a:gd name="connsiteX4" fmla="*/ 3175 w 808704"/>
              <a:gd name="connsiteY4" fmla="*/ 450850 h 780573"/>
              <a:gd name="connsiteX5" fmla="*/ 9525 w 808704"/>
              <a:gd name="connsiteY5" fmla="*/ 422275 h 780573"/>
              <a:gd name="connsiteX6" fmla="*/ 31750 w 808704"/>
              <a:gd name="connsiteY6" fmla="*/ 409575 h 780573"/>
              <a:gd name="connsiteX7" fmla="*/ 47625 w 808704"/>
              <a:gd name="connsiteY7" fmla="*/ 393700 h 780573"/>
              <a:gd name="connsiteX8" fmla="*/ 57150 w 808704"/>
              <a:gd name="connsiteY8" fmla="*/ 374650 h 780573"/>
              <a:gd name="connsiteX9" fmla="*/ 41275 w 808704"/>
              <a:gd name="connsiteY9" fmla="*/ 358775 h 780573"/>
              <a:gd name="connsiteX10" fmla="*/ 25400 w 808704"/>
              <a:gd name="connsiteY10" fmla="*/ 342900 h 780573"/>
              <a:gd name="connsiteX11" fmla="*/ 22225 w 808704"/>
              <a:gd name="connsiteY11" fmla="*/ 241300 h 780573"/>
              <a:gd name="connsiteX12" fmla="*/ 25400 w 808704"/>
              <a:gd name="connsiteY12" fmla="*/ 203200 h 780573"/>
              <a:gd name="connsiteX13" fmla="*/ 34925 w 808704"/>
              <a:gd name="connsiteY13" fmla="*/ 193675 h 780573"/>
              <a:gd name="connsiteX14" fmla="*/ 41275 w 808704"/>
              <a:gd name="connsiteY14" fmla="*/ 184150 h 780573"/>
              <a:gd name="connsiteX15" fmla="*/ 79375 w 808704"/>
              <a:gd name="connsiteY15" fmla="*/ 187325 h 780573"/>
              <a:gd name="connsiteX16" fmla="*/ 88900 w 808704"/>
              <a:gd name="connsiteY16" fmla="*/ 184150 h 780573"/>
              <a:gd name="connsiteX17" fmla="*/ 142875 w 808704"/>
              <a:gd name="connsiteY17" fmla="*/ 180975 h 780573"/>
              <a:gd name="connsiteX18" fmla="*/ 155575 w 808704"/>
              <a:gd name="connsiteY18" fmla="*/ 161925 h 780573"/>
              <a:gd name="connsiteX19" fmla="*/ 161925 w 808704"/>
              <a:gd name="connsiteY19" fmla="*/ 152400 h 780573"/>
              <a:gd name="connsiteX20" fmla="*/ 168275 w 808704"/>
              <a:gd name="connsiteY20" fmla="*/ 133350 h 780573"/>
              <a:gd name="connsiteX21" fmla="*/ 177800 w 808704"/>
              <a:gd name="connsiteY21" fmla="*/ 130175 h 780573"/>
              <a:gd name="connsiteX22" fmla="*/ 250825 w 808704"/>
              <a:gd name="connsiteY22" fmla="*/ 136525 h 780573"/>
              <a:gd name="connsiteX23" fmla="*/ 269875 w 808704"/>
              <a:gd name="connsiteY23" fmla="*/ 146050 h 780573"/>
              <a:gd name="connsiteX24" fmla="*/ 311150 w 808704"/>
              <a:gd name="connsiteY24" fmla="*/ 155575 h 780573"/>
              <a:gd name="connsiteX25" fmla="*/ 317500 w 808704"/>
              <a:gd name="connsiteY25" fmla="*/ 180975 h 780573"/>
              <a:gd name="connsiteX26" fmla="*/ 320675 w 808704"/>
              <a:gd name="connsiteY26" fmla="*/ 190500 h 780573"/>
              <a:gd name="connsiteX27" fmla="*/ 330200 w 808704"/>
              <a:gd name="connsiteY27" fmla="*/ 193675 h 780573"/>
              <a:gd name="connsiteX28" fmla="*/ 368300 w 808704"/>
              <a:gd name="connsiteY28" fmla="*/ 196850 h 780573"/>
              <a:gd name="connsiteX29" fmla="*/ 390525 w 808704"/>
              <a:gd name="connsiteY29" fmla="*/ 206375 h 780573"/>
              <a:gd name="connsiteX30" fmla="*/ 400050 w 808704"/>
              <a:gd name="connsiteY30" fmla="*/ 212725 h 780573"/>
              <a:gd name="connsiteX31" fmla="*/ 409575 w 808704"/>
              <a:gd name="connsiteY31" fmla="*/ 215900 h 780573"/>
              <a:gd name="connsiteX32" fmla="*/ 425450 w 808704"/>
              <a:gd name="connsiteY32" fmla="*/ 228600 h 780573"/>
              <a:gd name="connsiteX33" fmla="*/ 431800 w 808704"/>
              <a:gd name="connsiteY33" fmla="*/ 238125 h 780573"/>
              <a:gd name="connsiteX34" fmla="*/ 441325 w 808704"/>
              <a:gd name="connsiteY34" fmla="*/ 241300 h 780573"/>
              <a:gd name="connsiteX35" fmla="*/ 454025 w 808704"/>
              <a:gd name="connsiteY35" fmla="*/ 247650 h 780573"/>
              <a:gd name="connsiteX36" fmla="*/ 476250 w 808704"/>
              <a:gd name="connsiteY36" fmla="*/ 234950 h 780573"/>
              <a:gd name="connsiteX37" fmla="*/ 466725 w 808704"/>
              <a:gd name="connsiteY37" fmla="*/ 228600 h 780573"/>
              <a:gd name="connsiteX38" fmla="*/ 444500 w 808704"/>
              <a:gd name="connsiteY38" fmla="*/ 203200 h 780573"/>
              <a:gd name="connsiteX39" fmla="*/ 428625 w 808704"/>
              <a:gd name="connsiteY39" fmla="*/ 184150 h 780573"/>
              <a:gd name="connsiteX40" fmla="*/ 409575 w 808704"/>
              <a:gd name="connsiteY40" fmla="*/ 161925 h 780573"/>
              <a:gd name="connsiteX41" fmla="*/ 419100 w 808704"/>
              <a:gd name="connsiteY41" fmla="*/ 158750 h 780573"/>
              <a:gd name="connsiteX42" fmla="*/ 492125 w 808704"/>
              <a:gd name="connsiteY42" fmla="*/ 152400 h 780573"/>
              <a:gd name="connsiteX43" fmla="*/ 508000 w 808704"/>
              <a:gd name="connsiteY43" fmla="*/ 133350 h 780573"/>
              <a:gd name="connsiteX44" fmla="*/ 504825 w 808704"/>
              <a:gd name="connsiteY44" fmla="*/ 123825 h 780573"/>
              <a:gd name="connsiteX45" fmla="*/ 495300 w 808704"/>
              <a:gd name="connsiteY45" fmla="*/ 117475 h 780573"/>
              <a:gd name="connsiteX46" fmla="*/ 492125 w 808704"/>
              <a:gd name="connsiteY46" fmla="*/ 107950 h 780573"/>
              <a:gd name="connsiteX47" fmla="*/ 495300 w 808704"/>
              <a:gd name="connsiteY47" fmla="*/ 95250 h 780573"/>
              <a:gd name="connsiteX48" fmla="*/ 498475 w 808704"/>
              <a:gd name="connsiteY48" fmla="*/ 79375 h 780573"/>
              <a:gd name="connsiteX49" fmla="*/ 501650 w 808704"/>
              <a:gd name="connsiteY49" fmla="*/ 69850 h 780573"/>
              <a:gd name="connsiteX50" fmla="*/ 511175 w 808704"/>
              <a:gd name="connsiteY50" fmla="*/ 63500 h 780573"/>
              <a:gd name="connsiteX51" fmla="*/ 536575 w 808704"/>
              <a:gd name="connsiteY51" fmla="*/ 34925 h 780573"/>
              <a:gd name="connsiteX52" fmla="*/ 555625 w 808704"/>
              <a:gd name="connsiteY52" fmla="*/ 22225 h 780573"/>
              <a:gd name="connsiteX53" fmla="*/ 565150 w 808704"/>
              <a:gd name="connsiteY53" fmla="*/ 15875 h 780573"/>
              <a:gd name="connsiteX54" fmla="*/ 593725 w 808704"/>
              <a:gd name="connsiteY54" fmla="*/ 6350 h 780573"/>
              <a:gd name="connsiteX55" fmla="*/ 603250 w 808704"/>
              <a:gd name="connsiteY55" fmla="*/ 3175 h 780573"/>
              <a:gd name="connsiteX56" fmla="*/ 619125 w 808704"/>
              <a:gd name="connsiteY56" fmla="*/ 0 h 780573"/>
              <a:gd name="connsiteX57" fmla="*/ 628650 w 808704"/>
              <a:gd name="connsiteY57" fmla="*/ 3175 h 780573"/>
              <a:gd name="connsiteX58" fmla="*/ 676275 w 808704"/>
              <a:gd name="connsiteY58" fmla="*/ 9525 h 780573"/>
              <a:gd name="connsiteX59" fmla="*/ 695325 w 808704"/>
              <a:gd name="connsiteY59" fmla="*/ 15875 h 780573"/>
              <a:gd name="connsiteX60" fmla="*/ 704850 w 808704"/>
              <a:gd name="connsiteY60" fmla="*/ 19050 h 780573"/>
              <a:gd name="connsiteX61" fmla="*/ 730250 w 808704"/>
              <a:gd name="connsiteY61" fmla="*/ 15875 h 780573"/>
              <a:gd name="connsiteX62" fmla="*/ 739775 w 808704"/>
              <a:gd name="connsiteY62" fmla="*/ 6350 h 780573"/>
              <a:gd name="connsiteX63" fmla="*/ 749300 w 808704"/>
              <a:gd name="connsiteY63" fmla="*/ 0 h 780573"/>
              <a:gd name="connsiteX64" fmla="*/ 777875 w 808704"/>
              <a:gd name="connsiteY64" fmla="*/ 15875 h 780573"/>
              <a:gd name="connsiteX65" fmla="*/ 787400 w 808704"/>
              <a:gd name="connsiteY65" fmla="*/ 19050 h 780573"/>
              <a:gd name="connsiteX66" fmla="*/ 793750 w 808704"/>
              <a:gd name="connsiteY66" fmla="*/ 28575 h 780573"/>
              <a:gd name="connsiteX67" fmla="*/ 784225 w 808704"/>
              <a:gd name="connsiteY67" fmla="*/ 66675 h 780573"/>
              <a:gd name="connsiteX68" fmla="*/ 781050 w 808704"/>
              <a:gd name="connsiteY68" fmla="*/ 76200 h 780573"/>
              <a:gd name="connsiteX69" fmla="*/ 771525 w 808704"/>
              <a:gd name="connsiteY69" fmla="*/ 85725 h 780573"/>
              <a:gd name="connsiteX70" fmla="*/ 765175 w 808704"/>
              <a:gd name="connsiteY70" fmla="*/ 95250 h 780573"/>
              <a:gd name="connsiteX71" fmla="*/ 765175 w 808704"/>
              <a:gd name="connsiteY71" fmla="*/ 130175 h 780573"/>
              <a:gd name="connsiteX72" fmla="*/ 774700 w 808704"/>
              <a:gd name="connsiteY72" fmla="*/ 136525 h 780573"/>
              <a:gd name="connsiteX73" fmla="*/ 787400 w 808704"/>
              <a:gd name="connsiteY73" fmla="*/ 152400 h 780573"/>
              <a:gd name="connsiteX74" fmla="*/ 790575 w 808704"/>
              <a:gd name="connsiteY74" fmla="*/ 161925 h 780573"/>
              <a:gd name="connsiteX75" fmla="*/ 806450 w 808704"/>
              <a:gd name="connsiteY75" fmla="*/ 177800 h 780573"/>
              <a:gd name="connsiteX76" fmla="*/ 803275 w 808704"/>
              <a:gd name="connsiteY76" fmla="*/ 238125 h 780573"/>
              <a:gd name="connsiteX77" fmla="*/ 784225 w 808704"/>
              <a:gd name="connsiteY77" fmla="*/ 257175 h 780573"/>
              <a:gd name="connsiteX78" fmla="*/ 781050 w 808704"/>
              <a:gd name="connsiteY78" fmla="*/ 269875 h 780573"/>
              <a:gd name="connsiteX79" fmla="*/ 777875 w 808704"/>
              <a:gd name="connsiteY79" fmla="*/ 279400 h 780573"/>
              <a:gd name="connsiteX80" fmla="*/ 781050 w 808704"/>
              <a:gd name="connsiteY80" fmla="*/ 342900 h 780573"/>
              <a:gd name="connsiteX81" fmla="*/ 787400 w 808704"/>
              <a:gd name="connsiteY81" fmla="*/ 361950 h 780573"/>
              <a:gd name="connsiteX82" fmla="*/ 784225 w 808704"/>
              <a:gd name="connsiteY82" fmla="*/ 390525 h 780573"/>
              <a:gd name="connsiteX83" fmla="*/ 774700 w 808704"/>
              <a:gd name="connsiteY83" fmla="*/ 393700 h 780573"/>
              <a:gd name="connsiteX84" fmla="*/ 746125 w 808704"/>
              <a:gd name="connsiteY84" fmla="*/ 409575 h 780573"/>
              <a:gd name="connsiteX85" fmla="*/ 720725 w 808704"/>
              <a:gd name="connsiteY85" fmla="*/ 438150 h 780573"/>
              <a:gd name="connsiteX86" fmla="*/ 701675 w 808704"/>
              <a:gd name="connsiteY86" fmla="*/ 454025 h 780573"/>
              <a:gd name="connsiteX87" fmla="*/ 688975 w 808704"/>
              <a:gd name="connsiteY87" fmla="*/ 473075 h 780573"/>
              <a:gd name="connsiteX88" fmla="*/ 685800 w 808704"/>
              <a:gd name="connsiteY88" fmla="*/ 485775 h 780573"/>
              <a:gd name="connsiteX89" fmla="*/ 682625 w 808704"/>
              <a:gd name="connsiteY89" fmla="*/ 517525 h 780573"/>
              <a:gd name="connsiteX90" fmla="*/ 666750 w 808704"/>
              <a:gd name="connsiteY90" fmla="*/ 533400 h 780573"/>
              <a:gd name="connsiteX91" fmla="*/ 660400 w 808704"/>
              <a:gd name="connsiteY91" fmla="*/ 542925 h 780573"/>
              <a:gd name="connsiteX92" fmla="*/ 650875 w 808704"/>
              <a:gd name="connsiteY92" fmla="*/ 552450 h 780573"/>
              <a:gd name="connsiteX93" fmla="*/ 647700 w 808704"/>
              <a:gd name="connsiteY93" fmla="*/ 561975 h 780573"/>
              <a:gd name="connsiteX94" fmla="*/ 641350 w 808704"/>
              <a:gd name="connsiteY94" fmla="*/ 571500 h 780573"/>
              <a:gd name="connsiteX95" fmla="*/ 635000 w 808704"/>
              <a:gd name="connsiteY95" fmla="*/ 596900 h 780573"/>
              <a:gd name="connsiteX96" fmla="*/ 638175 w 808704"/>
              <a:gd name="connsiteY96" fmla="*/ 609600 h 780573"/>
              <a:gd name="connsiteX97" fmla="*/ 654050 w 808704"/>
              <a:gd name="connsiteY97" fmla="*/ 612775 h 780573"/>
              <a:gd name="connsiteX98" fmla="*/ 663575 w 808704"/>
              <a:gd name="connsiteY98" fmla="*/ 615950 h 780573"/>
              <a:gd name="connsiteX99" fmla="*/ 695325 w 808704"/>
              <a:gd name="connsiteY99" fmla="*/ 631825 h 780573"/>
              <a:gd name="connsiteX100" fmla="*/ 714375 w 808704"/>
              <a:gd name="connsiteY100" fmla="*/ 644525 h 780573"/>
              <a:gd name="connsiteX101" fmla="*/ 720725 w 808704"/>
              <a:gd name="connsiteY101" fmla="*/ 663575 h 780573"/>
              <a:gd name="connsiteX102" fmla="*/ 717550 w 808704"/>
              <a:gd name="connsiteY102" fmla="*/ 676275 h 780573"/>
              <a:gd name="connsiteX103" fmla="*/ 708025 w 808704"/>
              <a:gd name="connsiteY103" fmla="*/ 685800 h 780573"/>
              <a:gd name="connsiteX104" fmla="*/ 695325 w 808704"/>
              <a:gd name="connsiteY104" fmla="*/ 688975 h 780573"/>
              <a:gd name="connsiteX105" fmla="*/ 685800 w 808704"/>
              <a:gd name="connsiteY105" fmla="*/ 692150 h 780573"/>
              <a:gd name="connsiteX106" fmla="*/ 666750 w 808704"/>
              <a:gd name="connsiteY106" fmla="*/ 704850 h 780573"/>
              <a:gd name="connsiteX107" fmla="*/ 660400 w 808704"/>
              <a:gd name="connsiteY107" fmla="*/ 714375 h 780573"/>
              <a:gd name="connsiteX108" fmla="*/ 647700 w 808704"/>
              <a:gd name="connsiteY108" fmla="*/ 717550 h 780573"/>
              <a:gd name="connsiteX109" fmla="*/ 612775 w 808704"/>
              <a:gd name="connsiteY109" fmla="*/ 723900 h 780573"/>
              <a:gd name="connsiteX110" fmla="*/ 590550 w 808704"/>
              <a:gd name="connsiteY110" fmla="*/ 730250 h 780573"/>
              <a:gd name="connsiteX111" fmla="*/ 581025 w 808704"/>
              <a:gd name="connsiteY111" fmla="*/ 749300 h 780573"/>
              <a:gd name="connsiteX112" fmla="*/ 584200 w 808704"/>
              <a:gd name="connsiteY112" fmla="*/ 758825 h 780573"/>
              <a:gd name="connsiteX113" fmla="*/ 581025 w 808704"/>
              <a:gd name="connsiteY113" fmla="*/ 777875 h 780573"/>
              <a:gd name="connsiteX114" fmla="*/ 574675 w 808704"/>
              <a:gd name="connsiteY114" fmla="*/ 768350 h 780573"/>
              <a:gd name="connsiteX115" fmla="*/ 552450 w 808704"/>
              <a:gd name="connsiteY115" fmla="*/ 762000 h 780573"/>
              <a:gd name="connsiteX116" fmla="*/ 536575 w 808704"/>
              <a:gd name="connsiteY116" fmla="*/ 765175 h 780573"/>
              <a:gd name="connsiteX117" fmla="*/ 517525 w 808704"/>
              <a:gd name="connsiteY117" fmla="*/ 771525 h 780573"/>
              <a:gd name="connsiteX118" fmla="*/ 520700 w 808704"/>
              <a:gd name="connsiteY118" fmla="*/ 742950 h 780573"/>
              <a:gd name="connsiteX119" fmla="*/ 523875 w 808704"/>
              <a:gd name="connsiteY119" fmla="*/ 733425 h 780573"/>
              <a:gd name="connsiteX120" fmla="*/ 498475 w 808704"/>
              <a:gd name="connsiteY120" fmla="*/ 711200 h 780573"/>
              <a:gd name="connsiteX121" fmla="*/ 488950 w 808704"/>
              <a:gd name="connsiteY121" fmla="*/ 704850 h 780573"/>
              <a:gd name="connsiteX122" fmla="*/ 479425 w 808704"/>
              <a:gd name="connsiteY122" fmla="*/ 698500 h 780573"/>
              <a:gd name="connsiteX123" fmla="*/ 450850 w 808704"/>
              <a:gd name="connsiteY123" fmla="*/ 685800 h 780573"/>
              <a:gd name="connsiteX124" fmla="*/ 431800 w 808704"/>
              <a:gd name="connsiteY124" fmla="*/ 666750 h 780573"/>
              <a:gd name="connsiteX125" fmla="*/ 425450 w 808704"/>
              <a:gd name="connsiteY125" fmla="*/ 657225 h 780573"/>
              <a:gd name="connsiteX126" fmla="*/ 415925 w 808704"/>
              <a:gd name="connsiteY126" fmla="*/ 650875 h 780573"/>
              <a:gd name="connsiteX127" fmla="*/ 409575 w 808704"/>
              <a:gd name="connsiteY127" fmla="*/ 641350 h 780573"/>
              <a:gd name="connsiteX128" fmla="*/ 396875 w 808704"/>
              <a:gd name="connsiteY128" fmla="*/ 635000 h 780573"/>
              <a:gd name="connsiteX129" fmla="*/ 387350 w 808704"/>
              <a:gd name="connsiteY129" fmla="*/ 628650 h 780573"/>
              <a:gd name="connsiteX130" fmla="*/ 384175 w 808704"/>
              <a:gd name="connsiteY130" fmla="*/ 619125 h 780573"/>
              <a:gd name="connsiteX131" fmla="*/ 346075 w 808704"/>
              <a:gd name="connsiteY131" fmla="*/ 587375 h 780573"/>
              <a:gd name="connsiteX132" fmla="*/ 327025 w 808704"/>
              <a:gd name="connsiteY132" fmla="*/ 581025 h 780573"/>
              <a:gd name="connsiteX133" fmla="*/ 301625 w 808704"/>
              <a:gd name="connsiteY133" fmla="*/ 571500 h 780573"/>
              <a:gd name="connsiteX134" fmla="*/ 215900 w 808704"/>
              <a:gd name="connsiteY134" fmla="*/ 574675 h 780573"/>
              <a:gd name="connsiteX135" fmla="*/ 196850 w 808704"/>
              <a:gd name="connsiteY135" fmla="*/ 584200 h 780573"/>
              <a:gd name="connsiteX136" fmla="*/ 187325 w 808704"/>
              <a:gd name="connsiteY136" fmla="*/ 587375 h 780573"/>
              <a:gd name="connsiteX137" fmla="*/ 69850 w 808704"/>
              <a:gd name="connsiteY137" fmla="*/ 584200 h 780573"/>
              <a:gd name="connsiteX138" fmla="*/ 47625 w 808704"/>
              <a:gd name="connsiteY138" fmla="*/ 577850 h 780573"/>
              <a:gd name="connsiteX139" fmla="*/ 28575 w 808704"/>
              <a:gd name="connsiteY139" fmla="*/ 574675 h 780573"/>
              <a:gd name="connsiteX140" fmla="*/ 6350 w 808704"/>
              <a:gd name="connsiteY140" fmla="*/ 568325 h 780573"/>
              <a:gd name="connsiteX141" fmla="*/ 15875 w 808704"/>
              <a:gd name="connsiteY141" fmla="*/ 565150 h 780573"/>
              <a:gd name="connsiteX0" fmla="*/ 15875 w 841375"/>
              <a:gd name="connsiteY0" fmla="*/ 565150 h 780573"/>
              <a:gd name="connsiteX1" fmla="*/ 9525 w 841375"/>
              <a:gd name="connsiteY1" fmla="*/ 555625 h 780573"/>
              <a:gd name="connsiteX2" fmla="*/ 6350 w 841375"/>
              <a:gd name="connsiteY2" fmla="*/ 542925 h 780573"/>
              <a:gd name="connsiteX3" fmla="*/ 0 w 841375"/>
              <a:gd name="connsiteY3" fmla="*/ 530225 h 780573"/>
              <a:gd name="connsiteX4" fmla="*/ 3175 w 841375"/>
              <a:gd name="connsiteY4" fmla="*/ 450850 h 780573"/>
              <a:gd name="connsiteX5" fmla="*/ 9525 w 841375"/>
              <a:gd name="connsiteY5" fmla="*/ 422275 h 780573"/>
              <a:gd name="connsiteX6" fmla="*/ 31750 w 841375"/>
              <a:gd name="connsiteY6" fmla="*/ 409575 h 780573"/>
              <a:gd name="connsiteX7" fmla="*/ 47625 w 841375"/>
              <a:gd name="connsiteY7" fmla="*/ 393700 h 780573"/>
              <a:gd name="connsiteX8" fmla="*/ 57150 w 841375"/>
              <a:gd name="connsiteY8" fmla="*/ 374650 h 780573"/>
              <a:gd name="connsiteX9" fmla="*/ 41275 w 841375"/>
              <a:gd name="connsiteY9" fmla="*/ 358775 h 780573"/>
              <a:gd name="connsiteX10" fmla="*/ 25400 w 841375"/>
              <a:gd name="connsiteY10" fmla="*/ 342900 h 780573"/>
              <a:gd name="connsiteX11" fmla="*/ 22225 w 841375"/>
              <a:gd name="connsiteY11" fmla="*/ 241300 h 780573"/>
              <a:gd name="connsiteX12" fmla="*/ 25400 w 841375"/>
              <a:gd name="connsiteY12" fmla="*/ 203200 h 780573"/>
              <a:gd name="connsiteX13" fmla="*/ 34925 w 841375"/>
              <a:gd name="connsiteY13" fmla="*/ 193675 h 780573"/>
              <a:gd name="connsiteX14" fmla="*/ 41275 w 841375"/>
              <a:gd name="connsiteY14" fmla="*/ 184150 h 780573"/>
              <a:gd name="connsiteX15" fmla="*/ 79375 w 841375"/>
              <a:gd name="connsiteY15" fmla="*/ 187325 h 780573"/>
              <a:gd name="connsiteX16" fmla="*/ 88900 w 841375"/>
              <a:gd name="connsiteY16" fmla="*/ 184150 h 780573"/>
              <a:gd name="connsiteX17" fmla="*/ 142875 w 841375"/>
              <a:gd name="connsiteY17" fmla="*/ 180975 h 780573"/>
              <a:gd name="connsiteX18" fmla="*/ 155575 w 841375"/>
              <a:gd name="connsiteY18" fmla="*/ 161925 h 780573"/>
              <a:gd name="connsiteX19" fmla="*/ 161925 w 841375"/>
              <a:gd name="connsiteY19" fmla="*/ 152400 h 780573"/>
              <a:gd name="connsiteX20" fmla="*/ 168275 w 841375"/>
              <a:gd name="connsiteY20" fmla="*/ 133350 h 780573"/>
              <a:gd name="connsiteX21" fmla="*/ 177800 w 841375"/>
              <a:gd name="connsiteY21" fmla="*/ 130175 h 780573"/>
              <a:gd name="connsiteX22" fmla="*/ 250825 w 841375"/>
              <a:gd name="connsiteY22" fmla="*/ 136525 h 780573"/>
              <a:gd name="connsiteX23" fmla="*/ 269875 w 841375"/>
              <a:gd name="connsiteY23" fmla="*/ 146050 h 780573"/>
              <a:gd name="connsiteX24" fmla="*/ 311150 w 841375"/>
              <a:gd name="connsiteY24" fmla="*/ 155575 h 780573"/>
              <a:gd name="connsiteX25" fmla="*/ 317500 w 841375"/>
              <a:gd name="connsiteY25" fmla="*/ 180975 h 780573"/>
              <a:gd name="connsiteX26" fmla="*/ 320675 w 841375"/>
              <a:gd name="connsiteY26" fmla="*/ 190500 h 780573"/>
              <a:gd name="connsiteX27" fmla="*/ 330200 w 841375"/>
              <a:gd name="connsiteY27" fmla="*/ 193675 h 780573"/>
              <a:gd name="connsiteX28" fmla="*/ 368300 w 841375"/>
              <a:gd name="connsiteY28" fmla="*/ 196850 h 780573"/>
              <a:gd name="connsiteX29" fmla="*/ 390525 w 841375"/>
              <a:gd name="connsiteY29" fmla="*/ 206375 h 780573"/>
              <a:gd name="connsiteX30" fmla="*/ 400050 w 841375"/>
              <a:gd name="connsiteY30" fmla="*/ 212725 h 780573"/>
              <a:gd name="connsiteX31" fmla="*/ 409575 w 841375"/>
              <a:gd name="connsiteY31" fmla="*/ 215900 h 780573"/>
              <a:gd name="connsiteX32" fmla="*/ 425450 w 841375"/>
              <a:gd name="connsiteY32" fmla="*/ 228600 h 780573"/>
              <a:gd name="connsiteX33" fmla="*/ 431800 w 841375"/>
              <a:gd name="connsiteY33" fmla="*/ 238125 h 780573"/>
              <a:gd name="connsiteX34" fmla="*/ 441325 w 841375"/>
              <a:gd name="connsiteY34" fmla="*/ 241300 h 780573"/>
              <a:gd name="connsiteX35" fmla="*/ 454025 w 841375"/>
              <a:gd name="connsiteY35" fmla="*/ 247650 h 780573"/>
              <a:gd name="connsiteX36" fmla="*/ 476250 w 841375"/>
              <a:gd name="connsiteY36" fmla="*/ 234950 h 780573"/>
              <a:gd name="connsiteX37" fmla="*/ 466725 w 841375"/>
              <a:gd name="connsiteY37" fmla="*/ 228600 h 780573"/>
              <a:gd name="connsiteX38" fmla="*/ 444500 w 841375"/>
              <a:gd name="connsiteY38" fmla="*/ 203200 h 780573"/>
              <a:gd name="connsiteX39" fmla="*/ 428625 w 841375"/>
              <a:gd name="connsiteY39" fmla="*/ 184150 h 780573"/>
              <a:gd name="connsiteX40" fmla="*/ 409575 w 841375"/>
              <a:gd name="connsiteY40" fmla="*/ 161925 h 780573"/>
              <a:gd name="connsiteX41" fmla="*/ 419100 w 841375"/>
              <a:gd name="connsiteY41" fmla="*/ 158750 h 780573"/>
              <a:gd name="connsiteX42" fmla="*/ 492125 w 841375"/>
              <a:gd name="connsiteY42" fmla="*/ 152400 h 780573"/>
              <a:gd name="connsiteX43" fmla="*/ 508000 w 841375"/>
              <a:gd name="connsiteY43" fmla="*/ 133350 h 780573"/>
              <a:gd name="connsiteX44" fmla="*/ 504825 w 841375"/>
              <a:gd name="connsiteY44" fmla="*/ 123825 h 780573"/>
              <a:gd name="connsiteX45" fmla="*/ 495300 w 841375"/>
              <a:gd name="connsiteY45" fmla="*/ 117475 h 780573"/>
              <a:gd name="connsiteX46" fmla="*/ 492125 w 841375"/>
              <a:gd name="connsiteY46" fmla="*/ 107950 h 780573"/>
              <a:gd name="connsiteX47" fmla="*/ 495300 w 841375"/>
              <a:gd name="connsiteY47" fmla="*/ 95250 h 780573"/>
              <a:gd name="connsiteX48" fmla="*/ 498475 w 841375"/>
              <a:gd name="connsiteY48" fmla="*/ 79375 h 780573"/>
              <a:gd name="connsiteX49" fmla="*/ 501650 w 841375"/>
              <a:gd name="connsiteY49" fmla="*/ 69850 h 780573"/>
              <a:gd name="connsiteX50" fmla="*/ 511175 w 841375"/>
              <a:gd name="connsiteY50" fmla="*/ 63500 h 780573"/>
              <a:gd name="connsiteX51" fmla="*/ 536575 w 841375"/>
              <a:gd name="connsiteY51" fmla="*/ 34925 h 780573"/>
              <a:gd name="connsiteX52" fmla="*/ 555625 w 841375"/>
              <a:gd name="connsiteY52" fmla="*/ 22225 h 780573"/>
              <a:gd name="connsiteX53" fmla="*/ 565150 w 841375"/>
              <a:gd name="connsiteY53" fmla="*/ 15875 h 780573"/>
              <a:gd name="connsiteX54" fmla="*/ 593725 w 841375"/>
              <a:gd name="connsiteY54" fmla="*/ 6350 h 780573"/>
              <a:gd name="connsiteX55" fmla="*/ 603250 w 841375"/>
              <a:gd name="connsiteY55" fmla="*/ 3175 h 780573"/>
              <a:gd name="connsiteX56" fmla="*/ 619125 w 841375"/>
              <a:gd name="connsiteY56" fmla="*/ 0 h 780573"/>
              <a:gd name="connsiteX57" fmla="*/ 628650 w 841375"/>
              <a:gd name="connsiteY57" fmla="*/ 3175 h 780573"/>
              <a:gd name="connsiteX58" fmla="*/ 676275 w 841375"/>
              <a:gd name="connsiteY58" fmla="*/ 9525 h 780573"/>
              <a:gd name="connsiteX59" fmla="*/ 695325 w 841375"/>
              <a:gd name="connsiteY59" fmla="*/ 15875 h 780573"/>
              <a:gd name="connsiteX60" fmla="*/ 704850 w 841375"/>
              <a:gd name="connsiteY60" fmla="*/ 19050 h 780573"/>
              <a:gd name="connsiteX61" fmla="*/ 730250 w 841375"/>
              <a:gd name="connsiteY61" fmla="*/ 15875 h 780573"/>
              <a:gd name="connsiteX62" fmla="*/ 739775 w 841375"/>
              <a:gd name="connsiteY62" fmla="*/ 6350 h 780573"/>
              <a:gd name="connsiteX63" fmla="*/ 749300 w 841375"/>
              <a:gd name="connsiteY63" fmla="*/ 0 h 780573"/>
              <a:gd name="connsiteX64" fmla="*/ 777875 w 841375"/>
              <a:gd name="connsiteY64" fmla="*/ 15875 h 780573"/>
              <a:gd name="connsiteX65" fmla="*/ 787400 w 841375"/>
              <a:gd name="connsiteY65" fmla="*/ 19050 h 780573"/>
              <a:gd name="connsiteX66" fmla="*/ 793750 w 841375"/>
              <a:gd name="connsiteY66" fmla="*/ 28575 h 780573"/>
              <a:gd name="connsiteX67" fmla="*/ 784225 w 841375"/>
              <a:gd name="connsiteY67" fmla="*/ 66675 h 780573"/>
              <a:gd name="connsiteX68" fmla="*/ 781050 w 841375"/>
              <a:gd name="connsiteY68" fmla="*/ 76200 h 780573"/>
              <a:gd name="connsiteX69" fmla="*/ 771525 w 841375"/>
              <a:gd name="connsiteY69" fmla="*/ 85725 h 780573"/>
              <a:gd name="connsiteX70" fmla="*/ 765175 w 841375"/>
              <a:gd name="connsiteY70" fmla="*/ 95250 h 780573"/>
              <a:gd name="connsiteX71" fmla="*/ 765175 w 841375"/>
              <a:gd name="connsiteY71" fmla="*/ 130175 h 780573"/>
              <a:gd name="connsiteX72" fmla="*/ 774700 w 841375"/>
              <a:gd name="connsiteY72" fmla="*/ 136525 h 780573"/>
              <a:gd name="connsiteX73" fmla="*/ 787400 w 841375"/>
              <a:gd name="connsiteY73" fmla="*/ 152400 h 780573"/>
              <a:gd name="connsiteX74" fmla="*/ 790575 w 841375"/>
              <a:gd name="connsiteY74" fmla="*/ 161925 h 780573"/>
              <a:gd name="connsiteX75" fmla="*/ 806450 w 841375"/>
              <a:gd name="connsiteY75" fmla="*/ 177800 h 780573"/>
              <a:gd name="connsiteX76" fmla="*/ 803275 w 841375"/>
              <a:gd name="connsiteY76" fmla="*/ 238125 h 780573"/>
              <a:gd name="connsiteX77" fmla="*/ 784225 w 841375"/>
              <a:gd name="connsiteY77" fmla="*/ 257175 h 780573"/>
              <a:gd name="connsiteX78" fmla="*/ 781050 w 841375"/>
              <a:gd name="connsiteY78" fmla="*/ 269875 h 780573"/>
              <a:gd name="connsiteX79" fmla="*/ 777875 w 841375"/>
              <a:gd name="connsiteY79" fmla="*/ 279400 h 780573"/>
              <a:gd name="connsiteX80" fmla="*/ 781050 w 841375"/>
              <a:gd name="connsiteY80" fmla="*/ 342900 h 780573"/>
              <a:gd name="connsiteX81" fmla="*/ 787400 w 841375"/>
              <a:gd name="connsiteY81" fmla="*/ 361950 h 780573"/>
              <a:gd name="connsiteX82" fmla="*/ 784225 w 841375"/>
              <a:gd name="connsiteY82" fmla="*/ 390525 h 780573"/>
              <a:gd name="connsiteX83" fmla="*/ 774700 w 841375"/>
              <a:gd name="connsiteY83" fmla="*/ 393700 h 780573"/>
              <a:gd name="connsiteX84" fmla="*/ 746125 w 841375"/>
              <a:gd name="connsiteY84" fmla="*/ 409575 h 780573"/>
              <a:gd name="connsiteX85" fmla="*/ 720725 w 841375"/>
              <a:gd name="connsiteY85" fmla="*/ 438150 h 780573"/>
              <a:gd name="connsiteX86" fmla="*/ 701675 w 841375"/>
              <a:gd name="connsiteY86" fmla="*/ 454025 h 780573"/>
              <a:gd name="connsiteX87" fmla="*/ 688975 w 841375"/>
              <a:gd name="connsiteY87" fmla="*/ 473075 h 780573"/>
              <a:gd name="connsiteX88" fmla="*/ 685800 w 841375"/>
              <a:gd name="connsiteY88" fmla="*/ 485775 h 780573"/>
              <a:gd name="connsiteX89" fmla="*/ 682625 w 841375"/>
              <a:gd name="connsiteY89" fmla="*/ 517525 h 780573"/>
              <a:gd name="connsiteX90" fmla="*/ 666750 w 841375"/>
              <a:gd name="connsiteY90" fmla="*/ 533400 h 780573"/>
              <a:gd name="connsiteX91" fmla="*/ 660400 w 841375"/>
              <a:gd name="connsiteY91" fmla="*/ 542925 h 780573"/>
              <a:gd name="connsiteX92" fmla="*/ 650875 w 841375"/>
              <a:gd name="connsiteY92" fmla="*/ 552450 h 780573"/>
              <a:gd name="connsiteX93" fmla="*/ 647700 w 841375"/>
              <a:gd name="connsiteY93" fmla="*/ 561975 h 780573"/>
              <a:gd name="connsiteX94" fmla="*/ 641350 w 841375"/>
              <a:gd name="connsiteY94" fmla="*/ 571500 h 780573"/>
              <a:gd name="connsiteX95" fmla="*/ 635000 w 841375"/>
              <a:gd name="connsiteY95" fmla="*/ 596900 h 780573"/>
              <a:gd name="connsiteX96" fmla="*/ 638175 w 841375"/>
              <a:gd name="connsiteY96" fmla="*/ 609600 h 780573"/>
              <a:gd name="connsiteX97" fmla="*/ 654050 w 841375"/>
              <a:gd name="connsiteY97" fmla="*/ 612775 h 780573"/>
              <a:gd name="connsiteX98" fmla="*/ 663575 w 841375"/>
              <a:gd name="connsiteY98" fmla="*/ 615950 h 780573"/>
              <a:gd name="connsiteX99" fmla="*/ 695325 w 841375"/>
              <a:gd name="connsiteY99" fmla="*/ 631825 h 780573"/>
              <a:gd name="connsiteX100" fmla="*/ 714375 w 841375"/>
              <a:gd name="connsiteY100" fmla="*/ 644525 h 780573"/>
              <a:gd name="connsiteX101" fmla="*/ 720725 w 841375"/>
              <a:gd name="connsiteY101" fmla="*/ 663575 h 780573"/>
              <a:gd name="connsiteX102" fmla="*/ 717550 w 841375"/>
              <a:gd name="connsiteY102" fmla="*/ 676275 h 780573"/>
              <a:gd name="connsiteX103" fmla="*/ 708025 w 841375"/>
              <a:gd name="connsiteY103" fmla="*/ 685800 h 780573"/>
              <a:gd name="connsiteX104" fmla="*/ 695325 w 841375"/>
              <a:gd name="connsiteY104" fmla="*/ 688975 h 780573"/>
              <a:gd name="connsiteX105" fmla="*/ 685800 w 841375"/>
              <a:gd name="connsiteY105" fmla="*/ 692150 h 780573"/>
              <a:gd name="connsiteX106" fmla="*/ 666750 w 841375"/>
              <a:gd name="connsiteY106" fmla="*/ 704850 h 780573"/>
              <a:gd name="connsiteX107" fmla="*/ 660400 w 841375"/>
              <a:gd name="connsiteY107" fmla="*/ 714375 h 780573"/>
              <a:gd name="connsiteX108" fmla="*/ 647700 w 841375"/>
              <a:gd name="connsiteY108" fmla="*/ 717550 h 780573"/>
              <a:gd name="connsiteX109" fmla="*/ 612775 w 841375"/>
              <a:gd name="connsiteY109" fmla="*/ 723900 h 780573"/>
              <a:gd name="connsiteX110" fmla="*/ 590550 w 841375"/>
              <a:gd name="connsiteY110" fmla="*/ 730250 h 780573"/>
              <a:gd name="connsiteX111" fmla="*/ 581025 w 841375"/>
              <a:gd name="connsiteY111" fmla="*/ 749300 h 780573"/>
              <a:gd name="connsiteX112" fmla="*/ 584200 w 841375"/>
              <a:gd name="connsiteY112" fmla="*/ 758825 h 780573"/>
              <a:gd name="connsiteX113" fmla="*/ 581025 w 841375"/>
              <a:gd name="connsiteY113" fmla="*/ 777875 h 780573"/>
              <a:gd name="connsiteX114" fmla="*/ 574675 w 841375"/>
              <a:gd name="connsiteY114" fmla="*/ 768350 h 780573"/>
              <a:gd name="connsiteX115" fmla="*/ 552450 w 841375"/>
              <a:gd name="connsiteY115" fmla="*/ 762000 h 780573"/>
              <a:gd name="connsiteX116" fmla="*/ 536575 w 841375"/>
              <a:gd name="connsiteY116" fmla="*/ 765175 h 780573"/>
              <a:gd name="connsiteX117" fmla="*/ 517525 w 841375"/>
              <a:gd name="connsiteY117" fmla="*/ 771525 h 780573"/>
              <a:gd name="connsiteX118" fmla="*/ 520700 w 841375"/>
              <a:gd name="connsiteY118" fmla="*/ 742950 h 780573"/>
              <a:gd name="connsiteX119" fmla="*/ 523875 w 841375"/>
              <a:gd name="connsiteY119" fmla="*/ 733425 h 780573"/>
              <a:gd name="connsiteX120" fmla="*/ 498475 w 841375"/>
              <a:gd name="connsiteY120" fmla="*/ 711200 h 780573"/>
              <a:gd name="connsiteX121" fmla="*/ 488950 w 841375"/>
              <a:gd name="connsiteY121" fmla="*/ 704850 h 780573"/>
              <a:gd name="connsiteX122" fmla="*/ 479425 w 841375"/>
              <a:gd name="connsiteY122" fmla="*/ 698500 h 780573"/>
              <a:gd name="connsiteX123" fmla="*/ 450850 w 841375"/>
              <a:gd name="connsiteY123" fmla="*/ 685800 h 780573"/>
              <a:gd name="connsiteX124" fmla="*/ 431800 w 841375"/>
              <a:gd name="connsiteY124" fmla="*/ 666750 h 780573"/>
              <a:gd name="connsiteX125" fmla="*/ 425450 w 841375"/>
              <a:gd name="connsiteY125" fmla="*/ 657225 h 780573"/>
              <a:gd name="connsiteX126" fmla="*/ 415925 w 841375"/>
              <a:gd name="connsiteY126" fmla="*/ 650875 h 780573"/>
              <a:gd name="connsiteX127" fmla="*/ 409575 w 841375"/>
              <a:gd name="connsiteY127" fmla="*/ 641350 h 780573"/>
              <a:gd name="connsiteX128" fmla="*/ 396875 w 841375"/>
              <a:gd name="connsiteY128" fmla="*/ 635000 h 780573"/>
              <a:gd name="connsiteX129" fmla="*/ 387350 w 841375"/>
              <a:gd name="connsiteY129" fmla="*/ 628650 h 780573"/>
              <a:gd name="connsiteX130" fmla="*/ 384175 w 841375"/>
              <a:gd name="connsiteY130" fmla="*/ 619125 h 780573"/>
              <a:gd name="connsiteX131" fmla="*/ 346075 w 841375"/>
              <a:gd name="connsiteY131" fmla="*/ 587375 h 780573"/>
              <a:gd name="connsiteX132" fmla="*/ 327025 w 841375"/>
              <a:gd name="connsiteY132" fmla="*/ 581025 h 780573"/>
              <a:gd name="connsiteX133" fmla="*/ 301625 w 841375"/>
              <a:gd name="connsiteY133" fmla="*/ 571500 h 780573"/>
              <a:gd name="connsiteX134" fmla="*/ 215900 w 841375"/>
              <a:gd name="connsiteY134" fmla="*/ 574675 h 780573"/>
              <a:gd name="connsiteX135" fmla="*/ 196850 w 841375"/>
              <a:gd name="connsiteY135" fmla="*/ 584200 h 780573"/>
              <a:gd name="connsiteX136" fmla="*/ 187325 w 841375"/>
              <a:gd name="connsiteY136" fmla="*/ 587375 h 780573"/>
              <a:gd name="connsiteX137" fmla="*/ 69850 w 841375"/>
              <a:gd name="connsiteY137" fmla="*/ 584200 h 780573"/>
              <a:gd name="connsiteX138" fmla="*/ 47625 w 841375"/>
              <a:gd name="connsiteY138" fmla="*/ 577850 h 780573"/>
              <a:gd name="connsiteX139" fmla="*/ 28575 w 841375"/>
              <a:gd name="connsiteY139" fmla="*/ 574675 h 780573"/>
              <a:gd name="connsiteX140" fmla="*/ 6350 w 841375"/>
              <a:gd name="connsiteY140" fmla="*/ 568325 h 780573"/>
              <a:gd name="connsiteX141" fmla="*/ 15875 w 841375"/>
              <a:gd name="connsiteY141" fmla="*/ 565150 h 780573"/>
              <a:gd name="connsiteX0" fmla="*/ 15875 w 828675"/>
              <a:gd name="connsiteY0" fmla="*/ 565150 h 780573"/>
              <a:gd name="connsiteX1" fmla="*/ 9525 w 828675"/>
              <a:gd name="connsiteY1" fmla="*/ 555625 h 780573"/>
              <a:gd name="connsiteX2" fmla="*/ 6350 w 828675"/>
              <a:gd name="connsiteY2" fmla="*/ 542925 h 780573"/>
              <a:gd name="connsiteX3" fmla="*/ 0 w 828675"/>
              <a:gd name="connsiteY3" fmla="*/ 530225 h 780573"/>
              <a:gd name="connsiteX4" fmla="*/ 3175 w 828675"/>
              <a:gd name="connsiteY4" fmla="*/ 450850 h 780573"/>
              <a:gd name="connsiteX5" fmla="*/ 9525 w 828675"/>
              <a:gd name="connsiteY5" fmla="*/ 422275 h 780573"/>
              <a:gd name="connsiteX6" fmla="*/ 31750 w 828675"/>
              <a:gd name="connsiteY6" fmla="*/ 409575 h 780573"/>
              <a:gd name="connsiteX7" fmla="*/ 47625 w 828675"/>
              <a:gd name="connsiteY7" fmla="*/ 393700 h 780573"/>
              <a:gd name="connsiteX8" fmla="*/ 57150 w 828675"/>
              <a:gd name="connsiteY8" fmla="*/ 374650 h 780573"/>
              <a:gd name="connsiteX9" fmla="*/ 41275 w 828675"/>
              <a:gd name="connsiteY9" fmla="*/ 358775 h 780573"/>
              <a:gd name="connsiteX10" fmla="*/ 25400 w 828675"/>
              <a:gd name="connsiteY10" fmla="*/ 342900 h 780573"/>
              <a:gd name="connsiteX11" fmla="*/ 22225 w 828675"/>
              <a:gd name="connsiteY11" fmla="*/ 241300 h 780573"/>
              <a:gd name="connsiteX12" fmla="*/ 25400 w 828675"/>
              <a:gd name="connsiteY12" fmla="*/ 203200 h 780573"/>
              <a:gd name="connsiteX13" fmla="*/ 34925 w 828675"/>
              <a:gd name="connsiteY13" fmla="*/ 193675 h 780573"/>
              <a:gd name="connsiteX14" fmla="*/ 41275 w 828675"/>
              <a:gd name="connsiteY14" fmla="*/ 184150 h 780573"/>
              <a:gd name="connsiteX15" fmla="*/ 79375 w 828675"/>
              <a:gd name="connsiteY15" fmla="*/ 187325 h 780573"/>
              <a:gd name="connsiteX16" fmla="*/ 88900 w 828675"/>
              <a:gd name="connsiteY16" fmla="*/ 184150 h 780573"/>
              <a:gd name="connsiteX17" fmla="*/ 142875 w 828675"/>
              <a:gd name="connsiteY17" fmla="*/ 180975 h 780573"/>
              <a:gd name="connsiteX18" fmla="*/ 155575 w 828675"/>
              <a:gd name="connsiteY18" fmla="*/ 161925 h 780573"/>
              <a:gd name="connsiteX19" fmla="*/ 161925 w 828675"/>
              <a:gd name="connsiteY19" fmla="*/ 152400 h 780573"/>
              <a:gd name="connsiteX20" fmla="*/ 168275 w 828675"/>
              <a:gd name="connsiteY20" fmla="*/ 133350 h 780573"/>
              <a:gd name="connsiteX21" fmla="*/ 177800 w 828675"/>
              <a:gd name="connsiteY21" fmla="*/ 130175 h 780573"/>
              <a:gd name="connsiteX22" fmla="*/ 250825 w 828675"/>
              <a:gd name="connsiteY22" fmla="*/ 136525 h 780573"/>
              <a:gd name="connsiteX23" fmla="*/ 269875 w 828675"/>
              <a:gd name="connsiteY23" fmla="*/ 146050 h 780573"/>
              <a:gd name="connsiteX24" fmla="*/ 311150 w 828675"/>
              <a:gd name="connsiteY24" fmla="*/ 155575 h 780573"/>
              <a:gd name="connsiteX25" fmla="*/ 317500 w 828675"/>
              <a:gd name="connsiteY25" fmla="*/ 180975 h 780573"/>
              <a:gd name="connsiteX26" fmla="*/ 320675 w 828675"/>
              <a:gd name="connsiteY26" fmla="*/ 190500 h 780573"/>
              <a:gd name="connsiteX27" fmla="*/ 330200 w 828675"/>
              <a:gd name="connsiteY27" fmla="*/ 193675 h 780573"/>
              <a:gd name="connsiteX28" fmla="*/ 368300 w 828675"/>
              <a:gd name="connsiteY28" fmla="*/ 196850 h 780573"/>
              <a:gd name="connsiteX29" fmla="*/ 390525 w 828675"/>
              <a:gd name="connsiteY29" fmla="*/ 206375 h 780573"/>
              <a:gd name="connsiteX30" fmla="*/ 400050 w 828675"/>
              <a:gd name="connsiteY30" fmla="*/ 212725 h 780573"/>
              <a:gd name="connsiteX31" fmla="*/ 409575 w 828675"/>
              <a:gd name="connsiteY31" fmla="*/ 215900 h 780573"/>
              <a:gd name="connsiteX32" fmla="*/ 425450 w 828675"/>
              <a:gd name="connsiteY32" fmla="*/ 228600 h 780573"/>
              <a:gd name="connsiteX33" fmla="*/ 431800 w 828675"/>
              <a:gd name="connsiteY33" fmla="*/ 238125 h 780573"/>
              <a:gd name="connsiteX34" fmla="*/ 441325 w 828675"/>
              <a:gd name="connsiteY34" fmla="*/ 241300 h 780573"/>
              <a:gd name="connsiteX35" fmla="*/ 454025 w 828675"/>
              <a:gd name="connsiteY35" fmla="*/ 247650 h 780573"/>
              <a:gd name="connsiteX36" fmla="*/ 476250 w 828675"/>
              <a:gd name="connsiteY36" fmla="*/ 234950 h 780573"/>
              <a:gd name="connsiteX37" fmla="*/ 466725 w 828675"/>
              <a:gd name="connsiteY37" fmla="*/ 228600 h 780573"/>
              <a:gd name="connsiteX38" fmla="*/ 444500 w 828675"/>
              <a:gd name="connsiteY38" fmla="*/ 203200 h 780573"/>
              <a:gd name="connsiteX39" fmla="*/ 428625 w 828675"/>
              <a:gd name="connsiteY39" fmla="*/ 184150 h 780573"/>
              <a:gd name="connsiteX40" fmla="*/ 409575 w 828675"/>
              <a:gd name="connsiteY40" fmla="*/ 161925 h 780573"/>
              <a:gd name="connsiteX41" fmla="*/ 419100 w 828675"/>
              <a:gd name="connsiteY41" fmla="*/ 158750 h 780573"/>
              <a:gd name="connsiteX42" fmla="*/ 492125 w 828675"/>
              <a:gd name="connsiteY42" fmla="*/ 152400 h 780573"/>
              <a:gd name="connsiteX43" fmla="*/ 508000 w 828675"/>
              <a:gd name="connsiteY43" fmla="*/ 133350 h 780573"/>
              <a:gd name="connsiteX44" fmla="*/ 504825 w 828675"/>
              <a:gd name="connsiteY44" fmla="*/ 123825 h 780573"/>
              <a:gd name="connsiteX45" fmla="*/ 495300 w 828675"/>
              <a:gd name="connsiteY45" fmla="*/ 117475 h 780573"/>
              <a:gd name="connsiteX46" fmla="*/ 492125 w 828675"/>
              <a:gd name="connsiteY46" fmla="*/ 107950 h 780573"/>
              <a:gd name="connsiteX47" fmla="*/ 495300 w 828675"/>
              <a:gd name="connsiteY47" fmla="*/ 95250 h 780573"/>
              <a:gd name="connsiteX48" fmla="*/ 498475 w 828675"/>
              <a:gd name="connsiteY48" fmla="*/ 79375 h 780573"/>
              <a:gd name="connsiteX49" fmla="*/ 501650 w 828675"/>
              <a:gd name="connsiteY49" fmla="*/ 69850 h 780573"/>
              <a:gd name="connsiteX50" fmla="*/ 511175 w 828675"/>
              <a:gd name="connsiteY50" fmla="*/ 63500 h 780573"/>
              <a:gd name="connsiteX51" fmla="*/ 536575 w 828675"/>
              <a:gd name="connsiteY51" fmla="*/ 34925 h 780573"/>
              <a:gd name="connsiteX52" fmla="*/ 555625 w 828675"/>
              <a:gd name="connsiteY52" fmla="*/ 22225 h 780573"/>
              <a:gd name="connsiteX53" fmla="*/ 565150 w 828675"/>
              <a:gd name="connsiteY53" fmla="*/ 15875 h 780573"/>
              <a:gd name="connsiteX54" fmla="*/ 593725 w 828675"/>
              <a:gd name="connsiteY54" fmla="*/ 6350 h 780573"/>
              <a:gd name="connsiteX55" fmla="*/ 603250 w 828675"/>
              <a:gd name="connsiteY55" fmla="*/ 3175 h 780573"/>
              <a:gd name="connsiteX56" fmla="*/ 619125 w 828675"/>
              <a:gd name="connsiteY56" fmla="*/ 0 h 780573"/>
              <a:gd name="connsiteX57" fmla="*/ 628650 w 828675"/>
              <a:gd name="connsiteY57" fmla="*/ 3175 h 780573"/>
              <a:gd name="connsiteX58" fmla="*/ 676275 w 828675"/>
              <a:gd name="connsiteY58" fmla="*/ 9525 h 780573"/>
              <a:gd name="connsiteX59" fmla="*/ 695325 w 828675"/>
              <a:gd name="connsiteY59" fmla="*/ 15875 h 780573"/>
              <a:gd name="connsiteX60" fmla="*/ 704850 w 828675"/>
              <a:gd name="connsiteY60" fmla="*/ 19050 h 780573"/>
              <a:gd name="connsiteX61" fmla="*/ 730250 w 828675"/>
              <a:gd name="connsiteY61" fmla="*/ 15875 h 780573"/>
              <a:gd name="connsiteX62" fmla="*/ 739775 w 828675"/>
              <a:gd name="connsiteY62" fmla="*/ 6350 h 780573"/>
              <a:gd name="connsiteX63" fmla="*/ 749300 w 828675"/>
              <a:gd name="connsiteY63" fmla="*/ 0 h 780573"/>
              <a:gd name="connsiteX64" fmla="*/ 777875 w 828675"/>
              <a:gd name="connsiteY64" fmla="*/ 15875 h 780573"/>
              <a:gd name="connsiteX65" fmla="*/ 787400 w 828675"/>
              <a:gd name="connsiteY65" fmla="*/ 19050 h 780573"/>
              <a:gd name="connsiteX66" fmla="*/ 793750 w 828675"/>
              <a:gd name="connsiteY66" fmla="*/ 28575 h 780573"/>
              <a:gd name="connsiteX67" fmla="*/ 784225 w 828675"/>
              <a:gd name="connsiteY67" fmla="*/ 66675 h 780573"/>
              <a:gd name="connsiteX68" fmla="*/ 781050 w 828675"/>
              <a:gd name="connsiteY68" fmla="*/ 76200 h 780573"/>
              <a:gd name="connsiteX69" fmla="*/ 771525 w 828675"/>
              <a:gd name="connsiteY69" fmla="*/ 85725 h 780573"/>
              <a:gd name="connsiteX70" fmla="*/ 765175 w 828675"/>
              <a:gd name="connsiteY70" fmla="*/ 95250 h 780573"/>
              <a:gd name="connsiteX71" fmla="*/ 765175 w 828675"/>
              <a:gd name="connsiteY71" fmla="*/ 130175 h 780573"/>
              <a:gd name="connsiteX72" fmla="*/ 774700 w 828675"/>
              <a:gd name="connsiteY72" fmla="*/ 136525 h 780573"/>
              <a:gd name="connsiteX73" fmla="*/ 787400 w 828675"/>
              <a:gd name="connsiteY73" fmla="*/ 152400 h 780573"/>
              <a:gd name="connsiteX74" fmla="*/ 790575 w 828675"/>
              <a:gd name="connsiteY74" fmla="*/ 161925 h 780573"/>
              <a:gd name="connsiteX75" fmla="*/ 806450 w 828675"/>
              <a:gd name="connsiteY75" fmla="*/ 177800 h 780573"/>
              <a:gd name="connsiteX76" fmla="*/ 803275 w 828675"/>
              <a:gd name="connsiteY76" fmla="*/ 238125 h 780573"/>
              <a:gd name="connsiteX77" fmla="*/ 784225 w 828675"/>
              <a:gd name="connsiteY77" fmla="*/ 257175 h 780573"/>
              <a:gd name="connsiteX78" fmla="*/ 781050 w 828675"/>
              <a:gd name="connsiteY78" fmla="*/ 269875 h 780573"/>
              <a:gd name="connsiteX79" fmla="*/ 777875 w 828675"/>
              <a:gd name="connsiteY79" fmla="*/ 279400 h 780573"/>
              <a:gd name="connsiteX80" fmla="*/ 781050 w 828675"/>
              <a:gd name="connsiteY80" fmla="*/ 342900 h 780573"/>
              <a:gd name="connsiteX81" fmla="*/ 787400 w 828675"/>
              <a:gd name="connsiteY81" fmla="*/ 361950 h 780573"/>
              <a:gd name="connsiteX82" fmla="*/ 784225 w 828675"/>
              <a:gd name="connsiteY82" fmla="*/ 390525 h 780573"/>
              <a:gd name="connsiteX83" fmla="*/ 774700 w 828675"/>
              <a:gd name="connsiteY83" fmla="*/ 393700 h 780573"/>
              <a:gd name="connsiteX84" fmla="*/ 746125 w 828675"/>
              <a:gd name="connsiteY84" fmla="*/ 409575 h 780573"/>
              <a:gd name="connsiteX85" fmla="*/ 720725 w 828675"/>
              <a:gd name="connsiteY85" fmla="*/ 438150 h 780573"/>
              <a:gd name="connsiteX86" fmla="*/ 701675 w 828675"/>
              <a:gd name="connsiteY86" fmla="*/ 454025 h 780573"/>
              <a:gd name="connsiteX87" fmla="*/ 688975 w 828675"/>
              <a:gd name="connsiteY87" fmla="*/ 473075 h 780573"/>
              <a:gd name="connsiteX88" fmla="*/ 685800 w 828675"/>
              <a:gd name="connsiteY88" fmla="*/ 485775 h 780573"/>
              <a:gd name="connsiteX89" fmla="*/ 682625 w 828675"/>
              <a:gd name="connsiteY89" fmla="*/ 517525 h 780573"/>
              <a:gd name="connsiteX90" fmla="*/ 666750 w 828675"/>
              <a:gd name="connsiteY90" fmla="*/ 533400 h 780573"/>
              <a:gd name="connsiteX91" fmla="*/ 660400 w 828675"/>
              <a:gd name="connsiteY91" fmla="*/ 542925 h 780573"/>
              <a:gd name="connsiteX92" fmla="*/ 650875 w 828675"/>
              <a:gd name="connsiteY92" fmla="*/ 552450 h 780573"/>
              <a:gd name="connsiteX93" fmla="*/ 647700 w 828675"/>
              <a:gd name="connsiteY93" fmla="*/ 561975 h 780573"/>
              <a:gd name="connsiteX94" fmla="*/ 641350 w 828675"/>
              <a:gd name="connsiteY94" fmla="*/ 571500 h 780573"/>
              <a:gd name="connsiteX95" fmla="*/ 635000 w 828675"/>
              <a:gd name="connsiteY95" fmla="*/ 596900 h 780573"/>
              <a:gd name="connsiteX96" fmla="*/ 638175 w 828675"/>
              <a:gd name="connsiteY96" fmla="*/ 609600 h 780573"/>
              <a:gd name="connsiteX97" fmla="*/ 654050 w 828675"/>
              <a:gd name="connsiteY97" fmla="*/ 612775 h 780573"/>
              <a:gd name="connsiteX98" fmla="*/ 663575 w 828675"/>
              <a:gd name="connsiteY98" fmla="*/ 615950 h 780573"/>
              <a:gd name="connsiteX99" fmla="*/ 695325 w 828675"/>
              <a:gd name="connsiteY99" fmla="*/ 631825 h 780573"/>
              <a:gd name="connsiteX100" fmla="*/ 714375 w 828675"/>
              <a:gd name="connsiteY100" fmla="*/ 644525 h 780573"/>
              <a:gd name="connsiteX101" fmla="*/ 720725 w 828675"/>
              <a:gd name="connsiteY101" fmla="*/ 663575 h 780573"/>
              <a:gd name="connsiteX102" fmla="*/ 717550 w 828675"/>
              <a:gd name="connsiteY102" fmla="*/ 676275 h 780573"/>
              <a:gd name="connsiteX103" fmla="*/ 708025 w 828675"/>
              <a:gd name="connsiteY103" fmla="*/ 685800 h 780573"/>
              <a:gd name="connsiteX104" fmla="*/ 695325 w 828675"/>
              <a:gd name="connsiteY104" fmla="*/ 688975 h 780573"/>
              <a:gd name="connsiteX105" fmla="*/ 685800 w 828675"/>
              <a:gd name="connsiteY105" fmla="*/ 692150 h 780573"/>
              <a:gd name="connsiteX106" fmla="*/ 666750 w 828675"/>
              <a:gd name="connsiteY106" fmla="*/ 704850 h 780573"/>
              <a:gd name="connsiteX107" fmla="*/ 660400 w 828675"/>
              <a:gd name="connsiteY107" fmla="*/ 714375 h 780573"/>
              <a:gd name="connsiteX108" fmla="*/ 647700 w 828675"/>
              <a:gd name="connsiteY108" fmla="*/ 717550 h 780573"/>
              <a:gd name="connsiteX109" fmla="*/ 612775 w 828675"/>
              <a:gd name="connsiteY109" fmla="*/ 723900 h 780573"/>
              <a:gd name="connsiteX110" fmla="*/ 590550 w 828675"/>
              <a:gd name="connsiteY110" fmla="*/ 730250 h 780573"/>
              <a:gd name="connsiteX111" fmla="*/ 581025 w 828675"/>
              <a:gd name="connsiteY111" fmla="*/ 749300 h 780573"/>
              <a:gd name="connsiteX112" fmla="*/ 584200 w 828675"/>
              <a:gd name="connsiteY112" fmla="*/ 758825 h 780573"/>
              <a:gd name="connsiteX113" fmla="*/ 581025 w 828675"/>
              <a:gd name="connsiteY113" fmla="*/ 777875 h 780573"/>
              <a:gd name="connsiteX114" fmla="*/ 574675 w 828675"/>
              <a:gd name="connsiteY114" fmla="*/ 768350 h 780573"/>
              <a:gd name="connsiteX115" fmla="*/ 552450 w 828675"/>
              <a:gd name="connsiteY115" fmla="*/ 762000 h 780573"/>
              <a:gd name="connsiteX116" fmla="*/ 536575 w 828675"/>
              <a:gd name="connsiteY116" fmla="*/ 765175 h 780573"/>
              <a:gd name="connsiteX117" fmla="*/ 517525 w 828675"/>
              <a:gd name="connsiteY117" fmla="*/ 771525 h 780573"/>
              <a:gd name="connsiteX118" fmla="*/ 520700 w 828675"/>
              <a:gd name="connsiteY118" fmla="*/ 742950 h 780573"/>
              <a:gd name="connsiteX119" fmla="*/ 523875 w 828675"/>
              <a:gd name="connsiteY119" fmla="*/ 733425 h 780573"/>
              <a:gd name="connsiteX120" fmla="*/ 498475 w 828675"/>
              <a:gd name="connsiteY120" fmla="*/ 711200 h 780573"/>
              <a:gd name="connsiteX121" fmla="*/ 488950 w 828675"/>
              <a:gd name="connsiteY121" fmla="*/ 704850 h 780573"/>
              <a:gd name="connsiteX122" fmla="*/ 479425 w 828675"/>
              <a:gd name="connsiteY122" fmla="*/ 698500 h 780573"/>
              <a:gd name="connsiteX123" fmla="*/ 450850 w 828675"/>
              <a:gd name="connsiteY123" fmla="*/ 685800 h 780573"/>
              <a:gd name="connsiteX124" fmla="*/ 431800 w 828675"/>
              <a:gd name="connsiteY124" fmla="*/ 666750 h 780573"/>
              <a:gd name="connsiteX125" fmla="*/ 425450 w 828675"/>
              <a:gd name="connsiteY125" fmla="*/ 657225 h 780573"/>
              <a:gd name="connsiteX126" fmla="*/ 415925 w 828675"/>
              <a:gd name="connsiteY126" fmla="*/ 650875 h 780573"/>
              <a:gd name="connsiteX127" fmla="*/ 409575 w 828675"/>
              <a:gd name="connsiteY127" fmla="*/ 641350 h 780573"/>
              <a:gd name="connsiteX128" fmla="*/ 396875 w 828675"/>
              <a:gd name="connsiteY128" fmla="*/ 635000 h 780573"/>
              <a:gd name="connsiteX129" fmla="*/ 387350 w 828675"/>
              <a:gd name="connsiteY129" fmla="*/ 628650 h 780573"/>
              <a:gd name="connsiteX130" fmla="*/ 384175 w 828675"/>
              <a:gd name="connsiteY130" fmla="*/ 619125 h 780573"/>
              <a:gd name="connsiteX131" fmla="*/ 346075 w 828675"/>
              <a:gd name="connsiteY131" fmla="*/ 587375 h 780573"/>
              <a:gd name="connsiteX132" fmla="*/ 327025 w 828675"/>
              <a:gd name="connsiteY132" fmla="*/ 581025 h 780573"/>
              <a:gd name="connsiteX133" fmla="*/ 301625 w 828675"/>
              <a:gd name="connsiteY133" fmla="*/ 571500 h 780573"/>
              <a:gd name="connsiteX134" fmla="*/ 215900 w 828675"/>
              <a:gd name="connsiteY134" fmla="*/ 574675 h 780573"/>
              <a:gd name="connsiteX135" fmla="*/ 196850 w 828675"/>
              <a:gd name="connsiteY135" fmla="*/ 584200 h 780573"/>
              <a:gd name="connsiteX136" fmla="*/ 187325 w 828675"/>
              <a:gd name="connsiteY136" fmla="*/ 587375 h 780573"/>
              <a:gd name="connsiteX137" fmla="*/ 69850 w 828675"/>
              <a:gd name="connsiteY137" fmla="*/ 584200 h 780573"/>
              <a:gd name="connsiteX138" fmla="*/ 47625 w 828675"/>
              <a:gd name="connsiteY138" fmla="*/ 577850 h 780573"/>
              <a:gd name="connsiteX139" fmla="*/ 28575 w 828675"/>
              <a:gd name="connsiteY139" fmla="*/ 574675 h 780573"/>
              <a:gd name="connsiteX140" fmla="*/ 6350 w 828675"/>
              <a:gd name="connsiteY140" fmla="*/ 568325 h 780573"/>
              <a:gd name="connsiteX141" fmla="*/ 15875 w 828675"/>
              <a:gd name="connsiteY141" fmla="*/ 565150 h 780573"/>
              <a:gd name="connsiteX0" fmla="*/ 15875 w 828675"/>
              <a:gd name="connsiteY0" fmla="*/ 565150 h 780573"/>
              <a:gd name="connsiteX1" fmla="*/ 9525 w 828675"/>
              <a:gd name="connsiteY1" fmla="*/ 555625 h 780573"/>
              <a:gd name="connsiteX2" fmla="*/ 6350 w 828675"/>
              <a:gd name="connsiteY2" fmla="*/ 542925 h 780573"/>
              <a:gd name="connsiteX3" fmla="*/ 0 w 828675"/>
              <a:gd name="connsiteY3" fmla="*/ 530225 h 780573"/>
              <a:gd name="connsiteX4" fmla="*/ 3175 w 828675"/>
              <a:gd name="connsiteY4" fmla="*/ 450850 h 780573"/>
              <a:gd name="connsiteX5" fmla="*/ 9525 w 828675"/>
              <a:gd name="connsiteY5" fmla="*/ 422275 h 780573"/>
              <a:gd name="connsiteX6" fmla="*/ 31750 w 828675"/>
              <a:gd name="connsiteY6" fmla="*/ 409575 h 780573"/>
              <a:gd name="connsiteX7" fmla="*/ 47625 w 828675"/>
              <a:gd name="connsiteY7" fmla="*/ 393700 h 780573"/>
              <a:gd name="connsiteX8" fmla="*/ 57150 w 828675"/>
              <a:gd name="connsiteY8" fmla="*/ 374650 h 780573"/>
              <a:gd name="connsiteX9" fmla="*/ 41275 w 828675"/>
              <a:gd name="connsiteY9" fmla="*/ 358775 h 780573"/>
              <a:gd name="connsiteX10" fmla="*/ 25400 w 828675"/>
              <a:gd name="connsiteY10" fmla="*/ 342900 h 780573"/>
              <a:gd name="connsiteX11" fmla="*/ 22225 w 828675"/>
              <a:gd name="connsiteY11" fmla="*/ 241300 h 780573"/>
              <a:gd name="connsiteX12" fmla="*/ 25400 w 828675"/>
              <a:gd name="connsiteY12" fmla="*/ 203200 h 780573"/>
              <a:gd name="connsiteX13" fmla="*/ 34925 w 828675"/>
              <a:gd name="connsiteY13" fmla="*/ 193675 h 780573"/>
              <a:gd name="connsiteX14" fmla="*/ 41275 w 828675"/>
              <a:gd name="connsiteY14" fmla="*/ 184150 h 780573"/>
              <a:gd name="connsiteX15" fmla="*/ 79375 w 828675"/>
              <a:gd name="connsiteY15" fmla="*/ 187325 h 780573"/>
              <a:gd name="connsiteX16" fmla="*/ 88900 w 828675"/>
              <a:gd name="connsiteY16" fmla="*/ 184150 h 780573"/>
              <a:gd name="connsiteX17" fmla="*/ 142875 w 828675"/>
              <a:gd name="connsiteY17" fmla="*/ 180975 h 780573"/>
              <a:gd name="connsiteX18" fmla="*/ 155575 w 828675"/>
              <a:gd name="connsiteY18" fmla="*/ 161925 h 780573"/>
              <a:gd name="connsiteX19" fmla="*/ 161925 w 828675"/>
              <a:gd name="connsiteY19" fmla="*/ 152400 h 780573"/>
              <a:gd name="connsiteX20" fmla="*/ 168275 w 828675"/>
              <a:gd name="connsiteY20" fmla="*/ 133350 h 780573"/>
              <a:gd name="connsiteX21" fmla="*/ 177800 w 828675"/>
              <a:gd name="connsiteY21" fmla="*/ 130175 h 780573"/>
              <a:gd name="connsiteX22" fmla="*/ 250825 w 828675"/>
              <a:gd name="connsiteY22" fmla="*/ 136525 h 780573"/>
              <a:gd name="connsiteX23" fmla="*/ 269875 w 828675"/>
              <a:gd name="connsiteY23" fmla="*/ 146050 h 780573"/>
              <a:gd name="connsiteX24" fmla="*/ 317500 w 828675"/>
              <a:gd name="connsiteY24" fmla="*/ 180975 h 780573"/>
              <a:gd name="connsiteX25" fmla="*/ 320675 w 828675"/>
              <a:gd name="connsiteY25" fmla="*/ 190500 h 780573"/>
              <a:gd name="connsiteX26" fmla="*/ 330200 w 828675"/>
              <a:gd name="connsiteY26" fmla="*/ 193675 h 780573"/>
              <a:gd name="connsiteX27" fmla="*/ 368300 w 828675"/>
              <a:gd name="connsiteY27" fmla="*/ 196850 h 780573"/>
              <a:gd name="connsiteX28" fmla="*/ 390525 w 828675"/>
              <a:gd name="connsiteY28" fmla="*/ 206375 h 780573"/>
              <a:gd name="connsiteX29" fmla="*/ 400050 w 828675"/>
              <a:gd name="connsiteY29" fmla="*/ 212725 h 780573"/>
              <a:gd name="connsiteX30" fmla="*/ 409575 w 828675"/>
              <a:gd name="connsiteY30" fmla="*/ 215900 h 780573"/>
              <a:gd name="connsiteX31" fmla="*/ 425450 w 828675"/>
              <a:gd name="connsiteY31" fmla="*/ 228600 h 780573"/>
              <a:gd name="connsiteX32" fmla="*/ 431800 w 828675"/>
              <a:gd name="connsiteY32" fmla="*/ 238125 h 780573"/>
              <a:gd name="connsiteX33" fmla="*/ 441325 w 828675"/>
              <a:gd name="connsiteY33" fmla="*/ 241300 h 780573"/>
              <a:gd name="connsiteX34" fmla="*/ 454025 w 828675"/>
              <a:gd name="connsiteY34" fmla="*/ 247650 h 780573"/>
              <a:gd name="connsiteX35" fmla="*/ 476250 w 828675"/>
              <a:gd name="connsiteY35" fmla="*/ 234950 h 780573"/>
              <a:gd name="connsiteX36" fmla="*/ 466725 w 828675"/>
              <a:gd name="connsiteY36" fmla="*/ 228600 h 780573"/>
              <a:gd name="connsiteX37" fmla="*/ 444500 w 828675"/>
              <a:gd name="connsiteY37" fmla="*/ 203200 h 780573"/>
              <a:gd name="connsiteX38" fmla="*/ 428625 w 828675"/>
              <a:gd name="connsiteY38" fmla="*/ 184150 h 780573"/>
              <a:gd name="connsiteX39" fmla="*/ 409575 w 828675"/>
              <a:gd name="connsiteY39" fmla="*/ 161925 h 780573"/>
              <a:gd name="connsiteX40" fmla="*/ 419100 w 828675"/>
              <a:gd name="connsiteY40" fmla="*/ 158750 h 780573"/>
              <a:gd name="connsiteX41" fmla="*/ 492125 w 828675"/>
              <a:gd name="connsiteY41" fmla="*/ 152400 h 780573"/>
              <a:gd name="connsiteX42" fmla="*/ 508000 w 828675"/>
              <a:gd name="connsiteY42" fmla="*/ 133350 h 780573"/>
              <a:gd name="connsiteX43" fmla="*/ 504825 w 828675"/>
              <a:gd name="connsiteY43" fmla="*/ 123825 h 780573"/>
              <a:gd name="connsiteX44" fmla="*/ 495300 w 828675"/>
              <a:gd name="connsiteY44" fmla="*/ 117475 h 780573"/>
              <a:gd name="connsiteX45" fmla="*/ 492125 w 828675"/>
              <a:gd name="connsiteY45" fmla="*/ 107950 h 780573"/>
              <a:gd name="connsiteX46" fmla="*/ 495300 w 828675"/>
              <a:gd name="connsiteY46" fmla="*/ 95250 h 780573"/>
              <a:gd name="connsiteX47" fmla="*/ 498475 w 828675"/>
              <a:gd name="connsiteY47" fmla="*/ 79375 h 780573"/>
              <a:gd name="connsiteX48" fmla="*/ 501650 w 828675"/>
              <a:gd name="connsiteY48" fmla="*/ 69850 h 780573"/>
              <a:gd name="connsiteX49" fmla="*/ 511175 w 828675"/>
              <a:gd name="connsiteY49" fmla="*/ 63500 h 780573"/>
              <a:gd name="connsiteX50" fmla="*/ 536575 w 828675"/>
              <a:gd name="connsiteY50" fmla="*/ 34925 h 780573"/>
              <a:gd name="connsiteX51" fmla="*/ 555625 w 828675"/>
              <a:gd name="connsiteY51" fmla="*/ 22225 h 780573"/>
              <a:gd name="connsiteX52" fmla="*/ 565150 w 828675"/>
              <a:gd name="connsiteY52" fmla="*/ 15875 h 780573"/>
              <a:gd name="connsiteX53" fmla="*/ 593725 w 828675"/>
              <a:gd name="connsiteY53" fmla="*/ 6350 h 780573"/>
              <a:gd name="connsiteX54" fmla="*/ 603250 w 828675"/>
              <a:gd name="connsiteY54" fmla="*/ 3175 h 780573"/>
              <a:gd name="connsiteX55" fmla="*/ 619125 w 828675"/>
              <a:gd name="connsiteY55" fmla="*/ 0 h 780573"/>
              <a:gd name="connsiteX56" fmla="*/ 628650 w 828675"/>
              <a:gd name="connsiteY56" fmla="*/ 3175 h 780573"/>
              <a:gd name="connsiteX57" fmla="*/ 676275 w 828675"/>
              <a:gd name="connsiteY57" fmla="*/ 9525 h 780573"/>
              <a:gd name="connsiteX58" fmla="*/ 695325 w 828675"/>
              <a:gd name="connsiteY58" fmla="*/ 15875 h 780573"/>
              <a:gd name="connsiteX59" fmla="*/ 704850 w 828675"/>
              <a:gd name="connsiteY59" fmla="*/ 19050 h 780573"/>
              <a:gd name="connsiteX60" fmla="*/ 730250 w 828675"/>
              <a:gd name="connsiteY60" fmla="*/ 15875 h 780573"/>
              <a:gd name="connsiteX61" fmla="*/ 739775 w 828675"/>
              <a:gd name="connsiteY61" fmla="*/ 6350 h 780573"/>
              <a:gd name="connsiteX62" fmla="*/ 749300 w 828675"/>
              <a:gd name="connsiteY62" fmla="*/ 0 h 780573"/>
              <a:gd name="connsiteX63" fmla="*/ 777875 w 828675"/>
              <a:gd name="connsiteY63" fmla="*/ 15875 h 780573"/>
              <a:gd name="connsiteX64" fmla="*/ 787400 w 828675"/>
              <a:gd name="connsiteY64" fmla="*/ 19050 h 780573"/>
              <a:gd name="connsiteX65" fmla="*/ 793750 w 828675"/>
              <a:gd name="connsiteY65" fmla="*/ 28575 h 780573"/>
              <a:gd name="connsiteX66" fmla="*/ 784225 w 828675"/>
              <a:gd name="connsiteY66" fmla="*/ 66675 h 780573"/>
              <a:gd name="connsiteX67" fmla="*/ 781050 w 828675"/>
              <a:gd name="connsiteY67" fmla="*/ 76200 h 780573"/>
              <a:gd name="connsiteX68" fmla="*/ 771525 w 828675"/>
              <a:gd name="connsiteY68" fmla="*/ 85725 h 780573"/>
              <a:gd name="connsiteX69" fmla="*/ 765175 w 828675"/>
              <a:gd name="connsiteY69" fmla="*/ 95250 h 780573"/>
              <a:gd name="connsiteX70" fmla="*/ 765175 w 828675"/>
              <a:gd name="connsiteY70" fmla="*/ 130175 h 780573"/>
              <a:gd name="connsiteX71" fmla="*/ 774700 w 828675"/>
              <a:gd name="connsiteY71" fmla="*/ 136525 h 780573"/>
              <a:gd name="connsiteX72" fmla="*/ 787400 w 828675"/>
              <a:gd name="connsiteY72" fmla="*/ 152400 h 780573"/>
              <a:gd name="connsiteX73" fmla="*/ 790575 w 828675"/>
              <a:gd name="connsiteY73" fmla="*/ 161925 h 780573"/>
              <a:gd name="connsiteX74" fmla="*/ 806450 w 828675"/>
              <a:gd name="connsiteY74" fmla="*/ 177800 h 780573"/>
              <a:gd name="connsiteX75" fmla="*/ 803275 w 828675"/>
              <a:gd name="connsiteY75" fmla="*/ 238125 h 780573"/>
              <a:gd name="connsiteX76" fmla="*/ 784225 w 828675"/>
              <a:gd name="connsiteY76" fmla="*/ 257175 h 780573"/>
              <a:gd name="connsiteX77" fmla="*/ 781050 w 828675"/>
              <a:gd name="connsiteY77" fmla="*/ 269875 h 780573"/>
              <a:gd name="connsiteX78" fmla="*/ 777875 w 828675"/>
              <a:gd name="connsiteY78" fmla="*/ 279400 h 780573"/>
              <a:gd name="connsiteX79" fmla="*/ 781050 w 828675"/>
              <a:gd name="connsiteY79" fmla="*/ 342900 h 780573"/>
              <a:gd name="connsiteX80" fmla="*/ 787400 w 828675"/>
              <a:gd name="connsiteY80" fmla="*/ 361950 h 780573"/>
              <a:gd name="connsiteX81" fmla="*/ 784225 w 828675"/>
              <a:gd name="connsiteY81" fmla="*/ 390525 h 780573"/>
              <a:gd name="connsiteX82" fmla="*/ 774700 w 828675"/>
              <a:gd name="connsiteY82" fmla="*/ 393700 h 780573"/>
              <a:gd name="connsiteX83" fmla="*/ 746125 w 828675"/>
              <a:gd name="connsiteY83" fmla="*/ 409575 h 780573"/>
              <a:gd name="connsiteX84" fmla="*/ 720725 w 828675"/>
              <a:gd name="connsiteY84" fmla="*/ 438150 h 780573"/>
              <a:gd name="connsiteX85" fmla="*/ 701675 w 828675"/>
              <a:gd name="connsiteY85" fmla="*/ 454025 h 780573"/>
              <a:gd name="connsiteX86" fmla="*/ 688975 w 828675"/>
              <a:gd name="connsiteY86" fmla="*/ 473075 h 780573"/>
              <a:gd name="connsiteX87" fmla="*/ 685800 w 828675"/>
              <a:gd name="connsiteY87" fmla="*/ 485775 h 780573"/>
              <a:gd name="connsiteX88" fmla="*/ 682625 w 828675"/>
              <a:gd name="connsiteY88" fmla="*/ 517525 h 780573"/>
              <a:gd name="connsiteX89" fmla="*/ 666750 w 828675"/>
              <a:gd name="connsiteY89" fmla="*/ 533400 h 780573"/>
              <a:gd name="connsiteX90" fmla="*/ 660400 w 828675"/>
              <a:gd name="connsiteY90" fmla="*/ 542925 h 780573"/>
              <a:gd name="connsiteX91" fmla="*/ 650875 w 828675"/>
              <a:gd name="connsiteY91" fmla="*/ 552450 h 780573"/>
              <a:gd name="connsiteX92" fmla="*/ 647700 w 828675"/>
              <a:gd name="connsiteY92" fmla="*/ 561975 h 780573"/>
              <a:gd name="connsiteX93" fmla="*/ 641350 w 828675"/>
              <a:gd name="connsiteY93" fmla="*/ 571500 h 780573"/>
              <a:gd name="connsiteX94" fmla="*/ 635000 w 828675"/>
              <a:gd name="connsiteY94" fmla="*/ 596900 h 780573"/>
              <a:gd name="connsiteX95" fmla="*/ 638175 w 828675"/>
              <a:gd name="connsiteY95" fmla="*/ 609600 h 780573"/>
              <a:gd name="connsiteX96" fmla="*/ 654050 w 828675"/>
              <a:gd name="connsiteY96" fmla="*/ 612775 h 780573"/>
              <a:gd name="connsiteX97" fmla="*/ 663575 w 828675"/>
              <a:gd name="connsiteY97" fmla="*/ 615950 h 780573"/>
              <a:gd name="connsiteX98" fmla="*/ 695325 w 828675"/>
              <a:gd name="connsiteY98" fmla="*/ 631825 h 780573"/>
              <a:gd name="connsiteX99" fmla="*/ 714375 w 828675"/>
              <a:gd name="connsiteY99" fmla="*/ 644525 h 780573"/>
              <a:gd name="connsiteX100" fmla="*/ 720725 w 828675"/>
              <a:gd name="connsiteY100" fmla="*/ 663575 h 780573"/>
              <a:gd name="connsiteX101" fmla="*/ 717550 w 828675"/>
              <a:gd name="connsiteY101" fmla="*/ 676275 h 780573"/>
              <a:gd name="connsiteX102" fmla="*/ 708025 w 828675"/>
              <a:gd name="connsiteY102" fmla="*/ 685800 h 780573"/>
              <a:gd name="connsiteX103" fmla="*/ 695325 w 828675"/>
              <a:gd name="connsiteY103" fmla="*/ 688975 h 780573"/>
              <a:gd name="connsiteX104" fmla="*/ 685800 w 828675"/>
              <a:gd name="connsiteY104" fmla="*/ 692150 h 780573"/>
              <a:gd name="connsiteX105" fmla="*/ 666750 w 828675"/>
              <a:gd name="connsiteY105" fmla="*/ 704850 h 780573"/>
              <a:gd name="connsiteX106" fmla="*/ 660400 w 828675"/>
              <a:gd name="connsiteY106" fmla="*/ 714375 h 780573"/>
              <a:gd name="connsiteX107" fmla="*/ 647700 w 828675"/>
              <a:gd name="connsiteY107" fmla="*/ 717550 h 780573"/>
              <a:gd name="connsiteX108" fmla="*/ 612775 w 828675"/>
              <a:gd name="connsiteY108" fmla="*/ 723900 h 780573"/>
              <a:gd name="connsiteX109" fmla="*/ 590550 w 828675"/>
              <a:gd name="connsiteY109" fmla="*/ 730250 h 780573"/>
              <a:gd name="connsiteX110" fmla="*/ 581025 w 828675"/>
              <a:gd name="connsiteY110" fmla="*/ 749300 h 780573"/>
              <a:gd name="connsiteX111" fmla="*/ 584200 w 828675"/>
              <a:gd name="connsiteY111" fmla="*/ 758825 h 780573"/>
              <a:gd name="connsiteX112" fmla="*/ 581025 w 828675"/>
              <a:gd name="connsiteY112" fmla="*/ 777875 h 780573"/>
              <a:gd name="connsiteX113" fmla="*/ 574675 w 828675"/>
              <a:gd name="connsiteY113" fmla="*/ 768350 h 780573"/>
              <a:gd name="connsiteX114" fmla="*/ 552450 w 828675"/>
              <a:gd name="connsiteY114" fmla="*/ 762000 h 780573"/>
              <a:gd name="connsiteX115" fmla="*/ 536575 w 828675"/>
              <a:gd name="connsiteY115" fmla="*/ 765175 h 780573"/>
              <a:gd name="connsiteX116" fmla="*/ 517525 w 828675"/>
              <a:gd name="connsiteY116" fmla="*/ 771525 h 780573"/>
              <a:gd name="connsiteX117" fmla="*/ 520700 w 828675"/>
              <a:gd name="connsiteY117" fmla="*/ 742950 h 780573"/>
              <a:gd name="connsiteX118" fmla="*/ 523875 w 828675"/>
              <a:gd name="connsiteY118" fmla="*/ 733425 h 780573"/>
              <a:gd name="connsiteX119" fmla="*/ 498475 w 828675"/>
              <a:gd name="connsiteY119" fmla="*/ 711200 h 780573"/>
              <a:gd name="connsiteX120" fmla="*/ 488950 w 828675"/>
              <a:gd name="connsiteY120" fmla="*/ 704850 h 780573"/>
              <a:gd name="connsiteX121" fmla="*/ 479425 w 828675"/>
              <a:gd name="connsiteY121" fmla="*/ 698500 h 780573"/>
              <a:gd name="connsiteX122" fmla="*/ 450850 w 828675"/>
              <a:gd name="connsiteY122" fmla="*/ 685800 h 780573"/>
              <a:gd name="connsiteX123" fmla="*/ 431800 w 828675"/>
              <a:gd name="connsiteY123" fmla="*/ 666750 h 780573"/>
              <a:gd name="connsiteX124" fmla="*/ 425450 w 828675"/>
              <a:gd name="connsiteY124" fmla="*/ 657225 h 780573"/>
              <a:gd name="connsiteX125" fmla="*/ 415925 w 828675"/>
              <a:gd name="connsiteY125" fmla="*/ 650875 h 780573"/>
              <a:gd name="connsiteX126" fmla="*/ 409575 w 828675"/>
              <a:gd name="connsiteY126" fmla="*/ 641350 h 780573"/>
              <a:gd name="connsiteX127" fmla="*/ 396875 w 828675"/>
              <a:gd name="connsiteY127" fmla="*/ 635000 h 780573"/>
              <a:gd name="connsiteX128" fmla="*/ 387350 w 828675"/>
              <a:gd name="connsiteY128" fmla="*/ 628650 h 780573"/>
              <a:gd name="connsiteX129" fmla="*/ 384175 w 828675"/>
              <a:gd name="connsiteY129" fmla="*/ 619125 h 780573"/>
              <a:gd name="connsiteX130" fmla="*/ 346075 w 828675"/>
              <a:gd name="connsiteY130" fmla="*/ 587375 h 780573"/>
              <a:gd name="connsiteX131" fmla="*/ 327025 w 828675"/>
              <a:gd name="connsiteY131" fmla="*/ 581025 h 780573"/>
              <a:gd name="connsiteX132" fmla="*/ 301625 w 828675"/>
              <a:gd name="connsiteY132" fmla="*/ 571500 h 780573"/>
              <a:gd name="connsiteX133" fmla="*/ 215900 w 828675"/>
              <a:gd name="connsiteY133" fmla="*/ 574675 h 780573"/>
              <a:gd name="connsiteX134" fmla="*/ 196850 w 828675"/>
              <a:gd name="connsiteY134" fmla="*/ 584200 h 780573"/>
              <a:gd name="connsiteX135" fmla="*/ 187325 w 828675"/>
              <a:gd name="connsiteY135" fmla="*/ 587375 h 780573"/>
              <a:gd name="connsiteX136" fmla="*/ 69850 w 828675"/>
              <a:gd name="connsiteY136" fmla="*/ 584200 h 780573"/>
              <a:gd name="connsiteX137" fmla="*/ 47625 w 828675"/>
              <a:gd name="connsiteY137" fmla="*/ 577850 h 780573"/>
              <a:gd name="connsiteX138" fmla="*/ 28575 w 828675"/>
              <a:gd name="connsiteY138" fmla="*/ 574675 h 780573"/>
              <a:gd name="connsiteX139" fmla="*/ 6350 w 828675"/>
              <a:gd name="connsiteY139" fmla="*/ 568325 h 780573"/>
              <a:gd name="connsiteX140" fmla="*/ 15875 w 828675"/>
              <a:gd name="connsiteY140" fmla="*/ 565150 h 780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828675" h="780573">
                <a:moveTo>
                  <a:pt x="15875" y="565150"/>
                </a:moveTo>
                <a:cubicBezTo>
                  <a:pt x="16404" y="563033"/>
                  <a:pt x="11028" y="559132"/>
                  <a:pt x="9525" y="555625"/>
                </a:cubicBezTo>
                <a:cubicBezTo>
                  <a:pt x="7806" y="551614"/>
                  <a:pt x="7882" y="547011"/>
                  <a:pt x="6350" y="542925"/>
                </a:cubicBezTo>
                <a:cubicBezTo>
                  <a:pt x="4688" y="538493"/>
                  <a:pt x="2117" y="534458"/>
                  <a:pt x="0" y="530225"/>
                </a:cubicBezTo>
                <a:cubicBezTo>
                  <a:pt x="1058" y="503767"/>
                  <a:pt x="1470" y="477275"/>
                  <a:pt x="3175" y="450850"/>
                </a:cubicBezTo>
                <a:cubicBezTo>
                  <a:pt x="3186" y="450682"/>
                  <a:pt x="6245" y="426375"/>
                  <a:pt x="9525" y="422275"/>
                </a:cubicBezTo>
                <a:cubicBezTo>
                  <a:pt x="12517" y="418535"/>
                  <a:pt x="28625" y="411137"/>
                  <a:pt x="31750" y="409575"/>
                </a:cubicBezTo>
                <a:cubicBezTo>
                  <a:pt x="48683" y="384175"/>
                  <a:pt x="26458" y="414867"/>
                  <a:pt x="47625" y="393700"/>
                </a:cubicBezTo>
                <a:cubicBezTo>
                  <a:pt x="53780" y="387545"/>
                  <a:pt x="54568" y="382397"/>
                  <a:pt x="57150" y="374650"/>
                </a:cubicBezTo>
                <a:cubicBezTo>
                  <a:pt x="40217" y="349250"/>
                  <a:pt x="62442" y="379942"/>
                  <a:pt x="41275" y="358775"/>
                </a:cubicBezTo>
                <a:cubicBezTo>
                  <a:pt x="20108" y="337608"/>
                  <a:pt x="50800" y="359833"/>
                  <a:pt x="25400" y="342900"/>
                </a:cubicBezTo>
                <a:cubicBezTo>
                  <a:pt x="10607" y="298522"/>
                  <a:pt x="17701" y="327262"/>
                  <a:pt x="22225" y="241300"/>
                </a:cubicBezTo>
                <a:cubicBezTo>
                  <a:pt x="22895" y="228574"/>
                  <a:pt x="22116" y="215514"/>
                  <a:pt x="25400" y="203200"/>
                </a:cubicBezTo>
                <a:cubicBezTo>
                  <a:pt x="26557" y="198861"/>
                  <a:pt x="32050" y="197124"/>
                  <a:pt x="34925" y="193675"/>
                </a:cubicBezTo>
                <a:cubicBezTo>
                  <a:pt x="37368" y="190744"/>
                  <a:pt x="39158" y="187325"/>
                  <a:pt x="41275" y="184150"/>
                </a:cubicBezTo>
                <a:cubicBezTo>
                  <a:pt x="63765" y="191647"/>
                  <a:pt x="56288" y="192455"/>
                  <a:pt x="79375" y="187325"/>
                </a:cubicBezTo>
                <a:cubicBezTo>
                  <a:pt x="82642" y="186599"/>
                  <a:pt x="85570" y="184483"/>
                  <a:pt x="88900" y="184150"/>
                </a:cubicBezTo>
                <a:cubicBezTo>
                  <a:pt x="106833" y="182357"/>
                  <a:pt x="124883" y="182033"/>
                  <a:pt x="142875" y="180975"/>
                </a:cubicBezTo>
                <a:lnTo>
                  <a:pt x="155575" y="161925"/>
                </a:lnTo>
                <a:cubicBezTo>
                  <a:pt x="157692" y="158750"/>
                  <a:pt x="160718" y="156020"/>
                  <a:pt x="161925" y="152400"/>
                </a:cubicBezTo>
                <a:cubicBezTo>
                  <a:pt x="164042" y="146050"/>
                  <a:pt x="161925" y="135467"/>
                  <a:pt x="168275" y="133350"/>
                </a:cubicBezTo>
                <a:lnTo>
                  <a:pt x="177800" y="130175"/>
                </a:lnTo>
                <a:cubicBezTo>
                  <a:pt x="227953" y="138534"/>
                  <a:pt x="153117" y="126754"/>
                  <a:pt x="250825" y="136525"/>
                </a:cubicBezTo>
                <a:cubicBezTo>
                  <a:pt x="262031" y="137646"/>
                  <a:pt x="259777" y="141562"/>
                  <a:pt x="269875" y="146050"/>
                </a:cubicBezTo>
                <a:cubicBezTo>
                  <a:pt x="280988" y="153458"/>
                  <a:pt x="309033" y="173567"/>
                  <a:pt x="317500" y="180975"/>
                </a:cubicBezTo>
                <a:cubicBezTo>
                  <a:pt x="325967" y="188383"/>
                  <a:pt x="318308" y="188133"/>
                  <a:pt x="320675" y="190500"/>
                </a:cubicBezTo>
                <a:cubicBezTo>
                  <a:pt x="323042" y="192867"/>
                  <a:pt x="326883" y="193233"/>
                  <a:pt x="330200" y="193675"/>
                </a:cubicBezTo>
                <a:cubicBezTo>
                  <a:pt x="342832" y="195359"/>
                  <a:pt x="355600" y="195792"/>
                  <a:pt x="368300" y="196850"/>
                </a:cubicBezTo>
                <a:cubicBezTo>
                  <a:pt x="392213" y="212792"/>
                  <a:pt x="361822" y="194074"/>
                  <a:pt x="390525" y="206375"/>
                </a:cubicBezTo>
                <a:cubicBezTo>
                  <a:pt x="394032" y="207878"/>
                  <a:pt x="396637" y="211018"/>
                  <a:pt x="400050" y="212725"/>
                </a:cubicBezTo>
                <a:cubicBezTo>
                  <a:pt x="403043" y="214222"/>
                  <a:pt x="406400" y="214842"/>
                  <a:pt x="409575" y="215900"/>
                </a:cubicBezTo>
                <a:cubicBezTo>
                  <a:pt x="427773" y="243197"/>
                  <a:pt x="403542" y="211073"/>
                  <a:pt x="425450" y="228600"/>
                </a:cubicBezTo>
                <a:cubicBezTo>
                  <a:pt x="428430" y="230984"/>
                  <a:pt x="428820" y="235741"/>
                  <a:pt x="431800" y="238125"/>
                </a:cubicBezTo>
                <a:cubicBezTo>
                  <a:pt x="434413" y="240216"/>
                  <a:pt x="438249" y="239982"/>
                  <a:pt x="441325" y="241300"/>
                </a:cubicBezTo>
                <a:cubicBezTo>
                  <a:pt x="445675" y="243164"/>
                  <a:pt x="449792" y="245533"/>
                  <a:pt x="454025" y="247650"/>
                </a:cubicBezTo>
                <a:cubicBezTo>
                  <a:pt x="455704" y="247370"/>
                  <a:pt x="481786" y="248791"/>
                  <a:pt x="476250" y="234950"/>
                </a:cubicBezTo>
                <a:cubicBezTo>
                  <a:pt x="474833" y="231407"/>
                  <a:pt x="469900" y="230717"/>
                  <a:pt x="466725" y="228600"/>
                </a:cubicBezTo>
                <a:cubicBezTo>
                  <a:pt x="451908" y="206375"/>
                  <a:pt x="460375" y="213783"/>
                  <a:pt x="444500" y="203200"/>
                </a:cubicBezTo>
                <a:cubicBezTo>
                  <a:pt x="430465" y="182148"/>
                  <a:pt x="446960" y="205541"/>
                  <a:pt x="428625" y="184150"/>
                </a:cubicBezTo>
                <a:cubicBezTo>
                  <a:pt x="404187" y="155639"/>
                  <a:pt x="433210" y="185560"/>
                  <a:pt x="409575" y="161925"/>
                </a:cubicBezTo>
                <a:cubicBezTo>
                  <a:pt x="412750" y="160867"/>
                  <a:pt x="415766" y="159040"/>
                  <a:pt x="419100" y="158750"/>
                </a:cubicBezTo>
                <a:cubicBezTo>
                  <a:pt x="495969" y="152066"/>
                  <a:pt x="460911" y="162805"/>
                  <a:pt x="492125" y="152400"/>
                </a:cubicBezTo>
                <a:cubicBezTo>
                  <a:pt x="494986" y="149539"/>
                  <a:pt x="507116" y="138654"/>
                  <a:pt x="508000" y="133350"/>
                </a:cubicBezTo>
                <a:cubicBezTo>
                  <a:pt x="508550" y="130049"/>
                  <a:pt x="506916" y="126438"/>
                  <a:pt x="504825" y="123825"/>
                </a:cubicBezTo>
                <a:cubicBezTo>
                  <a:pt x="502441" y="120845"/>
                  <a:pt x="498475" y="119592"/>
                  <a:pt x="495300" y="117475"/>
                </a:cubicBezTo>
                <a:cubicBezTo>
                  <a:pt x="494242" y="114300"/>
                  <a:pt x="492125" y="111297"/>
                  <a:pt x="492125" y="107950"/>
                </a:cubicBezTo>
                <a:cubicBezTo>
                  <a:pt x="492125" y="103586"/>
                  <a:pt x="494353" y="99510"/>
                  <a:pt x="495300" y="95250"/>
                </a:cubicBezTo>
                <a:cubicBezTo>
                  <a:pt x="496471" y="89982"/>
                  <a:pt x="497166" y="84610"/>
                  <a:pt x="498475" y="79375"/>
                </a:cubicBezTo>
                <a:cubicBezTo>
                  <a:pt x="499287" y="76128"/>
                  <a:pt x="499559" y="72463"/>
                  <a:pt x="501650" y="69850"/>
                </a:cubicBezTo>
                <a:cubicBezTo>
                  <a:pt x="504034" y="66870"/>
                  <a:pt x="508000" y="65617"/>
                  <a:pt x="511175" y="63500"/>
                </a:cubicBezTo>
                <a:cubicBezTo>
                  <a:pt x="518810" y="52048"/>
                  <a:pt x="523526" y="43624"/>
                  <a:pt x="536575" y="34925"/>
                </a:cubicBezTo>
                <a:lnTo>
                  <a:pt x="555625" y="22225"/>
                </a:lnTo>
                <a:cubicBezTo>
                  <a:pt x="558800" y="20108"/>
                  <a:pt x="561530" y="17082"/>
                  <a:pt x="565150" y="15875"/>
                </a:cubicBezTo>
                <a:lnTo>
                  <a:pt x="593725" y="6350"/>
                </a:lnTo>
                <a:cubicBezTo>
                  <a:pt x="596900" y="5292"/>
                  <a:pt x="599968" y="3831"/>
                  <a:pt x="603250" y="3175"/>
                </a:cubicBezTo>
                <a:lnTo>
                  <a:pt x="619125" y="0"/>
                </a:lnTo>
                <a:cubicBezTo>
                  <a:pt x="622300" y="1058"/>
                  <a:pt x="625337" y="2702"/>
                  <a:pt x="628650" y="3175"/>
                </a:cubicBezTo>
                <a:cubicBezTo>
                  <a:pt x="660411" y="7712"/>
                  <a:pt x="655038" y="3154"/>
                  <a:pt x="676275" y="9525"/>
                </a:cubicBezTo>
                <a:cubicBezTo>
                  <a:pt x="682686" y="11448"/>
                  <a:pt x="688975" y="13758"/>
                  <a:pt x="695325" y="15875"/>
                </a:cubicBezTo>
                <a:lnTo>
                  <a:pt x="704850" y="19050"/>
                </a:lnTo>
                <a:cubicBezTo>
                  <a:pt x="713317" y="17992"/>
                  <a:pt x="722231" y="18791"/>
                  <a:pt x="730250" y="15875"/>
                </a:cubicBezTo>
                <a:cubicBezTo>
                  <a:pt x="734470" y="14341"/>
                  <a:pt x="736326" y="9225"/>
                  <a:pt x="739775" y="6350"/>
                </a:cubicBezTo>
                <a:cubicBezTo>
                  <a:pt x="742706" y="3907"/>
                  <a:pt x="746125" y="2117"/>
                  <a:pt x="749300" y="0"/>
                </a:cubicBezTo>
                <a:cubicBezTo>
                  <a:pt x="763558" y="14258"/>
                  <a:pt x="754565" y="8105"/>
                  <a:pt x="777875" y="15875"/>
                </a:cubicBezTo>
                <a:lnTo>
                  <a:pt x="787400" y="19050"/>
                </a:lnTo>
                <a:cubicBezTo>
                  <a:pt x="789517" y="22225"/>
                  <a:pt x="793370" y="24778"/>
                  <a:pt x="793750" y="28575"/>
                </a:cubicBezTo>
                <a:cubicBezTo>
                  <a:pt x="795270" y="43772"/>
                  <a:pt x="789165" y="53501"/>
                  <a:pt x="784225" y="66675"/>
                </a:cubicBezTo>
                <a:cubicBezTo>
                  <a:pt x="783050" y="69809"/>
                  <a:pt x="782906" y="73415"/>
                  <a:pt x="781050" y="76200"/>
                </a:cubicBezTo>
                <a:cubicBezTo>
                  <a:pt x="778559" y="79936"/>
                  <a:pt x="774400" y="82276"/>
                  <a:pt x="771525" y="85725"/>
                </a:cubicBezTo>
                <a:cubicBezTo>
                  <a:pt x="769082" y="88656"/>
                  <a:pt x="767292" y="92075"/>
                  <a:pt x="765175" y="95250"/>
                </a:cubicBezTo>
                <a:cubicBezTo>
                  <a:pt x="761865" y="108488"/>
                  <a:pt x="758501" y="115158"/>
                  <a:pt x="765175" y="130175"/>
                </a:cubicBezTo>
                <a:cubicBezTo>
                  <a:pt x="766725" y="133662"/>
                  <a:pt x="771525" y="134408"/>
                  <a:pt x="774700" y="136525"/>
                </a:cubicBezTo>
                <a:cubicBezTo>
                  <a:pt x="782680" y="160466"/>
                  <a:pt x="770987" y="131884"/>
                  <a:pt x="787400" y="152400"/>
                </a:cubicBezTo>
                <a:cubicBezTo>
                  <a:pt x="789491" y="155013"/>
                  <a:pt x="789078" y="158932"/>
                  <a:pt x="790575" y="161925"/>
                </a:cubicBezTo>
                <a:cubicBezTo>
                  <a:pt x="795867" y="172508"/>
                  <a:pt x="796925" y="171450"/>
                  <a:pt x="806450" y="177800"/>
                </a:cubicBezTo>
                <a:cubicBezTo>
                  <a:pt x="805392" y="197908"/>
                  <a:pt x="828675" y="197320"/>
                  <a:pt x="803275" y="238125"/>
                </a:cubicBezTo>
                <a:cubicBezTo>
                  <a:pt x="800854" y="246773"/>
                  <a:pt x="784225" y="257175"/>
                  <a:pt x="784225" y="257175"/>
                </a:cubicBezTo>
                <a:cubicBezTo>
                  <a:pt x="783167" y="261408"/>
                  <a:pt x="782249" y="265679"/>
                  <a:pt x="781050" y="269875"/>
                </a:cubicBezTo>
                <a:cubicBezTo>
                  <a:pt x="780131" y="273093"/>
                  <a:pt x="777875" y="276053"/>
                  <a:pt x="777875" y="279400"/>
                </a:cubicBezTo>
                <a:cubicBezTo>
                  <a:pt x="777875" y="300593"/>
                  <a:pt x="778621" y="321847"/>
                  <a:pt x="781050" y="342900"/>
                </a:cubicBezTo>
                <a:cubicBezTo>
                  <a:pt x="781817" y="349549"/>
                  <a:pt x="787400" y="361950"/>
                  <a:pt x="787400" y="361950"/>
                </a:cubicBezTo>
                <a:cubicBezTo>
                  <a:pt x="786342" y="371475"/>
                  <a:pt x="787784" y="381627"/>
                  <a:pt x="784225" y="390525"/>
                </a:cubicBezTo>
                <a:cubicBezTo>
                  <a:pt x="782982" y="393632"/>
                  <a:pt x="777626" y="392075"/>
                  <a:pt x="774700" y="393700"/>
                </a:cubicBezTo>
                <a:cubicBezTo>
                  <a:pt x="741948" y="411896"/>
                  <a:pt x="767678" y="402391"/>
                  <a:pt x="746125" y="409575"/>
                </a:cubicBezTo>
                <a:cubicBezTo>
                  <a:pt x="738490" y="421027"/>
                  <a:pt x="733774" y="429451"/>
                  <a:pt x="720725" y="438150"/>
                </a:cubicBezTo>
                <a:cubicBezTo>
                  <a:pt x="712258" y="443794"/>
                  <a:pt x="708257" y="445563"/>
                  <a:pt x="701675" y="454025"/>
                </a:cubicBezTo>
                <a:cubicBezTo>
                  <a:pt x="696990" y="460049"/>
                  <a:pt x="688975" y="473075"/>
                  <a:pt x="688975" y="473075"/>
                </a:cubicBezTo>
                <a:cubicBezTo>
                  <a:pt x="687917" y="477308"/>
                  <a:pt x="686417" y="481455"/>
                  <a:pt x="685800" y="485775"/>
                </a:cubicBezTo>
                <a:cubicBezTo>
                  <a:pt x="684296" y="496304"/>
                  <a:pt x="685017" y="507161"/>
                  <a:pt x="682625" y="517525"/>
                </a:cubicBezTo>
                <a:cubicBezTo>
                  <a:pt x="680701" y="525863"/>
                  <a:pt x="672908" y="529295"/>
                  <a:pt x="666750" y="533400"/>
                </a:cubicBezTo>
                <a:cubicBezTo>
                  <a:pt x="664633" y="536575"/>
                  <a:pt x="662843" y="539994"/>
                  <a:pt x="660400" y="542925"/>
                </a:cubicBezTo>
                <a:cubicBezTo>
                  <a:pt x="657525" y="546374"/>
                  <a:pt x="653366" y="548714"/>
                  <a:pt x="650875" y="552450"/>
                </a:cubicBezTo>
                <a:cubicBezTo>
                  <a:pt x="649019" y="555235"/>
                  <a:pt x="649197" y="558982"/>
                  <a:pt x="647700" y="561975"/>
                </a:cubicBezTo>
                <a:cubicBezTo>
                  <a:pt x="645993" y="565388"/>
                  <a:pt x="643057" y="568087"/>
                  <a:pt x="641350" y="571500"/>
                </a:cubicBezTo>
                <a:cubicBezTo>
                  <a:pt x="638096" y="578009"/>
                  <a:pt x="636208" y="590862"/>
                  <a:pt x="635000" y="596900"/>
                </a:cubicBezTo>
                <a:cubicBezTo>
                  <a:pt x="636058" y="601133"/>
                  <a:pt x="634823" y="606806"/>
                  <a:pt x="638175" y="609600"/>
                </a:cubicBezTo>
                <a:cubicBezTo>
                  <a:pt x="642321" y="613055"/>
                  <a:pt x="648815" y="611466"/>
                  <a:pt x="654050" y="612775"/>
                </a:cubicBezTo>
                <a:cubicBezTo>
                  <a:pt x="657297" y="613587"/>
                  <a:pt x="660649" y="614325"/>
                  <a:pt x="663575" y="615950"/>
                </a:cubicBezTo>
                <a:cubicBezTo>
                  <a:pt x="694503" y="633132"/>
                  <a:pt x="670505" y="625620"/>
                  <a:pt x="695325" y="631825"/>
                </a:cubicBezTo>
                <a:cubicBezTo>
                  <a:pt x="701675" y="636058"/>
                  <a:pt x="711962" y="637285"/>
                  <a:pt x="714375" y="644525"/>
                </a:cubicBezTo>
                <a:lnTo>
                  <a:pt x="720725" y="663575"/>
                </a:lnTo>
                <a:cubicBezTo>
                  <a:pt x="719667" y="667808"/>
                  <a:pt x="719715" y="672486"/>
                  <a:pt x="717550" y="676275"/>
                </a:cubicBezTo>
                <a:cubicBezTo>
                  <a:pt x="715322" y="680174"/>
                  <a:pt x="711924" y="683572"/>
                  <a:pt x="708025" y="685800"/>
                </a:cubicBezTo>
                <a:cubicBezTo>
                  <a:pt x="704236" y="687965"/>
                  <a:pt x="699521" y="687776"/>
                  <a:pt x="695325" y="688975"/>
                </a:cubicBezTo>
                <a:cubicBezTo>
                  <a:pt x="692107" y="689894"/>
                  <a:pt x="688726" y="690525"/>
                  <a:pt x="685800" y="692150"/>
                </a:cubicBezTo>
                <a:cubicBezTo>
                  <a:pt x="679129" y="695856"/>
                  <a:pt x="666750" y="704850"/>
                  <a:pt x="666750" y="704850"/>
                </a:cubicBezTo>
                <a:cubicBezTo>
                  <a:pt x="664633" y="708025"/>
                  <a:pt x="663575" y="712258"/>
                  <a:pt x="660400" y="714375"/>
                </a:cubicBezTo>
                <a:cubicBezTo>
                  <a:pt x="656769" y="716796"/>
                  <a:pt x="651896" y="716351"/>
                  <a:pt x="647700" y="717550"/>
                </a:cubicBezTo>
                <a:cubicBezTo>
                  <a:pt x="619090" y="725724"/>
                  <a:pt x="669517" y="714443"/>
                  <a:pt x="612775" y="723900"/>
                </a:cubicBezTo>
                <a:cubicBezTo>
                  <a:pt x="604802" y="725229"/>
                  <a:pt x="598099" y="727734"/>
                  <a:pt x="590550" y="730250"/>
                </a:cubicBezTo>
                <a:cubicBezTo>
                  <a:pt x="587339" y="735066"/>
                  <a:pt x="581025" y="742727"/>
                  <a:pt x="581025" y="749300"/>
                </a:cubicBezTo>
                <a:cubicBezTo>
                  <a:pt x="581025" y="752647"/>
                  <a:pt x="583142" y="755650"/>
                  <a:pt x="584200" y="758825"/>
                </a:cubicBezTo>
                <a:cubicBezTo>
                  <a:pt x="583142" y="765175"/>
                  <a:pt x="585577" y="773323"/>
                  <a:pt x="581025" y="777875"/>
                </a:cubicBezTo>
                <a:cubicBezTo>
                  <a:pt x="578327" y="780573"/>
                  <a:pt x="577655" y="770734"/>
                  <a:pt x="574675" y="768350"/>
                </a:cubicBezTo>
                <a:cubicBezTo>
                  <a:pt x="572605" y="766694"/>
                  <a:pt x="553280" y="762207"/>
                  <a:pt x="552450" y="762000"/>
                </a:cubicBezTo>
                <a:cubicBezTo>
                  <a:pt x="547158" y="763058"/>
                  <a:pt x="541781" y="763755"/>
                  <a:pt x="536575" y="765175"/>
                </a:cubicBezTo>
                <a:cubicBezTo>
                  <a:pt x="530117" y="766936"/>
                  <a:pt x="517525" y="771525"/>
                  <a:pt x="517525" y="771525"/>
                </a:cubicBezTo>
                <a:cubicBezTo>
                  <a:pt x="512233" y="755650"/>
                  <a:pt x="513292" y="765175"/>
                  <a:pt x="520700" y="742950"/>
                </a:cubicBezTo>
                <a:lnTo>
                  <a:pt x="523875" y="733425"/>
                </a:lnTo>
                <a:cubicBezTo>
                  <a:pt x="513292" y="717550"/>
                  <a:pt x="520700" y="726017"/>
                  <a:pt x="498475" y="711200"/>
                </a:cubicBezTo>
                <a:lnTo>
                  <a:pt x="488950" y="704850"/>
                </a:lnTo>
                <a:cubicBezTo>
                  <a:pt x="485775" y="702733"/>
                  <a:pt x="483045" y="699707"/>
                  <a:pt x="479425" y="698500"/>
                </a:cubicBezTo>
                <a:cubicBezTo>
                  <a:pt x="467346" y="694474"/>
                  <a:pt x="459907" y="693850"/>
                  <a:pt x="450850" y="685800"/>
                </a:cubicBezTo>
                <a:cubicBezTo>
                  <a:pt x="444138" y="679834"/>
                  <a:pt x="436781" y="674222"/>
                  <a:pt x="431800" y="666750"/>
                </a:cubicBezTo>
                <a:cubicBezTo>
                  <a:pt x="429683" y="663575"/>
                  <a:pt x="428148" y="659923"/>
                  <a:pt x="425450" y="657225"/>
                </a:cubicBezTo>
                <a:cubicBezTo>
                  <a:pt x="422752" y="654527"/>
                  <a:pt x="419100" y="652992"/>
                  <a:pt x="415925" y="650875"/>
                </a:cubicBezTo>
                <a:cubicBezTo>
                  <a:pt x="413808" y="647700"/>
                  <a:pt x="412506" y="643793"/>
                  <a:pt x="409575" y="641350"/>
                </a:cubicBezTo>
                <a:cubicBezTo>
                  <a:pt x="405939" y="638320"/>
                  <a:pt x="400984" y="637348"/>
                  <a:pt x="396875" y="635000"/>
                </a:cubicBezTo>
                <a:cubicBezTo>
                  <a:pt x="393562" y="633107"/>
                  <a:pt x="390525" y="630767"/>
                  <a:pt x="387350" y="628650"/>
                </a:cubicBezTo>
                <a:cubicBezTo>
                  <a:pt x="386292" y="625475"/>
                  <a:pt x="408510" y="612264"/>
                  <a:pt x="384175" y="619125"/>
                </a:cubicBezTo>
                <a:cubicBezTo>
                  <a:pt x="412142" y="593726"/>
                  <a:pt x="357082" y="591044"/>
                  <a:pt x="346075" y="587375"/>
                </a:cubicBezTo>
                <a:cubicBezTo>
                  <a:pt x="339725" y="585258"/>
                  <a:pt x="332594" y="584738"/>
                  <a:pt x="327025" y="581025"/>
                </a:cubicBezTo>
                <a:cubicBezTo>
                  <a:pt x="313010" y="571682"/>
                  <a:pt x="321242" y="575423"/>
                  <a:pt x="301625" y="571500"/>
                </a:cubicBezTo>
                <a:cubicBezTo>
                  <a:pt x="273050" y="572558"/>
                  <a:pt x="244431" y="572773"/>
                  <a:pt x="215900" y="574675"/>
                </a:cubicBezTo>
                <a:cubicBezTo>
                  <a:pt x="206692" y="575289"/>
                  <a:pt x="204671" y="580290"/>
                  <a:pt x="196850" y="584200"/>
                </a:cubicBezTo>
                <a:cubicBezTo>
                  <a:pt x="193857" y="585697"/>
                  <a:pt x="190500" y="586317"/>
                  <a:pt x="187325" y="587375"/>
                </a:cubicBezTo>
                <a:cubicBezTo>
                  <a:pt x="148167" y="586317"/>
                  <a:pt x="108976" y="586109"/>
                  <a:pt x="69850" y="584200"/>
                </a:cubicBezTo>
                <a:cubicBezTo>
                  <a:pt x="60990" y="583768"/>
                  <a:pt x="55854" y="579679"/>
                  <a:pt x="47625" y="577850"/>
                </a:cubicBezTo>
                <a:cubicBezTo>
                  <a:pt x="41341" y="576453"/>
                  <a:pt x="34859" y="576072"/>
                  <a:pt x="28575" y="574675"/>
                </a:cubicBezTo>
                <a:cubicBezTo>
                  <a:pt x="12291" y="571056"/>
                  <a:pt x="25712" y="571091"/>
                  <a:pt x="6350" y="568325"/>
                </a:cubicBezTo>
                <a:cubicBezTo>
                  <a:pt x="3207" y="567876"/>
                  <a:pt x="15346" y="567267"/>
                  <a:pt x="15875" y="565150"/>
                </a:cubicBezTo>
                <a:close/>
              </a:path>
            </a:pathLst>
          </a:custGeom>
          <a:solidFill>
            <a:schemeClr val="accent3"/>
          </a:solidFill>
          <a:ln w="12700">
            <a:solidFill>
              <a:schemeClr val="bg1"/>
            </a:solidFill>
            <a:round/>
            <a:headEnd/>
            <a:tailEnd/>
          </a:ln>
        </p:spPr>
        <p:txBody>
          <a:bodyPr/>
          <a:lstStyle/>
          <a:p>
            <a:pPr>
              <a:defRPr/>
            </a:pPr>
            <a:endParaRPr lang="nl-NL"/>
          </a:p>
        </p:txBody>
      </p:sp>
      <p:sp>
        <p:nvSpPr>
          <p:cNvPr id="101" name="Text Placeholder 12"/>
          <p:cNvSpPr>
            <a:spLocks/>
          </p:cNvSpPr>
          <p:nvPr>
            <p:custDataLst>
              <p:tags r:id="rId1"/>
            </p:custDataLst>
          </p:nvPr>
        </p:nvSpPr>
        <p:spPr bwMode="auto">
          <a:xfrm>
            <a:off x="421722" y="1123950"/>
            <a:ext cx="790794" cy="276999"/>
          </a:xfrm>
          <a:prstGeom prst="rect">
            <a:avLst/>
          </a:prstGeom>
          <a:noFill/>
          <a:ln w="9525">
            <a:noFill/>
            <a:miter lim="800000"/>
            <a:headEnd/>
            <a:tailEnd/>
          </a:ln>
        </p:spPr>
        <p:txBody>
          <a:bodyPr wrap="none" lIns="0" tIns="0" rIns="0" bIns="0">
            <a:spAutoFit/>
          </a:bodyPr>
          <a:lstStyle/>
          <a:p>
            <a:pPr algn="l" defTabSz="1019175">
              <a:spcAft>
                <a:spcPts val="0"/>
              </a:spcAft>
            </a:pPr>
            <a:r>
              <a:rPr lang="en-US" sz="1800" b="1" dirty="0" smtClean="0">
                <a:solidFill>
                  <a:schemeClr val="tx2"/>
                </a:solidFill>
              </a:rPr>
              <a:t>Tunisia</a:t>
            </a:r>
            <a:endParaRPr lang="en-US" sz="1800" b="1" dirty="0">
              <a:solidFill>
                <a:schemeClr val="tx2"/>
              </a:solidFill>
            </a:endParaRPr>
          </a:p>
        </p:txBody>
      </p:sp>
      <p:sp>
        <p:nvSpPr>
          <p:cNvPr id="111" name="Text Placeholder 12"/>
          <p:cNvSpPr>
            <a:spLocks/>
          </p:cNvSpPr>
          <p:nvPr>
            <p:custDataLst>
              <p:tags r:id="rId2"/>
            </p:custDataLst>
          </p:nvPr>
        </p:nvSpPr>
        <p:spPr bwMode="auto">
          <a:xfrm>
            <a:off x="4873182" y="1123950"/>
            <a:ext cx="782265" cy="276999"/>
          </a:xfrm>
          <a:prstGeom prst="rect">
            <a:avLst/>
          </a:prstGeom>
          <a:noFill/>
          <a:ln w="9525">
            <a:noFill/>
            <a:miter lim="800000"/>
            <a:headEnd/>
            <a:tailEnd/>
          </a:ln>
        </p:spPr>
        <p:txBody>
          <a:bodyPr wrap="none" lIns="0" tIns="0" rIns="0" bIns="0">
            <a:spAutoFit/>
          </a:bodyPr>
          <a:lstStyle/>
          <a:p>
            <a:pPr algn="l" defTabSz="1019175">
              <a:spcAft>
                <a:spcPts val="0"/>
              </a:spcAft>
            </a:pPr>
            <a:r>
              <a:rPr lang="en-US" sz="1800" b="1">
                <a:solidFill>
                  <a:schemeClr val="tx2"/>
                </a:solidFill>
              </a:rPr>
              <a:t>Greece</a:t>
            </a:r>
          </a:p>
        </p:txBody>
      </p:sp>
      <p:sp>
        <p:nvSpPr>
          <p:cNvPr id="10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8849" name="Title 1"/>
          <p:cNvSpPr>
            <a:spLocks noGrp="1"/>
          </p:cNvSpPr>
          <p:nvPr>
            <p:ph type="title"/>
          </p:nvPr>
        </p:nvSpPr>
        <p:spPr>
          <a:xfrm>
            <a:off x="414338" y="446038"/>
            <a:ext cx="8330184" cy="333425"/>
          </a:xfrm>
        </p:spPr>
        <p:txBody>
          <a:bodyPr/>
          <a:lstStyle/>
          <a:p>
            <a:r>
              <a:rPr lang="nl-NL"/>
              <a:t>Maps </a:t>
            </a:r>
            <a:r>
              <a:rPr lang="en-US"/>
              <a:t>—</a:t>
            </a:r>
            <a:r>
              <a:rPr lang="nl-NL" smtClean="0"/>
              <a:t> </a:t>
            </a:r>
            <a:r>
              <a:rPr lang="nl-NL"/>
              <a:t>India and China</a:t>
            </a:r>
          </a:p>
        </p:txBody>
      </p:sp>
      <p:sp>
        <p:nvSpPr>
          <p:cNvPr id="114" name="Freeform 14"/>
          <p:cNvSpPr>
            <a:spLocks noChangeAspect="1"/>
          </p:cNvSpPr>
          <p:nvPr/>
        </p:nvSpPr>
        <p:spPr bwMode="auto">
          <a:xfrm>
            <a:off x="382588" y="1778000"/>
            <a:ext cx="3530600" cy="4222750"/>
          </a:xfrm>
          <a:custGeom>
            <a:avLst/>
            <a:gdLst>
              <a:gd name="T0" fmla="*/ 1777 w 1903"/>
              <a:gd name="T1" fmla="*/ 514 h 2101"/>
              <a:gd name="T2" fmla="*/ 1667 w 1903"/>
              <a:gd name="T3" fmla="*/ 557 h 2101"/>
              <a:gd name="T4" fmla="*/ 1563 w 1903"/>
              <a:gd name="T5" fmla="*/ 633 h 2101"/>
              <a:gd name="T6" fmla="*/ 1525 w 1903"/>
              <a:gd name="T7" fmla="*/ 700 h 2101"/>
              <a:gd name="T8" fmla="*/ 1441 w 1903"/>
              <a:gd name="T9" fmla="*/ 716 h 2101"/>
              <a:gd name="T10" fmla="*/ 1371 w 1903"/>
              <a:gd name="T11" fmla="*/ 628 h 2101"/>
              <a:gd name="T12" fmla="*/ 1316 w 1903"/>
              <a:gd name="T13" fmla="*/ 738 h 2101"/>
              <a:gd name="T14" fmla="*/ 1176 w 1903"/>
              <a:gd name="T15" fmla="*/ 729 h 2101"/>
              <a:gd name="T16" fmla="*/ 1110 w 1903"/>
              <a:gd name="T17" fmla="*/ 709 h 2101"/>
              <a:gd name="T18" fmla="*/ 985 w 1903"/>
              <a:gd name="T19" fmla="*/ 676 h 2101"/>
              <a:gd name="T20" fmla="*/ 899 w 1903"/>
              <a:gd name="T21" fmla="*/ 640 h 2101"/>
              <a:gd name="T22" fmla="*/ 837 w 1903"/>
              <a:gd name="T23" fmla="*/ 532 h 2101"/>
              <a:gd name="T24" fmla="*/ 799 w 1903"/>
              <a:gd name="T25" fmla="*/ 442 h 2101"/>
              <a:gd name="T26" fmla="*/ 706 w 1903"/>
              <a:gd name="T27" fmla="*/ 351 h 2101"/>
              <a:gd name="T28" fmla="*/ 757 w 1903"/>
              <a:gd name="T29" fmla="*/ 343 h 2101"/>
              <a:gd name="T30" fmla="*/ 742 w 1903"/>
              <a:gd name="T31" fmla="*/ 257 h 2101"/>
              <a:gd name="T32" fmla="*/ 792 w 1903"/>
              <a:gd name="T33" fmla="*/ 179 h 2101"/>
              <a:gd name="T34" fmla="*/ 710 w 1903"/>
              <a:gd name="T35" fmla="*/ 87 h 2101"/>
              <a:gd name="T36" fmla="*/ 615 w 1903"/>
              <a:gd name="T37" fmla="*/ 105 h 2101"/>
              <a:gd name="T38" fmla="*/ 546 w 1903"/>
              <a:gd name="T39" fmla="*/ 36 h 2101"/>
              <a:gd name="T40" fmla="*/ 457 w 1903"/>
              <a:gd name="T41" fmla="*/ 5 h 2101"/>
              <a:gd name="T42" fmla="*/ 362 w 1903"/>
              <a:gd name="T43" fmla="*/ 45 h 2101"/>
              <a:gd name="T44" fmla="*/ 419 w 1903"/>
              <a:gd name="T45" fmla="*/ 123 h 2101"/>
              <a:gd name="T46" fmla="*/ 412 w 1903"/>
              <a:gd name="T47" fmla="*/ 290 h 2101"/>
              <a:gd name="T48" fmla="*/ 469 w 1903"/>
              <a:gd name="T49" fmla="*/ 340 h 2101"/>
              <a:gd name="T50" fmla="*/ 437 w 1903"/>
              <a:gd name="T51" fmla="*/ 415 h 2101"/>
              <a:gd name="T52" fmla="*/ 332 w 1903"/>
              <a:gd name="T53" fmla="*/ 571 h 2101"/>
              <a:gd name="T54" fmla="*/ 201 w 1903"/>
              <a:gd name="T55" fmla="*/ 638 h 2101"/>
              <a:gd name="T56" fmla="*/ 109 w 1903"/>
              <a:gd name="T57" fmla="*/ 732 h 2101"/>
              <a:gd name="T58" fmla="*/ 176 w 1903"/>
              <a:gd name="T59" fmla="*/ 900 h 2101"/>
              <a:gd name="T60" fmla="*/ 40 w 1903"/>
              <a:gd name="T61" fmla="*/ 920 h 2101"/>
              <a:gd name="T62" fmla="*/ 37 w 1903"/>
              <a:gd name="T63" fmla="*/ 960 h 2101"/>
              <a:gd name="T64" fmla="*/ 121 w 1903"/>
              <a:gd name="T65" fmla="*/ 1019 h 2101"/>
              <a:gd name="T66" fmla="*/ 82 w 1903"/>
              <a:gd name="T67" fmla="*/ 1055 h 2101"/>
              <a:gd name="T68" fmla="*/ 146 w 1903"/>
              <a:gd name="T69" fmla="*/ 1165 h 2101"/>
              <a:gd name="T70" fmla="*/ 264 w 1903"/>
              <a:gd name="T71" fmla="*/ 1148 h 2101"/>
              <a:gd name="T72" fmla="*/ 313 w 1903"/>
              <a:gd name="T73" fmla="*/ 1193 h 2101"/>
              <a:gd name="T74" fmla="*/ 339 w 1903"/>
              <a:gd name="T75" fmla="*/ 1427 h 2101"/>
              <a:gd name="T76" fmla="*/ 402 w 1903"/>
              <a:gd name="T77" fmla="*/ 1638 h 2101"/>
              <a:gd name="T78" fmla="*/ 469 w 1903"/>
              <a:gd name="T79" fmla="*/ 1822 h 2101"/>
              <a:gd name="T80" fmla="*/ 571 w 1903"/>
              <a:gd name="T81" fmla="*/ 2052 h 2101"/>
              <a:gd name="T82" fmla="*/ 647 w 1903"/>
              <a:gd name="T83" fmla="*/ 2096 h 2101"/>
              <a:gd name="T84" fmla="*/ 725 w 1903"/>
              <a:gd name="T85" fmla="*/ 2018 h 2101"/>
              <a:gd name="T86" fmla="*/ 803 w 1903"/>
              <a:gd name="T87" fmla="*/ 1934 h 2101"/>
              <a:gd name="T88" fmla="*/ 817 w 1903"/>
              <a:gd name="T89" fmla="*/ 1661 h 2101"/>
              <a:gd name="T90" fmla="*/ 900 w 1903"/>
              <a:gd name="T91" fmla="*/ 1516 h 2101"/>
              <a:gd name="T92" fmla="*/ 966 w 1903"/>
              <a:gd name="T93" fmla="*/ 1458 h 2101"/>
              <a:gd name="T94" fmla="*/ 1104 w 1903"/>
              <a:gd name="T95" fmla="*/ 1342 h 2101"/>
              <a:gd name="T96" fmla="*/ 1230 w 1903"/>
              <a:gd name="T97" fmla="*/ 1240 h 2101"/>
              <a:gd name="T98" fmla="*/ 1297 w 1903"/>
              <a:gd name="T99" fmla="*/ 1109 h 2101"/>
              <a:gd name="T100" fmla="*/ 1395 w 1903"/>
              <a:gd name="T101" fmla="*/ 1098 h 2101"/>
              <a:gd name="T102" fmla="*/ 1385 w 1903"/>
              <a:gd name="T103" fmla="*/ 907 h 2101"/>
              <a:gd name="T104" fmla="*/ 1357 w 1903"/>
              <a:gd name="T105" fmla="*/ 855 h 2101"/>
              <a:gd name="T106" fmla="*/ 1350 w 1903"/>
              <a:gd name="T107" fmla="*/ 761 h 2101"/>
              <a:gd name="T108" fmla="*/ 1479 w 1903"/>
              <a:gd name="T109" fmla="*/ 848 h 2101"/>
              <a:gd name="T110" fmla="*/ 1568 w 1903"/>
              <a:gd name="T111" fmla="*/ 888 h 2101"/>
              <a:gd name="T112" fmla="*/ 1576 w 1903"/>
              <a:gd name="T113" fmla="*/ 1006 h 2101"/>
              <a:gd name="T114" fmla="*/ 1653 w 1903"/>
              <a:gd name="T115" fmla="*/ 1059 h 2101"/>
              <a:gd name="T116" fmla="*/ 1697 w 1903"/>
              <a:gd name="T117" fmla="*/ 933 h 2101"/>
              <a:gd name="T118" fmla="*/ 1767 w 1903"/>
              <a:gd name="T119" fmla="*/ 831 h 2101"/>
              <a:gd name="T120" fmla="*/ 1825 w 1903"/>
              <a:gd name="T121" fmla="*/ 671 h 2101"/>
              <a:gd name="T122" fmla="*/ 1902 w 1903"/>
              <a:gd name="T123" fmla="*/ 575 h 21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903"/>
              <a:gd name="T187" fmla="*/ 0 h 2101"/>
              <a:gd name="T188" fmla="*/ 1903 w 1903"/>
              <a:gd name="T189" fmla="*/ 2101 h 21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903" h="2101">
                <a:moveTo>
                  <a:pt x="1856" y="553"/>
                </a:moveTo>
                <a:lnTo>
                  <a:pt x="1839" y="543"/>
                </a:lnTo>
                <a:lnTo>
                  <a:pt x="1840" y="542"/>
                </a:lnTo>
                <a:lnTo>
                  <a:pt x="1841" y="537"/>
                </a:lnTo>
                <a:lnTo>
                  <a:pt x="1839" y="532"/>
                </a:lnTo>
                <a:lnTo>
                  <a:pt x="1832" y="522"/>
                </a:lnTo>
                <a:lnTo>
                  <a:pt x="1824" y="513"/>
                </a:lnTo>
                <a:lnTo>
                  <a:pt x="1820" y="510"/>
                </a:lnTo>
                <a:lnTo>
                  <a:pt x="1818" y="507"/>
                </a:lnTo>
                <a:lnTo>
                  <a:pt x="1815" y="503"/>
                </a:lnTo>
                <a:lnTo>
                  <a:pt x="1811" y="496"/>
                </a:lnTo>
                <a:lnTo>
                  <a:pt x="1803" y="491"/>
                </a:lnTo>
                <a:lnTo>
                  <a:pt x="1792" y="497"/>
                </a:lnTo>
                <a:lnTo>
                  <a:pt x="1783" y="507"/>
                </a:lnTo>
                <a:lnTo>
                  <a:pt x="1777" y="514"/>
                </a:lnTo>
                <a:lnTo>
                  <a:pt x="1771" y="518"/>
                </a:lnTo>
                <a:lnTo>
                  <a:pt x="1764" y="519"/>
                </a:lnTo>
                <a:lnTo>
                  <a:pt x="1759" y="518"/>
                </a:lnTo>
                <a:lnTo>
                  <a:pt x="1752" y="517"/>
                </a:lnTo>
                <a:lnTo>
                  <a:pt x="1744" y="514"/>
                </a:lnTo>
                <a:lnTo>
                  <a:pt x="1736" y="513"/>
                </a:lnTo>
                <a:lnTo>
                  <a:pt x="1727" y="511"/>
                </a:lnTo>
                <a:lnTo>
                  <a:pt x="1719" y="511"/>
                </a:lnTo>
                <a:lnTo>
                  <a:pt x="1712" y="512"/>
                </a:lnTo>
                <a:lnTo>
                  <a:pt x="1707" y="514"/>
                </a:lnTo>
                <a:lnTo>
                  <a:pt x="1699" y="522"/>
                </a:lnTo>
                <a:lnTo>
                  <a:pt x="1690" y="529"/>
                </a:lnTo>
                <a:lnTo>
                  <a:pt x="1682" y="537"/>
                </a:lnTo>
                <a:lnTo>
                  <a:pt x="1675" y="547"/>
                </a:lnTo>
                <a:lnTo>
                  <a:pt x="1672" y="552"/>
                </a:lnTo>
                <a:lnTo>
                  <a:pt x="1667" y="557"/>
                </a:lnTo>
                <a:lnTo>
                  <a:pt x="1661" y="560"/>
                </a:lnTo>
                <a:lnTo>
                  <a:pt x="1655" y="565"/>
                </a:lnTo>
                <a:lnTo>
                  <a:pt x="1648" y="568"/>
                </a:lnTo>
                <a:lnTo>
                  <a:pt x="1643" y="573"/>
                </a:lnTo>
                <a:lnTo>
                  <a:pt x="1637" y="578"/>
                </a:lnTo>
                <a:lnTo>
                  <a:pt x="1632" y="582"/>
                </a:lnTo>
                <a:lnTo>
                  <a:pt x="1624" y="592"/>
                </a:lnTo>
                <a:lnTo>
                  <a:pt x="1616" y="600"/>
                </a:lnTo>
                <a:lnTo>
                  <a:pt x="1608" y="608"/>
                </a:lnTo>
                <a:lnTo>
                  <a:pt x="1600" y="615"/>
                </a:lnTo>
                <a:lnTo>
                  <a:pt x="1596" y="618"/>
                </a:lnTo>
                <a:lnTo>
                  <a:pt x="1589" y="623"/>
                </a:lnTo>
                <a:lnTo>
                  <a:pt x="1582" y="626"/>
                </a:lnTo>
                <a:lnTo>
                  <a:pt x="1575" y="628"/>
                </a:lnTo>
                <a:lnTo>
                  <a:pt x="1568" y="632"/>
                </a:lnTo>
                <a:lnTo>
                  <a:pt x="1563" y="633"/>
                </a:lnTo>
                <a:lnTo>
                  <a:pt x="1559" y="635"/>
                </a:lnTo>
                <a:lnTo>
                  <a:pt x="1558" y="635"/>
                </a:lnTo>
                <a:lnTo>
                  <a:pt x="1554" y="635"/>
                </a:lnTo>
                <a:lnTo>
                  <a:pt x="1547" y="638"/>
                </a:lnTo>
                <a:lnTo>
                  <a:pt x="1540" y="645"/>
                </a:lnTo>
                <a:lnTo>
                  <a:pt x="1537" y="657"/>
                </a:lnTo>
                <a:lnTo>
                  <a:pt x="1541" y="668"/>
                </a:lnTo>
                <a:lnTo>
                  <a:pt x="1553" y="672"/>
                </a:lnTo>
                <a:lnTo>
                  <a:pt x="1562" y="676"/>
                </a:lnTo>
                <a:lnTo>
                  <a:pt x="1566" y="685"/>
                </a:lnTo>
                <a:lnTo>
                  <a:pt x="1561" y="693"/>
                </a:lnTo>
                <a:lnTo>
                  <a:pt x="1552" y="695"/>
                </a:lnTo>
                <a:lnTo>
                  <a:pt x="1543" y="694"/>
                </a:lnTo>
                <a:lnTo>
                  <a:pt x="1533" y="696"/>
                </a:lnTo>
                <a:lnTo>
                  <a:pt x="1529" y="699"/>
                </a:lnTo>
                <a:lnTo>
                  <a:pt x="1525" y="700"/>
                </a:lnTo>
                <a:lnTo>
                  <a:pt x="1521" y="702"/>
                </a:lnTo>
                <a:lnTo>
                  <a:pt x="1516" y="702"/>
                </a:lnTo>
                <a:lnTo>
                  <a:pt x="1510" y="703"/>
                </a:lnTo>
                <a:lnTo>
                  <a:pt x="1506" y="703"/>
                </a:lnTo>
                <a:lnTo>
                  <a:pt x="1502" y="703"/>
                </a:lnTo>
                <a:lnTo>
                  <a:pt x="1498" y="703"/>
                </a:lnTo>
                <a:lnTo>
                  <a:pt x="1493" y="703"/>
                </a:lnTo>
                <a:lnTo>
                  <a:pt x="1488" y="701"/>
                </a:lnTo>
                <a:lnTo>
                  <a:pt x="1483" y="700"/>
                </a:lnTo>
                <a:lnTo>
                  <a:pt x="1476" y="699"/>
                </a:lnTo>
                <a:lnTo>
                  <a:pt x="1470" y="698"/>
                </a:lnTo>
                <a:lnTo>
                  <a:pt x="1463" y="699"/>
                </a:lnTo>
                <a:lnTo>
                  <a:pt x="1457" y="702"/>
                </a:lnTo>
                <a:lnTo>
                  <a:pt x="1452" y="707"/>
                </a:lnTo>
                <a:lnTo>
                  <a:pt x="1445" y="715"/>
                </a:lnTo>
                <a:lnTo>
                  <a:pt x="1441" y="716"/>
                </a:lnTo>
                <a:lnTo>
                  <a:pt x="1434" y="714"/>
                </a:lnTo>
                <a:lnTo>
                  <a:pt x="1419" y="710"/>
                </a:lnTo>
                <a:lnTo>
                  <a:pt x="1409" y="709"/>
                </a:lnTo>
                <a:lnTo>
                  <a:pt x="1401" y="708"/>
                </a:lnTo>
                <a:lnTo>
                  <a:pt x="1393" y="706"/>
                </a:lnTo>
                <a:lnTo>
                  <a:pt x="1386" y="704"/>
                </a:lnTo>
                <a:lnTo>
                  <a:pt x="1380" y="702"/>
                </a:lnTo>
                <a:lnTo>
                  <a:pt x="1377" y="700"/>
                </a:lnTo>
                <a:lnTo>
                  <a:pt x="1374" y="696"/>
                </a:lnTo>
                <a:lnTo>
                  <a:pt x="1373" y="693"/>
                </a:lnTo>
                <a:lnTo>
                  <a:pt x="1373" y="685"/>
                </a:lnTo>
                <a:lnTo>
                  <a:pt x="1373" y="676"/>
                </a:lnTo>
                <a:lnTo>
                  <a:pt x="1373" y="665"/>
                </a:lnTo>
                <a:lnTo>
                  <a:pt x="1373" y="654"/>
                </a:lnTo>
                <a:lnTo>
                  <a:pt x="1373" y="640"/>
                </a:lnTo>
                <a:lnTo>
                  <a:pt x="1371" y="628"/>
                </a:lnTo>
                <a:lnTo>
                  <a:pt x="1366" y="621"/>
                </a:lnTo>
                <a:lnTo>
                  <a:pt x="1356" y="618"/>
                </a:lnTo>
                <a:lnTo>
                  <a:pt x="1343" y="620"/>
                </a:lnTo>
                <a:lnTo>
                  <a:pt x="1335" y="626"/>
                </a:lnTo>
                <a:lnTo>
                  <a:pt x="1329" y="633"/>
                </a:lnTo>
                <a:lnTo>
                  <a:pt x="1327" y="635"/>
                </a:lnTo>
                <a:lnTo>
                  <a:pt x="1324" y="636"/>
                </a:lnTo>
                <a:lnTo>
                  <a:pt x="1317" y="640"/>
                </a:lnTo>
                <a:lnTo>
                  <a:pt x="1309" y="646"/>
                </a:lnTo>
                <a:lnTo>
                  <a:pt x="1305" y="654"/>
                </a:lnTo>
                <a:lnTo>
                  <a:pt x="1305" y="668"/>
                </a:lnTo>
                <a:lnTo>
                  <a:pt x="1306" y="687"/>
                </a:lnTo>
                <a:lnTo>
                  <a:pt x="1309" y="707"/>
                </a:lnTo>
                <a:lnTo>
                  <a:pt x="1313" y="721"/>
                </a:lnTo>
                <a:lnTo>
                  <a:pt x="1317" y="730"/>
                </a:lnTo>
                <a:lnTo>
                  <a:pt x="1316" y="738"/>
                </a:lnTo>
                <a:lnTo>
                  <a:pt x="1311" y="744"/>
                </a:lnTo>
                <a:lnTo>
                  <a:pt x="1302" y="746"/>
                </a:lnTo>
                <a:lnTo>
                  <a:pt x="1295" y="746"/>
                </a:lnTo>
                <a:lnTo>
                  <a:pt x="1285" y="746"/>
                </a:lnTo>
                <a:lnTo>
                  <a:pt x="1273" y="747"/>
                </a:lnTo>
                <a:lnTo>
                  <a:pt x="1260" y="747"/>
                </a:lnTo>
                <a:lnTo>
                  <a:pt x="1248" y="747"/>
                </a:lnTo>
                <a:lnTo>
                  <a:pt x="1236" y="746"/>
                </a:lnTo>
                <a:lnTo>
                  <a:pt x="1227" y="745"/>
                </a:lnTo>
                <a:lnTo>
                  <a:pt x="1221" y="742"/>
                </a:lnTo>
                <a:lnTo>
                  <a:pt x="1215" y="740"/>
                </a:lnTo>
                <a:lnTo>
                  <a:pt x="1209" y="737"/>
                </a:lnTo>
                <a:lnTo>
                  <a:pt x="1200" y="734"/>
                </a:lnTo>
                <a:lnTo>
                  <a:pt x="1191" y="732"/>
                </a:lnTo>
                <a:lnTo>
                  <a:pt x="1183" y="731"/>
                </a:lnTo>
                <a:lnTo>
                  <a:pt x="1176" y="729"/>
                </a:lnTo>
                <a:lnTo>
                  <a:pt x="1172" y="727"/>
                </a:lnTo>
                <a:lnTo>
                  <a:pt x="1171" y="727"/>
                </a:lnTo>
                <a:lnTo>
                  <a:pt x="1169" y="725"/>
                </a:lnTo>
                <a:lnTo>
                  <a:pt x="1166" y="719"/>
                </a:lnTo>
                <a:lnTo>
                  <a:pt x="1159" y="716"/>
                </a:lnTo>
                <a:lnTo>
                  <a:pt x="1150" y="717"/>
                </a:lnTo>
                <a:lnTo>
                  <a:pt x="1144" y="719"/>
                </a:lnTo>
                <a:lnTo>
                  <a:pt x="1137" y="719"/>
                </a:lnTo>
                <a:lnTo>
                  <a:pt x="1131" y="719"/>
                </a:lnTo>
                <a:lnTo>
                  <a:pt x="1124" y="718"/>
                </a:lnTo>
                <a:lnTo>
                  <a:pt x="1119" y="717"/>
                </a:lnTo>
                <a:lnTo>
                  <a:pt x="1114" y="715"/>
                </a:lnTo>
                <a:lnTo>
                  <a:pt x="1112" y="714"/>
                </a:lnTo>
                <a:lnTo>
                  <a:pt x="1111" y="714"/>
                </a:lnTo>
                <a:lnTo>
                  <a:pt x="1111" y="712"/>
                </a:lnTo>
                <a:lnTo>
                  <a:pt x="1110" y="709"/>
                </a:lnTo>
                <a:lnTo>
                  <a:pt x="1107" y="703"/>
                </a:lnTo>
                <a:lnTo>
                  <a:pt x="1104" y="698"/>
                </a:lnTo>
                <a:lnTo>
                  <a:pt x="1098" y="692"/>
                </a:lnTo>
                <a:lnTo>
                  <a:pt x="1091" y="686"/>
                </a:lnTo>
                <a:lnTo>
                  <a:pt x="1083" y="683"/>
                </a:lnTo>
                <a:lnTo>
                  <a:pt x="1072" y="681"/>
                </a:lnTo>
                <a:lnTo>
                  <a:pt x="1059" y="681"/>
                </a:lnTo>
                <a:lnTo>
                  <a:pt x="1045" y="681"/>
                </a:lnTo>
                <a:lnTo>
                  <a:pt x="1030" y="680"/>
                </a:lnTo>
                <a:lnTo>
                  <a:pt x="1017" y="679"/>
                </a:lnTo>
                <a:lnTo>
                  <a:pt x="1005" y="679"/>
                </a:lnTo>
                <a:lnTo>
                  <a:pt x="995" y="678"/>
                </a:lnTo>
                <a:lnTo>
                  <a:pt x="989" y="678"/>
                </a:lnTo>
                <a:lnTo>
                  <a:pt x="986" y="678"/>
                </a:lnTo>
                <a:lnTo>
                  <a:pt x="986" y="677"/>
                </a:lnTo>
                <a:lnTo>
                  <a:pt x="985" y="676"/>
                </a:lnTo>
                <a:lnTo>
                  <a:pt x="983" y="672"/>
                </a:lnTo>
                <a:lnTo>
                  <a:pt x="979" y="669"/>
                </a:lnTo>
                <a:lnTo>
                  <a:pt x="974" y="666"/>
                </a:lnTo>
                <a:lnTo>
                  <a:pt x="967" y="663"/>
                </a:lnTo>
                <a:lnTo>
                  <a:pt x="959" y="662"/>
                </a:lnTo>
                <a:lnTo>
                  <a:pt x="947" y="661"/>
                </a:lnTo>
                <a:lnTo>
                  <a:pt x="946" y="659"/>
                </a:lnTo>
                <a:lnTo>
                  <a:pt x="944" y="658"/>
                </a:lnTo>
                <a:lnTo>
                  <a:pt x="940" y="655"/>
                </a:lnTo>
                <a:lnTo>
                  <a:pt x="936" y="651"/>
                </a:lnTo>
                <a:lnTo>
                  <a:pt x="930" y="649"/>
                </a:lnTo>
                <a:lnTo>
                  <a:pt x="923" y="647"/>
                </a:lnTo>
                <a:lnTo>
                  <a:pt x="916" y="646"/>
                </a:lnTo>
                <a:lnTo>
                  <a:pt x="908" y="647"/>
                </a:lnTo>
                <a:lnTo>
                  <a:pt x="906" y="645"/>
                </a:lnTo>
                <a:lnTo>
                  <a:pt x="899" y="640"/>
                </a:lnTo>
                <a:lnTo>
                  <a:pt x="888" y="632"/>
                </a:lnTo>
                <a:lnTo>
                  <a:pt x="877" y="623"/>
                </a:lnTo>
                <a:lnTo>
                  <a:pt x="864" y="615"/>
                </a:lnTo>
                <a:lnTo>
                  <a:pt x="852" y="606"/>
                </a:lnTo>
                <a:lnTo>
                  <a:pt x="841" y="602"/>
                </a:lnTo>
                <a:lnTo>
                  <a:pt x="834" y="600"/>
                </a:lnTo>
                <a:lnTo>
                  <a:pt x="826" y="597"/>
                </a:lnTo>
                <a:lnTo>
                  <a:pt x="820" y="593"/>
                </a:lnTo>
                <a:lnTo>
                  <a:pt x="818" y="588"/>
                </a:lnTo>
                <a:lnTo>
                  <a:pt x="817" y="586"/>
                </a:lnTo>
                <a:lnTo>
                  <a:pt x="818" y="583"/>
                </a:lnTo>
                <a:lnTo>
                  <a:pt x="823" y="578"/>
                </a:lnTo>
                <a:lnTo>
                  <a:pt x="827" y="570"/>
                </a:lnTo>
                <a:lnTo>
                  <a:pt x="831" y="557"/>
                </a:lnTo>
                <a:lnTo>
                  <a:pt x="833" y="544"/>
                </a:lnTo>
                <a:lnTo>
                  <a:pt x="837" y="532"/>
                </a:lnTo>
                <a:lnTo>
                  <a:pt x="842" y="522"/>
                </a:lnTo>
                <a:lnTo>
                  <a:pt x="849" y="514"/>
                </a:lnTo>
                <a:lnTo>
                  <a:pt x="857" y="509"/>
                </a:lnTo>
                <a:lnTo>
                  <a:pt x="863" y="502"/>
                </a:lnTo>
                <a:lnTo>
                  <a:pt x="863" y="492"/>
                </a:lnTo>
                <a:lnTo>
                  <a:pt x="856" y="483"/>
                </a:lnTo>
                <a:lnTo>
                  <a:pt x="849" y="477"/>
                </a:lnTo>
                <a:lnTo>
                  <a:pt x="841" y="473"/>
                </a:lnTo>
                <a:lnTo>
                  <a:pt x="832" y="467"/>
                </a:lnTo>
                <a:lnTo>
                  <a:pt x="825" y="464"/>
                </a:lnTo>
                <a:lnTo>
                  <a:pt x="817" y="459"/>
                </a:lnTo>
                <a:lnTo>
                  <a:pt x="811" y="457"/>
                </a:lnTo>
                <a:lnTo>
                  <a:pt x="808" y="456"/>
                </a:lnTo>
                <a:lnTo>
                  <a:pt x="807" y="454"/>
                </a:lnTo>
                <a:lnTo>
                  <a:pt x="804" y="451"/>
                </a:lnTo>
                <a:lnTo>
                  <a:pt x="799" y="442"/>
                </a:lnTo>
                <a:lnTo>
                  <a:pt x="789" y="431"/>
                </a:lnTo>
                <a:lnTo>
                  <a:pt x="778" y="426"/>
                </a:lnTo>
                <a:lnTo>
                  <a:pt x="765" y="422"/>
                </a:lnTo>
                <a:lnTo>
                  <a:pt x="755" y="419"/>
                </a:lnTo>
                <a:lnTo>
                  <a:pt x="748" y="416"/>
                </a:lnTo>
                <a:lnTo>
                  <a:pt x="746" y="415"/>
                </a:lnTo>
                <a:lnTo>
                  <a:pt x="743" y="413"/>
                </a:lnTo>
                <a:lnTo>
                  <a:pt x="739" y="407"/>
                </a:lnTo>
                <a:lnTo>
                  <a:pt x="733" y="397"/>
                </a:lnTo>
                <a:lnTo>
                  <a:pt x="725" y="383"/>
                </a:lnTo>
                <a:lnTo>
                  <a:pt x="720" y="374"/>
                </a:lnTo>
                <a:lnTo>
                  <a:pt x="721" y="373"/>
                </a:lnTo>
                <a:lnTo>
                  <a:pt x="720" y="371"/>
                </a:lnTo>
                <a:lnTo>
                  <a:pt x="714" y="362"/>
                </a:lnTo>
                <a:lnTo>
                  <a:pt x="710" y="356"/>
                </a:lnTo>
                <a:lnTo>
                  <a:pt x="706" y="351"/>
                </a:lnTo>
                <a:lnTo>
                  <a:pt x="704" y="346"/>
                </a:lnTo>
                <a:lnTo>
                  <a:pt x="702" y="343"/>
                </a:lnTo>
                <a:lnTo>
                  <a:pt x="702" y="340"/>
                </a:lnTo>
                <a:lnTo>
                  <a:pt x="703" y="338"/>
                </a:lnTo>
                <a:lnTo>
                  <a:pt x="704" y="336"/>
                </a:lnTo>
                <a:lnTo>
                  <a:pt x="705" y="333"/>
                </a:lnTo>
                <a:lnTo>
                  <a:pt x="710" y="330"/>
                </a:lnTo>
                <a:lnTo>
                  <a:pt x="716" y="332"/>
                </a:lnTo>
                <a:lnTo>
                  <a:pt x="723" y="339"/>
                </a:lnTo>
                <a:lnTo>
                  <a:pt x="731" y="348"/>
                </a:lnTo>
                <a:lnTo>
                  <a:pt x="735" y="351"/>
                </a:lnTo>
                <a:lnTo>
                  <a:pt x="739" y="352"/>
                </a:lnTo>
                <a:lnTo>
                  <a:pt x="743" y="351"/>
                </a:lnTo>
                <a:lnTo>
                  <a:pt x="748" y="348"/>
                </a:lnTo>
                <a:lnTo>
                  <a:pt x="752" y="346"/>
                </a:lnTo>
                <a:lnTo>
                  <a:pt x="757" y="343"/>
                </a:lnTo>
                <a:lnTo>
                  <a:pt x="762" y="339"/>
                </a:lnTo>
                <a:lnTo>
                  <a:pt x="766" y="336"/>
                </a:lnTo>
                <a:lnTo>
                  <a:pt x="771" y="327"/>
                </a:lnTo>
                <a:lnTo>
                  <a:pt x="770" y="314"/>
                </a:lnTo>
                <a:lnTo>
                  <a:pt x="764" y="302"/>
                </a:lnTo>
                <a:lnTo>
                  <a:pt x="757" y="293"/>
                </a:lnTo>
                <a:lnTo>
                  <a:pt x="754" y="290"/>
                </a:lnTo>
                <a:lnTo>
                  <a:pt x="751" y="285"/>
                </a:lnTo>
                <a:lnTo>
                  <a:pt x="750" y="279"/>
                </a:lnTo>
                <a:lnTo>
                  <a:pt x="748" y="274"/>
                </a:lnTo>
                <a:lnTo>
                  <a:pt x="748" y="271"/>
                </a:lnTo>
                <a:lnTo>
                  <a:pt x="748" y="269"/>
                </a:lnTo>
                <a:lnTo>
                  <a:pt x="747" y="267"/>
                </a:lnTo>
                <a:lnTo>
                  <a:pt x="746" y="264"/>
                </a:lnTo>
                <a:lnTo>
                  <a:pt x="744" y="261"/>
                </a:lnTo>
                <a:lnTo>
                  <a:pt x="742" y="257"/>
                </a:lnTo>
                <a:lnTo>
                  <a:pt x="741" y="254"/>
                </a:lnTo>
                <a:lnTo>
                  <a:pt x="739" y="250"/>
                </a:lnTo>
                <a:lnTo>
                  <a:pt x="735" y="244"/>
                </a:lnTo>
                <a:lnTo>
                  <a:pt x="738" y="238"/>
                </a:lnTo>
                <a:lnTo>
                  <a:pt x="744" y="234"/>
                </a:lnTo>
                <a:lnTo>
                  <a:pt x="754" y="233"/>
                </a:lnTo>
                <a:lnTo>
                  <a:pt x="761" y="231"/>
                </a:lnTo>
                <a:lnTo>
                  <a:pt x="765" y="227"/>
                </a:lnTo>
                <a:lnTo>
                  <a:pt x="766" y="223"/>
                </a:lnTo>
                <a:lnTo>
                  <a:pt x="767" y="216"/>
                </a:lnTo>
                <a:lnTo>
                  <a:pt x="769" y="211"/>
                </a:lnTo>
                <a:lnTo>
                  <a:pt x="772" y="206"/>
                </a:lnTo>
                <a:lnTo>
                  <a:pt x="776" y="200"/>
                </a:lnTo>
                <a:lnTo>
                  <a:pt x="780" y="193"/>
                </a:lnTo>
                <a:lnTo>
                  <a:pt x="786" y="186"/>
                </a:lnTo>
                <a:lnTo>
                  <a:pt x="792" y="179"/>
                </a:lnTo>
                <a:lnTo>
                  <a:pt x="797" y="172"/>
                </a:lnTo>
                <a:lnTo>
                  <a:pt x="803" y="165"/>
                </a:lnTo>
                <a:lnTo>
                  <a:pt x="810" y="150"/>
                </a:lnTo>
                <a:lnTo>
                  <a:pt x="811" y="134"/>
                </a:lnTo>
                <a:lnTo>
                  <a:pt x="807" y="120"/>
                </a:lnTo>
                <a:lnTo>
                  <a:pt x="800" y="112"/>
                </a:lnTo>
                <a:lnTo>
                  <a:pt x="792" y="108"/>
                </a:lnTo>
                <a:lnTo>
                  <a:pt x="784" y="101"/>
                </a:lnTo>
                <a:lnTo>
                  <a:pt x="776" y="93"/>
                </a:lnTo>
                <a:lnTo>
                  <a:pt x="766" y="82"/>
                </a:lnTo>
                <a:lnTo>
                  <a:pt x="761" y="78"/>
                </a:lnTo>
                <a:lnTo>
                  <a:pt x="752" y="76"/>
                </a:lnTo>
                <a:lnTo>
                  <a:pt x="743" y="76"/>
                </a:lnTo>
                <a:lnTo>
                  <a:pt x="733" y="79"/>
                </a:lnTo>
                <a:lnTo>
                  <a:pt x="721" y="82"/>
                </a:lnTo>
                <a:lnTo>
                  <a:pt x="710" y="87"/>
                </a:lnTo>
                <a:lnTo>
                  <a:pt x="698" y="93"/>
                </a:lnTo>
                <a:lnTo>
                  <a:pt x="688" y="98"/>
                </a:lnTo>
                <a:lnTo>
                  <a:pt x="680" y="104"/>
                </a:lnTo>
                <a:lnTo>
                  <a:pt x="674" y="109"/>
                </a:lnTo>
                <a:lnTo>
                  <a:pt x="668" y="115"/>
                </a:lnTo>
                <a:lnTo>
                  <a:pt x="665" y="119"/>
                </a:lnTo>
                <a:lnTo>
                  <a:pt x="660" y="116"/>
                </a:lnTo>
                <a:lnTo>
                  <a:pt x="656" y="113"/>
                </a:lnTo>
                <a:lnTo>
                  <a:pt x="649" y="112"/>
                </a:lnTo>
                <a:lnTo>
                  <a:pt x="643" y="112"/>
                </a:lnTo>
                <a:lnTo>
                  <a:pt x="636" y="112"/>
                </a:lnTo>
                <a:lnTo>
                  <a:pt x="630" y="111"/>
                </a:lnTo>
                <a:lnTo>
                  <a:pt x="626" y="111"/>
                </a:lnTo>
                <a:lnTo>
                  <a:pt x="622" y="109"/>
                </a:lnTo>
                <a:lnTo>
                  <a:pt x="619" y="106"/>
                </a:lnTo>
                <a:lnTo>
                  <a:pt x="615" y="105"/>
                </a:lnTo>
                <a:lnTo>
                  <a:pt x="610" y="104"/>
                </a:lnTo>
                <a:lnTo>
                  <a:pt x="605" y="103"/>
                </a:lnTo>
                <a:lnTo>
                  <a:pt x="599" y="103"/>
                </a:lnTo>
                <a:lnTo>
                  <a:pt x="595" y="101"/>
                </a:lnTo>
                <a:lnTo>
                  <a:pt x="590" y="98"/>
                </a:lnTo>
                <a:lnTo>
                  <a:pt x="587" y="95"/>
                </a:lnTo>
                <a:lnTo>
                  <a:pt x="581" y="89"/>
                </a:lnTo>
                <a:lnTo>
                  <a:pt x="576" y="86"/>
                </a:lnTo>
                <a:lnTo>
                  <a:pt x="571" y="83"/>
                </a:lnTo>
                <a:lnTo>
                  <a:pt x="564" y="80"/>
                </a:lnTo>
                <a:lnTo>
                  <a:pt x="557" y="74"/>
                </a:lnTo>
                <a:lnTo>
                  <a:pt x="551" y="68"/>
                </a:lnTo>
                <a:lnTo>
                  <a:pt x="549" y="62"/>
                </a:lnTo>
                <a:lnTo>
                  <a:pt x="549" y="53"/>
                </a:lnTo>
                <a:lnTo>
                  <a:pt x="550" y="44"/>
                </a:lnTo>
                <a:lnTo>
                  <a:pt x="546" y="36"/>
                </a:lnTo>
                <a:lnTo>
                  <a:pt x="541" y="30"/>
                </a:lnTo>
                <a:lnTo>
                  <a:pt x="534" y="28"/>
                </a:lnTo>
                <a:lnTo>
                  <a:pt x="528" y="27"/>
                </a:lnTo>
                <a:lnTo>
                  <a:pt x="523" y="23"/>
                </a:lnTo>
                <a:lnTo>
                  <a:pt x="519" y="18"/>
                </a:lnTo>
                <a:lnTo>
                  <a:pt x="515" y="10"/>
                </a:lnTo>
                <a:lnTo>
                  <a:pt x="509" y="4"/>
                </a:lnTo>
                <a:lnTo>
                  <a:pt x="501" y="2"/>
                </a:lnTo>
                <a:lnTo>
                  <a:pt x="491" y="3"/>
                </a:lnTo>
                <a:lnTo>
                  <a:pt x="483" y="2"/>
                </a:lnTo>
                <a:lnTo>
                  <a:pt x="480" y="0"/>
                </a:lnTo>
                <a:lnTo>
                  <a:pt x="475" y="0"/>
                </a:lnTo>
                <a:lnTo>
                  <a:pt x="470" y="0"/>
                </a:lnTo>
                <a:lnTo>
                  <a:pt x="466" y="2"/>
                </a:lnTo>
                <a:lnTo>
                  <a:pt x="461" y="3"/>
                </a:lnTo>
                <a:lnTo>
                  <a:pt x="457" y="5"/>
                </a:lnTo>
                <a:lnTo>
                  <a:pt x="452" y="7"/>
                </a:lnTo>
                <a:lnTo>
                  <a:pt x="448" y="10"/>
                </a:lnTo>
                <a:lnTo>
                  <a:pt x="445" y="13"/>
                </a:lnTo>
                <a:lnTo>
                  <a:pt x="440" y="15"/>
                </a:lnTo>
                <a:lnTo>
                  <a:pt x="435" y="18"/>
                </a:lnTo>
                <a:lnTo>
                  <a:pt x="430" y="19"/>
                </a:lnTo>
                <a:lnTo>
                  <a:pt x="424" y="20"/>
                </a:lnTo>
                <a:lnTo>
                  <a:pt x="419" y="21"/>
                </a:lnTo>
                <a:lnTo>
                  <a:pt x="414" y="21"/>
                </a:lnTo>
                <a:lnTo>
                  <a:pt x="410" y="21"/>
                </a:lnTo>
                <a:lnTo>
                  <a:pt x="404" y="21"/>
                </a:lnTo>
                <a:lnTo>
                  <a:pt x="395" y="23"/>
                </a:lnTo>
                <a:lnTo>
                  <a:pt x="386" y="26"/>
                </a:lnTo>
                <a:lnTo>
                  <a:pt x="379" y="29"/>
                </a:lnTo>
                <a:lnTo>
                  <a:pt x="372" y="36"/>
                </a:lnTo>
                <a:lnTo>
                  <a:pt x="362" y="45"/>
                </a:lnTo>
                <a:lnTo>
                  <a:pt x="353" y="56"/>
                </a:lnTo>
                <a:lnTo>
                  <a:pt x="347" y="63"/>
                </a:lnTo>
                <a:lnTo>
                  <a:pt x="346" y="67"/>
                </a:lnTo>
                <a:lnTo>
                  <a:pt x="348" y="72"/>
                </a:lnTo>
                <a:lnTo>
                  <a:pt x="353" y="75"/>
                </a:lnTo>
                <a:lnTo>
                  <a:pt x="360" y="78"/>
                </a:lnTo>
                <a:lnTo>
                  <a:pt x="363" y="79"/>
                </a:lnTo>
                <a:lnTo>
                  <a:pt x="367" y="81"/>
                </a:lnTo>
                <a:lnTo>
                  <a:pt x="370" y="83"/>
                </a:lnTo>
                <a:lnTo>
                  <a:pt x="374" y="87"/>
                </a:lnTo>
                <a:lnTo>
                  <a:pt x="378" y="90"/>
                </a:lnTo>
                <a:lnTo>
                  <a:pt x="384" y="94"/>
                </a:lnTo>
                <a:lnTo>
                  <a:pt x="390" y="98"/>
                </a:lnTo>
                <a:lnTo>
                  <a:pt x="397" y="102"/>
                </a:lnTo>
                <a:lnTo>
                  <a:pt x="409" y="111"/>
                </a:lnTo>
                <a:lnTo>
                  <a:pt x="419" y="123"/>
                </a:lnTo>
                <a:lnTo>
                  <a:pt x="424" y="134"/>
                </a:lnTo>
                <a:lnTo>
                  <a:pt x="427" y="142"/>
                </a:lnTo>
                <a:lnTo>
                  <a:pt x="423" y="150"/>
                </a:lnTo>
                <a:lnTo>
                  <a:pt x="415" y="161"/>
                </a:lnTo>
                <a:lnTo>
                  <a:pt x="406" y="172"/>
                </a:lnTo>
                <a:lnTo>
                  <a:pt x="398" y="179"/>
                </a:lnTo>
                <a:lnTo>
                  <a:pt x="394" y="185"/>
                </a:lnTo>
                <a:lnTo>
                  <a:pt x="393" y="193"/>
                </a:lnTo>
                <a:lnTo>
                  <a:pt x="394" y="203"/>
                </a:lnTo>
                <a:lnTo>
                  <a:pt x="397" y="215"/>
                </a:lnTo>
                <a:lnTo>
                  <a:pt x="398" y="231"/>
                </a:lnTo>
                <a:lnTo>
                  <a:pt x="399" y="249"/>
                </a:lnTo>
                <a:lnTo>
                  <a:pt x="400" y="268"/>
                </a:lnTo>
                <a:lnTo>
                  <a:pt x="404" y="280"/>
                </a:lnTo>
                <a:lnTo>
                  <a:pt x="407" y="285"/>
                </a:lnTo>
                <a:lnTo>
                  <a:pt x="412" y="290"/>
                </a:lnTo>
                <a:lnTo>
                  <a:pt x="417" y="293"/>
                </a:lnTo>
                <a:lnTo>
                  <a:pt x="424" y="298"/>
                </a:lnTo>
                <a:lnTo>
                  <a:pt x="430" y="301"/>
                </a:lnTo>
                <a:lnTo>
                  <a:pt x="436" y="303"/>
                </a:lnTo>
                <a:lnTo>
                  <a:pt x="442" y="306"/>
                </a:lnTo>
                <a:lnTo>
                  <a:pt x="447" y="308"/>
                </a:lnTo>
                <a:lnTo>
                  <a:pt x="447" y="309"/>
                </a:lnTo>
                <a:lnTo>
                  <a:pt x="447" y="317"/>
                </a:lnTo>
                <a:lnTo>
                  <a:pt x="448" y="324"/>
                </a:lnTo>
                <a:lnTo>
                  <a:pt x="453" y="330"/>
                </a:lnTo>
                <a:lnTo>
                  <a:pt x="458" y="335"/>
                </a:lnTo>
                <a:lnTo>
                  <a:pt x="463" y="338"/>
                </a:lnTo>
                <a:lnTo>
                  <a:pt x="469" y="340"/>
                </a:lnTo>
                <a:lnTo>
                  <a:pt x="476" y="343"/>
                </a:lnTo>
                <a:lnTo>
                  <a:pt x="483" y="344"/>
                </a:lnTo>
                <a:lnTo>
                  <a:pt x="488" y="345"/>
                </a:lnTo>
                <a:lnTo>
                  <a:pt x="490" y="347"/>
                </a:lnTo>
                <a:lnTo>
                  <a:pt x="489" y="350"/>
                </a:lnTo>
                <a:lnTo>
                  <a:pt x="485" y="351"/>
                </a:lnTo>
                <a:lnTo>
                  <a:pt x="481" y="353"/>
                </a:lnTo>
                <a:lnTo>
                  <a:pt x="475" y="355"/>
                </a:lnTo>
                <a:lnTo>
                  <a:pt x="470" y="358"/>
                </a:lnTo>
                <a:lnTo>
                  <a:pt x="466" y="359"/>
                </a:lnTo>
                <a:lnTo>
                  <a:pt x="457" y="362"/>
                </a:lnTo>
                <a:lnTo>
                  <a:pt x="448" y="367"/>
                </a:lnTo>
                <a:lnTo>
                  <a:pt x="443" y="375"/>
                </a:lnTo>
                <a:lnTo>
                  <a:pt x="440" y="386"/>
                </a:lnTo>
                <a:lnTo>
                  <a:pt x="439" y="400"/>
                </a:lnTo>
                <a:lnTo>
                  <a:pt x="437" y="415"/>
                </a:lnTo>
                <a:lnTo>
                  <a:pt x="433" y="428"/>
                </a:lnTo>
                <a:lnTo>
                  <a:pt x="427" y="441"/>
                </a:lnTo>
                <a:lnTo>
                  <a:pt x="416" y="452"/>
                </a:lnTo>
                <a:lnTo>
                  <a:pt x="406" y="465"/>
                </a:lnTo>
                <a:lnTo>
                  <a:pt x="398" y="479"/>
                </a:lnTo>
                <a:lnTo>
                  <a:pt x="394" y="490"/>
                </a:lnTo>
                <a:lnTo>
                  <a:pt x="391" y="497"/>
                </a:lnTo>
                <a:lnTo>
                  <a:pt x="382" y="502"/>
                </a:lnTo>
                <a:lnTo>
                  <a:pt x="371" y="507"/>
                </a:lnTo>
                <a:lnTo>
                  <a:pt x="362" y="519"/>
                </a:lnTo>
                <a:lnTo>
                  <a:pt x="354" y="532"/>
                </a:lnTo>
                <a:lnTo>
                  <a:pt x="346" y="541"/>
                </a:lnTo>
                <a:lnTo>
                  <a:pt x="340" y="550"/>
                </a:lnTo>
                <a:lnTo>
                  <a:pt x="338" y="562"/>
                </a:lnTo>
                <a:lnTo>
                  <a:pt x="337" y="567"/>
                </a:lnTo>
                <a:lnTo>
                  <a:pt x="332" y="571"/>
                </a:lnTo>
                <a:lnTo>
                  <a:pt x="326" y="572"/>
                </a:lnTo>
                <a:lnTo>
                  <a:pt x="319" y="574"/>
                </a:lnTo>
                <a:lnTo>
                  <a:pt x="311" y="575"/>
                </a:lnTo>
                <a:lnTo>
                  <a:pt x="305" y="579"/>
                </a:lnTo>
                <a:lnTo>
                  <a:pt x="299" y="582"/>
                </a:lnTo>
                <a:lnTo>
                  <a:pt x="295" y="589"/>
                </a:lnTo>
                <a:lnTo>
                  <a:pt x="288" y="604"/>
                </a:lnTo>
                <a:lnTo>
                  <a:pt x="279" y="617"/>
                </a:lnTo>
                <a:lnTo>
                  <a:pt x="271" y="628"/>
                </a:lnTo>
                <a:lnTo>
                  <a:pt x="266" y="639"/>
                </a:lnTo>
                <a:lnTo>
                  <a:pt x="224" y="650"/>
                </a:lnTo>
                <a:lnTo>
                  <a:pt x="223" y="651"/>
                </a:lnTo>
                <a:lnTo>
                  <a:pt x="218" y="653"/>
                </a:lnTo>
                <a:lnTo>
                  <a:pt x="212" y="651"/>
                </a:lnTo>
                <a:lnTo>
                  <a:pt x="207" y="647"/>
                </a:lnTo>
                <a:lnTo>
                  <a:pt x="201" y="638"/>
                </a:lnTo>
                <a:lnTo>
                  <a:pt x="194" y="631"/>
                </a:lnTo>
                <a:lnTo>
                  <a:pt x="186" y="627"/>
                </a:lnTo>
                <a:lnTo>
                  <a:pt x="174" y="628"/>
                </a:lnTo>
                <a:lnTo>
                  <a:pt x="167" y="632"/>
                </a:lnTo>
                <a:lnTo>
                  <a:pt x="161" y="638"/>
                </a:lnTo>
                <a:lnTo>
                  <a:pt x="155" y="643"/>
                </a:lnTo>
                <a:lnTo>
                  <a:pt x="150" y="650"/>
                </a:lnTo>
                <a:lnTo>
                  <a:pt x="146" y="657"/>
                </a:lnTo>
                <a:lnTo>
                  <a:pt x="142" y="663"/>
                </a:lnTo>
                <a:lnTo>
                  <a:pt x="140" y="666"/>
                </a:lnTo>
                <a:lnTo>
                  <a:pt x="139" y="668"/>
                </a:lnTo>
                <a:lnTo>
                  <a:pt x="134" y="670"/>
                </a:lnTo>
                <a:lnTo>
                  <a:pt x="123" y="677"/>
                </a:lnTo>
                <a:lnTo>
                  <a:pt x="111" y="689"/>
                </a:lnTo>
                <a:lnTo>
                  <a:pt x="106" y="710"/>
                </a:lnTo>
                <a:lnTo>
                  <a:pt x="109" y="732"/>
                </a:lnTo>
                <a:lnTo>
                  <a:pt x="116" y="747"/>
                </a:lnTo>
                <a:lnTo>
                  <a:pt x="125" y="757"/>
                </a:lnTo>
                <a:lnTo>
                  <a:pt x="135" y="763"/>
                </a:lnTo>
                <a:lnTo>
                  <a:pt x="136" y="770"/>
                </a:lnTo>
                <a:lnTo>
                  <a:pt x="139" y="787"/>
                </a:lnTo>
                <a:lnTo>
                  <a:pt x="144" y="806"/>
                </a:lnTo>
                <a:lnTo>
                  <a:pt x="152" y="817"/>
                </a:lnTo>
                <a:lnTo>
                  <a:pt x="164" y="827"/>
                </a:lnTo>
                <a:lnTo>
                  <a:pt x="174" y="842"/>
                </a:lnTo>
                <a:lnTo>
                  <a:pt x="181" y="854"/>
                </a:lnTo>
                <a:lnTo>
                  <a:pt x="185" y="860"/>
                </a:lnTo>
                <a:lnTo>
                  <a:pt x="188" y="913"/>
                </a:lnTo>
                <a:lnTo>
                  <a:pt x="187" y="912"/>
                </a:lnTo>
                <a:lnTo>
                  <a:pt x="185" y="908"/>
                </a:lnTo>
                <a:lnTo>
                  <a:pt x="181" y="905"/>
                </a:lnTo>
                <a:lnTo>
                  <a:pt x="176" y="900"/>
                </a:lnTo>
                <a:lnTo>
                  <a:pt x="167" y="898"/>
                </a:lnTo>
                <a:lnTo>
                  <a:pt x="158" y="897"/>
                </a:lnTo>
                <a:lnTo>
                  <a:pt x="148" y="898"/>
                </a:lnTo>
                <a:lnTo>
                  <a:pt x="135" y="903"/>
                </a:lnTo>
                <a:lnTo>
                  <a:pt x="133" y="903"/>
                </a:lnTo>
                <a:lnTo>
                  <a:pt x="126" y="900"/>
                </a:lnTo>
                <a:lnTo>
                  <a:pt x="116" y="899"/>
                </a:lnTo>
                <a:lnTo>
                  <a:pt x="103" y="897"/>
                </a:lnTo>
                <a:lnTo>
                  <a:pt x="90" y="895"/>
                </a:lnTo>
                <a:lnTo>
                  <a:pt x="78" y="893"/>
                </a:lnTo>
                <a:lnTo>
                  <a:pt x="67" y="891"/>
                </a:lnTo>
                <a:lnTo>
                  <a:pt x="60" y="891"/>
                </a:lnTo>
                <a:lnTo>
                  <a:pt x="51" y="896"/>
                </a:lnTo>
                <a:lnTo>
                  <a:pt x="45" y="905"/>
                </a:lnTo>
                <a:lnTo>
                  <a:pt x="41" y="915"/>
                </a:lnTo>
                <a:lnTo>
                  <a:pt x="40" y="920"/>
                </a:lnTo>
                <a:lnTo>
                  <a:pt x="38" y="920"/>
                </a:lnTo>
                <a:lnTo>
                  <a:pt x="35" y="920"/>
                </a:lnTo>
                <a:lnTo>
                  <a:pt x="29" y="921"/>
                </a:lnTo>
                <a:lnTo>
                  <a:pt x="22" y="922"/>
                </a:lnTo>
                <a:lnTo>
                  <a:pt x="15" y="924"/>
                </a:lnTo>
                <a:lnTo>
                  <a:pt x="10" y="927"/>
                </a:lnTo>
                <a:lnTo>
                  <a:pt x="4" y="931"/>
                </a:lnTo>
                <a:lnTo>
                  <a:pt x="0" y="937"/>
                </a:lnTo>
                <a:lnTo>
                  <a:pt x="3" y="937"/>
                </a:lnTo>
                <a:lnTo>
                  <a:pt x="9" y="939"/>
                </a:lnTo>
                <a:lnTo>
                  <a:pt x="15" y="943"/>
                </a:lnTo>
                <a:lnTo>
                  <a:pt x="21" y="952"/>
                </a:lnTo>
                <a:lnTo>
                  <a:pt x="50" y="941"/>
                </a:lnTo>
                <a:lnTo>
                  <a:pt x="49" y="944"/>
                </a:lnTo>
                <a:lnTo>
                  <a:pt x="44" y="952"/>
                </a:lnTo>
                <a:lnTo>
                  <a:pt x="37" y="960"/>
                </a:lnTo>
                <a:lnTo>
                  <a:pt x="28" y="966"/>
                </a:lnTo>
                <a:lnTo>
                  <a:pt x="32" y="969"/>
                </a:lnTo>
                <a:lnTo>
                  <a:pt x="38" y="979"/>
                </a:lnTo>
                <a:lnTo>
                  <a:pt x="48" y="990"/>
                </a:lnTo>
                <a:lnTo>
                  <a:pt x="57" y="1002"/>
                </a:lnTo>
                <a:lnTo>
                  <a:pt x="62" y="1006"/>
                </a:lnTo>
                <a:lnTo>
                  <a:pt x="65" y="1011"/>
                </a:lnTo>
                <a:lnTo>
                  <a:pt x="71" y="1014"/>
                </a:lnTo>
                <a:lnTo>
                  <a:pt x="75" y="1017"/>
                </a:lnTo>
                <a:lnTo>
                  <a:pt x="81" y="1019"/>
                </a:lnTo>
                <a:lnTo>
                  <a:pt x="87" y="1021"/>
                </a:lnTo>
                <a:lnTo>
                  <a:pt x="93" y="1022"/>
                </a:lnTo>
                <a:lnTo>
                  <a:pt x="100" y="1022"/>
                </a:lnTo>
                <a:lnTo>
                  <a:pt x="106" y="1022"/>
                </a:lnTo>
                <a:lnTo>
                  <a:pt x="114" y="1021"/>
                </a:lnTo>
                <a:lnTo>
                  <a:pt x="121" y="1019"/>
                </a:lnTo>
                <a:lnTo>
                  <a:pt x="129" y="1017"/>
                </a:lnTo>
                <a:lnTo>
                  <a:pt x="135" y="1016"/>
                </a:lnTo>
                <a:lnTo>
                  <a:pt x="141" y="1013"/>
                </a:lnTo>
                <a:lnTo>
                  <a:pt x="144" y="1012"/>
                </a:lnTo>
                <a:lnTo>
                  <a:pt x="146" y="1012"/>
                </a:lnTo>
                <a:lnTo>
                  <a:pt x="147" y="1016"/>
                </a:lnTo>
                <a:lnTo>
                  <a:pt x="149" y="1024"/>
                </a:lnTo>
                <a:lnTo>
                  <a:pt x="149" y="1034"/>
                </a:lnTo>
                <a:lnTo>
                  <a:pt x="142" y="1041"/>
                </a:lnTo>
                <a:lnTo>
                  <a:pt x="133" y="1044"/>
                </a:lnTo>
                <a:lnTo>
                  <a:pt x="125" y="1045"/>
                </a:lnTo>
                <a:lnTo>
                  <a:pt x="118" y="1048"/>
                </a:lnTo>
                <a:lnTo>
                  <a:pt x="110" y="1051"/>
                </a:lnTo>
                <a:lnTo>
                  <a:pt x="101" y="1055"/>
                </a:lnTo>
                <a:lnTo>
                  <a:pt x="90" y="1056"/>
                </a:lnTo>
                <a:lnTo>
                  <a:pt x="82" y="1055"/>
                </a:lnTo>
                <a:lnTo>
                  <a:pt x="79" y="1055"/>
                </a:lnTo>
                <a:lnTo>
                  <a:pt x="60" y="1048"/>
                </a:lnTo>
                <a:lnTo>
                  <a:pt x="64" y="1065"/>
                </a:lnTo>
                <a:lnTo>
                  <a:pt x="67" y="1069"/>
                </a:lnTo>
                <a:lnTo>
                  <a:pt x="75" y="1075"/>
                </a:lnTo>
                <a:lnTo>
                  <a:pt x="86" y="1087"/>
                </a:lnTo>
                <a:lnTo>
                  <a:pt x="93" y="1097"/>
                </a:lnTo>
                <a:lnTo>
                  <a:pt x="96" y="1103"/>
                </a:lnTo>
                <a:lnTo>
                  <a:pt x="100" y="1111"/>
                </a:lnTo>
                <a:lnTo>
                  <a:pt x="104" y="1119"/>
                </a:lnTo>
                <a:lnTo>
                  <a:pt x="110" y="1128"/>
                </a:lnTo>
                <a:lnTo>
                  <a:pt x="117" y="1138"/>
                </a:lnTo>
                <a:lnTo>
                  <a:pt x="124" y="1147"/>
                </a:lnTo>
                <a:lnTo>
                  <a:pt x="131" y="1154"/>
                </a:lnTo>
                <a:lnTo>
                  <a:pt x="139" y="1161"/>
                </a:lnTo>
                <a:lnTo>
                  <a:pt x="146" y="1165"/>
                </a:lnTo>
                <a:lnTo>
                  <a:pt x="151" y="1169"/>
                </a:lnTo>
                <a:lnTo>
                  <a:pt x="156" y="1172"/>
                </a:lnTo>
                <a:lnTo>
                  <a:pt x="161" y="1174"/>
                </a:lnTo>
                <a:lnTo>
                  <a:pt x="164" y="1176"/>
                </a:lnTo>
                <a:lnTo>
                  <a:pt x="170" y="1177"/>
                </a:lnTo>
                <a:lnTo>
                  <a:pt x="177" y="1178"/>
                </a:lnTo>
                <a:lnTo>
                  <a:pt x="185" y="1178"/>
                </a:lnTo>
                <a:lnTo>
                  <a:pt x="195" y="1177"/>
                </a:lnTo>
                <a:lnTo>
                  <a:pt x="205" y="1174"/>
                </a:lnTo>
                <a:lnTo>
                  <a:pt x="216" y="1171"/>
                </a:lnTo>
                <a:lnTo>
                  <a:pt x="226" y="1168"/>
                </a:lnTo>
                <a:lnTo>
                  <a:pt x="235" y="1163"/>
                </a:lnTo>
                <a:lnTo>
                  <a:pt x="243" y="1160"/>
                </a:lnTo>
                <a:lnTo>
                  <a:pt x="250" y="1156"/>
                </a:lnTo>
                <a:lnTo>
                  <a:pt x="256" y="1154"/>
                </a:lnTo>
                <a:lnTo>
                  <a:pt x="264" y="1148"/>
                </a:lnTo>
                <a:lnTo>
                  <a:pt x="270" y="1140"/>
                </a:lnTo>
                <a:lnTo>
                  <a:pt x="275" y="1128"/>
                </a:lnTo>
                <a:lnTo>
                  <a:pt x="277" y="1116"/>
                </a:lnTo>
                <a:lnTo>
                  <a:pt x="278" y="1102"/>
                </a:lnTo>
                <a:lnTo>
                  <a:pt x="281" y="1090"/>
                </a:lnTo>
                <a:lnTo>
                  <a:pt x="287" y="1083"/>
                </a:lnTo>
                <a:lnTo>
                  <a:pt x="295" y="1083"/>
                </a:lnTo>
                <a:lnTo>
                  <a:pt x="301" y="1090"/>
                </a:lnTo>
                <a:lnTo>
                  <a:pt x="302" y="1098"/>
                </a:lnTo>
                <a:lnTo>
                  <a:pt x="302" y="1110"/>
                </a:lnTo>
                <a:lnTo>
                  <a:pt x="302" y="1123"/>
                </a:lnTo>
                <a:lnTo>
                  <a:pt x="305" y="1135"/>
                </a:lnTo>
                <a:lnTo>
                  <a:pt x="310" y="1149"/>
                </a:lnTo>
                <a:lnTo>
                  <a:pt x="315" y="1163"/>
                </a:lnTo>
                <a:lnTo>
                  <a:pt x="316" y="1178"/>
                </a:lnTo>
                <a:lnTo>
                  <a:pt x="313" y="1193"/>
                </a:lnTo>
                <a:lnTo>
                  <a:pt x="309" y="1208"/>
                </a:lnTo>
                <a:lnTo>
                  <a:pt x="306" y="1225"/>
                </a:lnTo>
                <a:lnTo>
                  <a:pt x="302" y="1246"/>
                </a:lnTo>
                <a:lnTo>
                  <a:pt x="303" y="1267"/>
                </a:lnTo>
                <a:lnTo>
                  <a:pt x="309" y="1283"/>
                </a:lnTo>
                <a:lnTo>
                  <a:pt x="315" y="1297"/>
                </a:lnTo>
                <a:lnTo>
                  <a:pt x="316" y="1309"/>
                </a:lnTo>
                <a:lnTo>
                  <a:pt x="313" y="1323"/>
                </a:lnTo>
                <a:lnTo>
                  <a:pt x="309" y="1338"/>
                </a:lnTo>
                <a:lnTo>
                  <a:pt x="308" y="1353"/>
                </a:lnTo>
                <a:lnTo>
                  <a:pt x="313" y="1367"/>
                </a:lnTo>
                <a:lnTo>
                  <a:pt x="317" y="1375"/>
                </a:lnTo>
                <a:lnTo>
                  <a:pt x="323" y="1386"/>
                </a:lnTo>
                <a:lnTo>
                  <a:pt x="329" y="1399"/>
                </a:lnTo>
                <a:lnTo>
                  <a:pt x="334" y="1413"/>
                </a:lnTo>
                <a:lnTo>
                  <a:pt x="339" y="1427"/>
                </a:lnTo>
                <a:lnTo>
                  <a:pt x="343" y="1441"/>
                </a:lnTo>
                <a:lnTo>
                  <a:pt x="345" y="1453"/>
                </a:lnTo>
                <a:lnTo>
                  <a:pt x="345" y="1463"/>
                </a:lnTo>
                <a:lnTo>
                  <a:pt x="343" y="1478"/>
                </a:lnTo>
                <a:lnTo>
                  <a:pt x="344" y="1492"/>
                </a:lnTo>
                <a:lnTo>
                  <a:pt x="347" y="1510"/>
                </a:lnTo>
                <a:lnTo>
                  <a:pt x="355" y="1533"/>
                </a:lnTo>
                <a:lnTo>
                  <a:pt x="361" y="1545"/>
                </a:lnTo>
                <a:lnTo>
                  <a:pt x="367" y="1558"/>
                </a:lnTo>
                <a:lnTo>
                  <a:pt x="372" y="1570"/>
                </a:lnTo>
                <a:lnTo>
                  <a:pt x="378" y="1580"/>
                </a:lnTo>
                <a:lnTo>
                  <a:pt x="384" y="1592"/>
                </a:lnTo>
                <a:lnTo>
                  <a:pt x="389" y="1602"/>
                </a:lnTo>
                <a:lnTo>
                  <a:pt x="393" y="1612"/>
                </a:lnTo>
                <a:lnTo>
                  <a:pt x="398" y="1623"/>
                </a:lnTo>
                <a:lnTo>
                  <a:pt x="402" y="1638"/>
                </a:lnTo>
                <a:lnTo>
                  <a:pt x="404" y="1647"/>
                </a:lnTo>
                <a:lnTo>
                  <a:pt x="405" y="1660"/>
                </a:lnTo>
                <a:lnTo>
                  <a:pt x="412" y="1683"/>
                </a:lnTo>
                <a:lnTo>
                  <a:pt x="417" y="1699"/>
                </a:lnTo>
                <a:lnTo>
                  <a:pt x="423" y="1714"/>
                </a:lnTo>
                <a:lnTo>
                  <a:pt x="430" y="1729"/>
                </a:lnTo>
                <a:lnTo>
                  <a:pt x="435" y="1743"/>
                </a:lnTo>
                <a:lnTo>
                  <a:pt x="440" y="1755"/>
                </a:lnTo>
                <a:lnTo>
                  <a:pt x="444" y="1767"/>
                </a:lnTo>
                <a:lnTo>
                  <a:pt x="446" y="1775"/>
                </a:lnTo>
                <a:lnTo>
                  <a:pt x="447" y="1782"/>
                </a:lnTo>
                <a:lnTo>
                  <a:pt x="448" y="1789"/>
                </a:lnTo>
                <a:lnTo>
                  <a:pt x="452" y="1796"/>
                </a:lnTo>
                <a:lnTo>
                  <a:pt x="457" y="1805"/>
                </a:lnTo>
                <a:lnTo>
                  <a:pt x="462" y="1813"/>
                </a:lnTo>
                <a:lnTo>
                  <a:pt x="469" y="1822"/>
                </a:lnTo>
                <a:lnTo>
                  <a:pt x="476" y="1829"/>
                </a:lnTo>
                <a:lnTo>
                  <a:pt x="483" y="1835"/>
                </a:lnTo>
                <a:lnTo>
                  <a:pt x="490" y="1839"/>
                </a:lnTo>
                <a:lnTo>
                  <a:pt x="493" y="1849"/>
                </a:lnTo>
                <a:lnTo>
                  <a:pt x="503" y="1869"/>
                </a:lnTo>
                <a:lnTo>
                  <a:pt x="513" y="1896"/>
                </a:lnTo>
                <a:lnTo>
                  <a:pt x="519" y="1921"/>
                </a:lnTo>
                <a:lnTo>
                  <a:pt x="523" y="1938"/>
                </a:lnTo>
                <a:lnTo>
                  <a:pt x="530" y="1951"/>
                </a:lnTo>
                <a:lnTo>
                  <a:pt x="537" y="1964"/>
                </a:lnTo>
                <a:lnTo>
                  <a:pt x="539" y="1978"/>
                </a:lnTo>
                <a:lnTo>
                  <a:pt x="542" y="1995"/>
                </a:lnTo>
                <a:lnTo>
                  <a:pt x="548" y="2012"/>
                </a:lnTo>
                <a:lnTo>
                  <a:pt x="556" y="2031"/>
                </a:lnTo>
                <a:lnTo>
                  <a:pt x="565" y="2046"/>
                </a:lnTo>
                <a:lnTo>
                  <a:pt x="571" y="2052"/>
                </a:lnTo>
                <a:lnTo>
                  <a:pt x="577" y="2062"/>
                </a:lnTo>
                <a:lnTo>
                  <a:pt x="586" y="2070"/>
                </a:lnTo>
                <a:lnTo>
                  <a:pt x="594" y="2079"/>
                </a:lnTo>
                <a:lnTo>
                  <a:pt x="600" y="2086"/>
                </a:lnTo>
                <a:lnTo>
                  <a:pt x="605" y="2093"/>
                </a:lnTo>
                <a:lnTo>
                  <a:pt x="610" y="2097"/>
                </a:lnTo>
                <a:lnTo>
                  <a:pt x="611" y="2099"/>
                </a:lnTo>
                <a:lnTo>
                  <a:pt x="612" y="2099"/>
                </a:lnTo>
                <a:lnTo>
                  <a:pt x="615" y="2100"/>
                </a:lnTo>
                <a:lnTo>
                  <a:pt x="620" y="2101"/>
                </a:lnTo>
                <a:lnTo>
                  <a:pt x="626" y="2101"/>
                </a:lnTo>
                <a:lnTo>
                  <a:pt x="629" y="2101"/>
                </a:lnTo>
                <a:lnTo>
                  <a:pt x="634" y="2101"/>
                </a:lnTo>
                <a:lnTo>
                  <a:pt x="637" y="2100"/>
                </a:lnTo>
                <a:lnTo>
                  <a:pt x="642" y="2099"/>
                </a:lnTo>
                <a:lnTo>
                  <a:pt x="647" y="2096"/>
                </a:lnTo>
                <a:lnTo>
                  <a:pt x="651" y="2095"/>
                </a:lnTo>
                <a:lnTo>
                  <a:pt x="656" y="2092"/>
                </a:lnTo>
                <a:lnTo>
                  <a:pt x="660" y="2088"/>
                </a:lnTo>
                <a:lnTo>
                  <a:pt x="673" y="2072"/>
                </a:lnTo>
                <a:lnTo>
                  <a:pt x="678" y="2057"/>
                </a:lnTo>
                <a:lnTo>
                  <a:pt x="680" y="2046"/>
                </a:lnTo>
                <a:lnTo>
                  <a:pt x="686" y="2037"/>
                </a:lnTo>
                <a:lnTo>
                  <a:pt x="691" y="2035"/>
                </a:lnTo>
                <a:lnTo>
                  <a:pt x="697" y="2032"/>
                </a:lnTo>
                <a:lnTo>
                  <a:pt x="704" y="2029"/>
                </a:lnTo>
                <a:lnTo>
                  <a:pt x="711" y="2026"/>
                </a:lnTo>
                <a:lnTo>
                  <a:pt x="716" y="2024"/>
                </a:lnTo>
                <a:lnTo>
                  <a:pt x="720" y="2021"/>
                </a:lnTo>
                <a:lnTo>
                  <a:pt x="724" y="2020"/>
                </a:lnTo>
                <a:lnTo>
                  <a:pt x="725" y="2020"/>
                </a:lnTo>
                <a:lnTo>
                  <a:pt x="725" y="2018"/>
                </a:lnTo>
                <a:lnTo>
                  <a:pt x="726" y="2012"/>
                </a:lnTo>
                <a:lnTo>
                  <a:pt x="728" y="2004"/>
                </a:lnTo>
                <a:lnTo>
                  <a:pt x="732" y="1995"/>
                </a:lnTo>
                <a:lnTo>
                  <a:pt x="738" y="1987"/>
                </a:lnTo>
                <a:lnTo>
                  <a:pt x="746" y="1978"/>
                </a:lnTo>
                <a:lnTo>
                  <a:pt x="752" y="1968"/>
                </a:lnTo>
                <a:lnTo>
                  <a:pt x="757" y="1959"/>
                </a:lnTo>
                <a:lnTo>
                  <a:pt x="761" y="1953"/>
                </a:lnTo>
                <a:lnTo>
                  <a:pt x="766" y="1950"/>
                </a:lnTo>
                <a:lnTo>
                  <a:pt x="773" y="1949"/>
                </a:lnTo>
                <a:lnTo>
                  <a:pt x="781" y="1949"/>
                </a:lnTo>
                <a:lnTo>
                  <a:pt x="789" y="1948"/>
                </a:lnTo>
                <a:lnTo>
                  <a:pt x="796" y="1943"/>
                </a:lnTo>
                <a:lnTo>
                  <a:pt x="801" y="1940"/>
                </a:lnTo>
                <a:lnTo>
                  <a:pt x="803" y="1938"/>
                </a:lnTo>
                <a:lnTo>
                  <a:pt x="803" y="1934"/>
                </a:lnTo>
                <a:lnTo>
                  <a:pt x="802" y="1922"/>
                </a:lnTo>
                <a:lnTo>
                  <a:pt x="802" y="1908"/>
                </a:lnTo>
                <a:lnTo>
                  <a:pt x="803" y="1896"/>
                </a:lnTo>
                <a:lnTo>
                  <a:pt x="802" y="1884"/>
                </a:lnTo>
                <a:lnTo>
                  <a:pt x="797" y="1872"/>
                </a:lnTo>
                <a:lnTo>
                  <a:pt x="791" y="1859"/>
                </a:lnTo>
                <a:lnTo>
                  <a:pt x="788" y="1850"/>
                </a:lnTo>
                <a:lnTo>
                  <a:pt x="789" y="1842"/>
                </a:lnTo>
                <a:lnTo>
                  <a:pt x="794" y="1834"/>
                </a:lnTo>
                <a:lnTo>
                  <a:pt x="801" y="1824"/>
                </a:lnTo>
                <a:lnTo>
                  <a:pt x="810" y="1810"/>
                </a:lnTo>
                <a:lnTo>
                  <a:pt x="820" y="1792"/>
                </a:lnTo>
                <a:lnTo>
                  <a:pt x="829" y="1764"/>
                </a:lnTo>
                <a:lnTo>
                  <a:pt x="829" y="1725"/>
                </a:lnTo>
                <a:lnTo>
                  <a:pt x="817" y="1669"/>
                </a:lnTo>
                <a:lnTo>
                  <a:pt x="817" y="1661"/>
                </a:lnTo>
                <a:lnTo>
                  <a:pt x="817" y="1640"/>
                </a:lnTo>
                <a:lnTo>
                  <a:pt x="816" y="1616"/>
                </a:lnTo>
                <a:lnTo>
                  <a:pt x="814" y="1594"/>
                </a:lnTo>
                <a:lnTo>
                  <a:pt x="814" y="1577"/>
                </a:lnTo>
                <a:lnTo>
                  <a:pt x="819" y="1563"/>
                </a:lnTo>
                <a:lnTo>
                  <a:pt x="830" y="1552"/>
                </a:lnTo>
                <a:lnTo>
                  <a:pt x="842" y="1548"/>
                </a:lnTo>
                <a:lnTo>
                  <a:pt x="853" y="1547"/>
                </a:lnTo>
                <a:lnTo>
                  <a:pt x="858" y="1548"/>
                </a:lnTo>
                <a:lnTo>
                  <a:pt x="861" y="1550"/>
                </a:lnTo>
                <a:lnTo>
                  <a:pt x="862" y="1551"/>
                </a:lnTo>
                <a:lnTo>
                  <a:pt x="867" y="1550"/>
                </a:lnTo>
                <a:lnTo>
                  <a:pt x="877" y="1545"/>
                </a:lnTo>
                <a:lnTo>
                  <a:pt x="887" y="1537"/>
                </a:lnTo>
                <a:lnTo>
                  <a:pt x="894" y="1526"/>
                </a:lnTo>
                <a:lnTo>
                  <a:pt x="900" y="1516"/>
                </a:lnTo>
                <a:lnTo>
                  <a:pt x="908" y="1509"/>
                </a:lnTo>
                <a:lnTo>
                  <a:pt x="915" y="1506"/>
                </a:lnTo>
                <a:lnTo>
                  <a:pt x="918" y="1505"/>
                </a:lnTo>
                <a:lnTo>
                  <a:pt x="921" y="1505"/>
                </a:lnTo>
                <a:lnTo>
                  <a:pt x="925" y="1505"/>
                </a:lnTo>
                <a:lnTo>
                  <a:pt x="933" y="1504"/>
                </a:lnTo>
                <a:lnTo>
                  <a:pt x="943" y="1503"/>
                </a:lnTo>
                <a:lnTo>
                  <a:pt x="952" y="1502"/>
                </a:lnTo>
                <a:lnTo>
                  <a:pt x="961" y="1499"/>
                </a:lnTo>
                <a:lnTo>
                  <a:pt x="968" y="1495"/>
                </a:lnTo>
                <a:lnTo>
                  <a:pt x="972" y="1490"/>
                </a:lnTo>
                <a:lnTo>
                  <a:pt x="974" y="1484"/>
                </a:lnTo>
                <a:lnTo>
                  <a:pt x="972" y="1479"/>
                </a:lnTo>
                <a:lnTo>
                  <a:pt x="969" y="1472"/>
                </a:lnTo>
                <a:lnTo>
                  <a:pt x="967" y="1465"/>
                </a:lnTo>
                <a:lnTo>
                  <a:pt x="966" y="1458"/>
                </a:lnTo>
                <a:lnTo>
                  <a:pt x="967" y="1451"/>
                </a:lnTo>
                <a:lnTo>
                  <a:pt x="972" y="1445"/>
                </a:lnTo>
                <a:lnTo>
                  <a:pt x="983" y="1441"/>
                </a:lnTo>
                <a:lnTo>
                  <a:pt x="995" y="1436"/>
                </a:lnTo>
                <a:lnTo>
                  <a:pt x="1005" y="1430"/>
                </a:lnTo>
                <a:lnTo>
                  <a:pt x="1013" y="1423"/>
                </a:lnTo>
                <a:lnTo>
                  <a:pt x="1021" y="1416"/>
                </a:lnTo>
                <a:lnTo>
                  <a:pt x="1028" y="1408"/>
                </a:lnTo>
                <a:lnTo>
                  <a:pt x="1033" y="1400"/>
                </a:lnTo>
                <a:lnTo>
                  <a:pt x="1042" y="1392"/>
                </a:lnTo>
                <a:lnTo>
                  <a:pt x="1050" y="1384"/>
                </a:lnTo>
                <a:lnTo>
                  <a:pt x="1060" y="1376"/>
                </a:lnTo>
                <a:lnTo>
                  <a:pt x="1070" y="1368"/>
                </a:lnTo>
                <a:lnTo>
                  <a:pt x="1082" y="1359"/>
                </a:lnTo>
                <a:lnTo>
                  <a:pt x="1093" y="1351"/>
                </a:lnTo>
                <a:lnTo>
                  <a:pt x="1104" y="1342"/>
                </a:lnTo>
                <a:lnTo>
                  <a:pt x="1113" y="1331"/>
                </a:lnTo>
                <a:lnTo>
                  <a:pt x="1122" y="1321"/>
                </a:lnTo>
                <a:lnTo>
                  <a:pt x="1128" y="1309"/>
                </a:lnTo>
                <a:lnTo>
                  <a:pt x="1135" y="1298"/>
                </a:lnTo>
                <a:lnTo>
                  <a:pt x="1142" y="1287"/>
                </a:lnTo>
                <a:lnTo>
                  <a:pt x="1151" y="1279"/>
                </a:lnTo>
                <a:lnTo>
                  <a:pt x="1160" y="1271"/>
                </a:lnTo>
                <a:lnTo>
                  <a:pt x="1169" y="1264"/>
                </a:lnTo>
                <a:lnTo>
                  <a:pt x="1179" y="1259"/>
                </a:lnTo>
                <a:lnTo>
                  <a:pt x="1186" y="1254"/>
                </a:lnTo>
                <a:lnTo>
                  <a:pt x="1192" y="1249"/>
                </a:lnTo>
                <a:lnTo>
                  <a:pt x="1198" y="1246"/>
                </a:lnTo>
                <a:lnTo>
                  <a:pt x="1206" y="1244"/>
                </a:lnTo>
                <a:lnTo>
                  <a:pt x="1214" y="1242"/>
                </a:lnTo>
                <a:lnTo>
                  <a:pt x="1222" y="1241"/>
                </a:lnTo>
                <a:lnTo>
                  <a:pt x="1230" y="1240"/>
                </a:lnTo>
                <a:lnTo>
                  <a:pt x="1237" y="1239"/>
                </a:lnTo>
                <a:lnTo>
                  <a:pt x="1243" y="1236"/>
                </a:lnTo>
                <a:lnTo>
                  <a:pt x="1245" y="1231"/>
                </a:lnTo>
                <a:lnTo>
                  <a:pt x="1250" y="1218"/>
                </a:lnTo>
                <a:lnTo>
                  <a:pt x="1259" y="1204"/>
                </a:lnTo>
                <a:lnTo>
                  <a:pt x="1268" y="1192"/>
                </a:lnTo>
                <a:lnTo>
                  <a:pt x="1278" y="1181"/>
                </a:lnTo>
                <a:lnTo>
                  <a:pt x="1281" y="1172"/>
                </a:lnTo>
                <a:lnTo>
                  <a:pt x="1278" y="1162"/>
                </a:lnTo>
                <a:lnTo>
                  <a:pt x="1273" y="1153"/>
                </a:lnTo>
                <a:lnTo>
                  <a:pt x="1271" y="1149"/>
                </a:lnTo>
                <a:lnTo>
                  <a:pt x="1270" y="1147"/>
                </a:lnTo>
                <a:lnTo>
                  <a:pt x="1270" y="1140"/>
                </a:lnTo>
                <a:lnTo>
                  <a:pt x="1274" y="1130"/>
                </a:lnTo>
                <a:lnTo>
                  <a:pt x="1288" y="1116"/>
                </a:lnTo>
                <a:lnTo>
                  <a:pt x="1297" y="1109"/>
                </a:lnTo>
                <a:lnTo>
                  <a:pt x="1306" y="1103"/>
                </a:lnTo>
                <a:lnTo>
                  <a:pt x="1315" y="1098"/>
                </a:lnTo>
                <a:lnTo>
                  <a:pt x="1321" y="1096"/>
                </a:lnTo>
                <a:lnTo>
                  <a:pt x="1328" y="1094"/>
                </a:lnTo>
                <a:lnTo>
                  <a:pt x="1335" y="1094"/>
                </a:lnTo>
                <a:lnTo>
                  <a:pt x="1340" y="1095"/>
                </a:lnTo>
                <a:lnTo>
                  <a:pt x="1344" y="1097"/>
                </a:lnTo>
                <a:lnTo>
                  <a:pt x="1349" y="1100"/>
                </a:lnTo>
                <a:lnTo>
                  <a:pt x="1354" y="1101"/>
                </a:lnTo>
                <a:lnTo>
                  <a:pt x="1358" y="1102"/>
                </a:lnTo>
                <a:lnTo>
                  <a:pt x="1363" y="1103"/>
                </a:lnTo>
                <a:lnTo>
                  <a:pt x="1369" y="1103"/>
                </a:lnTo>
                <a:lnTo>
                  <a:pt x="1373" y="1103"/>
                </a:lnTo>
                <a:lnTo>
                  <a:pt x="1379" y="1102"/>
                </a:lnTo>
                <a:lnTo>
                  <a:pt x="1384" y="1101"/>
                </a:lnTo>
                <a:lnTo>
                  <a:pt x="1395" y="1098"/>
                </a:lnTo>
                <a:lnTo>
                  <a:pt x="1405" y="1096"/>
                </a:lnTo>
                <a:lnTo>
                  <a:pt x="1412" y="1095"/>
                </a:lnTo>
                <a:lnTo>
                  <a:pt x="1416" y="1094"/>
                </a:lnTo>
                <a:lnTo>
                  <a:pt x="1415" y="1086"/>
                </a:lnTo>
                <a:lnTo>
                  <a:pt x="1414" y="1069"/>
                </a:lnTo>
                <a:lnTo>
                  <a:pt x="1411" y="1045"/>
                </a:lnTo>
                <a:lnTo>
                  <a:pt x="1409" y="1026"/>
                </a:lnTo>
                <a:lnTo>
                  <a:pt x="1404" y="1005"/>
                </a:lnTo>
                <a:lnTo>
                  <a:pt x="1397" y="981"/>
                </a:lnTo>
                <a:lnTo>
                  <a:pt x="1387" y="959"/>
                </a:lnTo>
                <a:lnTo>
                  <a:pt x="1377" y="949"/>
                </a:lnTo>
                <a:lnTo>
                  <a:pt x="1379" y="945"/>
                </a:lnTo>
                <a:lnTo>
                  <a:pt x="1384" y="937"/>
                </a:lnTo>
                <a:lnTo>
                  <a:pt x="1387" y="927"/>
                </a:lnTo>
                <a:lnTo>
                  <a:pt x="1387" y="916"/>
                </a:lnTo>
                <a:lnTo>
                  <a:pt x="1385" y="907"/>
                </a:lnTo>
                <a:lnTo>
                  <a:pt x="1381" y="901"/>
                </a:lnTo>
                <a:lnTo>
                  <a:pt x="1377" y="898"/>
                </a:lnTo>
                <a:lnTo>
                  <a:pt x="1370" y="895"/>
                </a:lnTo>
                <a:lnTo>
                  <a:pt x="1365" y="892"/>
                </a:lnTo>
                <a:lnTo>
                  <a:pt x="1359" y="890"/>
                </a:lnTo>
                <a:lnTo>
                  <a:pt x="1354" y="888"/>
                </a:lnTo>
                <a:lnTo>
                  <a:pt x="1348" y="884"/>
                </a:lnTo>
                <a:lnTo>
                  <a:pt x="1342" y="882"/>
                </a:lnTo>
                <a:lnTo>
                  <a:pt x="1339" y="880"/>
                </a:lnTo>
                <a:lnTo>
                  <a:pt x="1335" y="878"/>
                </a:lnTo>
                <a:lnTo>
                  <a:pt x="1334" y="877"/>
                </a:lnTo>
                <a:lnTo>
                  <a:pt x="1335" y="876"/>
                </a:lnTo>
                <a:lnTo>
                  <a:pt x="1339" y="873"/>
                </a:lnTo>
                <a:lnTo>
                  <a:pt x="1344" y="867"/>
                </a:lnTo>
                <a:lnTo>
                  <a:pt x="1350" y="861"/>
                </a:lnTo>
                <a:lnTo>
                  <a:pt x="1357" y="855"/>
                </a:lnTo>
                <a:lnTo>
                  <a:pt x="1364" y="850"/>
                </a:lnTo>
                <a:lnTo>
                  <a:pt x="1371" y="846"/>
                </a:lnTo>
                <a:lnTo>
                  <a:pt x="1377" y="845"/>
                </a:lnTo>
                <a:lnTo>
                  <a:pt x="1385" y="840"/>
                </a:lnTo>
                <a:lnTo>
                  <a:pt x="1387" y="829"/>
                </a:lnTo>
                <a:lnTo>
                  <a:pt x="1384" y="817"/>
                </a:lnTo>
                <a:lnTo>
                  <a:pt x="1373" y="813"/>
                </a:lnTo>
                <a:lnTo>
                  <a:pt x="1366" y="813"/>
                </a:lnTo>
                <a:lnTo>
                  <a:pt x="1361" y="810"/>
                </a:lnTo>
                <a:lnTo>
                  <a:pt x="1354" y="807"/>
                </a:lnTo>
                <a:lnTo>
                  <a:pt x="1349" y="802"/>
                </a:lnTo>
                <a:lnTo>
                  <a:pt x="1346" y="795"/>
                </a:lnTo>
                <a:lnTo>
                  <a:pt x="1343" y="786"/>
                </a:lnTo>
                <a:lnTo>
                  <a:pt x="1344" y="775"/>
                </a:lnTo>
                <a:lnTo>
                  <a:pt x="1348" y="760"/>
                </a:lnTo>
                <a:lnTo>
                  <a:pt x="1350" y="761"/>
                </a:lnTo>
                <a:lnTo>
                  <a:pt x="1356" y="763"/>
                </a:lnTo>
                <a:lnTo>
                  <a:pt x="1365" y="767"/>
                </a:lnTo>
                <a:lnTo>
                  <a:pt x="1376" y="772"/>
                </a:lnTo>
                <a:lnTo>
                  <a:pt x="1387" y="777"/>
                </a:lnTo>
                <a:lnTo>
                  <a:pt x="1397" y="783"/>
                </a:lnTo>
                <a:lnTo>
                  <a:pt x="1408" y="787"/>
                </a:lnTo>
                <a:lnTo>
                  <a:pt x="1416" y="792"/>
                </a:lnTo>
                <a:lnTo>
                  <a:pt x="1425" y="801"/>
                </a:lnTo>
                <a:lnTo>
                  <a:pt x="1430" y="814"/>
                </a:lnTo>
                <a:lnTo>
                  <a:pt x="1433" y="827"/>
                </a:lnTo>
                <a:lnTo>
                  <a:pt x="1441" y="838"/>
                </a:lnTo>
                <a:lnTo>
                  <a:pt x="1447" y="843"/>
                </a:lnTo>
                <a:lnTo>
                  <a:pt x="1454" y="845"/>
                </a:lnTo>
                <a:lnTo>
                  <a:pt x="1462" y="847"/>
                </a:lnTo>
                <a:lnTo>
                  <a:pt x="1470" y="848"/>
                </a:lnTo>
                <a:lnTo>
                  <a:pt x="1479" y="848"/>
                </a:lnTo>
                <a:lnTo>
                  <a:pt x="1488" y="847"/>
                </a:lnTo>
                <a:lnTo>
                  <a:pt x="1496" y="846"/>
                </a:lnTo>
                <a:lnTo>
                  <a:pt x="1505" y="845"/>
                </a:lnTo>
                <a:lnTo>
                  <a:pt x="1515" y="844"/>
                </a:lnTo>
                <a:lnTo>
                  <a:pt x="1528" y="844"/>
                </a:lnTo>
                <a:lnTo>
                  <a:pt x="1543" y="844"/>
                </a:lnTo>
                <a:lnTo>
                  <a:pt x="1558" y="844"/>
                </a:lnTo>
                <a:lnTo>
                  <a:pt x="1571" y="844"/>
                </a:lnTo>
                <a:lnTo>
                  <a:pt x="1583" y="845"/>
                </a:lnTo>
                <a:lnTo>
                  <a:pt x="1590" y="845"/>
                </a:lnTo>
                <a:lnTo>
                  <a:pt x="1593" y="845"/>
                </a:lnTo>
                <a:lnTo>
                  <a:pt x="1591" y="850"/>
                </a:lnTo>
                <a:lnTo>
                  <a:pt x="1586" y="862"/>
                </a:lnTo>
                <a:lnTo>
                  <a:pt x="1581" y="875"/>
                </a:lnTo>
                <a:lnTo>
                  <a:pt x="1572" y="884"/>
                </a:lnTo>
                <a:lnTo>
                  <a:pt x="1568" y="888"/>
                </a:lnTo>
                <a:lnTo>
                  <a:pt x="1561" y="892"/>
                </a:lnTo>
                <a:lnTo>
                  <a:pt x="1553" y="898"/>
                </a:lnTo>
                <a:lnTo>
                  <a:pt x="1545" y="905"/>
                </a:lnTo>
                <a:lnTo>
                  <a:pt x="1538" y="912"/>
                </a:lnTo>
                <a:lnTo>
                  <a:pt x="1531" y="919"/>
                </a:lnTo>
                <a:lnTo>
                  <a:pt x="1525" y="924"/>
                </a:lnTo>
                <a:lnTo>
                  <a:pt x="1523" y="930"/>
                </a:lnTo>
                <a:lnTo>
                  <a:pt x="1524" y="941"/>
                </a:lnTo>
                <a:lnTo>
                  <a:pt x="1530" y="951"/>
                </a:lnTo>
                <a:lnTo>
                  <a:pt x="1537" y="961"/>
                </a:lnTo>
                <a:lnTo>
                  <a:pt x="1544" y="973"/>
                </a:lnTo>
                <a:lnTo>
                  <a:pt x="1551" y="987"/>
                </a:lnTo>
                <a:lnTo>
                  <a:pt x="1561" y="997"/>
                </a:lnTo>
                <a:lnTo>
                  <a:pt x="1569" y="1005"/>
                </a:lnTo>
                <a:lnTo>
                  <a:pt x="1572" y="1009"/>
                </a:lnTo>
                <a:lnTo>
                  <a:pt x="1576" y="1006"/>
                </a:lnTo>
                <a:lnTo>
                  <a:pt x="1585" y="999"/>
                </a:lnTo>
                <a:lnTo>
                  <a:pt x="1593" y="989"/>
                </a:lnTo>
                <a:lnTo>
                  <a:pt x="1597" y="976"/>
                </a:lnTo>
                <a:lnTo>
                  <a:pt x="1598" y="963"/>
                </a:lnTo>
                <a:lnTo>
                  <a:pt x="1601" y="951"/>
                </a:lnTo>
                <a:lnTo>
                  <a:pt x="1606" y="949"/>
                </a:lnTo>
                <a:lnTo>
                  <a:pt x="1612" y="963"/>
                </a:lnTo>
                <a:lnTo>
                  <a:pt x="1619" y="987"/>
                </a:lnTo>
                <a:lnTo>
                  <a:pt x="1627" y="1010"/>
                </a:lnTo>
                <a:lnTo>
                  <a:pt x="1634" y="1029"/>
                </a:lnTo>
                <a:lnTo>
                  <a:pt x="1636" y="1041"/>
                </a:lnTo>
                <a:lnTo>
                  <a:pt x="1637" y="1044"/>
                </a:lnTo>
                <a:lnTo>
                  <a:pt x="1639" y="1049"/>
                </a:lnTo>
                <a:lnTo>
                  <a:pt x="1643" y="1052"/>
                </a:lnTo>
                <a:lnTo>
                  <a:pt x="1647" y="1056"/>
                </a:lnTo>
                <a:lnTo>
                  <a:pt x="1653" y="1059"/>
                </a:lnTo>
                <a:lnTo>
                  <a:pt x="1659" y="1062"/>
                </a:lnTo>
                <a:lnTo>
                  <a:pt x="1665" y="1062"/>
                </a:lnTo>
                <a:lnTo>
                  <a:pt x="1672" y="1062"/>
                </a:lnTo>
                <a:lnTo>
                  <a:pt x="1682" y="1057"/>
                </a:lnTo>
                <a:lnTo>
                  <a:pt x="1688" y="1049"/>
                </a:lnTo>
                <a:lnTo>
                  <a:pt x="1690" y="1040"/>
                </a:lnTo>
                <a:lnTo>
                  <a:pt x="1690" y="1030"/>
                </a:lnTo>
                <a:lnTo>
                  <a:pt x="1689" y="1020"/>
                </a:lnTo>
                <a:lnTo>
                  <a:pt x="1686" y="1006"/>
                </a:lnTo>
                <a:lnTo>
                  <a:pt x="1686" y="994"/>
                </a:lnTo>
                <a:lnTo>
                  <a:pt x="1690" y="983"/>
                </a:lnTo>
                <a:lnTo>
                  <a:pt x="1693" y="976"/>
                </a:lnTo>
                <a:lnTo>
                  <a:pt x="1696" y="971"/>
                </a:lnTo>
                <a:lnTo>
                  <a:pt x="1697" y="963"/>
                </a:lnTo>
                <a:lnTo>
                  <a:pt x="1697" y="949"/>
                </a:lnTo>
                <a:lnTo>
                  <a:pt x="1697" y="933"/>
                </a:lnTo>
                <a:lnTo>
                  <a:pt x="1697" y="922"/>
                </a:lnTo>
                <a:lnTo>
                  <a:pt x="1700" y="916"/>
                </a:lnTo>
                <a:lnTo>
                  <a:pt x="1707" y="916"/>
                </a:lnTo>
                <a:lnTo>
                  <a:pt x="1713" y="918"/>
                </a:lnTo>
                <a:lnTo>
                  <a:pt x="1718" y="919"/>
                </a:lnTo>
                <a:lnTo>
                  <a:pt x="1723" y="921"/>
                </a:lnTo>
                <a:lnTo>
                  <a:pt x="1729" y="921"/>
                </a:lnTo>
                <a:lnTo>
                  <a:pt x="1734" y="921"/>
                </a:lnTo>
                <a:lnTo>
                  <a:pt x="1738" y="920"/>
                </a:lnTo>
                <a:lnTo>
                  <a:pt x="1741" y="918"/>
                </a:lnTo>
                <a:lnTo>
                  <a:pt x="1743" y="913"/>
                </a:lnTo>
                <a:lnTo>
                  <a:pt x="1749" y="900"/>
                </a:lnTo>
                <a:lnTo>
                  <a:pt x="1757" y="884"/>
                </a:lnTo>
                <a:lnTo>
                  <a:pt x="1764" y="867"/>
                </a:lnTo>
                <a:lnTo>
                  <a:pt x="1767" y="848"/>
                </a:lnTo>
                <a:lnTo>
                  <a:pt x="1767" y="831"/>
                </a:lnTo>
                <a:lnTo>
                  <a:pt x="1767" y="816"/>
                </a:lnTo>
                <a:lnTo>
                  <a:pt x="1767" y="806"/>
                </a:lnTo>
                <a:lnTo>
                  <a:pt x="1767" y="802"/>
                </a:lnTo>
                <a:lnTo>
                  <a:pt x="1782" y="775"/>
                </a:lnTo>
                <a:lnTo>
                  <a:pt x="1783" y="771"/>
                </a:lnTo>
                <a:lnTo>
                  <a:pt x="1786" y="761"/>
                </a:lnTo>
                <a:lnTo>
                  <a:pt x="1787" y="746"/>
                </a:lnTo>
                <a:lnTo>
                  <a:pt x="1786" y="727"/>
                </a:lnTo>
                <a:lnTo>
                  <a:pt x="1786" y="712"/>
                </a:lnTo>
                <a:lnTo>
                  <a:pt x="1789" y="702"/>
                </a:lnTo>
                <a:lnTo>
                  <a:pt x="1795" y="696"/>
                </a:lnTo>
                <a:lnTo>
                  <a:pt x="1803" y="693"/>
                </a:lnTo>
                <a:lnTo>
                  <a:pt x="1810" y="689"/>
                </a:lnTo>
                <a:lnTo>
                  <a:pt x="1817" y="686"/>
                </a:lnTo>
                <a:lnTo>
                  <a:pt x="1821" y="680"/>
                </a:lnTo>
                <a:lnTo>
                  <a:pt x="1825" y="671"/>
                </a:lnTo>
                <a:lnTo>
                  <a:pt x="1826" y="666"/>
                </a:lnTo>
                <a:lnTo>
                  <a:pt x="1828" y="662"/>
                </a:lnTo>
                <a:lnTo>
                  <a:pt x="1832" y="658"/>
                </a:lnTo>
                <a:lnTo>
                  <a:pt x="1836" y="655"/>
                </a:lnTo>
                <a:lnTo>
                  <a:pt x="1842" y="653"/>
                </a:lnTo>
                <a:lnTo>
                  <a:pt x="1850" y="650"/>
                </a:lnTo>
                <a:lnTo>
                  <a:pt x="1862" y="648"/>
                </a:lnTo>
                <a:lnTo>
                  <a:pt x="1874" y="647"/>
                </a:lnTo>
                <a:lnTo>
                  <a:pt x="1885" y="632"/>
                </a:lnTo>
                <a:lnTo>
                  <a:pt x="1883" y="630"/>
                </a:lnTo>
                <a:lnTo>
                  <a:pt x="1882" y="625"/>
                </a:lnTo>
                <a:lnTo>
                  <a:pt x="1883" y="619"/>
                </a:lnTo>
                <a:lnTo>
                  <a:pt x="1888" y="615"/>
                </a:lnTo>
                <a:lnTo>
                  <a:pt x="1895" y="605"/>
                </a:lnTo>
                <a:lnTo>
                  <a:pt x="1900" y="590"/>
                </a:lnTo>
                <a:lnTo>
                  <a:pt x="1902" y="575"/>
                </a:lnTo>
                <a:lnTo>
                  <a:pt x="1903" y="568"/>
                </a:lnTo>
                <a:lnTo>
                  <a:pt x="1856" y="553"/>
                </a:lnTo>
                <a:close/>
              </a:path>
            </a:pathLst>
          </a:custGeom>
          <a:solidFill>
            <a:schemeClr val="accent3"/>
          </a:solidFill>
          <a:ln w="12700">
            <a:solidFill>
              <a:schemeClr val="bg1"/>
            </a:solidFill>
            <a:round/>
            <a:headEnd/>
            <a:tailEnd/>
          </a:ln>
        </p:spPr>
        <p:txBody>
          <a:bodyPr/>
          <a:lstStyle/>
          <a:p>
            <a:pPr>
              <a:defRPr/>
            </a:pPr>
            <a:endParaRPr lang="nl-NL"/>
          </a:p>
        </p:txBody>
      </p:sp>
      <p:sp>
        <p:nvSpPr>
          <p:cNvPr id="12" name="Line 3"/>
          <p:cNvSpPr>
            <a:spLocks noChangeShapeType="1"/>
          </p:cNvSpPr>
          <p:nvPr/>
        </p:nvSpPr>
        <p:spPr bwMode="auto">
          <a:xfrm>
            <a:off x="6414661" y="5232311"/>
            <a:ext cx="82893" cy="142283"/>
          </a:xfrm>
          <a:prstGeom prst="line">
            <a:avLst/>
          </a:prstGeom>
          <a:solidFill>
            <a:schemeClr val="accent3"/>
          </a:solidFill>
          <a:ln w="12700">
            <a:solidFill>
              <a:schemeClr val="bg1"/>
            </a:solidFill>
            <a:round/>
            <a:headEnd/>
            <a:tailEnd/>
          </a:ln>
          <a:effectLst/>
        </p:spPr>
        <p:txBody>
          <a:bodyPr wrap="none" anchor="ctr"/>
          <a:lstStyle/>
          <a:p>
            <a:pPr algn="ctr" eaLnBrk="0" hangingPunct="0">
              <a:spcBef>
                <a:spcPct val="50000"/>
              </a:spcBef>
              <a:defRPr/>
            </a:pPr>
            <a:endParaRPr lang="nl-NL" sz="1200">
              <a:solidFill>
                <a:srgbClr val="000000"/>
              </a:solidFill>
              <a:cs typeface="+mn-cs"/>
            </a:endParaRPr>
          </a:p>
        </p:txBody>
      </p:sp>
      <p:sp>
        <p:nvSpPr>
          <p:cNvPr id="13" name="Freeform 8"/>
          <p:cNvSpPr>
            <a:spLocks/>
          </p:cNvSpPr>
          <p:nvPr/>
        </p:nvSpPr>
        <p:spPr bwMode="auto">
          <a:xfrm>
            <a:off x="6055096" y="2025108"/>
            <a:ext cx="1854886" cy="1836853"/>
          </a:xfrm>
          <a:custGeom>
            <a:avLst/>
            <a:gdLst/>
            <a:ahLst/>
            <a:cxnLst>
              <a:cxn ang="0">
                <a:pos x="131" y="1244"/>
              </a:cxn>
              <a:cxn ang="0">
                <a:pos x="482" y="1293"/>
              </a:cxn>
              <a:cxn ang="0">
                <a:pos x="692" y="1331"/>
              </a:cxn>
              <a:cxn ang="0">
                <a:pos x="1131" y="1203"/>
              </a:cxn>
              <a:cxn ang="0">
                <a:pos x="1275" y="1067"/>
              </a:cxn>
              <a:cxn ang="0">
                <a:pos x="1280" y="927"/>
              </a:cxn>
              <a:cxn ang="0">
                <a:pos x="1506" y="859"/>
              </a:cxn>
              <a:cxn ang="0">
                <a:pos x="1636" y="770"/>
              </a:cxn>
              <a:cxn ang="0">
                <a:pos x="1888" y="699"/>
              </a:cxn>
              <a:cxn ang="0">
                <a:pos x="1793" y="574"/>
              </a:cxn>
              <a:cxn ang="0">
                <a:pos x="1697" y="607"/>
              </a:cxn>
              <a:cxn ang="0">
                <a:pos x="1561" y="630"/>
              </a:cxn>
              <a:cxn ang="0">
                <a:pos x="1557" y="413"/>
              </a:cxn>
              <a:cxn ang="0">
                <a:pos x="1773" y="343"/>
              </a:cxn>
              <a:cxn ang="0">
                <a:pos x="1793" y="185"/>
              </a:cxn>
              <a:cxn ang="0">
                <a:pos x="1804" y="92"/>
              </a:cxn>
              <a:cxn ang="0">
                <a:pos x="1872" y="0"/>
              </a:cxn>
              <a:cxn ang="0">
                <a:pos x="1872" y="92"/>
              </a:cxn>
              <a:cxn ang="0">
                <a:pos x="1948" y="66"/>
              </a:cxn>
              <a:cxn ang="0">
                <a:pos x="1996" y="161"/>
              </a:cxn>
              <a:cxn ang="0">
                <a:pos x="2140" y="175"/>
              </a:cxn>
              <a:cxn ang="0">
                <a:pos x="2219" y="145"/>
              </a:cxn>
              <a:cxn ang="0">
                <a:pos x="2263" y="244"/>
              </a:cxn>
              <a:cxn ang="0">
                <a:pos x="2231" y="379"/>
              </a:cxn>
              <a:cxn ang="0">
                <a:pos x="2223" y="485"/>
              </a:cxn>
              <a:cxn ang="0">
                <a:pos x="2099" y="571"/>
              </a:cxn>
              <a:cxn ang="0">
                <a:pos x="2223" y="590"/>
              </a:cxn>
              <a:cxn ang="0">
                <a:pos x="2191" y="636"/>
              </a:cxn>
              <a:cxn ang="0">
                <a:pos x="2103" y="735"/>
              </a:cxn>
              <a:cxn ang="0">
                <a:pos x="2127" y="811"/>
              </a:cxn>
              <a:cxn ang="0">
                <a:pos x="2219" y="853"/>
              </a:cxn>
              <a:cxn ang="0">
                <a:pos x="2319" y="976"/>
              </a:cxn>
              <a:cxn ang="0">
                <a:pos x="1996" y="1125"/>
              </a:cxn>
              <a:cxn ang="0">
                <a:pos x="1967" y="1207"/>
              </a:cxn>
              <a:cxn ang="0">
                <a:pos x="1861" y="1216"/>
              </a:cxn>
              <a:cxn ang="0">
                <a:pos x="1793" y="1120"/>
              </a:cxn>
              <a:cxn ang="0">
                <a:pos x="1740" y="1209"/>
              </a:cxn>
              <a:cxn ang="0">
                <a:pos x="1593" y="1241"/>
              </a:cxn>
              <a:cxn ang="0">
                <a:pos x="1489" y="1286"/>
              </a:cxn>
              <a:cxn ang="0">
                <a:pos x="1362" y="1392"/>
              </a:cxn>
              <a:cxn ang="0">
                <a:pos x="1183" y="1508"/>
              </a:cxn>
              <a:cxn ang="0">
                <a:pos x="1103" y="1581"/>
              </a:cxn>
              <a:cxn ang="0">
                <a:pos x="880" y="1648"/>
              </a:cxn>
              <a:cxn ang="0">
                <a:pos x="876" y="1521"/>
              </a:cxn>
              <a:cxn ang="0">
                <a:pos x="796" y="1623"/>
              </a:cxn>
              <a:cxn ang="0">
                <a:pos x="654" y="1741"/>
              </a:cxn>
              <a:cxn ang="0">
                <a:pos x="583" y="1661"/>
              </a:cxn>
              <a:cxn ang="0">
                <a:pos x="644" y="1587"/>
              </a:cxn>
              <a:cxn ang="0">
                <a:pos x="410" y="1610"/>
              </a:cxn>
              <a:cxn ang="0">
                <a:pos x="234" y="1491"/>
              </a:cxn>
              <a:cxn ang="0">
                <a:pos x="272" y="1433"/>
              </a:cxn>
              <a:cxn ang="0">
                <a:pos x="72" y="1461"/>
              </a:cxn>
              <a:cxn ang="0">
                <a:pos x="0" y="1224"/>
              </a:cxn>
            </a:cxnLst>
            <a:rect l="0" t="0" r="r" b="b"/>
            <a:pathLst>
              <a:path w="2320" h="1742">
                <a:moveTo>
                  <a:pt x="0" y="1224"/>
                </a:moveTo>
                <a:lnTo>
                  <a:pt x="131" y="1244"/>
                </a:lnTo>
                <a:lnTo>
                  <a:pt x="387" y="1238"/>
                </a:lnTo>
                <a:lnTo>
                  <a:pt x="482" y="1293"/>
                </a:lnTo>
                <a:lnTo>
                  <a:pt x="632" y="1300"/>
                </a:lnTo>
                <a:lnTo>
                  <a:pt x="692" y="1331"/>
                </a:lnTo>
                <a:lnTo>
                  <a:pt x="753" y="1270"/>
                </a:lnTo>
                <a:lnTo>
                  <a:pt x="1131" y="1203"/>
                </a:lnTo>
                <a:lnTo>
                  <a:pt x="1192" y="1125"/>
                </a:lnTo>
                <a:lnTo>
                  <a:pt x="1275" y="1067"/>
                </a:lnTo>
                <a:lnTo>
                  <a:pt x="1234" y="988"/>
                </a:lnTo>
                <a:lnTo>
                  <a:pt x="1280" y="927"/>
                </a:lnTo>
                <a:lnTo>
                  <a:pt x="1444" y="945"/>
                </a:lnTo>
                <a:lnTo>
                  <a:pt x="1506" y="859"/>
                </a:lnTo>
                <a:lnTo>
                  <a:pt x="1617" y="823"/>
                </a:lnTo>
                <a:lnTo>
                  <a:pt x="1636" y="770"/>
                </a:lnTo>
                <a:lnTo>
                  <a:pt x="1728" y="729"/>
                </a:lnTo>
                <a:lnTo>
                  <a:pt x="1888" y="699"/>
                </a:lnTo>
                <a:lnTo>
                  <a:pt x="1900" y="657"/>
                </a:lnTo>
                <a:lnTo>
                  <a:pt x="1793" y="574"/>
                </a:lnTo>
                <a:lnTo>
                  <a:pt x="1689" y="581"/>
                </a:lnTo>
                <a:lnTo>
                  <a:pt x="1697" y="607"/>
                </a:lnTo>
                <a:lnTo>
                  <a:pt x="1614" y="607"/>
                </a:lnTo>
                <a:lnTo>
                  <a:pt x="1561" y="630"/>
                </a:lnTo>
                <a:lnTo>
                  <a:pt x="1521" y="567"/>
                </a:lnTo>
                <a:lnTo>
                  <a:pt x="1557" y="413"/>
                </a:lnTo>
                <a:lnTo>
                  <a:pt x="1668" y="413"/>
                </a:lnTo>
                <a:lnTo>
                  <a:pt x="1773" y="343"/>
                </a:lnTo>
                <a:lnTo>
                  <a:pt x="1769" y="280"/>
                </a:lnTo>
                <a:lnTo>
                  <a:pt x="1793" y="185"/>
                </a:lnTo>
                <a:lnTo>
                  <a:pt x="1836" y="138"/>
                </a:lnTo>
                <a:lnTo>
                  <a:pt x="1804" y="92"/>
                </a:lnTo>
                <a:lnTo>
                  <a:pt x="1800" y="19"/>
                </a:lnTo>
                <a:lnTo>
                  <a:pt x="1872" y="0"/>
                </a:lnTo>
                <a:lnTo>
                  <a:pt x="1895" y="39"/>
                </a:lnTo>
                <a:lnTo>
                  <a:pt x="1872" y="92"/>
                </a:lnTo>
                <a:lnTo>
                  <a:pt x="1920" y="99"/>
                </a:lnTo>
                <a:lnTo>
                  <a:pt x="1948" y="66"/>
                </a:lnTo>
                <a:lnTo>
                  <a:pt x="1976" y="76"/>
                </a:lnTo>
                <a:lnTo>
                  <a:pt x="1996" y="161"/>
                </a:lnTo>
                <a:lnTo>
                  <a:pt x="2039" y="171"/>
                </a:lnTo>
                <a:lnTo>
                  <a:pt x="2140" y="175"/>
                </a:lnTo>
                <a:lnTo>
                  <a:pt x="2171" y="122"/>
                </a:lnTo>
                <a:lnTo>
                  <a:pt x="2219" y="145"/>
                </a:lnTo>
                <a:lnTo>
                  <a:pt x="2307" y="161"/>
                </a:lnTo>
                <a:lnTo>
                  <a:pt x="2263" y="244"/>
                </a:lnTo>
                <a:lnTo>
                  <a:pt x="2258" y="366"/>
                </a:lnTo>
                <a:lnTo>
                  <a:pt x="2231" y="379"/>
                </a:lnTo>
                <a:lnTo>
                  <a:pt x="2238" y="465"/>
                </a:lnTo>
                <a:lnTo>
                  <a:pt x="2223" y="485"/>
                </a:lnTo>
                <a:lnTo>
                  <a:pt x="2168" y="455"/>
                </a:lnTo>
                <a:lnTo>
                  <a:pt x="2099" y="571"/>
                </a:lnTo>
                <a:lnTo>
                  <a:pt x="2159" y="600"/>
                </a:lnTo>
                <a:lnTo>
                  <a:pt x="2223" y="590"/>
                </a:lnTo>
                <a:lnTo>
                  <a:pt x="2231" y="623"/>
                </a:lnTo>
                <a:lnTo>
                  <a:pt x="2191" y="636"/>
                </a:lnTo>
                <a:lnTo>
                  <a:pt x="2159" y="742"/>
                </a:lnTo>
                <a:lnTo>
                  <a:pt x="2103" y="735"/>
                </a:lnTo>
                <a:lnTo>
                  <a:pt x="2083" y="748"/>
                </a:lnTo>
                <a:lnTo>
                  <a:pt x="2127" y="811"/>
                </a:lnTo>
                <a:lnTo>
                  <a:pt x="2179" y="888"/>
                </a:lnTo>
                <a:lnTo>
                  <a:pt x="2219" y="853"/>
                </a:lnTo>
                <a:lnTo>
                  <a:pt x="2307" y="902"/>
                </a:lnTo>
                <a:lnTo>
                  <a:pt x="2319" y="976"/>
                </a:lnTo>
                <a:lnTo>
                  <a:pt x="2043" y="1145"/>
                </a:lnTo>
                <a:lnTo>
                  <a:pt x="1996" y="1125"/>
                </a:lnTo>
                <a:lnTo>
                  <a:pt x="1948" y="1125"/>
                </a:lnTo>
                <a:lnTo>
                  <a:pt x="1967" y="1207"/>
                </a:lnTo>
                <a:lnTo>
                  <a:pt x="1943" y="1237"/>
                </a:lnTo>
                <a:lnTo>
                  <a:pt x="1861" y="1216"/>
                </a:lnTo>
                <a:lnTo>
                  <a:pt x="1864" y="1145"/>
                </a:lnTo>
                <a:lnTo>
                  <a:pt x="1793" y="1120"/>
                </a:lnTo>
                <a:lnTo>
                  <a:pt x="1737" y="1151"/>
                </a:lnTo>
                <a:lnTo>
                  <a:pt x="1740" y="1209"/>
                </a:lnTo>
                <a:lnTo>
                  <a:pt x="1657" y="1207"/>
                </a:lnTo>
                <a:lnTo>
                  <a:pt x="1593" y="1241"/>
                </a:lnTo>
                <a:lnTo>
                  <a:pt x="1533" y="1213"/>
                </a:lnTo>
                <a:lnTo>
                  <a:pt x="1489" y="1286"/>
                </a:lnTo>
                <a:lnTo>
                  <a:pt x="1513" y="1359"/>
                </a:lnTo>
                <a:lnTo>
                  <a:pt x="1362" y="1392"/>
                </a:lnTo>
                <a:lnTo>
                  <a:pt x="1258" y="1514"/>
                </a:lnTo>
                <a:lnTo>
                  <a:pt x="1183" y="1508"/>
                </a:lnTo>
                <a:lnTo>
                  <a:pt x="1139" y="1571"/>
                </a:lnTo>
                <a:lnTo>
                  <a:pt x="1103" y="1581"/>
                </a:lnTo>
                <a:lnTo>
                  <a:pt x="1015" y="1690"/>
                </a:lnTo>
                <a:lnTo>
                  <a:pt x="880" y="1648"/>
                </a:lnTo>
                <a:lnTo>
                  <a:pt x="886" y="1592"/>
                </a:lnTo>
                <a:lnTo>
                  <a:pt x="876" y="1521"/>
                </a:lnTo>
                <a:lnTo>
                  <a:pt x="808" y="1544"/>
                </a:lnTo>
                <a:lnTo>
                  <a:pt x="796" y="1623"/>
                </a:lnTo>
                <a:lnTo>
                  <a:pt x="720" y="1736"/>
                </a:lnTo>
                <a:lnTo>
                  <a:pt x="654" y="1741"/>
                </a:lnTo>
                <a:lnTo>
                  <a:pt x="590" y="1729"/>
                </a:lnTo>
                <a:lnTo>
                  <a:pt x="583" y="1661"/>
                </a:lnTo>
                <a:lnTo>
                  <a:pt x="627" y="1639"/>
                </a:lnTo>
                <a:lnTo>
                  <a:pt x="644" y="1587"/>
                </a:lnTo>
                <a:lnTo>
                  <a:pt x="572" y="1553"/>
                </a:lnTo>
                <a:lnTo>
                  <a:pt x="410" y="1610"/>
                </a:lnTo>
                <a:lnTo>
                  <a:pt x="317" y="1554"/>
                </a:lnTo>
                <a:lnTo>
                  <a:pt x="234" y="1491"/>
                </a:lnTo>
                <a:lnTo>
                  <a:pt x="284" y="1470"/>
                </a:lnTo>
                <a:lnTo>
                  <a:pt x="272" y="1433"/>
                </a:lnTo>
                <a:lnTo>
                  <a:pt x="134" y="1418"/>
                </a:lnTo>
                <a:lnTo>
                  <a:pt x="72" y="1461"/>
                </a:lnTo>
                <a:lnTo>
                  <a:pt x="11" y="1359"/>
                </a:lnTo>
                <a:lnTo>
                  <a:pt x="0" y="1224"/>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14" name="Freeform 9"/>
          <p:cNvSpPr>
            <a:spLocks/>
          </p:cNvSpPr>
          <p:nvPr/>
        </p:nvSpPr>
        <p:spPr bwMode="auto">
          <a:xfrm>
            <a:off x="7546809" y="1981199"/>
            <a:ext cx="988267" cy="908513"/>
          </a:xfrm>
          <a:custGeom>
            <a:avLst/>
            <a:gdLst/>
            <a:ahLst/>
            <a:cxnLst>
              <a:cxn ang="0">
                <a:pos x="0" y="49"/>
              </a:cxn>
              <a:cxn ang="0">
                <a:pos x="146" y="0"/>
              </a:cxn>
              <a:cxn ang="0">
                <a:pos x="358" y="16"/>
              </a:cxn>
              <a:cxn ang="0">
                <a:pos x="426" y="168"/>
              </a:cxn>
              <a:cxn ang="0">
                <a:pos x="513" y="225"/>
              </a:cxn>
              <a:cxn ang="0">
                <a:pos x="597" y="303"/>
              </a:cxn>
              <a:cxn ang="0">
                <a:pos x="748" y="303"/>
              </a:cxn>
              <a:cxn ang="0">
                <a:pos x="817" y="327"/>
              </a:cxn>
              <a:cxn ang="0">
                <a:pos x="868" y="370"/>
              </a:cxn>
              <a:cxn ang="0">
                <a:pos x="919" y="449"/>
              </a:cxn>
              <a:cxn ang="0">
                <a:pos x="1019" y="418"/>
              </a:cxn>
              <a:cxn ang="0">
                <a:pos x="1056" y="350"/>
              </a:cxn>
              <a:cxn ang="0">
                <a:pos x="1190" y="297"/>
              </a:cxn>
              <a:cxn ang="0">
                <a:pos x="1234" y="376"/>
              </a:cxn>
              <a:cxn ang="0">
                <a:pos x="1214" y="462"/>
              </a:cxn>
              <a:cxn ang="0">
                <a:pos x="1195" y="521"/>
              </a:cxn>
              <a:cxn ang="0">
                <a:pos x="1202" y="653"/>
              </a:cxn>
              <a:cxn ang="0">
                <a:pos x="1103" y="653"/>
              </a:cxn>
              <a:cxn ang="0">
                <a:pos x="1023" y="716"/>
              </a:cxn>
              <a:cxn ang="0">
                <a:pos x="1095" y="861"/>
              </a:cxn>
              <a:cxn ang="0">
                <a:pos x="968" y="818"/>
              </a:cxn>
              <a:cxn ang="0">
                <a:pos x="912" y="857"/>
              </a:cxn>
              <a:cxn ang="0">
                <a:pos x="834" y="805"/>
              </a:cxn>
              <a:cxn ang="0">
                <a:pos x="768" y="803"/>
              </a:cxn>
              <a:cxn ang="0">
                <a:pos x="773" y="845"/>
              </a:cxn>
              <a:cxn ang="0">
                <a:pos x="669" y="771"/>
              </a:cxn>
              <a:cxn ang="0">
                <a:pos x="604" y="781"/>
              </a:cxn>
              <a:cxn ang="0">
                <a:pos x="539" y="765"/>
              </a:cxn>
              <a:cxn ang="0">
                <a:pos x="481" y="784"/>
              </a:cxn>
              <a:cxn ang="0">
                <a:pos x="308" y="746"/>
              </a:cxn>
              <a:cxn ang="0">
                <a:pos x="326" y="680"/>
              </a:cxn>
              <a:cxn ang="0">
                <a:pos x="361" y="669"/>
              </a:cxn>
              <a:cxn ang="0">
                <a:pos x="349" y="635"/>
              </a:cxn>
              <a:cxn ang="0">
                <a:pos x="299" y="657"/>
              </a:cxn>
              <a:cxn ang="0">
                <a:pos x="227" y="612"/>
              </a:cxn>
              <a:cxn ang="0">
                <a:pos x="301" y="494"/>
              </a:cxn>
              <a:cxn ang="0">
                <a:pos x="360" y="517"/>
              </a:cxn>
              <a:cxn ang="0">
                <a:pos x="361" y="424"/>
              </a:cxn>
              <a:cxn ang="0">
                <a:pos x="392" y="401"/>
              </a:cxn>
              <a:cxn ang="0">
                <a:pos x="389" y="292"/>
              </a:cxn>
              <a:cxn ang="0">
                <a:pos x="437" y="211"/>
              </a:cxn>
              <a:cxn ang="0">
                <a:pos x="358" y="203"/>
              </a:cxn>
              <a:cxn ang="0">
                <a:pos x="316" y="175"/>
              </a:cxn>
              <a:cxn ang="0">
                <a:pos x="275" y="225"/>
              </a:cxn>
              <a:cxn ang="0">
                <a:pos x="190" y="221"/>
              </a:cxn>
              <a:cxn ang="0">
                <a:pos x="134" y="208"/>
              </a:cxn>
              <a:cxn ang="0">
                <a:pos x="115" y="122"/>
              </a:cxn>
              <a:cxn ang="0">
                <a:pos x="79" y="115"/>
              </a:cxn>
              <a:cxn ang="0">
                <a:pos x="65" y="152"/>
              </a:cxn>
              <a:cxn ang="0">
                <a:pos x="2" y="138"/>
              </a:cxn>
              <a:cxn ang="0">
                <a:pos x="34" y="82"/>
              </a:cxn>
              <a:cxn ang="0">
                <a:pos x="0" y="49"/>
              </a:cxn>
            </a:cxnLst>
            <a:rect l="0" t="0" r="r" b="b"/>
            <a:pathLst>
              <a:path w="1235" h="862">
                <a:moveTo>
                  <a:pt x="0" y="49"/>
                </a:moveTo>
                <a:lnTo>
                  <a:pt x="146" y="0"/>
                </a:lnTo>
                <a:lnTo>
                  <a:pt x="358" y="16"/>
                </a:lnTo>
                <a:lnTo>
                  <a:pt x="426" y="168"/>
                </a:lnTo>
                <a:lnTo>
                  <a:pt x="513" y="225"/>
                </a:lnTo>
                <a:lnTo>
                  <a:pt x="597" y="303"/>
                </a:lnTo>
                <a:lnTo>
                  <a:pt x="748" y="303"/>
                </a:lnTo>
                <a:lnTo>
                  <a:pt x="817" y="327"/>
                </a:lnTo>
                <a:lnTo>
                  <a:pt x="868" y="370"/>
                </a:lnTo>
                <a:lnTo>
                  <a:pt x="919" y="449"/>
                </a:lnTo>
                <a:lnTo>
                  <a:pt x="1019" y="418"/>
                </a:lnTo>
                <a:lnTo>
                  <a:pt x="1056" y="350"/>
                </a:lnTo>
                <a:lnTo>
                  <a:pt x="1190" y="297"/>
                </a:lnTo>
                <a:lnTo>
                  <a:pt x="1234" y="376"/>
                </a:lnTo>
                <a:lnTo>
                  <a:pt x="1214" y="462"/>
                </a:lnTo>
                <a:lnTo>
                  <a:pt x="1195" y="521"/>
                </a:lnTo>
                <a:lnTo>
                  <a:pt x="1202" y="653"/>
                </a:lnTo>
                <a:lnTo>
                  <a:pt x="1103" y="653"/>
                </a:lnTo>
                <a:lnTo>
                  <a:pt x="1023" y="716"/>
                </a:lnTo>
                <a:lnTo>
                  <a:pt x="1095" y="861"/>
                </a:lnTo>
                <a:lnTo>
                  <a:pt x="968" y="818"/>
                </a:lnTo>
                <a:lnTo>
                  <a:pt x="912" y="857"/>
                </a:lnTo>
                <a:lnTo>
                  <a:pt x="834" y="805"/>
                </a:lnTo>
                <a:lnTo>
                  <a:pt x="768" y="803"/>
                </a:lnTo>
                <a:lnTo>
                  <a:pt x="773" y="845"/>
                </a:lnTo>
                <a:lnTo>
                  <a:pt x="669" y="771"/>
                </a:lnTo>
                <a:lnTo>
                  <a:pt x="604" y="781"/>
                </a:lnTo>
                <a:lnTo>
                  <a:pt x="539" y="765"/>
                </a:lnTo>
                <a:lnTo>
                  <a:pt x="481" y="784"/>
                </a:lnTo>
                <a:lnTo>
                  <a:pt x="308" y="746"/>
                </a:lnTo>
                <a:lnTo>
                  <a:pt x="326" y="680"/>
                </a:lnTo>
                <a:lnTo>
                  <a:pt x="361" y="669"/>
                </a:lnTo>
                <a:lnTo>
                  <a:pt x="349" y="635"/>
                </a:lnTo>
                <a:lnTo>
                  <a:pt x="299" y="657"/>
                </a:lnTo>
                <a:lnTo>
                  <a:pt x="227" y="612"/>
                </a:lnTo>
                <a:lnTo>
                  <a:pt x="301" y="494"/>
                </a:lnTo>
                <a:lnTo>
                  <a:pt x="360" y="517"/>
                </a:lnTo>
                <a:lnTo>
                  <a:pt x="361" y="424"/>
                </a:lnTo>
                <a:lnTo>
                  <a:pt x="392" y="401"/>
                </a:lnTo>
                <a:lnTo>
                  <a:pt x="389" y="292"/>
                </a:lnTo>
                <a:lnTo>
                  <a:pt x="437" y="211"/>
                </a:lnTo>
                <a:lnTo>
                  <a:pt x="358" y="203"/>
                </a:lnTo>
                <a:lnTo>
                  <a:pt x="316" y="175"/>
                </a:lnTo>
                <a:lnTo>
                  <a:pt x="275" y="225"/>
                </a:lnTo>
                <a:lnTo>
                  <a:pt x="190" y="221"/>
                </a:lnTo>
                <a:lnTo>
                  <a:pt x="134" y="208"/>
                </a:lnTo>
                <a:lnTo>
                  <a:pt x="115" y="122"/>
                </a:lnTo>
                <a:lnTo>
                  <a:pt x="79" y="115"/>
                </a:lnTo>
                <a:lnTo>
                  <a:pt x="65" y="152"/>
                </a:lnTo>
                <a:lnTo>
                  <a:pt x="2" y="138"/>
                </a:lnTo>
                <a:lnTo>
                  <a:pt x="34" y="82"/>
                </a:lnTo>
                <a:lnTo>
                  <a:pt x="0" y="49"/>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15" name="Freeform 10"/>
          <p:cNvSpPr>
            <a:spLocks/>
          </p:cNvSpPr>
          <p:nvPr/>
        </p:nvSpPr>
        <p:spPr bwMode="auto">
          <a:xfrm>
            <a:off x="4366299" y="2610839"/>
            <a:ext cx="1669721" cy="1425164"/>
          </a:xfrm>
          <a:custGeom>
            <a:avLst/>
            <a:gdLst>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41 w 2088"/>
              <a:gd name="connsiteY55" fmla="*/ 1266 h 1352"/>
              <a:gd name="connsiteX56" fmla="*/ 156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41 w 2088"/>
              <a:gd name="connsiteY55" fmla="*/ 1266 h 1352"/>
              <a:gd name="connsiteX56" fmla="*/ 156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4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0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0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0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41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0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37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0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371 w 2088"/>
              <a:gd name="connsiteY46" fmla="*/ 1325 h 1352"/>
              <a:gd name="connsiteX47" fmla="*/ 510 w 2088"/>
              <a:gd name="connsiteY47" fmla="*/ 1269 h 1352"/>
              <a:gd name="connsiteX48" fmla="*/ 669 w 2088"/>
              <a:gd name="connsiteY48" fmla="*/ 1301 h 1352"/>
              <a:gd name="connsiteX49" fmla="*/ 746 w 2088"/>
              <a:gd name="connsiteY49" fmla="*/ 1277 h 1352"/>
              <a:gd name="connsiteX50" fmla="*/ 876 w 2088"/>
              <a:gd name="connsiteY50" fmla="*/ 1352 h 1352"/>
              <a:gd name="connsiteX51" fmla="*/ 973 w 2088"/>
              <a:gd name="connsiteY51" fmla="*/ 1303 h 1352"/>
              <a:gd name="connsiteX52" fmla="*/ 1265 w 2088"/>
              <a:gd name="connsiteY52" fmla="*/ 1253 h 1352"/>
              <a:gd name="connsiteX53" fmla="*/ 1383 w 2088"/>
              <a:gd name="connsiteY53" fmla="*/ 1274 h 1352"/>
              <a:gd name="connsiteX54" fmla="*/ 1519 w 2088"/>
              <a:gd name="connsiteY54" fmla="*/ 1277 h 1352"/>
              <a:gd name="connsiteX55" fmla="*/ 1501 w 2088"/>
              <a:gd name="connsiteY55" fmla="*/ 1266 h 1352"/>
              <a:gd name="connsiteX56" fmla="*/ 1524 w 2088"/>
              <a:gd name="connsiteY56" fmla="*/ 1210 h 1352"/>
              <a:gd name="connsiteX57" fmla="*/ 1501 w 2088"/>
              <a:gd name="connsiteY57" fmla="*/ 1159 h 1352"/>
              <a:gd name="connsiteX58" fmla="*/ 1516 w 2088"/>
              <a:gd name="connsiteY58" fmla="*/ 1082 h 1352"/>
              <a:gd name="connsiteX59" fmla="*/ 1821 w 2088"/>
              <a:gd name="connsiteY59" fmla="*/ 1012 h 1352"/>
              <a:gd name="connsiteX60" fmla="*/ 1813 w 2088"/>
              <a:gd name="connsiteY60" fmla="*/ 891 h 1352"/>
              <a:gd name="connsiteX61" fmla="*/ 1899 w 2088"/>
              <a:gd name="connsiteY61" fmla="*/ 863 h 1352"/>
              <a:gd name="connsiteX62" fmla="*/ 1942 w 2088"/>
              <a:gd name="connsiteY62" fmla="*/ 795 h 1352"/>
              <a:gd name="connsiteX63" fmla="*/ 2051 w 2088"/>
              <a:gd name="connsiteY63" fmla="*/ 760 h 1352"/>
              <a:gd name="connsiteX64" fmla="*/ 2088 w 2088"/>
              <a:gd name="connsiteY64" fmla="*/ 696 h 1352"/>
              <a:gd name="connsiteX0" fmla="*/ 2088 w 2088"/>
              <a:gd name="connsiteY0" fmla="*/ 696 h 1378"/>
              <a:gd name="connsiteX1" fmla="*/ 2062 w 2088"/>
              <a:gd name="connsiteY1" fmla="*/ 621 h 1378"/>
              <a:gd name="connsiteX2" fmla="*/ 2032 w 2088"/>
              <a:gd name="connsiteY2" fmla="*/ 547 h 1378"/>
              <a:gd name="connsiteX3" fmla="*/ 1876 w 2088"/>
              <a:gd name="connsiteY3" fmla="*/ 478 h 1378"/>
              <a:gd name="connsiteX4" fmla="*/ 1769 w 2088"/>
              <a:gd name="connsiteY4" fmla="*/ 478 h 1378"/>
              <a:gd name="connsiteX5" fmla="*/ 1640 w 2088"/>
              <a:gd name="connsiteY5" fmla="*/ 437 h 1378"/>
              <a:gd name="connsiteX6" fmla="*/ 1685 w 2088"/>
              <a:gd name="connsiteY6" fmla="*/ 297 h 1378"/>
              <a:gd name="connsiteX7" fmla="*/ 1583 w 2088"/>
              <a:gd name="connsiteY7" fmla="*/ 154 h 1378"/>
              <a:gd name="connsiteX8" fmla="*/ 1513 w 2088"/>
              <a:gd name="connsiteY8" fmla="*/ 150 h 1378"/>
              <a:gd name="connsiteX9" fmla="*/ 1441 w 2088"/>
              <a:gd name="connsiteY9" fmla="*/ 66 h 1378"/>
              <a:gd name="connsiteX10" fmla="*/ 1433 w 2088"/>
              <a:gd name="connsiteY10" fmla="*/ 7 h 1378"/>
              <a:gd name="connsiteX11" fmla="*/ 1362 w 2088"/>
              <a:gd name="connsiteY11" fmla="*/ 0 h 1378"/>
              <a:gd name="connsiteX12" fmla="*/ 1335 w 2088"/>
              <a:gd name="connsiteY12" fmla="*/ 70 h 1378"/>
              <a:gd name="connsiteX13" fmla="*/ 1241 w 2088"/>
              <a:gd name="connsiteY13" fmla="*/ 88 h 1378"/>
              <a:gd name="connsiteX14" fmla="*/ 1246 w 2088"/>
              <a:gd name="connsiteY14" fmla="*/ 183 h 1378"/>
              <a:gd name="connsiteX15" fmla="*/ 1172 w 2088"/>
              <a:gd name="connsiteY15" fmla="*/ 227 h 1378"/>
              <a:gd name="connsiteX16" fmla="*/ 1117 w 2088"/>
              <a:gd name="connsiteY16" fmla="*/ 183 h 1378"/>
              <a:gd name="connsiteX17" fmla="*/ 1015 w 2088"/>
              <a:gd name="connsiteY17" fmla="*/ 169 h 1378"/>
              <a:gd name="connsiteX18" fmla="*/ 926 w 2088"/>
              <a:gd name="connsiteY18" fmla="*/ 316 h 1378"/>
              <a:gd name="connsiteX19" fmla="*/ 926 w 2088"/>
              <a:gd name="connsiteY19" fmla="*/ 353 h 1378"/>
              <a:gd name="connsiteX20" fmla="*/ 896 w 2088"/>
              <a:gd name="connsiteY20" fmla="*/ 363 h 1378"/>
              <a:gd name="connsiteX21" fmla="*/ 842 w 2088"/>
              <a:gd name="connsiteY21" fmla="*/ 331 h 1378"/>
              <a:gd name="connsiteX22" fmla="*/ 736 w 2088"/>
              <a:gd name="connsiteY22" fmla="*/ 327 h 1378"/>
              <a:gd name="connsiteX23" fmla="*/ 692 w 2088"/>
              <a:gd name="connsiteY23" fmla="*/ 363 h 1378"/>
              <a:gd name="connsiteX24" fmla="*/ 732 w 2088"/>
              <a:gd name="connsiteY24" fmla="*/ 386 h 1378"/>
              <a:gd name="connsiteX25" fmla="*/ 749 w 2088"/>
              <a:gd name="connsiteY25" fmla="*/ 539 h 1378"/>
              <a:gd name="connsiteX26" fmla="*/ 665 w 2088"/>
              <a:gd name="connsiteY26" fmla="*/ 581 h 1378"/>
              <a:gd name="connsiteX27" fmla="*/ 657 w 2088"/>
              <a:gd name="connsiteY27" fmla="*/ 643 h 1378"/>
              <a:gd name="connsiteX28" fmla="*/ 532 w 2088"/>
              <a:gd name="connsiteY28" fmla="*/ 668 h 1378"/>
              <a:gd name="connsiteX29" fmla="*/ 448 w 2088"/>
              <a:gd name="connsiteY29" fmla="*/ 702 h 1378"/>
              <a:gd name="connsiteX30" fmla="*/ 328 w 2088"/>
              <a:gd name="connsiteY30" fmla="*/ 695 h 1378"/>
              <a:gd name="connsiteX31" fmla="*/ 283 w 2088"/>
              <a:gd name="connsiteY31" fmla="*/ 745 h 1378"/>
              <a:gd name="connsiteX32" fmla="*/ 231 w 2088"/>
              <a:gd name="connsiteY32" fmla="*/ 735 h 1378"/>
              <a:gd name="connsiteX33" fmla="*/ 182 w 2088"/>
              <a:gd name="connsiteY33" fmla="*/ 705 h 1378"/>
              <a:gd name="connsiteX34" fmla="*/ 88 w 2088"/>
              <a:gd name="connsiteY34" fmla="*/ 735 h 1378"/>
              <a:gd name="connsiteX35" fmla="*/ 0 w 2088"/>
              <a:gd name="connsiteY35" fmla="*/ 793 h 1378"/>
              <a:gd name="connsiteX36" fmla="*/ 9 w 2088"/>
              <a:gd name="connsiteY36" fmla="*/ 892 h 1378"/>
              <a:gd name="connsiteX37" fmla="*/ 66 w 2088"/>
              <a:gd name="connsiteY37" fmla="*/ 903 h 1378"/>
              <a:gd name="connsiteX38" fmla="*/ 79 w 2088"/>
              <a:gd name="connsiteY38" fmla="*/ 1021 h 1378"/>
              <a:gd name="connsiteX39" fmla="*/ 27 w 2088"/>
              <a:gd name="connsiteY39" fmla="*/ 1021 h 1378"/>
              <a:gd name="connsiteX40" fmla="*/ 27 w 2088"/>
              <a:gd name="connsiteY40" fmla="*/ 1055 h 1378"/>
              <a:gd name="connsiteX41" fmla="*/ 124 w 2088"/>
              <a:gd name="connsiteY41" fmla="*/ 1106 h 1378"/>
              <a:gd name="connsiteX42" fmla="*/ 115 w 2088"/>
              <a:gd name="connsiteY42" fmla="*/ 1176 h 1378"/>
              <a:gd name="connsiteX43" fmla="*/ 277 w 2088"/>
              <a:gd name="connsiteY43" fmla="*/ 1248 h 1378"/>
              <a:gd name="connsiteX44" fmla="*/ 281 w 2088"/>
              <a:gd name="connsiteY44" fmla="*/ 1253 h 1378"/>
              <a:gd name="connsiteX45" fmla="*/ 286 w 2088"/>
              <a:gd name="connsiteY45" fmla="*/ 1320 h 1378"/>
              <a:gd name="connsiteX46" fmla="*/ 295 w 2088"/>
              <a:gd name="connsiteY46" fmla="*/ 1377 h 1378"/>
              <a:gd name="connsiteX47" fmla="*/ 371 w 2088"/>
              <a:gd name="connsiteY47" fmla="*/ 1325 h 1378"/>
              <a:gd name="connsiteX48" fmla="*/ 510 w 2088"/>
              <a:gd name="connsiteY48" fmla="*/ 1269 h 1378"/>
              <a:gd name="connsiteX49" fmla="*/ 669 w 2088"/>
              <a:gd name="connsiteY49" fmla="*/ 1301 h 1378"/>
              <a:gd name="connsiteX50" fmla="*/ 746 w 2088"/>
              <a:gd name="connsiteY50" fmla="*/ 1277 h 1378"/>
              <a:gd name="connsiteX51" fmla="*/ 876 w 2088"/>
              <a:gd name="connsiteY51" fmla="*/ 1352 h 1378"/>
              <a:gd name="connsiteX52" fmla="*/ 973 w 2088"/>
              <a:gd name="connsiteY52" fmla="*/ 1303 h 1378"/>
              <a:gd name="connsiteX53" fmla="*/ 1265 w 2088"/>
              <a:gd name="connsiteY53" fmla="*/ 1253 h 1378"/>
              <a:gd name="connsiteX54" fmla="*/ 1383 w 2088"/>
              <a:gd name="connsiteY54" fmla="*/ 1274 h 1378"/>
              <a:gd name="connsiteX55" fmla="*/ 1519 w 2088"/>
              <a:gd name="connsiteY55" fmla="*/ 1277 h 1378"/>
              <a:gd name="connsiteX56" fmla="*/ 1501 w 2088"/>
              <a:gd name="connsiteY56" fmla="*/ 1266 h 1378"/>
              <a:gd name="connsiteX57" fmla="*/ 1524 w 2088"/>
              <a:gd name="connsiteY57" fmla="*/ 1210 h 1378"/>
              <a:gd name="connsiteX58" fmla="*/ 1501 w 2088"/>
              <a:gd name="connsiteY58" fmla="*/ 1159 h 1378"/>
              <a:gd name="connsiteX59" fmla="*/ 1516 w 2088"/>
              <a:gd name="connsiteY59" fmla="*/ 1082 h 1378"/>
              <a:gd name="connsiteX60" fmla="*/ 1821 w 2088"/>
              <a:gd name="connsiteY60" fmla="*/ 1012 h 1378"/>
              <a:gd name="connsiteX61" fmla="*/ 1813 w 2088"/>
              <a:gd name="connsiteY61" fmla="*/ 891 h 1378"/>
              <a:gd name="connsiteX62" fmla="*/ 1899 w 2088"/>
              <a:gd name="connsiteY62" fmla="*/ 863 h 1378"/>
              <a:gd name="connsiteX63" fmla="*/ 1942 w 2088"/>
              <a:gd name="connsiteY63" fmla="*/ 795 h 1378"/>
              <a:gd name="connsiteX64" fmla="*/ 2051 w 2088"/>
              <a:gd name="connsiteY64" fmla="*/ 760 h 1378"/>
              <a:gd name="connsiteX65" fmla="*/ 2088 w 2088"/>
              <a:gd name="connsiteY65" fmla="*/ 696 h 1378"/>
              <a:gd name="connsiteX0" fmla="*/ 2088 w 2088"/>
              <a:gd name="connsiteY0" fmla="*/ 696 h 1378"/>
              <a:gd name="connsiteX1" fmla="*/ 2062 w 2088"/>
              <a:gd name="connsiteY1" fmla="*/ 621 h 1378"/>
              <a:gd name="connsiteX2" fmla="*/ 2032 w 2088"/>
              <a:gd name="connsiteY2" fmla="*/ 547 h 1378"/>
              <a:gd name="connsiteX3" fmla="*/ 1876 w 2088"/>
              <a:gd name="connsiteY3" fmla="*/ 478 h 1378"/>
              <a:gd name="connsiteX4" fmla="*/ 1769 w 2088"/>
              <a:gd name="connsiteY4" fmla="*/ 478 h 1378"/>
              <a:gd name="connsiteX5" fmla="*/ 1640 w 2088"/>
              <a:gd name="connsiteY5" fmla="*/ 437 h 1378"/>
              <a:gd name="connsiteX6" fmla="*/ 1685 w 2088"/>
              <a:gd name="connsiteY6" fmla="*/ 297 h 1378"/>
              <a:gd name="connsiteX7" fmla="*/ 1583 w 2088"/>
              <a:gd name="connsiteY7" fmla="*/ 154 h 1378"/>
              <a:gd name="connsiteX8" fmla="*/ 1513 w 2088"/>
              <a:gd name="connsiteY8" fmla="*/ 150 h 1378"/>
              <a:gd name="connsiteX9" fmla="*/ 1441 w 2088"/>
              <a:gd name="connsiteY9" fmla="*/ 66 h 1378"/>
              <a:gd name="connsiteX10" fmla="*/ 1433 w 2088"/>
              <a:gd name="connsiteY10" fmla="*/ 7 h 1378"/>
              <a:gd name="connsiteX11" fmla="*/ 1362 w 2088"/>
              <a:gd name="connsiteY11" fmla="*/ 0 h 1378"/>
              <a:gd name="connsiteX12" fmla="*/ 1335 w 2088"/>
              <a:gd name="connsiteY12" fmla="*/ 70 h 1378"/>
              <a:gd name="connsiteX13" fmla="*/ 1241 w 2088"/>
              <a:gd name="connsiteY13" fmla="*/ 88 h 1378"/>
              <a:gd name="connsiteX14" fmla="*/ 1246 w 2088"/>
              <a:gd name="connsiteY14" fmla="*/ 183 h 1378"/>
              <a:gd name="connsiteX15" fmla="*/ 1172 w 2088"/>
              <a:gd name="connsiteY15" fmla="*/ 227 h 1378"/>
              <a:gd name="connsiteX16" fmla="*/ 1117 w 2088"/>
              <a:gd name="connsiteY16" fmla="*/ 183 h 1378"/>
              <a:gd name="connsiteX17" fmla="*/ 1015 w 2088"/>
              <a:gd name="connsiteY17" fmla="*/ 169 h 1378"/>
              <a:gd name="connsiteX18" fmla="*/ 926 w 2088"/>
              <a:gd name="connsiteY18" fmla="*/ 316 h 1378"/>
              <a:gd name="connsiteX19" fmla="*/ 926 w 2088"/>
              <a:gd name="connsiteY19" fmla="*/ 353 h 1378"/>
              <a:gd name="connsiteX20" fmla="*/ 896 w 2088"/>
              <a:gd name="connsiteY20" fmla="*/ 363 h 1378"/>
              <a:gd name="connsiteX21" fmla="*/ 842 w 2088"/>
              <a:gd name="connsiteY21" fmla="*/ 331 h 1378"/>
              <a:gd name="connsiteX22" fmla="*/ 736 w 2088"/>
              <a:gd name="connsiteY22" fmla="*/ 327 h 1378"/>
              <a:gd name="connsiteX23" fmla="*/ 692 w 2088"/>
              <a:gd name="connsiteY23" fmla="*/ 363 h 1378"/>
              <a:gd name="connsiteX24" fmla="*/ 732 w 2088"/>
              <a:gd name="connsiteY24" fmla="*/ 386 h 1378"/>
              <a:gd name="connsiteX25" fmla="*/ 749 w 2088"/>
              <a:gd name="connsiteY25" fmla="*/ 539 h 1378"/>
              <a:gd name="connsiteX26" fmla="*/ 665 w 2088"/>
              <a:gd name="connsiteY26" fmla="*/ 581 h 1378"/>
              <a:gd name="connsiteX27" fmla="*/ 657 w 2088"/>
              <a:gd name="connsiteY27" fmla="*/ 643 h 1378"/>
              <a:gd name="connsiteX28" fmla="*/ 532 w 2088"/>
              <a:gd name="connsiteY28" fmla="*/ 668 h 1378"/>
              <a:gd name="connsiteX29" fmla="*/ 448 w 2088"/>
              <a:gd name="connsiteY29" fmla="*/ 702 h 1378"/>
              <a:gd name="connsiteX30" fmla="*/ 328 w 2088"/>
              <a:gd name="connsiteY30" fmla="*/ 695 h 1378"/>
              <a:gd name="connsiteX31" fmla="*/ 283 w 2088"/>
              <a:gd name="connsiteY31" fmla="*/ 745 h 1378"/>
              <a:gd name="connsiteX32" fmla="*/ 231 w 2088"/>
              <a:gd name="connsiteY32" fmla="*/ 735 h 1378"/>
              <a:gd name="connsiteX33" fmla="*/ 182 w 2088"/>
              <a:gd name="connsiteY33" fmla="*/ 705 h 1378"/>
              <a:gd name="connsiteX34" fmla="*/ 88 w 2088"/>
              <a:gd name="connsiteY34" fmla="*/ 735 h 1378"/>
              <a:gd name="connsiteX35" fmla="*/ 0 w 2088"/>
              <a:gd name="connsiteY35" fmla="*/ 793 h 1378"/>
              <a:gd name="connsiteX36" fmla="*/ 9 w 2088"/>
              <a:gd name="connsiteY36" fmla="*/ 892 h 1378"/>
              <a:gd name="connsiteX37" fmla="*/ 66 w 2088"/>
              <a:gd name="connsiteY37" fmla="*/ 903 h 1378"/>
              <a:gd name="connsiteX38" fmla="*/ 79 w 2088"/>
              <a:gd name="connsiteY38" fmla="*/ 1021 h 1378"/>
              <a:gd name="connsiteX39" fmla="*/ 27 w 2088"/>
              <a:gd name="connsiteY39" fmla="*/ 1021 h 1378"/>
              <a:gd name="connsiteX40" fmla="*/ 27 w 2088"/>
              <a:gd name="connsiteY40" fmla="*/ 1055 h 1378"/>
              <a:gd name="connsiteX41" fmla="*/ 124 w 2088"/>
              <a:gd name="connsiteY41" fmla="*/ 1106 h 1378"/>
              <a:gd name="connsiteX42" fmla="*/ 115 w 2088"/>
              <a:gd name="connsiteY42" fmla="*/ 1176 h 1378"/>
              <a:gd name="connsiteX43" fmla="*/ 277 w 2088"/>
              <a:gd name="connsiteY43" fmla="*/ 1248 h 1378"/>
              <a:gd name="connsiteX44" fmla="*/ 281 w 2088"/>
              <a:gd name="connsiteY44" fmla="*/ 1253 h 1378"/>
              <a:gd name="connsiteX45" fmla="*/ 286 w 2088"/>
              <a:gd name="connsiteY45" fmla="*/ 1320 h 1378"/>
              <a:gd name="connsiteX46" fmla="*/ 295 w 2088"/>
              <a:gd name="connsiteY46" fmla="*/ 1377 h 1378"/>
              <a:gd name="connsiteX47" fmla="*/ 371 w 2088"/>
              <a:gd name="connsiteY47" fmla="*/ 1325 h 1378"/>
              <a:gd name="connsiteX48" fmla="*/ 510 w 2088"/>
              <a:gd name="connsiteY48" fmla="*/ 1269 h 1378"/>
              <a:gd name="connsiteX49" fmla="*/ 669 w 2088"/>
              <a:gd name="connsiteY49" fmla="*/ 1301 h 1378"/>
              <a:gd name="connsiteX50" fmla="*/ 746 w 2088"/>
              <a:gd name="connsiteY50" fmla="*/ 1277 h 1378"/>
              <a:gd name="connsiteX51" fmla="*/ 876 w 2088"/>
              <a:gd name="connsiteY51" fmla="*/ 1352 h 1378"/>
              <a:gd name="connsiteX52" fmla="*/ 973 w 2088"/>
              <a:gd name="connsiteY52" fmla="*/ 1303 h 1378"/>
              <a:gd name="connsiteX53" fmla="*/ 1265 w 2088"/>
              <a:gd name="connsiteY53" fmla="*/ 1253 h 1378"/>
              <a:gd name="connsiteX54" fmla="*/ 1383 w 2088"/>
              <a:gd name="connsiteY54" fmla="*/ 1274 h 1378"/>
              <a:gd name="connsiteX55" fmla="*/ 1519 w 2088"/>
              <a:gd name="connsiteY55" fmla="*/ 1277 h 1378"/>
              <a:gd name="connsiteX56" fmla="*/ 1501 w 2088"/>
              <a:gd name="connsiteY56" fmla="*/ 1266 h 1378"/>
              <a:gd name="connsiteX57" fmla="*/ 1524 w 2088"/>
              <a:gd name="connsiteY57" fmla="*/ 1210 h 1378"/>
              <a:gd name="connsiteX58" fmla="*/ 1501 w 2088"/>
              <a:gd name="connsiteY58" fmla="*/ 1159 h 1378"/>
              <a:gd name="connsiteX59" fmla="*/ 1516 w 2088"/>
              <a:gd name="connsiteY59" fmla="*/ 1082 h 1378"/>
              <a:gd name="connsiteX60" fmla="*/ 1821 w 2088"/>
              <a:gd name="connsiteY60" fmla="*/ 1012 h 1378"/>
              <a:gd name="connsiteX61" fmla="*/ 1813 w 2088"/>
              <a:gd name="connsiteY61" fmla="*/ 891 h 1378"/>
              <a:gd name="connsiteX62" fmla="*/ 1899 w 2088"/>
              <a:gd name="connsiteY62" fmla="*/ 863 h 1378"/>
              <a:gd name="connsiteX63" fmla="*/ 1942 w 2088"/>
              <a:gd name="connsiteY63" fmla="*/ 795 h 1378"/>
              <a:gd name="connsiteX64" fmla="*/ 2051 w 2088"/>
              <a:gd name="connsiteY64" fmla="*/ 760 h 1378"/>
              <a:gd name="connsiteX65" fmla="*/ 2088 w 2088"/>
              <a:gd name="connsiteY65" fmla="*/ 696 h 1378"/>
              <a:gd name="connsiteX0" fmla="*/ 2088 w 2088"/>
              <a:gd name="connsiteY0" fmla="*/ 696 h 1377"/>
              <a:gd name="connsiteX1" fmla="*/ 2062 w 2088"/>
              <a:gd name="connsiteY1" fmla="*/ 621 h 1377"/>
              <a:gd name="connsiteX2" fmla="*/ 2032 w 2088"/>
              <a:gd name="connsiteY2" fmla="*/ 547 h 1377"/>
              <a:gd name="connsiteX3" fmla="*/ 1876 w 2088"/>
              <a:gd name="connsiteY3" fmla="*/ 478 h 1377"/>
              <a:gd name="connsiteX4" fmla="*/ 1769 w 2088"/>
              <a:gd name="connsiteY4" fmla="*/ 478 h 1377"/>
              <a:gd name="connsiteX5" fmla="*/ 1640 w 2088"/>
              <a:gd name="connsiteY5" fmla="*/ 437 h 1377"/>
              <a:gd name="connsiteX6" fmla="*/ 1685 w 2088"/>
              <a:gd name="connsiteY6" fmla="*/ 297 h 1377"/>
              <a:gd name="connsiteX7" fmla="*/ 1583 w 2088"/>
              <a:gd name="connsiteY7" fmla="*/ 154 h 1377"/>
              <a:gd name="connsiteX8" fmla="*/ 1513 w 2088"/>
              <a:gd name="connsiteY8" fmla="*/ 150 h 1377"/>
              <a:gd name="connsiteX9" fmla="*/ 1441 w 2088"/>
              <a:gd name="connsiteY9" fmla="*/ 66 h 1377"/>
              <a:gd name="connsiteX10" fmla="*/ 1433 w 2088"/>
              <a:gd name="connsiteY10" fmla="*/ 7 h 1377"/>
              <a:gd name="connsiteX11" fmla="*/ 1362 w 2088"/>
              <a:gd name="connsiteY11" fmla="*/ 0 h 1377"/>
              <a:gd name="connsiteX12" fmla="*/ 1335 w 2088"/>
              <a:gd name="connsiteY12" fmla="*/ 70 h 1377"/>
              <a:gd name="connsiteX13" fmla="*/ 1241 w 2088"/>
              <a:gd name="connsiteY13" fmla="*/ 88 h 1377"/>
              <a:gd name="connsiteX14" fmla="*/ 1246 w 2088"/>
              <a:gd name="connsiteY14" fmla="*/ 183 h 1377"/>
              <a:gd name="connsiteX15" fmla="*/ 1172 w 2088"/>
              <a:gd name="connsiteY15" fmla="*/ 227 h 1377"/>
              <a:gd name="connsiteX16" fmla="*/ 1117 w 2088"/>
              <a:gd name="connsiteY16" fmla="*/ 183 h 1377"/>
              <a:gd name="connsiteX17" fmla="*/ 1015 w 2088"/>
              <a:gd name="connsiteY17" fmla="*/ 169 h 1377"/>
              <a:gd name="connsiteX18" fmla="*/ 926 w 2088"/>
              <a:gd name="connsiteY18" fmla="*/ 316 h 1377"/>
              <a:gd name="connsiteX19" fmla="*/ 926 w 2088"/>
              <a:gd name="connsiteY19" fmla="*/ 353 h 1377"/>
              <a:gd name="connsiteX20" fmla="*/ 896 w 2088"/>
              <a:gd name="connsiteY20" fmla="*/ 363 h 1377"/>
              <a:gd name="connsiteX21" fmla="*/ 842 w 2088"/>
              <a:gd name="connsiteY21" fmla="*/ 331 h 1377"/>
              <a:gd name="connsiteX22" fmla="*/ 736 w 2088"/>
              <a:gd name="connsiteY22" fmla="*/ 327 h 1377"/>
              <a:gd name="connsiteX23" fmla="*/ 692 w 2088"/>
              <a:gd name="connsiteY23" fmla="*/ 363 h 1377"/>
              <a:gd name="connsiteX24" fmla="*/ 732 w 2088"/>
              <a:gd name="connsiteY24" fmla="*/ 386 h 1377"/>
              <a:gd name="connsiteX25" fmla="*/ 749 w 2088"/>
              <a:gd name="connsiteY25" fmla="*/ 539 h 1377"/>
              <a:gd name="connsiteX26" fmla="*/ 665 w 2088"/>
              <a:gd name="connsiteY26" fmla="*/ 581 h 1377"/>
              <a:gd name="connsiteX27" fmla="*/ 657 w 2088"/>
              <a:gd name="connsiteY27" fmla="*/ 643 h 1377"/>
              <a:gd name="connsiteX28" fmla="*/ 532 w 2088"/>
              <a:gd name="connsiteY28" fmla="*/ 668 h 1377"/>
              <a:gd name="connsiteX29" fmla="*/ 448 w 2088"/>
              <a:gd name="connsiteY29" fmla="*/ 702 h 1377"/>
              <a:gd name="connsiteX30" fmla="*/ 328 w 2088"/>
              <a:gd name="connsiteY30" fmla="*/ 695 h 1377"/>
              <a:gd name="connsiteX31" fmla="*/ 283 w 2088"/>
              <a:gd name="connsiteY31" fmla="*/ 745 h 1377"/>
              <a:gd name="connsiteX32" fmla="*/ 231 w 2088"/>
              <a:gd name="connsiteY32" fmla="*/ 735 h 1377"/>
              <a:gd name="connsiteX33" fmla="*/ 182 w 2088"/>
              <a:gd name="connsiteY33" fmla="*/ 705 h 1377"/>
              <a:gd name="connsiteX34" fmla="*/ 88 w 2088"/>
              <a:gd name="connsiteY34" fmla="*/ 735 h 1377"/>
              <a:gd name="connsiteX35" fmla="*/ 0 w 2088"/>
              <a:gd name="connsiteY35" fmla="*/ 793 h 1377"/>
              <a:gd name="connsiteX36" fmla="*/ 9 w 2088"/>
              <a:gd name="connsiteY36" fmla="*/ 892 h 1377"/>
              <a:gd name="connsiteX37" fmla="*/ 66 w 2088"/>
              <a:gd name="connsiteY37" fmla="*/ 903 h 1377"/>
              <a:gd name="connsiteX38" fmla="*/ 79 w 2088"/>
              <a:gd name="connsiteY38" fmla="*/ 1021 h 1377"/>
              <a:gd name="connsiteX39" fmla="*/ 27 w 2088"/>
              <a:gd name="connsiteY39" fmla="*/ 1021 h 1377"/>
              <a:gd name="connsiteX40" fmla="*/ 27 w 2088"/>
              <a:gd name="connsiteY40" fmla="*/ 1055 h 1377"/>
              <a:gd name="connsiteX41" fmla="*/ 124 w 2088"/>
              <a:gd name="connsiteY41" fmla="*/ 1106 h 1377"/>
              <a:gd name="connsiteX42" fmla="*/ 115 w 2088"/>
              <a:gd name="connsiteY42" fmla="*/ 1176 h 1377"/>
              <a:gd name="connsiteX43" fmla="*/ 277 w 2088"/>
              <a:gd name="connsiteY43" fmla="*/ 1248 h 1377"/>
              <a:gd name="connsiteX44" fmla="*/ 281 w 2088"/>
              <a:gd name="connsiteY44" fmla="*/ 1253 h 1377"/>
              <a:gd name="connsiteX45" fmla="*/ 286 w 2088"/>
              <a:gd name="connsiteY45" fmla="*/ 1320 h 1377"/>
              <a:gd name="connsiteX46" fmla="*/ 295 w 2088"/>
              <a:gd name="connsiteY46" fmla="*/ 1377 h 1377"/>
              <a:gd name="connsiteX47" fmla="*/ 371 w 2088"/>
              <a:gd name="connsiteY47" fmla="*/ 1325 h 1377"/>
              <a:gd name="connsiteX48" fmla="*/ 510 w 2088"/>
              <a:gd name="connsiteY48" fmla="*/ 1269 h 1377"/>
              <a:gd name="connsiteX49" fmla="*/ 669 w 2088"/>
              <a:gd name="connsiteY49" fmla="*/ 1301 h 1377"/>
              <a:gd name="connsiteX50" fmla="*/ 746 w 2088"/>
              <a:gd name="connsiteY50" fmla="*/ 1277 h 1377"/>
              <a:gd name="connsiteX51" fmla="*/ 876 w 2088"/>
              <a:gd name="connsiteY51" fmla="*/ 1352 h 1377"/>
              <a:gd name="connsiteX52" fmla="*/ 973 w 2088"/>
              <a:gd name="connsiteY52" fmla="*/ 1303 h 1377"/>
              <a:gd name="connsiteX53" fmla="*/ 1265 w 2088"/>
              <a:gd name="connsiteY53" fmla="*/ 1253 h 1377"/>
              <a:gd name="connsiteX54" fmla="*/ 1383 w 2088"/>
              <a:gd name="connsiteY54" fmla="*/ 1274 h 1377"/>
              <a:gd name="connsiteX55" fmla="*/ 1519 w 2088"/>
              <a:gd name="connsiteY55" fmla="*/ 1277 h 1377"/>
              <a:gd name="connsiteX56" fmla="*/ 1501 w 2088"/>
              <a:gd name="connsiteY56" fmla="*/ 1266 h 1377"/>
              <a:gd name="connsiteX57" fmla="*/ 1524 w 2088"/>
              <a:gd name="connsiteY57" fmla="*/ 1210 h 1377"/>
              <a:gd name="connsiteX58" fmla="*/ 1501 w 2088"/>
              <a:gd name="connsiteY58" fmla="*/ 1159 h 1377"/>
              <a:gd name="connsiteX59" fmla="*/ 1516 w 2088"/>
              <a:gd name="connsiteY59" fmla="*/ 1082 h 1377"/>
              <a:gd name="connsiteX60" fmla="*/ 1821 w 2088"/>
              <a:gd name="connsiteY60" fmla="*/ 1012 h 1377"/>
              <a:gd name="connsiteX61" fmla="*/ 1813 w 2088"/>
              <a:gd name="connsiteY61" fmla="*/ 891 h 1377"/>
              <a:gd name="connsiteX62" fmla="*/ 1899 w 2088"/>
              <a:gd name="connsiteY62" fmla="*/ 863 h 1377"/>
              <a:gd name="connsiteX63" fmla="*/ 1942 w 2088"/>
              <a:gd name="connsiteY63" fmla="*/ 795 h 1377"/>
              <a:gd name="connsiteX64" fmla="*/ 2051 w 2088"/>
              <a:gd name="connsiteY64" fmla="*/ 760 h 1377"/>
              <a:gd name="connsiteX65" fmla="*/ 2088 w 2088"/>
              <a:gd name="connsiteY65" fmla="*/ 696 h 1377"/>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295 w 2088"/>
              <a:gd name="connsiteY46" fmla="*/ 1327 h 1352"/>
              <a:gd name="connsiteX47" fmla="*/ 371 w 2088"/>
              <a:gd name="connsiteY47" fmla="*/ 1325 h 1352"/>
              <a:gd name="connsiteX48" fmla="*/ 510 w 2088"/>
              <a:gd name="connsiteY48" fmla="*/ 1269 h 1352"/>
              <a:gd name="connsiteX49" fmla="*/ 669 w 2088"/>
              <a:gd name="connsiteY49" fmla="*/ 1301 h 1352"/>
              <a:gd name="connsiteX50" fmla="*/ 746 w 2088"/>
              <a:gd name="connsiteY50" fmla="*/ 1277 h 1352"/>
              <a:gd name="connsiteX51" fmla="*/ 876 w 2088"/>
              <a:gd name="connsiteY51" fmla="*/ 1352 h 1352"/>
              <a:gd name="connsiteX52" fmla="*/ 973 w 2088"/>
              <a:gd name="connsiteY52" fmla="*/ 1303 h 1352"/>
              <a:gd name="connsiteX53" fmla="*/ 1265 w 2088"/>
              <a:gd name="connsiteY53" fmla="*/ 1253 h 1352"/>
              <a:gd name="connsiteX54" fmla="*/ 1383 w 2088"/>
              <a:gd name="connsiteY54" fmla="*/ 1274 h 1352"/>
              <a:gd name="connsiteX55" fmla="*/ 1519 w 2088"/>
              <a:gd name="connsiteY55" fmla="*/ 1277 h 1352"/>
              <a:gd name="connsiteX56" fmla="*/ 1501 w 2088"/>
              <a:gd name="connsiteY56" fmla="*/ 1266 h 1352"/>
              <a:gd name="connsiteX57" fmla="*/ 1524 w 2088"/>
              <a:gd name="connsiteY57" fmla="*/ 1210 h 1352"/>
              <a:gd name="connsiteX58" fmla="*/ 1501 w 2088"/>
              <a:gd name="connsiteY58" fmla="*/ 1159 h 1352"/>
              <a:gd name="connsiteX59" fmla="*/ 1516 w 2088"/>
              <a:gd name="connsiteY59" fmla="*/ 1082 h 1352"/>
              <a:gd name="connsiteX60" fmla="*/ 1821 w 2088"/>
              <a:gd name="connsiteY60" fmla="*/ 1012 h 1352"/>
              <a:gd name="connsiteX61" fmla="*/ 1813 w 2088"/>
              <a:gd name="connsiteY61" fmla="*/ 891 h 1352"/>
              <a:gd name="connsiteX62" fmla="*/ 1899 w 2088"/>
              <a:gd name="connsiteY62" fmla="*/ 863 h 1352"/>
              <a:gd name="connsiteX63" fmla="*/ 1942 w 2088"/>
              <a:gd name="connsiteY63" fmla="*/ 795 h 1352"/>
              <a:gd name="connsiteX64" fmla="*/ 2051 w 2088"/>
              <a:gd name="connsiteY64" fmla="*/ 760 h 1352"/>
              <a:gd name="connsiteX65" fmla="*/ 2088 w 2088"/>
              <a:gd name="connsiteY65" fmla="*/ 696 h 1352"/>
              <a:gd name="connsiteX0" fmla="*/ 2088 w 2088"/>
              <a:gd name="connsiteY0" fmla="*/ 696 h 1352"/>
              <a:gd name="connsiteX1" fmla="*/ 2062 w 2088"/>
              <a:gd name="connsiteY1" fmla="*/ 621 h 1352"/>
              <a:gd name="connsiteX2" fmla="*/ 2032 w 2088"/>
              <a:gd name="connsiteY2" fmla="*/ 547 h 1352"/>
              <a:gd name="connsiteX3" fmla="*/ 1876 w 2088"/>
              <a:gd name="connsiteY3" fmla="*/ 478 h 1352"/>
              <a:gd name="connsiteX4" fmla="*/ 1769 w 2088"/>
              <a:gd name="connsiteY4" fmla="*/ 478 h 1352"/>
              <a:gd name="connsiteX5" fmla="*/ 1640 w 2088"/>
              <a:gd name="connsiteY5" fmla="*/ 437 h 1352"/>
              <a:gd name="connsiteX6" fmla="*/ 1685 w 2088"/>
              <a:gd name="connsiteY6" fmla="*/ 297 h 1352"/>
              <a:gd name="connsiteX7" fmla="*/ 1583 w 2088"/>
              <a:gd name="connsiteY7" fmla="*/ 154 h 1352"/>
              <a:gd name="connsiteX8" fmla="*/ 1513 w 2088"/>
              <a:gd name="connsiteY8" fmla="*/ 150 h 1352"/>
              <a:gd name="connsiteX9" fmla="*/ 1441 w 2088"/>
              <a:gd name="connsiteY9" fmla="*/ 66 h 1352"/>
              <a:gd name="connsiteX10" fmla="*/ 1433 w 2088"/>
              <a:gd name="connsiteY10" fmla="*/ 7 h 1352"/>
              <a:gd name="connsiteX11" fmla="*/ 1362 w 2088"/>
              <a:gd name="connsiteY11" fmla="*/ 0 h 1352"/>
              <a:gd name="connsiteX12" fmla="*/ 1335 w 2088"/>
              <a:gd name="connsiteY12" fmla="*/ 70 h 1352"/>
              <a:gd name="connsiteX13" fmla="*/ 1241 w 2088"/>
              <a:gd name="connsiteY13" fmla="*/ 88 h 1352"/>
              <a:gd name="connsiteX14" fmla="*/ 1246 w 2088"/>
              <a:gd name="connsiteY14" fmla="*/ 183 h 1352"/>
              <a:gd name="connsiteX15" fmla="*/ 1172 w 2088"/>
              <a:gd name="connsiteY15" fmla="*/ 227 h 1352"/>
              <a:gd name="connsiteX16" fmla="*/ 1117 w 2088"/>
              <a:gd name="connsiteY16" fmla="*/ 183 h 1352"/>
              <a:gd name="connsiteX17" fmla="*/ 1015 w 2088"/>
              <a:gd name="connsiteY17" fmla="*/ 169 h 1352"/>
              <a:gd name="connsiteX18" fmla="*/ 926 w 2088"/>
              <a:gd name="connsiteY18" fmla="*/ 316 h 1352"/>
              <a:gd name="connsiteX19" fmla="*/ 926 w 2088"/>
              <a:gd name="connsiteY19" fmla="*/ 353 h 1352"/>
              <a:gd name="connsiteX20" fmla="*/ 896 w 2088"/>
              <a:gd name="connsiteY20" fmla="*/ 363 h 1352"/>
              <a:gd name="connsiteX21" fmla="*/ 842 w 2088"/>
              <a:gd name="connsiteY21" fmla="*/ 331 h 1352"/>
              <a:gd name="connsiteX22" fmla="*/ 736 w 2088"/>
              <a:gd name="connsiteY22" fmla="*/ 327 h 1352"/>
              <a:gd name="connsiteX23" fmla="*/ 692 w 2088"/>
              <a:gd name="connsiteY23" fmla="*/ 363 h 1352"/>
              <a:gd name="connsiteX24" fmla="*/ 732 w 2088"/>
              <a:gd name="connsiteY24" fmla="*/ 386 h 1352"/>
              <a:gd name="connsiteX25" fmla="*/ 749 w 2088"/>
              <a:gd name="connsiteY25" fmla="*/ 539 h 1352"/>
              <a:gd name="connsiteX26" fmla="*/ 665 w 2088"/>
              <a:gd name="connsiteY26" fmla="*/ 581 h 1352"/>
              <a:gd name="connsiteX27" fmla="*/ 657 w 2088"/>
              <a:gd name="connsiteY27" fmla="*/ 643 h 1352"/>
              <a:gd name="connsiteX28" fmla="*/ 532 w 2088"/>
              <a:gd name="connsiteY28" fmla="*/ 668 h 1352"/>
              <a:gd name="connsiteX29" fmla="*/ 448 w 2088"/>
              <a:gd name="connsiteY29" fmla="*/ 702 h 1352"/>
              <a:gd name="connsiteX30" fmla="*/ 328 w 2088"/>
              <a:gd name="connsiteY30" fmla="*/ 695 h 1352"/>
              <a:gd name="connsiteX31" fmla="*/ 283 w 2088"/>
              <a:gd name="connsiteY31" fmla="*/ 745 h 1352"/>
              <a:gd name="connsiteX32" fmla="*/ 231 w 2088"/>
              <a:gd name="connsiteY32" fmla="*/ 735 h 1352"/>
              <a:gd name="connsiteX33" fmla="*/ 182 w 2088"/>
              <a:gd name="connsiteY33" fmla="*/ 705 h 1352"/>
              <a:gd name="connsiteX34" fmla="*/ 88 w 2088"/>
              <a:gd name="connsiteY34" fmla="*/ 735 h 1352"/>
              <a:gd name="connsiteX35" fmla="*/ 0 w 2088"/>
              <a:gd name="connsiteY35" fmla="*/ 793 h 1352"/>
              <a:gd name="connsiteX36" fmla="*/ 9 w 2088"/>
              <a:gd name="connsiteY36" fmla="*/ 892 h 1352"/>
              <a:gd name="connsiteX37" fmla="*/ 66 w 2088"/>
              <a:gd name="connsiteY37" fmla="*/ 903 h 1352"/>
              <a:gd name="connsiteX38" fmla="*/ 79 w 2088"/>
              <a:gd name="connsiteY38" fmla="*/ 1021 h 1352"/>
              <a:gd name="connsiteX39" fmla="*/ 27 w 2088"/>
              <a:gd name="connsiteY39" fmla="*/ 1021 h 1352"/>
              <a:gd name="connsiteX40" fmla="*/ 27 w 2088"/>
              <a:gd name="connsiteY40" fmla="*/ 1055 h 1352"/>
              <a:gd name="connsiteX41" fmla="*/ 124 w 2088"/>
              <a:gd name="connsiteY41" fmla="*/ 1106 h 1352"/>
              <a:gd name="connsiteX42" fmla="*/ 115 w 2088"/>
              <a:gd name="connsiteY42" fmla="*/ 1176 h 1352"/>
              <a:gd name="connsiteX43" fmla="*/ 277 w 2088"/>
              <a:gd name="connsiteY43" fmla="*/ 1248 h 1352"/>
              <a:gd name="connsiteX44" fmla="*/ 281 w 2088"/>
              <a:gd name="connsiteY44" fmla="*/ 1253 h 1352"/>
              <a:gd name="connsiteX45" fmla="*/ 286 w 2088"/>
              <a:gd name="connsiteY45" fmla="*/ 1320 h 1352"/>
              <a:gd name="connsiteX46" fmla="*/ 295 w 2088"/>
              <a:gd name="connsiteY46" fmla="*/ 1327 h 1352"/>
              <a:gd name="connsiteX47" fmla="*/ 371 w 2088"/>
              <a:gd name="connsiteY47" fmla="*/ 1325 h 1352"/>
              <a:gd name="connsiteX48" fmla="*/ 510 w 2088"/>
              <a:gd name="connsiteY48" fmla="*/ 1269 h 1352"/>
              <a:gd name="connsiteX49" fmla="*/ 669 w 2088"/>
              <a:gd name="connsiteY49" fmla="*/ 1301 h 1352"/>
              <a:gd name="connsiteX50" fmla="*/ 746 w 2088"/>
              <a:gd name="connsiteY50" fmla="*/ 1277 h 1352"/>
              <a:gd name="connsiteX51" fmla="*/ 876 w 2088"/>
              <a:gd name="connsiteY51" fmla="*/ 1352 h 1352"/>
              <a:gd name="connsiteX52" fmla="*/ 973 w 2088"/>
              <a:gd name="connsiteY52" fmla="*/ 1303 h 1352"/>
              <a:gd name="connsiteX53" fmla="*/ 1265 w 2088"/>
              <a:gd name="connsiteY53" fmla="*/ 1253 h 1352"/>
              <a:gd name="connsiteX54" fmla="*/ 1383 w 2088"/>
              <a:gd name="connsiteY54" fmla="*/ 1274 h 1352"/>
              <a:gd name="connsiteX55" fmla="*/ 1519 w 2088"/>
              <a:gd name="connsiteY55" fmla="*/ 1277 h 1352"/>
              <a:gd name="connsiteX56" fmla="*/ 1501 w 2088"/>
              <a:gd name="connsiteY56" fmla="*/ 1266 h 1352"/>
              <a:gd name="connsiteX57" fmla="*/ 1524 w 2088"/>
              <a:gd name="connsiteY57" fmla="*/ 1210 h 1352"/>
              <a:gd name="connsiteX58" fmla="*/ 1501 w 2088"/>
              <a:gd name="connsiteY58" fmla="*/ 1159 h 1352"/>
              <a:gd name="connsiteX59" fmla="*/ 1516 w 2088"/>
              <a:gd name="connsiteY59" fmla="*/ 1082 h 1352"/>
              <a:gd name="connsiteX60" fmla="*/ 1821 w 2088"/>
              <a:gd name="connsiteY60" fmla="*/ 1012 h 1352"/>
              <a:gd name="connsiteX61" fmla="*/ 1813 w 2088"/>
              <a:gd name="connsiteY61" fmla="*/ 891 h 1352"/>
              <a:gd name="connsiteX62" fmla="*/ 1899 w 2088"/>
              <a:gd name="connsiteY62" fmla="*/ 863 h 1352"/>
              <a:gd name="connsiteX63" fmla="*/ 1942 w 2088"/>
              <a:gd name="connsiteY63" fmla="*/ 795 h 1352"/>
              <a:gd name="connsiteX64" fmla="*/ 2051 w 2088"/>
              <a:gd name="connsiteY64" fmla="*/ 760 h 1352"/>
              <a:gd name="connsiteX65" fmla="*/ 2088 w 2088"/>
              <a:gd name="connsiteY65" fmla="*/ 696 h 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088" h="1352">
                <a:moveTo>
                  <a:pt x="2088" y="696"/>
                </a:moveTo>
                <a:cubicBezTo>
                  <a:pt x="2079" y="671"/>
                  <a:pt x="2071" y="646"/>
                  <a:pt x="2062" y="621"/>
                </a:cubicBezTo>
                <a:cubicBezTo>
                  <a:pt x="2052" y="596"/>
                  <a:pt x="2042" y="572"/>
                  <a:pt x="2032" y="547"/>
                </a:cubicBezTo>
                <a:lnTo>
                  <a:pt x="1876" y="478"/>
                </a:lnTo>
                <a:lnTo>
                  <a:pt x="1769" y="478"/>
                </a:lnTo>
                <a:lnTo>
                  <a:pt x="1640" y="437"/>
                </a:lnTo>
                <a:cubicBezTo>
                  <a:pt x="1655" y="390"/>
                  <a:pt x="1670" y="344"/>
                  <a:pt x="1685" y="297"/>
                </a:cubicBezTo>
                <a:lnTo>
                  <a:pt x="1583" y="154"/>
                </a:lnTo>
                <a:cubicBezTo>
                  <a:pt x="1560" y="153"/>
                  <a:pt x="1536" y="151"/>
                  <a:pt x="1513" y="150"/>
                </a:cubicBezTo>
                <a:lnTo>
                  <a:pt x="1441" y="66"/>
                </a:lnTo>
                <a:cubicBezTo>
                  <a:pt x="1438" y="46"/>
                  <a:pt x="1436" y="27"/>
                  <a:pt x="1433" y="7"/>
                </a:cubicBezTo>
                <a:cubicBezTo>
                  <a:pt x="1409" y="5"/>
                  <a:pt x="1386" y="2"/>
                  <a:pt x="1362" y="0"/>
                </a:cubicBezTo>
                <a:cubicBezTo>
                  <a:pt x="1353" y="23"/>
                  <a:pt x="1344" y="47"/>
                  <a:pt x="1335" y="70"/>
                </a:cubicBezTo>
                <a:lnTo>
                  <a:pt x="1241" y="88"/>
                </a:lnTo>
                <a:cubicBezTo>
                  <a:pt x="1243" y="120"/>
                  <a:pt x="1244" y="151"/>
                  <a:pt x="1246" y="183"/>
                </a:cubicBezTo>
                <a:lnTo>
                  <a:pt x="1172" y="227"/>
                </a:lnTo>
                <a:cubicBezTo>
                  <a:pt x="1154" y="212"/>
                  <a:pt x="1135" y="198"/>
                  <a:pt x="1117" y="183"/>
                </a:cubicBezTo>
                <a:lnTo>
                  <a:pt x="1015" y="169"/>
                </a:lnTo>
                <a:cubicBezTo>
                  <a:pt x="985" y="218"/>
                  <a:pt x="956" y="267"/>
                  <a:pt x="926" y="316"/>
                </a:cubicBezTo>
                <a:lnTo>
                  <a:pt x="926" y="353"/>
                </a:lnTo>
                <a:cubicBezTo>
                  <a:pt x="916" y="356"/>
                  <a:pt x="906" y="360"/>
                  <a:pt x="896" y="363"/>
                </a:cubicBezTo>
                <a:cubicBezTo>
                  <a:pt x="878" y="352"/>
                  <a:pt x="860" y="342"/>
                  <a:pt x="842" y="331"/>
                </a:cubicBezTo>
                <a:lnTo>
                  <a:pt x="736" y="327"/>
                </a:lnTo>
                <a:cubicBezTo>
                  <a:pt x="721" y="339"/>
                  <a:pt x="707" y="351"/>
                  <a:pt x="692" y="363"/>
                </a:cubicBezTo>
                <a:cubicBezTo>
                  <a:pt x="705" y="371"/>
                  <a:pt x="719" y="378"/>
                  <a:pt x="732" y="386"/>
                </a:cubicBezTo>
                <a:cubicBezTo>
                  <a:pt x="738" y="437"/>
                  <a:pt x="743" y="488"/>
                  <a:pt x="749" y="539"/>
                </a:cubicBezTo>
                <a:lnTo>
                  <a:pt x="665" y="581"/>
                </a:lnTo>
                <a:cubicBezTo>
                  <a:pt x="662" y="602"/>
                  <a:pt x="660" y="622"/>
                  <a:pt x="657" y="643"/>
                </a:cubicBezTo>
                <a:lnTo>
                  <a:pt x="532" y="668"/>
                </a:lnTo>
                <a:cubicBezTo>
                  <a:pt x="504" y="679"/>
                  <a:pt x="476" y="691"/>
                  <a:pt x="448" y="702"/>
                </a:cubicBezTo>
                <a:lnTo>
                  <a:pt x="328" y="695"/>
                </a:lnTo>
                <a:cubicBezTo>
                  <a:pt x="313" y="712"/>
                  <a:pt x="298" y="728"/>
                  <a:pt x="283" y="745"/>
                </a:cubicBezTo>
                <a:cubicBezTo>
                  <a:pt x="266" y="742"/>
                  <a:pt x="248" y="738"/>
                  <a:pt x="231" y="735"/>
                </a:cubicBezTo>
                <a:cubicBezTo>
                  <a:pt x="215" y="725"/>
                  <a:pt x="198" y="715"/>
                  <a:pt x="182" y="705"/>
                </a:cubicBezTo>
                <a:lnTo>
                  <a:pt x="88" y="735"/>
                </a:lnTo>
                <a:lnTo>
                  <a:pt x="0" y="793"/>
                </a:lnTo>
                <a:lnTo>
                  <a:pt x="9" y="892"/>
                </a:lnTo>
                <a:cubicBezTo>
                  <a:pt x="28" y="896"/>
                  <a:pt x="47" y="899"/>
                  <a:pt x="66" y="903"/>
                </a:cubicBezTo>
                <a:cubicBezTo>
                  <a:pt x="70" y="942"/>
                  <a:pt x="75" y="982"/>
                  <a:pt x="79" y="1021"/>
                </a:cubicBezTo>
                <a:lnTo>
                  <a:pt x="27" y="1021"/>
                </a:lnTo>
                <a:lnTo>
                  <a:pt x="27" y="1055"/>
                </a:lnTo>
                <a:lnTo>
                  <a:pt x="124" y="1106"/>
                </a:lnTo>
                <a:cubicBezTo>
                  <a:pt x="121" y="1129"/>
                  <a:pt x="118" y="1153"/>
                  <a:pt x="115" y="1176"/>
                </a:cubicBezTo>
                <a:lnTo>
                  <a:pt x="277" y="1248"/>
                </a:lnTo>
                <a:cubicBezTo>
                  <a:pt x="278" y="1250"/>
                  <a:pt x="280" y="1251"/>
                  <a:pt x="281" y="1253"/>
                </a:cubicBezTo>
                <a:cubicBezTo>
                  <a:pt x="283" y="1275"/>
                  <a:pt x="284" y="1298"/>
                  <a:pt x="286" y="1320"/>
                </a:cubicBezTo>
                <a:cubicBezTo>
                  <a:pt x="288" y="1332"/>
                  <a:pt x="313" y="1276"/>
                  <a:pt x="295" y="1327"/>
                </a:cubicBezTo>
                <a:cubicBezTo>
                  <a:pt x="321" y="1316"/>
                  <a:pt x="335" y="1335"/>
                  <a:pt x="371" y="1325"/>
                </a:cubicBezTo>
                <a:cubicBezTo>
                  <a:pt x="404" y="1306"/>
                  <a:pt x="477" y="1288"/>
                  <a:pt x="510" y="1269"/>
                </a:cubicBezTo>
                <a:lnTo>
                  <a:pt x="669" y="1301"/>
                </a:lnTo>
                <a:lnTo>
                  <a:pt x="746" y="1277"/>
                </a:lnTo>
                <a:lnTo>
                  <a:pt x="876" y="1352"/>
                </a:lnTo>
                <a:lnTo>
                  <a:pt x="973" y="1303"/>
                </a:lnTo>
                <a:lnTo>
                  <a:pt x="1265" y="1253"/>
                </a:lnTo>
                <a:lnTo>
                  <a:pt x="1383" y="1274"/>
                </a:lnTo>
                <a:cubicBezTo>
                  <a:pt x="1428" y="1292"/>
                  <a:pt x="1474" y="1259"/>
                  <a:pt x="1519" y="1277"/>
                </a:cubicBezTo>
                <a:cubicBezTo>
                  <a:pt x="1469" y="1235"/>
                  <a:pt x="1494" y="1286"/>
                  <a:pt x="1501" y="1266"/>
                </a:cubicBezTo>
                <a:cubicBezTo>
                  <a:pt x="1509" y="1247"/>
                  <a:pt x="1516" y="1229"/>
                  <a:pt x="1524" y="1210"/>
                </a:cubicBezTo>
                <a:cubicBezTo>
                  <a:pt x="1516" y="1193"/>
                  <a:pt x="1509" y="1176"/>
                  <a:pt x="1501" y="1159"/>
                </a:cubicBezTo>
                <a:cubicBezTo>
                  <a:pt x="1506" y="1133"/>
                  <a:pt x="1511" y="1108"/>
                  <a:pt x="1516" y="1082"/>
                </a:cubicBezTo>
                <a:lnTo>
                  <a:pt x="1821" y="1012"/>
                </a:lnTo>
                <a:cubicBezTo>
                  <a:pt x="1818" y="972"/>
                  <a:pt x="1816" y="931"/>
                  <a:pt x="1813" y="891"/>
                </a:cubicBezTo>
                <a:cubicBezTo>
                  <a:pt x="1842" y="882"/>
                  <a:pt x="1870" y="872"/>
                  <a:pt x="1899" y="863"/>
                </a:cubicBezTo>
                <a:cubicBezTo>
                  <a:pt x="1913" y="840"/>
                  <a:pt x="1928" y="818"/>
                  <a:pt x="1942" y="795"/>
                </a:cubicBezTo>
                <a:cubicBezTo>
                  <a:pt x="1978" y="783"/>
                  <a:pt x="2015" y="772"/>
                  <a:pt x="2051" y="760"/>
                </a:cubicBezTo>
                <a:cubicBezTo>
                  <a:pt x="2063" y="739"/>
                  <a:pt x="2076" y="717"/>
                  <a:pt x="2088" y="696"/>
                </a:cubicBez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16" name="Freeform 11"/>
          <p:cNvSpPr>
            <a:spLocks/>
          </p:cNvSpPr>
          <p:nvPr/>
        </p:nvSpPr>
        <p:spPr bwMode="auto">
          <a:xfrm>
            <a:off x="4519944" y="3882954"/>
            <a:ext cx="1685868" cy="952830"/>
          </a:xfrm>
          <a:custGeom>
            <a:avLst/>
            <a:gdLst/>
            <a:ahLst/>
            <a:cxnLst>
              <a:cxn ang="0">
                <a:pos x="2111" y="812"/>
              </a:cxn>
              <a:cxn ang="0">
                <a:pos x="2093" y="659"/>
              </a:cxn>
              <a:cxn ang="0">
                <a:pos x="1983" y="441"/>
              </a:cxn>
              <a:cxn ang="0">
                <a:pos x="1879" y="430"/>
              </a:cxn>
              <a:cxn ang="0">
                <a:pos x="1849" y="500"/>
              </a:cxn>
              <a:cxn ang="0">
                <a:pos x="1727" y="494"/>
              </a:cxn>
              <a:cxn ang="0">
                <a:pos x="1662" y="414"/>
              </a:cxn>
              <a:cxn ang="0">
                <a:pos x="1475" y="397"/>
              </a:cxn>
              <a:cxn ang="0">
                <a:pos x="1235" y="327"/>
              </a:cxn>
              <a:cxn ang="0">
                <a:pos x="1167" y="191"/>
              </a:cxn>
              <a:cxn ang="0">
                <a:pos x="1203" y="170"/>
              </a:cxn>
              <a:cxn ang="0">
                <a:pos x="1217" y="96"/>
              </a:cxn>
              <a:cxn ang="0">
                <a:pos x="1185" y="24"/>
              </a:cxn>
              <a:cxn ang="0">
                <a:pos x="1064" y="5"/>
              </a:cxn>
              <a:cxn ang="0">
                <a:pos x="775" y="57"/>
              </a:cxn>
              <a:cxn ang="0">
                <a:pos x="684" y="104"/>
              </a:cxn>
              <a:cxn ang="0">
                <a:pos x="554" y="32"/>
              </a:cxn>
              <a:cxn ang="0">
                <a:pos x="403" y="43"/>
              </a:cxn>
              <a:cxn ang="0">
                <a:pos x="288" y="0"/>
              </a:cxn>
              <a:cxn ang="0">
                <a:pos x="173" y="91"/>
              </a:cxn>
              <a:cxn ang="0">
                <a:pos x="91" y="83"/>
              </a:cxn>
              <a:cxn ang="0">
                <a:pos x="88" y="157"/>
              </a:cxn>
              <a:cxn ang="0">
                <a:pos x="115" y="240"/>
              </a:cxn>
              <a:cxn ang="0">
                <a:pos x="82" y="264"/>
              </a:cxn>
              <a:cxn ang="0">
                <a:pos x="34" y="211"/>
              </a:cxn>
              <a:cxn ang="0">
                <a:pos x="0" y="245"/>
              </a:cxn>
              <a:cxn ang="0">
                <a:pos x="24" y="303"/>
              </a:cxn>
              <a:cxn ang="0">
                <a:pos x="22" y="381"/>
              </a:cxn>
              <a:cxn ang="0">
                <a:pos x="93" y="414"/>
              </a:cxn>
              <a:cxn ang="0">
                <a:pos x="159" y="484"/>
              </a:cxn>
              <a:cxn ang="0">
                <a:pos x="235" y="499"/>
              </a:cxn>
              <a:cxn ang="0">
                <a:pos x="270" y="528"/>
              </a:cxn>
              <a:cxn ang="0">
                <a:pos x="292" y="513"/>
              </a:cxn>
              <a:cxn ang="0">
                <a:pos x="448" y="616"/>
              </a:cxn>
              <a:cxn ang="0">
                <a:pos x="470" y="671"/>
              </a:cxn>
              <a:cxn ang="0">
                <a:pos x="514" y="646"/>
              </a:cxn>
              <a:cxn ang="0">
                <a:pos x="523" y="712"/>
              </a:cxn>
              <a:cxn ang="0">
                <a:pos x="621" y="730"/>
              </a:cxn>
              <a:cxn ang="0">
                <a:pos x="696" y="807"/>
              </a:cxn>
              <a:cxn ang="0">
                <a:pos x="788" y="799"/>
              </a:cxn>
              <a:cxn ang="0">
                <a:pos x="839" y="836"/>
              </a:cxn>
              <a:cxn ang="0">
                <a:pos x="976" y="836"/>
              </a:cxn>
              <a:cxn ang="0">
                <a:pos x="1011" y="881"/>
              </a:cxn>
              <a:cxn ang="0">
                <a:pos x="1108" y="814"/>
              </a:cxn>
              <a:cxn ang="0">
                <a:pos x="1207" y="814"/>
              </a:cxn>
              <a:cxn ang="0">
                <a:pos x="1278" y="841"/>
              </a:cxn>
              <a:cxn ang="0">
                <a:pos x="1308" y="873"/>
              </a:cxn>
              <a:cxn ang="0">
                <a:pos x="1414" y="866"/>
              </a:cxn>
              <a:cxn ang="0">
                <a:pos x="1455" y="807"/>
              </a:cxn>
              <a:cxn ang="0">
                <a:pos x="1527" y="807"/>
              </a:cxn>
              <a:cxn ang="0">
                <a:pos x="1645" y="749"/>
              </a:cxn>
              <a:cxn ang="0">
                <a:pos x="1717" y="767"/>
              </a:cxn>
              <a:cxn ang="0">
                <a:pos x="1769" y="742"/>
              </a:cxn>
              <a:cxn ang="0">
                <a:pos x="1810" y="749"/>
              </a:cxn>
              <a:cxn ang="0">
                <a:pos x="1810" y="836"/>
              </a:cxn>
              <a:cxn ang="0">
                <a:pos x="1894" y="855"/>
              </a:cxn>
              <a:cxn ang="0">
                <a:pos x="1911" y="825"/>
              </a:cxn>
              <a:cxn ang="0">
                <a:pos x="1983" y="851"/>
              </a:cxn>
              <a:cxn ang="0">
                <a:pos x="2033" y="903"/>
              </a:cxn>
              <a:cxn ang="0">
                <a:pos x="2050" y="831"/>
              </a:cxn>
              <a:cxn ang="0">
                <a:pos x="2111" y="812"/>
              </a:cxn>
            </a:cxnLst>
            <a:rect l="0" t="0" r="r" b="b"/>
            <a:pathLst>
              <a:path w="2111" h="903">
                <a:moveTo>
                  <a:pt x="2111" y="812"/>
                </a:moveTo>
                <a:lnTo>
                  <a:pt x="2093" y="659"/>
                </a:lnTo>
                <a:lnTo>
                  <a:pt x="1983" y="441"/>
                </a:lnTo>
                <a:lnTo>
                  <a:pt x="1879" y="430"/>
                </a:lnTo>
                <a:lnTo>
                  <a:pt x="1849" y="500"/>
                </a:lnTo>
                <a:lnTo>
                  <a:pt x="1727" y="494"/>
                </a:lnTo>
                <a:lnTo>
                  <a:pt x="1662" y="414"/>
                </a:lnTo>
                <a:lnTo>
                  <a:pt x="1475" y="397"/>
                </a:lnTo>
                <a:lnTo>
                  <a:pt x="1235" y="327"/>
                </a:lnTo>
                <a:lnTo>
                  <a:pt x="1167" y="191"/>
                </a:lnTo>
                <a:lnTo>
                  <a:pt x="1203" y="170"/>
                </a:lnTo>
                <a:lnTo>
                  <a:pt x="1217" y="96"/>
                </a:lnTo>
                <a:lnTo>
                  <a:pt x="1185" y="24"/>
                </a:lnTo>
                <a:lnTo>
                  <a:pt x="1064" y="5"/>
                </a:lnTo>
                <a:lnTo>
                  <a:pt x="775" y="57"/>
                </a:lnTo>
                <a:lnTo>
                  <a:pt x="684" y="104"/>
                </a:lnTo>
                <a:lnTo>
                  <a:pt x="554" y="32"/>
                </a:lnTo>
                <a:lnTo>
                  <a:pt x="403" y="43"/>
                </a:lnTo>
                <a:lnTo>
                  <a:pt x="288" y="0"/>
                </a:lnTo>
                <a:lnTo>
                  <a:pt x="173" y="91"/>
                </a:lnTo>
                <a:lnTo>
                  <a:pt x="91" y="83"/>
                </a:lnTo>
                <a:lnTo>
                  <a:pt x="88" y="157"/>
                </a:lnTo>
                <a:lnTo>
                  <a:pt x="115" y="240"/>
                </a:lnTo>
                <a:lnTo>
                  <a:pt x="82" y="264"/>
                </a:lnTo>
                <a:lnTo>
                  <a:pt x="34" y="211"/>
                </a:lnTo>
                <a:lnTo>
                  <a:pt x="0" y="245"/>
                </a:lnTo>
                <a:lnTo>
                  <a:pt x="24" y="303"/>
                </a:lnTo>
                <a:lnTo>
                  <a:pt x="22" y="381"/>
                </a:lnTo>
                <a:lnTo>
                  <a:pt x="93" y="414"/>
                </a:lnTo>
                <a:lnTo>
                  <a:pt x="159" y="484"/>
                </a:lnTo>
                <a:lnTo>
                  <a:pt x="235" y="499"/>
                </a:lnTo>
                <a:lnTo>
                  <a:pt x="270" y="528"/>
                </a:lnTo>
                <a:lnTo>
                  <a:pt x="292" y="513"/>
                </a:lnTo>
                <a:lnTo>
                  <a:pt x="448" y="616"/>
                </a:lnTo>
                <a:lnTo>
                  <a:pt x="470" y="671"/>
                </a:lnTo>
                <a:lnTo>
                  <a:pt x="514" y="646"/>
                </a:lnTo>
                <a:lnTo>
                  <a:pt x="523" y="712"/>
                </a:lnTo>
                <a:lnTo>
                  <a:pt x="621" y="730"/>
                </a:lnTo>
                <a:lnTo>
                  <a:pt x="696" y="807"/>
                </a:lnTo>
                <a:lnTo>
                  <a:pt x="788" y="799"/>
                </a:lnTo>
                <a:lnTo>
                  <a:pt x="839" y="836"/>
                </a:lnTo>
                <a:lnTo>
                  <a:pt x="976" y="836"/>
                </a:lnTo>
                <a:lnTo>
                  <a:pt x="1011" y="881"/>
                </a:lnTo>
                <a:lnTo>
                  <a:pt x="1108" y="814"/>
                </a:lnTo>
                <a:lnTo>
                  <a:pt x="1207" y="814"/>
                </a:lnTo>
                <a:lnTo>
                  <a:pt x="1278" y="841"/>
                </a:lnTo>
                <a:lnTo>
                  <a:pt x="1308" y="873"/>
                </a:lnTo>
                <a:lnTo>
                  <a:pt x="1414" y="866"/>
                </a:lnTo>
                <a:lnTo>
                  <a:pt x="1455" y="807"/>
                </a:lnTo>
                <a:lnTo>
                  <a:pt x="1527" y="807"/>
                </a:lnTo>
                <a:lnTo>
                  <a:pt x="1645" y="749"/>
                </a:lnTo>
                <a:lnTo>
                  <a:pt x="1717" y="767"/>
                </a:lnTo>
                <a:lnTo>
                  <a:pt x="1769" y="742"/>
                </a:lnTo>
                <a:lnTo>
                  <a:pt x="1810" y="749"/>
                </a:lnTo>
                <a:lnTo>
                  <a:pt x="1810" y="836"/>
                </a:lnTo>
                <a:lnTo>
                  <a:pt x="1894" y="855"/>
                </a:lnTo>
                <a:lnTo>
                  <a:pt x="1911" y="825"/>
                </a:lnTo>
                <a:lnTo>
                  <a:pt x="1983" y="851"/>
                </a:lnTo>
                <a:lnTo>
                  <a:pt x="2033" y="903"/>
                </a:lnTo>
                <a:lnTo>
                  <a:pt x="2050" y="831"/>
                </a:lnTo>
                <a:lnTo>
                  <a:pt x="2111" y="812"/>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17" name="Freeform 12"/>
          <p:cNvSpPr>
            <a:spLocks/>
          </p:cNvSpPr>
          <p:nvPr/>
        </p:nvSpPr>
        <p:spPr bwMode="auto">
          <a:xfrm>
            <a:off x="5782219" y="3311150"/>
            <a:ext cx="1163556" cy="1016975"/>
          </a:xfrm>
          <a:custGeom>
            <a:avLst/>
            <a:gdLst/>
            <a:ahLst/>
            <a:cxnLst>
              <a:cxn ang="0">
                <a:pos x="76" y="356"/>
              </a:cxn>
              <a:cxn ang="0">
                <a:pos x="296" y="370"/>
              </a:cxn>
              <a:cxn ang="0">
                <a:pos x="493" y="401"/>
              </a:cxn>
              <a:cxn ang="0">
                <a:pos x="584" y="445"/>
              </a:cxn>
              <a:cxn ang="0">
                <a:pos x="756" y="478"/>
              </a:cxn>
              <a:cxn ang="0">
                <a:pos x="829" y="615"/>
              </a:cxn>
              <a:cxn ang="0">
                <a:pos x="761" y="796"/>
              </a:cxn>
              <a:cxn ang="0">
                <a:pos x="672" y="822"/>
              </a:cxn>
              <a:cxn ang="0">
                <a:pos x="818" y="840"/>
              </a:cxn>
              <a:cxn ang="0">
                <a:pos x="965" y="910"/>
              </a:cxn>
              <a:cxn ang="0">
                <a:pos x="1031" y="963"/>
              </a:cxn>
              <a:cxn ang="0">
                <a:pos x="1142" y="937"/>
              </a:cxn>
              <a:cxn ang="0">
                <a:pos x="1162" y="883"/>
              </a:cxn>
              <a:cxn ang="0">
                <a:pos x="1235" y="798"/>
              </a:cxn>
              <a:cxn ang="0">
                <a:pos x="1259" y="721"/>
              </a:cxn>
              <a:cxn ang="0">
                <a:pos x="1359" y="704"/>
              </a:cxn>
              <a:cxn ang="0">
                <a:pos x="1424" y="690"/>
              </a:cxn>
              <a:cxn ang="0">
                <a:pos x="1434" y="619"/>
              </a:cxn>
              <a:cxn ang="0">
                <a:pos x="1320" y="538"/>
              </a:cxn>
              <a:cxn ang="0">
                <a:pos x="1203" y="553"/>
              </a:cxn>
              <a:cxn ang="0">
                <a:pos x="1257" y="617"/>
              </a:cxn>
              <a:cxn ang="0">
                <a:pos x="1215" y="659"/>
              </a:cxn>
              <a:cxn ang="0">
                <a:pos x="1103" y="662"/>
              </a:cxn>
              <a:cxn ang="0">
                <a:pos x="993" y="505"/>
              </a:cxn>
              <a:cxn ang="0">
                <a:pos x="930" y="433"/>
              </a:cxn>
              <a:cxn ang="0">
                <a:pos x="985" y="357"/>
              </a:cxn>
              <a:cxn ang="0">
                <a:pos x="749" y="383"/>
              </a:cxn>
              <a:cxn ang="0">
                <a:pos x="577" y="267"/>
              </a:cxn>
              <a:cxn ang="0">
                <a:pos x="623" y="201"/>
              </a:cxn>
              <a:cxn ang="0">
                <a:pos x="424" y="219"/>
              </a:cxn>
              <a:cxn ang="0">
                <a:pos x="338" y="0"/>
              </a:cxn>
              <a:cxn ang="0">
                <a:pos x="239" y="84"/>
              </a:cxn>
              <a:cxn ang="0">
                <a:pos x="87" y="189"/>
              </a:cxn>
              <a:cxn ang="0">
                <a:pos x="6" y="342"/>
              </a:cxn>
            </a:cxnLst>
            <a:rect l="0" t="0" r="r" b="b"/>
            <a:pathLst>
              <a:path w="1435" h="965">
                <a:moveTo>
                  <a:pt x="6" y="342"/>
                </a:moveTo>
                <a:lnTo>
                  <a:pt x="76" y="356"/>
                </a:lnTo>
                <a:lnTo>
                  <a:pt x="203" y="395"/>
                </a:lnTo>
                <a:lnTo>
                  <a:pt x="296" y="370"/>
                </a:lnTo>
                <a:lnTo>
                  <a:pt x="429" y="365"/>
                </a:lnTo>
                <a:lnTo>
                  <a:pt x="493" y="401"/>
                </a:lnTo>
                <a:lnTo>
                  <a:pt x="595" y="392"/>
                </a:lnTo>
                <a:lnTo>
                  <a:pt x="584" y="445"/>
                </a:lnTo>
                <a:lnTo>
                  <a:pt x="710" y="517"/>
                </a:lnTo>
                <a:lnTo>
                  <a:pt x="756" y="478"/>
                </a:lnTo>
                <a:lnTo>
                  <a:pt x="812" y="553"/>
                </a:lnTo>
                <a:lnTo>
                  <a:pt x="829" y="615"/>
                </a:lnTo>
                <a:lnTo>
                  <a:pt x="867" y="653"/>
                </a:lnTo>
                <a:lnTo>
                  <a:pt x="761" y="796"/>
                </a:lnTo>
                <a:lnTo>
                  <a:pt x="706" y="796"/>
                </a:lnTo>
                <a:lnTo>
                  <a:pt x="672" y="822"/>
                </a:lnTo>
                <a:lnTo>
                  <a:pt x="809" y="897"/>
                </a:lnTo>
                <a:lnTo>
                  <a:pt x="818" y="840"/>
                </a:lnTo>
                <a:lnTo>
                  <a:pt x="887" y="832"/>
                </a:lnTo>
                <a:lnTo>
                  <a:pt x="965" y="910"/>
                </a:lnTo>
                <a:lnTo>
                  <a:pt x="1020" y="917"/>
                </a:lnTo>
                <a:lnTo>
                  <a:pt x="1031" y="963"/>
                </a:lnTo>
                <a:lnTo>
                  <a:pt x="1140" y="964"/>
                </a:lnTo>
                <a:lnTo>
                  <a:pt x="1142" y="937"/>
                </a:lnTo>
                <a:lnTo>
                  <a:pt x="1186" y="946"/>
                </a:lnTo>
                <a:lnTo>
                  <a:pt x="1162" y="883"/>
                </a:lnTo>
                <a:lnTo>
                  <a:pt x="1224" y="869"/>
                </a:lnTo>
                <a:lnTo>
                  <a:pt x="1235" y="798"/>
                </a:lnTo>
                <a:lnTo>
                  <a:pt x="1213" y="781"/>
                </a:lnTo>
                <a:lnTo>
                  <a:pt x="1259" y="721"/>
                </a:lnTo>
                <a:lnTo>
                  <a:pt x="1322" y="734"/>
                </a:lnTo>
                <a:lnTo>
                  <a:pt x="1359" y="704"/>
                </a:lnTo>
                <a:lnTo>
                  <a:pt x="1401" y="706"/>
                </a:lnTo>
                <a:lnTo>
                  <a:pt x="1424" y="690"/>
                </a:lnTo>
                <a:lnTo>
                  <a:pt x="1413" y="654"/>
                </a:lnTo>
                <a:lnTo>
                  <a:pt x="1434" y="619"/>
                </a:lnTo>
                <a:lnTo>
                  <a:pt x="1414" y="563"/>
                </a:lnTo>
                <a:lnTo>
                  <a:pt x="1320" y="538"/>
                </a:lnTo>
                <a:lnTo>
                  <a:pt x="1235" y="525"/>
                </a:lnTo>
                <a:lnTo>
                  <a:pt x="1203" y="553"/>
                </a:lnTo>
                <a:lnTo>
                  <a:pt x="1198" y="610"/>
                </a:lnTo>
                <a:lnTo>
                  <a:pt x="1257" y="617"/>
                </a:lnTo>
                <a:lnTo>
                  <a:pt x="1257" y="655"/>
                </a:lnTo>
                <a:lnTo>
                  <a:pt x="1215" y="659"/>
                </a:lnTo>
                <a:lnTo>
                  <a:pt x="1210" y="690"/>
                </a:lnTo>
                <a:lnTo>
                  <a:pt x="1103" y="662"/>
                </a:lnTo>
                <a:lnTo>
                  <a:pt x="1105" y="571"/>
                </a:lnTo>
                <a:lnTo>
                  <a:pt x="993" y="505"/>
                </a:lnTo>
                <a:lnTo>
                  <a:pt x="933" y="498"/>
                </a:lnTo>
                <a:lnTo>
                  <a:pt x="930" y="433"/>
                </a:lnTo>
                <a:lnTo>
                  <a:pt x="975" y="414"/>
                </a:lnTo>
                <a:lnTo>
                  <a:pt x="985" y="357"/>
                </a:lnTo>
                <a:lnTo>
                  <a:pt x="914" y="326"/>
                </a:lnTo>
                <a:lnTo>
                  <a:pt x="749" y="383"/>
                </a:lnTo>
                <a:lnTo>
                  <a:pt x="666" y="323"/>
                </a:lnTo>
                <a:lnTo>
                  <a:pt x="577" y="267"/>
                </a:lnTo>
                <a:lnTo>
                  <a:pt x="636" y="251"/>
                </a:lnTo>
                <a:lnTo>
                  <a:pt x="623" y="201"/>
                </a:lnTo>
                <a:lnTo>
                  <a:pt x="469" y="178"/>
                </a:lnTo>
                <a:lnTo>
                  <a:pt x="424" y="219"/>
                </a:lnTo>
                <a:lnTo>
                  <a:pt x="358" y="130"/>
                </a:lnTo>
                <a:lnTo>
                  <a:pt x="338" y="0"/>
                </a:lnTo>
                <a:lnTo>
                  <a:pt x="275" y="24"/>
                </a:lnTo>
                <a:lnTo>
                  <a:pt x="239" y="84"/>
                </a:lnTo>
                <a:lnTo>
                  <a:pt x="132" y="118"/>
                </a:lnTo>
                <a:lnTo>
                  <a:pt x="87" y="189"/>
                </a:lnTo>
                <a:lnTo>
                  <a:pt x="0" y="212"/>
                </a:lnTo>
                <a:lnTo>
                  <a:pt x="6" y="342"/>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18" name="Freeform 13"/>
          <p:cNvSpPr>
            <a:spLocks/>
          </p:cNvSpPr>
          <p:nvPr/>
        </p:nvSpPr>
        <p:spPr bwMode="auto">
          <a:xfrm>
            <a:off x="5423164" y="3647429"/>
            <a:ext cx="1062550" cy="787222"/>
          </a:xfrm>
          <a:custGeom>
            <a:avLst/>
            <a:gdLst/>
            <a:ahLst/>
            <a:cxnLst>
              <a:cxn ang="0">
                <a:pos x="23" y="260"/>
              </a:cxn>
              <a:cxn ang="0">
                <a:pos x="176" y="298"/>
              </a:cxn>
              <a:cxn ang="0">
                <a:pos x="155" y="236"/>
              </a:cxn>
              <a:cxn ang="0">
                <a:pos x="198" y="206"/>
              </a:cxn>
              <a:cxn ang="0">
                <a:pos x="144" y="148"/>
              </a:cxn>
              <a:cxn ang="0">
                <a:pos x="164" y="69"/>
              </a:cxn>
              <a:cxn ang="0">
                <a:pos x="465" y="0"/>
              </a:cxn>
              <a:cxn ang="0">
                <a:pos x="530" y="4"/>
              </a:cxn>
              <a:cxn ang="0">
                <a:pos x="662" y="60"/>
              </a:cxn>
              <a:cxn ang="0">
                <a:pos x="754" y="32"/>
              </a:cxn>
              <a:cxn ang="0">
                <a:pos x="894" y="27"/>
              </a:cxn>
              <a:cxn ang="0">
                <a:pos x="956" y="64"/>
              </a:cxn>
              <a:cxn ang="0">
                <a:pos x="1054" y="57"/>
              </a:cxn>
              <a:cxn ang="0">
                <a:pos x="1043" y="108"/>
              </a:cxn>
              <a:cxn ang="0">
                <a:pos x="1175" y="177"/>
              </a:cxn>
              <a:cxn ang="0">
                <a:pos x="1217" y="138"/>
              </a:cxn>
              <a:cxn ang="0">
                <a:pos x="1272" y="211"/>
              </a:cxn>
              <a:cxn ang="0">
                <a:pos x="1289" y="279"/>
              </a:cxn>
              <a:cxn ang="0">
                <a:pos x="1329" y="317"/>
              </a:cxn>
              <a:cxn ang="0">
                <a:pos x="1225" y="461"/>
              </a:cxn>
              <a:cxn ang="0">
                <a:pos x="1168" y="459"/>
              </a:cxn>
              <a:cxn ang="0">
                <a:pos x="1138" y="489"/>
              </a:cxn>
              <a:cxn ang="0">
                <a:pos x="1273" y="559"/>
              </a:cxn>
              <a:cxn ang="0">
                <a:pos x="1270" y="593"/>
              </a:cxn>
              <a:cxn ang="0">
                <a:pos x="1174" y="597"/>
              </a:cxn>
              <a:cxn ang="0">
                <a:pos x="1151" y="647"/>
              </a:cxn>
              <a:cxn ang="0">
                <a:pos x="1098" y="648"/>
              </a:cxn>
              <a:cxn ang="0">
                <a:pos x="1050" y="603"/>
              </a:cxn>
              <a:cxn ang="0">
                <a:pos x="821" y="608"/>
              </a:cxn>
              <a:cxn ang="0">
                <a:pos x="782" y="679"/>
              </a:cxn>
              <a:cxn ang="0">
                <a:pos x="734" y="679"/>
              </a:cxn>
              <a:cxn ang="0">
                <a:pos x="694" y="742"/>
              </a:cxn>
              <a:cxn ang="0">
                <a:pos x="574" y="745"/>
              </a:cxn>
              <a:cxn ang="0">
                <a:pos x="496" y="655"/>
              </a:cxn>
              <a:cxn ang="0">
                <a:pos x="322" y="642"/>
              </a:cxn>
              <a:cxn ang="0">
                <a:pos x="71" y="572"/>
              </a:cxn>
              <a:cxn ang="0">
                <a:pos x="0" y="429"/>
              </a:cxn>
              <a:cxn ang="0">
                <a:pos x="43" y="401"/>
              </a:cxn>
              <a:cxn ang="0">
                <a:pos x="53" y="331"/>
              </a:cxn>
              <a:cxn ang="0">
                <a:pos x="23" y="260"/>
              </a:cxn>
            </a:cxnLst>
            <a:rect l="0" t="0" r="r" b="b"/>
            <a:pathLst>
              <a:path w="1330" h="746">
                <a:moveTo>
                  <a:pt x="23" y="260"/>
                </a:moveTo>
                <a:lnTo>
                  <a:pt x="176" y="298"/>
                </a:lnTo>
                <a:lnTo>
                  <a:pt x="155" y="236"/>
                </a:lnTo>
                <a:lnTo>
                  <a:pt x="198" y="206"/>
                </a:lnTo>
                <a:lnTo>
                  <a:pt x="144" y="148"/>
                </a:lnTo>
                <a:lnTo>
                  <a:pt x="164" y="69"/>
                </a:lnTo>
                <a:lnTo>
                  <a:pt x="465" y="0"/>
                </a:lnTo>
                <a:lnTo>
                  <a:pt x="530" y="4"/>
                </a:lnTo>
                <a:lnTo>
                  <a:pt x="662" y="60"/>
                </a:lnTo>
                <a:lnTo>
                  <a:pt x="754" y="32"/>
                </a:lnTo>
                <a:lnTo>
                  <a:pt x="894" y="27"/>
                </a:lnTo>
                <a:lnTo>
                  <a:pt x="956" y="64"/>
                </a:lnTo>
                <a:lnTo>
                  <a:pt x="1054" y="57"/>
                </a:lnTo>
                <a:lnTo>
                  <a:pt x="1043" y="108"/>
                </a:lnTo>
                <a:lnTo>
                  <a:pt x="1175" y="177"/>
                </a:lnTo>
                <a:lnTo>
                  <a:pt x="1217" y="138"/>
                </a:lnTo>
                <a:lnTo>
                  <a:pt x="1272" y="211"/>
                </a:lnTo>
                <a:lnTo>
                  <a:pt x="1289" y="279"/>
                </a:lnTo>
                <a:lnTo>
                  <a:pt x="1329" y="317"/>
                </a:lnTo>
                <a:lnTo>
                  <a:pt x="1225" y="461"/>
                </a:lnTo>
                <a:lnTo>
                  <a:pt x="1168" y="459"/>
                </a:lnTo>
                <a:lnTo>
                  <a:pt x="1138" y="489"/>
                </a:lnTo>
                <a:lnTo>
                  <a:pt x="1273" y="559"/>
                </a:lnTo>
                <a:lnTo>
                  <a:pt x="1270" y="593"/>
                </a:lnTo>
                <a:lnTo>
                  <a:pt x="1174" y="597"/>
                </a:lnTo>
                <a:lnTo>
                  <a:pt x="1151" y="647"/>
                </a:lnTo>
                <a:lnTo>
                  <a:pt x="1098" y="648"/>
                </a:lnTo>
                <a:lnTo>
                  <a:pt x="1050" y="603"/>
                </a:lnTo>
                <a:lnTo>
                  <a:pt x="821" y="608"/>
                </a:lnTo>
                <a:lnTo>
                  <a:pt x="782" y="679"/>
                </a:lnTo>
                <a:lnTo>
                  <a:pt x="734" y="679"/>
                </a:lnTo>
                <a:lnTo>
                  <a:pt x="694" y="742"/>
                </a:lnTo>
                <a:lnTo>
                  <a:pt x="574" y="745"/>
                </a:lnTo>
                <a:lnTo>
                  <a:pt x="496" y="655"/>
                </a:lnTo>
                <a:lnTo>
                  <a:pt x="322" y="642"/>
                </a:lnTo>
                <a:lnTo>
                  <a:pt x="71" y="572"/>
                </a:lnTo>
                <a:lnTo>
                  <a:pt x="0" y="429"/>
                </a:lnTo>
                <a:lnTo>
                  <a:pt x="43" y="401"/>
                </a:lnTo>
                <a:lnTo>
                  <a:pt x="53" y="331"/>
                </a:lnTo>
                <a:lnTo>
                  <a:pt x="23" y="260"/>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19" name="Freeform 14"/>
          <p:cNvSpPr>
            <a:spLocks/>
          </p:cNvSpPr>
          <p:nvPr/>
        </p:nvSpPr>
        <p:spPr bwMode="auto">
          <a:xfrm>
            <a:off x="6038569" y="4173351"/>
            <a:ext cx="1060129" cy="845536"/>
          </a:xfrm>
          <a:custGeom>
            <a:avLst/>
            <a:gdLst/>
            <a:ahLst/>
            <a:cxnLst>
              <a:cxn ang="0">
                <a:pos x="0" y="180"/>
              </a:cxn>
              <a:cxn ang="0">
                <a:pos x="27" y="103"/>
              </a:cxn>
              <a:cxn ang="0">
                <a:pos x="267" y="105"/>
              </a:cxn>
              <a:cxn ang="0">
                <a:pos x="310" y="148"/>
              </a:cxn>
              <a:cxn ang="0">
                <a:pos x="366" y="151"/>
              </a:cxn>
              <a:cxn ang="0">
                <a:pos x="391" y="99"/>
              </a:cxn>
              <a:cxn ang="0">
                <a:pos x="483" y="96"/>
              </a:cxn>
              <a:cxn ang="0">
                <a:pos x="491" y="7"/>
              </a:cxn>
              <a:cxn ang="0">
                <a:pos x="570" y="0"/>
              </a:cxn>
              <a:cxn ang="0">
                <a:pos x="642" y="79"/>
              </a:cxn>
              <a:cxn ang="0">
                <a:pos x="702" y="86"/>
              </a:cxn>
              <a:cxn ang="0">
                <a:pos x="710" y="131"/>
              </a:cxn>
              <a:cxn ang="0">
                <a:pos x="815" y="133"/>
              </a:cxn>
              <a:cxn ang="0">
                <a:pos x="822" y="107"/>
              </a:cxn>
              <a:cxn ang="0">
                <a:pos x="857" y="115"/>
              </a:cxn>
              <a:cxn ang="0">
                <a:pos x="974" y="131"/>
              </a:cxn>
              <a:cxn ang="0">
                <a:pos x="1039" y="158"/>
              </a:cxn>
              <a:cxn ang="0">
                <a:pos x="1112" y="148"/>
              </a:cxn>
              <a:cxn ang="0">
                <a:pos x="1169" y="179"/>
              </a:cxn>
              <a:cxn ang="0">
                <a:pos x="1239" y="187"/>
              </a:cxn>
              <a:cxn ang="0">
                <a:pos x="1272" y="210"/>
              </a:cxn>
              <a:cxn ang="0">
                <a:pos x="1265" y="279"/>
              </a:cxn>
              <a:cxn ang="0">
                <a:pos x="1146" y="313"/>
              </a:cxn>
              <a:cxn ang="0">
                <a:pos x="1154" y="396"/>
              </a:cxn>
              <a:cxn ang="0">
                <a:pos x="1229" y="432"/>
              </a:cxn>
              <a:cxn ang="0">
                <a:pos x="1224" y="538"/>
              </a:cxn>
              <a:cxn ang="0">
                <a:pos x="1165" y="538"/>
              </a:cxn>
              <a:cxn ang="0">
                <a:pos x="1121" y="474"/>
              </a:cxn>
              <a:cxn ang="0">
                <a:pos x="1045" y="471"/>
              </a:cxn>
              <a:cxn ang="0">
                <a:pos x="963" y="539"/>
              </a:cxn>
              <a:cxn ang="0">
                <a:pos x="908" y="526"/>
              </a:cxn>
              <a:cxn ang="0">
                <a:pos x="865" y="550"/>
              </a:cxn>
              <a:cxn ang="0">
                <a:pos x="906" y="591"/>
              </a:cxn>
              <a:cxn ang="0">
                <a:pos x="908" y="628"/>
              </a:cxn>
              <a:cxn ang="0">
                <a:pos x="820" y="620"/>
              </a:cxn>
              <a:cxn ang="0">
                <a:pos x="826" y="594"/>
              </a:cxn>
              <a:cxn ang="0">
                <a:pos x="745" y="596"/>
              </a:cxn>
              <a:cxn ang="0">
                <a:pos x="721" y="550"/>
              </a:cxn>
              <a:cxn ang="0">
                <a:pos x="676" y="547"/>
              </a:cxn>
              <a:cxn ang="0">
                <a:pos x="640" y="572"/>
              </a:cxn>
              <a:cxn ang="0">
                <a:pos x="647" y="623"/>
              </a:cxn>
              <a:cxn ang="0">
                <a:pos x="571" y="677"/>
              </a:cxn>
              <a:cxn ang="0">
                <a:pos x="575" y="754"/>
              </a:cxn>
              <a:cxn ang="0">
                <a:pos x="442" y="801"/>
              </a:cxn>
              <a:cxn ang="0">
                <a:pos x="342" y="638"/>
              </a:cxn>
              <a:cxn ang="0">
                <a:pos x="203" y="550"/>
              </a:cxn>
              <a:cxn ang="0">
                <a:pos x="171" y="552"/>
              </a:cxn>
              <a:cxn ang="0">
                <a:pos x="144" y="401"/>
              </a:cxn>
              <a:cxn ang="0">
                <a:pos x="44" y="185"/>
              </a:cxn>
              <a:cxn ang="0">
                <a:pos x="0" y="180"/>
              </a:cxn>
            </a:cxnLst>
            <a:rect l="0" t="0" r="r" b="b"/>
            <a:pathLst>
              <a:path w="1273" h="802">
                <a:moveTo>
                  <a:pt x="0" y="180"/>
                </a:moveTo>
                <a:lnTo>
                  <a:pt x="27" y="103"/>
                </a:lnTo>
                <a:lnTo>
                  <a:pt x="267" y="105"/>
                </a:lnTo>
                <a:lnTo>
                  <a:pt x="310" y="148"/>
                </a:lnTo>
                <a:lnTo>
                  <a:pt x="366" y="151"/>
                </a:lnTo>
                <a:lnTo>
                  <a:pt x="391" y="99"/>
                </a:lnTo>
                <a:lnTo>
                  <a:pt x="483" y="96"/>
                </a:lnTo>
                <a:lnTo>
                  <a:pt x="491" y="7"/>
                </a:lnTo>
                <a:lnTo>
                  <a:pt x="570" y="0"/>
                </a:lnTo>
                <a:lnTo>
                  <a:pt x="642" y="79"/>
                </a:lnTo>
                <a:lnTo>
                  <a:pt x="702" y="86"/>
                </a:lnTo>
                <a:lnTo>
                  <a:pt x="710" y="131"/>
                </a:lnTo>
                <a:lnTo>
                  <a:pt x="815" y="133"/>
                </a:lnTo>
                <a:lnTo>
                  <a:pt x="822" y="107"/>
                </a:lnTo>
                <a:lnTo>
                  <a:pt x="857" y="115"/>
                </a:lnTo>
                <a:lnTo>
                  <a:pt x="974" y="131"/>
                </a:lnTo>
                <a:lnTo>
                  <a:pt x="1039" y="158"/>
                </a:lnTo>
                <a:lnTo>
                  <a:pt x="1112" y="148"/>
                </a:lnTo>
                <a:lnTo>
                  <a:pt x="1169" y="179"/>
                </a:lnTo>
                <a:lnTo>
                  <a:pt x="1239" y="187"/>
                </a:lnTo>
                <a:lnTo>
                  <a:pt x="1272" y="210"/>
                </a:lnTo>
                <a:lnTo>
                  <a:pt x="1265" y="279"/>
                </a:lnTo>
                <a:lnTo>
                  <a:pt x="1146" y="313"/>
                </a:lnTo>
                <a:lnTo>
                  <a:pt x="1154" y="396"/>
                </a:lnTo>
                <a:lnTo>
                  <a:pt x="1229" y="432"/>
                </a:lnTo>
                <a:lnTo>
                  <a:pt x="1224" y="538"/>
                </a:lnTo>
                <a:lnTo>
                  <a:pt x="1165" y="538"/>
                </a:lnTo>
                <a:lnTo>
                  <a:pt x="1121" y="474"/>
                </a:lnTo>
                <a:lnTo>
                  <a:pt x="1045" y="471"/>
                </a:lnTo>
                <a:lnTo>
                  <a:pt x="963" y="539"/>
                </a:lnTo>
                <a:lnTo>
                  <a:pt x="908" y="526"/>
                </a:lnTo>
                <a:lnTo>
                  <a:pt x="865" y="550"/>
                </a:lnTo>
                <a:lnTo>
                  <a:pt x="906" y="591"/>
                </a:lnTo>
                <a:lnTo>
                  <a:pt x="908" y="628"/>
                </a:lnTo>
                <a:lnTo>
                  <a:pt x="820" y="620"/>
                </a:lnTo>
                <a:lnTo>
                  <a:pt x="826" y="594"/>
                </a:lnTo>
                <a:lnTo>
                  <a:pt x="745" y="596"/>
                </a:lnTo>
                <a:lnTo>
                  <a:pt x="721" y="550"/>
                </a:lnTo>
                <a:lnTo>
                  <a:pt x="676" y="547"/>
                </a:lnTo>
                <a:lnTo>
                  <a:pt x="640" y="572"/>
                </a:lnTo>
                <a:lnTo>
                  <a:pt x="647" y="623"/>
                </a:lnTo>
                <a:lnTo>
                  <a:pt x="571" y="677"/>
                </a:lnTo>
                <a:lnTo>
                  <a:pt x="575" y="754"/>
                </a:lnTo>
                <a:lnTo>
                  <a:pt x="442" y="801"/>
                </a:lnTo>
                <a:lnTo>
                  <a:pt x="342" y="638"/>
                </a:lnTo>
                <a:lnTo>
                  <a:pt x="203" y="550"/>
                </a:lnTo>
                <a:lnTo>
                  <a:pt x="171" y="552"/>
                </a:lnTo>
                <a:lnTo>
                  <a:pt x="144" y="401"/>
                </a:lnTo>
                <a:lnTo>
                  <a:pt x="44" y="185"/>
                </a:lnTo>
                <a:lnTo>
                  <a:pt x="0" y="180"/>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20" name="Freeform 15"/>
          <p:cNvSpPr>
            <a:spLocks/>
          </p:cNvSpPr>
          <p:nvPr/>
        </p:nvSpPr>
        <p:spPr bwMode="auto">
          <a:xfrm>
            <a:off x="6047237" y="4744816"/>
            <a:ext cx="767576" cy="810548"/>
          </a:xfrm>
          <a:custGeom>
            <a:avLst/>
            <a:gdLst/>
            <a:ahLst/>
            <a:cxnLst>
              <a:cxn ang="0">
                <a:pos x="106" y="107"/>
              </a:cxn>
              <a:cxn ang="0">
                <a:pos x="134" y="296"/>
              </a:cxn>
              <a:cxn ang="0">
                <a:pos x="57" y="338"/>
              </a:cxn>
              <a:cxn ang="0">
                <a:pos x="0" y="399"/>
              </a:cxn>
              <a:cxn ang="0">
                <a:pos x="23" y="482"/>
              </a:cxn>
              <a:cxn ang="0">
                <a:pos x="140" y="487"/>
              </a:cxn>
              <a:cxn ang="0">
                <a:pos x="158" y="563"/>
              </a:cxn>
              <a:cxn ang="0">
                <a:pos x="224" y="574"/>
              </a:cxn>
              <a:cxn ang="0">
                <a:pos x="201" y="659"/>
              </a:cxn>
              <a:cxn ang="0">
                <a:pos x="267" y="692"/>
              </a:cxn>
              <a:cxn ang="0">
                <a:pos x="307" y="733"/>
              </a:cxn>
              <a:cxn ang="0">
                <a:pos x="397" y="717"/>
              </a:cxn>
              <a:cxn ang="0">
                <a:pos x="417" y="767"/>
              </a:cxn>
              <a:cxn ang="0">
                <a:pos x="493" y="768"/>
              </a:cxn>
              <a:cxn ang="0">
                <a:pos x="482" y="644"/>
              </a:cxn>
              <a:cxn ang="0">
                <a:pos x="538" y="640"/>
              </a:cxn>
              <a:cxn ang="0">
                <a:pos x="563" y="614"/>
              </a:cxn>
              <a:cxn ang="0">
                <a:pos x="634" y="629"/>
              </a:cxn>
              <a:cxn ang="0">
                <a:pos x="735" y="610"/>
              </a:cxn>
              <a:cxn ang="0">
                <a:pos x="798" y="592"/>
              </a:cxn>
              <a:cxn ang="0">
                <a:pos x="831" y="548"/>
              </a:cxn>
              <a:cxn ang="0">
                <a:pos x="911" y="533"/>
              </a:cxn>
              <a:cxn ang="0">
                <a:pos x="911" y="503"/>
              </a:cxn>
              <a:cxn ang="0">
                <a:pos x="960" y="504"/>
              </a:cxn>
              <a:cxn ang="0">
                <a:pos x="939" y="443"/>
              </a:cxn>
              <a:cxn ang="0">
                <a:pos x="860" y="445"/>
              </a:cxn>
              <a:cxn ang="0">
                <a:pos x="780" y="423"/>
              </a:cxn>
              <a:cxn ang="0">
                <a:pos x="772" y="382"/>
              </a:cxn>
              <a:cxn ang="0">
                <a:pos x="776" y="328"/>
              </a:cxn>
              <a:cxn ang="0">
                <a:pos x="749" y="289"/>
              </a:cxn>
              <a:cxn ang="0">
                <a:pos x="754" y="211"/>
              </a:cxn>
              <a:cxn ang="0">
                <a:pos x="662" y="204"/>
              </a:cxn>
              <a:cxn ang="0">
                <a:pos x="660" y="149"/>
              </a:cxn>
              <a:cxn ang="0">
                <a:pos x="753" y="137"/>
              </a:cxn>
              <a:cxn ang="0">
                <a:pos x="753" y="50"/>
              </a:cxn>
              <a:cxn ang="0">
                <a:pos x="730" y="11"/>
              </a:cxn>
              <a:cxn ang="0">
                <a:pos x="680" y="0"/>
              </a:cxn>
              <a:cxn ang="0">
                <a:pos x="649" y="28"/>
              </a:cxn>
              <a:cxn ang="0">
                <a:pos x="651" y="77"/>
              </a:cxn>
              <a:cxn ang="0">
                <a:pos x="581" y="134"/>
              </a:cxn>
              <a:cxn ang="0">
                <a:pos x="574" y="215"/>
              </a:cxn>
              <a:cxn ang="0">
                <a:pos x="453" y="259"/>
              </a:cxn>
              <a:cxn ang="0">
                <a:pos x="350" y="94"/>
              </a:cxn>
              <a:cxn ang="0">
                <a:pos x="224" y="4"/>
              </a:cxn>
              <a:cxn ang="0">
                <a:pos x="179" y="2"/>
              </a:cxn>
              <a:cxn ang="0">
                <a:pos x="116" y="26"/>
              </a:cxn>
              <a:cxn ang="0">
                <a:pos x="115" y="29"/>
              </a:cxn>
              <a:cxn ang="0">
                <a:pos x="115" y="38"/>
              </a:cxn>
              <a:cxn ang="0">
                <a:pos x="112" y="51"/>
              </a:cxn>
              <a:cxn ang="0">
                <a:pos x="110" y="66"/>
              </a:cxn>
              <a:cxn ang="0">
                <a:pos x="108" y="81"/>
              </a:cxn>
              <a:cxn ang="0">
                <a:pos x="107" y="94"/>
              </a:cxn>
              <a:cxn ang="0">
                <a:pos x="106" y="103"/>
              </a:cxn>
              <a:cxn ang="0">
                <a:pos x="106" y="107"/>
              </a:cxn>
            </a:cxnLst>
            <a:rect l="0" t="0" r="r" b="b"/>
            <a:pathLst>
              <a:path w="961" h="769">
                <a:moveTo>
                  <a:pt x="106" y="107"/>
                </a:moveTo>
                <a:lnTo>
                  <a:pt x="134" y="296"/>
                </a:lnTo>
                <a:lnTo>
                  <a:pt x="57" y="338"/>
                </a:lnTo>
                <a:lnTo>
                  <a:pt x="0" y="399"/>
                </a:lnTo>
                <a:lnTo>
                  <a:pt x="23" y="482"/>
                </a:lnTo>
                <a:lnTo>
                  <a:pt x="140" y="487"/>
                </a:lnTo>
                <a:lnTo>
                  <a:pt x="158" y="563"/>
                </a:lnTo>
                <a:lnTo>
                  <a:pt x="224" y="574"/>
                </a:lnTo>
                <a:lnTo>
                  <a:pt x="201" y="659"/>
                </a:lnTo>
                <a:lnTo>
                  <a:pt x="267" y="692"/>
                </a:lnTo>
                <a:lnTo>
                  <a:pt x="307" y="733"/>
                </a:lnTo>
                <a:lnTo>
                  <a:pt x="397" y="717"/>
                </a:lnTo>
                <a:lnTo>
                  <a:pt x="417" y="767"/>
                </a:lnTo>
                <a:lnTo>
                  <a:pt x="493" y="768"/>
                </a:lnTo>
                <a:lnTo>
                  <a:pt x="482" y="644"/>
                </a:lnTo>
                <a:lnTo>
                  <a:pt x="538" y="640"/>
                </a:lnTo>
                <a:lnTo>
                  <a:pt x="563" y="614"/>
                </a:lnTo>
                <a:lnTo>
                  <a:pt x="634" y="629"/>
                </a:lnTo>
                <a:lnTo>
                  <a:pt x="735" y="610"/>
                </a:lnTo>
                <a:lnTo>
                  <a:pt x="798" y="592"/>
                </a:lnTo>
                <a:lnTo>
                  <a:pt x="831" y="548"/>
                </a:lnTo>
                <a:lnTo>
                  <a:pt x="911" y="533"/>
                </a:lnTo>
                <a:lnTo>
                  <a:pt x="911" y="503"/>
                </a:lnTo>
                <a:lnTo>
                  <a:pt x="960" y="504"/>
                </a:lnTo>
                <a:lnTo>
                  <a:pt x="939" y="443"/>
                </a:lnTo>
                <a:lnTo>
                  <a:pt x="860" y="445"/>
                </a:lnTo>
                <a:lnTo>
                  <a:pt x="780" y="423"/>
                </a:lnTo>
                <a:lnTo>
                  <a:pt x="772" y="382"/>
                </a:lnTo>
                <a:lnTo>
                  <a:pt x="776" y="328"/>
                </a:lnTo>
                <a:lnTo>
                  <a:pt x="749" y="289"/>
                </a:lnTo>
                <a:lnTo>
                  <a:pt x="754" y="211"/>
                </a:lnTo>
                <a:lnTo>
                  <a:pt x="662" y="204"/>
                </a:lnTo>
                <a:lnTo>
                  <a:pt x="660" y="149"/>
                </a:lnTo>
                <a:lnTo>
                  <a:pt x="753" y="137"/>
                </a:lnTo>
                <a:lnTo>
                  <a:pt x="753" y="50"/>
                </a:lnTo>
                <a:lnTo>
                  <a:pt x="730" y="11"/>
                </a:lnTo>
                <a:lnTo>
                  <a:pt x="680" y="0"/>
                </a:lnTo>
                <a:lnTo>
                  <a:pt x="649" y="28"/>
                </a:lnTo>
                <a:lnTo>
                  <a:pt x="651" y="77"/>
                </a:lnTo>
                <a:lnTo>
                  <a:pt x="581" y="134"/>
                </a:lnTo>
                <a:lnTo>
                  <a:pt x="574" y="215"/>
                </a:lnTo>
                <a:lnTo>
                  <a:pt x="453" y="259"/>
                </a:lnTo>
                <a:lnTo>
                  <a:pt x="350" y="94"/>
                </a:lnTo>
                <a:lnTo>
                  <a:pt x="224" y="4"/>
                </a:lnTo>
                <a:lnTo>
                  <a:pt x="179" y="2"/>
                </a:lnTo>
                <a:lnTo>
                  <a:pt x="116" y="26"/>
                </a:lnTo>
                <a:lnTo>
                  <a:pt x="115" y="29"/>
                </a:lnTo>
                <a:lnTo>
                  <a:pt x="115" y="38"/>
                </a:lnTo>
                <a:lnTo>
                  <a:pt x="112" y="51"/>
                </a:lnTo>
                <a:lnTo>
                  <a:pt x="110" y="66"/>
                </a:lnTo>
                <a:lnTo>
                  <a:pt x="108" y="81"/>
                </a:lnTo>
                <a:lnTo>
                  <a:pt x="107" y="94"/>
                </a:lnTo>
                <a:lnTo>
                  <a:pt x="106" y="103"/>
                </a:lnTo>
                <a:lnTo>
                  <a:pt x="106" y="107"/>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21" name="Freeform 16"/>
          <p:cNvSpPr>
            <a:spLocks noChangeAspect="1"/>
          </p:cNvSpPr>
          <p:nvPr/>
        </p:nvSpPr>
        <p:spPr bwMode="auto">
          <a:xfrm>
            <a:off x="6600542" y="3614260"/>
            <a:ext cx="258568" cy="435736"/>
          </a:xfrm>
          <a:custGeom>
            <a:avLst/>
            <a:gdLst/>
            <a:ahLst/>
            <a:cxnLst>
              <a:cxn ang="0">
                <a:pos x="0" y="216"/>
              </a:cxn>
              <a:cxn ang="0">
                <a:pos x="59" y="214"/>
              </a:cxn>
              <a:cxn ang="0">
                <a:pos x="124" y="95"/>
              </a:cxn>
              <a:cxn ang="0">
                <a:pos x="148" y="10"/>
              </a:cxn>
              <a:cxn ang="0">
                <a:pos x="224" y="0"/>
              </a:cxn>
              <a:cxn ang="0">
                <a:pos x="236" y="76"/>
              </a:cxn>
              <a:cxn ang="0">
                <a:pos x="227" y="129"/>
              </a:cxn>
              <a:cxn ang="0">
                <a:pos x="360" y="166"/>
              </a:cxn>
              <a:cxn ang="0">
                <a:pos x="320" y="249"/>
              </a:cxn>
              <a:cxn ang="0">
                <a:pos x="242" y="234"/>
              </a:cxn>
              <a:cxn ang="0">
                <a:pos x="214" y="261"/>
              </a:cxn>
              <a:cxn ang="0">
                <a:pos x="216" y="314"/>
              </a:cxn>
              <a:cxn ang="0">
                <a:pos x="263" y="323"/>
              </a:cxn>
              <a:cxn ang="0">
                <a:pos x="264" y="365"/>
              </a:cxn>
              <a:cxn ang="0">
                <a:pos x="220" y="370"/>
              </a:cxn>
              <a:cxn ang="0">
                <a:pos x="222" y="401"/>
              </a:cxn>
              <a:cxn ang="0">
                <a:pos x="97" y="374"/>
              </a:cxn>
              <a:cxn ang="0">
                <a:pos x="104" y="280"/>
              </a:cxn>
              <a:cxn ang="0">
                <a:pos x="0" y="216"/>
              </a:cxn>
            </a:cxnLst>
            <a:rect l="0" t="0" r="r" b="b"/>
            <a:pathLst>
              <a:path w="361" h="402">
                <a:moveTo>
                  <a:pt x="0" y="216"/>
                </a:moveTo>
                <a:lnTo>
                  <a:pt x="59" y="214"/>
                </a:lnTo>
                <a:lnTo>
                  <a:pt x="124" y="95"/>
                </a:lnTo>
                <a:lnTo>
                  <a:pt x="148" y="10"/>
                </a:lnTo>
                <a:lnTo>
                  <a:pt x="224" y="0"/>
                </a:lnTo>
                <a:lnTo>
                  <a:pt x="236" y="76"/>
                </a:lnTo>
                <a:lnTo>
                  <a:pt x="227" y="129"/>
                </a:lnTo>
                <a:lnTo>
                  <a:pt x="360" y="166"/>
                </a:lnTo>
                <a:lnTo>
                  <a:pt x="320" y="249"/>
                </a:lnTo>
                <a:lnTo>
                  <a:pt x="242" y="234"/>
                </a:lnTo>
                <a:lnTo>
                  <a:pt x="214" y="261"/>
                </a:lnTo>
                <a:lnTo>
                  <a:pt x="216" y="314"/>
                </a:lnTo>
                <a:lnTo>
                  <a:pt x="263" y="323"/>
                </a:lnTo>
                <a:lnTo>
                  <a:pt x="264" y="365"/>
                </a:lnTo>
                <a:lnTo>
                  <a:pt x="220" y="370"/>
                </a:lnTo>
                <a:lnTo>
                  <a:pt x="222" y="401"/>
                </a:lnTo>
                <a:lnTo>
                  <a:pt x="97" y="374"/>
                </a:lnTo>
                <a:lnTo>
                  <a:pt x="104" y="280"/>
                </a:lnTo>
                <a:lnTo>
                  <a:pt x="0" y="216"/>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22" name="Freeform 17"/>
          <p:cNvSpPr>
            <a:spLocks/>
          </p:cNvSpPr>
          <p:nvPr/>
        </p:nvSpPr>
        <p:spPr bwMode="auto">
          <a:xfrm>
            <a:off x="7023985" y="3458437"/>
            <a:ext cx="301432" cy="637942"/>
          </a:xfrm>
          <a:custGeom>
            <a:avLst/>
            <a:gdLst/>
            <a:ahLst/>
            <a:cxnLst>
              <a:cxn ang="0">
                <a:pos x="289" y="0"/>
              </a:cxn>
              <a:cxn ang="0">
                <a:pos x="359" y="33"/>
              </a:cxn>
              <a:cxn ang="0">
                <a:pos x="374" y="91"/>
              </a:cxn>
              <a:cxn ang="0">
                <a:pos x="294" y="191"/>
              </a:cxn>
              <a:cxn ang="0">
                <a:pos x="288" y="241"/>
              </a:cxn>
              <a:cxn ang="0">
                <a:pos x="348" y="271"/>
              </a:cxn>
              <a:cxn ang="0">
                <a:pos x="352" y="333"/>
              </a:cxn>
              <a:cxn ang="0">
                <a:pos x="305" y="384"/>
              </a:cxn>
              <a:cxn ang="0">
                <a:pos x="345" y="431"/>
              </a:cxn>
              <a:cxn ang="0">
                <a:pos x="324" y="499"/>
              </a:cxn>
              <a:cxn ang="0">
                <a:pos x="183" y="527"/>
              </a:cxn>
              <a:cxn ang="0">
                <a:pos x="149" y="587"/>
              </a:cxn>
              <a:cxn ang="0">
                <a:pos x="51" y="603"/>
              </a:cxn>
              <a:cxn ang="0">
                <a:pos x="60" y="514"/>
              </a:cxn>
              <a:cxn ang="0">
                <a:pos x="0" y="466"/>
              </a:cxn>
              <a:cxn ang="0">
                <a:pos x="6" y="359"/>
              </a:cxn>
              <a:cxn ang="0">
                <a:pos x="39" y="333"/>
              </a:cxn>
              <a:cxn ang="0">
                <a:pos x="11" y="245"/>
              </a:cxn>
              <a:cxn ang="0">
                <a:pos x="39" y="155"/>
              </a:cxn>
              <a:cxn ang="0">
                <a:pos x="145" y="33"/>
              </a:cxn>
              <a:cxn ang="0">
                <a:pos x="289" y="0"/>
              </a:cxn>
            </a:cxnLst>
            <a:rect l="0" t="0" r="r" b="b"/>
            <a:pathLst>
              <a:path w="375" h="604">
                <a:moveTo>
                  <a:pt x="289" y="0"/>
                </a:moveTo>
                <a:lnTo>
                  <a:pt x="359" y="33"/>
                </a:lnTo>
                <a:lnTo>
                  <a:pt x="374" y="91"/>
                </a:lnTo>
                <a:lnTo>
                  <a:pt x="294" y="191"/>
                </a:lnTo>
                <a:lnTo>
                  <a:pt x="288" y="241"/>
                </a:lnTo>
                <a:lnTo>
                  <a:pt x="348" y="271"/>
                </a:lnTo>
                <a:lnTo>
                  <a:pt x="352" y="333"/>
                </a:lnTo>
                <a:lnTo>
                  <a:pt x="305" y="384"/>
                </a:lnTo>
                <a:lnTo>
                  <a:pt x="345" y="431"/>
                </a:lnTo>
                <a:lnTo>
                  <a:pt x="324" y="499"/>
                </a:lnTo>
                <a:lnTo>
                  <a:pt x="183" y="527"/>
                </a:lnTo>
                <a:lnTo>
                  <a:pt x="149" y="587"/>
                </a:lnTo>
                <a:lnTo>
                  <a:pt x="51" y="603"/>
                </a:lnTo>
                <a:lnTo>
                  <a:pt x="60" y="514"/>
                </a:lnTo>
                <a:lnTo>
                  <a:pt x="0" y="466"/>
                </a:lnTo>
                <a:lnTo>
                  <a:pt x="6" y="359"/>
                </a:lnTo>
                <a:lnTo>
                  <a:pt x="39" y="333"/>
                </a:lnTo>
                <a:lnTo>
                  <a:pt x="11" y="245"/>
                </a:lnTo>
                <a:lnTo>
                  <a:pt x="39" y="155"/>
                </a:lnTo>
                <a:lnTo>
                  <a:pt x="145" y="33"/>
                </a:lnTo>
                <a:lnTo>
                  <a:pt x="289" y="0"/>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23" name="Freeform 18"/>
          <p:cNvSpPr>
            <a:spLocks/>
          </p:cNvSpPr>
          <p:nvPr/>
        </p:nvSpPr>
        <p:spPr bwMode="auto">
          <a:xfrm>
            <a:off x="7607472" y="3063046"/>
            <a:ext cx="512435" cy="499157"/>
          </a:xfrm>
          <a:custGeom>
            <a:avLst/>
            <a:gdLst/>
            <a:ahLst/>
            <a:cxnLst>
              <a:cxn ang="0">
                <a:pos x="641" y="171"/>
              </a:cxn>
              <a:cxn ang="0">
                <a:pos x="524" y="296"/>
              </a:cxn>
              <a:cxn ang="0">
                <a:pos x="369" y="378"/>
              </a:cxn>
              <a:cxn ang="0">
                <a:pos x="292" y="470"/>
              </a:cxn>
              <a:cxn ang="0">
                <a:pos x="252" y="452"/>
              </a:cxn>
              <a:cxn ang="0">
                <a:pos x="276" y="401"/>
              </a:cxn>
              <a:cxn ang="0">
                <a:pos x="249" y="364"/>
              </a:cxn>
              <a:cxn ang="0">
                <a:pos x="288" y="265"/>
              </a:cxn>
              <a:cxn ang="0">
                <a:pos x="237" y="246"/>
              </a:cxn>
              <a:cxn ang="0">
                <a:pos x="126" y="345"/>
              </a:cxn>
              <a:cxn ang="0">
                <a:pos x="33" y="321"/>
              </a:cxn>
              <a:cxn ang="0">
                <a:pos x="0" y="268"/>
              </a:cxn>
              <a:cxn ang="0">
                <a:pos x="18" y="238"/>
              </a:cxn>
              <a:cxn ang="0">
                <a:pos x="0" y="152"/>
              </a:cxn>
              <a:cxn ang="0">
                <a:pos x="56" y="149"/>
              </a:cxn>
              <a:cxn ang="0">
                <a:pos x="96" y="174"/>
              </a:cxn>
              <a:cxn ang="0">
                <a:pos x="361" y="7"/>
              </a:cxn>
              <a:cxn ang="0">
                <a:pos x="486" y="0"/>
              </a:cxn>
              <a:cxn ang="0">
                <a:pos x="540" y="60"/>
              </a:cxn>
              <a:cxn ang="0">
                <a:pos x="542" y="129"/>
              </a:cxn>
              <a:cxn ang="0">
                <a:pos x="591" y="132"/>
              </a:cxn>
              <a:cxn ang="0">
                <a:pos x="641" y="171"/>
              </a:cxn>
            </a:cxnLst>
            <a:rect l="0" t="0" r="r" b="b"/>
            <a:pathLst>
              <a:path w="642" h="471">
                <a:moveTo>
                  <a:pt x="641" y="171"/>
                </a:moveTo>
                <a:lnTo>
                  <a:pt x="524" y="296"/>
                </a:lnTo>
                <a:lnTo>
                  <a:pt x="369" y="378"/>
                </a:lnTo>
                <a:lnTo>
                  <a:pt x="292" y="470"/>
                </a:lnTo>
                <a:lnTo>
                  <a:pt x="252" y="452"/>
                </a:lnTo>
                <a:lnTo>
                  <a:pt x="276" y="401"/>
                </a:lnTo>
                <a:lnTo>
                  <a:pt x="249" y="364"/>
                </a:lnTo>
                <a:lnTo>
                  <a:pt x="288" y="265"/>
                </a:lnTo>
                <a:lnTo>
                  <a:pt x="237" y="246"/>
                </a:lnTo>
                <a:lnTo>
                  <a:pt x="126" y="345"/>
                </a:lnTo>
                <a:lnTo>
                  <a:pt x="33" y="321"/>
                </a:lnTo>
                <a:lnTo>
                  <a:pt x="0" y="268"/>
                </a:lnTo>
                <a:lnTo>
                  <a:pt x="18" y="238"/>
                </a:lnTo>
                <a:lnTo>
                  <a:pt x="0" y="152"/>
                </a:lnTo>
                <a:lnTo>
                  <a:pt x="56" y="149"/>
                </a:lnTo>
                <a:lnTo>
                  <a:pt x="96" y="174"/>
                </a:lnTo>
                <a:lnTo>
                  <a:pt x="361" y="7"/>
                </a:lnTo>
                <a:lnTo>
                  <a:pt x="486" y="0"/>
                </a:lnTo>
                <a:lnTo>
                  <a:pt x="540" y="60"/>
                </a:lnTo>
                <a:lnTo>
                  <a:pt x="542" y="129"/>
                </a:lnTo>
                <a:lnTo>
                  <a:pt x="591" y="132"/>
                </a:lnTo>
                <a:lnTo>
                  <a:pt x="641" y="171"/>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24" name="Freeform 19"/>
          <p:cNvSpPr>
            <a:spLocks/>
          </p:cNvSpPr>
          <p:nvPr/>
        </p:nvSpPr>
        <p:spPr bwMode="auto">
          <a:xfrm>
            <a:off x="7241392" y="3208858"/>
            <a:ext cx="467220" cy="714914"/>
          </a:xfrm>
          <a:custGeom>
            <a:avLst/>
            <a:gdLst/>
            <a:ahLst/>
            <a:cxnLst>
              <a:cxn ang="0">
                <a:pos x="498" y="179"/>
              </a:cxn>
              <a:cxn ang="0">
                <a:pos x="456" y="124"/>
              </a:cxn>
              <a:cxn ang="0">
                <a:pos x="381" y="96"/>
              </a:cxn>
              <a:cxn ang="0">
                <a:pos x="381" y="26"/>
              </a:cxn>
              <a:cxn ang="0">
                <a:pos x="305" y="0"/>
              </a:cxn>
              <a:cxn ang="0">
                <a:pos x="247" y="33"/>
              </a:cxn>
              <a:cxn ang="0">
                <a:pos x="248" y="95"/>
              </a:cxn>
              <a:cxn ang="0">
                <a:pos x="164" y="93"/>
              </a:cxn>
              <a:cxn ang="0">
                <a:pos x="104" y="123"/>
              </a:cxn>
              <a:cxn ang="0">
                <a:pos x="37" y="101"/>
              </a:cxn>
              <a:cxn ang="0">
                <a:pos x="0" y="174"/>
              </a:cxn>
              <a:cxn ang="0">
                <a:pos x="15" y="246"/>
              </a:cxn>
              <a:cxn ang="0">
                <a:pos x="88" y="283"/>
              </a:cxn>
              <a:cxn ang="0">
                <a:pos x="103" y="336"/>
              </a:cxn>
              <a:cxn ang="0">
                <a:pos x="15" y="434"/>
              </a:cxn>
              <a:cxn ang="0">
                <a:pos x="16" y="488"/>
              </a:cxn>
              <a:cxn ang="0">
                <a:pos x="73" y="519"/>
              </a:cxn>
              <a:cxn ang="0">
                <a:pos x="73" y="572"/>
              </a:cxn>
              <a:cxn ang="0">
                <a:pos x="33" y="628"/>
              </a:cxn>
              <a:cxn ang="0">
                <a:pos x="73" y="677"/>
              </a:cxn>
              <a:cxn ang="0">
                <a:pos x="164" y="677"/>
              </a:cxn>
              <a:cxn ang="0">
                <a:pos x="213" y="647"/>
              </a:cxn>
              <a:cxn ang="0">
                <a:pos x="222" y="585"/>
              </a:cxn>
              <a:cxn ang="0">
                <a:pos x="254" y="546"/>
              </a:cxn>
              <a:cxn ang="0">
                <a:pos x="297" y="503"/>
              </a:cxn>
              <a:cxn ang="0">
                <a:pos x="349" y="503"/>
              </a:cxn>
              <a:cxn ang="0">
                <a:pos x="426" y="449"/>
              </a:cxn>
              <a:cxn ang="0">
                <a:pos x="383" y="382"/>
              </a:cxn>
              <a:cxn ang="0">
                <a:pos x="405" y="325"/>
              </a:cxn>
              <a:cxn ang="0">
                <a:pos x="460" y="329"/>
              </a:cxn>
              <a:cxn ang="0">
                <a:pos x="536" y="310"/>
              </a:cxn>
              <a:cxn ang="0">
                <a:pos x="585" y="201"/>
              </a:cxn>
              <a:cxn ang="0">
                <a:pos x="498" y="179"/>
              </a:cxn>
            </a:cxnLst>
            <a:rect l="0" t="0" r="r" b="b"/>
            <a:pathLst>
              <a:path w="586" h="678">
                <a:moveTo>
                  <a:pt x="498" y="179"/>
                </a:moveTo>
                <a:lnTo>
                  <a:pt x="456" y="124"/>
                </a:lnTo>
                <a:lnTo>
                  <a:pt x="381" y="96"/>
                </a:lnTo>
                <a:lnTo>
                  <a:pt x="381" y="26"/>
                </a:lnTo>
                <a:lnTo>
                  <a:pt x="305" y="0"/>
                </a:lnTo>
                <a:lnTo>
                  <a:pt x="247" y="33"/>
                </a:lnTo>
                <a:lnTo>
                  <a:pt x="248" y="95"/>
                </a:lnTo>
                <a:lnTo>
                  <a:pt x="164" y="93"/>
                </a:lnTo>
                <a:lnTo>
                  <a:pt x="104" y="123"/>
                </a:lnTo>
                <a:lnTo>
                  <a:pt x="37" y="101"/>
                </a:lnTo>
                <a:lnTo>
                  <a:pt x="0" y="174"/>
                </a:lnTo>
                <a:lnTo>
                  <a:pt x="15" y="246"/>
                </a:lnTo>
                <a:lnTo>
                  <a:pt x="88" y="283"/>
                </a:lnTo>
                <a:lnTo>
                  <a:pt x="103" y="336"/>
                </a:lnTo>
                <a:lnTo>
                  <a:pt x="15" y="434"/>
                </a:lnTo>
                <a:lnTo>
                  <a:pt x="16" y="488"/>
                </a:lnTo>
                <a:lnTo>
                  <a:pt x="73" y="519"/>
                </a:lnTo>
                <a:lnTo>
                  <a:pt x="73" y="572"/>
                </a:lnTo>
                <a:lnTo>
                  <a:pt x="33" y="628"/>
                </a:lnTo>
                <a:lnTo>
                  <a:pt x="73" y="677"/>
                </a:lnTo>
                <a:lnTo>
                  <a:pt x="164" y="677"/>
                </a:lnTo>
                <a:lnTo>
                  <a:pt x="213" y="647"/>
                </a:lnTo>
                <a:lnTo>
                  <a:pt x="222" y="585"/>
                </a:lnTo>
                <a:lnTo>
                  <a:pt x="254" y="546"/>
                </a:lnTo>
                <a:lnTo>
                  <a:pt x="297" y="503"/>
                </a:lnTo>
                <a:lnTo>
                  <a:pt x="349" y="503"/>
                </a:lnTo>
                <a:lnTo>
                  <a:pt x="426" y="449"/>
                </a:lnTo>
                <a:lnTo>
                  <a:pt x="383" y="382"/>
                </a:lnTo>
                <a:lnTo>
                  <a:pt x="405" y="325"/>
                </a:lnTo>
                <a:lnTo>
                  <a:pt x="460" y="329"/>
                </a:lnTo>
                <a:lnTo>
                  <a:pt x="536" y="310"/>
                </a:lnTo>
                <a:lnTo>
                  <a:pt x="585" y="201"/>
                </a:lnTo>
                <a:lnTo>
                  <a:pt x="498" y="179"/>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25" name="Freeform 20"/>
          <p:cNvSpPr>
            <a:spLocks/>
          </p:cNvSpPr>
          <p:nvPr/>
        </p:nvSpPr>
        <p:spPr bwMode="auto">
          <a:xfrm>
            <a:off x="7723739" y="2771511"/>
            <a:ext cx="701907" cy="468835"/>
          </a:xfrm>
          <a:custGeom>
            <a:avLst/>
            <a:gdLst/>
            <a:ahLst/>
            <a:cxnLst>
              <a:cxn ang="0">
                <a:pos x="878" y="119"/>
              </a:cxn>
              <a:cxn ang="0">
                <a:pos x="748" y="73"/>
              </a:cxn>
              <a:cxn ang="0">
                <a:pos x="691" y="112"/>
              </a:cxn>
              <a:cxn ang="0">
                <a:pos x="607" y="60"/>
              </a:cxn>
              <a:cxn ang="0">
                <a:pos x="544" y="52"/>
              </a:cxn>
              <a:cxn ang="0">
                <a:pos x="544" y="96"/>
              </a:cxn>
              <a:cxn ang="0">
                <a:pos x="449" y="23"/>
              </a:cxn>
              <a:cxn ang="0">
                <a:pos x="393" y="30"/>
              </a:cxn>
              <a:cxn ang="0">
                <a:pos x="324" y="20"/>
              </a:cxn>
              <a:cxn ang="0">
                <a:pos x="265" y="39"/>
              </a:cxn>
              <a:cxn ang="0">
                <a:pos x="94" y="0"/>
              </a:cxn>
              <a:cxn ang="0">
                <a:pos x="78" y="46"/>
              </a:cxn>
              <a:cxn ang="0">
                <a:pos x="27" y="37"/>
              </a:cxn>
              <a:cxn ang="0">
                <a:pos x="0" y="50"/>
              </a:cxn>
              <a:cxn ang="0">
                <a:pos x="102" y="200"/>
              </a:cxn>
              <a:cxn ang="0">
                <a:pos x="130" y="163"/>
              </a:cxn>
              <a:cxn ang="0">
                <a:pos x="218" y="209"/>
              </a:cxn>
              <a:cxn ang="0">
                <a:pos x="230" y="280"/>
              </a:cxn>
              <a:cxn ang="0">
                <a:pos x="355" y="273"/>
              </a:cxn>
              <a:cxn ang="0">
                <a:pos x="399" y="342"/>
              </a:cxn>
              <a:cxn ang="0">
                <a:pos x="404" y="407"/>
              </a:cxn>
              <a:cxn ang="0">
                <a:pos x="455" y="410"/>
              </a:cxn>
              <a:cxn ang="0">
                <a:pos x="505" y="443"/>
              </a:cxn>
              <a:cxn ang="0">
                <a:pos x="530" y="352"/>
              </a:cxn>
              <a:cxn ang="0">
                <a:pos x="622" y="377"/>
              </a:cxn>
              <a:cxn ang="0">
                <a:pos x="699" y="358"/>
              </a:cxn>
              <a:cxn ang="0">
                <a:pos x="657" y="292"/>
              </a:cxn>
              <a:cxn ang="0">
                <a:pos x="717" y="289"/>
              </a:cxn>
              <a:cxn ang="0">
                <a:pos x="773" y="244"/>
              </a:cxn>
              <a:cxn ang="0">
                <a:pos x="771" y="181"/>
              </a:cxn>
              <a:cxn ang="0">
                <a:pos x="838" y="179"/>
              </a:cxn>
              <a:cxn ang="0">
                <a:pos x="878" y="119"/>
              </a:cxn>
            </a:cxnLst>
            <a:rect l="0" t="0" r="r" b="b"/>
            <a:pathLst>
              <a:path w="879" h="444">
                <a:moveTo>
                  <a:pt x="878" y="119"/>
                </a:moveTo>
                <a:lnTo>
                  <a:pt x="748" y="73"/>
                </a:lnTo>
                <a:lnTo>
                  <a:pt x="691" y="112"/>
                </a:lnTo>
                <a:lnTo>
                  <a:pt x="607" y="60"/>
                </a:lnTo>
                <a:lnTo>
                  <a:pt x="544" y="52"/>
                </a:lnTo>
                <a:lnTo>
                  <a:pt x="544" y="96"/>
                </a:lnTo>
                <a:lnTo>
                  <a:pt x="449" y="23"/>
                </a:lnTo>
                <a:lnTo>
                  <a:pt x="393" y="30"/>
                </a:lnTo>
                <a:lnTo>
                  <a:pt x="324" y="20"/>
                </a:lnTo>
                <a:lnTo>
                  <a:pt x="265" y="39"/>
                </a:lnTo>
                <a:lnTo>
                  <a:pt x="94" y="0"/>
                </a:lnTo>
                <a:lnTo>
                  <a:pt x="78" y="46"/>
                </a:lnTo>
                <a:lnTo>
                  <a:pt x="27" y="37"/>
                </a:lnTo>
                <a:lnTo>
                  <a:pt x="0" y="50"/>
                </a:lnTo>
                <a:lnTo>
                  <a:pt x="102" y="200"/>
                </a:lnTo>
                <a:lnTo>
                  <a:pt x="130" y="163"/>
                </a:lnTo>
                <a:lnTo>
                  <a:pt x="218" y="209"/>
                </a:lnTo>
                <a:lnTo>
                  <a:pt x="230" y="280"/>
                </a:lnTo>
                <a:lnTo>
                  <a:pt x="355" y="273"/>
                </a:lnTo>
                <a:lnTo>
                  <a:pt x="399" y="342"/>
                </a:lnTo>
                <a:lnTo>
                  <a:pt x="404" y="407"/>
                </a:lnTo>
                <a:lnTo>
                  <a:pt x="455" y="410"/>
                </a:lnTo>
                <a:lnTo>
                  <a:pt x="505" y="443"/>
                </a:lnTo>
                <a:lnTo>
                  <a:pt x="530" y="352"/>
                </a:lnTo>
                <a:lnTo>
                  <a:pt x="622" y="377"/>
                </a:lnTo>
                <a:lnTo>
                  <a:pt x="699" y="358"/>
                </a:lnTo>
                <a:lnTo>
                  <a:pt x="657" y="292"/>
                </a:lnTo>
                <a:lnTo>
                  <a:pt x="717" y="289"/>
                </a:lnTo>
                <a:lnTo>
                  <a:pt x="773" y="244"/>
                </a:lnTo>
                <a:lnTo>
                  <a:pt x="771" y="181"/>
                </a:lnTo>
                <a:lnTo>
                  <a:pt x="838" y="179"/>
                </a:lnTo>
                <a:lnTo>
                  <a:pt x="878" y="119"/>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26" name="Freeform 21"/>
          <p:cNvSpPr>
            <a:spLocks/>
          </p:cNvSpPr>
          <p:nvPr/>
        </p:nvSpPr>
        <p:spPr bwMode="auto">
          <a:xfrm>
            <a:off x="6692345" y="3599759"/>
            <a:ext cx="465423" cy="784890"/>
          </a:xfrm>
          <a:custGeom>
            <a:avLst/>
            <a:gdLst/>
            <a:ahLst/>
            <a:cxnLst>
              <a:cxn ang="0">
                <a:pos x="24" y="669"/>
              </a:cxn>
              <a:cxn ang="0">
                <a:pos x="144" y="688"/>
              </a:cxn>
              <a:cxn ang="0">
                <a:pos x="209" y="712"/>
              </a:cxn>
              <a:cxn ang="0">
                <a:pos x="284" y="705"/>
              </a:cxn>
              <a:cxn ang="0">
                <a:pos x="337" y="736"/>
              </a:cxn>
              <a:cxn ang="0">
                <a:pos x="404" y="742"/>
              </a:cxn>
              <a:cxn ang="0">
                <a:pos x="422" y="639"/>
              </a:cxn>
              <a:cxn ang="0">
                <a:pos x="371" y="582"/>
              </a:cxn>
              <a:cxn ang="0">
                <a:pos x="526" y="600"/>
              </a:cxn>
              <a:cxn ang="0">
                <a:pos x="520" y="551"/>
              </a:cxn>
              <a:cxn ang="0">
                <a:pos x="461" y="455"/>
              </a:cxn>
              <a:cxn ang="0">
                <a:pos x="464" y="370"/>
              </a:cxn>
              <a:cxn ang="0">
                <a:pos x="411" y="313"/>
              </a:cxn>
              <a:cxn ang="0">
                <a:pos x="410" y="215"/>
              </a:cxn>
              <a:cxn ang="0">
                <a:pos x="454" y="190"/>
              </a:cxn>
              <a:cxn ang="0">
                <a:pos x="415" y="103"/>
              </a:cxn>
              <a:cxn ang="0">
                <a:pos x="449" y="11"/>
              </a:cxn>
              <a:cxn ang="0">
                <a:pos x="366" y="0"/>
              </a:cxn>
              <a:cxn ang="0">
                <a:pos x="321" y="67"/>
              </a:cxn>
              <a:cxn ang="0">
                <a:pos x="283" y="72"/>
              </a:cxn>
              <a:cxn ang="0">
                <a:pos x="194" y="186"/>
              </a:cxn>
              <a:cxn ang="0">
                <a:pos x="157" y="262"/>
              </a:cxn>
              <a:cxn ang="0">
                <a:pos x="253" y="288"/>
              </a:cxn>
              <a:cxn ang="0">
                <a:pos x="275" y="342"/>
              </a:cxn>
              <a:cxn ang="0">
                <a:pos x="251" y="380"/>
              </a:cxn>
              <a:cxn ang="0">
                <a:pos x="264" y="411"/>
              </a:cxn>
              <a:cxn ang="0">
                <a:pos x="237" y="423"/>
              </a:cxn>
              <a:cxn ang="0">
                <a:pos x="201" y="423"/>
              </a:cxn>
              <a:cxn ang="0">
                <a:pos x="166" y="455"/>
              </a:cxn>
              <a:cxn ang="0">
                <a:pos x="101" y="441"/>
              </a:cxn>
              <a:cxn ang="0">
                <a:pos x="54" y="507"/>
              </a:cxn>
              <a:cxn ang="0">
                <a:pos x="76" y="520"/>
              </a:cxn>
              <a:cxn ang="0">
                <a:pos x="63" y="591"/>
              </a:cxn>
              <a:cxn ang="0">
                <a:pos x="0" y="606"/>
              </a:cxn>
              <a:cxn ang="0">
                <a:pos x="24" y="669"/>
              </a:cxn>
            </a:cxnLst>
            <a:rect l="0" t="0" r="r" b="b"/>
            <a:pathLst>
              <a:path w="527" h="743">
                <a:moveTo>
                  <a:pt x="24" y="669"/>
                </a:moveTo>
                <a:lnTo>
                  <a:pt x="144" y="688"/>
                </a:lnTo>
                <a:lnTo>
                  <a:pt x="209" y="712"/>
                </a:lnTo>
                <a:lnTo>
                  <a:pt x="284" y="705"/>
                </a:lnTo>
                <a:lnTo>
                  <a:pt x="337" y="736"/>
                </a:lnTo>
                <a:lnTo>
                  <a:pt x="404" y="742"/>
                </a:lnTo>
                <a:lnTo>
                  <a:pt x="422" y="639"/>
                </a:lnTo>
                <a:lnTo>
                  <a:pt x="371" y="582"/>
                </a:lnTo>
                <a:lnTo>
                  <a:pt x="526" y="600"/>
                </a:lnTo>
                <a:lnTo>
                  <a:pt x="520" y="551"/>
                </a:lnTo>
                <a:lnTo>
                  <a:pt x="461" y="455"/>
                </a:lnTo>
                <a:lnTo>
                  <a:pt x="464" y="370"/>
                </a:lnTo>
                <a:lnTo>
                  <a:pt x="411" y="313"/>
                </a:lnTo>
                <a:lnTo>
                  <a:pt x="410" y="215"/>
                </a:lnTo>
                <a:lnTo>
                  <a:pt x="454" y="190"/>
                </a:lnTo>
                <a:lnTo>
                  <a:pt x="415" y="103"/>
                </a:lnTo>
                <a:lnTo>
                  <a:pt x="449" y="11"/>
                </a:lnTo>
                <a:lnTo>
                  <a:pt x="366" y="0"/>
                </a:lnTo>
                <a:lnTo>
                  <a:pt x="321" y="67"/>
                </a:lnTo>
                <a:lnTo>
                  <a:pt x="283" y="72"/>
                </a:lnTo>
                <a:lnTo>
                  <a:pt x="194" y="186"/>
                </a:lnTo>
                <a:lnTo>
                  <a:pt x="157" y="262"/>
                </a:lnTo>
                <a:lnTo>
                  <a:pt x="253" y="288"/>
                </a:lnTo>
                <a:lnTo>
                  <a:pt x="275" y="342"/>
                </a:lnTo>
                <a:lnTo>
                  <a:pt x="251" y="380"/>
                </a:lnTo>
                <a:lnTo>
                  <a:pt x="264" y="411"/>
                </a:lnTo>
                <a:lnTo>
                  <a:pt x="237" y="423"/>
                </a:lnTo>
                <a:lnTo>
                  <a:pt x="201" y="423"/>
                </a:lnTo>
                <a:lnTo>
                  <a:pt x="166" y="455"/>
                </a:lnTo>
                <a:lnTo>
                  <a:pt x="101" y="441"/>
                </a:lnTo>
                <a:lnTo>
                  <a:pt x="54" y="507"/>
                </a:lnTo>
                <a:lnTo>
                  <a:pt x="76" y="520"/>
                </a:lnTo>
                <a:lnTo>
                  <a:pt x="63" y="591"/>
                </a:lnTo>
                <a:lnTo>
                  <a:pt x="0" y="606"/>
                </a:lnTo>
                <a:lnTo>
                  <a:pt x="24" y="669"/>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27" name="Freeform 24"/>
          <p:cNvSpPr>
            <a:spLocks/>
          </p:cNvSpPr>
          <p:nvPr/>
        </p:nvSpPr>
        <p:spPr bwMode="auto">
          <a:xfrm>
            <a:off x="7425481" y="3650868"/>
            <a:ext cx="543655" cy="377867"/>
          </a:xfrm>
          <a:custGeom>
            <a:avLst/>
            <a:gdLst/>
            <a:ahLst/>
            <a:cxnLst>
              <a:cxn ang="0">
                <a:pos x="215" y="20"/>
              </a:cxn>
              <a:cxn ang="0">
                <a:pos x="291" y="14"/>
              </a:cxn>
              <a:cxn ang="0">
                <a:pos x="316" y="69"/>
              </a:cxn>
              <a:cxn ang="0">
                <a:pos x="400" y="93"/>
              </a:cxn>
              <a:cxn ang="0">
                <a:pos x="471" y="0"/>
              </a:cxn>
              <a:cxn ang="0">
                <a:pos x="552" y="20"/>
              </a:cxn>
              <a:cxn ang="0">
                <a:pos x="665" y="11"/>
              </a:cxn>
              <a:cxn ang="0">
                <a:pos x="680" y="63"/>
              </a:cxn>
              <a:cxn ang="0">
                <a:pos x="558" y="154"/>
              </a:cxn>
              <a:cxn ang="0">
                <a:pos x="501" y="154"/>
              </a:cxn>
              <a:cxn ang="0">
                <a:pos x="486" y="224"/>
              </a:cxn>
              <a:cxn ang="0">
                <a:pos x="424" y="287"/>
              </a:cxn>
              <a:cxn ang="0">
                <a:pos x="375" y="330"/>
              </a:cxn>
              <a:cxn ang="0">
                <a:pos x="289" y="329"/>
              </a:cxn>
              <a:cxn ang="0">
                <a:pos x="243" y="352"/>
              </a:cxn>
              <a:cxn ang="0">
                <a:pos x="203" y="334"/>
              </a:cxn>
              <a:cxn ang="0">
                <a:pos x="130" y="344"/>
              </a:cxn>
              <a:cxn ang="0">
                <a:pos x="66" y="359"/>
              </a:cxn>
              <a:cxn ang="0">
                <a:pos x="11" y="322"/>
              </a:cxn>
              <a:cxn ang="0">
                <a:pos x="60" y="257"/>
              </a:cxn>
              <a:cxn ang="0">
                <a:pos x="0" y="217"/>
              </a:cxn>
              <a:cxn ang="0">
                <a:pos x="10" y="152"/>
              </a:cxn>
              <a:cxn ang="0">
                <a:pos x="42" y="119"/>
              </a:cxn>
              <a:cxn ang="0">
                <a:pos x="88" y="73"/>
              </a:cxn>
              <a:cxn ang="0">
                <a:pos x="141" y="67"/>
              </a:cxn>
              <a:cxn ang="0">
                <a:pos x="215" y="20"/>
              </a:cxn>
            </a:cxnLst>
            <a:rect l="0" t="0" r="r" b="b"/>
            <a:pathLst>
              <a:path w="681" h="360">
                <a:moveTo>
                  <a:pt x="215" y="20"/>
                </a:moveTo>
                <a:lnTo>
                  <a:pt x="291" y="14"/>
                </a:lnTo>
                <a:lnTo>
                  <a:pt x="316" y="69"/>
                </a:lnTo>
                <a:lnTo>
                  <a:pt x="400" y="93"/>
                </a:lnTo>
                <a:lnTo>
                  <a:pt x="471" y="0"/>
                </a:lnTo>
                <a:lnTo>
                  <a:pt x="552" y="20"/>
                </a:lnTo>
                <a:lnTo>
                  <a:pt x="665" y="11"/>
                </a:lnTo>
                <a:lnTo>
                  <a:pt x="680" y="63"/>
                </a:lnTo>
                <a:lnTo>
                  <a:pt x="558" y="154"/>
                </a:lnTo>
                <a:lnTo>
                  <a:pt x="501" y="154"/>
                </a:lnTo>
                <a:lnTo>
                  <a:pt x="486" y="224"/>
                </a:lnTo>
                <a:lnTo>
                  <a:pt x="424" y="287"/>
                </a:lnTo>
                <a:lnTo>
                  <a:pt x="375" y="330"/>
                </a:lnTo>
                <a:lnTo>
                  <a:pt x="289" y="329"/>
                </a:lnTo>
                <a:lnTo>
                  <a:pt x="243" y="352"/>
                </a:lnTo>
                <a:lnTo>
                  <a:pt x="203" y="334"/>
                </a:lnTo>
                <a:lnTo>
                  <a:pt x="130" y="344"/>
                </a:lnTo>
                <a:lnTo>
                  <a:pt x="66" y="359"/>
                </a:lnTo>
                <a:lnTo>
                  <a:pt x="11" y="322"/>
                </a:lnTo>
                <a:lnTo>
                  <a:pt x="60" y="257"/>
                </a:lnTo>
                <a:lnTo>
                  <a:pt x="0" y="217"/>
                </a:lnTo>
                <a:lnTo>
                  <a:pt x="10" y="152"/>
                </a:lnTo>
                <a:lnTo>
                  <a:pt x="42" y="119"/>
                </a:lnTo>
                <a:lnTo>
                  <a:pt x="88" y="73"/>
                </a:lnTo>
                <a:lnTo>
                  <a:pt x="141" y="67"/>
                </a:lnTo>
                <a:lnTo>
                  <a:pt x="215" y="20"/>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28" name="Freeform 25"/>
          <p:cNvSpPr>
            <a:spLocks/>
          </p:cNvSpPr>
          <p:nvPr/>
        </p:nvSpPr>
        <p:spPr bwMode="auto">
          <a:xfrm>
            <a:off x="7075660" y="3873624"/>
            <a:ext cx="490904" cy="485162"/>
          </a:xfrm>
          <a:custGeom>
            <a:avLst/>
            <a:gdLst/>
            <a:ahLst/>
            <a:cxnLst>
              <a:cxn ang="0">
                <a:pos x="287" y="29"/>
              </a:cxn>
              <a:cxn ang="0">
                <a:pos x="379" y="27"/>
              </a:cxn>
              <a:cxn ang="0">
                <a:pos x="430" y="0"/>
              </a:cxn>
              <a:cxn ang="0">
                <a:pos x="489" y="33"/>
              </a:cxn>
              <a:cxn ang="0">
                <a:pos x="441" y="101"/>
              </a:cxn>
              <a:cxn ang="0">
                <a:pos x="486" y="134"/>
              </a:cxn>
              <a:cxn ang="0">
                <a:pos x="562" y="122"/>
              </a:cxn>
              <a:cxn ang="0">
                <a:pos x="616" y="185"/>
              </a:cxn>
              <a:cxn ang="0">
                <a:pos x="585" y="239"/>
              </a:cxn>
              <a:cxn ang="0">
                <a:pos x="511" y="218"/>
              </a:cxn>
              <a:cxn ang="0">
                <a:pos x="510" y="272"/>
              </a:cxn>
              <a:cxn ang="0">
                <a:pos x="491" y="303"/>
              </a:cxn>
              <a:cxn ang="0">
                <a:pos x="527" y="363"/>
              </a:cxn>
              <a:cxn ang="0">
                <a:pos x="574" y="341"/>
              </a:cxn>
              <a:cxn ang="0">
                <a:pos x="612" y="409"/>
              </a:cxn>
              <a:cxn ang="0">
                <a:pos x="544" y="458"/>
              </a:cxn>
              <a:cxn ang="0">
                <a:pos x="394" y="442"/>
              </a:cxn>
              <a:cxn ang="0">
                <a:pos x="341" y="400"/>
              </a:cxn>
              <a:cxn ang="0">
                <a:pos x="185" y="396"/>
              </a:cxn>
              <a:cxn ang="0">
                <a:pos x="68" y="336"/>
              </a:cxn>
              <a:cxn ang="0">
                <a:pos x="60" y="291"/>
              </a:cxn>
              <a:cxn ang="0">
                <a:pos x="0" y="195"/>
              </a:cxn>
              <a:cxn ang="0">
                <a:pos x="89" y="185"/>
              </a:cxn>
              <a:cxn ang="0">
                <a:pos x="133" y="122"/>
              </a:cxn>
              <a:cxn ang="0">
                <a:pos x="270" y="96"/>
              </a:cxn>
              <a:cxn ang="0">
                <a:pos x="287" y="29"/>
              </a:cxn>
            </a:cxnLst>
            <a:rect l="0" t="0" r="r" b="b"/>
            <a:pathLst>
              <a:path w="617" h="459">
                <a:moveTo>
                  <a:pt x="287" y="29"/>
                </a:moveTo>
                <a:lnTo>
                  <a:pt x="379" y="27"/>
                </a:lnTo>
                <a:lnTo>
                  <a:pt x="430" y="0"/>
                </a:lnTo>
                <a:lnTo>
                  <a:pt x="489" y="33"/>
                </a:lnTo>
                <a:lnTo>
                  <a:pt x="441" y="101"/>
                </a:lnTo>
                <a:lnTo>
                  <a:pt x="486" y="134"/>
                </a:lnTo>
                <a:lnTo>
                  <a:pt x="562" y="122"/>
                </a:lnTo>
                <a:lnTo>
                  <a:pt x="616" y="185"/>
                </a:lnTo>
                <a:lnTo>
                  <a:pt x="585" y="239"/>
                </a:lnTo>
                <a:lnTo>
                  <a:pt x="511" y="218"/>
                </a:lnTo>
                <a:lnTo>
                  <a:pt x="510" y="272"/>
                </a:lnTo>
                <a:lnTo>
                  <a:pt x="491" y="303"/>
                </a:lnTo>
                <a:lnTo>
                  <a:pt x="527" y="363"/>
                </a:lnTo>
                <a:lnTo>
                  <a:pt x="574" y="341"/>
                </a:lnTo>
                <a:lnTo>
                  <a:pt x="612" y="409"/>
                </a:lnTo>
                <a:lnTo>
                  <a:pt x="544" y="458"/>
                </a:lnTo>
                <a:lnTo>
                  <a:pt x="394" y="442"/>
                </a:lnTo>
                <a:lnTo>
                  <a:pt x="341" y="400"/>
                </a:lnTo>
                <a:lnTo>
                  <a:pt x="185" y="396"/>
                </a:lnTo>
                <a:lnTo>
                  <a:pt x="68" y="336"/>
                </a:lnTo>
                <a:lnTo>
                  <a:pt x="60" y="291"/>
                </a:lnTo>
                <a:lnTo>
                  <a:pt x="0" y="195"/>
                </a:lnTo>
                <a:lnTo>
                  <a:pt x="89" y="185"/>
                </a:lnTo>
                <a:lnTo>
                  <a:pt x="133" y="122"/>
                </a:lnTo>
                <a:lnTo>
                  <a:pt x="270" y="96"/>
                </a:lnTo>
                <a:lnTo>
                  <a:pt x="287" y="29"/>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29" name="Freeform 26"/>
          <p:cNvSpPr>
            <a:spLocks/>
          </p:cNvSpPr>
          <p:nvPr/>
        </p:nvSpPr>
        <p:spPr bwMode="auto">
          <a:xfrm>
            <a:off x="7538573" y="3934269"/>
            <a:ext cx="507052" cy="398859"/>
          </a:xfrm>
          <a:custGeom>
            <a:avLst/>
            <a:gdLst/>
            <a:ahLst/>
            <a:cxnLst>
              <a:cxn ang="0">
                <a:pos x="0" y="57"/>
              </a:cxn>
              <a:cxn ang="0">
                <a:pos x="71" y="49"/>
              </a:cxn>
              <a:cxn ang="0">
                <a:pos x="115" y="68"/>
              </a:cxn>
              <a:cxn ang="0">
                <a:pos x="153" y="43"/>
              </a:cxn>
              <a:cxn ang="0">
                <a:pos x="243" y="44"/>
              </a:cxn>
              <a:cxn ang="0">
                <a:pos x="293" y="0"/>
              </a:cxn>
              <a:cxn ang="0">
                <a:pos x="396" y="44"/>
              </a:cxn>
              <a:cxn ang="0">
                <a:pos x="446" y="80"/>
              </a:cxn>
              <a:cxn ang="0">
                <a:pos x="529" y="215"/>
              </a:cxn>
              <a:cxn ang="0">
                <a:pos x="624" y="247"/>
              </a:cxn>
              <a:cxn ang="0">
                <a:pos x="568" y="277"/>
              </a:cxn>
              <a:cxn ang="0">
                <a:pos x="634" y="298"/>
              </a:cxn>
              <a:cxn ang="0">
                <a:pos x="567" y="331"/>
              </a:cxn>
              <a:cxn ang="0">
                <a:pos x="508" y="379"/>
              </a:cxn>
              <a:cxn ang="0">
                <a:pos x="429" y="365"/>
              </a:cxn>
              <a:cxn ang="0">
                <a:pos x="337" y="376"/>
              </a:cxn>
              <a:cxn ang="0">
                <a:pos x="327" y="322"/>
              </a:cxn>
              <a:cxn ang="0">
                <a:pos x="293" y="269"/>
              </a:cxn>
              <a:cxn ang="0">
                <a:pos x="286" y="231"/>
              </a:cxn>
              <a:cxn ang="0">
                <a:pos x="220" y="203"/>
              </a:cxn>
              <a:cxn ang="0">
                <a:pos x="236" y="165"/>
              </a:cxn>
              <a:cxn ang="0">
                <a:pos x="210" y="131"/>
              </a:cxn>
              <a:cxn ang="0">
                <a:pos x="117" y="145"/>
              </a:cxn>
              <a:cxn ang="0">
                <a:pos x="55" y="126"/>
              </a:cxn>
              <a:cxn ang="0">
                <a:pos x="0" y="57"/>
              </a:cxn>
            </a:cxnLst>
            <a:rect l="0" t="0" r="r" b="b"/>
            <a:pathLst>
              <a:path w="635" h="380">
                <a:moveTo>
                  <a:pt x="0" y="57"/>
                </a:moveTo>
                <a:lnTo>
                  <a:pt x="71" y="49"/>
                </a:lnTo>
                <a:lnTo>
                  <a:pt x="115" y="68"/>
                </a:lnTo>
                <a:lnTo>
                  <a:pt x="153" y="43"/>
                </a:lnTo>
                <a:lnTo>
                  <a:pt x="243" y="44"/>
                </a:lnTo>
                <a:lnTo>
                  <a:pt x="293" y="0"/>
                </a:lnTo>
                <a:lnTo>
                  <a:pt x="396" y="44"/>
                </a:lnTo>
                <a:lnTo>
                  <a:pt x="446" y="80"/>
                </a:lnTo>
                <a:lnTo>
                  <a:pt x="529" y="215"/>
                </a:lnTo>
                <a:lnTo>
                  <a:pt x="624" y="247"/>
                </a:lnTo>
                <a:lnTo>
                  <a:pt x="568" y="277"/>
                </a:lnTo>
                <a:lnTo>
                  <a:pt x="634" y="298"/>
                </a:lnTo>
                <a:lnTo>
                  <a:pt x="567" y="331"/>
                </a:lnTo>
                <a:lnTo>
                  <a:pt x="508" y="379"/>
                </a:lnTo>
                <a:lnTo>
                  <a:pt x="429" y="365"/>
                </a:lnTo>
                <a:lnTo>
                  <a:pt x="337" y="376"/>
                </a:lnTo>
                <a:lnTo>
                  <a:pt x="327" y="322"/>
                </a:lnTo>
                <a:lnTo>
                  <a:pt x="293" y="269"/>
                </a:lnTo>
                <a:lnTo>
                  <a:pt x="286" y="231"/>
                </a:lnTo>
                <a:lnTo>
                  <a:pt x="220" y="203"/>
                </a:lnTo>
                <a:lnTo>
                  <a:pt x="236" y="165"/>
                </a:lnTo>
                <a:lnTo>
                  <a:pt x="210" y="131"/>
                </a:lnTo>
                <a:lnTo>
                  <a:pt x="117" y="145"/>
                </a:lnTo>
                <a:lnTo>
                  <a:pt x="55" y="126"/>
                </a:lnTo>
                <a:lnTo>
                  <a:pt x="0" y="57"/>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30" name="Freeform 27"/>
          <p:cNvSpPr>
            <a:spLocks/>
          </p:cNvSpPr>
          <p:nvPr/>
        </p:nvSpPr>
        <p:spPr bwMode="auto">
          <a:xfrm>
            <a:off x="7774336" y="4251490"/>
            <a:ext cx="328346" cy="465335"/>
          </a:xfrm>
          <a:custGeom>
            <a:avLst/>
            <a:gdLst/>
            <a:ahLst/>
            <a:cxnLst>
              <a:cxn ang="0">
                <a:pos x="328" y="0"/>
              </a:cxn>
              <a:cxn ang="0">
                <a:pos x="259" y="33"/>
              </a:cxn>
              <a:cxn ang="0">
                <a:pos x="200" y="81"/>
              </a:cxn>
              <a:cxn ang="0">
                <a:pos x="118" y="70"/>
              </a:cxn>
              <a:cxn ang="0">
                <a:pos x="98" y="143"/>
              </a:cxn>
              <a:cxn ang="0">
                <a:pos x="44" y="157"/>
              </a:cxn>
              <a:cxn ang="0">
                <a:pos x="0" y="256"/>
              </a:cxn>
              <a:cxn ang="0">
                <a:pos x="32" y="373"/>
              </a:cxn>
              <a:cxn ang="0">
                <a:pos x="88" y="382"/>
              </a:cxn>
              <a:cxn ang="0">
                <a:pos x="133" y="440"/>
              </a:cxn>
              <a:cxn ang="0">
                <a:pos x="179" y="437"/>
              </a:cxn>
              <a:cxn ang="0">
                <a:pos x="210" y="416"/>
              </a:cxn>
              <a:cxn ang="0">
                <a:pos x="293" y="422"/>
              </a:cxn>
              <a:cxn ang="0">
                <a:pos x="335" y="332"/>
              </a:cxn>
              <a:cxn ang="0">
                <a:pos x="391" y="315"/>
              </a:cxn>
              <a:cxn ang="0">
                <a:pos x="366" y="231"/>
              </a:cxn>
              <a:cxn ang="0">
                <a:pos x="409" y="203"/>
              </a:cxn>
              <a:cxn ang="0">
                <a:pos x="396" y="156"/>
              </a:cxn>
              <a:cxn ang="0">
                <a:pos x="252" y="121"/>
              </a:cxn>
              <a:cxn ang="0">
                <a:pos x="360" y="63"/>
              </a:cxn>
              <a:cxn ang="0">
                <a:pos x="328" y="0"/>
              </a:cxn>
            </a:cxnLst>
            <a:rect l="0" t="0" r="r" b="b"/>
            <a:pathLst>
              <a:path w="410" h="441">
                <a:moveTo>
                  <a:pt x="328" y="0"/>
                </a:moveTo>
                <a:lnTo>
                  <a:pt x="259" y="33"/>
                </a:lnTo>
                <a:lnTo>
                  <a:pt x="200" y="81"/>
                </a:lnTo>
                <a:lnTo>
                  <a:pt x="118" y="70"/>
                </a:lnTo>
                <a:lnTo>
                  <a:pt x="98" y="143"/>
                </a:lnTo>
                <a:lnTo>
                  <a:pt x="44" y="157"/>
                </a:lnTo>
                <a:lnTo>
                  <a:pt x="0" y="256"/>
                </a:lnTo>
                <a:lnTo>
                  <a:pt x="32" y="373"/>
                </a:lnTo>
                <a:lnTo>
                  <a:pt x="88" y="382"/>
                </a:lnTo>
                <a:lnTo>
                  <a:pt x="133" y="440"/>
                </a:lnTo>
                <a:lnTo>
                  <a:pt x="179" y="437"/>
                </a:lnTo>
                <a:lnTo>
                  <a:pt x="210" y="416"/>
                </a:lnTo>
                <a:lnTo>
                  <a:pt x="293" y="422"/>
                </a:lnTo>
                <a:lnTo>
                  <a:pt x="335" y="332"/>
                </a:lnTo>
                <a:lnTo>
                  <a:pt x="391" y="315"/>
                </a:lnTo>
                <a:lnTo>
                  <a:pt x="366" y="231"/>
                </a:lnTo>
                <a:lnTo>
                  <a:pt x="409" y="203"/>
                </a:lnTo>
                <a:lnTo>
                  <a:pt x="396" y="156"/>
                </a:lnTo>
                <a:lnTo>
                  <a:pt x="252" y="121"/>
                </a:lnTo>
                <a:lnTo>
                  <a:pt x="360" y="63"/>
                </a:lnTo>
                <a:lnTo>
                  <a:pt x="328" y="0"/>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31" name="Freeform 28"/>
          <p:cNvSpPr>
            <a:spLocks/>
          </p:cNvSpPr>
          <p:nvPr/>
        </p:nvSpPr>
        <p:spPr bwMode="auto">
          <a:xfrm>
            <a:off x="7484747" y="4067222"/>
            <a:ext cx="396168" cy="454840"/>
          </a:xfrm>
          <a:custGeom>
            <a:avLst/>
            <a:gdLst/>
            <a:ahLst/>
            <a:cxnLst>
              <a:cxn ang="0">
                <a:pos x="119" y="2"/>
              </a:cxn>
              <a:cxn ang="0">
                <a:pos x="181" y="17"/>
              </a:cxn>
              <a:cxn ang="0">
                <a:pos x="285" y="0"/>
              </a:cxn>
              <a:cxn ang="0">
                <a:pos x="303" y="40"/>
              </a:cxn>
              <a:cxn ang="0">
                <a:pos x="289" y="80"/>
              </a:cxn>
              <a:cxn ang="0">
                <a:pos x="353" y="104"/>
              </a:cxn>
              <a:cxn ang="0">
                <a:pos x="358" y="144"/>
              </a:cxn>
              <a:cxn ang="0">
                <a:pos x="395" y="201"/>
              </a:cxn>
              <a:cxn ang="0">
                <a:pos x="407" y="246"/>
              </a:cxn>
              <a:cxn ang="0">
                <a:pos x="492" y="241"/>
              </a:cxn>
              <a:cxn ang="0">
                <a:pos x="469" y="316"/>
              </a:cxn>
              <a:cxn ang="0">
                <a:pos x="410" y="330"/>
              </a:cxn>
              <a:cxn ang="0">
                <a:pos x="373" y="430"/>
              </a:cxn>
              <a:cxn ang="0">
                <a:pos x="318" y="430"/>
              </a:cxn>
              <a:cxn ang="0">
                <a:pos x="286" y="403"/>
              </a:cxn>
              <a:cxn ang="0">
                <a:pos x="234" y="425"/>
              </a:cxn>
              <a:cxn ang="0">
                <a:pos x="192" y="395"/>
              </a:cxn>
              <a:cxn ang="0">
                <a:pos x="158" y="405"/>
              </a:cxn>
              <a:cxn ang="0">
                <a:pos x="111" y="350"/>
              </a:cxn>
              <a:cxn ang="0">
                <a:pos x="113" y="296"/>
              </a:cxn>
              <a:cxn ang="0">
                <a:pos x="51" y="271"/>
              </a:cxn>
              <a:cxn ang="0">
                <a:pos x="112" y="222"/>
              </a:cxn>
              <a:cxn ang="0">
                <a:pos x="79" y="159"/>
              </a:cxn>
              <a:cxn ang="0">
                <a:pos x="37" y="175"/>
              </a:cxn>
              <a:cxn ang="0">
                <a:pos x="0" y="116"/>
              </a:cxn>
              <a:cxn ang="0">
                <a:pos x="12" y="88"/>
              </a:cxn>
              <a:cxn ang="0">
                <a:pos x="19" y="29"/>
              </a:cxn>
              <a:cxn ang="0">
                <a:pos x="91" y="49"/>
              </a:cxn>
              <a:cxn ang="0">
                <a:pos x="119" y="2"/>
              </a:cxn>
            </a:cxnLst>
            <a:rect l="0" t="0" r="r" b="b"/>
            <a:pathLst>
              <a:path w="493" h="431">
                <a:moveTo>
                  <a:pt x="119" y="2"/>
                </a:moveTo>
                <a:lnTo>
                  <a:pt x="181" y="17"/>
                </a:lnTo>
                <a:lnTo>
                  <a:pt x="285" y="0"/>
                </a:lnTo>
                <a:lnTo>
                  <a:pt x="303" y="40"/>
                </a:lnTo>
                <a:lnTo>
                  <a:pt x="289" y="80"/>
                </a:lnTo>
                <a:lnTo>
                  <a:pt x="353" y="104"/>
                </a:lnTo>
                <a:lnTo>
                  <a:pt x="358" y="144"/>
                </a:lnTo>
                <a:lnTo>
                  <a:pt x="395" y="201"/>
                </a:lnTo>
                <a:lnTo>
                  <a:pt x="407" y="246"/>
                </a:lnTo>
                <a:lnTo>
                  <a:pt x="492" y="241"/>
                </a:lnTo>
                <a:lnTo>
                  <a:pt x="469" y="316"/>
                </a:lnTo>
                <a:lnTo>
                  <a:pt x="410" y="330"/>
                </a:lnTo>
                <a:lnTo>
                  <a:pt x="373" y="430"/>
                </a:lnTo>
                <a:lnTo>
                  <a:pt x="318" y="430"/>
                </a:lnTo>
                <a:lnTo>
                  <a:pt x="286" y="403"/>
                </a:lnTo>
                <a:lnTo>
                  <a:pt x="234" y="425"/>
                </a:lnTo>
                <a:lnTo>
                  <a:pt x="192" y="395"/>
                </a:lnTo>
                <a:lnTo>
                  <a:pt x="158" y="405"/>
                </a:lnTo>
                <a:lnTo>
                  <a:pt x="111" y="350"/>
                </a:lnTo>
                <a:lnTo>
                  <a:pt x="113" y="296"/>
                </a:lnTo>
                <a:lnTo>
                  <a:pt x="51" y="271"/>
                </a:lnTo>
                <a:lnTo>
                  <a:pt x="112" y="222"/>
                </a:lnTo>
                <a:lnTo>
                  <a:pt x="79" y="159"/>
                </a:lnTo>
                <a:lnTo>
                  <a:pt x="37" y="175"/>
                </a:lnTo>
                <a:lnTo>
                  <a:pt x="0" y="116"/>
                </a:lnTo>
                <a:lnTo>
                  <a:pt x="12" y="88"/>
                </a:lnTo>
                <a:lnTo>
                  <a:pt x="19" y="29"/>
                </a:lnTo>
                <a:lnTo>
                  <a:pt x="91" y="49"/>
                </a:lnTo>
                <a:lnTo>
                  <a:pt x="119" y="2"/>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32" name="Freeform 29"/>
          <p:cNvSpPr>
            <a:spLocks/>
          </p:cNvSpPr>
          <p:nvPr/>
        </p:nvSpPr>
        <p:spPr bwMode="auto">
          <a:xfrm>
            <a:off x="6976994" y="4222334"/>
            <a:ext cx="635161" cy="432681"/>
          </a:xfrm>
          <a:custGeom>
            <a:avLst/>
            <a:gdLst/>
            <a:ahLst/>
            <a:cxnLst>
              <a:cxn ang="0">
                <a:pos x="56" y="0"/>
              </a:cxn>
              <a:cxn ang="0">
                <a:pos x="213" y="12"/>
              </a:cxn>
              <a:cxn ang="0">
                <a:pos x="331" y="73"/>
              </a:cxn>
              <a:cxn ang="0">
                <a:pos x="481" y="76"/>
              </a:cxn>
              <a:cxn ang="0">
                <a:pos x="541" y="118"/>
              </a:cxn>
              <a:cxn ang="0">
                <a:pos x="687" y="133"/>
              </a:cxn>
              <a:cxn ang="0">
                <a:pos x="750" y="159"/>
              </a:cxn>
              <a:cxn ang="0">
                <a:pos x="746" y="211"/>
              </a:cxn>
              <a:cxn ang="0">
                <a:pos x="794" y="265"/>
              </a:cxn>
              <a:cxn ang="0">
                <a:pos x="700" y="296"/>
              </a:cxn>
              <a:cxn ang="0">
                <a:pos x="592" y="366"/>
              </a:cxn>
              <a:cxn ang="0">
                <a:pos x="525" y="314"/>
              </a:cxn>
              <a:cxn ang="0">
                <a:pos x="474" y="350"/>
              </a:cxn>
              <a:cxn ang="0">
                <a:pos x="441" y="335"/>
              </a:cxn>
              <a:cxn ang="0">
                <a:pos x="398" y="351"/>
              </a:cxn>
              <a:cxn ang="0">
                <a:pos x="359" y="326"/>
              </a:cxn>
              <a:cxn ang="0">
                <a:pos x="238" y="323"/>
              </a:cxn>
              <a:cxn ang="0">
                <a:pos x="198" y="385"/>
              </a:cxn>
              <a:cxn ang="0">
                <a:pos x="147" y="363"/>
              </a:cxn>
              <a:cxn ang="0">
                <a:pos x="87" y="407"/>
              </a:cxn>
              <a:cxn ang="0">
                <a:pos x="10" y="367"/>
              </a:cxn>
              <a:cxn ang="0">
                <a:pos x="0" y="285"/>
              </a:cxn>
              <a:cxn ang="0">
                <a:pos x="117" y="249"/>
              </a:cxn>
              <a:cxn ang="0">
                <a:pos x="128" y="188"/>
              </a:cxn>
              <a:cxn ang="0">
                <a:pos x="86" y="156"/>
              </a:cxn>
              <a:cxn ang="0">
                <a:pos x="111" y="59"/>
              </a:cxn>
              <a:cxn ang="0">
                <a:pos x="56" y="0"/>
              </a:cxn>
            </a:cxnLst>
            <a:rect l="0" t="0" r="r" b="b"/>
            <a:pathLst>
              <a:path w="795" h="408">
                <a:moveTo>
                  <a:pt x="56" y="0"/>
                </a:moveTo>
                <a:lnTo>
                  <a:pt x="213" y="12"/>
                </a:lnTo>
                <a:lnTo>
                  <a:pt x="331" y="73"/>
                </a:lnTo>
                <a:lnTo>
                  <a:pt x="481" y="76"/>
                </a:lnTo>
                <a:lnTo>
                  <a:pt x="541" y="118"/>
                </a:lnTo>
                <a:lnTo>
                  <a:pt x="687" y="133"/>
                </a:lnTo>
                <a:lnTo>
                  <a:pt x="750" y="159"/>
                </a:lnTo>
                <a:lnTo>
                  <a:pt x="746" y="211"/>
                </a:lnTo>
                <a:lnTo>
                  <a:pt x="794" y="265"/>
                </a:lnTo>
                <a:lnTo>
                  <a:pt x="700" y="296"/>
                </a:lnTo>
                <a:lnTo>
                  <a:pt x="592" y="366"/>
                </a:lnTo>
                <a:lnTo>
                  <a:pt x="525" y="314"/>
                </a:lnTo>
                <a:lnTo>
                  <a:pt x="474" y="350"/>
                </a:lnTo>
                <a:lnTo>
                  <a:pt x="441" y="335"/>
                </a:lnTo>
                <a:lnTo>
                  <a:pt x="398" y="351"/>
                </a:lnTo>
                <a:lnTo>
                  <a:pt x="359" y="326"/>
                </a:lnTo>
                <a:lnTo>
                  <a:pt x="238" y="323"/>
                </a:lnTo>
                <a:lnTo>
                  <a:pt x="198" y="385"/>
                </a:lnTo>
                <a:lnTo>
                  <a:pt x="147" y="363"/>
                </a:lnTo>
                <a:lnTo>
                  <a:pt x="87" y="407"/>
                </a:lnTo>
                <a:lnTo>
                  <a:pt x="10" y="367"/>
                </a:lnTo>
                <a:lnTo>
                  <a:pt x="0" y="285"/>
                </a:lnTo>
                <a:lnTo>
                  <a:pt x="117" y="249"/>
                </a:lnTo>
                <a:lnTo>
                  <a:pt x="128" y="188"/>
                </a:lnTo>
                <a:lnTo>
                  <a:pt x="86" y="156"/>
                </a:lnTo>
                <a:lnTo>
                  <a:pt x="111" y="59"/>
                </a:lnTo>
                <a:lnTo>
                  <a:pt x="56" y="0"/>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33" name="Freeform 30"/>
          <p:cNvSpPr>
            <a:spLocks/>
          </p:cNvSpPr>
          <p:nvPr/>
        </p:nvSpPr>
        <p:spPr bwMode="auto">
          <a:xfrm>
            <a:off x="6592099" y="4671343"/>
            <a:ext cx="522124" cy="489828"/>
          </a:xfrm>
          <a:custGeom>
            <a:avLst/>
            <a:gdLst/>
            <a:ahLst/>
            <a:cxnLst>
              <a:cxn ang="0">
                <a:pos x="93" y="129"/>
              </a:cxn>
              <a:cxn ang="0">
                <a:pos x="88" y="208"/>
              </a:cxn>
              <a:cxn ang="0">
                <a:pos x="0" y="216"/>
              </a:cxn>
              <a:cxn ang="0">
                <a:pos x="0" y="285"/>
              </a:cxn>
              <a:cxn ang="0">
                <a:pos x="84" y="292"/>
              </a:cxn>
              <a:cxn ang="0">
                <a:pos x="73" y="358"/>
              </a:cxn>
              <a:cxn ang="0">
                <a:pos x="111" y="404"/>
              </a:cxn>
              <a:cxn ang="0">
                <a:pos x="101" y="464"/>
              </a:cxn>
              <a:cxn ang="0">
                <a:pos x="189" y="428"/>
              </a:cxn>
              <a:cxn ang="0">
                <a:pos x="281" y="452"/>
              </a:cxn>
              <a:cxn ang="0">
                <a:pos x="281" y="418"/>
              </a:cxn>
              <a:cxn ang="0">
                <a:pos x="381" y="366"/>
              </a:cxn>
              <a:cxn ang="0">
                <a:pos x="469" y="392"/>
              </a:cxn>
              <a:cxn ang="0">
                <a:pos x="506" y="364"/>
              </a:cxn>
              <a:cxn ang="0">
                <a:pos x="568" y="360"/>
              </a:cxn>
              <a:cxn ang="0">
                <a:pos x="602" y="317"/>
              </a:cxn>
              <a:cxn ang="0">
                <a:pos x="653" y="302"/>
              </a:cxn>
              <a:cxn ang="0">
                <a:pos x="625" y="246"/>
              </a:cxn>
              <a:cxn ang="0">
                <a:pos x="635" y="194"/>
              </a:cxn>
              <a:cxn ang="0">
                <a:pos x="560" y="199"/>
              </a:cxn>
              <a:cxn ang="0">
                <a:pos x="602" y="156"/>
              </a:cxn>
              <a:cxn ang="0">
                <a:pos x="565" y="65"/>
              </a:cxn>
              <a:cxn ang="0">
                <a:pos x="519" y="69"/>
              </a:cxn>
              <a:cxn ang="0">
                <a:pos x="476" y="2"/>
              </a:cxn>
              <a:cxn ang="0">
                <a:pos x="386" y="0"/>
              </a:cxn>
              <a:cxn ang="0">
                <a:pos x="309" y="71"/>
              </a:cxn>
              <a:cxn ang="0">
                <a:pos x="252" y="53"/>
              </a:cxn>
              <a:cxn ang="0">
                <a:pos x="203" y="84"/>
              </a:cxn>
              <a:cxn ang="0">
                <a:pos x="258" y="126"/>
              </a:cxn>
              <a:cxn ang="0">
                <a:pos x="250" y="158"/>
              </a:cxn>
              <a:cxn ang="0">
                <a:pos x="174" y="151"/>
              </a:cxn>
              <a:cxn ang="0">
                <a:pos x="173" y="124"/>
              </a:cxn>
              <a:cxn ang="0">
                <a:pos x="169" y="124"/>
              </a:cxn>
              <a:cxn ang="0">
                <a:pos x="161" y="124"/>
              </a:cxn>
              <a:cxn ang="0">
                <a:pos x="149" y="125"/>
              </a:cxn>
              <a:cxn ang="0">
                <a:pos x="134" y="125"/>
              </a:cxn>
              <a:cxn ang="0">
                <a:pos x="119" y="126"/>
              </a:cxn>
              <a:cxn ang="0">
                <a:pos x="107" y="127"/>
              </a:cxn>
              <a:cxn ang="0">
                <a:pos x="97" y="128"/>
              </a:cxn>
              <a:cxn ang="0">
                <a:pos x="93" y="129"/>
              </a:cxn>
            </a:cxnLst>
            <a:rect l="0" t="0" r="r" b="b"/>
            <a:pathLst>
              <a:path w="654" h="465">
                <a:moveTo>
                  <a:pt x="93" y="129"/>
                </a:moveTo>
                <a:lnTo>
                  <a:pt x="88" y="208"/>
                </a:lnTo>
                <a:lnTo>
                  <a:pt x="0" y="216"/>
                </a:lnTo>
                <a:lnTo>
                  <a:pt x="0" y="285"/>
                </a:lnTo>
                <a:lnTo>
                  <a:pt x="84" y="292"/>
                </a:lnTo>
                <a:lnTo>
                  <a:pt x="73" y="358"/>
                </a:lnTo>
                <a:lnTo>
                  <a:pt x="111" y="404"/>
                </a:lnTo>
                <a:lnTo>
                  <a:pt x="101" y="464"/>
                </a:lnTo>
                <a:lnTo>
                  <a:pt x="189" y="428"/>
                </a:lnTo>
                <a:lnTo>
                  <a:pt x="281" y="452"/>
                </a:lnTo>
                <a:lnTo>
                  <a:pt x="281" y="418"/>
                </a:lnTo>
                <a:lnTo>
                  <a:pt x="381" y="366"/>
                </a:lnTo>
                <a:lnTo>
                  <a:pt x="469" y="392"/>
                </a:lnTo>
                <a:lnTo>
                  <a:pt x="506" y="364"/>
                </a:lnTo>
                <a:lnTo>
                  <a:pt x="568" y="360"/>
                </a:lnTo>
                <a:lnTo>
                  <a:pt x="602" y="317"/>
                </a:lnTo>
                <a:lnTo>
                  <a:pt x="653" y="302"/>
                </a:lnTo>
                <a:lnTo>
                  <a:pt x="625" y="246"/>
                </a:lnTo>
                <a:lnTo>
                  <a:pt x="635" y="194"/>
                </a:lnTo>
                <a:lnTo>
                  <a:pt x="560" y="199"/>
                </a:lnTo>
                <a:lnTo>
                  <a:pt x="602" y="156"/>
                </a:lnTo>
                <a:lnTo>
                  <a:pt x="565" y="65"/>
                </a:lnTo>
                <a:lnTo>
                  <a:pt x="519" y="69"/>
                </a:lnTo>
                <a:lnTo>
                  <a:pt x="476" y="2"/>
                </a:lnTo>
                <a:lnTo>
                  <a:pt x="386" y="0"/>
                </a:lnTo>
                <a:lnTo>
                  <a:pt x="309" y="71"/>
                </a:lnTo>
                <a:lnTo>
                  <a:pt x="252" y="53"/>
                </a:lnTo>
                <a:lnTo>
                  <a:pt x="203" y="84"/>
                </a:lnTo>
                <a:lnTo>
                  <a:pt x="258" y="126"/>
                </a:lnTo>
                <a:lnTo>
                  <a:pt x="250" y="158"/>
                </a:lnTo>
                <a:lnTo>
                  <a:pt x="174" y="151"/>
                </a:lnTo>
                <a:lnTo>
                  <a:pt x="173" y="124"/>
                </a:lnTo>
                <a:lnTo>
                  <a:pt x="169" y="124"/>
                </a:lnTo>
                <a:lnTo>
                  <a:pt x="161" y="124"/>
                </a:lnTo>
                <a:lnTo>
                  <a:pt x="149" y="125"/>
                </a:lnTo>
                <a:lnTo>
                  <a:pt x="134" y="125"/>
                </a:lnTo>
                <a:lnTo>
                  <a:pt x="119" y="126"/>
                </a:lnTo>
                <a:lnTo>
                  <a:pt x="107" y="127"/>
                </a:lnTo>
                <a:lnTo>
                  <a:pt x="97" y="128"/>
                </a:lnTo>
                <a:lnTo>
                  <a:pt x="93" y="129"/>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34" name="Freeform 31"/>
          <p:cNvSpPr>
            <a:spLocks/>
          </p:cNvSpPr>
          <p:nvPr/>
        </p:nvSpPr>
        <p:spPr bwMode="auto">
          <a:xfrm>
            <a:off x="7991799" y="4969904"/>
            <a:ext cx="159328" cy="391862"/>
          </a:xfrm>
          <a:custGeom>
            <a:avLst/>
            <a:gdLst/>
            <a:ahLst/>
            <a:cxnLst>
              <a:cxn ang="0">
                <a:pos x="143" y="0"/>
              </a:cxn>
              <a:cxn ang="0">
                <a:pos x="69" y="23"/>
              </a:cxn>
              <a:cxn ang="0">
                <a:pos x="10" y="132"/>
              </a:cxn>
              <a:cxn ang="0">
                <a:pos x="12" y="177"/>
              </a:cxn>
              <a:cxn ang="0">
                <a:pos x="35" y="175"/>
              </a:cxn>
              <a:cxn ang="0">
                <a:pos x="39" y="213"/>
              </a:cxn>
              <a:cxn ang="0">
                <a:pos x="0" y="219"/>
              </a:cxn>
              <a:cxn ang="0">
                <a:pos x="16" y="271"/>
              </a:cxn>
              <a:cxn ang="0">
                <a:pos x="41" y="277"/>
              </a:cxn>
              <a:cxn ang="0">
                <a:pos x="85" y="371"/>
              </a:cxn>
              <a:cxn ang="0">
                <a:pos x="111" y="371"/>
              </a:cxn>
              <a:cxn ang="0">
                <a:pos x="131" y="322"/>
              </a:cxn>
              <a:cxn ang="0">
                <a:pos x="123" y="268"/>
              </a:cxn>
              <a:cxn ang="0">
                <a:pos x="149" y="262"/>
              </a:cxn>
              <a:cxn ang="0">
                <a:pos x="143" y="232"/>
              </a:cxn>
              <a:cxn ang="0">
                <a:pos x="166" y="211"/>
              </a:cxn>
              <a:cxn ang="0">
                <a:pos x="159" y="89"/>
              </a:cxn>
              <a:cxn ang="0">
                <a:pos x="189" y="78"/>
              </a:cxn>
              <a:cxn ang="0">
                <a:pos x="198" y="40"/>
              </a:cxn>
              <a:cxn ang="0">
                <a:pos x="143" y="0"/>
              </a:cxn>
            </a:cxnLst>
            <a:rect l="0" t="0" r="r" b="b"/>
            <a:pathLst>
              <a:path w="199" h="372">
                <a:moveTo>
                  <a:pt x="143" y="0"/>
                </a:moveTo>
                <a:lnTo>
                  <a:pt x="69" y="23"/>
                </a:lnTo>
                <a:lnTo>
                  <a:pt x="10" y="132"/>
                </a:lnTo>
                <a:lnTo>
                  <a:pt x="12" y="177"/>
                </a:lnTo>
                <a:lnTo>
                  <a:pt x="35" y="175"/>
                </a:lnTo>
                <a:lnTo>
                  <a:pt x="39" y="213"/>
                </a:lnTo>
                <a:lnTo>
                  <a:pt x="0" y="219"/>
                </a:lnTo>
                <a:lnTo>
                  <a:pt x="16" y="271"/>
                </a:lnTo>
                <a:lnTo>
                  <a:pt x="41" y="277"/>
                </a:lnTo>
                <a:lnTo>
                  <a:pt x="85" y="371"/>
                </a:lnTo>
                <a:lnTo>
                  <a:pt x="111" y="371"/>
                </a:lnTo>
                <a:lnTo>
                  <a:pt x="131" y="322"/>
                </a:lnTo>
                <a:lnTo>
                  <a:pt x="123" y="268"/>
                </a:lnTo>
                <a:lnTo>
                  <a:pt x="149" y="262"/>
                </a:lnTo>
                <a:lnTo>
                  <a:pt x="143" y="232"/>
                </a:lnTo>
                <a:lnTo>
                  <a:pt x="166" y="211"/>
                </a:lnTo>
                <a:lnTo>
                  <a:pt x="159" y="89"/>
                </a:lnTo>
                <a:lnTo>
                  <a:pt x="189" y="78"/>
                </a:lnTo>
                <a:lnTo>
                  <a:pt x="198" y="40"/>
                </a:lnTo>
                <a:lnTo>
                  <a:pt x="143" y="0"/>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35" name="Freeform 32"/>
          <p:cNvSpPr>
            <a:spLocks/>
          </p:cNvSpPr>
          <p:nvPr/>
        </p:nvSpPr>
        <p:spPr bwMode="auto">
          <a:xfrm>
            <a:off x="7011067" y="4560548"/>
            <a:ext cx="465067" cy="558636"/>
          </a:xfrm>
          <a:custGeom>
            <a:avLst/>
            <a:gdLst/>
            <a:ahLst/>
            <a:cxnLst>
              <a:cxn ang="0">
                <a:pos x="11" y="191"/>
              </a:cxn>
              <a:cxn ang="0">
                <a:pos x="23" y="92"/>
              </a:cxn>
              <a:cxn ang="0">
                <a:pos x="81" y="51"/>
              </a:cxn>
              <a:cxn ang="0">
                <a:pos x="137" y="69"/>
              </a:cxn>
              <a:cxn ang="0">
                <a:pos x="173" y="3"/>
              </a:cxn>
              <a:cxn ang="0">
                <a:pos x="300" y="9"/>
              </a:cxn>
              <a:cxn ang="0">
                <a:pos x="331" y="36"/>
              </a:cxn>
              <a:cxn ang="0">
                <a:pos x="377" y="11"/>
              </a:cxn>
              <a:cxn ang="0">
                <a:pos x="406" y="38"/>
              </a:cxn>
              <a:cxn ang="0">
                <a:pos x="465" y="0"/>
              </a:cxn>
              <a:cxn ang="0">
                <a:pos x="528" y="51"/>
              </a:cxn>
              <a:cxn ang="0">
                <a:pos x="510" y="120"/>
              </a:cxn>
              <a:cxn ang="0">
                <a:pos x="551" y="172"/>
              </a:cxn>
              <a:cxn ang="0">
                <a:pos x="510" y="214"/>
              </a:cxn>
              <a:cxn ang="0">
                <a:pos x="541" y="309"/>
              </a:cxn>
              <a:cxn ang="0">
                <a:pos x="580" y="324"/>
              </a:cxn>
              <a:cxn ang="0">
                <a:pos x="582" y="446"/>
              </a:cxn>
              <a:cxn ang="0">
                <a:pos x="464" y="441"/>
              </a:cxn>
              <a:cxn ang="0">
                <a:pos x="458" y="482"/>
              </a:cxn>
              <a:cxn ang="0">
                <a:pos x="388" y="487"/>
              </a:cxn>
              <a:cxn ang="0">
                <a:pos x="377" y="529"/>
              </a:cxn>
              <a:cxn ang="0">
                <a:pos x="246" y="506"/>
              </a:cxn>
              <a:cxn ang="0">
                <a:pos x="298" y="431"/>
              </a:cxn>
              <a:cxn ang="0">
                <a:pos x="243" y="386"/>
              </a:cxn>
              <a:cxn ang="0">
                <a:pos x="178" y="412"/>
              </a:cxn>
              <a:cxn ang="0">
                <a:pos x="145" y="392"/>
              </a:cxn>
              <a:cxn ang="0">
                <a:pos x="90" y="424"/>
              </a:cxn>
              <a:cxn ang="0">
                <a:pos x="67" y="378"/>
              </a:cxn>
              <a:cxn ang="0">
                <a:pos x="76" y="325"/>
              </a:cxn>
              <a:cxn ang="0">
                <a:pos x="0" y="328"/>
              </a:cxn>
              <a:cxn ang="0">
                <a:pos x="48" y="287"/>
              </a:cxn>
              <a:cxn ang="0">
                <a:pos x="11" y="191"/>
              </a:cxn>
            </a:cxnLst>
            <a:rect l="0" t="0" r="r" b="b"/>
            <a:pathLst>
              <a:path w="583" h="530">
                <a:moveTo>
                  <a:pt x="11" y="191"/>
                </a:moveTo>
                <a:lnTo>
                  <a:pt x="23" y="92"/>
                </a:lnTo>
                <a:lnTo>
                  <a:pt x="81" y="51"/>
                </a:lnTo>
                <a:lnTo>
                  <a:pt x="137" y="69"/>
                </a:lnTo>
                <a:lnTo>
                  <a:pt x="173" y="3"/>
                </a:lnTo>
                <a:lnTo>
                  <a:pt x="300" y="9"/>
                </a:lnTo>
                <a:lnTo>
                  <a:pt x="331" y="36"/>
                </a:lnTo>
                <a:lnTo>
                  <a:pt x="377" y="11"/>
                </a:lnTo>
                <a:lnTo>
                  <a:pt x="406" y="38"/>
                </a:lnTo>
                <a:lnTo>
                  <a:pt x="465" y="0"/>
                </a:lnTo>
                <a:lnTo>
                  <a:pt x="528" y="51"/>
                </a:lnTo>
                <a:lnTo>
                  <a:pt x="510" y="120"/>
                </a:lnTo>
                <a:lnTo>
                  <a:pt x="551" y="172"/>
                </a:lnTo>
                <a:lnTo>
                  <a:pt x="510" y="214"/>
                </a:lnTo>
                <a:lnTo>
                  <a:pt x="541" y="309"/>
                </a:lnTo>
                <a:lnTo>
                  <a:pt x="580" y="324"/>
                </a:lnTo>
                <a:lnTo>
                  <a:pt x="582" y="446"/>
                </a:lnTo>
                <a:lnTo>
                  <a:pt x="464" y="441"/>
                </a:lnTo>
                <a:lnTo>
                  <a:pt x="458" y="482"/>
                </a:lnTo>
                <a:lnTo>
                  <a:pt x="388" y="487"/>
                </a:lnTo>
                <a:lnTo>
                  <a:pt x="377" y="529"/>
                </a:lnTo>
                <a:lnTo>
                  <a:pt x="246" y="506"/>
                </a:lnTo>
                <a:lnTo>
                  <a:pt x="298" y="431"/>
                </a:lnTo>
                <a:lnTo>
                  <a:pt x="243" y="386"/>
                </a:lnTo>
                <a:lnTo>
                  <a:pt x="178" y="412"/>
                </a:lnTo>
                <a:lnTo>
                  <a:pt x="145" y="392"/>
                </a:lnTo>
                <a:lnTo>
                  <a:pt x="90" y="424"/>
                </a:lnTo>
                <a:lnTo>
                  <a:pt x="67" y="378"/>
                </a:lnTo>
                <a:lnTo>
                  <a:pt x="76" y="325"/>
                </a:lnTo>
                <a:lnTo>
                  <a:pt x="0" y="328"/>
                </a:lnTo>
                <a:lnTo>
                  <a:pt x="48" y="287"/>
                </a:lnTo>
                <a:lnTo>
                  <a:pt x="11" y="191"/>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36" name="Freeform 33"/>
          <p:cNvSpPr>
            <a:spLocks/>
          </p:cNvSpPr>
          <p:nvPr/>
        </p:nvSpPr>
        <p:spPr bwMode="auto">
          <a:xfrm>
            <a:off x="7421984" y="4483166"/>
            <a:ext cx="385403" cy="616949"/>
          </a:xfrm>
          <a:custGeom>
            <a:avLst/>
            <a:gdLst/>
            <a:ahLst/>
            <a:cxnLst>
              <a:cxn ang="0">
                <a:pos x="17" y="105"/>
              </a:cxn>
              <a:cxn ang="0">
                <a:pos x="1" y="170"/>
              </a:cxn>
              <a:cxn ang="0">
                <a:pos x="40" y="229"/>
              </a:cxn>
              <a:cxn ang="0">
                <a:pos x="0" y="269"/>
              </a:cxn>
              <a:cxn ang="0">
                <a:pos x="28" y="364"/>
              </a:cxn>
              <a:cxn ang="0">
                <a:pos x="66" y="383"/>
              </a:cxn>
              <a:cxn ang="0">
                <a:pos x="72" y="496"/>
              </a:cxn>
              <a:cxn ang="0">
                <a:pos x="163" y="496"/>
              </a:cxn>
              <a:cxn ang="0">
                <a:pos x="123" y="566"/>
              </a:cxn>
              <a:cxn ang="0">
                <a:pos x="288" y="549"/>
              </a:cxn>
              <a:cxn ang="0">
                <a:pos x="298" y="433"/>
              </a:cxn>
              <a:cxn ang="0">
                <a:pos x="334" y="368"/>
              </a:cxn>
              <a:cxn ang="0">
                <a:pos x="320" y="309"/>
              </a:cxn>
              <a:cxn ang="0">
                <a:pos x="379" y="280"/>
              </a:cxn>
              <a:cxn ang="0">
                <a:pos x="381" y="195"/>
              </a:cxn>
              <a:cxn ang="0">
                <a:pos x="441" y="189"/>
              </a:cxn>
              <a:cxn ang="0">
                <a:pos x="484" y="155"/>
              </a:cxn>
              <a:cxn ang="0">
                <a:pos x="442" y="33"/>
              </a:cxn>
              <a:cxn ang="0">
                <a:pos x="387" y="36"/>
              </a:cxn>
              <a:cxn ang="0">
                <a:pos x="353" y="5"/>
              </a:cxn>
              <a:cxn ang="0">
                <a:pos x="302" y="32"/>
              </a:cxn>
              <a:cxn ang="0">
                <a:pos x="264" y="0"/>
              </a:cxn>
              <a:cxn ang="0">
                <a:pos x="224" y="8"/>
              </a:cxn>
              <a:cxn ang="0">
                <a:pos x="142" y="30"/>
              </a:cxn>
              <a:cxn ang="0">
                <a:pos x="141" y="30"/>
              </a:cxn>
              <a:cxn ang="0">
                <a:pos x="136" y="32"/>
              </a:cxn>
              <a:cxn ang="0">
                <a:pos x="130" y="36"/>
              </a:cxn>
              <a:cxn ang="0">
                <a:pos x="122" y="41"/>
              </a:cxn>
              <a:cxn ang="0">
                <a:pos x="112" y="46"/>
              </a:cxn>
              <a:cxn ang="0">
                <a:pos x="101" y="53"/>
              </a:cxn>
              <a:cxn ang="0">
                <a:pos x="90" y="59"/>
              </a:cxn>
              <a:cxn ang="0">
                <a:pos x="78" y="66"/>
              </a:cxn>
              <a:cxn ang="0">
                <a:pos x="66" y="74"/>
              </a:cxn>
              <a:cxn ang="0">
                <a:pos x="55" y="80"/>
              </a:cxn>
              <a:cxn ang="0">
                <a:pos x="44" y="86"/>
              </a:cxn>
              <a:cxn ang="0">
                <a:pos x="35" y="92"/>
              </a:cxn>
              <a:cxn ang="0">
                <a:pos x="28" y="97"/>
              </a:cxn>
              <a:cxn ang="0">
                <a:pos x="21" y="101"/>
              </a:cxn>
              <a:cxn ang="0">
                <a:pos x="18" y="104"/>
              </a:cxn>
              <a:cxn ang="0">
                <a:pos x="17" y="105"/>
              </a:cxn>
            </a:cxnLst>
            <a:rect l="0" t="0" r="r" b="b"/>
            <a:pathLst>
              <a:path w="485" h="567">
                <a:moveTo>
                  <a:pt x="17" y="105"/>
                </a:moveTo>
                <a:lnTo>
                  <a:pt x="1" y="170"/>
                </a:lnTo>
                <a:lnTo>
                  <a:pt x="40" y="229"/>
                </a:lnTo>
                <a:lnTo>
                  <a:pt x="0" y="269"/>
                </a:lnTo>
                <a:lnTo>
                  <a:pt x="28" y="364"/>
                </a:lnTo>
                <a:lnTo>
                  <a:pt x="66" y="383"/>
                </a:lnTo>
                <a:lnTo>
                  <a:pt x="72" y="496"/>
                </a:lnTo>
                <a:lnTo>
                  <a:pt x="163" y="496"/>
                </a:lnTo>
                <a:lnTo>
                  <a:pt x="123" y="566"/>
                </a:lnTo>
                <a:lnTo>
                  <a:pt x="288" y="549"/>
                </a:lnTo>
                <a:lnTo>
                  <a:pt x="298" y="433"/>
                </a:lnTo>
                <a:lnTo>
                  <a:pt x="334" y="368"/>
                </a:lnTo>
                <a:lnTo>
                  <a:pt x="320" y="309"/>
                </a:lnTo>
                <a:lnTo>
                  <a:pt x="379" y="280"/>
                </a:lnTo>
                <a:lnTo>
                  <a:pt x="381" y="195"/>
                </a:lnTo>
                <a:lnTo>
                  <a:pt x="441" y="189"/>
                </a:lnTo>
                <a:lnTo>
                  <a:pt x="484" y="155"/>
                </a:lnTo>
                <a:lnTo>
                  <a:pt x="442" y="33"/>
                </a:lnTo>
                <a:lnTo>
                  <a:pt x="387" y="36"/>
                </a:lnTo>
                <a:lnTo>
                  <a:pt x="353" y="5"/>
                </a:lnTo>
                <a:lnTo>
                  <a:pt x="302" y="32"/>
                </a:lnTo>
                <a:lnTo>
                  <a:pt x="264" y="0"/>
                </a:lnTo>
                <a:lnTo>
                  <a:pt x="224" y="8"/>
                </a:lnTo>
                <a:lnTo>
                  <a:pt x="142" y="30"/>
                </a:lnTo>
                <a:lnTo>
                  <a:pt x="141" y="30"/>
                </a:lnTo>
                <a:lnTo>
                  <a:pt x="136" y="32"/>
                </a:lnTo>
                <a:lnTo>
                  <a:pt x="130" y="36"/>
                </a:lnTo>
                <a:lnTo>
                  <a:pt x="122" y="41"/>
                </a:lnTo>
                <a:lnTo>
                  <a:pt x="112" y="46"/>
                </a:lnTo>
                <a:lnTo>
                  <a:pt x="101" y="53"/>
                </a:lnTo>
                <a:lnTo>
                  <a:pt x="90" y="59"/>
                </a:lnTo>
                <a:lnTo>
                  <a:pt x="78" y="66"/>
                </a:lnTo>
                <a:lnTo>
                  <a:pt x="66" y="74"/>
                </a:lnTo>
                <a:lnTo>
                  <a:pt x="55" y="80"/>
                </a:lnTo>
                <a:lnTo>
                  <a:pt x="44" y="86"/>
                </a:lnTo>
                <a:lnTo>
                  <a:pt x="35" y="92"/>
                </a:lnTo>
                <a:lnTo>
                  <a:pt x="28" y="97"/>
                </a:lnTo>
                <a:lnTo>
                  <a:pt x="21" y="101"/>
                </a:lnTo>
                <a:lnTo>
                  <a:pt x="18" y="104"/>
                </a:lnTo>
                <a:lnTo>
                  <a:pt x="17" y="105"/>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37" name="Freeform 34"/>
          <p:cNvSpPr>
            <a:spLocks/>
          </p:cNvSpPr>
          <p:nvPr/>
        </p:nvSpPr>
        <p:spPr bwMode="auto">
          <a:xfrm>
            <a:off x="7648381" y="4646850"/>
            <a:ext cx="370331" cy="504989"/>
          </a:xfrm>
          <a:custGeom>
            <a:avLst/>
            <a:gdLst/>
            <a:ahLst/>
            <a:cxnLst>
              <a:cxn ang="0">
                <a:pos x="463" y="46"/>
              </a:cxn>
              <a:cxn ang="0">
                <a:pos x="432" y="123"/>
              </a:cxn>
              <a:cxn ang="0">
                <a:pos x="354" y="111"/>
              </a:cxn>
              <a:cxn ang="0">
                <a:pos x="393" y="164"/>
              </a:cxn>
              <a:cxn ang="0">
                <a:pos x="393" y="256"/>
              </a:cxn>
              <a:cxn ang="0">
                <a:pos x="363" y="287"/>
              </a:cxn>
              <a:cxn ang="0">
                <a:pos x="319" y="352"/>
              </a:cxn>
              <a:cxn ang="0">
                <a:pos x="225" y="359"/>
              </a:cxn>
              <a:cxn ang="0">
                <a:pos x="266" y="405"/>
              </a:cxn>
              <a:cxn ang="0">
                <a:pos x="160" y="477"/>
              </a:cxn>
              <a:cxn ang="0">
                <a:pos x="95" y="378"/>
              </a:cxn>
              <a:cxn ang="0">
                <a:pos x="6" y="365"/>
              </a:cxn>
              <a:cxn ang="0">
                <a:pos x="0" y="281"/>
              </a:cxn>
              <a:cxn ang="0">
                <a:pos x="55" y="222"/>
              </a:cxn>
              <a:cxn ang="0">
                <a:pos x="17" y="163"/>
              </a:cxn>
              <a:cxn ang="0">
                <a:pos x="94" y="131"/>
              </a:cxn>
              <a:cxn ang="0">
                <a:pos x="94" y="46"/>
              </a:cxn>
              <a:cxn ang="0">
                <a:pos x="164" y="42"/>
              </a:cxn>
              <a:cxn ang="0">
                <a:pos x="194" y="0"/>
              </a:cxn>
              <a:cxn ang="0">
                <a:pos x="249" y="13"/>
              </a:cxn>
              <a:cxn ang="0">
                <a:pos x="291" y="69"/>
              </a:cxn>
              <a:cxn ang="0">
                <a:pos x="336" y="72"/>
              </a:cxn>
              <a:cxn ang="0">
                <a:pos x="358" y="51"/>
              </a:cxn>
              <a:cxn ang="0">
                <a:pos x="463" y="46"/>
              </a:cxn>
            </a:cxnLst>
            <a:rect l="0" t="0" r="r" b="b"/>
            <a:pathLst>
              <a:path w="464" h="478">
                <a:moveTo>
                  <a:pt x="463" y="46"/>
                </a:moveTo>
                <a:lnTo>
                  <a:pt x="432" y="123"/>
                </a:lnTo>
                <a:lnTo>
                  <a:pt x="354" y="111"/>
                </a:lnTo>
                <a:lnTo>
                  <a:pt x="393" y="164"/>
                </a:lnTo>
                <a:lnTo>
                  <a:pt x="393" y="256"/>
                </a:lnTo>
                <a:lnTo>
                  <a:pt x="363" y="287"/>
                </a:lnTo>
                <a:lnTo>
                  <a:pt x="319" y="352"/>
                </a:lnTo>
                <a:lnTo>
                  <a:pt x="225" y="359"/>
                </a:lnTo>
                <a:lnTo>
                  <a:pt x="266" y="405"/>
                </a:lnTo>
                <a:lnTo>
                  <a:pt x="160" y="477"/>
                </a:lnTo>
                <a:lnTo>
                  <a:pt x="95" y="378"/>
                </a:lnTo>
                <a:lnTo>
                  <a:pt x="6" y="365"/>
                </a:lnTo>
                <a:lnTo>
                  <a:pt x="0" y="281"/>
                </a:lnTo>
                <a:lnTo>
                  <a:pt x="55" y="222"/>
                </a:lnTo>
                <a:lnTo>
                  <a:pt x="17" y="163"/>
                </a:lnTo>
                <a:lnTo>
                  <a:pt x="94" y="131"/>
                </a:lnTo>
                <a:lnTo>
                  <a:pt x="94" y="46"/>
                </a:lnTo>
                <a:lnTo>
                  <a:pt x="164" y="42"/>
                </a:lnTo>
                <a:lnTo>
                  <a:pt x="194" y="0"/>
                </a:lnTo>
                <a:lnTo>
                  <a:pt x="249" y="13"/>
                </a:lnTo>
                <a:lnTo>
                  <a:pt x="291" y="69"/>
                </a:lnTo>
                <a:lnTo>
                  <a:pt x="336" y="72"/>
                </a:lnTo>
                <a:lnTo>
                  <a:pt x="358" y="51"/>
                </a:lnTo>
                <a:lnTo>
                  <a:pt x="463" y="46"/>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38" name="Freeform 35"/>
          <p:cNvSpPr>
            <a:spLocks/>
          </p:cNvSpPr>
          <p:nvPr/>
        </p:nvSpPr>
        <p:spPr bwMode="auto">
          <a:xfrm>
            <a:off x="7146711" y="4981566"/>
            <a:ext cx="621165" cy="602954"/>
          </a:xfrm>
          <a:custGeom>
            <a:avLst/>
            <a:gdLst/>
            <a:ahLst/>
            <a:cxnLst>
              <a:cxn ang="0">
                <a:pos x="778" y="135"/>
              </a:cxn>
              <a:cxn ang="0">
                <a:pos x="721" y="33"/>
              </a:cxn>
              <a:cxn ang="0">
                <a:pos x="626" y="26"/>
              </a:cxn>
              <a:cxn ang="0">
                <a:pos x="615" y="60"/>
              </a:cxn>
              <a:cxn ang="0">
                <a:pos x="468" y="79"/>
              </a:cxn>
              <a:cxn ang="0">
                <a:pos x="507" y="4"/>
              </a:cxn>
              <a:cxn ang="0">
                <a:pos x="411" y="8"/>
              </a:cxn>
              <a:cxn ang="0">
                <a:pos x="296" y="0"/>
              </a:cxn>
              <a:cxn ang="0">
                <a:pos x="287" y="47"/>
              </a:cxn>
              <a:cxn ang="0">
                <a:pos x="212" y="58"/>
              </a:cxn>
              <a:cxn ang="0">
                <a:pos x="183" y="85"/>
              </a:cxn>
              <a:cxn ang="0">
                <a:pos x="215" y="150"/>
              </a:cxn>
              <a:cxn ang="0">
                <a:pos x="146" y="217"/>
              </a:cxn>
              <a:cxn ang="0">
                <a:pos x="145" y="294"/>
              </a:cxn>
              <a:cxn ang="0">
                <a:pos x="70" y="343"/>
              </a:cxn>
              <a:cxn ang="0">
                <a:pos x="70" y="385"/>
              </a:cxn>
              <a:cxn ang="0">
                <a:pos x="0" y="454"/>
              </a:cxn>
              <a:cxn ang="0">
                <a:pos x="10" y="511"/>
              </a:cxn>
              <a:cxn ang="0">
                <a:pos x="30" y="559"/>
              </a:cxn>
              <a:cxn ang="0">
                <a:pos x="80" y="570"/>
              </a:cxn>
              <a:cxn ang="0">
                <a:pos x="104" y="536"/>
              </a:cxn>
              <a:cxn ang="0">
                <a:pos x="90" y="469"/>
              </a:cxn>
              <a:cxn ang="0">
                <a:pos x="229" y="396"/>
              </a:cxn>
              <a:cxn ang="0">
                <a:pos x="312" y="388"/>
              </a:cxn>
              <a:cxn ang="0">
                <a:pos x="400" y="341"/>
              </a:cxn>
              <a:cxn ang="0">
                <a:pos x="382" y="276"/>
              </a:cxn>
              <a:cxn ang="0">
                <a:pos x="451" y="253"/>
              </a:cxn>
              <a:cxn ang="0">
                <a:pos x="485" y="326"/>
              </a:cxn>
              <a:cxn ang="0">
                <a:pos x="579" y="324"/>
              </a:cxn>
              <a:cxn ang="0">
                <a:pos x="529" y="276"/>
              </a:cxn>
              <a:cxn ang="0">
                <a:pos x="721" y="212"/>
              </a:cxn>
              <a:cxn ang="0">
                <a:pos x="778" y="135"/>
              </a:cxn>
            </a:cxnLst>
            <a:rect l="0" t="0" r="r" b="b"/>
            <a:pathLst>
              <a:path w="779" h="571">
                <a:moveTo>
                  <a:pt x="778" y="135"/>
                </a:moveTo>
                <a:lnTo>
                  <a:pt x="721" y="33"/>
                </a:lnTo>
                <a:lnTo>
                  <a:pt x="626" y="26"/>
                </a:lnTo>
                <a:lnTo>
                  <a:pt x="615" y="60"/>
                </a:lnTo>
                <a:lnTo>
                  <a:pt x="468" y="79"/>
                </a:lnTo>
                <a:lnTo>
                  <a:pt x="507" y="4"/>
                </a:lnTo>
                <a:lnTo>
                  <a:pt x="411" y="8"/>
                </a:lnTo>
                <a:lnTo>
                  <a:pt x="296" y="0"/>
                </a:lnTo>
                <a:lnTo>
                  <a:pt x="287" y="47"/>
                </a:lnTo>
                <a:lnTo>
                  <a:pt x="212" y="58"/>
                </a:lnTo>
                <a:lnTo>
                  <a:pt x="183" y="85"/>
                </a:lnTo>
                <a:lnTo>
                  <a:pt x="215" y="150"/>
                </a:lnTo>
                <a:lnTo>
                  <a:pt x="146" y="217"/>
                </a:lnTo>
                <a:lnTo>
                  <a:pt x="145" y="294"/>
                </a:lnTo>
                <a:lnTo>
                  <a:pt x="70" y="343"/>
                </a:lnTo>
                <a:lnTo>
                  <a:pt x="70" y="385"/>
                </a:lnTo>
                <a:lnTo>
                  <a:pt x="0" y="454"/>
                </a:lnTo>
                <a:lnTo>
                  <a:pt x="10" y="511"/>
                </a:lnTo>
                <a:lnTo>
                  <a:pt x="30" y="559"/>
                </a:lnTo>
                <a:lnTo>
                  <a:pt x="80" y="570"/>
                </a:lnTo>
                <a:lnTo>
                  <a:pt x="104" y="536"/>
                </a:lnTo>
                <a:lnTo>
                  <a:pt x="90" y="469"/>
                </a:lnTo>
                <a:lnTo>
                  <a:pt x="229" y="396"/>
                </a:lnTo>
                <a:lnTo>
                  <a:pt x="312" y="388"/>
                </a:lnTo>
                <a:lnTo>
                  <a:pt x="400" y="341"/>
                </a:lnTo>
                <a:lnTo>
                  <a:pt x="382" y="276"/>
                </a:lnTo>
                <a:lnTo>
                  <a:pt x="451" y="253"/>
                </a:lnTo>
                <a:lnTo>
                  <a:pt x="485" y="326"/>
                </a:lnTo>
                <a:lnTo>
                  <a:pt x="579" y="324"/>
                </a:lnTo>
                <a:lnTo>
                  <a:pt x="529" y="276"/>
                </a:lnTo>
                <a:lnTo>
                  <a:pt x="721" y="212"/>
                </a:lnTo>
                <a:lnTo>
                  <a:pt x="778" y="135"/>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39" name="Freeform 36"/>
          <p:cNvSpPr>
            <a:spLocks/>
          </p:cNvSpPr>
          <p:nvPr/>
        </p:nvSpPr>
        <p:spPr bwMode="auto">
          <a:xfrm>
            <a:off x="7059511" y="5598515"/>
            <a:ext cx="201314" cy="220423"/>
          </a:xfrm>
          <a:custGeom>
            <a:avLst/>
            <a:gdLst/>
            <a:ahLst/>
            <a:cxnLst>
              <a:cxn ang="0">
                <a:pos x="177" y="19"/>
              </a:cxn>
              <a:cxn ang="0">
                <a:pos x="209" y="0"/>
              </a:cxn>
              <a:cxn ang="0">
                <a:pos x="245" y="12"/>
              </a:cxn>
              <a:cxn ang="0">
                <a:pos x="252" y="65"/>
              </a:cxn>
              <a:cxn ang="0">
                <a:pos x="219" y="93"/>
              </a:cxn>
              <a:cxn ang="0">
                <a:pos x="210" y="125"/>
              </a:cxn>
              <a:cxn ang="0">
                <a:pos x="210" y="149"/>
              </a:cxn>
              <a:cxn ang="0">
                <a:pos x="159" y="181"/>
              </a:cxn>
              <a:cxn ang="0">
                <a:pos x="138" y="209"/>
              </a:cxn>
              <a:cxn ang="0">
                <a:pos x="47" y="189"/>
              </a:cxn>
              <a:cxn ang="0">
                <a:pos x="10" y="151"/>
              </a:cxn>
              <a:cxn ang="0">
                <a:pos x="0" y="80"/>
              </a:cxn>
              <a:cxn ang="0">
                <a:pos x="44" y="60"/>
              </a:cxn>
              <a:cxn ang="0">
                <a:pos x="73" y="32"/>
              </a:cxn>
              <a:cxn ang="0">
                <a:pos x="177" y="19"/>
              </a:cxn>
            </a:cxnLst>
            <a:rect l="0" t="0" r="r" b="b"/>
            <a:pathLst>
              <a:path w="253" h="210">
                <a:moveTo>
                  <a:pt x="177" y="19"/>
                </a:moveTo>
                <a:lnTo>
                  <a:pt x="209" y="0"/>
                </a:lnTo>
                <a:lnTo>
                  <a:pt x="245" y="12"/>
                </a:lnTo>
                <a:lnTo>
                  <a:pt x="252" y="65"/>
                </a:lnTo>
                <a:lnTo>
                  <a:pt x="219" y="93"/>
                </a:lnTo>
                <a:lnTo>
                  <a:pt x="210" y="125"/>
                </a:lnTo>
                <a:lnTo>
                  <a:pt x="210" y="149"/>
                </a:lnTo>
                <a:lnTo>
                  <a:pt x="159" y="181"/>
                </a:lnTo>
                <a:lnTo>
                  <a:pt x="138" y="209"/>
                </a:lnTo>
                <a:lnTo>
                  <a:pt x="47" y="189"/>
                </a:lnTo>
                <a:lnTo>
                  <a:pt x="10" y="151"/>
                </a:lnTo>
                <a:lnTo>
                  <a:pt x="0" y="80"/>
                </a:lnTo>
                <a:lnTo>
                  <a:pt x="44" y="60"/>
                </a:lnTo>
                <a:lnTo>
                  <a:pt x="73" y="32"/>
                </a:lnTo>
                <a:lnTo>
                  <a:pt x="177" y="19"/>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40" name="Freeform 37"/>
          <p:cNvSpPr>
            <a:spLocks/>
          </p:cNvSpPr>
          <p:nvPr/>
        </p:nvSpPr>
        <p:spPr bwMode="auto">
          <a:xfrm>
            <a:off x="6657261" y="4934507"/>
            <a:ext cx="669610" cy="538810"/>
          </a:xfrm>
          <a:custGeom>
            <a:avLst/>
            <a:gdLst/>
            <a:ahLst/>
            <a:cxnLst>
              <a:cxn ang="0">
                <a:pos x="0" y="206"/>
              </a:cxn>
              <a:cxn ang="0">
                <a:pos x="67" y="172"/>
              </a:cxn>
              <a:cxn ang="0">
                <a:pos x="170" y="200"/>
              </a:cxn>
              <a:cxn ang="0">
                <a:pos x="169" y="163"/>
              </a:cxn>
              <a:cxn ang="0">
                <a:pos x="266" y="112"/>
              </a:cxn>
              <a:cxn ang="0">
                <a:pos x="357" y="135"/>
              </a:cxn>
              <a:cxn ang="0">
                <a:pos x="396" y="106"/>
              </a:cxn>
              <a:cxn ang="0">
                <a:pos x="450" y="106"/>
              </a:cxn>
              <a:cxn ang="0">
                <a:pos x="484" y="63"/>
              </a:cxn>
              <a:cxn ang="0">
                <a:pos x="525" y="47"/>
              </a:cxn>
              <a:cxn ang="0">
                <a:pos x="584" y="8"/>
              </a:cxn>
              <a:cxn ang="0">
                <a:pos x="624" y="30"/>
              </a:cxn>
              <a:cxn ang="0">
                <a:pos x="690" y="0"/>
              </a:cxn>
              <a:cxn ang="0">
                <a:pos x="740" y="49"/>
              </a:cxn>
              <a:cxn ang="0">
                <a:pos x="696" y="125"/>
              </a:cxn>
              <a:cxn ang="0">
                <a:pos x="815" y="146"/>
              </a:cxn>
              <a:cxn ang="0">
                <a:pos x="838" y="202"/>
              </a:cxn>
              <a:cxn ang="0">
                <a:pos x="770" y="267"/>
              </a:cxn>
              <a:cxn ang="0">
                <a:pos x="760" y="352"/>
              </a:cxn>
              <a:cxn ang="0">
                <a:pos x="678" y="395"/>
              </a:cxn>
              <a:cxn ang="0">
                <a:pos x="696" y="440"/>
              </a:cxn>
              <a:cxn ang="0">
                <a:pos x="606" y="510"/>
              </a:cxn>
              <a:cxn ang="0">
                <a:pos x="537" y="508"/>
              </a:cxn>
              <a:cxn ang="0">
                <a:pos x="465" y="468"/>
              </a:cxn>
              <a:cxn ang="0">
                <a:pos x="384" y="508"/>
              </a:cxn>
              <a:cxn ang="0">
                <a:pos x="272" y="472"/>
              </a:cxn>
              <a:cxn ang="0">
                <a:pos x="259" y="382"/>
              </a:cxn>
              <a:cxn ang="0">
                <a:pos x="178" y="376"/>
              </a:cxn>
              <a:cxn ang="0">
                <a:pos x="137" y="354"/>
              </a:cxn>
              <a:cxn ang="0">
                <a:pos x="132" y="322"/>
              </a:cxn>
              <a:cxn ang="0">
                <a:pos x="184" y="322"/>
              </a:cxn>
              <a:cxn ang="0">
                <a:pos x="166" y="269"/>
              </a:cxn>
              <a:cxn ang="0">
                <a:pos x="86" y="269"/>
              </a:cxn>
              <a:cxn ang="0">
                <a:pos x="0" y="247"/>
              </a:cxn>
              <a:cxn ang="0">
                <a:pos x="0" y="206"/>
              </a:cxn>
            </a:cxnLst>
            <a:rect l="0" t="0" r="r" b="b"/>
            <a:pathLst>
              <a:path w="839" h="511">
                <a:moveTo>
                  <a:pt x="0" y="206"/>
                </a:moveTo>
                <a:lnTo>
                  <a:pt x="67" y="172"/>
                </a:lnTo>
                <a:lnTo>
                  <a:pt x="170" y="200"/>
                </a:lnTo>
                <a:lnTo>
                  <a:pt x="169" y="163"/>
                </a:lnTo>
                <a:lnTo>
                  <a:pt x="266" y="112"/>
                </a:lnTo>
                <a:lnTo>
                  <a:pt x="357" y="135"/>
                </a:lnTo>
                <a:lnTo>
                  <a:pt x="396" y="106"/>
                </a:lnTo>
                <a:lnTo>
                  <a:pt x="450" y="106"/>
                </a:lnTo>
                <a:lnTo>
                  <a:pt x="484" y="63"/>
                </a:lnTo>
                <a:lnTo>
                  <a:pt x="525" y="47"/>
                </a:lnTo>
                <a:lnTo>
                  <a:pt x="584" y="8"/>
                </a:lnTo>
                <a:lnTo>
                  <a:pt x="624" y="30"/>
                </a:lnTo>
                <a:lnTo>
                  <a:pt x="690" y="0"/>
                </a:lnTo>
                <a:lnTo>
                  <a:pt x="740" y="49"/>
                </a:lnTo>
                <a:lnTo>
                  <a:pt x="696" y="125"/>
                </a:lnTo>
                <a:lnTo>
                  <a:pt x="815" y="146"/>
                </a:lnTo>
                <a:lnTo>
                  <a:pt x="838" y="202"/>
                </a:lnTo>
                <a:lnTo>
                  <a:pt x="770" y="267"/>
                </a:lnTo>
                <a:lnTo>
                  <a:pt x="760" y="352"/>
                </a:lnTo>
                <a:lnTo>
                  <a:pt x="678" y="395"/>
                </a:lnTo>
                <a:lnTo>
                  <a:pt x="696" y="440"/>
                </a:lnTo>
                <a:lnTo>
                  <a:pt x="606" y="510"/>
                </a:lnTo>
                <a:lnTo>
                  <a:pt x="537" y="508"/>
                </a:lnTo>
                <a:lnTo>
                  <a:pt x="465" y="468"/>
                </a:lnTo>
                <a:lnTo>
                  <a:pt x="384" y="508"/>
                </a:lnTo>
                <a:lnTo>
                  <a:pt x="272" y="472"/>
                </a:lnTo>
                <a:lnTo>
                  <a:pt x="259" y="382"/>
                </a:lnTo>
                <a:lnTo>
                  <a:pt x="178" y="376"/>
                </a:lnTo>
                <a:lnTo>
                  <a:pt x="137" y="354"/>
                </a:lnTo>
                <a:lnTo>
                  <a:pt x="132" y="322"/>
                </a:lnTo>
                <a:lnTo>
                  <a:pt x="184" y="322"/>
                </a:lnTo>
                <a:lnTo>
                  <a:pt x="166" y="269"/>
                </a:lnTo>
                <a:lnTo>
                  <a:pt x="86" y="269"/>
                </a:lnTo>
                <a:lnTo>
                  <a:pt x="0" y="247"/>
                </a:lnTo>
                <a:lnTo>
                  <a:pt x="0" y="206"/>
                </a:lnTo>
              </a:path>
            </a:pathLst>
          </a:custGeom>
          <a:solidFill>
            <a:schemeClr val="accent3"/>
          </a:solidFill>
          <a:ln w="12700" cap="rnd" cmpd="sng">
            <a:solidFill>
              <a:schemeClr val="bg1"/>
            </a:solidFill>
            <a:prstDash val="solid"/>
            <a:round/>
            <a:headEnd type="none" w="med" len="med"/>
            <a:tailEnd type="none" w="med" len="med"/>
          </a:ln>
          <a:effectLst/>
        </p:spPr>
        <p:txBody>
          <a:bodyPr/>
          <a:lstStyle/>
          <a:p>
            <a:pPr algn="ctr" eaLnBrk="0" hangingPunct="0">
              <a:spcBef>
                <a:spcPct val="50000"/>
              </a:spcBef>
              <a:defRPr/>
            </a:pPr>
            <a:endParaRPr lang="nl-NL" sz="1200">
              <a:solidFill>
                <a:srgbClr val="000000"/>
              </a:solidFill>
              <a:cs typeface="+mn-cs"/>
            </a:endParaRPr>
          </a:p>
        </p:txBody>
      </p:sp>
      <p:sp>
        <p:nvSpPr>
          <p:cNvPr id="41" name="Line 38"/>
          <p:cNvSpPr>
            <a:spLocks noChangeShapeType="1"/>
          </p:cNvSpPr>
          <p:nvPr/>
        </p:nvSpPr>
        <p:spPr bwMode="auto">
          <a:xfrm>
            <a:off x="7022909" y="3671861"/>
            <a:ext cx="1077" cy="2333"/>
          </a:xfrm>
          <a:prstGeom prst="line">
            <a:avLst/>
          </a:prstGeom>
          <a:solidFill>
            <a:schemeClr val="accent3"/>
          </a:solidFill>
          <a:ln w="12700">
            <a:solidFill>
              <a:schemeClr val="bg1"/>
            </a:solidFill>
            <a:round/>
            <a:headEnd/>
            <a:tailEnd/>
          </a:ln>
          <a:effectLst/>
        </p:spPr>
        <p:txBody>
          <a:bodyPr wrap="none" anchor="ctr"/>
          <a:lstStyle/>
          <a:p>
            <a:pPr algn="ctr" eaLnBrk="0" hangingPunct="0">
              <a:spcBef>
                <a:spcPct val="50000"/>
              </a:spcBef>
              <a:defRPr/>
            </a:pPr>
            <a:endParaRPr lang="nl-NL" sz="1200">
              <a:solidFill>
                <a:srgbClr val="000000"/>
              </a:solidFill>
              <a:cs typeface="+mn-cs"/>
            </a:endParaRPr>
          </a:p>
        </p:txBody>
      </p:sp>
      <p:sp>
        <p:nvSpPr>
          <p:cNvPr id="42" name="Text Placeholder 12"/>
          <p:cNvSpPr>
            <a:spLocks/>
          </p:cNvSpPr>
          <p:nvPr>
            <p:custDataLst>
              <p:tags r:id="rId1"/>
            </p:custDataLst>
          </p:nvPr>
        </p:nvSpPr>
        <p:spPr bwMode="auto">
          <a:xfrm>
            <a:off x="424583" y="1123950"/>
            <a:ext cx="538609" cy="276999"/>
          </a:xfrm>
          <a:prstGeom prst="rect">
            <a:avLst/>
          </a:prstGeom>
          <a:noFill/>
          <a:ln w="9525">
            <a:noFill/>
            <a:miter lim="800000"/>
            <a:headEnd/>
            <a:tailEnd/>
          </a:ln>
        </p:spPr>
        <p:txBody>
          <a:bodyPr wrap="none" lIns="0" tIns="0" rIns="0" bIns="0">
            <a:spAutoFit/>
          </a:bodyPr>
          <a:lstStyle/>
          <a:p>
            <a:pPr algn="l" defTabSz="1019175">
              <a:spcAft>
                <a:spcPts val="0"/>
              </a:spcAft>
            </a:pPr>
            <a:r>
              <a:rPr lang="en-US" sz="1800" b="1" dirty="0">
                <a:solidFill>
                  <a:schemeClr val="tx2"/>
                </a:solidFill>
              </a:rPr>
              <a:t>India</a:t>
            </a:r>
          </a:p>
        </p:txBody>
      </p:sp>
      <p:sp>
        <p:nvSpPr>
          <p:cNvPr id="43" name="Text Placeholder 12"/>
          <p:cNvSpPr>
            <a:spLocks/>
          </p:cNvSpPr>
          <p:nvPr>
            <p:custDataLst>
              <p:tags r:id="rId2"/>
            </p:custDataLst>
          </p:nvPr>
        </p:nvSpPr>
        <p:spPr bwMode="auto">
          <a:xfrm>
            <a:off x="4379894" y="1123950"/>
            <a:ext cx="641201" cy="276999"/>
          </a:xfrm>
          <a:prstGeom prst="rect">
            <a:avLst/>
          </a:prstGeom>
          <a:noFill/>
          <a:ln w="9525">
            <a:noFill/>
            <a:miter lim="800000"/>
            <a:headEnd/>
            <a:tailEnd/>
          </a:ln>
        </p:spPr>
        <p:txBody>
          <a:bodyPr wrap="none" lIns="0" tIns="0" rIns="0" bIns="0">
            <a:spAutoFit/>
          </a:bodyPr>
          <a:lstStyle/>
          <a:p>
            <a:pPr algn="l" defTabSz="1019175">
              <a:spcAft>
                <a:spcPts val="0"/>
              </a:spcAft>
            </a:pPr>
            <a:r>
              <a:rPr lang="en-US" sz="1800" b="1">
                <a:solidFill>
                  <a:schemeClr val="tx2"/>
                </a:solidFill>
              </a:rPr>
              <a:t>China</a:t>
            </a:r>
          </a:p>
        </p:txBody>
      </p:sp>
      <p:sp>
        <p:nvSpPr>
          <p:cNvPr id="4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9873" name="Title 1"/>
          <p:cNvSpPr>
            <a:spLocks noGrp="1"/>
          </p:cNvSpPr>
          <p:nvPr>
            <p:ph type="title"/>
          </p:nvPr>
        </p:nvSpPr>
        <p:spPr/>
        <p:txBody>
          <a:bodyPr/>
          <a:lstStyle/>
          <a:p>
            <a:r>
              <a:rPr lang="en-GB"/>
              <a:t>Flags</a:t>
            </a:r>
            <a:endParaRPr lang="nl-NL"/>
          </a:p>
        </p:txBody>
      </p:sp>
      <p:pic>
        <p:nvPicPr>
          <p:cNvPr id="719875" name="Picture 4" descr="au"/>
          <p:cNvPicPr>
            <a:picLocks noChangeAspect="1" noChangeArrowheads="1"/>
          </p:cNvPicPr>
          <p:nvPr/>
        </p:nvPicPr>
        <p:blipFill>
          <a:blip r:embed="rId2" cstate="print"/>
          <a:srcRect/>
          <a:stretch>
            <a:fillRect/>
          </a:stretch>
        </p:blipFill>
        <p:spPr bwMode="auto">
          <a:xfrm>
            <a:off x="2859088" y="1268413"/>
            <a:ext cx="685800" cy="342900"/>
          </a:xfrm>
          <a:prstGeom prst="rect">
            <a:avLst/>
          </a:prstGeom>
          <a:noFill/>
          <a:ln w="12700" cap="sq">
            <a:solidFill>
              <a:schemeClr val="tx1"/>
            </a:solidFill>
            <a:miter lim="800000"/>
            <a:headEnd/>
            <a:tailEnd/>
          </a:ln>
        </p:spPr>
      </p:pic>
      <p:pic>
        <p:nvPicPr>
          <p:cNvPr id="719876" name="Picture 5" descr="ca"/>
          <p:cNvPicPr>
            <a:picLocks noChangeAspect="1" noChangeArrowheads="1"/>
          </p:cNvPicPr>
          <p:nvPr/>
        </p:nvPicPr>
        <p:blipFill>
          <a:blip r:embed="rId3" cstate="print"/>
          <a:srcRect/>
          <a:stretch>
            <a:fillRect/>
          </a:stretch>
        </p:blipFill>
        <p:spPr bwMode="auto">
          <a:xfrm>
            <a:off x="2859088" y="1843088"/>
            <a:ext cx="685800" cy="342900"/>
          </a:xfrm>
          <a:prstGeom prst="rect">
            <a:avLst/>
          </a:prstGeom>
          <a:noFill/>
          <a:ln w="12700" cap="sq">
            <a:solidFill>
              <a:schemeClr val="tx1"/>
            </a:solidFill>
            <a:miter lim="800000"/>
            <a:headEnd/>
            <a:tailEnd/>
          </a:ln>
        </p:spPr>
      </p:pic>
      <p:pic>
        <p:nvPicPr>
          <p:cNvPr id="719877" name="Picture 6" descr="cn"/>
          <p:cNvPicPr>
            <a:picLocks noChangeAspect="1" noChangeArrowheads="1"/>
          </p:cNvPicPr>
          <p:nvPr/>
        </p:nvPicPr>
        <p:blipFill>
          <a:blip r:embed="rId4" cstate="print"/>
          <a:srcRect/>
          <a:stretch>
            <a:fillRect/>
          </a:stretch>
        </p:blipFill>
        <p:spPr bwMode="auto">
          <a:xfrm>
            <a:off x="2859088" y="2436813"/>
            <a:ext cx="685800" cy="370933"/>
          </a:xfrm>
          <a:prstGeom prst="rect">
            <a:avLst/>
          </a:prstGeom>
          <a:noFill/>
          <a:ln w="12700" cap="sq">
            <a:solidFill>
              <a:schemeClr val="tx1"/>
            </a:solidFill>
            <a:miter lim="800000"/>
            <a:headEnd/>
            <a:tailEnd/>
          </a:ln>
        </p:spPr>
      </p:pic>
      <p:pic>
        <p:nvPicPr>
          <p:cNvPr id="719878" name="Picture 7" descr="dk"/>
          <p:cNvPicPr>
            <a:picLocks noChangeAspect="1" noChangeArrowheads="1"/>
          </p:cNvPicPr>
          <p:nvPr/>
        </p:nvPicPr>
        <p:blipFill>
          <a:blip r:embed="rId5" cstate="print"/>
          <a:srcRect/>
          <a:stretch>
            <a:fillRect/>
          </a:stretch>
        </p:blipFill>
        <p:spPr bwMode="auto">
          <a:xfrm>
            <a:off x="2859088" y="3013074"/>
            <a:ext cx="685800" cy="364827"/>
          </a:xfrm>
          <a:prstGeom prst="rect">
            <a:avLst/>
          </a:prstGeom>
          <a:noFill/>
          <a:ln w="12700" cap="sq">
            <a:solidFill>
              <a:schemeClr val="tx1"/>
            </a:solidFill>
            <a:miter lim="800000"/>
            <a:headEnd/>
            <a:tailEnd/>
          </a:ln>
        </p:spPr>
      </p:pic>
      <p:pic>
        <p:nvPicPr>
          <p:cNvPr id="719879" name="Picture 8" descr="fr"/>
          <p:cNvPicPr>
            <a:picLocks noChangeAspect="1" noChangeArrowheads="1"/>
          </p:cNvPicPr>
          <p:nvPr/>
        </p:nvPicPr>
        <p:blipFill>
          <a:blip r:embed="rId6" cstate="print"/>
          <a:srcRect/>
          <a:stretch>
            <a:fillRect/>
          </a:stretch>
        </p:blipFill>
        <p:spPr bwMode="auto">
          <a:xfrm>
            <a:off x="2859088" y="3589338"/>
            <a:ext cx="685800" cy="342900"/>
          </a:xfrm>
          <a:prstGeom prst="rect">
            <a:avLst/>
          </a:prstGeom>
          <a:noFill/>
          <a:ln w="12700" cap="sq">
            <a:solidFill>
              <a:schemeClr val="tx1"/>
            </a:solidFill>
            <a:miter lim="800000"/>
            <a:headEnd/>
            <a:tailEnd/>
          </a:ln>
        </p:spPr>
      </p:pic>
      <p:pic>
        <p:nvPicPr>
          <p:cNvPr id="719880" name="Picture 9" descr="de"/>
          <p:cNvPicPr>
            <a:picLocks noChangeAspect="1" noChangeArrowheads="1"/>
          </p:cNvPicPr>
          <p:nvPr/>
        </p:nvPicPr>
        <p:blipFill>
          <a:blip r:embed="rId7" cstate="print"/>
          <a:srcRect/>
          <a:stretch>
            <a:fillRect/>
          </a:stretch>
        </p:blipFill>
        <p:spPr bwMode="auto">
          <a:xfrm>
            <a:off x="2859088" y="4165600"/>
            <a:ext cx="685800" cy="342900"/>
          </a:xfrm>
          <a:prstGeom prst="rect">
            <a:avLst/>
          </a:prstGeom>
          <a:noFill/>
          <a:ln w="12700" cap="sq">
            <a:solidFill>
              <a:schemeClr val="tx1"/>
            </a:solidFill>
            <a:miter lim="800000"/>
            <a:headEnd/>
            <a:tailEnd/>
          </a:ln>
        </p:spPr>
      </p:pic>
      <p:pic>
        <p:nvPicPr>
          <p:cNvPr id="719881" name="Picture 10" descr="it"/>
          <p:cNvPicPr>
            <a:picLocks noChangeAspect="1" noChangeArrowheads="1"/>
          </p:cNvPicPr>
          <p:nvPr/>
        </p:nvPicPr>
        <p:blipFill>
          <a:blip r:embed="rId8" cstate="print"/>
          <a:srcRect/>
          <a:stretch>
            <a:fillRect/>
          </a:stretch>
        </p:blipFill>
        <p:spPr bwMode="auto">
          <a:xfrm>
            <a:off x="2859088" y="5316538"/>
            <a:ext cx="685800" cy="342900"/>
          </a:xfrm>
          <a:prstGeom prst="rect">
            <a:avLst/>
          </a:prstGeom>
          <a:noFill/>
          <a:ln w="12700" cap="sq">
            <a:solidFill>
              <a:schemeClr val="tx1"/>
            </a:solidFill>
            <a:miter lim="800000"/>
            <a:headEnd/>
            <a:tailEnd/>
          </a:ln>
        </p:spPr>
      </p:pic>
      <p:pic>
        <p:nvPicPr>
          <p:cNvPr id="719882" name="Picture 11" descr="ie75"/>
          <p:cNvPicPr>
            <a:picLocks noChangeAspect="1" noChangeArrowheads="1"/>
          </p:cNvPicPr>
          <p:nvPr/>
        </p:nvPicPr>
        <p:blipFill>
          <a:blip r:embed="rId9" cstate="print"/>
          <a:srcRect/>
          <a:stretch>
            <a:fillRect/>
          </a:stretch>
        </p:blipFill>
        <p:spPr bwMode="auto">
          <a:xfrm>
            <a:off x="2859088" y="4741863"/>
            <a:ext cx="685800" cy="342900"/>
          </a:xfrm>
          <a:prstGeom prst="rect">
            <a:avLst/>
          </a:prstGeom>
          <a:noFill/>
          <a:ln w="12700" cap="sq">
            <a:solidFill>
              <a:schemeClr val="tx1"/>
            </a:solidFill>
            <a:miter lim="800000"/>
            <a:headEnd/>
            <a:tailEnd/>
          </a:ln>
        </p:spPr>
      </p:pic>
      <p:pic>
        <p:nvPicPr>
          <p:cNvPr id="719883" name="Picture 12" descr="jp"/>
          <p:cNvPicPr>
            <a:picLocks noChangeAspect="1" noChangeArrowheads="1"/>
          </p:cNvPicPr>
          <p:nvPr/>
        </p:nvPicPr>
        <p:blipFill>
          <a:blip r:embed="rId10" cstate="print"/>
          <a:srcRect/>
          <a:stretch>
            <a:fillRect/>
          </a:stretch>
        </p:blipFill>
        <p:spPr bwMode="auto">
          <a:xfrm>
            <a:off x="2859088" y="5892800"/>
            <a:ext cx="685800" cy="342900"/>
          </a:xfrm>
          <a:prstGeom prst="rect">
            <a:avLst/>
          </a:prstGeom>
          <a:noFill/>
          <a:ln w="12700" cap="sq">
            <a:solidFill>
              <a:schemeClr val="tx1"/>
            </a:solidFill>
            <a:miter lim="800000"/>
            <a:headEnd/>
            <a:tailEnd/>
          </a:ln>
        </p:spPr>
      </p:pic>
      <p:pic>
        <p:nvPicPr>
          <p:cNvPr id="719884" name="Picture 13" descr="lu"/>
          <p:cNvPicPr>
            <a:picLocks noChangeAspect="1" noChangeArrowheads="1"/>
          </p:cNvPicPr>
          <p:nvPr/>
        </p:nvPicPr>
        <p:blipFill>
          <a:blip r:embed="rId11" cstate="print"/>
          <a:srcRect/>
          <a:stretch>
            <a:fillRect/>
          </a:stretch>
        </p:blipFill>
        <p:spPr bwMode="auto">
          <a:xfrm>
            <a:off x="6411913" y="1268413"/>
            <a:ext cx="685800" cy="342900"/>
          </a:xfrm>
          <a:prstGeom prst="rect">
            <a:avLst/>
          </a:prstGeom>
          <a:noFill/>
          <a:ln w="12700" cap="sq">
            <a:solidFill>
              <a:schemeClr val="tx1"/>
            </a:solidFill>
            <a:miter lim="800000"/>
            <a:headEnd/>
            <a:tailEnd/>
          </a:ln>
        </p:spPr>
      </p:pic>
      <p:pic>
        <p:nvPicPr>
          <p:cNvPr id="719885" name="Picture 14" descr="mx"/>
          <p:cNvPicPr>
            <a:picLocks noChangeAspect="1" noChangeArrowheads="1"/>
          </p:cNvPicPr>
          <p:nvPr/>
        </p:nvPicPr>
        <p:blipFill>
          <a:blip r:embed="rId12" cstate="print"/>
          <a:srcRect/>
          <a:stretch>
            <a:fillRect/>
          </a:stretch>
        </p:blipFill>
        <p:spPr bwMode="auto">
          <a:xfrm>
            <a:off x="6411913" y="1843088"/>
            <a:ext cx="685800" cy="342900"/>
          </a:xfrm>
          <a:prstGeom prst="rect">
            <a:avLst/>
          </a:prstGeom>
          <a:noFill/>
          <a:ln w="12700" cap="sq">
            <a:solidFill>
              <a:schemeClr val="tx1"/>
            </a:solidFill>
            <a:miter lim="800000"/>
            <a:headEnd/>
            <a:tailEnd/>
          </a:ln>
        </p:spPr>
      </p:pic>
      <p:pic>
        <p:nvPicPr>
          <p:cNvPr id="719886" name="Picture 15" descr="nl"/>
          <p:cNvPicPr>
            <a:picLocks noChangeAspect="1" noChangeArrowheads="1"/>
          </p:cNvPicPr>
          <p:nvPr/>
        </p:nvPicPr>
        <p:blipFill>
          <a:blip r:embed="rId13" cstate="print"/>
          <a:srcRect/>
          <a:stretch>
            <a:fillRect/>
          </a:stretch>
        </p:blipFill>
        <p:spPr bwMode="auto">
          <a:xfrm>
            <a:off x="6411913" y="2436813"/>
            <a:ext cx="685800" cy="342900"/>
          </a:xfrm>
          <a:prstGeom prst="rect">
            <a:avLst/>
          </a:prstGeom>
          <a:noFill/>
          <a:ln w="12700" cap="sq">
            <a:solidFill>
              <a:schemeClr val="tx1"/>
            </a:solidFill>
            <a:miter lim="800000"/>
            <a:headEnd/>
            <a:tailEnd/>
          </a:ln>
        </p:spPr>
      </p:pic>
      <p:pic>
        <p:nvPicPr>
          <p:cNvPr id="719887" name="Picture 16" descr="sg"/>
          <p:cNvPicPr>
            <a:picLocks noChangeAspect="1" noChangeArrowheads="1"/>
          </p:cNvPicPr>
          <p:nvPr/>
        </p:nvPicPr>
        <p:blipFill>
          <a:blip r:embed="rId14" cstate="print"/>
          <a:srcRect/>
          <a:stretch>
            <a:fillRect/>
          </a:stretch>
        </p:blipFill>
        <p:spPr bwMode="auto">
          <a:xfrm>
            <a:off x="6411913" y="3013075"/>
            <a:ext cx="685800" cy="342900"/>
          </a:xfrm>
          <a:prstGeom prst="rect">
            <a:avLst/>
          </a:prstGeom>
          <a:noFill/>
          <a:ln w="12700" cap="sq">
            <a:solidFill>
              <a:schemeClr val="tx1"/>
            </a:solidFill>
            <a:miter lim="800000"/>
            <a:headEnd/>
            <a:tailEnd/>
          </a:ln>
        </p:spPr>
      </p:pic>
      <p:pic>
        <p:nvPicPr>
          <p:cNvPr id="719888" name="Picture 17" descr="es"/>
          <p:cNvPicPr>
            <a:picLocks noChangeAspect="1" noChangeArrowheads="1"/>
          </p:cNvPicPr>
          <p:nvPr/>
        </p:nvPicPr>
        <p:blipFill>
          <a:blip r:embed="rId15" cstate="print"/>
          <a:srcRect/>
          <a:stretch>
            <a:fillRect/>
          </a:stretch>
        </p:blipFill>
        <p:spPr bwMode="auto">
          <a:xfrm>
            <a:off x="6411913" y="3589338"/>
            <a:ext cx="685800" cy="342900"/>
          </a:xfrm>
          <a:prstGeom prst="rect">
            <a:avLst/>
          </a:prstGeom>
          <a:noFill/>
          <a:ln w="12700" cap="sq">
            <a:solidFill>
              <a:schemeClr val="tx1"/>
            </a:solidFill>
            <a:miter lim="800000"/>
            <a:headEnd/>
            <a:tailEnd/>
          </a:ln>
        </p:spPr>
      </p:pic>
      <p:pic>
        <p:nvPicPr>
          <p:cNvPr id="719889" name="Picture 18" descr="za"/>
          <p:cNvPicPr>
            <a:picLocks noChangeAspect="1" noChangeArrowheads="1"/>
          </p:cNvPicPr>
          <p:nvPr/>
        </p:nvPicPr>
        <p:blipFill>
          <a:blip r:embed="rId16" cstate="print"/>
          <a:srcRect/>
          <a:stretch>
            <a:fillRect/>
          </a:stretch>
        </p:blipFill>
        <p:spPr bwMode="auto">
          <a:xfrm>
            <a:off x="6411913" y="4165600"/>
            <a:ext cx="685800" cy="342900"/>
          </a:xfrm>
          <a:prstGeom prst="rect">
            <a:avLst/>
          </a:prstGeom>
          <a:noFill/>
          <a:ln w="12700" cap="sq">
            <a:solidFill>
              <a:schemeClr val="tx1"/>
            </a:solidFill>
            <a:miter lim="800000"/>
            <a:headEnd/>
            <a:tailEnd/>
          </a:ln>
        </p:spPr>
      </p:pic>
      <p:pic>
        <p:nvPicPr>
          <p:cNvPr id="719890" name="Picture 19" descr="gb"/>
          <p:cNvPicPr>
            <a:picLocks noChangeAspect="1" noChangeArrowheads="1"/>
          </p:cNvPicPr>
          <p:nvPr/>
        </p:nvPicPr>
        <p:blipFill>
          <a:blip r:embed="rId17" cstate="print"/>
          <a:srcRect/>
          <a:stretch>
            <a:fillRect/>
          </a:stretch>
        </p:blipFill>
        <p:spPr bwMode="auto">
          <a:xfrm>
            <a:off x="6411913" y="4741863"/>
            <a:ext cx="685800" cy="342900"/>
          </a:xfrm>
          <a:prstGeom prst="rect">
            <a:avLst/>
          </a:prstGeom>
          <a:noFill/>
          <a:ln w="12700" cap="sq">
            <a:solidFill>
              <a:schemeClr val="tx1"/>
            </a:solidFill>
            <a:miter lim="800000"/>
            <a:headEnd/>
            <a:tailEnd/>
          </a:ln>
        </p:spPr>
      </p:pic>
      <p:pic>
        <p:nvPicPr>
          <p:cNvPr id="719891" name="Picture 20" descr="us"/>
          <p:cNvPicPr>
            <a:picLocks noChangeAspect="1" noChangeArrowheads="1"/>
          </p:cNvPicPr>
          <p:nvPr/>
        </p:nvPicPr>
        <p:blipFill>
          <a:blip r:embed="rId18" cstate="print"/>
          <a:srcRect/>
          <a:stretch>
            <a:fillRect/>
          </a:stretch>
        </p:blipFill>
        <p:spPr bwMode="auto">
          <a:xfrm>
            <a:off x="6411913" y="5316538"/>
            <a:ext cx="685800" cy="355600"/>
          </a:xfrm>
          <a:prstGeom prst="rect">
            <a:avLst/>
          </a:prstGeom>
          <a:noFill/>
          <a:ln w="12700" cap="sq">
            <a:solidFill>
              <a:schemeClr val="tx1"/>
            </a:solidFill>
            <a:miter lim="800000"/>
            <a:headEnd/>
            <a:tailEnd/>
          </a:ln>
        </p:spPr>
      </p:pic>
      <p:sp>
        <p:nvSpPr>
          <p:cNvPr id="719892" name="Rectangle 21"/>
          <p:cNvSpPr>
            <a:spLocks noChangeArrowheads="1"/>
          </p:cNvSpPr>
          <p:nvPr/>
        </p:nvSpPr>
        <p:spPr bwMode="auto">
          <a:xfrm>
            <a:off x="1708150" y="1419225"/>
            <a:ext cx="836613" cy="204788"/>
          </a:xfrm>
          <a:prstGeom prst="rect">
            <a:avLst/>
          </a:prstGeom>
          <a:noFill/>
          <a:ln w="12700">
            <a:noFill/>
            <a:miter lim="800000"/>
            <a:headEnd/>
            <a:tailEnd/>
          </a:ln>
        </p:spPr>
        <p:txBody>
          <a:bodyPr lIns="0" tIns="0" rIns="0" bIns="0">
            <a:spAutoFit/>
          </a:bodyPr>
          <a:lstStyle/>
          <a:p>
            <a:pPr algn="r" defTabSz="762000">
              <a:lnSpc>
                <a:spcPct val="95000"/>
              </a:lnSpc>
            </a:pPr>
            <a:r>
              <a:rPr lang="en-GB" sz="1400">
                <a:solidFill>
                  <a:schemeClr val="tx2"/>
                </a:solidFill>
                <a:ea typeface="ＭＳ Ｐゴシック" charset="-128"/>
              </a:rPr>
              <a:t>Australia</a:t>
            </a:r>
          </a:p>
        </p:txBody>
      </p:sp>
      <p:sp>
        <p:nvSpPr>
          <p:cNvPr id="719893" name="Rectangle 22"/>
          <p:cNvSpPr>
            <a:spLocks noChangeArrowheads="1"/>
          </p:cNvSpPr>
          <p:nvPr/>
        </p:nvSpPr>
        <p:spPr bwMode="auto">
          <a:xfrm>
            <a:off x="1708150" y="1993900"/>
            <a:ext cx="836613" cy="204788"/>
          </a:xfrm>
          <a:prstGeom prst="rect">
            <a:avLst/>
          </a:prstGeom>
          <a:noFill/>
          <a:ln w="12700">
            <a:noFill/>
            <a:miter lim="800000"/>
            <a:headEnd/>
            <a:tailEnd/>
          </a:ln>
        </p:spPr>
        <p:txBody>
          <a:bodyPr lIns="0" tIns="0" rIns="0" bIns="0">
            <a:spAutoFit/>
          </a:bodyPr>
          <a:lstStyle/>
          <a:p>
            <a:pPr algn="r" defTabSz="762000">
              <a:lnSpc>
                <a:spcPct val="95000"/>
              </a:lnSpc>
            </a:pPr>
            <a:r>
              <a:rPr lang="en-GB" sz="1400">
                <a:solidFill>
                  <a:schemeClr val="tx2"/>
                </a:solidFill>
                <a:ea typeface="ＭＳ Ｐゴシック" charset="-128"/>
              </a:rPr>
              <a:t>Canada</a:t>
            </a:r>
          </a:p>
        </p:txBody>
      </p:sp>
      <p:sp>
        <p:nvSpPr>
          <p:cNvPr id="719894" name="Rectangle 23"/>
          <p:cNvSpPr>
            <a:spLocks noChangeArrowheads="1"/>
          </p:cNvSpPr>
          <p:nvPr/>
        </p:nvSpPr>
        <p:spPr bwMode="auto">
          <a:xfrm>
            <a:off x="1708150" y="2587625"/>
            <a:ext cx="836613" cy="204788"/>
          </a:xfrm>
          <a:prstGeom prst="rect">
            <a:avLst/>
          </a:prstGeom>
          <a:noFill/>
          <a:ln w="12700">
            <a:noFill/>
            <a:miter lim="800000"/>
            <a:headEnd/>
            <a:tailEnd/>
          </a:ln>
        </p:spPr>
        <p:txBody>
          <a:bodyPr lIns="0" tIns="0" rIns="0" bIns="0">
            <a:spAutoFit/>
          </a:bodyPr>
          <a:lstStyle/>
          <a:p>
            <a:pPr algn="r" defTabSz="762000">
              <a:lnSpc>
                <a:spcPct val="95000"/>
              </a:lnSpc>
            </a:pPr>
            <a:r>
              <a:rPr lang="en-GB" sz="1400">
                <a:solidFill>
                  <a:schemeClr val="tx2"/>
                </a:solidFill>
                <a:ea typeface="ＭＳ Ｐゴシック" charset="-128"/>
              </a:rPr>
              <a:t>China</a:t>
            </a:r>
          </a:p>
        </p:txBody>
      </p:sp>
      <p:sp>
        <p:nvSpPr>
          <p:cNvPr id="719895" name="Rectangle 24"/>
          <p:cNvSpPr>
            <a:spLocks noChangeArrowheads="1"/>
          </p:cNvSpPr>
          <p:nvPr/>
        </p:nvSpPr>
        <p:spPr bwMode="auto">
          <a:xfrm>
            <a:off x="1708150" y="3163888"/>
            <a:ext cx="836613" cy="204787"/>
          </a:xfrm>
          <a:prstGeom prst="rect">
            <a:avLst/>
          </a:prstGeom>
          <a:noFill/>
          <a:ln w="12700">
            <a:noFill/>
            <a:miter lim="800000"/>
            <a:headEnd/>
            <a:tailEnd/>
          </a:ln>
        </p:spPr>
        <p:txBody>
          <a:bodyPr lIns="0" tIns="0" rIns="0" bIns="0">
            <a:spAutoFit/>
          </a:bodyPr>
          <a:lstStyle/>
          <a:p>
            <a:pPr algn="r" defTabSz="762000">
              <a:lnSpc>
                <a:spcPct val="95000"/>
              </a:lnSpc>
            </a:pPr>
            <a:r>
              <a:rPr lang="en-GB" sz="1400">
                <a:solidFill>
                  <a:schemeClr val="tx2"/>
                </a:solidFill>
                <a:ea typeface="ＭＳ Ｐゴシック" charset="-128"/>
              </a:rPr>
              <a:t>Denmark</a:t>
            </a:r>
          </a:p>
        </p:txBody>
      </p:sp>
      <p:sp>
        <p:nvSpPr>
          <p:cNvPr id="719896" name="Rectangle 25"/>
          <p:cNvSpPr>
            <a:spLocks noChangeArrowheads="1"/>
          </p:cNvSpPr>
          <p:nvPr/>
        </p:nvSpPr>
        <p:spPr bwMode="auto">
          <a:xfrm>
            <a:off x="1708150" y="3740150"/>
            <a:ext cx="836613" cy="204788"/>
          </a:xfrm>
          <a:prstGeom prst="rect">
            <a:avLst/>
          </a:prstGeom>
          <a:noFill/>
          <a:ln w="12700">
            <a:noFill/>
            <a:miter lim="800000"/>
            <a:headEnd/>
            <a:tailEnd/>
          </a:ln>
        </p:spPr>
        <p:txBody>
          <a:bodyPr lIns="0" tIns="0" rIns="0" bIns="0">
            <a:spAutoFit/>
          </a:bodyPr>
          <a:lstStyle/>
          <a:p>
            <a:pPr algn="r" defTabSz="762000">
              <a:lnSpc>
                <a:spcPct val="95000"/>
              </a:lnSpc>
            </a:pPr>
            <a:r>
              <a:rPr lang="en-GB" sz="1400">
                <a:solidFill>
                  <a:schemeClr val="tx2"/>
                </a:solidFill>
                <a:ea typeface="ＭＳ Ｐゴシック" charset="-128"/>
              </a:rPr>
              <a:t>France</a:t>
            </a:r>
          </a:p>
        </p:txBody>
      </p:sp>
      <p:sp>
        <p:nvSpPr>
          <p:cNvPr id="719897" name="Rectangle 26"/>
          <p:cNvSpPr>
            <a:spLocks noChangeArrowheads="1"/>
          </p:cNvSpPr>
          <p:nvPr/>
        </p:nvSpPr>
        <p:spPr bwMode="auto">
          <a:xfrm>
            <a:off x="1708150" y="4316413"/>
            <a:ext cx="836613" cy="204787"/>
          </a:xfrm>
          <a:prstGeom prst="rect">
            <a:avLst/>
          </a:prstGeom>
          <a:noFill/>
          <a:ln w="12700">
            <a:noFill/>
            <a:miter lim="800000"/>
            <a:headEnd/>
            <a:tailEnd/>
          </a:ln>
        </p:spPr>
        <p:txBody>
          <a:bodyPr lIns="0" tIns="0" rIns="0" bIns="0">
            <a:spAutoFit/>
          </a:bodyPr>
          <a:lstStyle/>
          <a:p>
            <a:pPr algn="r" defTabSz="762000">
              <a:lnSpc>
                <a:spcPct val="95000"/>
              </a:lnSpc>
            </a:pPr>
            <a:r>
              <a:rPr lang="en-GB" sz="1400">
                <a:solidFill>
                  <a:schemeClr val="tx2"/>
                </a:solidFill>
                <a:ea typeface="ＭＳ Ｐゴシック" charset="-128"/>
              </a:rPr>
              <a:t>Germany</a:t>
            </a:r>
          </a:p>
        </p:txBody>
      </p:sp>
      <p:sp>
        <p:nvSpPr>
          <p:cNvPr id="719898" name="Rectangle 27"/>
          <p:cNvSpPr>
            <a:spLocks noChangeArrowheads="1"/>
          </p:cNvSpPr>
          <p:nvPr/>
        </p:nvSpPr>
        <p:spPr bwMode="auto">
          <a:xfrm>
            <a:off x="1708150" y="4892675"/>
            <a:ext cx="836613" cy="204788"/>
          </a:xfrm>
          <a:prstGeom prst="rect">
            <a:avLst/>
          </a:prstGeom>
          <a:noFill/>
          <a:ln w="12700">
            <a:noFill/>
            <a:miter lim="800000"/>
            <a:headEnd/>
            <a:tailEnd/>
          </a:ln>
        </p:spPr>
        <p:txBody>
          <a:bodyPr lIns="0" tIns="0" rIns="0" bIns="0">
            <a:spAutoFit/>
          </a:bodyPr>
          <a:lstStyle/>
          <a:p>
            <a:pPr algn="r" defTabSz="762000">
              <a:lnSpc>
                <a:spcPct val="95000"/>
              </a:lnSpc>
            </a:pPr>
            <a:r>
              <a:rPr lang="en-GB" sz="1400">
                <a:solidFill>
                  <a:schemeClr val="tx2"/>
                </a:solidFill>
                <a:ea typeface="ＭＳ Ｐゴシック" charset="-128"/>
              </a:rPr>
              <a:t>Ireland</a:t>
            </a:r>
          </a:p>
        </p:txBody>
      </p:sp>
      <p:sp>
        <p:nvSpPr>
          <p:cNvPr id="719899" name="Rectangle 28"/>
          <p:cNvSpPr>
            <a:spLocks noChangeArrowheads="1"/>
          </p:cNvSpPr>
          <p:nvPr/>
        </p:nvSpPr>
        <p:spPr bwMode="auto">
          <a:xfrm>
            <a:off x="1708150" y="5467350"/>
            <a:ext cx="836613" cy="204788"/>
          </a:xfrm>
          <a:prstGeom prst="rect">
            <a:avLst/>
          </a:prstGeom>
          <a:noFill/>
          <a:ln w="12700">
            <a:noFill/>
            <a:miter lim="800000"/>
            <a:headEnd/>
            <a:tailEnd/>
          </a:ln>
        </p:spPr>
        <p:txBody>
          <a:bodyPr lIns="0" tIns="0" rIns="0" bIns="0">
            <a:spAutoFit/>
          </a:bodyPr>
          <a:lstStyle/>
          <a:p>
            <a:pPr algn="r" defTabSz="762000">
              <a:lnSpc>
                <a:spcPct val="95000"/>
              </a:lnSpc>
            </a:pPr>
            <a:r>
              <a:rPr lang="en-GB" sz="1400">
                <a:solidFill>
                  <a:schemeClr val="tx2"/>
                </a:solidFill>
                <a:ea typeface="ＭＳ Ｐゴシック" charset="-128"/>
              </a:rPr>
              <a:t>Italy</a:t>
            </a:r>
          </a:p>
        </p:txBody>
      </p:sp>
      <p:sp>
        <p:nvSpPr>
          <p:cNvPr id="719900" name="Rectangle 29"/>
          <p:cNvSpPr>
            <a:spLocks noChangeArrowheads="1"/>
          </p:cNvSpPr>
          <p:nvPr/>
        </p:nvSpPr>
        <p:spPr bwMode="auto">
          <a:xfrm>
            <a:off x="1708150" y="6043613"/>
            <a:ext cx="836613" cy="204787"/>
          </a:xfrm>
          <a:prstGeom prst="rect">
            <a:avLst/>
          </a:prstGeom>
          <a:noFill/>
          <a:ln w="12700">
            <a:noFill/>
            <a:miter lim="800000"/>
            <a:headEnd/>
            <a:tailEnd/>
          </a:ln>
        </p:spPr>
        <p:txBody>
          <a:bodyPr lIns="0" tIns="0" rIns="0" bIns="0">
            <a:spAutoFit/>
          </a:bodyPr>
          <a:lstStyle/>
          <a:p>
            <a:pPr algn="r" defTabSz="762000">
              <a:lnSpc>
                <a:spcPct val="95000"/>
              </a:lnSpc>
            </a:pPr>
            <a:r>
              <a:rPr lang="en-GB" sz="1400">
                <a:solidFill>
                  <a:schemeClr val="tx2"/>
                </a:solidFill>
                <a:ea typeface="ＭＳ Ｐゴシック" charset="-128"/>
              </a:rPr>
              <a:t>Japan</a:t>
            </a:r>
          </a:p>
        </p:txBody>
      </p:sp>
      <p:sp>
        <p:nvSpPr>
          <p:cNvPr id="719901" name="Rectangle 30"/>
          <p:cNvSpPr>
            <a:spLocks noChangeArrowheads="1"/>
          </p:cNvSpPr>
          <p:nvPr/>
        </p:nvSpPr>
        <p:spPr bwMode="auto">
          <a:xfrm>
            <a:off x="4298950" y="1411288"/>
            <a:ext cx="1879600" cy="204787"/>
          </a:xfrm>
          <a:prstGeom prst="rect">
            <a:avLst/>
          </a:prstGeom>
          <a:noFill/>
          <a:ln w="12700">
            <a:noFill/>
            <a:miter lim="800000"/>
            <a:headEnd/>
            <a:tailEnd/>
          </a:ln>
        </p:spPr>
        <p:txBody>
          <a:bodyPr lIns="0" tIns="0" rIns="0" bIns="0">
            <a:spAutoFit/>
          </a:bodyPr>
          <a:lstStyle/>
          <a:p>
            <a:pPr algn="r" defTabSz="762000">
              <a:lnSpc>
                <a:spcPct val="95000"/>
              </a:lnSpc>
            </a:pPr>
            <a:r>
              <a:rPr lang="en-GB" sz="1400">
                <a:solidFill>
                  <a:schemeClr val="tx2"/>
                </a:solidFill>
                <a:ea typeface="ＭＳ Ｐゴシック" charset="-128"/>
              </a:rPr>
              <a:t>Luxembourg</a:t>
            </a:r>
          </a:p>
        </p:txBody>
      </p:sp>
      <p:sp>
        <p:nvSpPr>
          <p:cNvPr id="719902" name="Rectangle 31"/>
          <p:cNvSpPr>
            <a:spLocks noChangeArrowheads="1"/>
          </p:cNvSpPr>
          <p:nvPr/>
        </p:nvSpPr>
        <p:spPr bwMode="auto">
          <a:xfrm>
            <a:off x="4298950" y="1985963"/>
            <a:ext cx="1879600" cy="204787"/>
          </a:xfrm>
          <a:prstGeom prst="rect">
            <a:avLst/>
          </a:prstGeom>
          <a:noFill/>
          <a:ln w="12700">
            <a:noFill/>
            <a:miter lim="800000"/>
            <a:headEnd/>
            <a:tailEnd/>
          </a:ln>
        </p:spPr>
        <p:txBody>
          <a:bodyPr lIns="0" tIns="0" rIns="0" bIns="0">
            <a:spAutoFit/>
          </a:bodyPr>
          <a:lstStyle/>
          <a:p>
            <a:pPr algn="r" defTabSz="762000">
              <a:lnSpc>
                <a:spcPct val="95000"/>
              </a:lnSpc>
            </a:pPr>
            <a:r>
              <a:rPr lang="en-GB" sz="1400">
                <a:solidFill>
                  <a:schemeClr val="tx2"/>
                </a:solidFill>
                <a:ea typeface="ＭＳ Ｐゴシック" charset="-128"/>
              </a:rPr>
              <a:t>Mexico</a:t>
            </a:r>
          </a:p>
        </p:txBody>
      </p:sp>
      <p:sp>
        <p:nvSpPr>
          <p:cNvPr id="719903" name="Rectangle 32"/>
          <p:cNvSpPr>
            <a:spLocks noChangeArrowheads="1"/>
          </p:cNvSpPr>
          <p:nvPr/>
        </p:nvSpPr>
        <p:spPr bwMode="auto">
          <a:xfrm>
            <a:off x="4298950" y="2579688"/>
            <a:ext cx="1879600" cy="204787"/>
          </a:xfrm>
          <a:prstGeom prst="rect">
            <a:avLst/>
          </a:prstGeom>
          <a:noFill/>
          <a:ln w="12700">
            <a:noFill/>
            <a:miter lim="800000"/>
            <a:headEnd/>
            <a:tailEnd/>
          </a:ln>
        </p:spPr>
        <p:txBody>
          <a:bodyPr lIns="0" tIns="0" rIns="0" bIns="0">
            <a:spAutoFit/>
          </a:bodyPr>
          <a:lstStyle/>
          <a:p>
            <a:pPr algn="r" defTabSz="762000">
              <a:lnSpc>
                <a:spcPct val="95000"/>
              </a:lnSpc>
            </a:pPr>
            <a:r>
              <a:rPr lang="en-GB" sz="1400">
                <a:solidFill>
                  <a:schemeClr val="tx2"/>
                </a:solidFill>
                <a:ea typeface="ＭＳ Ｐゴシック" charset="-128"/>
              </a:rPr>
              <a:t>Netherlands</a:t>
            </a:r>
          </a:p>
        </p:txBody>
      </p:sp>
      <p:sp>
        <p:nvSpPr>
          <p:cNvPr id="719904" name="Rectangle 33"/>
          <p:cNvSpPr>
            <a:spLocks noChangeArrowheads="1"/>
          </p:cNvSpPr>
          <p:nvPr/>
        </p:nvSpPr>
        <p:spPr bwMode="auto">
          <a:xfrm>
            <a:off x="4298950" y="3155950"/>
            <a:ext cx="1879600" cy="204788"/>
          </a:xfrm>
          <a:prstGeom prst="rect">
            <a:avLst/>
          </a:prstGeom>
          <a:noFill/>
          <a:ln w="12700">
            <a:noFill/>
            <a:miter lim="800000"/>
            <a:headEnd/>
            <a:tailEnd/>
          </a:ln>
        </p:spPr>
        <p:txBody>
          <a:bodyPr lIns="0" tIns="0" rIns="0" bIns="0">
            <a:spAutoFit/>
          </a:bodyPr>
          <a:lstStyle/>
          <a:p>
            <a:pPr algn="r" defTabSz="762000">
              <a:lnSpc>
                <a:spcPct val="95000"/>
              </a:lnSpc>
            </a:pPr>
            <a:r>
              <a:rPr lang="en-GB" sz="1400">
                <a:solidFill>
                  <a:schemeClr val="tx2"/>
                </a:solidFill>
                <a:ea typeface="ＭＳ Ｐゴシック" charset="-128"/>
              </a:rPr>
              <a:t>Singapore</a:t>
            </a:r>
          </a:p>
        </p:txBody>
      </p:sp>
      <p:sp>
        <p:nvSpPr>
          <p:cNvPr id="719905" name="Rectangle 34"/>
          <p:cNvSpPr>
            <a:spLocks noChangeArrowheads="1"/>
          </p:cNvSpPr>
          <p:nvPr/>
        </p:nvSpPr>
        <p:spPr bwMode="auto">
          <a:xfrm>
            <a:off x="4298950" y="3732213"/>
            <a:ext cx="1879600" cy="204787"/>
          </a:xfrm>
          <a:prstGeom prst="rect">
            <a:avLst/>
          </a:prstGeom>
          <a:noFill/>
          <a:ln w="12700">
            <a:noFill/>
            <a:miter lim="800000"/>
            <a:headEnd/>
            <a:tailEnd/>
          </a:ln>
        </p:spPr>
        <p:txBody>
          <a:bodyPr lIns="0" tIns="0" rIns="0" bIns="0">
            <a:spAutoFit/>
          </a:bodyPr>
          <a:lstStyle/>
          <a:p>
            <a:pPr algn="r" defTabSz="762000">
              <a:lnSpc>
                <a:spcPct val="95000"/>
              </a:lnSpc>
            </a:pPr>
            <a:r>
              <a:rPr lang="en-GB" sz="1400">
                <a:solidFill>
                  <a:schemeClr val="tx2"/>
                </a:solidFill>
                <a:ea typeface="ＭＳ Ｐゴシック" charset="-128"/>
              </a:rPr>
              <a:t>Spain</a:t>
            </a:r>
          </a:p>
        </p:txBody>
      </p:sp>
      <p:sp>
        <p:nvSpPr>
          <p:cNvPr id="719906" name="Rectangle 35"/>
          <p:cNvSpPr>
            <a:spLocks noChangeArrowheads="1"/>
          </p:cNvSpPr>
          <p:nvPr/>
        </p:nvSpPr>
        <p:spPr bwMode="auto">
          <a:xfrm>
            <a:off x="4298950" y="4308475"/>
            <a:ext cx="1879600" cy="204788"/>
          </a:xfrm>
          <a:prstGeom prst="rect">
            <a:avLst/>
          </a:prstGeom>
          <a:noFill/>
          <a:ln w="12700">
            <a:noFill/>
            <a:miter lim="800000"/>
            <a:headEnd/>
            <a:tailEnd/>
          </a:ln>
        </p:spPr>
        <p:txBody>
          <a:bodyPr lIns="0" tIns="0" rIns="0" bIns="0">
            <a:spAutoFit/>
          </a:bodyPr>
          <a:lstStyle/>
          <a:p>
            <a:pPr algn="r" defTabSz="762000">
              <a:lnSpc>
                <a:spcPct val="95000"/>
              </a:lnSpc>
            </a:pPr>
            <a:r>
              <a:rPr lang="en-GB" sz="1400">
                <a:solidFill>
                  <a:schemeClr val="tx2"/>
                </a:solidFill>
                <a:ea typeface="ＭＳ Ｐゴシック" charset="-128"/>
              </a:rPr>
              <a:t>South Africa</a:t>
            </a:r>
          </a:p>
        </p:txBody>
      </p:sp>
      <p:sp>
        <p:nvSpPr>
          <p:cNvPr id="719907" name="Rectangle 36"/>
          <p:cNvSpPr>
            <a:spLocks noChangeArrowheads="1"/>
          </p:cNvSpPr>
          <p:nvPr/>
        </p:nvSpPr>
        <p:spPr bwMode="auto">
          <a:xfrm>
            <a:off x="4298950" y="4916488"/>
            <a:ext cx="1879600" cy="204787"/>
          </a:xfrm>
          <a:prstGeom prst="rect">
            <a:avLst/>
          </a:prstGeom>
          <a:noFill/>
          <a:ln w="12700">
            <a:noFill/>
            <a:miter lim="800000"/>
            <a:headEnd/>
            <a:tailEnd/>
          </a:ln>
        </p:spPr>
        <p:txBody>
          <a:bodyPr lIns="0" tIns="0" rIns="0" bIns="0">
            <a:spAutoFit/>
          </a:bodyPr>
          <a:lstStyle/>
          <a:p>
            <a:pPr algn="r" defTabSz="762000">
              <a:lnSpc>
                <a:spcPct val="95000"/>
              </a:lnSpc>
            </a:pPr>
            <a:r>
              <a:rPr lang="en-GB" sz="1400">
                <a:solidFill>
                  <a:schemeClr val="tx2"/>
                </a:solidFill>
                <a:ea typeface="ＭＳ Ｐゴシック" charset="-128"/>
              </a:rPr>
              <a:t>United Kingdom</a:t>
            </a:r>
          </a:p>
        </p:txBody>
      </p:sp>
      <p:sp>
        <p:nvSpPr>
          <p:cNvPr id="719908" name="Rectangle 37"/>
          <p:cNvSpPr>
            <a:spLocks noChangeArrowheads="1"/>
          </p:cNvSpPr>
          <p:nvPr/>
        </p:nvSpPr>
        <p:spPr bwMode="auto">
          <a:xfrm>
            <a:off x="4298950" y="5459413"/>
            <a:ext cx="1879600" cy="204787"/>
          </a:xfrm>
          <a:prstGeom prst="rect">
            <a:avLst/>
          </a:prstGeom>
          <a:noFill/>
          <a:ln w="12700">
            <a:noFill/>
            <a:miter lim="800000"/>
            <a:headEnd/>
            <a:tailEnd/>
          </a:ln>
        </p:spPr>
        <p:txBody>
          <a:bodyPr lIns="0" tIns="0" rIns="0" bIns="0">
            <a:spAutoFit/>
          </a:bodyPr>
          <a:lstStyle/>
          <a:p>
            <a:pPr algn="r" defTabSz="762000">
              <a:lnSpc>
                <a:spcPct val="95000"/>
              </a:lnSpc>
            </a:pPr>
            <a:r>
              <a:rPr lang="en-GB" sz="1400">
                <a:solidFill>
                  <a:schemeClr val="tx2"/>
                </a:solidFill>
                <a:ea typeface="ＭＳ Ｐゴシック" charset="-128"/>
              </a:rPr>
              <a:t>United States</a:t>
            </a:r>
          </a:p>
        </p:txBody>
      </p:sp>
    </p:spTree>
  </p:cSld>
  <p:clrMapOvr>
    <a:masterClrMapping/>
  </p:clrMapOvr>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9810"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5843"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59827" name="Rectangle 2"/>
          <p:cNvSpPr>
            <a:spLocks noGrp="1"/>
          </p:cNvSpPr>
          <p:nvPr>
            <p:ph type="title"/>
            <p:custDataLst>
              <p:tags r:id="rId3"/>
            </p:custDataLst>
          </p:nvPr>
        </p:nvSpPr>
        <p:spPr/>
        <p:txBody>
          <a:bodyPr/>
          <a:lstStyle/>
          <a:p>
            <a:r>
              <a:rPr lang="en-GB"/>
              <a:t>Agenda</a:t>
            </a:r>
            <a:endParaRPr lang="en-US"/>
          </a:p>
        </p:txBody>
      </p:sp>
      <p:graphicFrame>
        <p:nvGraphicFramePr>
          <p:cNvPr id="10" name="Table 9"/>
          <p:cNvGraphicFramePr>
            <a:graphicFrameLocks noGrp="1"/>
          </p:cNvGraphicFramePr>
          <p:nvPr>
            <p:custDataLst>
              <p:tags r:id="rId4"/>
            </p:custDataLst>
          </p:nvPr>
        </p:nvGraphicFramePr>
        <p:xfrm>
          <a:off x="396875" y="1123950"/>
          <a:ext cx="4787154" cy="4067290"/>
        </p:xfrm>
        <a:graphic>
          <a:graphicData uri="http://schemas.openxmlformats.org/drawingml/2006/table">
            <a:tbl>
              <a:tblPr firstRow="1" bandRow="1">
                <a:tableStyleId>{5C22544A-7EE6-4342-B048-85BDC9FD1C3A}</a:tableStyleId>
              </a:tblPr>
              <a:tblGrid>
                <a:gridCol w="4787154"/>
              </a:tblGrid>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Structured </a:t>
                      </a:r>
                      <a:r>
                        <a:rPr kumimoji="0" lang="en-US" sz="1400" b="0" i="0" u="none" strike="noStrike" cap="none" normalizeH="0" baseline="0" dirty="0" smtClean="0">
                          <a:ln>
                            <a:noFill/>
                          </a:ln>
                          <a:solidFill>
                            <a:schemeClr val="tx2"/>
                          </a:solidFill>
                          <a:effectLst/>
                          <a:latin typeface="Arial" charset="0"/>
                        </a:rPr>
                        <a:t>text</a:t>
                      </a:r>
                      <a:endParaRPr kumimoji="0" lang="en-US" sz="1400" b="0" i="0" u="none" strike="noStrike" cap="none" normalizeH="0" baseline="0" dirty="0">
                        <a:ln>
                          <a:noFill/>
                        </a:ln>
                        <a:solidFill>
                          <a:schemeClr val="tx2"/>
                        </a:solidFill>
                        <a:effectLst/>
                        <a:latin typeface="Arial" charset="0"/>
                      </a:endParaRPr>
                    </a:p>
                  </a:txBody>
                  <a:tcPr marL="49846" marR="49846" marT="54000" marB="54000"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r>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Trees</a:t>
                      </a:r>
                    </a:p>
                  </a:txBody>
                  <a:tcPr marL="49846" marR="49846" marT="54000" marB="54000" anchor="ctr" horzOverflow="overflow">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Graph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Shape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Map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bg1"/>
                          </a:solidFill>
                          <a:effectLst/>
                          <a:latin typeface="Arial" charset="0"/>
                        </a:rPr>
                        <a:t>Special </a:t>
                      </a:r>
                      <a:r>
                        <a:rPr kumimoji="0" lang="en-US" sz="1400" b="0" i="0" u="none" strike="noStrike" cap="none" normalizeH="0" baseline="0" dirty="0" smtClean="0">
                          <a:ln>
                            <a:noFill/>
                          </a:ln>
                          <a:solidFill>
                            <a:schemeClr val="bg1"/>
                          </a:solidFill>
                          <a:effectLst/>
                          <a:latin typeface="Arial" charset="0"/>
                        </a:rPr>
                        <a:t>graphics</a:t>
                      </a:r>
                      <a:endParaRPr kumimoji="0" lang="en-US" sz="1400" b="0" i="0" u="none" strike="noStrike" cap="none" normalizeH="0" baseline="0" dirty="0">
                        <a:ln>
                          <a:noFill/>
                        </a:ln>
                        <a:solidFill>
                          <a:schemeClr val="bg1"/>
                        </a:solidFill>
                        <a:effectLst/>
                        <a:latin typeface="Arial" charset="0"/>
                      </a:endParaRP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400" b="0" i="0" u="none" strike="noStrike" cap="none" normalizeH="0" baseline="0" dirty="0">
                          <a:ln>
                            <a:noFill/>
                          </a:ln>
                          <a:solidFill>
                            <a:schemeClr val="tx2"/>
                          </a:solidFill>
                          <a:effectLst/>
                          <a:latin typeface="Arial" charset="0"/>
                        </a:rPr>
                        <a:t>Conceptual </a:t>
                      </a:r>
                      <a:r>
                        <a:rPr kumimoji="0" lang="en-US" sz="1400" b="0" i="0" u="none" strike="noStrike" cap="none" normalizeH="0" baseline="0" dirty="0" smtClean="0">
                          <a:ln>
                            <a:noFill/>
                          </a:ln>
                          <a:solidFill>
                            <a:schemeClr val="tx2"/>
                          </a:solidFill>
                          <a:effectLst/>
                          <a:latin typeface="Arial" charset="0"/>
                        </a:rPr>
                        <a:t>charts</a:t>
                      </a:r>
                      <a:endParaRPr kumimoji="0" lang="en-US" sz="1400" b="0" i="0" u="none" strike="noStrike" cap="none" normalizeH="0" baseline="0" dirty="0">
                        <a:ln>
                          <a:noFill/>
                        </a:ln>
                        <a:solidFill>
                          <a:schemeClr val="tx2"/>
                        </a:solidFill>
                        <a:effectLst/>
                        <a:latin typeface="Arial" charset="0"/>
                      </a:endParaRP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9585" name="Title 1"/>
          <p:cNvSpPr>
            <a:spLocks noGrp="1"/>
          </p:cNvSpPr>
          <p:nvPr>
            <p:ph type="title"/>
          </p:nvPr>
        </p:nvSpPr>
        <p:spPr>
          <a:xfrm>
            <a:off x="414338" y="446038"/>
            <a:ext cx="8330184" cy="333425"/>
          </a:xfrm>
        </p:spPr>
        <p:txBody>
          <a:bodyPr/>
          <a:lstStyle/>
          <a:p>
            <a:r>
              <a:rPr lang="en-US"/>
              <a:t>Text boxes — </a:t>
            </a:r>
            <a:r>
              <a:rPr lang="en-US" smtClean="0"/>
              <a:t>two by two</a:t>
            </a:r>
            <a:endParaRPr lang="nl-NL"/>
          </a:p>
        </p:txBody>
      </p:sp>
      <p:grpSp>
        <p:nvGrpSpPr>
          <p:cNvPr id="2" name="Group 12"/>
          <p:cNvGrpSpPr>
            <a:grpSpLocks/>
          </p:cNvGrpSpPr>
          <p:nvPr/>
        </p:nvGrpSpPr>
        <p:grpSpPr bwMode="auto">
          <a:xfrm>
            <a:off x="396875" y="1593263"/>
            <a:ext cx="4054475" cy="2130027"/>
            <a:chOff x="300" y="872"/>
            <a:chExt cx="1847" cy="1840"/>
          </a:xfrm>
        </p:grpSpPr>
        <p:sp>
          <p:nvSpPr>
            <p:cNvPr id="579598" name="Text Box 10"/>
            <p:cNvSpPr txBox="1">
              <a:spLocks noChangeArrowheads="1"/>
            </p:cNvSpPr>
            <p:nvPr/>
          </p:nvSpPr>
          <p:spPr bwMode="auto">
            <a:xfrm>
              <a:off x="300" y="872"/>
              <a:ext cx="1847" cy="237"/>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l" defTabSz="957263">
                <a:spcBef>
                  <a:spcPts val="400"/>
                </a:spcBef>
              </a:pPr>
              <a:r>
                <a:rPr lang="en-US" sz="1400" dirty="0">
                  <a:solidFill>
                    <a:srgbClr val="FFFFFF"/>
                  </a:solidFill>
                </a:rPr>
                <a:t>Text</a:t>
              </a:r>
              <a:endParaRPr lang="en-US" sz="1200" dirty="0">
                <a:solidFill>
                  <a:srgbClr val="FFFFFF"/>
                </a:solidFill>
              </a:endParaRPr>
            </a:p>
          </p:txBody>
        </p:sp>
        <p:sp>
          <p:nvSpPr>
            <p:cNvPr id="6" name="Rectangle 5"/>
            <p:cNvSpPr>
              <a:spLocks noChangeArrowheads="1"/>
            </p:cNvSpPr>
            <p:nvPr/>
          </p:nvSpPr>
          <p:spPr bwMode="auto">
            <a:xfrm>
              <a:off x="300" y="1109"/>
              <a:ext cx="1847" cy="1603"/>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smtClean="0">
                <a:solidFill>
                  <a:srgbClr val="002776"/>
                </a:solidFill>
                <a:latin typeface="Arial"/>
              </a:endParaRPr>
            </a:p>
            <a:p>
              <a:pPr marL="359623" indent="-359623" algn="l" defTabSz="957998">
                <a:spcBef>
                  <a:spcPts val="400"/>
                </a:spcBef>
                <a:spcAft>
                  <a:spcPts val="0"/>
                </a:spcAft>
                <a:defRPr/>
              </a:pPr>
              <a:endParaRPr lang="nl-NL" sz="1400" b="0" dirty="0">
                <a:solidFill>
                  <a:srgbClr val="002776"/>
                </a:solidFill>
                <a:latin typeface="Arial"/>
                <a:cs typeface="+mn-cs"/>
              </a:endParaRPr>
            </a:p>
          </p:txBody>
        </p:sp>
      </p:grpSp>
      <p:grpSp>
        <p:nvGrpSpPr>
          <p:cNvPr id="3" name="Group 12"/>
          <p:cNvGrpSpPr>
            <a:grpSpLocks/>
          </p:cNvGrpSpPr>
          <p:nvPr/>
        </p:nvGrpSpPr>
        <p:grpSpPr bwMode="auto">
          <a:xfrm>
            <a:off x="4692650" y="1593263"/>
            <a:ext cx="4054475" cy="2130027"/>
            <a:chOff x="300" y="872"/>
            <a:chExt cx="1847" cy="1840"/>
          </a:xfrm>
        </p:grpSpPr>
        <p:sp>
          <p:nvSpPr>
            <p:cNvPr id="579596" name="Text Box 10"/>
            <p:cNvSpPr txBox="1">
              <a:spLocks noChangeArrowheads="1"/>
            </p:cNvSpPr>
            <p:nvPr/>
          </p:nvSpPr>
          <p:spPr bwMode="auto">
            <a:xfrm>
              <a:off x="300" y="872"/>
              <a:ext cx="1847" cy="237"/>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l" defTabSz="957263">
                <a:spcBef>
                  <a:spcPts val="400"/>
                </a:spcBef>
              </a:pPr>
              <a:r>
                <a:rPr lang="en-US" sz="1400" dirty="0">
                  <a:solidFill>
                    <a:srgbClr val="FFFFFF"/>
                  </a:solidFill>
                </a:rPr>
                <a:t>Text</a:t>
              </a:r>
              <a:endParaRPr lang="en-US" sz="1200" dirty="0">
                <a:solidFill>
                  <a:srgbClr val="FFFFFF"/>
                </a:solidFill>
              </a:endParaRPr>
            </a:p>
          </p:txBody>
        </p:sp>
        <p:sp>
          <p:nvSpPr>
            <p:cNvPr id="9" name="Rectangle 8"/>
            <p:cNvSpPr>
              <a:spLocks noChangeArrowheads="1"/>
            </p:cNvSpPr>
            <p:nvPr/>
          </p:nvSpPr>
          <p:spPr bwMode="auto">
            <a:xfrm>
              <a:off x="300" y="1109"/>
              <a:ext cx="1847" cy="1603"/>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grpSp>
        <p:nvGrpSpPr>
          <p:cNvPr id="4" name="Group 12"/>
          <p:cNvGrpSpPr>
            <a:grpSpLocks/>
          </p:cNvGrpSpPr>
          <p:nvPr/>
        </p:nvGrpSpPr>
        <p:grpSpPr bwMode="auto">
          <a:xfrm>
            <a:off x="396875" y="3902167"/>
            <a:ext cx="4054475" cy="2104352"/>
            <a:chOff x="300" y="872"/>
            <a:chExt cx="1847" cy="1840"/>
          </a:xfrm>
        </p:grpSpPr>
        <p:sp>
          <p:nvSpPr>
            <p:cNvPr id="579594" name="Text Box 10"/>
            <p:cNvSpPr txBox="1">
              <a:spLocks noChangeArrowheads="1"/>
            </p:cNvSpPr>
            <p:nvPr/>
          </p:nvSpPr>
          <p:spPr bwMode="auto">
            <a:xfrm>
              <a:off x="300" y="872"/>
              <a:ext cx="1847" cy="240"/>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l" defTabSz="957263">
                <a:spcBef>
                  <a:spcPts val="400"/>
                </a:spcBef>
              </a:pPr>
              <a:r>
                <a:rPr lang="en-US" sz="1400" dirty="0">
                  <a:solidFill>
                    <a:srgbClr val="FFFFFF"/>
                  </a:solidFill>
                </a:rPr>
                <a:t>Text</a:t>
              </a:r>
              <a:endParaRPr lang="en-US" sz="1200" dirty="0">
                <a:solidFill>
                  <a:srgbClr val="FFFFFF"/>
                </a:solidFill>
              </a:endParaRPr>
            </a:p>
          </p:txBody>
        </p:sp>
        <p:sp>
          <p:nvSpPr>
            <p:cNvPr id="18" name="Rectangle 17"/>
            <p:cNvSpPr>
              <a:spLocks noChangeArrowheads="1"/>
            </p:cNvSpPr>
            <p:nvPr/>
          </p:nvSpPr>
          <p:spPr bwMode="auto">
            <a:xfrm>
              <a:off x="300" y="1112"/>
              <a:ext cx="1847" cy="1600"/>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grpSp>
        <p:nvGrpSpPr>
          <p:cNvPr id="5" name="Group 12"/>
          <p:cNvGrpSpPr>
            <a:grpSpLocks/>
          </p:cNvGrpSpPr>
          <p:nvPr/>
        </p:nvGrpSpPr>
        <p:grpSpPr bwMode="auto">
          <a:xfrm>
            <a:off x="4692650" y="3902167"/>
            <a:ext cx="4054475" cy="2104352"/>
            <a:chOff x="300" y="872"/>
            <a:chExt cx="1847" cy="1840"/>
          </a:xfrm>
        </p:grpSpPr>
        <p:sp>
          <p:nvSpPr>
            <p:cNvPr id="579592" name="Text Box 10"/>
            <p:cNvSpPr txBox="1">
              <a:spLocks noChangeArrowheads="1"/>
            </p:cNvSpPr>
            <p:nvPr/>
          </p:nvSpPr>
          <p:spPr bwMode="auto">
            <a:xfrm>
              <a:off x="300" y="872"/>
              <a:ext cx="1847" cy="240"/>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l" defTabSz="957263">
                <a:spcBef>
                  <a:spcPts val="400"/>
                </a:spcBef>
              </a:pPr>
              <a:r>
                <a:rPr lang="en-US" sz="1400" dirty="0">
                  <a:solidFill>
                    <a:srgbClr val="FFFFFF"/>
                  </a:solidFill>
                </a:rPr>
                <a:t>Text</a:t>
              </a:r>
              <a:endParaRPr lang="en-US" sz="1200" dirty="0">
                <a:solidFill>
                  <a:srgbClr val="FFFFFF"/>
                </a:solidFill>
              </a:endParaRPr>
            </a:p>
          </p:txBody>
        </p:sp>
        <p:sp>
          <p:nvSpPr>
            <p:cNvPr id="21" name="Rectangle 20"/>
            <p:cNvSpPr>
              <a:spLocks noChangeArrowheads="1"/>
            </p:cNvSpPr>
            <p:nvPr/>
          </p:nvSpPr>
          <p:spPr bwMode="auto">
            <a:xfrm>
              <a:off x="300" y="1112"/>
              <a:ext cx="1847" cy="1600"/>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sp>
        <p:nvSpPr>
          <p:cNvPr id="17"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25"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Oval 51"/>
          <p:cNvSpPr/>
          <p:nvPr/>
        </p:nvSpPr>
        <p:spPr>
          <a:xfrm>
            <a:off x="3939540" y="2441258"/>
            <a:ext cx="1257300" cy="561975"/>
          </a:xfrm>
          <a:prstGeom prst="ellipse">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a:t>Creativity</a:t>
            </a:r>
          </a:p>
        </p:txBody>
      </p:sp>
      <p:sp>
        <p:nvSpPr>
          <p:cNvPr id="778242" name="Title 1"/>
          <p:cNvSpPr>
            <a:spLocks noGrp="1"/>
          </p:cNvSpPr>
          <p:nvPr>
            <p:ph type="title"/>
          </p:nvPr>
        </p:nvSpPr>
        <p:spPr>
          <a:xfrm>
            <a:off x="414338" y="446038"/>
            <a:ext cx="8330184" cy="333425"/>
          </a:xfrm>
        </p:spPr>
        <p:txBody>
          <a:bodyPr/>
          <a:lstStyle/>
          <a:p>
            <a:r>
              <a:rPr lang="en-GB" altLang="ja-JP"/>
              <a:t>Generic strategy development framework </a:t>
            </a:r>
            <a:r>
              <a:rPr lang="en-US"/>
              <a:t>—</a:t>
            </a:r>
            <a:r>
              <a:rPr lang="en-GB" altLang="ja-JP" smtClean="0"/>
              <a:t> </a:t>
            </a:r>
            <a:r>
              <a:rPr lang="en-GB" altLang="ja-JP"/>
              <a:t>English</a:t>
            </a:r>
            <a:endParaRPr lang="nl-NL"/>
          </a:p>
        </p:txBody>
      </p:sp>
      <p:sp>
        <p:nvSpPr>
          <p:cNvPr id="778247" name="AutoShape 9"/>
          <p:cNvSpPr>
            <a:spLocks noChangeArrowheads="1"/>
          </p:cNvSpPr>
          <p:nvPr/>
        </p:nvSpPr>
        <p:spPr bwMode="auto">
          <a:xfrm>
            <a:off x="6660807" y="3470857"/>
            <a:ext cx="284672" cy="341313"/>
          </a:xfrm>
          <a:prstGeom prst="rightArrow">
            <a:avLst>
              <a:gd name="adj1" fmla="val 50000"/>
              <a:gd name="adj2" fmla="val 49002"/>
            </a:avLst>
          </a:prstGeom>
          <a:solidFill>
            <a:schemeClr val="accent1"/>
          </a:solidFill>
          <a:ln w="6350" algn="ctr">
            <a:noFill/>
            <a:miter lim="800000"/>
            <a:headEnd type="none" w="sm" len="sm"/>
            <a:tailEnd type="none" w="sm" len="sm"/>
          </a:ln>
        </p:spPr>
        <p:txBody>
          <a:bodyPr tIns="91440" bIns="91440" anchor="ctr"/>
          <a:lstStyle/>
          <a:p>
            <a:pPr algn="ctr"/>
            <a:endParaRPr lang="en-GB" sz="1200"/>
          </a:p>
        </p:txBody>
      </p:sp>
      <p:sp>
        <p:nvSpPr>
          <p:cNvPr id="14" name="AutoShape 10"/>
          <p:cNvSpPr>
            <a:spLocks noChangeArrowheads="1"/>
          </p:cNvSpPr>
          <p:nvPr/>
        </p:nvSpPr>
        <p:spPr bwMode="auto">
          <a:xfrm>
            <a:off x="2430095" y="1602370"/>
            <a:ext cx="1745092" cy="576262"/>
          </a:xfrm>
          <a:prstGeom prst="chevron">
            <a:avLst>
              <a:gd name="adj" fmla="val 27802"/>
            </a:avLst>
          </a:prstGeom>
          <a:solidFill>
            <a:schemeClr val="accent3"/>
          </a:solidFill>
          <a:ln w="6350" algn="ctr">
            <a:noFill/>
            <a:miter lim="800000"/>
            <a:headEnd type="none" w="sm" len="sm"/>
            <a:tailEnd type="none" w="sm" len="sm"/>
          </a:ln>
        </p:spPr>
        <p:txBody>
          <a:bodyPr tIns="91440" bIns="91440" anchor="ctr"/>
          <a:lstStyle/>
          <a:p>
            <a:pPr algn="ctr">
              <a:spcBef>
                <a:spcPts val="0"/>
              </a:spcBef>
              <a:buClr>
                <a:schemeClr val="tx1"/>
              </a:buClr>
              <a:buFont typeface="Times New Roman" pitchFamily="18" charset="0"/>
              <a:buNone/>
              <a:defRPr/>
            </a:pPr>
            <a:r>
              <a:rPr lang="en-GB" sz="1400" b="1" dirty="0">
                <a:solidFill>
                  <a:schemeClr val="bg1"/>
                </a:solidFill>
              </a:rPr>
              <a:t>2. Conduct</a:t>
            </a:r>
          </a:p>
          <a:p>
            <a:pPr algn="ctr">
              <a:spcBef>
                <a:spcPts val="0"/>
              </a:spcBef>
              <a:buClr>
                <a:schemeClr val="tx1"/>
              </a:buClr>
              <a:buFont typeface="Times New Roman" pitchFamily="18" charset="0"/>
              <a:buNone/>
              <a:defRPr/>
            </a:pPr>
            <a:r>
              <a:rPr lang="en-GB" sz="1400" b="1" dirty="0" smtClean="0">
                <a:solidFill>
                  <a:schemeClr val="bg1"/>
                </a:solidFill>
              </a:rPr>
              <a:t>analysis</a:t>
            </a:r>
            <a:endParaRPr lang="en-GB" altLang="ja-JP" sz="1400" b="1" dirty="0">
              <a:solidFill>
                <a:schemeClr val="bg1"/>
              </a:solidFill>
              <a:ea typeface="ＭＳ Ｐゴシック" pitchFamily="50" charset="-128"/>
            </a:endParaRPr>
          </a:p>
        </p:txBody>
      </p:sp>
      <p:sp>
        <p:nvSpPr>
          <p:cNvPr id="15" name="AutoShape 11"/>
          <p:cNvSpPr>
            <a:spLocks noChangeArrowheads="1"/>
          </p:cNvSpPr>
          <p:nvPr/>
        </p:nvSpPr>
        <p:spPr bwMode="auto">
          <a:xfrm>
            <a:off x="934459" y="1602370"/>
            <a:ext cx="1612059" cy="576262"/>
          </a:xfrm>
          <a:prstGeom prst="homePlate">
            <a:avLst>
              <a:gd name="adj" fmla="val 28686"/>
            </a:avLst>
          </a:prstGeom>
          <a:solidFill>
            <a:schemeClr val="accent3"/>
          </a:solidFill>
          <a:ln w="6350" algn="ctr">
            <a:noFill/>
            <a:miter lim="800000"/>
            <a:headEnd type="none" w="sm" len="sm"/>
            <a:tailEnd type="none" w="sm" len="sm"/>
          </a:ln>
        </p:spPr>
        <p:txBody>
          <a:bodyPr tIns="91440" bIns="91440" anchor="ctr"/>
          <a:lstStyle/>
          <a:p>
            <a:pPr marL="117475" indent="-117475" algn="ctr">
              <a:spcBef>
                <a:spcPts val="0"/>
              </a:spcBef>
              <a:defRPr/>
            </a:pPr>
            <a:r>
              <a:rPr lang="en-GB" sz="1400" b="1" dirty="0">
                <a:solidFill>
                  <a:schemeClr val="bg1"/>
                </a:solidFill>
              </a:rPr>
              <a:t>1. Evaluate</a:t>
            </a:r>
            <a:br>
              <a:rPr lang="en-GB" sz="1400" b="1" dirty="0">
                <a:solidFill>
                  <a:schemeClr val="bg1"/>
                </a:solidFill>
              </a:rPr>
            </a:br>
            <a:r>
              <a:rPr lang="en-GB" sz="1400" b="1" dirty="0" smtClean="0">
                <a:solidFill>
                  <a:schemeClr val="bg1"/>
                </a:solidFill>
              </a:rPr>
              <a:t>situation</a:t>
            </a:r>
            <a:endParaRPr lang="en-GB" altLang="ja-JP" sz="1400" b="1" dirty="0">
              <a:solidFill>
                <a:schemeClr val="bg1"/>
              </a:solidFill>
              <a:ea typeface="ＭＳ Ｐゴシック" pitchFamily="50" charset="-128"/>
            </a:endParaRPr>
          </a:p>
        </p:txBody>
      </p:sp>
      <p:sp>
        <p:nvSpPr>
          <p:cNvPr id="778250" name="Rectangle 12"/>
          <p:cNvSpPr>
            <a:spLocks noChangeArrowheads="1"/>
          </p:cNvSpPr>
          <p:nvPr/>
        </p:nvSpPr>
        <p:spPr bwMode="auto">
          <a:xfrm>
            <a:off x="934460" y="2299282"/>
            <a:ext cx="1222375" cy="2619375"/>
          </a:xfrm>
          <a:prstGeom prst="rect">
            <a:avLst/>
          </a:prstGeom>
          <a:solidFill>
            <a:schemeClr val="accent3"/>
          </a:solidFill>
          <a:ln w="6350" algn="ctr">
            <a:noFill/>
            <a:miter lim="800000"/>
            <a:headEnd type="none" w="sm" len="sm"/>
            <a:tailEnd type="none" w="sm" len="sm"/>
          </a:ln>
        </p:spPr>
        <p:txBody>
          <a:bodyPr wrap="none" tIns="91440" bIns="91440" anchor="ctr"/>
          <a:lstStyle/>
          <a:p>
            <a:pPr algn="ctr"/>
            <a:endParaRPr lang="en-GB" sz="1200">
              <a:ea typeface="ＭＳ Ｐゴシック" charset="-128"/>
            </a:endParaRPr>
          </a:p>
        </p:txBody>
      </p:sp>
      <p:sp>
        <p:nvSpPr>
          <p:cNvPr id="778251" name="AutoShape 13"/>
          <p:cNvSpPr>
            <a:spLocks noChangeArrowheads="1"/>
          </p:cNvSpPr>
          <p:nvPr/>
        </p:nvSpPr>
        <p:spPr bwMode="auto">
          <a:xfrm flipV="1">
            <a:off x="1315460" y="3159707"/>
            <a:ext cx="460375" cy="130175"/>
          </a:xfrm>
          <a:prstGeom prst="triangle">
            <a:avLst>
              <a:gd name="adj" fmla="val 50000"/>
            </a:avLst>
          </a:prstGeom>
          <a:solidFill>
            <a:schemeClr val="bg1"/>
          </a:solidFill>
          <a:ln w="6350" algn="ctr">
            <a:noFill/>
            <a:miter lim="800000"/>
            <a:headEnd type="none" w="sm" len="sm"/>
            <a:tailEnd type="none" w="sm" len="sm"/>
          </a:ln>
        </p:spPr>
        <p:txBody>
          <a:bodyPr rot="10800000" tIns="91440" bIns="91440" anchor="ctr"/>
          <a:lstStyle/>
          <a:p>
            <a:pPr algn="ctr"/>
            <a:endParaRPr lang="en-GB" sz="1200"/>
          </a:p>
        </p:txBody>
      </p:sp>
      <p:sp>
        <p:nvSpPr>
          <p:cNvPr id="778252" name="AutoShape 14"/>
          <p:cNvSpPr>
            <a:spLocks noChangeArrowheads="1"/>
          </p:cNvSpPr>
          <p:nvPr/>
        </p:nvSpPr>
        <p:spPr bwMode="auto">
          <a:xfrm>
            <a:off x="1315460" y="3934407"/>
            <a:ext cx="460375" cy="131763"/>
          </a:xfrm>
          <a:prstGeom prst="triangle">
            <a:avLst>
              <a:gd name="adj" fmla="val 50000"/>
            </a:avLst>
          </a:prstGeom>
          <a:solidFill>
            <a:schemeClr val="bg1"/>
          </a:solidFill>
          <a:ln w="6350" algn="ctr">
            <a:noFill/>
            <a:miter lim="800000"/>
            <a:headEnd type="none" w="sm" len="sm"/>
            <a:tailEnd type="none" w="sm" len="sm"/>
          </a:ln>
        </p:spPr>
        <p:txBody>
          <a:bodyPr tIns="91440" bIns="91440" anchor="ctr"/>
          <a:lstStyle/>
          <a:p>
            <a:pPr algn="ctr"/>
            <a:endParaRPr lang="en-GB" sz="1200"/>
          </a:p>
        </p:txBody>
      </p:sp>
      <p:sp>
        <p:nvSpPr>
          <p:cNvPr id="778253" name="Rectangle 15"/>
          <p:cNvSpPr>
            <a:spLocks noChangeArrowheads="1"/>
          </p:cNvSpPr>
          <p:nvPr/>
        </p:nvSpPr>
        <p:spPr bwMode="auto">
          <a:xfrm>
            <a:off x="934459" y="2437395"/>
            <a:ext cx="1222376" cy="619125"/>
          </a:xfrm>
          <a:prstGeom prst="rect">
            <a:avLst/>
          </a:prstGeom>
          <a:noFill/>
          <a:ln w="12700">
            <a:noFill/>
            <a:miter lim="800000"/>
            <a:headEnd type="none" w="sm" len="sm"/>
            <a:tailEnd type="none" w="sm" len="sm"/>
          </a:ln>
        </p:spPr>
        <p:txBody>
          <a:bodyPr anchor="ctr"/>
          <a:lstStyle/>
          <a:p>
            <a:pPr algn="ctr">
              <a:spcBef>
                <a:spcPts val="0"/>
              </a:spcBef>
            </a:pPr>
            <a:r>
              <a:rPr lang="en-GB" altLang="ja-JP" sz="1200" dirty="0">
                <a:solidFill>
                  <a:schemeClr val="bg1"/>
                </a:solidFill>
                <a:ea typeface="ＭＳ Ｐゴシック" charset="-128"/>
              </a:rPr>
              <a:t>Business</a:t>
            </a:r>
          </a:p>
          <a:p>
            <a:pPr algn="ctr">
              <a:spcBef>
                <a:spcPts val="0"/>
              </a:spcBef>
            </a:pPr>
            <a:r>
              <a:rPr lang="en-GB" altLang="ja-JP" sz="1200" dirty="0" smtClean="0">
                <a:solidFill>
                  <a:schemeClr val="bg1"/>
                </a:solidFill>
                <a:ea typeface="ＭＳ Ｐゴシック" charset="-128"/>
              </a:rPr>
              <a:t>definition</a:t>
            </a:r>
            <a:endParaRPr lang="en-GB" altLang="ja-JP" sz="1200" dirty="0">
              <a:solidFill>
                <a:schemeClr val="bg1"/>
              </a:solidFill>
              <a:ea typeface="ＭＳ Ｐゴシック" charset="-128"/>
            </a:endParaRPr>
          </a:p>
        </p:txBody>
      </p:sp>
      <p:sp>
        <p:nvSpPr>
          <p:cNvPr id="778254" name="Rectangle 16"/>
          <p:cNvSpPr>
            <a:spLocks noChangeArrowheads="1"/>
          </p:cNvSpPr>
          <p:nvPr/>
        </p:nvSpPr>
        <p:spPr bwMode="auto">
          <a:xfrm>
            <a:off x="934461" y="4202695"/>
            <a:ext cx="1222374" cy="619125"/>
          </a:xfrm>
          <a:prstGeom prst="rect">
            <a:avLst/>
          </a:prstGeom>
          <a:noFill/>
          <a:ln w="12700">
            <a:noFill/>
            <a:miter lim="800000"/>
            <a:headEnd type="none" w="sm" len="sm"/>
            <a:tailEnd type="none" w="sm" len="sm"/>
          </a:ln>
        </p:spPr>
        <p:txBody>
          <a:bodyPr lIns="54000" rIns="54000" anchor="ctr"/>
          <a:lstStyle/>
          <a:p>
            <a:pPr algn="ctr">
              <a:spcBef>
                <a:spcPts val="0"/>
              </a:spcBef>
            </a:pPr>
            <a:r>
              <a:rPr lang="en-GB" altLang="ja-JP" sz="1200" dirty="0">
                <a:solidFill>
                  <a:schemeClr val="bg1"/>
                </a:solidFill>
                <a:ea typeface="ＭＳ Ｐゴシック" charset="-128"/>
              </a:rPr>
              <a:t>Business</a:t>
            </a:r>
          </a:p>
          <a:p>
            <a:pPr algn="ctr">
              <a:spcBef>
                <a:spcPts val="0"/>
              </a:spcBef>
            </a:pPr>
            <a:r>
              <a:rPr lang="en-GB" altLang="ja-JP" sz="1200" dirty="0" smtClean="0">
                <a:solidFill>
                  <a:schemeClr val="bg1"/>
                </a:solidFill>
                <a:ea typeface="ＭＳ Ｐゴシック" charset="-128"/>
              </a:rPr>
              <a:t>constraints</a:t>
            </a:r>
            <a:endParaRPr lang="en-GB" altLang="ja-JP" sz="1200" dirty="0">
              <a:solidFill>
                <a:schemeClr val="bg1"/>
              </a:solidFill>
              <a:ea typeface="ＭＳ Ｐゴシック" charset="-128"/>
            </a:endParaRPr>
          </a:p>
        </p:txBody>
      </p:sp>
      <p:sp>
        <p:nvSpPr>
          <p:cNvPr id="778255" name="Oval 17"/>
          <p:cNvSpPr>
            <a:spLocks noChangeArrowheads="1"/>
          </p:cNvSpPr>
          <p:nvPr/>
        </p:nvSpPr>
        <p:spPr bwMode="auto">
          <a:xfrm>
            <a:off x="993257" y="3362907"/>
            <a:ext cx="1071503" cy="503238"/>
          </a:xfrm>
          <a:prstGeom prst="ellipse">
            <a:avLst/>
          </a:prstGeom>
          <a:solidFill>
            <a:schemeClr val="bg1"/>
          </a:solidFill>
          <a:ln w="6350" algn="ctr">
            <a:noFill/>
            <a:round/>
            <a:headEnd type="none" w="sm" len="sm"/>
            <a:tailEnd type="none" w="sm" len="sm"/>
          </a:ln>
        </p:spPr>
        <p:txBody>
          <a:bodyPr lIns="18000" tIns="91440" rIns="18000" bIns="91440" anchor="ctr"/>
          <a:lstStyle/>
          <a:p>
            <a:pPr algn="ctr"/>
            <a:r>
              <a:rPr lang="en-GB" altLang="ja-JP" sz="1000" dirty="0">
                <a:solidFill>
                  <a:schemeClr val="tx2"/>
                </a:solidFill>
                <a:ea typeface="ＭＳ Ｐゴシック" charset="-128"/>
              </a:rPr>
              <a:t>Business</a:t>
            </a:r>
          </a:p>
          <a:p>
            <a:pPr algn="ctr"/>
            <a:r>
              <a:rPr lang="en-GB" altLang="ja-JP" sz="1000" dirty="0" smtClean="0">
                <a:solidFill>
                  <a:schemeClr val="tx2"/>
                </a:solidFill>
                <a:ea typeface="ＭＳ Ｐゴシック" charset="-128"/>
              </a:rPr>
              <a:t>imperatives</a:t>
            </a:r>
            <a:endParaRPr lang="en-GB" altLang="ja-JP" sz="1000" dirty="0">
              <a:solidFill>
                <a:schemeClr val="tx2"/>
              </a:solidFill>
              <a:ea typeface="ＭＳ Ｐゴシック" charset="-128"/>
            </a:endParaRPr>
          </a:p>
        </p:txBody>
      </p:sp>
      <p:sp>
        <p:nvSpPr>
          <p:cNvPr id="778256" name="Rectangle 18"/>
          <p:cNvSpPr>
            <a:spLocks noChangeArrowheads="1"/>
          </p:cNvSpPr>
          <p:nvPr/>
        </p:nvSpPr>
        <p:spPr bwMode="auto">
          <a:xfrm>
            <a:off x="2582221" y="2299282"/>
            <a:ext cx="1219200" cy="2619375"/>
          </a:xfrm>
          <a:prstGeom prst="rect">
            <a:avLst/>
          </a:prstGeom>
          <a:solidFill>
            <a:schemeClr val="accent3"/>
          </a:solidFill>
          <a:ln w="6350" algn="ctr">
            <a:noFill/>
            <a:miter lim="800000"/>
            <a:headEnd type="none" w="sm" len="sm"/>
            <a:tailEnd type="none" w="sm" len="sm"/>
          </a:ln>
        </p:spPr>
        <p:txBody>
          <a:bodyPr wrap="none" tIns="91440" bIns="91440" anchor="ctr"/>
          <a:lstStyle/>
          <a:p>
            <a:pPr algn="ctr"/>
            <a:endParaRPr lang="en-GB" sz="1200">
              <a:ea typeface="ＭＳ Ｐゴシック" charset="-128"/>
            </a:endParaRPr>
          </a:p>
        </p:txBody>
      </p:sp>
      <p:sp>
        <p:nvSpPr>
          <p:cNvPr id="778257" name="AutoShape 19"/>
          <p:cNvSpPr>
            <a:spLocks noChangeArrowheads="1"/>
          </p:cNvSpPr>
          <p:nvPr/>
        </p:nvSpPr>
        <p:spPr bwMode="auto">
          <a:xfrm flipV="1">
            <a:off x="2963221" y="3159707"/>
            <a:ext cx="457200" cy="130175"/>
          </a:xfrm>
          <a:prstGeom prst="triangle">
            <a:avLst>
              <a:gd name="adj" fmla="val 50000"/>
            </a:avLst>
          </a:prstGeom>
          <a:solidFill>
            <a:schemeClr val="bg1"/>
          </a:solidFill>
          <a:ln w="6350" algn="ctr">
            <a:noFill/>
            <a:miter lim="800000"/>
            <a:headEnd type="none" w="sm" len="sm"/>
            <a:tailEnd type="none" w="sm" len="sm"/>
          </a:ln>
        </p:spPr>
        <p:txBody>
          <a:bodyPr rot="10800000" tIns="91440" bIns="91440" anchor="ctr"/>
          <a:lstStyle/>
          <a:p>
            <a:pPr algn="ctr"/>
            <a:endParaRPr lang="en-GB" sz="1200"/>
          </a:p>
        </p:txBody>
      </p:sp>
      <p:sp>
        <p:nvSpPr>
          <p:cNvPr id="778258" name="AutoShape 20"/>
          <p:cNvSpPr>
            <a:spLocks noChangeArrowheads="1"/>
          </p:cNvSpPr>
          <p:nvPr/>
        </p:nvSpPr>
        <p:spPr bwMode="auto">
          <a:xfrm>
            <a:off x="2963221" y="3934407"/>
            <a:ext cx="457200" cy="131763"/>
          </a:xfrm>
          <a:prstGeom prst="triangle">
            <a:avLst>
              <a:gd name="adj" fmla="val 50000"/>
            </a:avLst>
          </a:prstGeom>
          <a:solidFill>
            <a:schemeClr val="bg1"/>
          </a:solidFill>
          <a:ln w="6350" algn="ctr">
            <a:noFill/>
            <a:miter lim="800000"/>
            <a:headEnd type="none" w="sm" len="sm"/>
            <a:tailEnd type="none" w="sm" len="sm"/>
          </a:ln>
        </p:spPr>
        <p:txBody>
          <a:bodyPr tIns="91440" bIns="91440" anchor="ctr"/>
          <a:lstStyle/>
          <a:p>
            <a:pPr algn="ctr"/>
            <a:endParaRPr lang="en-GB" sz="1200"/>
          </a:p>
        </p:txBody>
      </p:sp>
      <p:sp>
        <p:nvSpPr>
          <p:cNvPr id="778259" name="Rectangle 21"/>
          <p:cNvSpPr>
            <a:spLocks noChangeArrowheads="1"/>
          </p:cNvSpPr>
          <p:nvPr/>
        </p:nvSpPr>
        <p:spPr bwMode="auto">
          <a:xfrm>
            <a:off x="2582221" y="2437395"/>
            <a:ext cx="1219200" cy="619125"/>
          </a:xfrm>
          <a:prstGeom prst="rect">
            <a:avLst/>
          </a:prstGeom>
          <a:noFill/>
          <a:ln w="12700">
            <a:noFill/>
            <a:miter lim="800000"/>
            <a:headEnd type="none" w="sm" len="sm"/>
            <a:tailEnd type="none" w="sm" len="sm"/>
          </a:ln>
        </p:spPr>
        <p:txBody>
          <a:bodyPr anchor="ctr"/>
          <a:lstStyle/>
          <a:p>
            <a:pPr algn="ctr">
              <a:spcBef>
                <a:spcPts val="0"/>
              </a:spcBef>
            </a:pPr>
            <a:r>
              <a:rPr lang="en-GB" altLang="ja-JP" sz="1200" dirty="0">
                <a:solidFill>
                  <a:schemeClr val="bg1"/>
                </a:solidFill>
                <a:ea typeface="ＭＳ Ｐゴシック" charset="-128"/>
              </a:rPr>
              <a:t>External </a:t>
            </a:r>
            <a:r>
              <a:rPr lang="en-GB" altLang="ja-JP" sz="1200" dirty="0" smtClean="0">
                <a:solidFill>
                  <a:schemeClr val="bg1"/>
                </a:solidFill>
                <a:ea typeface="ＭＳ Ｐゴシック" charset="-128"/>
              </a:rPr>
              <a:t>analysis</a:t>
            </a:r>
            <a:endParaRPr lang="en-GB" altLang="ja-JP" sz="1200" dirty="0">
              <a:solidFill>
                <a:schemeClr val="bg1"/>
              </a:solidFill>
              <a:ea typeface="ＭＳ Ｐゴシック" charset="-128"/>
            </a:endParaRPr>
          </a:p>
        </p:txBody>
      </p:sp>
      <p:sp>
        <p:nvSpPr>
          <p:cNvPr id="778260" name="Rectangle 22"/>
          <p:cNvSpPr>
            <a:spLocks noChangeArrowheads="1"/>
          </p:cNvSpPr>
          <p:nvPr/>
        </p:nvSpPr>
        <p:spPr bwMode="auto">
          <a:xfrm>
            <a:off x="2582221" y="4202695"/>
            <a:ext cx="1219200" cy="619125"/>
          </a:xfrm>
          <a:prstGeom prst="rect">
            <a:avLst/>
          </a:prstGeom>
          <a:noFill/>
          <a:ln w="12700">
            <a:noFill/>
            <a:miter lim="800000"/>
            <a:headEnd type="none" w="sm" len="sm"/>
            <a:tailEnd type="none" w="sm" len="sm"/>
          </a:ln>
        </p:spPr>
        <p:txBody>
          <a:bodyPr anchor="ctr"/>
          <a:lstStyle/>
          <a:p>
            <a:pPr algn="ctr">
              <a:spcBef>
                <a:spcPts val="0"/>
              </a:spcBef>
            </a:pPr>
            <a:r>
              <a:rPr lang="en-GB" altLang="ja-JP" sz="1200" dirty="0">
                <a:solidFill>
                  <a:schemeClr val="bg1"/>
                </a:solidFill>
                <a:ea typeface="ＭＳ Ｐゴシック" charset="-128"/>
              </a:rPr>
              <a:t>Internal </a:t>
            </a:r>
            <a:r>
              <a:rPr lang="en-GB" altLang="ja-JP" sz="1200" dirty="0" smtClean="0">
                <a:solidFill>
                  <a:schemeClr val="bg1"/>
                </a:solidFill>
                <a:ea typeface="ＭＳ Ｐゴシック" charset="-128"/>
              </a:rPr>
              <a:t>analysis</a:t>
            </a:r>
            <a:endParaRPr lang="en-GB" altLang="ja-JP" sz="1200" dirty="0">
              <a:solidFill>
                <a:schemeClr val="bg1"/>
              </a:solidFill>
              <a:ea typeface="ＭＳ Ｐゴシック" charset="-128"/>
            </a:endParaRPr>
          </a:p>
        </p:txBody>
      </p:sp>
      <p:sp>
        <p:nvSpPr>
          <p:cNvPr id="778261" name="Oval 23"/>
          <p:cNvSpPr>
            <a:spLocks noChangeArrowheads="1"/>
          </p:cNvSpPr>
          <p:nvPr/>
        </p:nvSpPr>
        <p:spPr bwMode="auto">
          <a:xfrm>
            <a:off x="2633021" y="3362907"/>
            <a:ext cx="1116013" cy="503238"/>
          </a:xfrm>
          <a:prstGeom prst="ellipse">
            <a:avLst/>
          </a:prstGeom>
          <a:solidFill>
            <a:schemeClr val="bg1"/>
          </a:solidFill>
          <a:ln w="6350" algn="ctr">
            <a:noFill/>
            <a:round/>
            <a:headEnd type="none" w="sm" len="sm"/>
            <a:tailEnd type="none" w="sm" len="sm"/>
          </a:ln>
        </p:spPr>
        <p:txBody>
          <a:bodyPr tIns="91440" bIns="91440" anchor="ctr"/>
          <a:lstStyle/>
          <a:p>
            <a:pPr algn="ctr"/>
            <a:r>
              <a:rPr lang="en-GB" altLang="ja-JP" sz="1000" dirty="0">
                <a:solidFill>
                  <a:schemeClr val="tx2"/>
                </a:solidFill>
                <a:ea typeface="ＭＳ Ｐゴシック" charset="-128"/>
              </a:rPr>
              <a:t>Key </a:t>
            </a:r>
            <a:r>
              <a:rPr lang="en-GB" altLang="ja-JP" sz="1000" dirty="0" smtClean="0">
                <a:solidFill>
                  <a:schemeClr val="tx2"/>
                </a:solidFill>
                <a:ea typeface="ＭＳ Ｐゴシック" charset="-128"/>
              </a:rPr>
              <a:t>insights</a:t>
            </a:r>
            <a:endParaRPr lang="en-GB" altLang="ja-JP" sz="1000" dirty="0">
              <a:solidFill>
                <a:schemeClr val="tx2"/>
              </a:solidFill>
              <a:ea typeface="ＭＳ Ｐゴシック" charset="-128"/>
            </a:endParaRPr>
          </a:p>
        </p:txBody>
      </p:sp>
      <p:sp>
        <p:nvSpPr>
          <p:cNvPr id="778263" name="Rectangle 26"/>
          <p:cNvSpPr>
            <a:spLocks noChangeArrowheads="1"/>
          </p:cNvSpPr>
          <p:nvPr/>
        </p:nvSpPr>
        <p:spPr bwMode="auto">
          <a:xfrm>
            <a:off x="4153910" y="3278770"/>
            <a:ext cx="833437" cy="700087"/>
          </a:xfrm>
          <a:prstGeom prst="rect">
            <a:avLst/>
          </a:prstGeom>
          <a:noFill/>
          <a:ln w="6350" algn="ctr">
            <a:noFill/>
            <a:miter lim="800000"/>
            <a:headEnd type="none" w="sm" len="sm"/>
            <a:tailEnd type="none" w="sm" len="sm"/>
          </a:ln>
        </p:spPr>
        <p:txBody>
          <a:bodyPr wrap="none" tIns="91440" bIns="91440" anchor="ctr"/>
          <a:lstStyle/>
          <a:p>
            <a:pPr algn="ctr"/>
            <a:r>
              <a:rPr lang="en-GB" altLang="ja-JP" sz="1200" dirty="0">
                <a:ea typeface="ＭＳ Ｐゴシック" charset="-128"/>
              </a:rPr>
              <a:t>Future</a:t>
            </a:r>
          </a:p>
          <a:p>
            <a:pPr algn="ctr"/>
            <a:r>
              <a:rPr lang="en-GB" altLang="ja-JP" sz="1200" dirty="0" smtClean="0">
                <a:ea typeface="ＭＳ Ｐゴシック" charset="-128"/>
              </a:rPr>
              <a:t>industry</a:t>
            </a:r>
            <a:endParaRPr lang="en-GB" altLang="ja-JP" sz="1200" dirty="0">
              <a:ea typeface="ＭＳ Ｐゴシック" charset="-128"/>
            </a:endParaRPr>
          </a:p>
          <a:p>
            <a:pPr algn="ctr"/>
            <a:r>
              <a:rPr lang="en-GB" altLang="ja-JP" sz="1200" dirty="0" smtClean="0">
                <a:ea typeface="ＭＳ Ｐゴシック" charset="-128"/>
              </a:rPr>
              <a:t>scenarios</a:t>
            </a:r>
            <a:endParaRPr lang="en-GB" altLang="ja-JP" sz="1200" dirty="0">
              <a:ea typeface="ＭＳ Ｐゴシック" charset="-128"/>
            </a:endParaRPr>
          </a:p>
        </p:txBody>
      </p:sp>
      <p:sp>
        <p:nvSpPr>
          <p:cNvPr id="32" name="AutoShape 28"/>
          <p:cNvSpPr>
            <a:spLocks noChangeArrowheads="1"/>
          </p:cNvSpPr>
          <p:nvPr/>
        </p:nvSpPr>
        <p:spPr bwMode="auto">
          <a:xfrm>
            <a:off x="4063633" y="1602370"/>
            <a:ext cx="2607328" cy="576262"/>
          </a:xfrm>
          <a:prstGeom prst="chevron">
            <a:avLst>
              <a:gd name="adj" fmla="val 29754"/>
            </a:avLst>
          </a:prstGeom>
          <a:solidFill>
            <a:schemeClr val="accent3"/>
          </a:solidFill>
          <a:ln w="6350" algn="ctr">
            <a:noFill/>
            <a:miter lim="800000"/>
            <a:headEnd type="none" w="sm" len="sm"/>
            <a:tailEnd type="none" w="sm" len="sm"/>
          </a:ln>
        </p:spPr>
        <p:txBody>
          <a:bodyPr tIns="91440" bIns="91440" anchor="ctr"/>
          <a:lstStyle/>
          <a:p>
            <a:pPr algn="ctr">
              <a:spcBef>
                <a:spcPts val="0"/>
              </a:spcBef>
              <a:defRPr/>
            </a:pPr>
            <a:r>
              <a:rPr lang="en-GB" sz="1400" b="1" dirty="0">
                <a:solidFill>
                  <a:schemeClr val="bg1"/>
                </a:solidFill>
              </a:rPr>
              <a:t>3. Formulate</a:t>
            </a:r>
            <a:br>
              <a:rPr lang="en-GB" sz="1400" b="1" dirty="0">
                <a:solidFill>
                  <a:schemeClr val="bg1"/>
                </a:solidFill>
              </a:rPr>
            </a:br>
            <a:r>
              <a:rPr lang="en-GB" sz="1400" b="1" dirty="0" smtClean="0">
                <a:solidFill>
                  <a:schemeClr val="bg1"/>
                </a:solidFill>
              </a:rPr>
              <a:t>strategy</a:t>
            </a:r>
            <a:endParaRPr lang="en-GB" altLang="ja-JP" sz="1400" b="1" dirty="0">
              <a:solidFill>
                <a:schemeClr val="bg1"/>
              </a:solidFill>
              <a:ea typeface="ＭＳ Ｐゴシック" pitchFamily="50" charset="-128"/>
            </a:endParaRPr>
          </a:p>
        </p:txBody>
      </p:sp>
      <p:sp>
        <p:nvSpPr>
          <p:cNvPr id="33" name="AutoShape 29"/>
          <p:cNvSpPr>
            <a:spLocks noChangeArrowheads="1"/>
          </p:cNvSpPr>
          <p:nvPr/>
        </p:nvSpPr>
        <p:spPr bwMode="auto">
          <a:xfrm>
            <a:off x="6552144" y="1602370"/>
            <a:ext cx="1849438" cy="576262"/>
          </a:xfrm>
          <a:prstGeom prst="chevron">
            <a:avLst>
              <a:gd name="adj" fmla="val 30967"/>
            </a:avLst>
          </a:prstGeom>
          <a:solidFill>
            <a:schemeClr val="accent3"/>
          </a:solidFill>
          <a:ln w="6350" algn="ctr">
            <a:noFill/>
            <a:miter lim="800000"/>
            <a:headEnd type="none" w="sm" len="sm"/>
            <a:tailEnd type="none" w="sm" len="sm"/>
          </a:ln>
        </p:spPr>
        <p:txBody>
          <a:bodyPr lIns="72000" tIns="91440" rIns="72000" bIns="91440" anchor="ctr"/>
          <a:lstStyle/>
          <a:p>
            <a:pPr algn="ctr">
              <a:spcBef>
                <a:spcPts val="0"/>
              </a:spcBef>
              <a:defRPr/>
            </a:pPr>
            <a:r>
              <a:rPr lang="en-GB" sz="1400" b="1" dirty="0">
                <a:solidFill>
                  <a:schemeClr val="bg1"/>
                </a:solidFill>
                <a:ea typeface="ＭＳ Ｐゴシック" pitchFamily="50" charset="-128"/>
              </a:rPr>
              <a:t>4. Plan</a:t>
            </a:r>
            <a:br>
              <a:rPr lang="en-GB" sz="1400" b="1" dirty="0">
                <a:solidFill>
                  <a:schemeClr val="bg1"/>
                </a:solidFill>
                <a:ea typeface="ＭＳ Ｐゴシック" pitchFamily="50" charset="-128"/>
              </a:rPr>
            </a:br>
            <a:r>
              <a:rPr lang="en-GB" sz="1400" b="1" dirty="0" smtClean="0">
                <a:solidFill>
                  <a:schemeClr val="bg1"/>
                </a:solidFill>
                <a:ea typeface="ＭＳ Ｐゴシック" pitchFamily="50" charset="-128"/>
              </a:rPr>
              <a:t>implementation</a:t>
            </a:r>
            <a:endParaRPr lang="en-GB" altLang="ja-JP" sz="1400" b="1" dirty="0">
              <a:solidFill>
                <a:schemeClr val="bg1"/>
              </a:solidFill>
              <a:ea typeface="ＭＳ Ｐゴシック" pitchFamily="50" charset="-128"/>
            </a:endParaRPr>
          </a:p>
        </p:txBody>
      </p:sp>
      <p:sp>
        <p:nvSpPr>
          <p:cNvPr id="778267" name="Rectangle 30"/>
          <p:cNvSpPr>
            <a:spLocks noChangeArrowheads="1"/>
          </p:cNvSpPr>
          <p:nvPr/>
        </p:nvSpPr>
        <p:spPr bwMode="auto">
          <a:xfrm>
            <a:off x="6989299" y="2299282"/>
            <a:ext cx="1222375" cy="2619375"/>
          </a:xfrm>
          <a:prstGeom prst="rect">
            <a:avLst/>
          </a:prstGeom>
          <a:solidFill>
            <a:schemeClr val="accent3"/>
          </a:solidFill>
          <a:ln w="6350" algn="ctr">
            <a:noFill/>
            <a:miter lim="800000"/>
            <a:headEnd type="none" w="sm" len="sm"/>
            <a:tailEnd type="none" w="sm" len="sm"/>
          </a:ln>
        </p:spPr>
        <p:txBody>
          <a:bodyPr wrap="none" tIns="91440" bIns="91440" anchor="ctr"/>
          <a:lstStyle/>
          <a:p>
            <a:pPr algn="ctr"/>
            <a:endParaRPr lang="en-GB" sz="1200">
              <a:ea typeface="ＭＳ Ｐゴシック" charset="-128"/>
            </a:endParaRPr>
          </a:p>
        </p:txBody>
      </p:sp>
      <p:sp>
        <p:nvSpPr>
          <p:cNvPr id="778268" name="AutoShape 31"/>
          <p:cNvSpPr>
            <a:spLocks noChangeArrowheads="1"/>
          </p:cNvSpPr>
          <p:nvPr/>
        </p:nvSpPr>
        <p:spPr bwMode="auto">
          <a:xfrm>
            <a:off x="7370299" y="3159707"/>
            <a:ext cx="460375" cy="130175"/>
          </a:xfrm>
          <a:prstGeom prst="triangle">
            <a:avLst>
              <a:gd name="adj" fmla="val 50000"/>
            </a:avLst>
          </a:prstGeom>
          <a:solidFill>
            <a:schemeClr val="bg1"/>
          </a:solidFill>
          <a:ln w="6350" algn="ctr">
            <a:noFill/>
            <a:miter lim="800000"/>
            <a:headEnd type="none" w="sm" len="sm"/>
            <a:tailEnd type="none" w="sm" len="sm"/>
          </a:ln>
        </p:spPr>
        <p:txBody>
          <a:bodyPr tIns="91440" bIns="91440" anchor="ctr"/>
          <a:lstStyle/>
          <a:p>
            <a:pPr algn="ctr"/>
            <a:endParaRPr lang="en-GB" sz="1200"/>
          </a:p>
        </p:txBody>
      </p:sp>
      <p:sp>
        <p:nvSpPr>
          <p:cNvPr id="778269" name="AutoShape 32"/>
          <p:cNvSpPr>
            <a:spLocks noChangeArrowheads="1"/>
          </p:cNvSpPr>
          <p:nvPr/>
        </p:nvSpPr>
        <p:spPr bwMode="auto">
          <a:xfrm flipV="1">
            <a:off x="7370299" y="3934407"/>
            <a:ext cx="460375" cy="131763"/>
          </a:xfrm>
          <a:prstGeom prst="triangle">
            <a:avLst>
              <a:gd name="adj" fmla="val 50000"/>
            </a:avLst>
          </a:prstGeom>
          <a:solidFill>
            <a:schemeClr val="bg1"/>
          </a:solidFill>
          <a:ln w="6350" algn="ctr">
            <a:noFill/>
            <a:miter lim="800000"/>
            <a:headEnd type="none" w="sm" len="sm"/>
            <a:tailEnd type="none" w="sm" len="sm"/>
          </a:ln>
        </p:spPr>
        <p:txBody>
          <a:bodyPr rot="10800000" tIns="91440" bIns="91440" anchor="ctr"/>
          <a:lstStyle/>
          <a:p>
            <a:pPr algn="ctr"/>
            <a:endParaRPr lang="en-GB" sz="1200"/>
          </a:p>
        </p:txBody>
      </p:sp>
      <p:sp>
        <p:nvSpPr>
          <p:cNvPr id="778270" name="Rectangle 33"/>
          <p:cNvSpPr>
            <a:spLocks noChangeArrowheads="1"/>
          </p:cNvSpPr>
          <p:nvPr/>
        </p:nvSpPr>
        <p:spPr bwMode="auto">
          <a:xfrm>
            <a:off x="6989299" y="2437395"/>
            <a:ext cx="1222375" cy="619125"/>
          </a:xfrm>
          <a:prstGeom prst="rect">
            <a:avLst/>
          </a:prstGeom>
          <a:noFill/>
          <a:ln w="12700">
            <a:noFill/>
            <a:miter lim="800000"/>
            <a:headEnd type="none" w="sm" len="sm"/>
            <a:tailEnd type="none" w="sm" len="sm"/>
          </a:ln>
        </p:spPr>
        <p:txBody>
          <a:bodyPr anchor="ctr"/>
          <a:lstStyle/>
          <a:p>
            <a:pPr algn="ctr">
              <a:spcBef>
                <a:spcPts val="0"/>
              </a:spcBef>
            </a:pPr>
            <a:r>
              <a:rPr lang="en-GB" altLang="ja-JP" sz="1200" dirty="0">
                <a:solidFill>
                  <a:schemeClr val="bg1"/>
                </a:solidFill>
                <a:ea typeface="ＭＳ Ｐゴシック" charset="-128"/>
              </a:rPr>
              <a:t>Action </a:t>
            </a:r>
            <a:r>
              <a:rPr lang="en-GB" altLang="ja-JP" sz="1200" dirty="0" smtClean="0">
                <a:solidFill>
                  <a:schemeClr val="bg1"/>
                </a:solidFill>
                <a:ea typeface="ＭＳ Ｐゴシック" charset="-128"/>
              </a:rPr>
              <a:t>plan</a:t>
            </a:r>
            <a:endParaRPr lang="en-GB" altLang="ja-JP" sz="1200" dirty="0">
              <a:solidFill>
                <a:schemeClr val="bg1"/>
              </a:solidFill>
              <a:ea typeface="ＭＳ Ｐゴシック" charset="-128"/>
            </a:endParaRPr>
          </a:p>
        </p:txBody>
      </p:sp>
      <p:sp>
        <p:nvSpPr>
          <p:cNvPr id="778271" name="Rectangle 34"/>
          <p:cNvSpPr>
            <a:spLocks noChangeArrowheads="1"/>
          </p:cNvSpPr>
          <p:nvPr/>
        </p:nvSpPr>
        <p:spPr bwMode="auto">
          <a:xfrm>
            <a:off x="6989299" y="4202695"/>
            <a:ext cx="1222375" cy="619125"/>
          </a:xfrm>
          <a:prstGeom prst="rect">
            <a:avLst/>
          </a:prstGeom>
          <a:noFill/>
          <a:ln w="12700">
            <a:noFill/>
            <a:miter lim="800000"/>
            <a:headEnd type="none" w="sm" len="sm"/>
            <a:tailEnd type="none" w="sm" len="sm"/>
          </a:ln>
        </p:spPr>
        <p:txBody>
          <a:bodyPr anchor="ctr"/>
          <a:lstStyle/>
          <a:p>
            <a:pPr algn="ctr">
              <a:spcBef>
                <a:spcPts val="0"/>
              </a:spcBef>
            </a:pPr>
            <a:r>
              <a:rPr lang="en-GB" altLang="ja-JP" sz="1200" dirty="0">
                <a:solidFill>
                  <a:schemeClr val="bg1"/>
                </a:solidFill>
                <a:ea typeface="ＭＳ Ｐゴシック" charset="-128"/>
              </a:rPr>
              <a:t>Financial </a:t>
            </a:r>
            <a:r>
              <a:rPr lang="en-GB" altLang="ja-JP" sz="1200" dirty="0" smtClean="0">
                <a:solidFill>
                  <a:schemeClr val="bg1"/>
                </a:solidFill>
                <a:ea typeface="ＭＳ Ｐゴシック" charset="-128"/>
              </a:rPr>
              <a:t>plan</a:t>
            </a:r>
            <a:endParaRPr lang="en-GB" altLang="ja-JP" sz="1200" dirty="0">
              <a:solidFill>
                <a:schemeClr val="bg1"/>
              </a:solidFill>
              <a:ea typeface="ＭＳ Ｐゴシック" charset="-128"/>
            </a:endParaRPr>
          </a:p>
        </p:txBody>
      </p:sp>
      <p:sp>
        <p:nvSpPr>
          <p:cNvPr id="778272" name="Oval 35"/>
          <p:cNvSpPr>
            <a:spLocks noChangeArrowheads="1"/>
          </p:cNvSpPr>
          <p:nvPr/>
        </p:nvSpPr>
        <p:spPr bwMode="auto">
          <a:xfrm>
            <a:off x="7044861" y="3362907"/>
            <a:ext cx="1116013" cy="503238"/>
          </a:xfrm>
          <a:prstGeom prst="ellipse">
            <a:avLst/>
          </a:prstGeom>
          <a:solidFill>
            <a:schemeClr val="bg1"/>
          </a:solidFill>
          <a:ln w="6350" algn="ctr">
            <a:noFill/>
            <a:round/>
            <a:headEnd type="none" w="sm" len="sm"/>
            <a:tailEnd type="none" w="sm" len="sm"/>
          </a:ln>
        </p:spPr>
        <p:txBody>
          <a:bodyPr tIns="91440" bIns="91440" anchor="ctr"/>
          <a:lstStyle/>
          <a:p>
            <a:pPr algn="ctr"/>
            <a:r>
              <a:rPr lang="en-GB" altLang="ja-JP" sz="1000" dirty="0">
                <a:solidFill>
                  <a:schemeClr val="tx2"/>
                </a:solidFill>
                <a:ea typeface="ＭＳ Ｐゴシック" charset="-128"/>
              </a:rPr>
              <a:t>Plans</a:t>
            </a:r>
          </a:p>
        </p:txBody>
      </p:sp>
      <p:sp>
        <p:nvSpPr>
          <p:cNvPr id="778273" name="Rectangle 36"/>
          <p:cNvSpPr>
            <a:spLocks noChangeArrowheads="1"/>
          </p:cNvSpPr>
          <p:nvPr/>
        </p:nvSpPr>
        <p:spPr bwMode="auto">
          <a:xfrm>
            <a:off x="5379523" y="2299282"/>
            <a:ext cx="1219200" cy="2619375"/>
          </a:xfrm>
          <a:prstGeom prst="rect">
            <a:avLst/>
          </a:prstGeom>
          <a:solidFill>
            <a:schemeClr val="accent3"/>
          </a:solidFill>
          <a:ln w="6350" algn="ctr">
            <a:noFill/>
            <a:miter lim="800000"/>
            <a:headEnd type="none" w="sm" len="sm"/>
            <a:tailEnd type="none" w="sm" len="sm"/>
          </a:ln>
        </p:spPr>
        <p:txBody>
          <a:bodyPr wrap="none" tIns="91440" bIns="91440" anchor="ctr"/>
          <a:lstStyle/>
          <a:p>
            <a:pPr algn="ctr"/>
            <a:endParaRPr lang="en-GB" sz="1200">
              <a:ea typeface="ＭＳ Ｐゴシック" charset="-128"/>
            </a:endParaRPr>
          </a:p>
        </p:txBody>
      </p:sp>
      <p:sp>
        <p:nvSpPr>
          <p:cNvPr id="778274" name="AutoShape 37"/>
          <p:cNvSpPr>
            <a:spLocks noChangeArrowheads="1"/>
          </p:cNvSpPr>
          <p:nvPr/>
        </p:nvSpPr>
        <p:spPr bwMode="auto">
          <a:xfrm flipV="1">
            <a:off x="5760523" y="3159707"/>
            <a:ext cx="457200" cy="130175"/>
          </a:xfrm>
          <a:prstGeom prst="triangle">
            <a:avLst>
              <a:gd name="adj" fmla="val 50000"/>
            </a:avLst>
          </a:prstGeom>
          <a:solidFill>
            <a:schemeClr val="bg1"/>
          </a:solidFill>
          <a:ln w="6350" algn="ctr">
            <a:noFill/>
            <a:miter lim="800000"/>
            <a:headEnd type="none" w="sm" len="sm"/>
            <a:tailEnd type="none" w="sm" len="sm"/>
          </a:ln>
        </p:spPr>
        <p:txBody>
          <a:bodyPr rot="10800000" tIns="91440" bIns="91440" anchor="ctr"/>
          <a:lstStyle/>
          <a:p>
            <a:pPr algn="ctr"/>
            <a:endParaRPr lang="en-GB" sz="1200"/>
          </a:p>
        </p:txBody>
      </p:sp>
      <p:sp>
        <p:nvSpPr>
          <p:cNvPr id="778275" name="AutoShape 38"/>
          <p:cNvSpPr>
            <a:spLocks noChangeArrowheads="1"/>
          </p:cNvSpPr>
          <p:nvPr/>
        </p:nvSpPr>
        <p:spPr bwMode="auto">
          <a:xfrm>
            <a:off x="5760523" y="3934407"/>
            <a:ext cx="457200" cy="131763"/>
          </a:xfrm>
          <a:prstGeom prst="triangle">
            <a:avLst>
              <a:gd name="adj" fmla="val 50000"/>
            </a:avLst>
          </a:prstGeom>
          <a:solidFill>
            <a:schemeClr val="bg1"/>
          </a:solidFill>
          <a:ln w="6350" algn="ctr">
            <a:noFill/>
            <a:miter lim="800000"/>
            <a:headEnd type="none" w="sm" len="sm"/>
            <a:tailEnd type="none" w="sm" len="sm"/>
          </a:ln>
        </p:spPr>
        <p:txBody>
          <a:bodyPr tIns="91440" bIns="91440" anchor="ctr"/>
          <a:lstStyle/>
          <a:p>
            <a:pPr algn="ctr"/>
            <a:endParaRPr lang="en-GB" sz="1200"/>
          </a:p>
        </p:txBody>
      </p:sp>
      <p:sp>
        <p:nvSpPr>
          <p:cNvPr id="778276" name="Rectangle 39"/>
          <p:cNvSpPr>
            <a:spLocks noChangeArrowheads="1"/>
          </p:cNvSpPr>
          <p:nvPr/>
        </p:nvSpPr>
        <p:spPr bwMode="auto">
          <a:xfrm>
            <a:off x="5379523" y="2437395"/>
            <a:ext cx="1219199" cy="619125"/>
          </a:xfrm>
          <a:prstGeom prst="rect">
            <a:avLst/>
          </a:prstGeom>
          <a:noFill/>
          <a:ln w="12700">
            <a:noFill/>
            <a:miter lim="800000"/>
            <a:headEnd type="none" w="sm" len="sm"/>
            <a:tailEnd type="none" w="sm" len="sm"/>
          </a:ln>
        </p:spPr>
        <p:txBody>
          <a:bodyPr anchor="ctr"/>
          <a:lstStyle/>
          <a:p>
            <a:pPr algn="ctr">
              <a:spcBef>
                <a:spcPts val="0"/>
              </a:spcBef>
            </a:pPr>
            <a:r>
              <a:rPr lang="en-GB" altLang="ja-JP" sz="1200" dirty="0">
                <a:solidFill>
                  <a:schemeClr val="bg1"/>
                </a:solidFill>
                <a:ea typeface="ＭＳ Ｐゴシック" charset="-128"/>
              </a:rPr>
              <a:t>Strategic </a:t>
            </a:r>
            <a:r>
              <a:rPr lang="en-GB" altLang="ja-JP" sz="1200" dirty="0" smtClean="0">
                <a:solidFill>
                  <a:schemeClr val="bg1"/>
                </a:solidFill>
                <a:ea typeface="ＭＳ Ｐゴシック" charset="-128"/>
              </a:rPr>
              <a:t>options</a:t>
            </a:r>
            <a:endParaRPr lang="en-GB" altLang="ja-JP" sz="1200" dirty="0">
              <a:solidFill>
                <a:schemeClr val="bg1"/>
              </a:solidFill>
              <a:ea typeface="ＭＳ Ｐゴシック" charset="-128"/>
            </a:endParaRPr>
          </a:p>
        </p:txBody>
      </p:sp>
      <p:sp>
        <p:nvSpPr>
          <p:cNvPr id="778277" name="Rectangle 40"/>
          <p:cNvSpPr>
            <a:spLocks noChangeArrowheads="1"/>
          </p:cNvSpPr>
          <p:nvPr/>
        </p:nvSpPr>
        <p:spPr bwMode="auto">
          <a:xfrm>
            <a:off x="5379522" y="4202695"/>
            <a:ext cx="1209197" cy="619125"/>
          </a:xfrm>
          <a:prstGeom prst="rect">
            <a:avLst/>
          </a:prstGeom>
          <a:noFill/>
          <a:ln w="12700">
            <a:noFill/>
            <a:miter lim="800000"/>
            <a:headEnd type="none" w="sm" len="sm"/>
            <a:tailEnd type="none" w="sm" len="sm"/>
          </a:ln>
        </p:spPr>
        <p:txBody>
          <a:bodyPr anchor="ctr"/>
          <a:lstStyle/>
          <a:p>
            <a:pPr algn="ctr">
              <a:spcBef>
                <a:spcPts val="0"/>
              </a:spcBef>
            </a:pPr>
            <a:r>
              <a:rPr lang="en-GB" altLang="ja-JP" sz="1200" dirty="0">
                <a:solidFill>
                  <a:schemeClr val="bg1"/>
                </a:solidFill>
                <a:ea typeface="ＭＳ Ｐゴシック" charset="-128"/>
              </a:rPr>
              <a:t>Risk and </a:t>
            </a:r>
            <a:r>
              <a:rPr lang="en-GB" altLang="ja-JP" sz="1200" dirty="0" smtClean="0">
                <a:solidFill>
                  <a:schemeClr val="bg1"/>
                </a:solidFill>
                <a:ea typeface="ＭＳ Ｐゴシック" charset="-128"/>
              </a:rPr>
              <a:t>reward</a:t>
            </a:r>
            <a:endParaRPr lang="en-GB" altLang="ja-JP" sz="1200" dirty="0">
              <a:solidFill>
                <a:schemeClr val="bg1"/>
              </a:solidFill>
              <a:ea typeface="ＭＳ Ｐゴシック" charset="-128"/>
            </a:endParaRPr>
          </a:p>
        </p:txBody>
      </p:sp>
      <p:sp>
        <p:nvSpPr>
          <p:cNvPr id="778278" name="Oval 41"/>
          <p:cNvSpPr>
            <a:spLocks noChangeArrowheads="1"/>
          </p:cNvSpPr>
          <p:nvPr/>
        </p:nvSpPr>
        <p:spPr bwMode="auto">
          <a:xfrm>
            <a:off x="5431911" y="3362907"/>
            <a:ext cx="1116012" cy="503238"/>
          </a:xfrm>
          <a:prstGeom prst="ellipse">
            <a:avLst/>
          </a:prstGeom>
          <a:solidFill>
            <a:schemeClr val="bg1"/>
          </a:solidFill>
          <a:ln w="6350" algn="ctr">
            <a:noFill/>
            <a:round/>
            <a:headEnd type="none" w="sm" len="sm"/>
            <a:tailEnd type="none" w="sm" len="sm"/>
          </a:ln>
        </p:spPr>
        <p:txBody>
          <a:bodyPr tIns="91440" bIns="91440" anchor="ctr"/>
          <a:lstStyle/>
          <a:p>
            <a:pPr algn="ctr"/>
            <a:r>
              <a:rPr lang="en-GB" altLang="ja-JP" sz="1000" dirty="0">
                <a:solidFill>
                  <a:schemeClr val="tx2"/>
                </a:solidFill>
                <a:ea typeface="ＭＳ Ｐゴシック" charset="-128"/>
              </a:rPr>
              <a:t>Strategic </a:t>
            </a:r>
            <a:r>
              <a:rPr lang="en-GB" altLang="ja-JP" sz="1000" dirty="0" smtClean="0">
                <a:solidFill>
                  <a:schemeClr val="tx2"/>
                </a:solidFill>
                <a:ea typeface="ＭＳ Ｐゴシック" charset="-128"/>
              </a:rPr>
              <a:t>direction</a:t>
            </a:r>
            <a:endParaRPr lang="en-GB" altLang="ja-JP" sz="1000" dirty="0">
              <a:solidFill>
                <a:schemeClr val="tx2"/>
              </a:solidFill>
              <a:ea typeface="ＭＳ Ｐゴシック" charset="-128"/>
            </a:endParaRPr>
          </a:p>
        </p:txBody>
      </p:sp>
      <p:sp>
        <p:nvSpPr>
          <p:cNvPr id="46" name="AutoShape 42"/>
          <p:cNvSpPr>
            <a:spLocks noChangeArrowheads="1"/>
          </p:cNvSpPr>
          <p:nvPr/>
        </p:nvSpPr>
        <p:spPr bwMode="auto">
          <a:xfrm>
            <a:off x="2352662" y="5055677"/>
            <a:ext cx="1819275" cy="576263"/>
          </a:xfrm>
          <a:prstGeom prst="chevron">
            <a:avLst>
              <a:gd name="adj" fmla="val 27802"/>
            </a:avLst>
          </a:prstGeom>
          <a:solidFill>
            <a:schemeClr val="accent3"/>
          </a:solidFill>
          <a:ln w="6350" algn="ctr">
            <a:noFill/>
            <a:miter lim="800000"/>
            <a:headEnd type="none" w="sm" len="sm"/>
            <a:tailEnd type="none" w="sm" len="sm"/>
          </a:ln>
        </p:spPr>
        <p:txBody>
          <a:bodyPr tIns="91440" bIns="91440" anchor="ctr"/>
          <a:lstStyle/>
          <a:p>
            <a:pPr algn="ctr">
              <a:defRPr/>
            </a:pPr>
            <a:r>
              <a:rPr lang="en-GB" altLang="ja-JP" sz="1400" b="1" dirty="0">
                <a:solidFill>
                  <a:schemeClr val="bg1"/>
                </a:solidFill>
                <a:ea typeface="ＭＳ Ｐゴシック" pitchFamily="50" charset="-128"/>
              </a:rPr>
              <a:t>Desk </a:t>
            </a:r>
            <a:r>
              <a:rPr lang="en-GB" altLang="ja-JP" sz="1400" b="1" dirty="0" smtClean="0">
                <a:solidFill>
                  <a:schemeClr val="bg1"/>
                </a:solidFill>
                <a:ea typeface="ＭＳ Ｐゴシック" pitchFamily="50" charset="-128"/>
              </a:rPr>
              <a:t>research </a:t>
            </a:r>
            <a:r>
              <a:rPr lang="en-GB" altLang="ja-JP" sz="1400" b="1" dirty="0">
                <a:solidFill>
                  <a:schemeClr val="bg1"/>
                </a:solidFill>
                <a:ea typeface="ＭＳ Ｐゴシック" pitchFamily="50" charset="-128"/>
              </a:rPr>
              <a:t>and </a:t>
            </a:r>
            <a:r>
              <a:rPr lang="en-GB" altLang="ja-JP" sz="1400" b="1" dirty="0" smtClean="0">
                <a:solidFill>
                  <a:schemeClr val="bg1"/>
                </a:solidFill>
                <a:ea typeface="ＭＳ Ｐゴシック" pitchFamily="50" charset="-128"/>
              </a:rPr>
              <a:t>interviews</a:t>
            </a:r>
            <a:endParaRPr lang="en-GB" altLang="ja-JP" sz="1400" b="1" dirty="0">
              <a:solidFill>
                <a:schemeClr val="bg1"/>
              </a:solidFill>
              <a:ea typeface="ＭＳ Ｐゴシック" pitchFamily="50" charset="-128"/>
            </a:endParaRPr>
          </a:p>
        </p:txBody>
      </p:sp>
      <p:sp>
        <p:nvSpPr>
          <p:cNvPr id="47" name="AutoShape 43"/>
          <p:cNvSpPr>
            <a:spLocks noChangeArrowheads="1"/>
          </p:cNvSpPr>
          <p:nvPr/>
        </p:nvSpPr>
        <p:spPr bwMode="auto">
          <a:xfrm>
            <a:off x="934460" y="5046152"/>
            <a:ext cx="1541462" cy="576263"/>
          </a:xfrm>
          <a:prstGeom prst="homePlate">
            <a:avLst>
              <a:gd name="adj" fmla="val 28686"/>
            </a:avLst>
          </a:prstGeom>
          <a:solidFill>
            <a:schemeClr val="accent3"/>
          </a:solidFill>
          <a:ln w="6350" algn="ctr">
            <a:noFill/>
            <a:miter lim="800000"/>
            <a:headEnd type="none" w="sm" len="sm"/>
            <a:tailEnd type="none" w="sm" len="sm"/>
          </a:ln>
        </p:spPr>
        <p:txBody>
          <a:bodyPr tIns="91440" bIns="91440" anchor="ctr"/>
          <a:lstStyle/>
          <a:p>
            <a:pPr algn="ctr">
              <a:defRPr/>
            </a:pPr>
            <a:r>
              <a:rPr lang="en-GB" altLang="ja-JP" sz="1400" b="1" dirty="0">
                <a:solidFill>
                  <a:schemeClr val="bg1"/>
                </a:solidFill>
                <a:ea typeface="ＭＳ Ｐゴシック" pitchFamily="50" charset="-128"/>
              </a:rPr>
              <a:t>Interviews and </a:t>
            </a:r>
            <a:r>
              <a:rPr lang="en-GB" altLang="ja-JP" sz="1400" b="1" dirty="0" smtClean="0">
                <a:solidFill>
                  <a:schemeClr val="bg1"/>
                </a:solidFill>
                <a:ea typeface="ＭＳ Ｐゴシック" pitchFamily="50" charset="-128"/>
              </a:rPr>
              <a:t>workshops</a:t>
            </a:r>
            <a:endParaRPr lang="en-GB" altLang="ja-JP" sz="1400" b="1" dirty="0">
              <a:solidFill>
                <a:schemeClr val="bg1"/>
              </a:solidFill>
              <a:ea typeface="ＭＳ Ｐゴシック" pitchFamily="50" charset="-128"/>
            </a:endParaRPr>
          </a:p>
        </p:txBody>
      </p:sp>
      <p:sp>
        <p:nvSpPr>
          <p:cNvPr id="48" name="AutoShape 44"/>
          <p:cNvSpPr>
            <a:spLocks noChangeArrowheads="1"/>
          </p:cNvSpPr>
          <p:nvPr/>
        </p:nvSpPr>
        <p:spPr bwMode="auto">
          <a:xfrm>
            <a:off x="4052042" y="5046152"/>
            <a:ext cx="2457450" cy="576263"/>
          </a:xfrm>
          <a:prstGeom prst="chevron">
            <a:avLst>
              <a:gd name="adj" fmla="val 29754"/>
            </a:avLst>
          </a:prstGeom>
          <a:solidFill>
            <a:schemeClr val="accent3"/>
          </a:solidFill>
          <a:ln w="6350" algn="ctr">
            <a:noFill/>
            <a:miter lim="800000"/>
            <a:headEnd type="none" w="sm" len="sm"/>
            <a:tailEnd type="none" w="sm" len="sm"/>
          </a:ln>
        </p:spPr>
        <p:txBody>
          <a:bodyPr tIns="91440" bIns="91440" anchor="ctr"/>
          <a:lstStyle/>
          <a:p>
            <a:pPr algn="ctr">
              <a:defRPr/>
            </a:pPr>
            <a:r>
              <a:rPr lang="en-GB" altLang="ja-JP" sz="1400" b="1" dirty="0">
                <a:solidFill>
                  <a:schemeClr val="bg1"/>
                </a:solidFill>
                <a:ea typeface="ＭＳ Ｐゴシック" pitchFamily="50" charset="-128"/>
              </a:rPr>
              <a:t>Workshops </a:t>
            </a:r>
            <a:r>
              <a:rPr lang="en-GB" altLang="ja-JP" sz="1400" b="1" dirty="0" smtClean="0">
                <a:solidFill>
                  <a:schemeClr val="bg1"/>
                </a:solidFill>
                <a:ea typeface="ＭＳ Ｐゴシック" pitchFamily="50" charset="-128"/>
              </a:rPr>
              <a:t>and analyses</a:t>
            </a:r>
            <a:endParaRPr lang="en-GB" altLang="ja-JP" sz="1400" b="1" dirty="0">
              <a:solidFill>
                <a:schemeClr val="bg1"/>
              </a:solidFill>
              <a:ea typeface="ＭＳ Ｐゴシック" pitchFamily="50" charset="-128"/>
            </a:endParaRPr>
          </a:p>
        </p:txBody>
      </p:sp>
      <p:sp>
        <p:nvSpPr>
          <p:cNvPr id="49" name="AutoShape 45"/>
          <p:cNvSpPr>
            <a:spLocks noChangeArrowheads="1"/>
          </p:cNvSpPr>
          <p:nvPr/>
        </p:nvSpPr>
        <p:spPr bwMode="auto">
          <a:xfrm>
            <a:off x="6385667" y="5046152"/>
            <a:ext cx="1998663" cy="576263"/>
          </a:xfrm>
          <a:prstGeom prst="chevron">
            <a:avLst>
              <a:gd name="adj" fmla="val 30967"/>
            </a:avLst>
          </a:prstGeom>
          <a:solidFill>
            <a:schemeClr val="accent3"/>
          </a:solidFill>
          <a:ln w="6350" algn="ctr">
            <a:noFill/>
            <a:miter lim="800000"/>
            <a:headEnd type="none" w="sm" len="sm"/>
            <a:tailEnd type="none" w="sm" len="sm"/>
          </a:ln>
        </p:spPr>
        <p:txBody>
          <a:bodyPr tIns="91440" bIns="91440" anchor="ctr"/>
          <a:lstStyle/>
          <a:p>
            <a:pPr algn="ctr">
              <a:defRPr/>
            </a:pPr>
            <a:r>
              <a:rPr lang="en-GB" altLang="ja-JP" sz="1400" b="1" dirty="0">
                <a:solidFill>
                  <a:schemeClr val="bg1"/>
                </a:solidFill>
                <a:ea typeface="ＭＳ Ｐゴシック" pitchFamily="50" charset="-128"/>
              </a:rPr>
              <a:t>Business </a:t>
            </a:r>
            <a:r>
              <a:rPr lang="en-GB" altLang="ja-JP" sz="1400" b="1" dirty="0" smtClean="0">
                <a:solidFill>
                  <a:schemeClr val="bg1"/>
                </a:solidFill>
                <a:ea typeface="ＭＳ Ｐゴシック" pitchFamily="50" charset="-128"/>
              </a:rPr>
              <a:t>plan writing</a:t>
            </a:r>
            <a:endParaRPr lang="en-GB" altLang="ja-JP" sz="1400" b="1" dirty="0">
              <a:solidFill>
                <a:schemeClr val="bg1"/>
              </a:solidFill>
              <a:ea typeface="ＭＳ Ｐゴシック" pitchFamily="50" charset="-128"/>
            </a:endParaRPr>
          </a:p>
        </p:txBody>
      </p:sp>
      <p:sp>
        <p:nvSpPr>
          <p:cNvPr id="54" name="AutoShape 9"/>
          <p:cNvSpPr>
            <a:spLocks noChangeArrowheads="1"/>
          </p:cNvSpPr>
          <p:nvPr/>
        </p:nvSpPr>
        <p:spPr bwMode="auto">
          <a:xfrm>
            <a:off x="3854349" y="3459355"/>
            <a:ext cx="284672" cy="341313"/>
          </a:xfrm>
          <a:prstGeom prst="rightArrow">
            <a:avLst>
              <a:gd name="adj1" fmla="val 50000"/>
              <a:gd name="adj2" fmla="val 49002"/>
            </a:avLst>
          </a:prstGeom>
          <a:solidFill>
            <a:schemeClr val="accent1"/>
          </a:solidFill>
          <a:ln w="6350" algn="ctr">
            <a:noFill/>
            <a:miter lim="800000"/>
            <a:headEnd type="none" w="sm" len="sm"/>
            <a:tailEnd type="none" w="sm" len="sm"/>
          </a:ln>
        </p:spPr>
        <p:txBody>
          <a:bodyPr tIns="91440" bIns="91440" anchor="ctr"/>
          <a:lstStyle/>
          <a:p>
            <a:pPr algn="ctr"/>
            <a:endParaRPr lang="en-GB" sz="1200"/>
          </a:p>
        </p:txBody>
      </p:sp>
      <p:sp>
        <p:nvSpPr>
          <p:cNvPr id="55" name="AutoShape 9"/>
          <p:cNvSpPr>
            <a:spLocks noChangeArrowheads="1"/>
          </p:cNvSpPr>
          <p:nvPr/>
        </p:nvSpPr>
        <p:spPr bwMode="auto">
          <a:xfrm>
            <a:off x="5041918" y="3456480"/>
            <a:ext cx="284672" cy="341313"/>
          </a:xfrm>
          <a:prstGeom prst="rightArrow">
            <a:avLst>
              <a:gd name="adj1" fmla="val 50000"/>
              <a:gd name="adj2" fmla="val 49002"/>
            </a:avLst>
          </a:prstGeom>
          <a:solidFill>
            <a:schemeClr val="accent1"/>
          </a:solidFill>
          <a:ln w="6350" algn="ctr">
            <a:noFill/>
            <a:miter lim="800000"/>
            <a:headEnd type="none" w="sm" len="sm"/>
            <a:tailEnd type="none" w="sm" len="sm"/>
          </a:ln>
        </p:spPr>
        <p:txBody>
          <a:bodyPr tIns="91440" bIns="91440" anchor="ctr"/>
          <a:lstStyle/>
          <a:p>
            <a:pPr algn="ctr"/>
            <a:endParaRPr lang="en-GB" sz="1200"/>
          </a:p>
        </p:txBody>
      </p:sp>
      <p:sp>
        <p:nvSpPr>
          <p:cNvPr id="56" name="AutoShape 9"/>
          <p:cNvSpPr>
            <a:spLocks noChangeArrowheads="1"/>
          </p:cNvSpPr>
          <p:nvPr/>
        </p:nvSpPr>
        <p:spPr bwMode="auto">
          <a:xfrm>
            <a:off x="2228152" y="3456479"/>
            <a:ext cx="284672" cy="341313"/>
          </a:xfrm>
          <a:prstGeom prst="rightArrow">
            <a:avLst>
              <a:gd name="adj1" fmla="val 50000"/>
              <a:gd name="adj2" fmla="val 49002"/>
            </a:avLst>
          </a:prstGeom>
          <a:solidFill>
            <a:schemeClr val="accent1"/>
          </a:solidFill>
          <a:ln w="6350" algn="ctr">
            <a:noFill/>
            <a:miter lim="800000"/>
            <a:headEnd type="none" w="sm" len="sm"/>
            <a:tailEnd type="none" w="sm" len="sm"/>
          </a:ln>
        </p:spPr>
        <p:txBody>
          <a:bodyPr tIns="91440" bIns="91440" anchor="ctr"/>
          <a:lstStyle/>
          <a:p>
            <a:pPr algn="ctr"/>
            <a:endParaRPr lang="en-GB" sz="1200"/>
          </a:p>
        </p:txBody>
      </p:sp>
      <p:sp>
        <p:nvSpPr>
          <p:cNvPr id="50"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5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2337" name="Title 1"/>
          <p:cNvSpPr>
            <a:spLocks noGrp="1"/>
          </p:cNvSpPr>
          <p:nvPr>
            <p:ph type="title"/>
          </p:nvPr>
        </p:nvSpPr>
        <p:spPr/>
        <p:txBody>
          <a:bodyPr/>
          <a:lstStyle/>
          <a:p>
            <a:r>
              <a:rPr lang="en-GB"/>
              <a:t>Restructuring framework</a:t>
            </a:r>
            <a:endParaRPr lang="nl-NL"/>
          </a:p>
        </p:txBody>
      </p:sp>
      <p:sp>
        <p:nvSpPr>
          <p:cNvPr id="782343" name="Rectangle 7"/>
          <p:cNvSpPr>
            <a:spLocks noChangeArrowheads="1"/>
          </p:cNvSpPr>
          <p:nvPr/>
        </p:nvSpPr>
        <p:spPr bwMode="auto">
          <a:xfrm>
            <a:off x="4162425" y="2544193"/>
            <a:ext cx="1130300" cy="2481262"/>
          </a:xfrm>
          <a:prstGeom prst="rect">
            <a:avLst/>
          </a:prstGeom>
          <a:solidFill>
            <a:schemeClr val="accent3"/>
          </a:solidFill>
          <a:ln w="6350" algn="ctr">
            <a:noFill/>
            <a:miter lim="800000"/>
            <a:headEnd type="none" w="sm" len="sm"/>
            <a:tailEnd type="none" w="sm" len="sm"/>
          </a:ln>
        </p:spPr>
        <p:txBody>
          <a:bodyPr wrap="none" tIns="91440" bIns="91440" anchor="ctr"/>
          <a:lstStyle/>
          <a:p>
            <a:pPr algn="ctr"/>
            <a:endParaRPr lang="en-GB" sz="1200">
              <a:ea typeface="ＭＳ Ｐゴシック" charset="-128"/>
            </a:endParaRPr>
          </a:p>
        </p:txBody>
      </p:sp>
      <p:sp>
        <p:nvSpPr>
          <p:cNvPr id="782345" name="AutoShape 9"/>
          <p:cNvSpPr>
            <a:spLocks noChangeArrowheads="1"/>
          </p:cNvSpPr>
          <p:nvPr/>
        </p:nvSpPr>
        <p:spPr bwMode="auto">
          <a:xfrm flipV="1">
            <a:off x="4514850" y="3358580"/>
            <a:ext cx="425450" cy="123825"/>
          </a:xfrm>
          <a:prstGeom prst="triangle">
            <a:avLst>
              <a:gd name="adj" fmla="val 50000"/>
            </a:avLst>
          </a:prstGeom>
          <a:solidFill>
            <a:schemeClr val="bg1"/>
          </a:solidFill>
          <a:ln w="6350" algn="ctr">
            <a:noFill/>
            <a:miter lim="800000"/>
            <a:headEnd type="none" w="sm" len="sm"/>
            <a:tailEnd type="none" w="sm" len="sm"/>
          </a:ln>
        </p:spPr>
        <p:txBody>
          <a:bodyPr rot="10800000" tIns="91440" bIns="91440" anchor="ctr"/>
          <a:lstStyle/>
          <a:p>
            <a:pPr algn="ctr"/>
            <a:endParaRPr lang="en-GB" sz="1200"/>
          </a:p>
        </p:txBody>
      </p:sp>
      <p:sp>
        <p:nvSpPr>
          <p:cNvPr id="782346" name="AutoShape 10"/>
          <p:cNvSpPr>
            <a:spLocks noChangeArrowheads="1"/>
          </p:cNvSpPr>
          <p:nvPr/>
        </p:nvSpPr>
        <p:spPr bwMode="auto">
          <a:xfrm>
            <a:off x="4514850" y="4133280"/>
            <a:ext cx="425450" cy="125413"/>
          </a:xfrm>
          <a:prstGeom prst="triangle">
            <a:avLst>
              <a:gd name="adj" fmla="val 50000"/>
            </a:avLst>
          </a:prstGeom>
          <a:solidFill>
            <a:schemeClr val="bg1"/>
          </a:solidFill>
          <a:ln w="6350" algn="ctr">
            <a:noFill/>
            <a:miter lim="800000"/>
            <a:headEnd type="none" w="sm" len="sm"/>
            <a:tailEnd type="none" w="sm" len="sm"/>
          </a:ln>
        </p:spPr>
        <p:txBody>
          <a:bodyPr tIns="91440" bIns="91440" anchor="ctr"/>
          <a:lstStyle/>
          <a:p>
            <a:pPr algn="ctr"/>
            <a:endParaRPr lang="en-GB" sz="1200"/>
          </a:p>
        </p:txBody>
      </p:sp>
      <p:sp>
        <p:nvSpPr>
          <p:cNvPr id="782347" name="Rectangle 11"/>
          <p:cNvSpPr>
            <a:spLocks noChangeArrowheads="1"/>
          </p:cNvSpPr>
          <p:nvPr/>
        </p:nvSpPr>
        <p:spPr bwMode="auto">
          <a:xfrm>
            <a:off x="4276725" y="2675955"/>
            <a:ext cx="915988" cy="585788"/>
          </a:xfrm>
          <a:prstGeom prst="rect">
            <a:avLst/>
          </a:prstGeom>
          <a:noFill/>
          <a:ln w="12700">
            <a:noFill/>
            <a:miter lim="800000"/>
            <a:headEnd type="none" w="sm" len="sm"/>
            <a:tailEnd type="none" w="sm" len="sm"/>
          </a:ln>
        </p:spPr>
        <p:txBody>
          <a:bodyPr anchor="ctr"/>
          <a:lstStyle/>
          <a:p>
            <a:pPr algn="ctr">
              <a:spcBef>
                <a:spcPts val="0"/>
              </a:spcBef>
            </a:pPr>
            <a:r>
              <a:rPr lang="en-GB" altLang="ja-JP" sz="1100" b="1" dirty="0">
                <a:solidFill>
                  <a:schemeClr val="bg1"/>
                </a:solidFill>
                <a:ea typeface="ＭＳ Ｐゴシック" charset="-128"/>
              </a:rPr>
              <a:t>Cost and </a:t>
            </a:r>
            <a:r>
              <a:rPr lang="en-GB" altLang="ja-JP" sz="1100" b="1" dirty="0" smtClean="0">
                <a:solidFill>
                  <a:schemeClr val="bg1"/>
                </a:solidFill>
                <a:ea typeface="ＭＳ Ｐゴシック" charset="-128"/>
              </a:rPr>
              <a:t>asset reduction</a:t>
            </a:r>
            <a:endParaRPr lang="ja-JP" altLang="en-GB" sz="1100" b="1">
              <a:solidFill>
                <a:schemeClr val="bg1"/>
              </a:solidFill>
              <a:ea typeface="ＭＳ Ｐゴシック" charset="-128"/>
            </a:endParaRPr>
          </a:p>
        </p:txBody>
      </p:sp>
      <p:sp>
        <p:nvSpPr>
          <p:cNvPr id="782348" name="Rectangle 12"/>
          <p:cNvSpPr>
            <a:spLocks noChangeArrowheads="1"/>
          </p:cNvSpPr>
          <p:nvPr/>
        </p:nvSpPr>
        <p:spPr bwMode="auto">
          <a:xfrm>
            <a:off x="4201064" y="4349180"/>
            <a:ext cx="1026544" cy="585788"/>
          </a:xfrm>
          <a:prstGeom prst="rect">
            <a:avLst/>
          </a:prstGeom>
          <a:noFill/>
          <a:ln w="12700">
            <a:noFill/>
            <a:miter lim="800000"/>
            <a:headEnd type="none" w="sm" len="sm"/>
            <a:tailEnd type="none" w="sm" len="sm"/>
          </a:ln>
        </p:spPr>
        <p:txBody>
          <a:bodyPr anchor="ctr"/>
          <a:lstStyle/>
          <a:p>
            <a:pPr algn="ctr">
              <a:spcBef>
                <a:spcPts val="0"/>
              </a:spcBef>
            </a:pPr>
            <a:r>
              <a:rPr lang="en-GB" altLang="ja-JP" sz="1100" b="1" dirty="0">
                <a:solidFill>
                  <a:schemeClr val="bg1"/>
                </a:solidFill>
                <a:ea typeface="ＭＳ Ｐゴシック" charset="-128"/>
              </a:rPr>
              <a:t>Portfolio </a:t>
            </a:r>
            <a:r>
              <a:rPr lang="en-GB" altLang="ja-JP" sz="1100" b="1" dirty="0" smtClean="0">
                <a:solidFill>
                  <a:schemeClr val="bg1"/>
                </a:solidFill>
                <a:ea typeface="ＭＳ Ｐゴシック" charset="-128"/>
              </a:rPr>
              <a:t>adjustment</a:t>
            </a:r>
            <a:endParaRPr lang="en-GB" altLang="ja-JP" sz="1100" b="1" dirty="0">
              <a:solidFill>
                <a:schemeClr val="bg1"/>
              </a:solidFill>
              <a:ea typeface="ＭＳ Ｐゴシック" charset="-128"/>
            </a:endParaRPr>
          </a:p>
        </p:txBody>
      </p:sp>
      <p:sp>
        <p:nvSpPr>
          <p:cNvPr id="782349" name="Oval 13"/>
          <p:cNvSpPr>
            <a:spLocks noChangeArrowheads="1"/>
          </p:cNvSpPr>
          <p:nvPr/>
        </p:nvSpPr>
        <p:spPr bwMode="auto">
          <a:xfrm>
            <a:off x="4201064" y="3545905"/>
            <a:ext cx="1042449" cy="476250"/>
          </a:xfrm>
          <a:prstGeom prst="ellipse">
            <a:avLst/>
          </a:prstGeom>
          <a:solidFill>
            <a:schemeClr val="bg1"/>
          </a:solidFill>
          <a:ln w="6350" algn="ctr">
            <a:noFill/>
            <a:round/>
            <a:headEnd type="none" w="sm" len="sm"/>
            <a:tailEnd type="none" w="sm" len="sm"/>
          </a:ln>
        </p:spPr>
        <p:txBody>
          <a:bodyPr tIns="91440" bIns="91440" anchor="ctr"/>
          <a:lstStyle/>
          <a:p>
            <a:pPr algn="ctr"/>
            <a:endParaRPr lang="en-GB" altLang="ja-JP" sz="900" dirty="0">
              <a:solidFill>
                <a:schemeClr val="bg1"/>
              </a:solidFill>
              <a:ea typeface="ＭＳ Ｐゴシック" charset="-128"/>
            </a:endParaRPr>
          </a:p>
        </p:txBody>
      </p:sp>
      <p:sp>
        <p:nvSpPr>
          <p:cNvPr id="21" name="Rectangle 14"/>
          <p:cNvSpPr>
            <a:spLocks noChangeArrowheads="1"/>
          </p:cNvSpPr>
          <p:nvPr/>
        </p:nvSpPr>
        <p:spPr bwMode="auto">
          <a:xfrm>
            <a:off x="5681663" y="3534793"/>
            <a:ext cx="989012" cy="509587"/>
          </a:xfrm>
          <a:prstGeom prst="rect">
            <a:avLst/>
          </a:prstGeom>
          <a:noFill/>
          <a:ln w="6350" algn="ctr">
            <a:noFill/>
            <a:miter lim="800000"/>
            <a:headEnd type="none" w="sm" len="sm"/>
            <a:tailEnd type="none" w="sm" len="sm"/>
          </a:ln>
        </p:spPr>
        <p:txBody>
          <a:bodyPr lIns="36000" tIns="91440" rIns="36000" bIns="91440" anchor="ctr"/>
          <a:lstStyle/>
          <a:p>
            <a:pPr algn="ctr">
              <a:defRPr/>
            </a:pPr>
            <a:r>
              <a:rPr lang="en-GB" altLang="ja-JP" dirty="0">
                <a:solidFill>
                  <a:schemeClr val="tx2"/>
                </a:solidFill>
                <a:ea typeface="ＭＳ Ｐゴシック" pitchFamily="50" charset="-128"/>
              </a:rPr>
              <a:t>Restructuring </a:t>
            </a:r>
            <a:r>
              <a:rPr lang="en-GB" altLang="ja-JP" dirty="0" smtClean="0">
                <a:solidFill>
                  <a:schemeClr val="tx2"/>
                </a:solidFill>
                <a:ea typeface="ＭＳ Ｐゴシック" pitchFamily="50" charset="-128"/>
              </a:rPr>
              <a:t>plan</a:t>
            </a:r>
            <a:endParaRPr lang="en-GB" altLang="ja-JP" dirty="0">
              <a:solidFill>
                <a:schemeClr val="tx2"/>
              </a:solidFill>
              <a:ea typeface="ＭＳ Ｐゴシック" pitchFamily="50" charset="-128"/>
            </a:endParaRPr>
          </a:p>
        </p:txBody>
      </p:sp>
      <p:sp>
        <p:nvSpPr>
          <p:cNvPr id="22" name="AutoShape 15"/>
          <p:cNvSpPr>
            <a:spLocks noChangeArrowheads="1"/>
          </p:cNvSpPr>
          <p:nvPr/>
        </p:nvSpPr>
        <p:spPr bwMode="auto">
          <a:xfrm>
            <a:off x="993775" y="5135510"/>
            <a:ext cx="7339013" cy="546100"/>
          </a:xfrm>
          <a:prstGeom prst="homePlate">
            <a:avLst>
              <a:gd name="adj" fmla="val 50010"/>
            </a:avLst>
          </a:prstGeom>
          <a:solidFill>
            <a:schemeClr val="accent3"/>
          </a:solidFill>
          <a:ln w="6350" algn="ctr">
            <a:noFill/>
            <a:miter lim="800000"/>
            <a:headEnd type="none" w="sm" len="sm"/>
            <a:tailEnd type="none" w="sm" len="sm"/>
          </a:ln>
        </p:spPr>
        <p:txBody>
          <a:bodyPr tIns="91440" bIns="91440" anchor="ctr"/>
          <a:lstStyle/>
          <a:p>
            <a:pPr algn="ctr">
              <a:spcBef>
                <a:spcPts val="0"/>
              </a:spcBef>
              <a:defRPr/>
            </a:pPr>
            <a:r>
              <a:rPr lang="en-GB" altLang="ja-JP" sz="1400" b="1" dirty="0">
                <a:solidFill>
                  <a:schemeClr val="bg1"/>
                </a:solidFill>
                <a:ea typeface="ＭＳ Ｐゴシック" pitchFamily="50" charset="-128"/>
              </a:rPr>
              <a:t>Project </a:t>
            </a:r>
            <a:r>
              <a:rPr lang="en-GB" altLang="ja-JP" sz="1400" b="1" dirty="0" smtClean="0">
                <a:solidFill>
                  <a:schemeClr val="bg1"/>
                </a:solidFill>
                <a:ea typeface="ＭＳ Ｐゴシック" pitchFamily="50" charset="-128"/>
              </a:rPr>
              <a:t>management</a:t>
            </a:r>
            <a:endParaRPr lang="en-GB" altLang="ja-JP" sz="1400" b="1" dirty="0">
              <a:solidFill>
                <a:schemeClr val="bg1"/>
              </a:solidFill>
              <a:ea typeface="ＭＳ Ｐゴシック" pitchFamily="50" charset="-128"/>
            </a:endParaRPr>
          </a:p>
          <a:p>
            <a:pPr algn="ctr">
              <a:spcBef>
                <a:spcPts val="0"/>
              </a:spcBef>
              <a:defRPr/>
            </a:pPr>
            <a:r>
              <a:rPr lang="en-GB" altLang="ja-JP" sz="1400" b="1" dirty="0" smtClean="0">
                <a:solidFill>
                  <a:schemeClr val="bg1"/>
                </a:solidFill>
                <a:ea typeface="ＭＳ Ｐゴシック" pitchFamily="50" charset="-128"/>
              </a:rPr>
              <a:t>stakeholder communication</a:t>
            </a:r>
            <a:endParaRPr lang="en-GB" altLang="ja-JP" sz="1400" b="1" dirty="0">
              <a:solidFill>
                <a:schemeClr val="bg1"/>
              </a:solidFill>
              <a:ea typeface="ＭＳ Ｐゴシック" pitchFamily="50" charset="-128"/>
            </a:endParaRPr>
          </a:p>
        </p:txBody>
      </p:sp>
      <p:sp>
        <p:nvSpPr>
          <p:cNvPr id="782352" name="Rectangle 16"/>
          <p:cNvSpPr>
            <a:spLocks noChangeArrowheads="1"/>
          </p:cNvSpPr>
          <p:nvPr/>
        </p:nvSpPr>
        <p:spPr bwMode="auto">
          <a:xfrm>
            <a:off x="993775" y="2544193"/>
            <a:ext cx="1130300" cy="2481262"/>
          </a:xfrm>
          <a:prstGeom prst="rect">
            <a:avLst/>
          </a:prstGeom>
          <a:solidFill>
            <a:schemeClr val="accent3"/>
          </a:solidFill>
          <a:ln w="6350" algn="ctr">
            <a:noFill/>
            <a:miter lim="800000"/>
            <a:headEnd type="none" w="sm" len="sm"/>
            <a:tailEnd type="none" w="sm" len="sm"/>
          </a:ln>
        </p:spPr>
        <p:txBody>
          <a:bodyPr wrap="none" tIns="91440" bIns="91440" anchor="ctr"/>
          <a:lstStyle/>
          <a:p>
            <a:pPr algn="ctr"/>
            <a:endParaRPr lang="en-GB" sz="1200">
              <a:ea typeface="ＭＳ Ｐゴシック" charset="-128"/>
            </a:endParaRPr>
          </a:p>
        </p:txBody>
      </p:sp>
      <p:sp>
        <p:nvSpPr>
          <p:cNvPr id="782353" name="AutoShape 17"/>
          <p:cNvSpPr>
            <a:spLocks noChangeArrowheads="1"/>
          </p:cNvSpPr>
          <p:nvPr/>
        </p:nvSpPr>
        <p:spPr bwMode="auto">
          <a:xfrm flipV="1">
            <a:off x="1346200" y="3366969"/>
            <a:ext cx="425450" cy="123825"/>
          </a:xfrm>
          <a:prstGeom prst="triangle">
            <a:avLst>
              <a:gd name="adj" fmla="val 50000"/>
            </a:avLst>
          </a:prstGeom>
          <a:solidFill>
            <a:schemeClr val="bg1"/>
          </a:solidFill>
          <a:ln w="6350" algn="ctr">
            <a:noFill/>
            <a:miter lim="800000"/>
            <a:headEnd type="none" w="sm" len="sm"/>
            <a:tailEnd type="none" w="sm" len="sm"/>
          </a:ln>
        </p:spPr>
        <p:txBody>
          <a:bodyPr rot="10800000" tIns="91440" bIns="91440" anchor="ctr"/>
          <a:lstStyle/>
          <a:p>
            <a:pPr algn="ctr"/>
            <a:endParaRPr lang="en-GB" sz="1200"/>
          </a:p>
        </p:txBody>
      </p:sp>
      <p:sp>
        <p:nvSpPr>
          <p:cNvPr id="782354" name="AutoShape 18"/>
          <p:cNvSpPr>
            <a:spLocks noChangeArrowheads="1"/>
          </p:cNvSpPr>
          <p:nvPr/>
        </p:nvSpPr>
        <p:spPr bwMode="auto">
          <a:xfrm>
            <a:off x="1346200" y="4093593"/>
            <a:ext cx="425450" cy="123825"/>
          </a:xfrm>
          <a:prstGeom prst="triangle">
            <a:avLst>
              <a:gd name="adj" fmla="val 50000"/>
            </a:avLst>
          </a:prstGeom>
          <a:solidFill>
            <a:schemeClr val="bg1"/>
          </a:solidFill>
          <a:ln w="6350" algn="ctr">
            <a:noFill/>
            <a:miter lim="800000"/>
            <a:headEnd type="none" w="sm" len="sm"/>
            <a:tailEnd type="none" w="sm" len="sm"/>
          </a:ln>
        </p:spPr>
        <p:txBody>
          <a:bodyPr tIns="91440" bIns="91440" anchor="ctr"/>
          <a:lstStyle/>
          <a:p>
            <a:pPr algn="ctr"/>
            <a:endParaRPr lang="en-GB" sz="1200"/>
          </a:p>
        </p:txBody>
      </p:sp>
      <p:sp>
        <p:nvSpPr>
          <p:cNvPr id="782355" name="Rectangle 19"/>
          <p:cNvSpPr>
            <a:spLocks noChangeArrowheads="1"/>
          </p:cNvSpPr>
          <p:nvPr/>
        </p:nvSpPr>
        <p:spPr bwMode="auto">
          <a:xfrm>
            <a:off x="1149350" y="2688655"/>
            <a:ext cx="819150" cy="585788"/>
          </a:xfrm>
          <a:prstGeom prst="rect">
            <a:avLst/>
          </a:prstGeom>
          <a:noFill/>
          <a:ln w="12700">
            <a:noFill/>
            <a:miter lim="800000"/>
            <a:headEnd type="none" w="sm" len="sm"/>
            <a:tailEnd type="none" w="sm" len="sm"/>
          </a:ln>
        </p:spPr>
        <p:txBody>
          <a:bodyPr anchor="ctr"/>
          <a:lstStyle/>
          <a:p>
            <a:pPr algn="ctr">
              <a:spcBef>
                <a:spcPts val="0"/>
              </a:spcBef>
            </a:pPr>
            <a:r>
              <a:rPr lang="en-GB" altLang="ja-JP" sz="1100" b="1" dirty="0">
                <a:solidFill>
                  <a:schemeClr val="bg1"/>
                </a:solidFill>
                <a:ea typeface="ＭＳ Ｐゴシック" charset="-128"/>
              </a:rPr>
              <a:t>Financial</a:t>
            </a:r>
          </a:p>
          <a:p>
            <a:pPr algn="ctr">
              <a:spcBef>
                <a:spcPts val="0"/>
              </a:spcBef>
            </a:pPr>
            <a:r>
              <a:rPr lang="en-GB" altLang="ja-JP" sz="1100" b="1" dirty="0" smtClean="0">
                <a:solidFill>
                  <a:schemeClr val="bg1"/>
                </a:solidFill>
                <a:ea typeface="ＭＳ Ｐゴシック" charset="-128"/>
              </a:rPr>
              <a:t>review</a:t>
            </a:r>
            <a:endParaRPr lang="en-GB" altLang="ja-JP" sz="1100" b="1" dirty="0">
              <a:solidFill>
                <a:schemeClr val="bg1"/>
              </a:solidFill>
              <a:ea typeface="ＭＳ Ｐゴシック" charset="-128"/>
            </a:endParaRPr>
          </a:p>
        </p:txBody>
      </p:sp>
      <p:sp>
        <p:nvSpPr>
          <p:cNvPr id="782356" name="Rectangle 20"/>
          <p:cNvSpPr>
            <a:spLocks noChangeArrowheads="1"/>
          </p:cNvSpPr>
          <p:nvPr/>
        </p:nvSpPr>
        <p:spPr bwMode="auto">
          <a:xfrm>
            <a:off x="1149350" y="4349180"/>
            <a:ext cx="819150" cy="585788"/>
          </a:xfrm>
          <a:prstGeom prst="rect">
            <a:avLst/>
          </a:prstGeom>
          <a:noFill/>
          <a:ln w="12700">
            <a:noFill/>
            <a:miter lim="800000"/>
            <a:headEnd type="none" w="sm" len="sm"/>
            <a:tailEnd type="none" w="sm" len="sm"/>
          </a:ln>
        </p:spPr>
        <p:txBody>
          <a:bodyPr anchor="ctr"/>
          <a:lstStyle/>
          <a:p>
            <a:pPr algn="ctr">
              <a:spcBef>
                <a:spcPts val="0"/>
              </a:spcBef>
            </a:pPr>
            <a:r>
              <a:rPr lang="en-GB" altLang="ja-JP" sz="1100" b="1" dirty="0">
                <a:solidFill>
                  <a:schemeClr val="bg1"/>
                </a:solidFill>
                <a:ea typeface="ＭＳ Ｐゴシック" charset="-128"/>
              </a:rPr>
              <a:t>Strategic</a:t>
            </a:r>
          </a:p>
          <a:p>
            <a:pPr algn="ctr">
              <a:spcBef>
                <a:spcPts val="0"/>
              </a:spcBef>
            </a:pPr>
            <a:r>
              <a:rPr lang="en-GB" altLang="ja-JP" sz="1100" b="1" dirty="0" smtClean="0">
                <a:solidFill>
                  <a:schemeClr val="bg1"/>
                </a:solidFill>
                <a:ea typeface="ＭＳ Ｐゴシック" charset="-128"/>
              </a:rPr>
              <a:t>review</a:t>
            </a:r>
            <a:endParaRPr lang="en-GB" altLang="ja-JP" sz="1100" b="1" dirty="0">
              <a:solidFill>
                <a:schemeClr val="bg1"/>
              </a:solidFill>
              <a:ea typeface="ＭＳ Ｐゴシック" charset="-128"/>
            </a:endParaRPr>
          </a:p>
        </p:txBody>
      </p:sp>
      <p:sp>
        <p:nvSpPr>
          <p:cNvPr id="782357" name="Oval 21"/>
          <p:cNvSpPr>
            <a:spLocks noChangeArrowheads="1"/>
          </p:cNvSpPr>
          <p:nvPr/>
        </p:nvSpPr>
        <p:spPr bwMode="auto">
          <a:xfrm>
            <a:off x="1042988" y="3545905"/>
            <a:ext cx="1031875" cy="476250"/>
          </a:xfrm>
          <a:prstGeom prst="ellipse">
            <a:avLst/>
          </a:prstGeom>
          <a:solidFill>
            <a:schemeClr val="bg1"/>
          </a:solidFill>
          <a:ln w="6350" algn="ctr">
            <a:noFill/>
            <a:round/>
            <a:headEnd type="none" w="sm" len="sm"/>
            <a:tailEnd type="none" w="sm" len="sm"/>
          </a:ln>
        </p:spPr>
        <p:txBody>
          <a:bodyPr lIns="0" tIns="91440" rIns="0" bIns="91440" anchor="ctr"/>
          <a:lstStyle/>
          <a:p>
            <a:pPr algn="ctr"/>
            <a:r>
              <a:rPr lang="en-GB" altLang="ja-JP" sz="1000" dirty="0">
                <a:solidFill>
                  <a:schemeClr val="tx2"/>
                </a:solidFill>
                <a:ea typeface="ＭＳ Ｐゴシック" charset="-128"/>
              </a:rPr>
              <a:t>Change </a:t>
            </a:r>
            <a:r>
              <a:rPr lang="en-GB" altLang="ja-JP" sz="1000" dirty="0" smtClean="0">
                <a:solidFill>
                  <a:schemeClr val="tx2"/>
                </a:solidFill>
                <a:ea typeface="ＭＳ Ｐゴシック" charset="-128"/>
              </a:rPr>
              <a:t>imperative</a:t>
            </a:r>
            <a:endParaRPr lang="en-GB" altLang="ja-JP" sz="1000" dirty="0">
              <a:solidFill>
                <a:schemeClr val="tx2"/>
              </a:solidFill>
              <a:ea typeface="ＭＳ Ｐゴシック" charset="-128"/>
            </a:endParaRPr>
          </a:p>
        </p:txBody>
      </p:sp>
      <p:sp>
        <p:nvSpPr>
          <p:cNvPr id="782359" name="Rectangle 23"/>
          <p:cNvSpPr>
            <a:spLocks noChangeArrowheads="1"/>
          </p:cNvSpPr>
          <p:nvPr/>
        </p:nvSpPr>
        <p:spPr bwMode="auto">
          <a:xfrm>
            <a:off x="2549525" y="2544193"/>
            <a:ext cx="1131888" cy="2481262"/>
          </a:xfrm>
          <a:prstGeom prst="rect">
            <a:avLst/>
          </a:prstGeom>
          <a:solidFill>
            <a:schemeClr val="accent3"/>
          </a:solidFill>
          <a:ln w="6350" algn="ctr">
            <a:noFill/>
            <a:miter lim="800000"/>
            <a:headEnd type="none" w="sm" len="sm"/>
            <a:tailEnd type="none" w="sm" len="sm"/>
          </a:ln>
        </p:spPr>
        <p:txBody>
          <a:bodyPr wrap="none" tIns="91440" bIns="91440" anchor="ctr"/>
          <a:lstStyle/>
          <a:p>
            <a:pPr algn="ctr"/>
            <a:endParaRPr lang="en-GB" sz="1200">
              <a:ea typeface="ＭＳ Ｐゴシック" charset="-128"/>
            </a:endParaRPr>
          </a:p>
        </p:txBody>
      </p:sp>
      <p:sp>
        <p:nvSpPr>
          <p:cNvPr id="782360" name="AutoShape 24"/>
          <p:cNvSpPr>
            <a:spLocks noChangeArrowheads="1"/>
          </p:cNvSpPr>
          <p:nvPr/>
        </p:nvSpPr>
        <p:spPr bwMode="auto">
          <a:xfrm flipV="1">
            <a:off x="2901950" y="3358580"/>
            <a:ext cx="427038" cy="123825"/>
          </a:xfrm>
          <a:prstGeom prst="triangle">
            <a:avLst>
              <a:gd name="adj" fmla="val 50000"/>
            </a:avLst>
          </a:prstGeom>
          <a:solidFill>
            <a:schemeClr val="bg1"/>
          </a:solidFill>
          <a:ln w="6350" algn="ctr">
            <a:noFill/>
            <a:miter lim="800000"/>
            <a:headEnd type="none" w="sm" len="sm"/>
            <a:tailEnd type="none" w="sm" len="sm"/>
          </a:ln>
        </p:spPr>
        <p:txBody>
          <a:bodyPr rot="10800000" tIns="91440" bIns="91440" anchor="ctr"/>
          <a:lstStyle/>
          <a:p>
            <a:pPr algn="ctr"/>
            <a:endParaRPr lang="en-GB" sz="1200"/>
          </a:p>
        </p:txBody>
      </p:sp>
      <p:sp>
        <p:nvSpPr>
          <p:cNvPr id="782361" name="AutoShape 25"/>
          <p:cNvSpPr>
            <a:spLocks noChangeArrowheads="1"/>
          </p:cNvSpPr>
          <p:nvPr/>
        </p:nvSpPr>
        <p:spPr bwMode="auto">
          <a:xfrm>
            <a:off x="2901950" y="4093593"/>
            <a:ext cx="427038" cy="123825"/>
          </a:xfrm>
          <a:prstGeom prst="triangle">
            <a:avLst>
              <a:gd name="adj" fmla="val 50000"/>
            </a:avLst>
          </a:prstGeom>
          <a:solidFill>
            <a:schemeClr val="bg1"/>
          </a:solidFill>
          <a:ln w="6350" algn="ctr">
            <a:noFill/>
            <a:miter lim="800000"/>
            <a:headEnd type="none" w="sm" len="sm"/>
            <a:tailEnd type="none" w="sm" len="sm"/>
          </a:ln>
        </p:spPr>
        <p:txBody>
          <a:bodyPr tIns="91440" bIns="91440" anchor="ctr"/>
          <a:lstStyle/>
          <a:p>
            <a:pPr algn="ctr"/>
            <a:endParaRPr lang="en-GB" sz="1200"/>
          </a:p>
        </p:txBody>
      </p:sp>
      <p:sp>
        <p:nvSpPr>
          <p:cNvPr id="782362" name="Rectangle 26"/>
          <p:cNvSpPr>
            <a:spLocks noChangeArrowheads="1"/>
          </p:cNvSpPr>
          <p:nvPr/>
        </p:nvSpPr>
        <p:spPr bwMode="auto">
          <a:xfrm>
            <a:off x="2706688" y="2688655"/>
            <a:ext cx="817562" cy="585788"/>
          </a:xfrm>
          <a:prstGeom prst="rect">
            <a:avLst/>
          </a:prstGeom>
          <a:noFill/>
          <a:ln w="12700">
            <a:noFill/>
            <a:miter lim="800000"/>
            <a:headEnd type="none" w="sm" len="sm"/>
            <a:tailEnd type="none" w="sm" len="sm"/>
          </a:ln>
        </p:spPr>
        <p:txBody>
          <a:bodyPr anchor="ctr"/>
          <a:lstStyle/>
          <a:p>
            <a:pPr algn="ctr">
              <a:spcBef>
                <a:spcPts val="0"/>
              </a:spcBef>
            </a:pPr>
            <a:r>
              <a:rPr lang="en-GB" altLang="ja-JP" sz="1100" b="1" dirty="0">
                <a:solidFill>
                  <a:schemeClr val="bg1"/>
                </a:solidFill>
                <a:ea typeface="ＭＳ Ｐゴシック" charset="-128"/>
              </a:rPr>
              <a:t>Financial </a:t>
            </a:r>
            <a:r>
              <a:rPr lang="en-GB" altLang="ja-JP" sz="1100" b="1" dirty="0" smtClean="0">
                <a:solidFill>
                  <a:schemeClr val="bg1"/>
                </a:solidFill>
                <a:ea typeface="ＭＳ Ｐゴシック" charset="-128"/>
              </a:rPr>
              <a:t>needs</a:t>
            </a:r>
            <a:endParaRPr lang="en-GB" altLang="ja-JP" sz="1100" b="1" dirty="0">
              <a:solidFill>
                <a:schemeClr val="bg1"/>
              </a:solidFill>
              <a:ea typeface="ＭＳ Ｐゴシック" charset="-128"/>
            </a:endParaRPr>
          </a:p>
        </p:txBody>
      </p:sp>
      <p:sp>
        <p:nvSpPr>
          <p:cNvPr id="782363" name="Rectangle 27"/>
          <p:cNvSpPr>
            <a:spLocks noChangeArrowheads="1"/>
          </p:cNvSpPr>
          <p:nvPr/>
        </p:nvSpPr>
        <p:spPr bwMode="auto">
          <a:xfrm>
            <a:off x="2544791" y="4349180"/>
            <a:ext cx="1181820" cy="585788"/>
          </a:xfrm>
          <a:prstGeom prst="rect">
            <a:avLst/>
          </a:prstGeom>
          <a:noFill/>
          <a:ln w="12700">
            <a:noFill/>
            <a:miter lim="800000"/>
            <a:headEnd type="none" w="sm" len="sm"/>
            <a:tailEnd type="none" w="sm" len="sm"/>
          </a:ln>
        </p:spPr>
        <p:txBody>
          <a:bodyPr anchor="ctr"/>
          <a:lstStyle/>
          <a:p>
            <a:pPr algn="ctr"/>
            <a:r>
              <a:rPr lang="en-GB" altLang="ja-JP" sz="1100" b="1" dirty="0">
                <a:solidFill>
                  <a:schemeClr val="bg1"/>
                </a:solidFill>
                <a:ea typeface="ＭＳ Ｐゴシック" charset="-128"/>
              </a:rPr>
              <a:t>Benchmarking</a:t>
            </a:r>
          </a:p>
        </p:txBody>
      </p:sp>
      <p:sp>
        <p:nvSpPr>
          <p:cNvPr id="782364" name="Oval 28"/>
          <p:cNvSpPr>
            <a:spLocks noChangeArrowheads="1"/>
          </p:cNvSpPr>
          <p:nvPr/>
        </p:nvSpPr>
        <p:spPr bwMode="auto">
          <a:xfrm>
            <a:off x="2598738" y="3545905"/>
            <a:ext cx="1033462" cy="476250"/>
          </a:xfrm>
          <a:prstGeom prst="ellipse">
            <a:avLst/>
          </a:prstGeom>
          <a:solidFill>
            <a:schemeClr val="bg1"/>
          </a:solidFill>
          <a:ln w="6350" algn="ctr">
            <a:noFill/>
            <a:round/>
            <a:headEnd type="none" w="sm" len="sm"/>
            <a:tailEnd type="none" w="sm" len="sm"/>
          </a:ln>
        </p:spPr>
        <p:txBody>
          <a:bodyPr tIns="91440" bIns="91440" anchor="ctr"/>
          <a:lstStyle/>
          <a:p>
            <a:pPr algn="ctr"/>
            <a:r>
              <a:rPr lang="en-GB" altLang="ja-JP" sz="1000" dirty="0">
                <a:solidFill>
                  <a:schemeClr val="tx2"/>
                </a:solidFill>
                <a:ea typeface="ＭＳ Ｐゴシック" charset="-128"/>
              </a:rPr>
              <a:t>Targets</a:t>
            </a:r>
          </a:p>
        </p:txBody>
      </p:sp>
      <p:sp>
        <p:nvSpPr>
          <p:cNvPr id="782367" name="Rectangle 31"/>
          <p:cNvSpPr>
            <a:spLocks noChangeArrowheads="1"/>
          </p:cNvSpPr>
          <p:nvPr/>
        </p:nvSpPr>
        <p:spPr bwMode="auto">
          <a:xfrm>
            <a:off x="7040563" y="2544193"/>
            <a:ext cx="1130300" cy="2481262"/>
          </a:xfrm>
          <a:prstGeom prst="rect">
            <a:avLst/>
          </a:prstGeom>
          <a:solidFill>
            <a:schemeClr val="accent3"/>
          </a:solidFill>
          <a:ln w="6350" algn="ctr">
            <a:noFill/>
            <a:prstDash val="sysDot"/>
            <a:miter lim="800000"/>
            <a:headEnd type="none" w="sm" len="sm"/>
            <a:tailEnd type="none" w="sm" len="sm"/>
          </a:ln>
        </p:spPr>
        <p:txBody>
          <a:bodyPr wrap="none" tIns="91440" bIns="91440" anchor="ctr"/>
          <a:lstStyle/>
          <a:p>
            <a:pPr algn="ctr"/>
            <a:endParaRPr lang="en-GB" sz="1200">
              <a:ea typeface="ＭＳ Ｐゴシック" charset="-128"/>
            </a:endParaRPr>
          </a:p>
        </p:txBody>
      </p:sp>
      <p:sp>
        <p:nvSpPr>
          <p:cNvPr id="782368" name="AutoShape 32"/>
          <p:cNvSpPr>
            <a:spLocks noChangeArrowheads="1"/>
          </p:cNvSpPr>
          <p:nvPr/>
        </p:nvSpPr>
        <p:spPr bwMode="auto">
          <a:xfrm>
            <a:off x="7392988" y="3358580"/>
            <a:ext cx="427037" cy="123825"/>
          </a:xfrm>
          <a:prstGeom prst="triangle">
            <a:avLst>
              <a:gd name="adj" fmla="val 50000"/>
            </a:avLst>
          </a:prstGeom>
          <a:solidFill>
            <a:schemeClr val="bg1"/>
          </a:solidFill>
          <a:ln w="6350" algn="ctr">
            <a:noFill/>
            <a:miter lim="800000"/>
            <a:headEnd type="none" w="sm" len="sm"/>
            <a:tailEnd type="none" w="sm" len="sm"/>
          </a:ln>
        </p:spPr>
        <p:txBody>
          <a:bodyPr tIns="91440" bIns="91440" anchor="ctr"/>
          <a:lstStyle/>
          <a:p>
            <a:pPr algn="ctr"/>
            <a:endParaRPr lang="en-GB" sz="1200"/>
          </a:p>
        </p:txBody>
      </p:sp>
      <p:sp>
        <p:nvSpPr>
          <p:cNvPr id="782369" name="AutoShape 33"/>
          <p:cNvSpPr>
            <a:spLocks noChangeArrowheads="1"/>
          </p:cNvSpPr>
          <p:nvPr/>
        </p:nvSpPr>
        <p:spPr bwMode="auto">
          <a:xfrm flipV="1">
            <a:off x="7392988" y="4133280"/>
            <a:ext cx="427037" cy="125413"/>
          </a:xfrm>
          <a:prstGeom prst="triangle">
            <a:avLst>
              <a:gd name="adj" fmla="val 50000"/>
            </a:avLst>
          </a:prstGeom>
          <a:solidFill>
            <a:schemeClr val="bg1"/>
          </a:solidFill>
          <a:ln w="6350" algn="ctr">
            <a:noFill/>
            <a:miter lim="800000"/>
            <a:headEnd type="none" w="sm" len="sm"/>
            <a:tailEnd type="none" w="sm" len="sm"/>
          </a:ln>
        </p:spPr>
        <p:txBody>
          <a:bodyPr rot="10800000" tIns="91440" bIns="91440" anchor="ctr"/>
          <a:lstStyle/>
          <a:p>
            <a:pPr algn="ctr"/>
            <a:endParaRPr lang="en-GB" sz="1200"/>
          </a:p>
        </p:txBody>
      </p:sp>
      <p:sp>
        <p:nvSpPr>
          <p:cNvPr id="782370" name="Rectangle 34"/>
          <p:cNvSpPr>
            <a:spLocks noChangeArrowheads="1"/>
          </p:cNvSpPr>
          <p:nvPr/>
        </p:nvSpPr>
        <p:spPr bwMode="auto">
          <a:xfrm>
            <a:off x="7196138" y="2688655"/>
            <a:ext cx="819150" cy="585788"/>
          </a:xfrm>
          <a:prstGeom prst="rect">
            <a:avLst/>
          </a:prstGeom>
          <a:noFill/>
          <a:ln w="12700">
            <a:noFill/>
            <a:miter lim="800000"/>
            <a:headEnd type="none" w="sm" len="sm"/>
            <a:tailEnd type="none" w="sm" len="sm"/>
          </a:ln>
        </p:spPr>
        <p:txBody>
          <a:bodyPr anchor="ctr"/>
          <a:lstStyle/>
          <a:p>
            <a:pPr algn="ctr">
              <a:spcBef>
                <a:spcPts val="0"/>
              </a:spcBef>
            </a:pPr>
            <a:r>
              <a:rPr lang="en-GB" altLang="ja-JP" sz="1100" b="1" dirty="0">
                <a:solidFill>
                  <a:schemeClr val="bg1"/>
                </a:solidFill>
                <a:ea typeface="ＭＳ Ｐゴシック" charset="-128"/>
              </a:rPr>
              <a:t>Detailed </a:t>
            </a:r>
            <a:r>
              <a:rPr lang="en-GB" altLang="ja-JP" sz="1100" b="1" dirty="0" smtClean="0">
                <a:solidFill>
                  <a:schemeClr val="bg1"/>
                </a:solidFill>
                <a:ea typeface="ＭＳ Ｐゴシック" charset="-128"/>
              </a:rPr>
              <a:t>planning</a:t>
            </a:r>
            <a:endParaRPr lang="en-GB" altLang="ja-JP" sz="1100" b="1" dirty="0">
              <a:solidFill>
                <a:schemeClr val="bg1"/>
              </a:solidFill>
              <a:ea typeface="ＭＳ Ｐゴシック" charset="-128"/>
            </a:endParaRPr>
          </a:p>
        </p:txBody>
      </p:sp>
      <p:sp>
        <p:nvSpPr>
          <p:cNvPr id="782371" name="Rectangle 35"/>
          <p:cNvSpPr>
            <a:spLocks noChangeArrowheads="1"/>
          </p:cNvSpPr>
          <p:nvPr/>
        </p:nvSpPr>
        <p:spPr bwMode="auto">
          <a:xfrm>
            <a:off x="7039155" y="4349180"/>
            <a:ext cx="1121433" cy="585788"/>
          </a:xfrm>
          <a:prstGeom prst="rect">
            <a:avLst/>
          </a:prstGeom>
          <a:noFill/>
          <a:ln w="12700">
            <a:noFill/>
            <a:miter lim="800000"/>
            <a:headEnd type="none" w="sm" len="sm"/>
            <a:tailEnd type="none" w="sm" len="sm"/>
          </a:ln>
        </p:spPr>
        <p:txBody>
          <a:bodyPr anchor="ctr"/>
          <a:lstStyle/>
          <a:p>
            <a:pPr algn="ctr">
              <a:spcBef>
                <a:spcPts val="0"/>
              </a:spcBef>
            </a:pPr>
            <a:r>
              <a:rPr lang="en-GB" altLang="ja-JP" sz="1100" b="1" dirty="0">
                <a:solidFill>
                  <a:schemeClr val="bg1"/>
                </a:solidFill>
                <a:ea typeface="ＭＳ Ｐゴシック" charset="-128"/>
              </a:rPr>
              <a:t>Performance </a:t>
            </a:r>
            <a:r>
              <a:rPr lang="en-GB" altLang="ja-JP" sz="1100" b="1" dirty="0" smtClean="0">
                <a:solidFill>
                  <a:schemeClr val="bg1"/>
                </a:solidFill>
                <a:ea typeface="ＭＳ Ｐゴシック" charset="-128"/>
              </a:rPr>
              <a:t>management</a:t>
            </a:r>
            <a:endParaRPr lang="en-GB" altLang="ja-JP" sz="1100" b="1" dirty="0">
              <a:solidFill>
                <a:schemeClr val="bg1"/>
              </a:solidFill>
              <a:ea typeface="ＭＳ Ｐゴシック" charset="-128"/>
            </a:endParaRPr>
          </a:p>
        </p:txBody>
      </p:sp>
      <p:sp>
        <p:nvSpPr>
          <p:cNvPr id="782372" name="Oval 36"/>
          <p:cNvSpPr>
            <a:spLocks noChangeArrowheads="1"/>
          </p:cNvSpPr>
          <p:nvPr/>
        </p:nvSpPr>
        <p:spPr bwMode="auto">
          <a:xfrm>
            <a:off x="7088188" y="3545905"/>
            <a:ext cx="1035050" cy="476250"/>
          </a:xfrm>
          <a:prstGeom prst="ellipse">
            <a:avLst/>
          </a:prstGeom>
          <a:solidFill>
            <a:schemeClr val="bg1"/>
          </a:solidFill>
          <a:ln w="6350" algn="ctr">
            <a:noFill/>
            <a:round/>
            <a:headEnd type="none" w="sm" len="sm"/>
            <a:tailEnd type="none" w="sm" len="sm"/>
          </a:ln>
        </p:spPr>
        <p:txBody>
          <a:bodyPr tIns="91440" bIns="91440" anchor="ctr"/>
          <a:lstStyle/>
          <a:p>
            <a:pPr algn="ctr"/>
            <a:r>
              <a:rPr lang="en-GB" altLang="ja-JP" sz="1000" dirty="0">
                <a:solidFill>
                  <a:schemeClr val="tx2"/>
                </a:solidFill>
                <a:ea typeface="ＭＳ Ｐゴシック" charset="-128"/>
              </a:rPr>
              <a:t>Actions</a:t>
            </a:r>
          </a:p>
        </p:txBody>
      </p:sp>
      <p:sp>
        <p:nvSpPr>
          <p:cNvPr id="782373" name="Text Box 37"/>
          <p:cNvSpPr txBox="1">
            <a:spLocks noChangeArrowheads="1"/>
          </p:cNvSpPr>
          <p:nvPr/>
        </p:nvSpPr>
        <p:spPr bwMode="auto">
          <a:xfrm>
            <a:off x="1214324" y="1501205"/>
            <a:ext cx="811212" cy="307975"/>
          </a:xfrm>
          <a:prstGeom prst="rect">
            <a:avLst/>
          </a:prstGeom>
          <a:noFill/>
          <a:ln w="9525">
            <a:noFill/>
            <a:miter lim="800000"/>
            <a:headEnd type="none" w="sm" len="sm"/>
            <a:tailEnd type="none" w="med" len="lg"/>
          </a:ln>
        </p:spPr>
        <p:txBody>
          <a:bodyPr wrap="none">
            <a:spAutoFit/>
          </a:bodyPr>
          <a:lstStyle/>
          <a:p>
            <a:r>
              <a:rPr lang="en-GB" altLang="ja-JP" sz="1400" b="1">
                <a:solidFill>
                  <a:schemeClr val="tx2"/>
                </a:solidFill>
                <a:ea typeface="ＭＳ Ｐゴシック" charset="-128"/>
              </a:rPr>
              <a:t>Phase I</a:t>
            </a:r>
          </a:p>
        </p:txBody>
      </p:sp>
      <p:sp>
        <p:nvSpPr>
          <p:cNvPr id="782374" name="Text Box 38"/>
          <p:cNvSpPr txBox="1">
            <a:spLocks noChangeArrowheads="1"/>
          </p:cNvSpPr>
          <p:nvPr/>
        </p:nvSpPr>
        <p:spPr bwMode="auto">
          <a:xfrm>
            <a:off x="2805113" y="1501205"/>
            <a:ext cx="860425" cy="307975"/>
          </a:xfrm>
          <a:prstGeom prst="rect">
            <a:avLst/>
          </a:prstGeom>
          <a:noFill/>
          <a:ln w="9525">
            <a:noFill/>
            <a:miter lim="800000"/>
            <a:headEnd type="none" w="sm" len="sm"/>
            <a:tailEnd type="none" w="med" len="lg"/>
          </a:ln>
        </p:spPr>
        <p:txBody>
          <a:bodyPr wrap="none">
            <a:spAutoFit/>
          </a:bodyPr>
          <a:lstStyle/>
          <a:p>
            <a:r>
              <a:rPr lang="en-GB" altLang="ja-JP" sz="1400" b="1">
                <a:solidFill>
                  <a:schemeClr val="tx2"/>
                </a:solidFill>
                <a:ea typeface="ＭＳ Ｐゴシック" charset="-128"/>
              </a:rPr>
              <a:t>Phase II</a:t>
            </a:r>
          </a:p>
        </p:txBody>
      </p:sp>
      <p:sp>
        <p:nvSpPr>
          <p:cNvPr id="782375" name="Text Box 39"/>
          <p:cNvSpPr txBox="1">
            <a:spLocks noChangeArrowheads="1"/>
          </p:cNvSpPr>
          <p:nvPr/>
        </p:nvSpPr>
        <p:spPr bwMode="auto">
          <a:xfrm>
            <a:off x="4892351" y="1501205"/>
            <a:ext cx="909637" cy="307975"/>
          </a:xfrm>
          <a:prstGeom prst="rect">
            <a:avLst/>
          </a:prstGeom>
          <a:noFill/>
          <a:ln w="9525">
            <a:noFill/>
            <a:miter lim="800000"/>
            <a:headEnd type="none" w="sm" len="sm"/>
            <a:tailEnd type="none" w="med" len="lg"/>
          </a:ln>
        </p:spPr>
        <p:txBody>
          <a:bodyPr wrap="none">
            <a:spAutoFit/>
          </a:bodyPr>
          <a:lstStyle/>
          <a:p>
            <a:r>
              <a:rPr lang="en-GB" altLang="ja-JP" sz="1400" b="1">
                <a:solidFill>
                  <a:schemeClr val="tx2"/>
                </a:solidFill>
                <a:ea typeface="ＭＳ Ｐゴシック" charset="-128"/>
              </a:rPr>
              <a:t>Phase III</a:t>
            </a:r>
          </a:p>
        </p:txBody>
      </p:sp>
      <p:sp>
        <p:nvSpPr>
          <p:cNvPr id="782376" name="Text Box 40"/>
          <p:cNvSpPr txBox="1">
            <a:spLocks noChangeArrowheads="1"/>
          </p:cNvSpPr>
          <p:nvPr/>
        </p:nvSpPr>
        <p:spPr bwMode="auto">
          <a:xfrm>
            <a:off x="6992289" y="1501205"/>
            <a:ext cx="930275" cy="307975"/>
          </a:xfrm>
          <a:prstGeom prst="rect">
            <a:avLst/>
          </a:prstGeom>
          <a:noFill/>
          <a:ln w="9525">
            <a:noFill/>
            <a:miter lim="800000"/>
            <a:headEnd type="none" w="sm" len="sm"/>
            <a:tailEnd type="none" w="med" len="lg"/>
          </a:ln>
        </p:spPr>
        <p:txBody>
          <a:bodyPr wrap="none">
            <a:spAutoFit/>
          </a:bodyPr>
          <a:lstStyle/>
          <a:p>
            <a:r>
              <a:rPr lang="en-GB" altLang="ja-JP" sz="1400" b="1">
                <a:solidFill>
                  <a:schemeClr val="tx2"/>
                </a:solidFill>
                <a:ea typeface="ＭＳ Ｐゴシック" charset="-128"/>
              </a:rPr>
              <a:t>Phase IV</a:t>
            </a:r>
          </a:p>
        </p:txBody>
      </p:sp>
      <p:sp>
        <p:nvSpPr>
          <p:cNvPr id="44" name="AutoShape 10"/>
          <p:cNvSpPr>
            <a:spLocks noChangeArrowheads="1"/>
          </p:cNvSpPr>
          <p:nvPr/>
        </p:nvSpPr>
        <p:spPr bwMode="auto">
          <a:xfrm>
            <a:off x="2428875" y="1871205"/>
            <a:ext cx="1745092" cy="576262"/>
          </a:xfrm>
          <a:prstGeom prst="chevron">
            <a:avLst>
              <a:gd name="adj" fmla="val 27802"/>
            </a:avLst>
          </a:prstGeom>
          <a:solidFill>
            <a:schemeClr val="accent3"/>
          </a:solidFill>
          <a:ln w="6350" algn="ctr">
            <a:noFill/>
            <a:miter lim="800000"/>
            <a:headEnd type="none" w="sm" len="sm"/>
            <a:tailEnd type="none" w="sm" len="sm"/>
          </a:ln>
        </p:spPr>
        <p:txBody>
          <a:bodyPr tIns="91440" bIns="91440" anchor="ctr"/>
          <a:lstStyle/>
          <a:p>
            <a:pPr algn="ctr">
              <a:spcBef>
                <a:spcPts val="0"/>
              </a:spcBef>
              <a:buClr>
                <a:schemeClr val="tx1"/>
              </a:buClr>
              <a:buFont typeface="Times New Roman" pitchFamily="18" charset="0"/>
              <a:buNone/>
              <a:defRPr/>
            </a:pPr>
            <a:r>
              <a:rPr lang="en-GB" sz="1400" b="1" dirty="0">
                <a:solidFill>
                  <a:schemeClr val="bg1"/>
                </a:solidFill>
              </a:rPr>
              <a:t>Conduct</a:t>
            </a:r>
          </a:p>
          <a:p>
            <a:pPr algn="ctr">
              <a:spcBef>
                <a:spcPts val="0"/>
              </a:spcBef>
              <a:buClr>
                <a:schemeClr val="tx1"/>
              </a:buClr>
              <a:buFont typeface="Times New Roman" pitchFamily="18" charset="0"/>
              <a:buNone/>
              <a:defRPr/>
            </a:pPr>
            <a:r>
              <a:rPr lang="en-GB" sz="1400" b="1" dirty="0" smtClean="0">
                <a:solidFill>
                  <a:schemeClr val="bg1"/>
                </a:solidFill>
              </a:rPr>
              <a:t>analysis</a:t>
            </a:r>
            <a:endParaRPr lang="en-GB" altLang="ja-JP" sz="1400" b="1" dirty="0">
              <a:solidFill>
                <a:schemeClr val="bg1"/>
              </a:solidFill>
              <a:ea typeface="ＭＳ Ｐゴシック" pitchFamily="50" charset="-128"/>
            </a:endParaRPr>
          </a:p>
        </p:txBody>
      </p:sp>
      <p:sp>
        <p:nvSpPr>
          <p:cNvPr id="45" name="AutoShape 11"/>
          <p:cNvSpPr>
            <a:spLocks noChangeArrowheads="1"/>
          </p:cNvSpPr>
          <p:nvPr/>
        </p:nvSpPr>
        <p:spPr bwMode="auto">
          <a:xfrm>
            <a:off x="915987" y="1871205"/>
            <a:ext cx="1612059" cy="576262"/>
          </a:xfrm>
          <a:prstGeom prst="homePlate">
            <a:avLst>
              <a:gd name="adj" fmla="val 28686"/>
            </a:avLst>
          </a:prstGeom>
          <a:solidFill>
            <a:schemeClr val="accent3"/>
          </a:solidFill>
          <a:ln w="6350" algn="ctr">
            <a:noFill/>
            <a:miter lim="800000"/>
            <a:headEnd type="none" w="sm" len="sm"/>
            <a:tailEnd type="none" w="sm" len="sm"/>
          </a:ln>
        </p:spPr>
        <p:txBody>
          <a:bodyPr tIns="91440" bIns="91440" anchor="ctr"/>
          <a:lstStyle/>
          <a:p>
            <a:pPr algn="ctr">
              <a:spcBef>
                <a:spcPts val="0"/>
              </a:spcBef>
              <a:defRPr/>
            </a:pPr>
            <a:r>
              <a:rPr lang="en-GB" sz="1400" b="1" dirty="0">
                <a:solidFill>
                  <a:schemeClr val="bg1"/>
                </a:solidFill>
              </a:rPr>
              <a:t>Evaluate</a:t>
            </a:r>
            <a:br>
              <a:rPr lang="en-GB" sz="1400" b="1" dirty="0">
                <a:solidFill>
                  <a:schemeClr val="bg1"/>
                </a:solidFill>
              </a:rPr>
            </a:br>
            <a:r>
              <a:rPr lang="en-GB" sz="1400" b="1" dirty="0" smtClean="0">
                <a:solidFill>
                  <a:schemeClr val="bg1"/>
                </a:solidFill>
              </a:rPr>
              <a:t>situation</a:t>
            </a:r>
            <a:endParaRPr lang="en-GB" altLang="ja-JP" sz="1400" b="1" dirty="0">
              <a:solidFill>
                <a:schemeClr val="bg1"/>
              </a:solidFill>
              <a:ea typeface="ＭＳ Ｐゴシック" pitchFamily="50" charset="-128"/>
            </a:endParaRPr>
          </a:p>
        </p:txBody>
      </p:sp>
      <p:sp>
        <p:nvSpPr>
          <p:cNvPr id="46" name="AutoShape 28"/>
          <p:cNvSpPr>
            <a:spLocks noChangeArrowheads="1"/>
          </p:cNvSpPr>
          <p:nvPr/>
        </p:nvSpPr>
        <p:spPr bwMode="auto">
          <a:xfrm>
            <a:off x="4062413" y="1871205"/>
            <a:ext cx="2607328" cy="576262"/>
          </a:xfrm>
          <a:prstGeom prst="chevron">
            <a:avLst>
              <a:gd name="adj" fmla="val 29754"/>
            </a:avLst>
          </a:prstGeom>
          <a:solidFill>
            <a:schemeClr val="accent3"/>
          </a:solidFill>
          <a:ln w="6350" algn="ctr">
            <a:noFill/>
            <a:miter lim="800000"/>
            <a:headEnd type="none" w="sm" len="sm"/>
            <a:tailEnd type="none" w="sm" len="sm"/>
          </a:ln>
        </p:spPr>
        <p:txBody>
          <a:bodyPr tIns="91440" bIns="91440" anchor="ctr"/>
          <a:lstStyle/>
          <a:p>
            <a:pPr algn="ctr">
              <a:spcBef>
                <a:spcPts val="0"/>
              </a:spcBef>
              <a:defRPr/>
            </a:pPr>
            <a:r>
              <a:rPr lang="en-GB" sz="1400" b="1" dirty="0">
                <a:solidFill>
                  <a:schemeClr val="bg1"/>
                </a:solidFill>
              </a:rPr>
              <a:t>Formulate</a:t>
            </a:r>
            <a:br>
              <a:rPr lang="en-GB" sz="1400" b="1" dirty="0">
                <a:solidFill>
                  <a:schemeClr val="bg1"/>
                </a:solidFill>
              </a:rPr>
            </a:br>
            <a:r>
              <a:rPr lang="en-GB" sz="1400" b="1" dirty="0" smtClean="0">
                <a:solidFill>
                  <a:schemeClr val="bg1"/>
                </a:solidFill>
              </a:rPr>
              <a:t>strategy</a:t>
            </a:r>
            <a:endParaRPr lang="en-GB" altLang="ja-JP" sz="1400" b="1" dirty="0">
              <a:solidFill>
                <a:schemeClr val="bg1"/>
              </a:solidFill>
              <a:ea typeface="ＭＳ Ｐゴシック" pitchFamily="50" charset="-128"/>
            </a:endParaRPr>
          </a:p>
        </p:txBody>
      </p:sp>
      <p:sp>
        <p:nvSpPr>
          <p:cNvPr id="47" name="AutoShape 29"/>
          <p:cNvSpPr>
            <a:spLocks noChangeArrowheads="1"/>
          </p:cNvSpPr>
          <p:nvPr/>
        </p:nvSpPr>
        <p:spPr bwMode="auto">
          <a:xfrm>
            <a:off x="6559550" y="1871205"/>
            <a:ext cx="1849438" cy="576262"/>
          </a:xfrm>
          <a:prstGeom prst="chevron">
            <a:avLst>
              <a:gd name="adj" fmla="val 30967"/>
            </a:avLst>
          </a:prstGeom>
          <a:solidFill>
            <a:schemeClr val="accent3"/>
          </a:solidFill>
          <a:ln w="6350" algn="ctr">
            <a:noFill/>
            <a:miter lim="800000"/>
            <a:headEnd type="none" w="sm" len="sm"/>
            <a:tailEnd type="none" w="sm" len="sm"/>
          </a:ln>
        </p:spPr>
        <p:txBody>
          <a:bodyPr lIns="72000" tIns="91440" rIns="72000" bIns="91440" anchor="ctr"/>
          <a:lstStyle/>
          <a:p>
            <a:pPr algn="ctr">
              <a:spcBef>
                <a:spcPts val="0"/>
              </a:spcBef>
              <a:defRPr/>
            </a:pPr>
            <a:r>
              <a:rPr lang="en-GB" sz="1400" b="1" dirty="0">
                <a:solidFill>
                  <a:schemeClr val="bg1"/>
                </a:solidFill>
                <a:ea typeface="ＭＳ Ｐゴシック" pitchFamily="50" charset="-128"/>
              </a:rPr>
              <a:t>Plan</a:t>
            </a:r>
            <a:br>
              <a:rPr lang="en-GB" sz="1400" b="1" dirty="0">
                <a:solidFill>
                  <a:schemeClr val="bg1"/>
                </a:solidFill>
                <a:ea typeface="ＭＳ Ｐゴシック" pitchFamily="50" charset="-128"/>
              </a:rPr>
            </a:br>
            <a:r>
              <a:rPr lang="en-GB" sz="1400" b="1" dirty="0" smtClean="0">
                <a:solidFill>
                  <a:schemeClr val="bg1"/>
                </a:solidFill>
                <a:ea typeface="ＭＳ Ｐゴシック" pitchFamily="50" charset="-128"/>
              </a:rPr>
              <a:t>implementation</a:t>
            </a:r>
            <a:endParaRPr lang="en-GB" altLang="ja-JP" sz="1400" b="1" dirty="0">
              <a:solidFill>
                <a:schemeClr val="bg1"/>
              </a:solidFill>
              <a:ea typeface="ＭＳ Ｐゴシック" pitchFamily="50" charset="-128"/>
            </a:endParaRPr>
          </a:p>
        </p:txBody>
      </p:sp>
      <p:sp>
        <p:nvSpPr>
          <p:cNvPr id="48" name="AutoShape 9"/>
          <p:cNvSpPr>
            <a:spLocks noChangeArrowheads="1"/>
          </p:cNvSpPr>
          <p:nvPr/>
        </p:nvSpPr>
        <p:spPr bwMode="auto">
          <a:xfrm>
            <a:off x="6708475" y="3653496"/>
            <a:ext cx="284672" cy="341313"/>
          </a:xfrm>
          <a:prstGeom prst="rightArrow">
            <a:avLst>
              <a:gd name="adj1" fmla="val 50000"/>
              <a:gd name="adj2" fmla="val 49002"/>
            </a:avLst>
          </a:prstGeom>
          <a:solidFill>
            <a:schemeClr val="accent1"/>
          </a:solidFill>
          <a:ln w="6350" algn="ctr">
            <a:noFill/>
            <a:miter lim="800000"/>
            <a:headEnd type="none" w="sm" len="sm"/>
            <a:tailEnd type="none" w="sm" len="sm"/>
          </a:ln>
        </p:spPr>
        <p:txBody>
          <a:bodyPr tIns="91440" bIns="91440" anchor="ctr"/>
          <a:lstStyle/>
          <a:p>
            <a:pPr algn="ctr"/>
            <a:endParaRPr lang="en-GB" sz="1200"/>
          </a:p>
        </p:txBody>
      </p:sp>
      <p:sp>
        <p:nvSpPr>
          <p:cNvPr id="49" name="AutoShape 9"/>
          <p:cNvSpPr>
            <a:spLocks noChangeArrowheads="1"/>
          </p:cNvSpPr>
          <p:nvPr/>
        </p:nvSpPr>
        <p:spPr bwMode="auto">
          <a:xfrm>
            <a:off x="5342623" y="3650620"/>
            <a:ext cx="284672" cy="341313"/>
          </a:xfrm>
          <a:prstGeom prst="rightArrow">
            <a:avLst>
              <a:gd name="adj1" fmla="val 50000"/>
              <a:gd name="adj2" fmla="val 49002"/>
            </a:avLst>
          </a:prstGeom>
          <a:solidFill>
            <a:schemeClr val="accent1"/>
          </a:solidFill>
          <a:ln w="6350" algn="ctr">
            <a:noFill/>
            <a:miter lim="800000"/>
            <a:headEnd type="none" w="sm" len="sm"/>
            <a:tailEnd type="none" w="sm" len="sm"/>
          </a:ln>
        </p:spPr>
        <p:txBody>
          <a:bodyPr tIns="91440" bIns="91440" anchor="ctr"/>
          <a:lstStyle/>
          <a:p>
            <a:pPr algn="ctr"/>
            <a:endParaRPr lang="en-GB" sz="1200"/>
          </a:p>
        </p:txBody>
      </p:sp>
      <p:sp>
        <p:nvSpPr>
          <p:cNvPr id="50" name="AutoShape 9"/>
          <p:cNvSpPr>
            <a:spLocks noChangeArrowheads="1"/>
          </p:cNvSpPr>
          <p:nvPr/>
        </p:nvSpPr>
        <p:spPr bwMode="auto">
          <a:xfrm>
            <a:off x="3786994" y="3647744"/>
            <a:ext cx="284672" cy="341313"/>
          </a:xfrm>
          <a:prstGeom prst="rightArrow">
            <a:avLst>
              <a:gd name="adj1" fmla="val 50000"/>
              <a:gd name="adj2" fmla="val 49002"/>
            </a:avLst>
          </a:prstGeom>
          <a:solidFill>
            <a:schemeClr val="accent1"/>
          </a:solidFill>
          <a:ln w="6350" algn="ctr">
            <a:noFill/>
            <a:miter lim="800000"/>
            <a:headEnd type="none" w="sm" len="sm"/>
            <a:tailEnd type="none" w="sm" len="sm"/>
          </a:ln>
        </p:spPr>
        <p:txBody>
          <a:bodyPr tIns="91440" bIns="91440" anchor="ctr"/>
          <a:lstStyle/>
          <a:p>
            <a:pPr algn="ctr"/>
            <a:endParaRPr lang="en-GB" sz="1200"/>
          </a:p>
        </p:txBody>
      </p:sp>
      <p:sp>
        <p:nvSpPr>
          <p:cNvPr id="51" name="AutoShape 9"/>
          <p:cNvSpPr>
            <a:spLocks noChangeArrowheads="1"/>
          </p:cNvSpPr>
          <p:nvPr/>
        </p:nvSpPr>
        <p:spPr bwMode="auto">
          <a:xfrm>
            <a:off x="2196859" y="3644868"/>
            <a:ext cx="284672" cy="341313"/>
          </a:xfrm>
          <a:prstGeom prst="rightArrow">
            <a:avLst>
              <a:gd name="adj1" fmla="val 50000"/>
              <a:gd name="adj2" fmla="val 49002"/>
            </a:avLst>
          </a:prstGeom>
          <a:solidFill>
            <a:schemeClr val="accent1"/>
          </a:solidFill>
          <a:ln w="6350" algn="ctr">
            <a:noFill/>
            <a:miter lim="800000"/>
            <a:headEnd type="none" w="sm" len="sm"/>
            <a:tailEnd type="none" w="sm" len="sm"/>
          </a:ln>
        </p:spPr>
        <p:txBody>
          <a:bodyPr tIns="91440" bIns="91440" anchor="ctr"/>
          <a:lstStyle/>
          <a:p>
            <a:pPr algn="ctr"/>
            <a:endParaRPr lang="en-GB" sz="1200"/>
          </a:p>
        </p:txBody>
      </p:sp>
      <p:sp>
        <p:nvSpPr>
          <p:cNvPr id="52" name="Rectangle 51"/>
          <p:cNvSpPr/>
          <p:nvPr/>
        </p:nvSpPr>
        <p:spPr>
          <a:xfrm>
            <a:off x="4215645" y="3644868"/>
            <a:ext cx="1024639" cy="246221"/>
          </a:xfrm>
          <a:prstGeom prst="rect">
            <a:avLst/>
          </a:prstGeom>
        </p:spPr>
        <p:txBody>
          <a:bodyPr wrap="none">
            <a:spAutoFit/>
          </a:bodyPr>
          <a:lstStyle/>
          <a:p>
            <a:r>
              <a:rPr lang="en-GB" altLang="ja-JP" sz="1000" dirty="0" smtClean="0">
                <a:solidFill>
                  <a:schemeClr val="tx2"/>
                </a:solidFill>
                <a:ea typeface="ＭＳ Ｐゴシック" charset="-128"/>
              </a:rPr>
              <a:t>Opportunities</a:t>
            </a:r>
            <a:endParaRPr lang="en-GB" altLang="ja-JP" sz="1000" dirty="0">
              <a:solidFill>
                <a:schemeClr val="tx2"/>
              </a:solidFill>
              <a:ea typeface="ＭＳ Ｐゴシック" charset="-128"/>
            </a:endParaRPr>
          </a:p>
        </p:txBody>
      </p:sp>
      <p:sp>
        <p:nvSpPr>
          <p:cNvPr id="53"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5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3905" name="Title 1"/>
          <p:cNvSpPr>
            <a:spLocks noGrp="1"/>
          </p:cNvSpPr>
          <p:nvPr>
            <p:ph type="title"/>
          </p:nvPr>
        </p:nvSpPr>
        <p:spPr/>
        <p:txBody>
          <a:bodyPr/>
          <a:lstStyle/>
          <a:p>
            <a:r>
              <a:rPr lang="en-GB"/>
              <a:t>Competitive strategy 3.0 framework</a:t>
            </a:r>
            <a:endParaRPr lang="nl-NL"/>
          </a:p>
        </p:txBody>
      </p:sp>
      <p:sp>
        <p:nvSpPr>
          <p:cNvPr id="763907" name="Text Box 3"/>
          <p:cNvSpPr txBox="1">
            <a:spLocks noChangeArrowheads="1"/>
          </p:cNvSpPr>
          <p:nvPr/>
        </p:nvSpPr>
        <p:spPr bwMode="auto">
          <a:xfrm>
            <a:off x="440437" y="5540375"/>
            <a:ext cx="1121118" cy="463846"/>
          </a:xfrm>
          <a:prstGeom prst="rect">
            <a:avLst/>
          </a:prstGeom>
          <a:noFill/>
          <a:ln w="9525" algn="ctr">
            <a:noFill/>
            <a:miter lim="800000"/>
            <a:headEnd/>
            <a:tailEnd/>
          </a:ln>
        </p:spPr>
        <p:txBody>
          <a:bodyPr wrap="none" lIns="90000" tIns="46800" rIns="90000" bIns="46800">
            <a:spAutoFit/>
          </a:bodyPr>
          <a:lstStyle/>
          <a:p>
            <a:pPr algn="l">
              <a:spcBef>
                <a:spcPts val="0"/>
              </a:spcBef>
            </a:pPr>
            <a:r>
              <a:rPr lang="en-GB" altLang="ja-JP" sz="1200" dirty="0">
                <a:solidFill>
                  <a:schemeClr val="tx2"/>
                </a:solidFill>
                <a:ea typeface="ＭＳ Ｐゴシック" charset="-128"/>
              </a:rPr>
              <a:t>Project</a:t>
            </a:r>
            <a:br>
              <a:rPr lang="en-GB" altLang="ja-JP" sz="1200" dirty="0">
                <a:solidFill>
                  <a:schemeClr val="tx2"/>
                </a:solidFill>
                <a:ea typeface="ＭＳ Ｐゴシック" charset="-128"/>
              </a:rPr>
            </a:br>
            <a:r>
              <a:rPr lang="en-GB" altLang="ja-JP" sz="1200" dirty="0" smtClean="0">
                <a:solidFill>
                  <a:schemeClr val="tx2"/>
                </a:solidFill>
                <a:ea typeface="ＭＳ Ｐゴシック" charset="-128"/>
              </a:rPr>
              <a:t>management</a:t>
            </a:r>
            <a:endParaRPr lang="en-GB" altLang="ja-JP" sz="1200" dirty="0">
              <a:solidFill>
                <a:schemeClr val="tx2"/>
              </a:solidFill>
              <a:ea typeface="ＭＳ Ｐゴシック" charset="-128"/>
            </a:endParaRPr>
          </a:p>
        </p:txBody>
      </p:sp>
      <p:sp>
        <p:nvSpPr>
          <p:cNvPr id="5" name="AutoShape 4"/>
          <p:cNvSpPr>
            <a:spLocks noChangeArrowheads="1"/>
          </p:cNvSpPr>
          <p:nvPr/>
        </p:nvSpPr>
        <p:spPr bwMode="auto">
          <a:xfrm>
            <a:off x="4956828" y="1600200"/>
            <a:ext cx="1780686" cy="423863"/>
          </a:xfrm>
          <a:prstGeom prst="chevron">
            <a:avLst>
              <a:gd name="adj" fmla="val 36855"/>
            </a:avLst>
          </a:prstGeom>
          <a:solidFill>
            <a:schemeClr val="accent3"/>
          </a:solidFill>
          <a:ln w="6350" algn="ctr">
            <a:noFill/>
            <a:miter lim="800000"/>
            <a:headEnd type="none" w="sm" len="sm"/>
            <a:tailEnd type="none" w="sm" len="sm"/>
          </a:ln>
        </p:spPr>
        <p:txBody>
          <a:bodyPr tIns="91440" bIns="91440" anchor="ctr"/>
          <a:lstStyle/>
          <a:p>
            <a:pPr algn="ctr">
              <a:defRPr/>
            </a:pPr>
            <a:r>
              <a:rPr lang="en-GB" sz="1200" b="1" dirty="0">
                <a:solidFill>
                  <a:schemeClr val="bg1"/>
                </a:solidFill>
                <a:ea typeface="ＭＳ Ｐゴシック" pitchFamily="50" charset="-128"/>
              </a:rPr>
              <a:t>3. Formulate</a:t>
            </a:r>
            <a:br>
              <a:rPr lang="en-GB" sz="1200" b="1" dirty="0">
                <a:solidFill>
                  <a:schemeClr val="bg1"/>
                </a:solidFill>
                <a:ea typeface="ＭＳ Ｐゴシック" pitchFamily="50" charset="-128"/>
              </a:rPr>
            </a:br>
            <a:r>
              <a:rPr lang="en-GB" sz="1200" b="1" dirty="0" smtClean="0">
                <a:solidFill>
                  <a:schemeClr val="bg1"/>
                </a:solidFill>
                <a:ea typeface="ＭＳ Ｐゴシック" pitchFamily="50" charset="-128"/>
              </a:rPr>
              <a:t>strategy</a:t>
            </a:r>
            <a:endParaRPr lang="en-GB" sz="1200" b="1" dirty="0">
              <a:solidFill>
                <a:schemeClr val="bg1"/>
              </a:solidFill>
              <a:ea typeface="ＭＳ Ｐゴシック" pitchFamily="50" charset="-128"/>
            </a:endParaRPr>
          </a:p>
        </p:txBody>
      </p:sp>
      <p:sp>
        <p:nvSpPr>
          <p:cNvPr id="6" name="AutoShape 5"/>
          <p:cNvSpPr>
            <a:spLocks noChangeArrowheads="1"/>
          </p:cNvSpPr>
          <p:nvPr/>
        </p:nvSpPr>
        <p:spPr bwMode="auto">
          <a:xfrm>
            <a:off x="6625557" y="1600200"/>
            <a:ext cx="1719263" cy="423863"/>
          </a:xfrm>
          <a:prstGeom prst="chevron">
            <a:avLst>
              <a:gd name="adj" fmla="val 36855"/>
            </a:avLst>
          </a:prstGeom>
          <a:solidFill>
            <a:schemeClr val="accent3"/>
          </a:solidFill>
          <a:ln w="6350" algn="ctr">
            <a:noFill/>
            <a:miter lim="800000"/>
            <a:headEnd type="none" w="sm" len="sm"/>
            <a:tailEnd type="none" w="sm" len="sm"/>
          </a:ln>
        </p:spPr>
        <p:txBody>
          <a:bodyPr wrap="none" tIns="91440" bIns="91440" anchor="ctr"/>
          <a:lstStyle/>
          <a:p>
            <a:pPr algn="ctr">
              <a:defRPr/>
            </a:pPr>
            <a:r>
              <a:rPr lang="en-GB" sz="1200" b="1" dirty="0">
                <a:solidFill>
                  <a:schemeClr val="bg1"/>
                </a:solidFill>
                <a:ea typeface="ＭＳ Ｐゴシック" pitchFamily="50" charset="-128"/>
              </a:rPr>
              <a:t>4. Plan</a:t>
            </a:r>
            <a:br>
              <a:rPr lang="en-GB" sz="1200" b="1" dirty="0">
                <a:solidFill>
                  <a:schemeClr val="bg1"/>
                </a:solidFill>
                <a:ea typeface="ＭＳ Ｐゴシック" pitchFamily="50" charset="-128"/>
              </a:rPr>
            </a:br>
            <a:r>
              <a:rPr lang="en-GB" sz="1200" b="1" dirty="0" smtClean="0">
                <a:solidFill>
                  <a:schemeClr val="bg1"/>
                </a:solidFill>
                <a:ea typeface="ＭＳ Ｐゴシック" pitchFamily="50" charset="-128"/>
              </a:rPr>
              <a:t>transformation</a:t>
            </a:r>
            <a:endParaRPr lang="en-GB" sz="1200" b="1" dirty="0">
              <a:solidFill>
                <a:schemeClr val="bg1"/>
              </a:solidFill>
              <a:ea typeface="ＭＳ Ｐゴシック" pitchFamily="50" charset="-128"/>
            </a:endParaRPr>
          </a:p>
        </p:txBody>
      </p:sp>
      <p:sp>
        <p:nvSpPr>
          <p:cNvPr id="7" name="AutoShape 6"/>
          <p:cNvSpPr>
            <a:spLocks noChangeArrowheads="1"/>
          </p:cNvSpPr>
          <p:nvPr/>
        </p:nvSpPr>
        <p:spPr bwMode="auto">
          <a:xfrm>
            <a:off x="1574800" y="1600200"/>
            <a:ext cx="1803101" cy="423863"/>
          </a:xfrm>
          <a:prstGeom prst="homePlate">
            <a:avLst>
              <a:gd name="adj" fmla="val 38784"/>
            </a:avLst>
          </a:prstGeom>
          <a:solidFill>
            <a:schemeClr val="accent3"/>
          </a:solidFill>
          <a:ln w="6350" algn="ctr">
            <a:noFill/>
            <a:miter lim="800000"/>
            <a:headEnd type="none" w="sm" len="sm"/>
            <a:tailEnd type="none" w="sm" len="sm"/>
          </a:ln>
        </p:spPr>
        <p:txBody>
          <a:bodyPr tIns="91440" bIns="91440" anchor="ctr"/>
          <a:lstStyle/>
          <a:p>
            <a:pPr algn="ctr">
              <a:defRPr/>
            </a:pPr>
            <a:r>
              <a:rPr lang="en-GB" sz="1200" b="1" dirty="0">
                <a:solidFill>
                  <a:schemeClr val="bg1"/>
                </a:solidFill>
                <a:ea typeface="ＭＳ Ｐゴシック" pitchFamily="50" charset="-128"/>
              </a:rPr>
              <a:t>1. Evaluate</a:t>
            </a:r>
            <a:br>
              <a:rPr lang="en-GB" sz="1200" b="1" dirty="0">
                <a:solidFill>
                  <a:schemeClr val="bg1"/>
                </a:solidFill>
                <a:ea typeface="ＭＳ Ｐゴシック" pitchFamily="50" charset="-128"/>
              </a:rPr>
            </a:br>
            <a:r>
              <a:rPr lang="en-GB" sz="1200" b="1" dirty="0" smtClean="0">
                <a:solidFill>
                  <a:schemeClr val="bg1"/>
                </a:solidFill>
                <a:ea typeface="ＭＳ Ｐゴシック" pitchFamily="50" charset="-128"/>
              </a:rPr>
              <a:t>situation</a:t>
            </a:r>
            <a:endParaRPr lang="en-GB" sz="1200" b="1" dirty="0">
              <a:solidFill>
                <a:schemeClr val="bg1"/>
              </a:solidFill>
              <a:ea typeface="ＭＳ Ｐゴシック" pitchFamily="50" charset="-128"/>
            </a:endParaRPr>
          </a:p>
        </p:txBody>
      </p:sp>
      <p:sp>
        <p:nvSpPr>
          <p:cNvPr id="8" name="AutoShape 7"/>
          <p:cNvSpPr>
            <a:spLocks noChangeArrowheads="1"/>
          </p:cNvSpPr>
          <p:nvPr/>
        </p:nvSpPr>
        <p:spPr bwMode="auto">
          <a:xfrm>
            <a:off x="3266581" y="1600200"/>
            <a:ext cx="1800270" cy="423863"/>
          </a:xfrm>
          <a:prstGeom prst="chevron">
            <a:avLst>
              <a:gd name="adj" fmla="val 36855"/>
            </a:avLst>
          </a:prstGeom>
          <a:solidFill>
            <a:schemeClr val="accent3"/>
          </a:solidFill>
          <a:ln w="6350" algn="ctr">
            <a:noFill/>
            <a:miter lim="800000"/>
            <a:headEnd type="none" w="sm" len="sm"/>
            <a:tailEnd type="none" w="sm" len="sm"/>
          </a:ln>
        </p:spPr>
        <p:txBody>
          <a:bodyPr tIns="91440" bIns="91440" anchor="ctr"/>
          <a:lstStyle/>
          <a:p>
            <a:pPr algn="ctr">
              <a:defRPr/>
            </a:pPr>
            <a:r>
              <a:rPr lang="en-GB" sz="1200" b="1" dirty="0">
                <a:solidFill>
                  <a:schemeClr val="bg1"/>
                </a:solidFill>
                <a:ea typeface="ＭＳ Ｐゴシック" pitchFamily="50" charset="-128"/>
              </a:rPr>
              <a:t>2. </a:t>
            </a:r>
            <a:r>
              <a:rPr lang="en-GB" sz="1200" b="1" dirty="0" smtClean="0">
                <a:solidFill>
                  <a:schemeClr val="bg1"/>
                </a:solidFill>
                <a:ea typeface="ＭＳ Ｐゴシック" pitchFamily="50" charset="-128"/>
              </a:rPr>
              <a:t>Conduct</a:t>
            </a:r>
            <a:br>
              <a:rPr lang="en-GB" sz="1200" b="1" dirty="0" smtClean="0">
                <a:solidFill>
                  <a:schemeClr val="bg1"/>
                </a:solidFill>
                <a:ea typeface="ＭＳ Ｐゴシック" pitchFamily="50" charset="-128"/>
              </a:rPr>
            </a:br>
            <a:r>
              <a:rPr lang="en-GB" sz="1200" b="1" dirty="0" smtClean="0">
                <a:solidFill>
                  <a:schemeClr val="bg1"/>
                </a:solidFill>
                <a:ea typeface="ＭＳ Ｐゴシック" pitchFamily="50" charset="-128"/>
              </a:rPr>
              <a:t>analysis</a:t>
            </a:r>
            <a:endParaRPr lang="en-GB" sz="1200" b="1" dirty="0">
              <a:solidFill>
                <a:schemeClr val="bg1"/>
              </a:solidFill>
              <a:ea typeface="ＭＳ Ｐゴシック" pitchFamily="50" charset="-128"/>
            </a:endParaRPr>
          </a:p>
        </p:txBody>
      </p:sp>
      <p:sp>
        <p:nvSpPr>
          <p:cNvPr id="9" name="Rectangle 8"/>
          <p:cNvSpPr>
            <a:spLocks noChangeArrowheads="1"/>
          </p:cNvSpPr>
          <p:nvPr/>
        </p:nvSpPr>
        <p:spPr bwMode="auto">
          <a:xfrm>
            <a:off x="1574799" y="2055333"/>
            <a:ext cx="1537200" cy="432000"/>
          </a:xfrm>
          <a:prstGeom prst="rect">
            <a:avLst/>
          </a:prstGeom>
          <a:solidFill>
            <a:schemeClr val="accent1"/>
          </a:solidFill>
          <a:ln w="6350" algn="ctr">
            <a:noFill/>
            <a:miter lim="800000"/>
            <a:headEnd type="none" w="sm" len="sm"/>
            <a:tailEnd/>
          </a:ln>
        </p:spPr>
        <p:txBody>
          <a:bodyPr lIns="0" tIns="36000" rIns="0" bIns="36000" anchor="ctr"/>
          <a:lstStyle/>
          <a:p>
            <a:pPr algn="ctr">
              <a:spcBef>
                <a:spcPts val="0"/>
              </a:spcBef>
              <a:defRPr/>
            </a:pPr>
            <a:r>
              <a:rPr lang="en-GB" altLang="ja-JP" sz="1000" dirty="0">
                <a:solidFill>
                  <a:schemeClr val="bg1"/>
                </a:solidFill>
                <a:ea typeface="ＭＳ Ｐゴシック" pitchFamily="50" charset="-128"/>
              </a:rPr>
              <a:t>Document </a:t>
            </a:r>
            <a:r>
              <a:rPr lang="en-GB" altLang="ja-JP" sz="1000" dirty="0" smtClean="0">
                <a:solidFill>
                  <a:schemeClr val="bg1"/>
                </a:solidFill>
                <a:ea typeface="ＭＳ Ｐゴシック" pitchFamily="50" charset="-128"/>
              </a:rPr>
              <a:t>strategic </a:t>
            </a:r>
            <a:r>
              <a:rPr lang="en-GB" altLang="ja-JP" sz="1000" dirty="0">
                <a:solidFill>
                  <a:schemeClr val="bg1"/>
                </a:solidFill>
                <a:ea typeface="ＭＳ Ｐゴシック" pitchFamily="50" charset="-128"/>
              </a:rPr>
              <a:t/>
            </a:r>
            <a:br>
              <a:rPr lang="en-GB" altLang="ja-JP" sz="1000" dirty="0">
                <a:solidFill>
                  <a:schemeClr val="bg1"/>
                </a:solidFill>
                <a:ea typeface="ＭＳ Ｐゴシック" pitchFamily="50" charset="-128"/>
              </a:rPr>
            </a:br>
            <a:r>
              <a:rPr lang="en-GB" altLang="ja-JP" sz="1000" dirty="0" smtClean="0">
                <a:solidFill>
                  <a:schemeClr val="bg1"/>
                </a:solidFill>
                <a:ea typeface="ＭＳ Ｐゴシック" pitchFamily="50" charset="-128"/>
              </a:rPr>
              <a:t>direction </a:t>
            </a:r>
            <a:r>
              <a:rPr lang="en-GB" altLang="ja-JP" sz="1000" dirty="0">
                <a:solidFill>
                  <a:schemeClr val="bg1"/>
                </a:solidFill>
                <a:ea typeface="ＭＳ Ｐゴシック" pitchFamily="50" charset="-128"/>
              </a:rPr>
              <a:t>and </a:t>
            </a:r>
            <a:r>
              <a:rPr lang="en-GB" altLang="ja-JP" sz="1000" dirty="0" smtClean="0">
                <a:solidFill>
                  <a:schemeClr val="bg1"/>
                </a:solidFill>
                <a:ea typeface="ＭＳ Ｐゴシック" pitchFamily="50" charset="-128"/>
              </a:rPr>
              <a:t>objectives</a:t>
            </a:r>
            <a:endParaRPr lang="en-GB" altLang="ja-JP" sz="1000" dirty="0">
              <a:solidFill>
                <a:schemeClr val="bg1"/>
              </a:solidFill>
              <a:ea typeface="ＭＳ Ｐゴシック" pitchFamily="50" charset="-128"/>
            </a:endParaRPr>
          </a:p>
        </p:txBody>
      </p:sp>
      <p:sp>
        <p:nvSpPr>
          <p:cNvPr id="10" name="Rectangle 9"/>
          <p:cNvSpPr>
            <a:spLocks noChangeArrowheads="1"/>
          </p:cNvSpPr>
          <p:nvPr/>
        </p:nvSpPr>
        <p:spPr bwMode="auto">
          <a:xfrm>
            <a:off x="1574799" y="2557463"/>
            <a:ext cx="1537200" cy="352425"/>
          </a:xfrm>
          <a:prstGeom prst="rect">
            <a:avLst/>
          </a:prstGeom>
          <a:solidFill>
            <a:schemeClr val="accent2"/>
          </a:solidFill>
          <a:ln w="6350" algn="ctr">
            <a:noFill/>
            <a:miter lim="800000"/>
            <a:headEnd type="none" w="sm" len="sm"/>
            <a:tailEnd/>
          </a:ln>
        </p:spPr>
        <p:txBody>
          <a:bodyPr lIns="0" tIns="36000" rIns="0" bIns="36000" anchor="ctr"/>
          <a:lstStyle/>
          <a:p>
            <a:pPr algn="ctr">
              <a:spcBef>
                <a:spcPts val="0"/>
              </a:spcBef>
              <a:defRPr/>
            </a:pPr>
            <a:r>
              <a:rPr lang="en-GB" altLang="ja-JP" sz="1000" dirty="0">
                <a:solidFill>
                  <a:schemeClr val="bg1"/>
                </a:solidFill>
                <a:ea typeface="ＭＳ Ｐゴシック" pitchFamily="50" charset="-128"/>
              </a:rPr>
              <a:t>Conduct </a:t>
            </a:r>
            <a:r>
              <a:rPr lang="en-GB" altLang="ja-JP" sz="1000" dirty="0" smtClean="0">
                <a:solidFill>
                  <a:schemeClr val="bg1"/>
                </a:solidFill>
                <a:ea typeface="ＭＳ Ｐゴシック" pitchFamily="50" charset="-128"/>
              </a:rPr>
              <a:t>preliminary</a:t>
            </a:r>
            <a:r>
              <a:rPr lang="en-GB" altLang="ja-JP" sz="1000" dirty="0">
                <a:solidFill>
                  <a:schemeClr val="bg1"/>
                </a:solidFill>
                <a:ea typeface="ＭＳ Ｐゴシック" pitchFamily="50" charset="-128"/>
              </a:rPr>
              <a:t/>
            </a:r>
            <a:br>
              <a:rPr lang="en-GB" altLang="ja-JP" sz="1000" dirty="0">
                <a:solidFill>
                  <a:schemeClr val="bg1"/>
                </a:solidFill>
                <a:ea typeface="ＭＳ Ｐゴシック" pitchFamily="50" charset="-128"/>
              </a:rPr>
            </a:br>
            <a:r>
              <a:rPr lang="en-GB" altLang="ja-JP" sz="1000" dirty="0" smtClean="0">
                <a:solidFill>
                  <a:schemeClr val="bg1"/>
                </a:solidFill>
                <a:ea typeface="ＭＳ Ｐゴシック" pitchFamily="50" charset="-128"/>
              </a:rPr>
              <a:t>situation assessment</a:t>
            </a:r>
            <a:endParaRPr lang="en-GB" altLang="ja-JP" sz="1000" dirty="0">
              <a:solidFill>
                <a:schemeClr val="bg1"/>
              </a:solidFill>
              <a:ea typeface="ＭＳ Ｐゴシック" pitchFamily="50" charset="-128"/>
            </a:endParaRPr>
          </a:p>
        </p:txBody>
      </p:sp>
      <p:sp>
        <p:nvSpPr>
          <p:cNvPr id="11" name="Rectangle 10"/>
          <p:cNvSpPr>
            <a:spLocks noChangeArrowheads="1"/>
          </p:cNvSpPr>
          <p:nvPr/>
        </p:nvSpPr>
        <p:spPr bwMode="auto">
          <a:xfrm>
            <a:off x="1574799" y="4700588"/>
            <a:ext cx="1537200" cy="350837"/>
          </a:xfrm>
          <a:prstGeom prst="rect">
            <a:avLst/>
          </a:prstGeom>
          <a:solidFill>
            <a:schemeClr val="accent5"/>
          </a:solidFill>
          <a:ln w="6350" algn="ctr">
            <a:noFill/>
            <a:miter lim="800000"/>
            <a:headEnd type="none" w="sm" len="sm"/>
            <a:tailEnd/>
          </a:ln>
        </p:spPr>
        <p:txBody>
          <a:bodyPr lIns="0" tIns="36000" rIns="0" bIns="36000" anchor="ctr"/>
          <a:lstStyle/>
          <a:p>
            <a:pPr algn="ctr">
              <a:spcBef>
                <a:spcPts val="0"/>
              </a:spcBef>
              <a:defRPr/>
            </a:pPr>
            <a:r>
              <a:rPr lang="en-GB" altLang="ja-JP" sz="1000" dirty="0">
                <a:solidFill>
                  <a:schemeClr val="bg2"/>
                </a:solidFill>
                <a:ea typeface="ＭＳ Ｐゴシック" pitchFamily="50" charset="-128"/>
              </a:rPr>
              <a:t>Develop and </a:t>
            </a:r>
            <a:r>
              <a:rPr lang="en-GB" altLang="ja-JP" sz="1000" dirty="0" smtClean="0">
                <a:solidFill>
                  <a:schemeClr val="bg2"/>
                </a:solidFill>
                <a:ea typeface="ＭＳ Ｐゴシック" pitchFamily="50" charset="-128"/>
              </a:rPr>
              <a:t>test</a:t>
            </a:r>
            <a:r>
              <a:rPr lang="en-GB" altLang="ja-JP" sz="1000" dirty="0">
                <a:solidFill>
                  <a:schemeClr val="bg2"/>
                </a:solidFill>
                <a:ea typeface="ＭＳ Ｐゴシック" pitchFamily="50" charset="-128"/>
              </a:rPr>
              <a:t/>
            </a:r>
            <a:br>
              <a:rPr lang="en-GB" altLang="ja-JP" sz="1000" dirty="0">
                <a:solidFill>
                  <a:schemeClr val="bg2"/>
                </a:solidFill>
                <a:ea typeface="ＭＳ Ｐゴシック" pitchFamily="50" charset="-128"/>
              </a:rPr>
            </a:br>
            <a:r>
              <a:rPr lang="en-GB" altLang="ja-JP" sz="1000" dirty="0" smtClean="0">
                <a:solidFill>
                  <a:schemeClr val="bg2"/>
                </a:solidFill>
                <a:ea typeface="ＭＳ Ｐゴシック" pitchFamily="50" charset="-128"/>
              </a:rPr>
              <a:t>strategic hypotheses</a:t>
            </a:r>
            <a:endParaRPr lang="en-GB" altLang="ja-JP" sz="1000" dirty="0">
              <a:solidFill>
                <a:schemeClr val="bg2"/>
              </a:solidFill>
              <a:ea typeface="ＭＳ Ｐゴシック" pitchFamily="50" charset="-128"/>
            </a:endParaRPr>
          </a:p>
        </p:txBody>
      </p:sp>
      <p:sp>
        <p:nvSpPr>
          <p:cNvPr id="12" name="Rectangle 11"/>
          <p:cNvSpPr>
            <a:spLocks noChangeArrowheads="1"/>
          </p:cNvSpPr>
          <p:nvPr/>
        </p:nvSpPr>
        <p:spPr bwMode="auto">
          <a:xfrm>
            <a:off x="3297089" y="2557463"/>
            <a:ext cx="1537200" cy="352425"/>
          </a:xfrm>
          <a:prstGeom prst="rect">
            <a:avLst/>
          </a:prstGeom>
          <a:solidFill>
            <a:schemeClr val="accent2"/>
          </a:solidFill>
          <a:ln w="6350" algn="ctr">
            <a:noFill/>
            <a:miter lim="800000"/>
            <a:headEnd type="none" w="sm" len="sm"/>
            <a:tailEnd/>
          </a:ln>
        </p:spPr>
        <p:txBody>
          <a:bodyPr lIns="0" tIns="36000" rIns="0" bIns="36000" anchor="ctr"/>
          <a:lstStyle/>
          <a:p>
            <a:pPr algn="ctr">
              <a:spcBef>
                <a:spcPts val="0"/>
              </a:spcBef>
              <a:defRPr/>
            </a:pPr>
            <a:r>
              <a:rPr lang="en-GB" altLang="ja-JP" sz="1000" dirty="0">
                <a:solidFill>
                  <a:schemeClr val="bg1"/>
                </a:solidFill>
                <a:ea typeface="ＭＳ Ｐゴシック" pitchFamily="50" charset="-128"/>
              </a:rPr>
              <a:t>Analyze </a:t>
            </a:r>
            <a:r>
              <a:rPr lang="en-GB" altLang="ja-JP" sz="1000" dirty="0" smtClean="0">
                <a:solidFill>
                  <a:schemeClr val="bg1"/>
                </a:solidFill>
                <a:ea typeface="ＭＳ Ｐゴシック" pitchFamily="50" charset="-128"/>
              </a:rPr>
              <a:t>market</a:t>
            </a:r>
            <a:r>
              <a:rPr lang="en-GB" altLang="ja-JP" sz="1000" dirty="0">
                <a:solidFill>
                  <a:schemeClr val="bg1"/>
                </a:solidFill>
                <a:ea typeface="ＭＳ Ｐゴシック" pitchFamily="50" charset="-128"/>
              </a:rPr>
              <a:t/>
            </a:r>
            <a:br>
              <a:rPr lang="en-GB" altLang="ja-JP" sz="1000" dirty="0">
                <a:solidFill>
                  <a:schemeClr val="bg1"/>
                </a:solidFill>
                <a:ea typeface="ＭＳ Ｐゴシック" pitchFamily="50" charset="-128"/>
              </a:rPr>
            </a:br>
            <a:r>
              <a:rPr lang="en-GB" altLang="ja-JP" sz="1000" dirty="0">
                <a:solidFill>
                  <a:schemeClr val="bg1"/>
                </a:solidFill>
                <a:ea typeface="ＭＳ Ｐゴシック" pitchFamily="50" charset="-128"/>
              </a:rPr>
              <a:t>and </a:t>
            </a:r>
            <a:r>
              <a:rPr lang="en-GB" altLang="ja-JP" sz="1000" dirty="0" smtClean="0">
                <a:solidFill>
                  <a:schemeClr val="bg1"/>
                </a:solidFill>
                <a:ea typeface="ＭＳ Ｐゴシック" pitchFamily="50" charset="-128"/>
              </a:rPr>
              <a:t>industry</a:t>
            </a:r>
            <a:endParaRPr lang="en-GB" altLang="ja-JP" sz="1000" dirty="0">
              <a:solidFill>
                <a:schemeClr val="bg1"/>
              </a:solidFill>
              <a:ea typeface="ＭＳ Ｐゴシック" pitchFamily="50" charset="-128"/>
            </a:endParaRPr>
          </a:p>
        </p:txBody>
      </p:sp>
      <p:sp>
        <p:nvSpPr>
          <p:cNvPr id="13" name="Rectangle 12"/>
          <p:cNvSpPr>
            <a:spLocks noChangeArrowheads="1"/>
          </p:cNvSpPr>
          <p:nvPr/>
        </p:nvSpPr>
        <p:spPr bwMode="auto">
          <a:xfrm>
            <a:off x="3286654" y="4256088"/>
            <a:ext cx="1537200" cy="360000"/>
          </a:xfrm>
          <a:prstGeom prst="rect">
            <a:avLst/>
          </a:prstGeom>
          <a:solidFill>
            <a:schemeClr val="accent4"/>
          </a:solidFill>
          <a:ln w="6350" algn="ctr">
            <a:noFill/>
            <a:miter lim="800000"/>
            <a:headEnd type="none" w="sm" len="sm"/>
            <a:tailEnd/>
          </a:ln>
        </p:spPr>
        <p:txBody>
          <a:bodyPr lIns="0" tIns="36000" rIns="0" bIns="36000" anchor="ctr"/>
          <a:lstStyle/>
          <a:p>
            <a:pPr algn="ctr">
              <a:spcBef>
                <a:spcPts val="0"/>
              </a:spcBef>
              <a:defRPr/>
            </a:pPr>
            <a:r>
              <a:rPr lang="en-GB" altLang="ja-JP" sz="1000" dirty="0">
                <a:solidFill>
                  <a:schemeClr val="bg1"/>
                </a:solidFill>
                <a:ea typeface="ＭＳ Ｐゴシック" pitchFamily="50" charset="-128"/>
              </a:rPr>
              <a:t>Conduct </a:t>
            </a:r>
            <a:r>
              <a:rPr lang="en-GB" altLang="ja-JP" sz="1000" dirty="0" smtClean="0">
                <a:solidFill>
                  <a:schemeClr val="bg1"/>
                </a:solidFill>
                <a:ea typeface="ＭＳ Ｐゴシック" pitchFamily="50" charset="-128"/>
              </a:rPr>
              <a:t>value</a:t>
            </a:r>
            <a:r>
              <a:rPr lang="en-GB" altLang="ja-JP" sz="1000" dirty="0">
                <a:solidFill>
                  <a:schemeClr val="bg1"/>
                </a:solidFill>
                <a:ea typeface="ＭＳ Ｐゴシック" pitchFamily="50" charset="-128"/>
              </a:rPr>
              <a:t>, </a:t>
            </a:r>
            <a:r>
              <a:rPr lang="en-GB" altLang="ja-JP" sz="1000" dirty="0" smtClean="0">
                <a:solidFill>
                  <a:schemeClr val="bg1"/>
                </a:solidFill>
                <a:ea typeface="ＭＳ Ｐゴシック" pitchFamily="50" charset="-128"/>
              </a:rPr>
              <a:t>profiling </a:t>
            </a:r>
            <a:r>
              <a:rPr lang="en-GB" altLang="ja-JP" sz="1000" dirty="0">
                <a:solidFill>
                  <a:schemeClr val="bg1"/>
                </a:solidFill>
                <a:ea typeface="ＭＳ Ｐゴシック" pitchFamily="50" charset="-128"/>
              </a:rPr>
              <a:t>and </a:t>
            </a:r>
            <a:r>
              <a:rPr lang="en-GB" altLang="ja-JP" sz="1000" dirty="0" smtClean="0">
                <a:solidFill>
                  <a:schemeClr val="bg1"/>
                </a:solidFill>
                <a:ea typeface="ＭＳ Ｐゴシック" pitchFamily="50" charset="-128"/>
              </a:rPr>
              <a:t>benchmarking</a:t>
            </a:r>
            <a:endParaRPr lang="en-GB" altLang="ja-JP" sz="1000" dirty="0">
              <a:solidFill>
                <a:schemeClr val="bg1"/>
              </a:solidFill>
              <a:ea typeface="ＭＳ Ｐゴシック" pitchFamily="50" charset="-128"/>
            </a:endParaRPr>
          </a:p>
        </p:txBody>
      </p:sp>
      <p:sp>
        <p:nvSpPr>
          <p:cNvPr id="14" name="Rectangle 13"/>
          <p:cNvSpPr>
            <a:spLocks noChangeArrowheads="1"/>
          </p:cNvSpPr>
          <p:nvPr/>
        </p:nvSpPr>
        <p:spPr bwMode="auto">
          <a:xfrm>
            <a:off x="3297089" y="2979738"/>
            <a:ext cx="1537200" cy="350837"/>
          </a:xfrm>
          <a:prstGeom prst="rect">
            <a:avLst/>
          </a:prstGeom>
          <a:solidFill>
            <a:schemeClr val="accent2"/>
          </a:solidFill>
          <a:ln w="6350" algn="ctr">
            <a:noFill/>
            <a:miter lim="800000"/>
            <a:headEnd type="none" w="sm" len="sm"/>
            <a:tailEnd/>
          </a:ln>
        </p:spPr>
        <p:txBody>
          <a:bodyPr lIns="0" tIns="36000" rIns="0" bIns="36000" anchor="ctr"/>
          <a:lstStyle/>
          <a:p>
            <a:pPr algn="ctr">
              <a:spcBef>
                <a:spcPts val="0"/>
              </a:spcBef>
              <a:defRPr/>
            </a:pPr>
            <a:r>
              <a:rPr lang="en-GB" altLang="ja-JP" sz="1000" dirty="0">
                <a:solidFill>
                  <a:schemeClr val="bg1"/>
                </a:solidFill>
                <a:ea typeface="ＭＳ Ｐゴシック" pitchFamily="50" charset="-128"/>
              </a:rPr>
              <a:t>Conduct </a:t>
            </a:r>
            <a:r>
              <a:rPr lang="en-GB" altLang="ja-JP" sz="1000" dirty="0" smtClean="0">
                <a:solidFill>
                  <a:schemeClr val="bg1"/>
                </a:solidFill>
                <a:ea typeface="ＭＳ Ｐゴシック" pitchFamily="50" charset="-128"/>
              </a:rPr>
              <a:t>customer</a:t>
            </a:r>
            <a:r>
              <a:rPr lang="en-GB" altLang="ja-JP" sz="1000" dirty="0">
                <a:solidFill>
                  <a:schemeClr val="bg1"/>
                </a:solidFill>
                <a:ea typeface="ＭＳ Ｐゴシック" pitchFamily="50" charset="-128"/>
              </a:rPr>
              <a:t/>
            </a:r>
            <a:br>
              <a:rPr lang="en-GB" altLang="ja-JP" sz="1000" dirty="0">
                <a:solidFill>
                  <a:schemeClr val="bg1"/>
                </a:solidFill>
                <a:ea typeface="ＭＳ Ｐゴシック" pitchFamily="50" charset="-128"/>
              </a:rPr>
            </a:br>
            <a:r>
              <a:rPr lang="en-GB" altLang="ja-JP" sz="1000" dirty="0" smtClean="0">
                <a:solidFill>
                  <a:schemeClr val="bg1"/>
                </a:solidFill>
                <a:ea typeface="ＭＳ Ｐゴシック" pitchFamily="50" charset="-128"/>
              </a:rPr>
              <a:t>analysis</a:t>
            </a:r>
            <a:endParaRPr lang="en-GB" altLang="ja-JP" sz="1000" dirty="0">
              <a:solidFill>
                <a:schemeClr val="bg1"/>
              </a:solidFill>
              <a:ea typeface="ＭＳ Ｐゴシック" pitchFamily="50" charset="-128"/>
            </a:endParaRPr>
          </a:p>
        </p:txBody>
      </p:sp>
      <p:sp>
        <p:nvSpPr>
          <p:cNvPr id="15" name="Rectangle 14"/>
          <p:cNvSpPr>
            <a:spLocks noChangeArrowheads="1"/>
          </p:cNvSpPr>
          <p:nvPr/>
        </p:nvSpPr>
        <p:spPr bwMode="auto">
          <a:xfrm>
            <a:off x="3297089" y="3402013"/>
            <a:ext cx="1537200" cy="350837"/>
          </a:xfrm>
          <a:prstGeom prst="rect">
            <a:avLst/>
          </a:prstGeom>
          <a:solidFill>
            <a:schemeClr val="accent2"/>
          </a:solidFill>
          <a:ln w="6350" algn="ctr">
            <a:noFill/>
            <a:miter lim="800000"/>
            <a:headEnd type="none" w="sm" len="sm"/>
            <a:tailEnd/>
          </a:ln>
        </p:spPr>
        <p:txBody>
          <a:bodyPr lIns="0" tIns="36000" rIns="0" bIns="36000" anchor="ctr"/>
          <a:lstStyle/>
          <a:p>
            <a:pPr algn="ctr">
              <a:spcBef>
                <a:spcPts val="0"/>
              </a:spcBef>
              <a:defRPr/>
            </a:pPr>
            <a:r>
              <a:rPr lang="en-GB" altLang="ja-JP" sz="1000" dirty="0">
                <a:solidFill>
                  <a:schemeClr val="bg1"/>
                </a:solidFill>
                <a:ea typeface="ＭＳ Ｐゴシック" pitchFamily="50" charset="-128"/>
              </a:rPr>
              <a:t>Analyze </a:t>
            </a:r>
            <a:r>
              <a:rPr lang="en-GB" altLang="ja-JP" sz="1000" dirty="0" smtClean="0">
                <a:solidFill>
                  <a:schemeClr val="bg1"/>
                </a:solidFill>
                <a:ea typeface="ＭＳ Ｐゴシック" pitchFamily="50" charset="-128"/>
              </a:rPr>
              <a:t>competition</a:t>
            </a:r>
            <a:r>
              <a:rPr lang="en-GB" altLang="ja-JP" sz="1000" dirty="0">
                <a:solidFill>
                  <a:schemeClr val="bg1"/>
                </a:solidFill>
                <a:ea typeface="ＭＳ Ｐゴシック" pitchFamily="50" charset="-128"/>
              </a:rPr>
              <a:t/>
            </a:r>
            <a:br>
              <a:rPr lang="en-GB" altLang="ja-JP" sz="1000" dirty="0">
                <a:solidFill>
                  <a:schemeClr val="bg1"/>
                </a:solidFill>
                <a:ea typeface="ＭＳ Ｐゴシック" pitchFamily="50" charset="-128"/>
              </a:rPr>
            </a:br>
            <a:r>
              <a:rPr lang="en-GB" altLang="ja-JP" sz="1000" dirty="0">
                <a:solidFill>
                  <a:schemeClr val="bg1"/>
                </a:solidFill>
                <a:ea typeface="ＭＳ Ｐゴシック" pitchFamily="50" charset="-128"/>
              </a:rPr>
              <a:t>and </a:t>
            </a:r>
            <a:r>
              <a:rPr lang="en-GB" altLang="ja-JP" sz="1000" dirty="0" smtClean="0">
                <a:solidFill>
                  <a:schemeClr val="bg1"/>
                </a:solidFill>
                <a:ea typeface="ＭＳ Ｐゴシック" pitchFamily="50" charset="-128"/>
              </a:rPr>
              <a:t>positioning</a:t>
            </a:r>
            <a:endParaRPr lang="en-GB" altLang="ja-JP" sz="1000" dirty="0">
              <a:solidFill>
                <a:schemeClr val="bg1"/>
              </a:solidFill>
              <a:ea typeface="ＭＳ Ｐゴシック" pitchFamily="50" charset="-128"/>
            </a:endParaRPr>
          </a:p>
        </p:txBody>
      </p:sp>
      <p:sp>
        <p:nvSpPr>
          <p:cNvPr id="16" name="Rectangle 15"/>
          <p:cNvSpPr>
            <a:spLocks noChangeArrowheads="1"/>
          </p:cNvSpPr>
          <p:nvPr/>
        </p:nvSpPr>
        <p:spPr bwMode="auto">
          <a:xfrm>
            <a:off x="3297089" y="4700588"/>
            <a:ext cx="1537200" cy="350837"/>
          </a:xfrm>
          <a:prstGeom prst="rect">
            <a:avLst/>
          </a:prstGeom>
          <a:solidFill>
            <a:schemeClr val="accent5"/>
          </a:solidFill>
          <a:ln w="6350" algn="ctr">
            <a:noFill/>
            <a:miter lim="800000"/>
            <a:headEnd type="none" w="sm" len="sm"/>
            <a:tailEnd/>
          </a:ln>
        </p:spPr>
        <p:txBody>
          <a:bodyPr lIns="0" tIns="36000" rIns="0" bIns="36000" anchor="ctr"/>
          <a:lstStyle/>
          <a:p>
            <a:pPr algn="ctr">
              <a:spcBef>
                <a:spcPts val="0"/>
              </a:spcBef>
              <a:defRPr/>
            </a:pPr>
            <a:r>
              <a:rPr lang="en-GB" altLang="ja-JP" sz="1000" dirty="0">
                <a:solidFill>
                  <a:schemeClr val="bg2"/>
                </a:solidFill>
                <a:ea typeface="ＭＳ Ｐゴシック" pitchFamily="50" charset="-128"/>
              </a:rPr>
              <a:t>Build </a:t>
            </a:r>
            <a:r>
              <a:rPr lang="en-GB" altLang="ja-JP" sz="1000" dirty="0" smtClean="0">
                <a:solidFill>
                  <a:schemeClr val="bg2"/>
                </a:solidFill>
                <a:ea typeface="ＭＳ Ｐゴシック" pitchFamily="50" charset="-128"/>
              </a:rPr>
              <a:t>strategic</a:t>
            </a:r>
            <a:r>
              <a:rPr lang="en-GB" altLang="ja-JP" sz="1000" dirty="0">
                <a:solidFill>
                  <a:schemeClr val="bg2"/>
                </a:solidFill>
                <a:ea typeface="ＭＳ Ｐゴシック" pitchFamily="50" charset="-128"/>
              </a:rPr>
              <a:t/>
            </a:r>
            <a:br>
              <a:rPr lang="en-GB" altLang="ja-JP" sz="1000" dirty="0">
                <a:solidFill>
                  <a:schemeClr val="bg2"/>
                </a:solidFill>
                <a:ea typeface="ＭＳ Ｐゴシック" pitchFamily="50" charset="-128"/>
              </a:rPr>
            </a:br>
            <a:r>
              <a:rPr lang="en-GB" altLang="ja-JP" sz="1000" dirty="0" smtClean="0">
                <a:solidFill>
                  <a:schemeClr val="bg2"/>
                </a:solidFill>
                <a:ea typeface="ＭＳ Ｐゴシック" pitchFamily="50" charset="-128"/>
              </a:rPr>
              <a:t>synthesis</a:t>
            </a:r>
            <a:endParaRPr lang="en-GB" altLang="ja-JP" sz="1000" dirty="0">
              <a:solidFill>
                <a:schemeClr val="bg2"/>
              </a:solidFill>
              <a:ea typeface="ＭＳ Ｐゴシック" pitchFamily="50" charset="-128"/>
            </a:endParaRPr>
          </a:p>
        </p:txBody>
      </p:sp>
      <p:sp>
        <p:nvSpPr>
          <p:cNvPr id="17" name="Rectangle 16"/>
          <p:cNvSpPr>
            <a:spLocks noChangeArrowheads="1"/>
          </p:cNvSpPr>
          <p:nvPr/>
        </p:nvSpPr>
        <p:spPr bwMode="auto">
          <a:xfrm>
            <a:off x="4998508" y="4700588"/>
            <a:ext cx="1537200" cy="350837"/>
          </a:xfrm>
          <a:prstGeom prst="rect">
            <a:avLst/>
          </a:prstGeom>
          <a:solidFill>
            <a:schemeClr val="accent5"/>
          </a:solidFill>
          <a:ln w="6350" algn="ctr">
            <a:noFill/>
            <a:miter lim="800000"/>
            <a:headEnd type="none" w="sm" len="sm"/>
            <a:tailEnd/>
          </a:ln>
        </p:spPr>
        <p:txBody>
          <a:bodyPr lIns="0" tIns="36000" rIns="0" bIns="36000" anchor="ctr"/>
          <a:lstStyle/>
          <a:p>
            <a:pPr algn="ctr">
              <a:spcBef>
                <a:spcPts val="0"/>
              </a:spcBef>
              <a:defRPr/>
            </a:pPr>
            <a:r>
              <a:rPr lang="en-GB" altLang="ja-JP" sz="1000" dirty="0">
                <a:solidFill>
                  <a:schemeClr val="bg2"/>
                </a:solidFill>
                <a:ea typeface="ＭＳ Ｐゴシック" pitchFamily="50" charset="-128"/>
              </a:rPr>
              <a:t>Evaluate </a:t>
            </a:r>
            <a:r>
              <a:rPr lang="en-GB" altLang="ja-JP" sz="1000" dirty="0" smtClean="0">
                <a:solidFill>
                  <a:schemeClr val="bg2"/>
                </a:solidFill>
                <a:ea typeface="ＭＳ Ｐゴシック" pitchFamily="50" charset="-128"/>
              </a:rPr>
              <a:t>strategic</a:t>
            </a:r>
            <a:r>
              <a:rPr lang="en-GB" altLang="ja-JP" sz="1000" dirty="0">
                <a:solidFill>
                  <a:schemeClr val="bg2"/>
                </a:solidFill>
                <a:ea typeface="ＭＳ Ｐゴシック" pitchFamily="50" charset="-128"/>
              </a:rPr>
              <a:t/>
            </a:r>
            <a:br>
              <a:rPr lang="en-GB" altLang="ja-JP" sz="1000" dirty="0">
                <a:solidFill>
                  <a:schemeClr val="bg2"/>
                </a:solidFill>
                <a:ea typeface="ＭＳ Ｐゴシック" pitchFamily="50" charset="-128"/>
              </a:rPr>
            </a:br>
            <a:r>
              <a:rPr lang="en-GB" altLang="ja-JP" sz="1000" dirty="0">
                <a:solidFill>
                  <a:schemeClr val="bg2"/>
                </a:solidFill>
                <a:ea typeface="ＭＳ Ｐゴシック" pitchFamily="50" charset="-128"/>
              </a:rPr>
              <a:t> </a:t>
            </a:r>
            <a:r>
              <a:rPr lang="en-GB" altLang="ja-JP" sz="1000" dirty="0" smtClean="0">
                <a:solidFill>
                  <a:schemeClr val="bg2"/>
                </a:solidFill>
                <a:ea typeface="ＭＳ Ｐゴシック" pitchFamily="50" charset="-128"/>
              </a:rPr>
              <a:t>options</a:t>
            </a:r>
            <a:endParaRPr lang="en-GB" altLang="ja-JP" sz="1000" dirty="0">
              <a:solidFill>
                <a:schemeClr val="bg2"/>
              </a:solidFill>
              <a:ea typeface="ＭＳ Ｐゴシック" pitchFamily="50" charset="-128"/>
            </a:endParaRPr>
          </a:p>
        </p:txBody>
      </p:sp>
      <p:sp>
        <p:nvSpPr>
          <p:cNvPr id="18" name="Rectangle 17"/>
          <p:cNvSpPr>
            <a:spLocks noChangeArrowheads="1"/>
          </p:cNvSpPr>
          <p:nvPr/>
        </p:nvSpPr>
        <p:spPr bwMode="auto">
          <a:xfrm>
            <a:off x="4998508" y="5119688"/>
            <a:ext cx="1537200" cy="350837"/>
          </a:xfrm>
          <a:prstGeom prst="rect">
            <a:avLst/>
          </a:prstGeom>
          <a:solidFill>
            <a:schemeClr val="accent5"/>
          </a:solidFill>
          <a:ln w="6350" algn="ctr">
            <a:noFill/>
            <a:miter lim="800000"/>
            <a:headEnd type="none" w="sm" len="sm"/>
            <a:tailEnd/>
          </a:ln>
        </p:spPr>
        <p:txBody>
          <a:bodyPr lIns="0" tIns="36000" rIns="0" bIns="36000" anchor="ctr"/>
          <a:lstStyle/>
          <a:p>
            <a:pPr algn="ctr">
              <a:spcBef>
                <a:spcPts val="0"/>
              </a:spcBef>
              <a:defRPr/>
            </a:pPr>
            <a:r>
              <a:rPr lang="en-GB" altLang="ja-JP" sz="1000" dirty="0">
                <a:solidFill>
                  <a:schemeClr val="bg2"/>
                </a:solidFill>
                <a:ea typeface="ＭＳ Ｐゴシック" pitchFamily="50" charset="-128"/>
              </a:rPr>
              <a:t>Develop </a:t>
            </a:r>
            <a:r>
              <a:rPr lang="en-GB" altLang="ja-JP" sz="1000" dirty="0" smtClean="0">
                <a:solidFill>
                  <a:schemeClr val="bg2"/>
                </a:solidFill>
                <a:ea typeface="ＭＳ Ｐゴシック" pitchFamily="50" charset="-128"/>
              </a:rPr>
              <a:t>strategic</a:t>
            </a:r>
            <a:r>
              <a:rPr lang="en-GB" altLang="ja-JP" sz="1000" dirty="0">
                <a:solidFill>
                  <a:schemeClr val="bg2"/>
                </a:solidFill>
                <a:ea typeface="ＭＳ Ｐゴシック" pitchFamily="50" charset="-128"/>
              </a:rPr>
              <a:t/>
            </a:r>
            <a:br>
              <a:rPr lang="en-GB" altLang="ja-JP" sz="1000" dirty="0">
                <a:solidFill>
                  <a:schemeClr val="bg2"/>
                </a:solidFill>
                <a:ea typeface="ＭＳ Ｐゴシック" pitchFamily="50" charset="-128"/>
              </a:rPr>
            </a:br>
            <a:r>
              <a:rPr lang="en-GB" altLang="ja-JP" sz="1000" dirty="0" smtClean="0">
                <a:solidFill>
                  <a:schemeClr val="bg2"/>
                </a:solidFill>
                <a:ea typeface="ＭＳ Ｐゴシック" pitchFamily="50" charset="-128"/>
              </a:rPr>
              <a:t>recommendations</a:t>
            </a:r>
            <a:endParaRPr lang="en-GB" altLang="ja-JP" sz="1000" dirty="0">
              <a:solidFill>
                <a:schemeClr val="bg2"/>
              </a:solidFill>
              <a:ea typeface="ＭＳ Ｐゴシック" pitchFamily="50" charset="-128"/>
            </a:endParaRPr>
          </a:p>
        </p:txBody>
      </p:sp>
      <p:sp>
        <p:nvSpPr>
          <p:cNvPr id="19" name="Rectangle 18"/>
          <p:cNvSpPr>
            <a:spLocks noChangeArrowheads="1"/>
          </p:cNvSpPr>
          <p:nvPr/>
        </p:nvSpPr>
        <p:spPr bwMode="auto">
          <a:xfrm>
            <a:off x="6710363" y="2055333"/>
            <a:ext cx="1537200" cy="432000"/>
          </a:xfrm>
          <a:prstGeom prst="rect">
            <a:avLst/>
          </a:prstGeom>
          <a:solidFill>
            <a:schemeClr val="accent1"/>
          </a:solidFill>
          <a:ln w="6350" algn="ctr">
            <a:noFill/>
            <a:miter lim="800000"/>
            <a:headEnd type="none" w="sm" len="sm"/>
            <a:tailEnd/>
          </a:ln>
        </p:spPr>
        <p:txBody>
          <a:bodyPr lIns="0" tIns="36000" rIns="0" bIns="36000" anchor="ctr"/>
          <a:lstStyle/>
          <a:p>
            <a:pPr algn="ctr">
              <a:spcBef>
                <a:spcPts val="0"/>
              </a:spcBef>
              <a:defRPr/>
            </a:pPr>
            <a:r>
              <a:rPr lang="en-GB" altLang="ja-JP" sz="1000" dirty="0">
                <a:solidFill>
                  <a:schemeClr val="bg1"/>
                </a:solidFill>
                <a:ea typeface="ＭＳ Ｐゴシック" pitchFamily="50" charset="-128"/>
              </a:rPr>
              <a:t>Develop </a:t>
            </a:r>
            <a:r>
              <a:rPr lang="en-GB" altLang="ja-JP" sz="1000" dirty="0" smtClean="0">
                <a:solidFill>
                  <a:schemeClr val="bg1"/>
                </a:solidFill>
                <a:ea typeface="ＭＳ Ｐゴシック" pitchFamily="50" charset="-128"/>
              </a:rPr>
              <a:t>preliminary</a:t>
            </a:r>
            <a:r>
              <a:rPr lang="en-GB" altLang="ja-JP" sz="1000" dirty="0">
                <a:solidFill>
                  <a:schemeClr val="bg1"/>
                </a:solidFill>
                <a:ea typeface="ＭＳ Ｐゴシック" pitchFamily="50" charset="-128"/>
              </a:rPr>
              <a:t/>
            </a:r>
            <a:br>
              <a:rPr lang="en-GB" altLang="ja-JP" sz="1000" dirty="0">
                <a:solidFill>
                  <a:schemeClr val="bg1"/>
                </a:solidFill>
                <a:ea typeface="ＭＳ Ｐゴシック" pitchFamily="50" charset="-128"/>
              </a:rPr>
            </a:br>
            <a:r>
              <a:rPr lang="en-GB" altLang="ja-JP" sz="1000" dirty="0" smtClean="0">
                <a:solidFill>
                  <a:schemeClr val="bg1"/>
                </a:solidFill>
                <a:ea typeface="ＭＳ Ｐゴシック" pitchFamily="50" charset="-128"/>
              </a:rPr>
              <a:t>action plan</a:t>
            </a:r>
            <a:endParaRPr lang="en-GB" altLang="ja-JP" sz="1000" dirty="0">
              <a:solidFill>
                <a:schemeClr val="bg1"/>
              </a:solidFill>
              <a:ea typeface="ＭＳ Ｐゴシック" pitchFamily="50" charset="-128"/>
            </a:endParaRPr>
          </a:p>
        </p:txBody>
      </p:sp>
      <p:sp>
        <p:nvSpPr>
          <p:cNvPr id="20" name="Rectangle 19"/>
          <p:cNvSpPr>
            <a:spLocks noChangeArrowheads="1"/>
          </p:cNvSpPr>
          <p:nvPr/>
        </p:nvSpPr>
        <p:spPr bwMode="auto">
          <a:xfrm>
            <a:off x="3297089" y="3824288"/>
            <a:ext cx="1537200" cy="350837"/>
          </a:xfrm>
          <a:prstGeom prst="rect">
            <a:avLst/>
          </a:prstGeom>
          <a:solidFill>
            <a:schemeClr val="accent2"/>
          </a:solidFill>
          <a:ln w="6350" algn="ctr">
            <a:noFill/>
            <a:miter lim="800000"/>
            <a:headEnd type="none" w="sm" len="sm"/>
            <a:tailEnd/>
          </a:ln>
        </p:spPr>
        <p:txBody>
          <a:bodyPr lIns="0" tIns="36000" rIns="0" bIns="36000" anchor="ctr"/>
          <a:lstStyle/>
          <a:p>
            <a:pPr algn="ctr">
              <a:spcBef>
                <a:spcPts val="0"/>
              </a:spcBef>
              <a:defRPr/>
            </a:pPr>
            <a:r>
              <a:rPr lang="en-GB" altLang="ja-JP" sz="1000" dirty="0">
                <a:solidFill>
                  <a:schemeClr val="bg1"/>
                </a:solidFill>
                <a:ea typeface="ＭＳ Ｐゴシック" pitchFamily="50" charset="-128"/>
              </a:rPr>
              <a:t>Analyze </a:t>
            </a:r>
            <a:r>
              <a:rPr lang="en-GB" altLang="ja-JP" sz="1000" dirty="0" smtClean="0">
                <a:solidFill>
                  <a:schemeClr val="bg1"/>
                </a:solidFill>
                <a:ea typeface="ＭＳ Ｐゴシック" pitchFamily="50" charset="-128"/>
              </a:rPr>
              <a:t>internal operations</a:t>
            </a:r>
            <a:endParaRPr lang="en-GB" altLang="ja-JP" sz="1000" dirty="0">
              <a:solidFill>
                <a:schemeClr val="bg1"/>
              </a:solidFill>
              <a:ea typeface="ＭＳ Ｐゴシック" pitchFamily="50" charset="-128"/>
            </a:endParaRPr>
          </a:p>
        </p:txBody>
      </p:sp>
      <p:sp>
        <p:nvSpPr>
          <p:cNvPr id="763924" name="Text Box 20"/>
          <p:cNvSpPr txBox="1">
            <a:spLocks noChangeArrowheads="1"/>
          </p:cNvSpPr>
          <p:nvPr/>
        </p:nvSpPr>
        <p:spPr bwMode="auto">
          <a:xfrm>
            <a:off x="440437" y="2060575"/>
            <a:ext cx="959215" cy="463846"/>
          </a:xfrm>
          <a:prstGeom prst="rect">
            <a:avLst/>
          </a:prstGeom>
          <a:noFill/>
          <a:ln w="9525" algn="ctr">
            <a:noFill/>
            <a:miter lim="800000"/>
            <a:headEnd/>
            <a:tailEnd/>
          </a:ln>
        </p:spPr>
        <p:txBody>
          <a:bodyPr wrap="none" lIns="90000" tIns="46800" rIns="90000" bIns="46800">
            <a:spAutoFit/>
          </a:bodyPr>
          <a:lstStyle/>
          <a:p>
            <a:pPr algn="l">
              <a:spcBef>
                <a:spcPts val="0"/>
              </a:spcBef>
            </a:pPr>
            <a:r>
              <a:rPr lang="en-GB" altLang="ja-JP" sz="1200" dirty="0">
                <a:solidFill>
                  <a:schemeClr val="tx2"/>
                </a:solidFill>
                <a:ea typeface="ＭＳ Ｐゴシック" charset="-128"/>
              </a:rPr>
              <a:t>Strategic</a:t>
            </a:r>
          </a:p>
          <a:p>
            <a:pPr algn="l">
              <a:spcBef>
                <a:spcPts val="0"/>
              </a:spcBef>
            </a:pPr>
            <a:r>
              <a:rPr lang="en-GB" altLang="ja-JP" sz="1200" dirty="0" smtClean="0">
                <a:solidFill>
                  <a:schemeClr val="tx2"/>
                </a:solidFill>
                <a:ea typeface="ＭＳ Ｐゴシック" charset="-128"/>
              </a:rPr>
              <a:t>objectives</a:t>
            </a:r>
            <a:endParaRPr lang="en-GB" altLang="ja-JP" sz="1200" dirty="0">
              <a:solidFill>
                <a:schemeClr val="tx2"/>
              </a:solidFill>
              <a:ea typeface="ＭＳ Ｐゴシック" charset="-128"/>
            </a:endParaRPr>
          </a:p>
        </p:txBody>
      </p:sp>
      <p:sp>
        <p:nvSpPr>
          <p:cNvPr id="763925" name="Text Box 21"/>
          <p:cNvSpPr txBox="1">
            <a:spLocks noChangeArrowheads="1"/>
          </p:cNvSpPr>
          <p:nvPr/>
        </p:nvSpPr>
        <p:spPr bwMode="auto">
          <a:xfrm>
            <a:off x="440437" y="2533650"/>
            <a:ext cx="838989" cy="463846"/>
          </a:xfrm>
          <a:prstGeom prst="rect">
            <a:avLst/>
          </a:prstGeom>
          <a:noFill/>
          <a:ln w="9525" algn="ctr">
            <a:noFill/>
            <a:miter lim="800000"/>
            <a:headEnd/>
            <a:tailEnd/>
          </a:ln>
        </p:spPr>
        <p:txBody>
          <a:bodyPr wrap="none" lIns="90000" tIns="46800" rIns="90000" bIns="46800">
            <a:spAutoFit/>
          </a:bodyPr>
          <a:lstStyle/>
          <a:p>
            <a:pPr algn="l">
              <a:spcBef>
                <a:spcPts val="0"/>
              </a:spcBef>
            </a:pPr>
            <a:r>
              <a:rPr lang="en-GB" altLang="ja-JP" sz="1200" dirty="0">
                <a:solidFill>
                  <a:schemeClr val="tx2"/>
                </a:solidFill>
                <a:ea typeface="ＭＳ Ｐゴシック" charset="-128"/>
              </a:rPr>
              <a:t>Strategic</a:t>
            </a:r>
          </a:p>
          <a:p>
            <a:pPr algn="l">
              <a:spcBef>
                <a:spcPts val="0"/>
              </a:spcBef>
            </a:pPr>
            <a:r>
              <a:rPr lang="en-GB" altLang="ja-JP" sz="1200" dirty="0" smtClean="0">
                <a:solidFill>
                  <a:schemeClr val="tx2"/>
                </a:solidFill>
                <a:ea typeface="ＭＳ Ｐゴシック" charset="-128"/>
              </a:rPr>
              <a:t>analysis</a:t>
            </a:r>
            <a:endParaRPr lang="en-GB" altLang="ja-JP" sz="1200" dirty="0">
              <a:solidFill>
                <a:schemeClr val="tx2"/>
              </a:solidFill>
              <a:ea typeface="ＭＳ Ｐゴシック" charset="-128"/>
            </a:endParaRPr>
          </a:p>
        </p:txBody>
      </p:sp>
      <p:sp>
        <p:nvSpPr>
          <p:cNvPr id="763926" name="Text Box 22"/>
          <p:cNvSpPr txBox="1">
            <a:spLocks noChangeArrowheads="1"/>
          </p:cNvSpPr>
          <p:nvPr/>
        </p:nvSpPr>
        <p:spPr bwMode="auto">
          <a:xfrm>
            <a:off x="440437" y="4651375"/>
            <a:ext cx="1146766" cy="463846"/>
          </a:xfrm>
          <a:prstGeom prst="rect">
            <a:avLst/>
          </a:prstGeom>
          <a:noFill/>
          <a:ln w="9525" algn="ctr">
            <a:noFill/>
            <a:miter lim="800000"/>
            <a:headEnd/>
            <a:tailEnd/>
          </a:ln>
        </p:spPr>
        <p:txBody>
          <a:bodyPr wrap="none" lIns="90000" tIns="46800" rIns="90000" bIns="46800">
            <a:spAutoFit/>
          </a:bodyPr>
          <a:lstStyle/>
          <a:p>
            <a:pPr algn="l">
              <a:spcBef>
                <a:spcPts val="0"/>
              </a:spcBef>
            </a:pPr>
            <a:r>
              <a:rPr lang="en-GB" altLang="ja-JP" sz="1200" dirty="0">
                <a:solidFill>
                  <a:schemeClr val="tx2"/>
                </a:solidFill>
                <a:ea typeface="ＭＳ Ｐゴシック" charset="-128"/>
              </a:rPr>
              <a:t>Solution</a:t>
            </a:r>
          </a:p>
          <a:p>
            <a:pPr algn="l">
              <a:spcBef>
                <a:spcPts val="0"/>
              </a:spcBef>
            </a:pPr>
            <a:r>
              <a:rPr lang="en-GB" altLang="ja-JP" sz="1200" dirty="0" smtClean="0">
                <a:solidFill>
                  <a:schemeClr val="tx2"/>
                </a:solidFill>
                <a:ea typeface="ＭＳ Ｐゴシック" charset="-128"/>
              </a:rPr>
              <a:t>development</a:t>
            </a:r>
            <a:endParaRPr lang="en-GB" altLang="ja-JP" sz="1200" dirty="0">
              <a:solidFill>
                <a:schemeClr val="tx2"/>
              </a:solidFill>
              <a:ea typeface="ＭＳ Ｐゴシック" charset="-128"/>
            </a:endParaRPr>
          </a:p>
        </p:txBody>
      </p:sp>
      <p:sp>
        <p:nvSpPr>
          <p:cNvPr id="24" name="Line 23"/>
          <p:cNvSpPr>
            <a:spLocks noChangeShapeType="1"/>
          </p:cNvSpPr>
          <p:nvPr/>
        </p:nvSpPr>
        <p:spPr bwMode="auto">
          <a:xfrm>
            <a:off x="501650" y="2522086"/>
            <a:ext cx="7807325" cy="0"/>
          </a:xfrm>
          <a:prstGeom prst="line">
            <a:avLst/>
          </a:prstGeom>
          <a:noFill/>
          <a:ln w="12700">
            <a:solidFill>
              <a:schemeClr val="accent1"/>
            </a:solidFill>
            <a:prstDash val="dash"/>
            <a:round/>
            <a:headEnd/>
            <a:tailEnd/>
          </a:ln>
        </p:spPr>
        <p:txBody>
          <a:bodyPr lIns="90000" tIns="46800" rIns="90000" bIns="46800" anchor="ctr"/>
          <a:lstStyle/>
          <a:p>
            <a:pPr>
              <a:defRPr/>
            </a:pPr>
            <a:endParaRPr lang="en-GB" sz="1200"/>
          </a:p>
        </p:txBody>
      </p:sp>
      <p:sp>
        <p:nvSpPr>
          <p:cNvPr id="25" name="Line 24"/>
          <p:cNvSpPr>
            <a:spLocks noChangeShapeType="1"/>
          </p:cNvSpPr>
          <p:nvPr/>
        </p:nvSpPr>
        <p:spPr bwMode="auto">
          <a:xfrm>
            <a:off x="501650" y="4645025"/>
            <a:ext cx="7807325" cy="0"/>
          </a:xfrm>
          <a:prstGeom prst="line">
            <a:avLst/>
          </a:prstGeom>
          <a:noFill/>
          <a:ln w="12700">
            <a:solidFill>
              <a:schemeClr val="accent1"/>
            </a:solidFill>
            <a:prstDash val="dash"/>
            <a:round/>
            <a:headEnd/>
            <a:tailEnd/>
          </a:ln>
        </p:spPr>
        <p:txBody>
          <a:bodyPr lIns="90000" tIns="46800" rIns="90000" bIns="46800" anchor="ctr"/>
          <a:lstStyle/>
          <a:p>
            <a:pPr>
              <a:defRPr/>
            </a:pPr>
            <a:endParaRPr lang="en-GB" sz="1200"/>
          </a:p>
        </p:txBody>
      </p:sp>
      <p:sp>
        <p:nvSpPr>
          <p:cNvPr id="26" name="Line 25"/>
          <p:cNvSpPr>
            <a:spLocks noChangeShapeType="1"/>
          </p:cNvSpPr>
          <p:nvPr/>
        </p:nvSpPr>
        <p:spPr bwMode="auto">
          <a:xfrm>
            <a:off x="501650" y="4216400"/>
            <a:ext cx="7807325" cy="0"/>
          </a:xfrm>
          <a:prstGeom prst="line">
            <a:avLst/>
          </a:prstGeom>
          <a:noFill/>
          <a:ln w="12700">
            <a:solidFill>
              <a:schemeClr val="accent1"/>
            </a:solidFill>
            <a:prstDash val="dash"/>
            <a:round/>
            <a:headEnd/>
            <a:tailEnd/>
          </a:ln>
        </p:spPr>
        <p:txBody>
          <a:bodyPr lIns="90000" tIns="46800" rIns="90000" bIns="46800" anchor="ctr"/>
          <a:lstStyle/>
          <a:p>
            <a:pPr>
              <a:defRPr/>
            </a:pPr>
            <a:endParaRPr lang="en-GB" sz="1200"/>
          </a:p>
        </p:txBody>
      </p:sp>
      <p:sp>
        <p:nvSpPr>
          <p:cNvPr id="27" name="Rectangle 26"/>
          <p:cNvSpPr>
            <a:spLocks noChangeArrowheads="1"/>
          </p:cNvSpPr>
          <p:nvPr/>
        </p:nvSpPr>
        <p:spPr bwMode="auto">
          <a:xfrm>
            <a:off x="4998508" y="4256088"/>
            <a:ext cx="1537200" cy="360000"/>
          </a:xfrm>
          <a:prstGeom prst="rect">
            <a:avLst/>
          </a:prstGeom>
          <a:solidFill>
            <a:schemeClr val="accent4"/>
          </a:solidFill>
          <a:ln w="6350" algn="ctr">
            <a:noFill/>
            <a:miter lim="800000"/>
            <a:headEnd type="none" w="sm" len="sm"/>
            <a:tailEnd/>
          </a:ln>
        </p:spPr>
        <p:txBody>
          <a:bodyPr lIns="0" tIns="36000" rIns="0" bIns="36000" anchor="ctr"/>
          <a:lstStyle/>
          <a:p>
            <a:pPr algn="ctr">
              <a:spcBef>
                <a:spcPts val="0"/>
              </a:spcBef>
              <a:defRPr/>
            </a:pPr>
            <a:r>
              <a:rPr lang="en-GB" altLang="ja-JP" sz="1000" dirty="0">
                <a:solidFill>
                  <a:schemeClr val="bg1"/>
                </a:solidFill>
                <a:ea typeface="ＭＳ Ｐゴシック" pitchFamily="50" charset="-128"/>
              </a:rPr>
              <a:t>Conduct </a:t>
            </a:r>
            <a:r>
              <a:rPr lang="en-GB" altLang="ja-JP" sz="1000" dirty="0" smtClean="0">
                <a:solidFill>
                  <a:schemeClr val="bg1"/>
                </a:solidFill>
                <a:ea typeface="ＭＳ Ｐゴシック" pitchFamily="50" charset="-128"/>
              </a:rPr>
              <a:t>financial modelling</a:t>
            </a:r>
            <a:endParaRPr lang="en-GB" altLang="ja-JP" sz="1000" dirty="0">
              <a:solidFill>
                <a:schemeClr val="bg1"/>
              </a:solidFill>
              <a:ea typeface="ＭＳ Ｐゴシック" pitchFamily="50" charset="-128"/>
            </a:endParaRPr>
          </a:p>
        </p:txBody>
      </p:sp>
      <p:sp>
        <p:nvSpPr>
          <p:cNvPr id="763931" name="Text Box 27"/>
          <p:cNvSpPr txBox="1">
            <a:spLocks noChangeArrowheads="1"/>
          </p:cNvSpPr>
          <p:nvPr/>
        </p:nvSpPr>
        <p:spPr bwMode="auto">
          <a:xfrm>
            <a:off x="440437" y="4198938"/>
            <a:ext cx="850211" cy="463846"/>
          </a:xfrm>
          <a:prstGeom prst="rect">
            <a:avLst/>
          </a:prstGeom>
          <a:noFill/>
          <a:ln w="9525" algn="ctr">
            <a:noFill/>
            <a:miter lim="800000"/>
            <a:headEnd/>
            <a:tailEnd/>
          </a:ln>
        </p:spPr>
        <p:txBody>
          <a:bodyPr wrap="none" lIns="90000" tIns="46800" rIns="90000" bIns="46800">
            <a:spAutoFit/>
          </a:bodyPr>
          <a:lstStyle/>
          <a:p>
            <a:pPr algn="l">
              <a:spcBef>
                <a:spcPts val="0"/>
              </a:spcBef>
            </a:pPr>
            <a:r>
              <a:rPr lang="en-GB" altLang="ja-JP" sz="1200" dirty="0">
                <a:solidFill>
                  <a:schemeClr val="tx2"/>
                </a:solidFill>
                <a:ea typeface="ＭＳ Ｐゴシック" charset="-128"/>
              </a:rPr>
              <a:t>Financial</a:t>
            </a:r>
          </a:p>
          <a:p>
            <a:pPr algn="l">
              <a:spcBef>
                <a:spcPts val="0"/>
              </a:spcBef>
            </a:pPr>
            <a:r>
              <a:rPr lang="en-GB" altLang="ja-JP" sz="1200" dirty="0" smtClean="0">
                <a:solidFill>
                  <a:schemeClr val="tx2"/>
                </a:solidFill>
                <a:ea typeface="ＭＳ Ｐゴシック" charset="-128"/>
              </a:rPr>
              <a:t>analysis</a:t>
            </a:r>
            <a:endParaRPr lang="en-GB" altLang="ja-JP" sz="1200" dirty="0">
              <a:solidFill>
                <a:schemeClr val="tx2"/>
              </a:solidFill>
              <a:ea typeface="ＭＳ Ｐゴシック" charset="-128"/>
            </a:endParaRPr>
          </a:p>
        </p:txBody>
      </p:sp>
      <p:sp>
        <p:nvSpPr>
          <p:cNvPr id="29" name="Line 28"/>
          <p:cNvSpPr>
            <a:spLocks noChangeShapeType="1"/>
          </p:cNvSpPr>
          <p:nvPr/>
        </p:nvSpPr>
        <p:spPr bwMode="auto">
          <a:xfrm>
            <a:off x="501650" y="5537200"/>
            <a:ext cx="7807325" cy="0"/>
          </a:xfrm>
          <a:prstGeom prst="line">
            <a:avLst/>
          </a:prstGeom>
          <a:noFill/>
          <a:ln w="12700">
            <a:solidFill>
              <a:schemeClr val="accent1"/>
            </a:solidFill>
            <a:prstDash val="dash"/>
            <a:round/>
            <a:headEnd/>
            <a:tailEnd/>
          </a:ln>
        </p:spPr>
        <p:txBody>
          <a:bodyPr lIns="90000" tIns="46800" rIns="90000" bIns="46800" anchor="ctr"/>
          <a:lstStyle/>
          <a:p>
            <a:pPr>
              <a:defRPr/>
            </a:pPr>
            <a:endParaRPr lang="en-GB" sz="1200"/>
          </a:p>
        </p:txBody>
      </p:sp>
      <p:sp>
        <p:nvSpPr>
          <p:cNvPr id="30" name="Rectangle 29"/>
          <p:cNvSpPr>
            <a:spLocks noChangeArrowheads="1"/>
          </p:cNvSpPr>
          <p:nvPr/>
        </p:nvSpPr>
        <p:spPr bwMode="auto">
          <a:xfrm>
            <a:off x="1574800" y="5595938"/>
            <a:ext cx="6638925" cy="350837"/>
          </a:xfrm>
          <a:prstGeom prst="rect">
            <a:avLst/>
          </a:prstGeom>
          <a:solidFill>
            <a:schemeClr val="accent6"/>
          </a:solidFill>
          <a:ln w="6350" algn="ctr">
            <a:noFill/>
            <a:miter lim="800000"/>
            <a:headEnd type="none" w="sm" len="sm"/>
            <a:tailEnd/>
          </a:ln>
        </p:spPr>
        <p:txBody>
          <a:bodyPr lIns="0" tIns="36000" rIns="0" bIns="36000" anchor="ctr"/>
          <a:lstStyle/>
          <a:p>
            <a:pPr algn="ctr">
              <a:spcBef>
                <a:spcPts val="0"/>
              </a:spcBef>
              <a:defRPr/>
            </a:pPr>
            <a:r>
              <a:rPr lang="en-GB" altLang="ja-JP" sz="1000" dirty="0">
                <a:solidFill>
                  <a:schemeClr val="bg2"/>
                </a:solidFill>
                <a:ea typeface="ＭＳ Ｐゴシック" pitchFamily="50" charset="-128"/>
              </a:rPr>
              <a:t>Manage </a:t>
            </a:r>
            <a:r>
              <a:rPr lang="en-GB" altLang="ja-JP" sz="1000" dirty="0" smtClean="0">
                <a:solidFill>
                  <a:schemeClr val="bg2"/>
                </a:solidFill>
                <a:ea typeface="ＭＳ Ｐゴシック" pitchFamily="50" charset="-128"/>
              </a:rPr>
              <a:t>project </a:t>
            </a:r>
            <a:r>
              <a:rPr lang="en-GB" altLang="ja-JP" sz="1000" dirty="0">
                <a:solidFill>
                  <a:schemeClr val="bg2"/>
                </a:solidFill>
                <a:ea typeface="ＭＳ Ｐゴシック" pitchFamily="50" charset="-128"/>
              </a:rPr>
              <a:t>and </a:t>
            </a:r>
            <a:r>
              <a:rPr lang="en-GB" altLang="ja-JP" sz="1000" dirty="0" smtClean="0">
                <a:solidFill>
                  <a:schemeClr val="bg2"/>
                </a:solidFill>
                <a:ea typeface="ＭＳ Ｐゴシック" pitchFamily="50" charset="-128"/>
              </a:rPr>
              <a:t>communications</a:t>
            </a:r>
            <a:endParaRPr lang="en-GB" altLang="ja-JP" sz="1000" dirty="0">
              <a:solidFill>
                <a:schemeClr val="bg2"/>
              </a:solidFill>
              <a:ea typeface="ＭＳ Ｐゴシック" pitchFamily="50" charset="-128"/>
            </a:endParaRPr>
          </a:p>
        </p:txBody>
      </p:sp>
      <p:sp>
        <p:nvSpPr>
          <p:cNvPr id="31" name="Rectangle 30"/>
          <p:cNvSpPr>
            <a:spLocks noChangeArrowheads="1"/>
          </p:cNvSpPr>
          <p:nvPr/>
        </p:nvSpPr>
        <p:spPr bwMode="auto">
          <a:xfrm>
            <a:off x="1574800" y="4256088"/>
            <a:ext cx="1537200" cy="360000"/>
          </a:xfrm>
          <a:prstGeom prst="rect">
            <a:avLst/>
          </a:prstGeom>
          <a:solidFill>
            <a:schemeClr val="accent4"/>
          </a:solidFill>
          <a:ln w="6350" algn="ctr">
            <a:noFill/>
            <a:miter lim="800000"/>
            <a:headEnd type="none" w="sm" len="sm"/>
            <a:tailEnd/>
          </a:ln>
        </p:spPr>
        <p:txBody>
          <a:bodyPr lIns="0" tIns="36000" rIns="0" bIns="36000" anchor="ctr"/>
          <a:lstStyle/>
          <a:p>
            <a:pPr algn="ctr">
              <a:spcBef>
                <a:spcPts val="0"/>
              </a:spcBef>
              <a:defRPr/>
            </a:pPr>
            <a:r>
              <a:rPr lang="en-GB" altLang="ja-JP" sz="1000" dirty="0">
                <a:solidFill>
                  <a:schemeClr val="bg1"/>
                </a:solidFill>
                <a:ea typeface="ＭＳ Ｐゴシック" pitchFamily="50" charset="-128"/>
              </a:rPr>
              <a:t>Conduct </a:t>
            </a:r>
            <a:r>
              <a:rPr lang="en-GB" altLang="ja-JP" sz="1000" dirty="0" smtClean="0">
                <a:solidFill>
                  <a:schemeClr val="bg1"/>
                </a:solidFill>
                <a:ea typeface="ＭＳ Ｐゴシック" pitchFamily="50" charset="-128"/>
              </a:rPr>
              <a:t>value</a:t>
            </a:r>
            <a:r>
              <a:rPr lang="en-GB" altLang="ja-JP" sz="1000" dirty="0">
                <a:solidFill>
                  <a:schemeClr val="bg1"/>
                </a:solidFill>
                <a:ea typeface="ＭＳ Ｐゴシック" pitchFamily="50" charset="-128"/>
              </a:rPr>
              <a:t>, </a:t>
            </a:r>
            <a:r>
              <a:rPr lang="en-GB" altLang="ja-JP" sz="1000" dirty="0" smtClean="0">
                <a:solidFill>
                  <a:schemeClr val="bg1"/>
                </a:solidFill>
                <a:ea typeface="ＭＳ Ｐゴシック" pitchFamily="50" charset="-128"/>
              </a:rPr>
              <a:t>profiling </a:t>
            </a:r>
            <a:r>
              <a:rPr lang="en-GB" altLang="ja-JP" sz="1000" dirty="0">
                <a:solidFill>
                  <a:schemeClr val="bg1"/>
                </a:solidFill>
                <a:ea typeface="ＭＳ Ｐゴシック" pitchFamily="50" charset="-128"/>
              </a:rPr>
              <a:t>and </a:t>
            </a:r>
            <a:r>
              <a:rPr lang="en-GB" altLang="ja-JP" sz="1000" dirty="0" smtClean="0">
                <a:solidFill>
                  <a:schemeClr val="bg1"/>
                </a:solidFill>
                <a:ea typeface="ＭＳ Ｐゴシック" pitchFamily="50" charset="-128"/>
              </a:rPr>
              <a:t>benchmarking</a:t>
            </a:r>
            <a:endParaRPr lang="en-GB" altLang="ja-JP" sz="1000" dirty="0">
              <a:solidFill>
                <a:schemeClr val="bg1"/>
              </a:solidFill>
              <a:ea typeface="ＭＳ Ｐゴシック" pitchFamily="50" charset="-128"/>
            </a:endParaRPr>
          </a:p>
        </p:txBody>
      </p:sp>
      <p:sp>
        <p:nvSpPr>
          <p:cNvPr id="32" name="Rectangle 31"/>
          <p:cNvSpPr>
            <a:spLocks noChangeArrowheads="1"/>
          </p:cNvSpPr>
          <p:nvPr/>
        </p:nvSpPr>
        <p:spPr bwMode="auto">
          <a:xfrm>
            <a:off x="6710363" y="4256088"/>
            <a:ext cx="1537200" cy="360000"/>
          </a:xfrm>
          <a:prstGeom prst="rect">
            <a:avLst/>
          </a:prstGeom>
          <a:solidFill>
            <a:schemeClr val="accent4"/>
          </a:solidFill>
          <a:ln w="6350" algn="ctr">
            <a:noFill/>
            <a:miter lim="800000"/>
            <a:headEnd type="none" w="sm" len="sm"/>
            <a:tailEnd/>
          </a:ln>
        </p:spPr>
        <p:txBody>
          <a:bodyPr lIns="0" tIns="36000" rIns="0" bIns="36000" anchor="ctr"/>
          <a:lstStyle/>
          <a:p>
            <a:pPr algn="ctr">
              <a:spcBef>
                <a:spcPts val="0"/>
              </a:spcBef>
              <a:defRPr/>
            </a:pPr>
            <a:r>
              <a:rPr lang="en-GB" altLang="ja-JP" sz="1000" dirty="0">
                <a:solidFill>
                  <a:schemeClr val="bg1"/>
                </a:solidFill>
                <a:ea typeface="ＭＳ Ｐゴシック" pitchFamily="50" charset="-128"/>
              </a:rPr>
              <a:t>Develop </a:t>
            </a:r>
            <a:r>
              <a:rPr lang="en-GB" altLang="ja-JP" sz="1000" dirty="0" smtClean="0">
                <a:solidFill>
                  <a:schemeClr val="bg1"/>
                </a:solidFill>
                <a:ea typeface="ＭＳ Ｐゴシック" pitchFamily="50" charset="-128"/>
              </a:rPr>
              <a:t>financial plan</a:t>
            </a:r>
            <a:endParaRPr lang="en-GB" altLang="ja-JP" sz="1000" dirty="0">
              <a:solidFill>
                <a:schemeClr val="bg1"/>
              </a:solidFill>
              <a:ea typeface="ＭＳ Ｐゴシック" pitchFamily="50" charset="-128"/>
            </a:endParaRPr>
          </a:p>
        </p:txBody>
      </p:sp>
      <p:sp>
        <p:nvSpPr>
          <p:cNvPr id="35"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6"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4929" name="Title 1"/>
          <p:cNvSpPr>
            <a:spLocks noGrp="1"/>
          </p:cNvSpPr>
          <p:nvPr>
            <p:ph type="title"/>
          </p:nvPr>
        </p:nvSpPr>
        <p:spPr>
          <a:xfrm>
            <a:off x="414338" y="446038"/>
            <a:ext cx="8330184" cy="333425"/>
          </a:xfrm>
        </p:spPr>
        <p:txBody>
          <a:bodyPr/>
          <a:lstStyle/>
          <a:p>
            <a:r>
              <a:rPr lang="en-GB" altLang="ja-JP"/>
              <a:t>Strategy development </a:t>
            </a:r>
            <a:r>
              <a:rPr lang="en-US"/>
              <a:t>—</a:t>
            </a:r>
            <a:r>
              <a:rPr lang="en-GB" altLang="ja-JP" smtClean="0"/>
              <a:t> </a:t>
            </a:r>
            <a:r>
              <a:rPr lang="en-GB" altLang="ja-JP"/>
              <a:t>the fish</a:t>
            </a:r>
            <a:endParaRPr lang="nl-NL"/>
          </a:p>
        </p:txBody>
      </p:sp>
      <p:sp>
        <p:nvSpPr>
          <p:cNvPr id="34" name="Freeform 33"/>
          <p:cNvSpPr>
            <a:spLocks/>
          </p:cNvSpPr>
          <p:nvPr/>
        </p:nvSpPr>
        <p:spPr bwMode="auto">
          <a:xfrm>
            <a:off x="614916" y="1550988"/>
            <a:ext cx="7985125" cy="4556125"/>
          </a:xfrm>
          <a:custGeom>
            <a:avLst/>
            <a:gdLst>
              <a:gd name="T0" fmla="*/ 0 w 5311"/>
              <a:gd name="T1" fmla="*/ 2147483647 h 3067"/>
              <a:gd name="T2" fmla="*/ 2147483647 w 5311"/>
              <a:gd name="T3" fmla="*/ 0 h 3067"/>
              <a:gd name="T4" fmla="*/ 2147483647 w 5311"/>
              <a:gd name="T5" fmla="*/ 0 h 3067"/>
              <a:gd name="T6" fmla="*/ 2147483647 w 5311"/>
              <a:gd name="T7" fmla="*/ 2147483647 h 3067"/>
              <a:gd name="T8" fmla="*/ 2147483647 w 5311"/>
              <a:gd name="T9" fmla="*/ 2147483647 h 3067"/>
              <a:gd name="T10" fmla="*/ 2147483647 w 5311"/>
              <a:gd name="T11" fmla="*/ 2147483647 h 3067"/>
              <a:gd name="T12" fmla="*/ 2147483647 w 5311"/>
              <a:gd name="T13" fmla="*/ 2147483647 h 3067"/>
              <a:gd name="T14" fmla="*/ 2147483647 w 5311"/>
              <a:gd name="T15" fmla="*/ 2147483647 h 3067"/>
              <a:gd name="T16" fmla="*/ 2147483647 w 5311"/>
              <a:gd name="T17" fmla="*/ 2147483647 h 3067"/>
              <a:gd name="T18" fmla="*/ 2147483647 w 5311"/>
              <a:gd name="T19" fmla="*/ 2147483647 h 3067"/>
              <a:gd name="T20" fmla="*/ 2147483647 w 5311"/>
              <a:gd name="T21" fmla="*/ 2147483647 h 3067"/>
              <a:gd name="T22" fmla="*/ 0 w 5311"/>
              <a:gd name="T23" fmla="*/ 2147483647 h 3067"/>
              <a:gd name="T24" fmla="*/ 0 w 5311"/>
              <a:gd name="T25" fmla="*/ 2147483647 h 30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11"/>
              <a:gd name="T40" fmla="*/ 0 h 3067"/>
              <a:gd name="T41" fmla="*/ 5311 w 5311"/>
              <a:gd name="T42" fmla="*/ 3067 h 30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11" h="3067">
                <a:moveTo>
                  <a:pt x="0" y="1062"/>
                </a:moveTo>
                <a:lnTo>
                  <a:pt x="792" y="0"/>
                </a:lnTo>
                <a:lnTo>
                  <a:pt x="2406" y="0"/>
                </a:lnTo>
                <a:lnTo>
                  <a:pt x="3114" y="972"/>
                </a:lnTo>
                <a:lnTo>
                  <a:pt x="4314" y="972"/>
                </a:lnTo>
                <a:lnTo>
                  <a:pt x="5310" y="300"/>
                </a:lnTo>
                <a:lnTo>
                  <a:pt x="5310" y="2760"/>
                </a:lnTo>
                <a:lnTo>
                  <a:pt x="4332" y="2094"/>
                </a:lnTo>
                <a:lnTo>
                  <a:pt x="3126" y="2094"/>
                </a:lnTo>
                <a:lnTo>
                  <a:pt x="2400" y="3066"/>
                </a:lnTo>
                <a:lnTo>
                  <a:pt x="786" y="3066"/>
                </a:lnTo>
                <a:lnTo>
                  <a:pt x="0" y="2004"/>
                </a:lnTo>
                <a:lnTo>
                  <a:pt x="0" y="1062"/>
                </a:lnTo>
              </a:path>
            </a:pathLst>
          </a:custGeom>
          <a:solidFill>
            <a:schemeClr val="bg1"/>
          </a:solidFill>
          <a:ln w="19050">
            <a:solidFill>
              <a:schemeClr val="accent3"/>
            </a:solidFill>
            <a:round/>
            <a:headEnd/>
            <a:tailEnd/>
          </a:ln>
          <a:effectLst/>
        </p:spPr>
        <p:txBody>
          <a:bodyPr wrap="none" tIns="91440" bIns="91440" anchor="ctr"/>
          <a:lstStyle/>
          <a:p>
            <a:endParaRPr lang="en-GB" sz="1200"/>
          </a:p>
        </p:txBody>
      </p:sp>
      <p:sp>
        <p:nvSpPr>
          <p:cNvPr id="35" name="Rectangle 34"/>
          <p:cNvSpPr>
            <a:spLocks noChangeArrowheads="1"/>
          </p:cNvSpPr>
          <p:nvPr/>
        </p:nvSpPr>
        <p:spPr bwMode="auto">
          <a:xfrm>
            <a:off x="5928279" y="3578225"/>
            <a:ext cx="866775" cy="500063"/>
          </a:xfrm>
          <a:prstGeom prst="rect">
            <a:avLst/>
          </a:prstGeom>
          <a:solidFill>
            <a:schemeClr val="accent3"/>
          </a:solidFill>
          <a:ln w="6350" algn="ctr">
            <a:noFill/>
            <a:miter lim="800000"/>
            <a:headEnd/>
            <a:tailEnd/>
          </a:ln>
          <a:effectLst/>
        </p:spPr>
        <p:txBody>
          <a:bodyPr tIns="91440" bIns="91440" anchor="ctr"/>
          <a:lstStyle/>
          <a:p>
            <a:pPr algn="ctr">
              <a:spcBef>
                <a:spcPct val="0"/>
              </a:spcBef>
              <a:defRPr/>
            </a:pPr>
            <a:r>
              <a:rPr lang="en-GB" altLang="ja-JP" sz="1200" dirty="0">
                <a:solidFill>
                  <a:schemeClr val="bg1"/>
                </a:solidFill>
                <a:ea typeface="ＭＳ Ｐゴシック" pitchFamily="50" charset="-128"/>
              </a:rPr>
              <a:t>Chosen</a:t>
            </a:r>
          </a:p>
          <a:p>
            <a:pPr algn="ctr">
              <a:spcBef>
                <a:spcPct val="0"/>
              </a:spcBef>
              <a:defRPr/>
            </a:pPr>
            <a:r>
              <a:rPr lang="en-GB" altLang="ja-JP" sz="1200" dirty="0" smtClean="0">
                <a:solidFill>
                  <a:schemeClr val="bg1"/>
                </a:solidFill>
                <a:ea typeface="ＭＳ Ｐゴシック" pitchFamily="50" charset="-128"/>
              </a:rPr>
              <a:t>strategy</a:t>
            </a:r>
            <a:endParaRPr lang="en-GB" altLang="ja-JP" sz="1200" dirty="0">
              <a:solidFill>
                <a:schemeClr val="bg1"/>
              </a:solidFill>
              <a:ea typeface="ＭＳ Ｐゴシック" pitchFamily="50" charset="-128"/>
            </a:endParaRPr>
          </a:p>
        </p:txBody>
      </p:sp>
      <p:sp>
        <p:nvSpPr>
          <p:cNvPr id="36" name="Rectangle 35"/>
          <p:cNvSpPr>
            <a:spLocks noChangeArrowheads="1"/>
          </p:cNvSpPr>
          <p:nvPr/>
        </p:nvSpPr>
        <p:spPr bwMode="auto">
          <a:xfrm>
            <a:off x="7476885" y="2836799"/>
            <a:ext cx="1003300" cy="500063"/>
          </a:xfrm>
          <a:prstGeom prst="rect">
            <a:avLst/>
          </a:prstGeom>
          <a:noFill/>
          <a:ln w="12700" algn="ctr">
            <a:noFill/>
            <a:miter lim="800000"/>
            <a:headEnd/>
            <a:tailEnd/>
          </a:ln>
          <a:effectLst/>
        </p:spPr>
        <p:txBody>
          <a:bodyPr tIns="91440" bIns="91440" anchor="ctr"/>
          <a:lstStyle/>
          <a:p>
            <a:pPr marL="12700" indent="-12700" algn="ctr">
              <a:lnSpc>
                <a:spcPct val="110000"/>
              </a:lnSpc>
              <a:spcBef>
                <a:spcPct val="0"/>
              </a:spcBef>
            </a:pPr>
            <a:r>
              <a:rPr lang="en-GB" altLang="ja-JP" sz="1200" dirty="0">
                <a:solidFill>
                  <a:schemeClr val="tx2"/>
                </a:solidFill>
                <a:ea typeface="ＭＳ Ｐゴシック" pitchFamily="50" charset="-128"/>
              </a:rPr>
              <a:t>Projects and</a:t>
            </a:r>
          </a:p>
          <a:p>
            <a:pPr marL="12700" indent="-12700" algn="ctr">
              <a:lnSpc>
                <a:spcPct val="110000"/>
              </a:lnSpc>
              <a:spcBef>
                <a:spcPct val="0"/>
              </a:spcBef>
            </a:pPr>
            <a:r>
              <a:rPr lang="en-GB" altLang="ja-JP" sz="1200" dirty="0" smtClean="0">
                <a:solidFill>
                  <a:schemeClr val="tx2"/>
                </a:solidFill>
                <a:ea typeface="ＭＳ Ｐゴシック" pitchFamily="50" charset="-128"/>
              </a:rPr>
              <a:t>resources</a:t>
            </a:r>
            <a:endParaRPr lang="en-GB" altLang="ja-JP" sz="1200" dirty="0">
              <a:solidFill>
                <a:schemeClr val="tx2"/>
              </a:solidFill>
              <a:ea typeface="ＭＳ Ｐゴシック" pitchFamily="50" charset="-128"/>
            </a:endParaRPr>
          </a:p>
        </p:txBody>
      </p:sp>
      <p:sp>
        <p:nvSpPr>
          <p:cNvPr id="37" name="Rectangle 36"/>
          <p:cNvSpPr>
            <a:spLocks noChangeArrowheads="1"/>
          </p:cNvSpPr>
          <p:nvPr/>
        </p:nvSpPr>
        <p:spPr bwMode="auto">
          <a:xfrm>
            <a:off x="7458629" y="4264025"/>
            <a:ext cx="1039812" cy="500063"/>
          </a:xfrm>
          <a:prstGeom prst="rect">
            <a:avLst/>
          </a:prstGeom>
          <a:noFill/>
          <a:ln w="12700" algn="ctr">
            <a:noFill/>
            <a:miter lim="800000"/>
            <a:headEnd/>
            <a:tailEnd/>
          </a:ln>
          <a:effectLst/>
        </p:spPr>
        <p:txBody>
          <a:bodyPr tIns="91440" bIns="91440" anchor="ctr"/>
          <a:lstStyle/>
          <a:p>
            <a:pPr marL="12700" indent="-12700" algn="ctr">
              <a:lnSpc>
                <a:spcPct val="110000"/>
              </a:lnSpc>
              <a:spcBef>
                <a:spcPct val="0"/>
              </a:spcBef>
            </a:pPr>
            <a:r>
              <a:rPr lang="en-GB" altLang="ja-JP" sz="1200">
                <a:solidFill>
                  <a:schemeClr val="tx2"/>
                </a:solidFill>
                <a:ea typeface="ＭＳ Ｐゴシック" pitchFamily="50" charset="-128"/>
              </a:rPr>
              <a:t>Monitoring</a:t>
            </a:r>
          </a:p>
        </p:txBody>
      </p:sp>
      <p:sp>
        <p:nvSpPr>
          <p:cNvPr id="38" name="Rectangle 37"/>
          <p:cNvSpPr>
            <a:spLocks noChangeArrowheads="1"/>
          </p:cNvSpPr>
          <p:nvPr/>
        </p:nvSpPr>
        <p:spPr bwMode="auto">
          <a:xfrm>
            <a:off x="2300841" y="4502150"/>
            <a:ext cx="1565275" cy="298450"/>
          </a:xfrm>
          <a:prstGeom prst="rect">
            <a:avLst/>
          </a:prstGeom>
          <a:solidFill>
            <a:schemeClr val="accent3"/>
          </a:solidFill>
          <a:ln w="6350" algn="ctr">
            <a:noFill/>
            <a:miter lim="800000"/>
            <a:headEnd/>
            <a:tailEnd/>
          </a:ln>
          <a:effectLst/>
        </p:spPr>
        <p:txBody>
          <a:bodyPr tIns="91440" bIns="91440" anchor="ctr"/>
          <a:lstStyle/>
          <a:p>
            <a:pPr algn="ctr">
              <a:spcBef>
                <a:spcPct val="0"/>
              </a:spcBef>
              <a:defRPr/>
            </a:pPr>
            <a:r>
              <a:rPr lang="en-GB" altLang="ja-JP" sz="1200" dirty="0">
                <a:solidFill>
                  <a:schemeClr val="bg1"/>
                </a:solidFill>
                <a:ea typeface="ＭＳ Ｐゴシック" pitchFamily="50" charset="-128"/>
              </a:rPr>
              <a:t>Financial </a:t>
            </a:r>
            <a:r>
              <a:rPr lang="en-GB" altLang="ja-JP" sz="1200" dirty="0" smtClean="0">
                <a:solidFill>
                  <a:schemeClr val="bg1"/>
                </a:solidFill>
                <a:ea typeface="ＭＳ Ｐゴシック" pitchFamily="50" charset="-128"/>
              </a:rPr>
              <a:t>position</a:t>
            </a:r>
            <a:endParaRPr lang="en-GB" altLang="ja-JP" sz="1200" dirty="0">
              <a:solidFill>
                <a:schemeClr val="bg1"/>
              </a:solidFill>
              <a:ea typeface="ＭＳ Ｐゴシック" pitchFamily="50" charset="-128"/>
            </a:endParaRPr>
          </a:p>
        </p:txBody>
      </p:sp>
      <p:sp>
        <p:nvSpPr>
          <p:cNvPr id="39" name="Rectangle 38"/>
          <p:cNvSpPr>
            <a:spLocks noChangeArrowheads="1"/>
          </p:cNvSpPr>
          <p:nvPr/>
        </p:nvSpPr>
        <p:spPr bwMode="auto">
          <a:xfrm>
            <a:off x="2253216" y="2886075"/>
            <a:ext cx="1662113" cy="296863"/>
          </a:xfrm>
          <a:prstGeom prst="rect">
            <a:avLst/>
          </a:prstGeom>
          <a:solidFill>
            <a:schemeClr val="accent3"/>
          </a:solidFill>
          <a:ln w="6350" algn="ctr">
            <a:noFill/>
            <a:miter lim="800000"/>
            <a:headEnd/>
            <a:tailEnd/>
          </a:ln>
          <a:effectLst/>
        </p:spPr>
        <p:txBody>
          <a:bodyPr tIns="91440" bIns="91440" anchor="ctr"/>
          <a:lstStyle/>
          <a:p>
            <a:pPr algn="ctr">
              <a:spcBef>
                <a:spcPct val="0"/>
              </a:spcBef>
              <a:defRPr/>
            </a:pPr>
            <a:r>
              <a:rPr lang="en-GB" altLang="ja-JP" sz="1200" dirty="0">
                <a:solidFill>
                  <a:schemeClr val="bg1"/>
                </a:solidFill>
                <a:ea typeface="ＭＳ Ｐゴシック" pitchFamily="50" charset="-128"/>
              </a:rPr>
              <a:t>Strategic </a:t>
            </a:r>
            <a:r>
              <a:rPr lang="en-GB" altLang="ja-JP" sz="1200" dirty="0" smtClean="0">
                <a:solidFill>
                  <a:schemeClr val="bg1"/>
                </a:solidFill>
                <a:ea typeface="ＭＳ Ｐゴシック" pitchFamily="50" charset="-128"/>
              </a:rPr>
              <a:t>position</a:t>
            </a:r>
            <a:endParaRPr lang="en-GB" altLang="ja-JP" sz="1200" dirty="0">
              <a:solidFill>
                <a:schemeClr val="bg1"/>
              </a:solidFill>
              <a:ea typeface="ＭＳ Ｐゴシック" pitchFamily="50" charset="-128"/>
            </a:endParaRPr>
          </a:p>
        </p:txBody>
      </p:sp>
      <p:sp>
        <p:nvSpPr>
          <p:cNvPr id="40" name="Rectangle 39"/>
          <p:cNvSpPr>
            <a:spLocks noChangeArrowheads="1"/>
          </p:cNvSpPr>
          <p:nvPr/>
        </p:nvSpPr>
        <p:spPr bwMode="auto">
          <a:xfrm>
            <a:off x="1957941" y="5735638"/>
            <a:ext cx="2255838" cy="315912"/>
          </a:xfrm>
          <a:prstGeom prst="rect">
            <a:avLst/>
          </a:prstGeom>
          <a:solidFill>
            <a:schemeClr val="accent3"/>
          </a:solidFill>
          <a:ln w="6350" algn="ctr">
            <a:noFill/>
            <a:miter lim="800000"/>
            <a:headEnd/>
            <a:tailEnd/>
          </a:ln>
          <a:effectLst/>
        </p:spPr>
        <p:txBody>
          <a:bodyPr tIns="91440" bIns="91440" anchor="ctr"/>
          <a:lstStyle/>
          <a:p>
            <a:pPr algn="ctr">
              <a:spcBef>
                <a:spcPct val="0"/>
              </a:spcBef>
              <a:defRPr/>
            </a:pPr>
            <a:r>
              <a:rPr lang="en-GB" altLang="ja-JP" sz="1200" dirty="0">
                <a:solidFill>
                  <a:schemeClr val="bg1"/>
                </a:solidFill>
                <a:ea typeface="ＭＳ Ｐゴシック" pitchFamily="50" charset="-128"/>
              </a:rPr>
              <a:t>Capital </a:t>
            </a:r>
            <a:r>
              <a:rPr lang="en-GB" altLang="ja-JP" sz="1200" dirty="0" smtClean="0">
                <a:solidFill>
                  <a:schemeClr val="bg1"/>
                </a:solidFill>
                <a:ea typeface="ＭＳ Ｐゴシック" pitchFamily="50" charset="-128"/>
              </a:rPr>
              <a:t>market</a:t>
            </a:r>
            <a:endParaRPr lang="en-GB" altLang="ja-JP" sz="1200" dirty="0">
              <a:solidFill>
                <a:schemeClr val="bg1"/>
              </a:solidFill>
              <a:ea typeface="ＭＳ Ｐゴシック" pitchFamily="50" charset="-128"/>
            </a:endParaRPr>
          </a:p>
        </p:txBody>
      </p:sp>
      <p:sp>
        <p:nvSpPr>
          <p:cNvPr id="41" name="Rectangle 40"/>
          <p:cNvSpPr>
            <a:spLocks noChangeArrowheads="1"/>
          </p:cNvSpPr>
          <p:nvPr/>
        </p:nvSpPr>
        <p:spPr bwMode="auto">
          <a:xfrm>
            <a:off x="1957941" y="5203825"/>
            <a:ext cx="1079500" cy="436563"/>
          </a:xfrm>
          <a:prstGeom prst="rect">
            <a:avLst/>
          </a:prstGeom>
          <a:noFill/>
          <a:ln w="12700" algn="ctr">
            <a:noFill/>
            <a:miter lim="800000"/>
            <a:headEnd/>
            <a:tailEnd/>
          </a:ln>
          <a:effectLst/>
        </p:spPr>
        <p:txBody>
          <a:bodyPr tIns="91440" bIns="91440" anchor="ctr"/>
          <a:lstStyle/>
          <a:p>
            <a:pPr marL="12700" indent="-12700" algn="ctr">
              <a:lnSpc>
                <a:spcPct val="110000"/>
              </a:lnSpc>
              <a:spcBef>
                <a:spcPct val="0"/>
              </a:spcBef>
            </a:pPr>
            <a:r>
              <a:rPr lang="en-GB" altLang="ja-JP" sz="1200" dirty="0">
                <a:solidFill>
                  <a:schemeClr val="tx2"/>
                </a:solidFill>
                <a:ea typeface="ＭＳ Ｐゴシック" pitchFamily="50" charset="-128"/>
              </a:rPr>
              <a:t>Economic </a:t>
            </a:r>
            <a:r>
              <a:rPr lang="en-GB" altLang="ja-JP" sz="1200" dirty="0" smtClean="0">
                <a:solidFill>
                  <a:schemeClr val="tx2"/>
                </a:solidFill>
                <a:ea typeface="ＭＳ Ｐゴシック" pitchFamily="50" charset="-128"/>
              </a:rPr>
              <a:t>profitability</a:t>
            </a:r>
            <a:endParaRPr lang="en-GB" altLang="ja-JP" sz="1200" dirty="0">
              <a:solidFill>
                <a:schemeClr val="tx2"/>
              </a:solidFill>
              <a:ea typeface="ＭＳ Ｐゴシック" pitchFamily="50" charset="-128"/>
            </a:endParaRPr>
          </a:p>
        </p:txBody>
      </p:sp>
      <p:sp>
        <p:nvSpPr>
          <p:cNvPr id="42" name="Rectangle 41"/>
          <p:cNvSpPr>
            <a:spLocks noChangeArrowheads="1"/>
          </p:cNvSpPr>
          <p:nvPr/>
        </p:nvSpPr>
        <p:spPr bwMode="auto">
          <a:xfrm>
            <a:off x="3178729" y="5203825"/>
            <a:ext cx="1035050" cy="436563"/>
          </a:xfrm>
          <a:prstGeom prst="rect">
            <a:avLst/>
          </a:prstGeom>
          <a:noFill/>
          <a:ln w="12700" algn="ctr">
            <a:noFill/>
            <a:miter lim="800000"/>
            <a:headEnd/>
            <a:tailEnd/>
          </a:ln>
          <a:effectLst/>
        </p:spPr>
        <p:txBody>
          <a:bodyPr tIns="91440" bIns="91440" anchor="ctr"/>
          <a:lstStyle/>
          <a:p>
            <a:pPr marL="12700" indent="-12700" algn="ctr">
              <a:lnSpc>
                <a:spcPct val="110000"/>
              </a:lnSpc>
              <a:spcBef>
                <a:spcPct val="0"/>
              </a:spcBef>
            </a:pPr>
            <a:r>
              <a:rPr lang="en-GB" altLang="ja-JP" sz="1200">
                <a:solidFill>
                  <a:schemeClr val="tx2"/>
                </a:solidFill>
                <a:ea typeface="ＭＳ Ｐゴシック" pitchFamily="50" charset="-128"/>
              </a:rPr>
              <a:t>Growth</a:t>
            </a:r>
          </a:p>
        </p:txBody>
      </p:sp>
      <p:sp>
        <p:nvSpPr>
          <p:cNvPr id="43" name="Rectangle 42"/>
          <p:cNvSpPr>
            <a:spLocks noChangeArrowheads="1"/>
          </p:cNvSpPr>
          <p:nvPr/>
        </p:nvSpPr>
        <p:spPr bwMode="auto">
          <a:xfrm>
            <a:off x="1957941" y="1636713"/>
            <a:ext cx="2255838" cy="312737"/>
          </a:xfrm>
          <a:prstGeom prst="rect">
            <a:avLst/>
          </a:prstGeom>
          <a:solidFill>
            <a:schemeClr val="accent3"/>
          </a:solidFill>
          <a:ln w="6350" algn="ctr">
            <a:noFill/>
            <a:miter lim="800000"/>
            <a:headEnd/>
            <a:tailEnd/>
          </a:ln>
          <a:effectLst/>
        </p:spPr>
        <p:txBody>
          <a:bodyPr tIns="91440" bIns="91440" anchor="ctr"/>
          <a:lstStyle/>
          <a:p>
            <a:pPr algn="ctr">
              <a:spcBef>
                <a:spcPct val="0"/>
              </a:spcBef>
              <a:defRPr/>
            </a:pPr>
            <a:r>
              <a:rPr lang="en-GB" altLang="ja-JP" sz="1200" dirty="0">
                <a:solidFill>
                  <a:schemeClr val="bg1"/>
                </a:solidFill>
                <a:ea typeface="ＭＳ Ｐゴシック" pitchFamily="50" charset="-128"/>
              </a:rPr>
              <a:t>Commercial </a:t>
            </a:r>
            <a:r>
              <a:rPr lang="en-GB" altLang="ja-JP" sz="1200" dirty="0" smtClean="0">
                <a:solidFill>
                  <a:schemeClr val="bg1"/>
                </a:solidFill>
                <a:ea typeface="ＭＳ Ｐゴシック" pitchFamily="50" charset="-128"/>
              </a:rPr>
              <a:t>market</a:t>
            </a:r>
            <a:endParaRPr lang="en-GB" altLang="ja-JP" sz="1200" dirty="0">
              <a:solidFill>
                <a:schemeClr val="bg1"/>
              </a:solidFill>
              <a:ea typeface="ＭＳ Ｐゴシック" pitchFamily="50" charset="-128"/>
            </a:endParaRPr>
          </a:p>
        </p:txBody>
      </p:sp>
      <p:sp>
        <p:nvSpPr>
          <p:cNvPr id="44" name="Rectangle 43"/>
          <p:cNvSpPr>
            <a:spLocks noChangeArrowheads="1"/>
          </p:cNvSpPr>
          <p:nvPr/>
        </p:nvSpPr>
        <p:spPr bwMode="auto">
          <a:xfrm>
            <a:off x="1957941" y="2043113"/>
            <a:ext cx="1112838" cy="441325"/>
          </a:xfrm>
          <a:prstGeom prst="rect">
            <a:avLst/>
          </a:prstGeom>
          <a:noFill/>
          <a:ln w="12700" algn="ctr">
            <a:noFill/>
            <a:miter lim="800000"/>
            <a:headEnd/>
            <a:tailEnd/>
          </a:ln>
          <a:effectLst/>
        </p:spPr>
        <p:txBody>
          <a:bodyPr wrap="none" tIns="91440" bIns="91440" anchor="ctr"/>
          <a:lstStyle/>
          <a:p>
            <a:pPr marL="12700" indent="-12700" algn="ctr">
              <a:lnSpc>
                <a:spcPct val="110000"/>
              </a:lnSpc>
              <a:spcBef>
                <a:spcPct val="0"/>
              </a:spcBef>
            </a:pPr>
            <a:r>
              <a:rPr lang="en-GB" altLang="ja-JP" sz="1200" dirty="0">
                <a:solidFill>
                  <a:schemeClr val="tx2"/>
                </a:solidFill>
                <a:ea typeface="ＭＳ Ｐゴシック" pitchFamily="50" charset="-128"/>
              </a:rPr>
              <a:t>Market</a:t>
            </a:r>
            <a:br>
              <a:rPr lang="en-GB" altLang="ja-JP" sz="1200" dirty="0">
                <a:solidFill>
                  <a:schemeClr val="tx2"/>
                </a:solidFill>
                <a:ea typeface="ＭＳ Ｐゴシック" pitchFamily="50" charset="-128"/>
              </a:rPr>
            </a:br>
            <a:r>
              <a:rPr lang="en-GB" altLang="ja-JP" sz="1200" dirty="0" smtClean="0">
                <a:solidFill>
                  <a:schemeClr val="tx2"/>
                </a:solidFill>
                <a:ea typeface="ＭＳ Ｐゴシック" pitchFamily="50" charset="-128"/>
              </a:rPr>
              <a:t>attractiveness</a:t>
            </a:r>
            <a:endParaRPr lang="en-GB" altLang="ja-JP" sz="1200" dirty="0">
              <a:solidFill>
                <a:schemeClr val="tx2"/>
              </a:solidFill>
              <a:ea typeface="ＭＳ Ｐゴシック" pitchFamily="50" charset="-128"/>
            </a:endParaRPr>
          </a:p>
        </p:txBody>
      </p:sp>
      <p:sp>
        <p:nvSpPr>
          <p:cNvPr id="45" name="Rectangle 44"/>
          <p:cNvSpPr>
            <a:spLocks noChangeArrowheads="1"/>
          </p:cNvSpPr>
          <p:nvPr/>
        </p:nvSpPr>
        <p:spPr bwMode="auto">
          <a:xfrm>
            <a:off x="3121579" y="2043113"/>
            <a:ext cx="1120775" cy="441325"/>
          </a:xfrm>
          <a:prstGeom prst="rect">
            <a:avLst/>
          </a:prstGeom>
          <a:noFill/>
          <a:ln w="12700" algn="ctr">
            <a:noFill/>
            <a:miter lim="800000"/>
            <a:headEnd/>
            <a:tailEnd/>
          </a:ln>
          <a:effectLst/>
        </p:spPr>
        <p:txBody>
          <a:bodyPr tIns="91440" bIns="91440" anchor="ctr"/>
          <a:lstStyle/>
          <a:p>
            <a:pPr marL="12700" indent="-12700" algn="ctr">
              <a:lnSpc>
                <a:spcPct val="110000"/>
              </a:lnSpc>
              <a:spcBef>
                <a:spcPct val="0"/>
              </a:spcBef>
            </a:pPr>
            <a:r>
              <a:rPr lang="en-GB" altLang="ja-JP" sz="1200" dirty="0">
                <a:solidFill>
                  <a:schemeClr val="tx2"/>
                </a:solidFill>
                <a:ea typeface="ＭＳ Ｐゴシック" pitchFamily="50" charset="-128"/>
              </a:rPr>
              <a:t>Competitive </a:t>
            </a:r>
            <a:r>
              <a:rPr lang="en-GB" altLang="ja-JP" sz="1200" dirty="0" smtClean="0">
                <a:solidFill>
                  <a:schemeClr val="tx2"/>
                </a:solidFill>
                <a:ea typeface="ＭＳ Ｐゴシック" pitchFamily="50" charset="-128"/>
              </a:rPr>
              <a:t>position</a:t>
            </a:r>
            <a:endParaRPr lang="en-GB" altLang="ja-JP" sz="1200" dirty="0">
              <a:solidFill>
                <a:schemeClr val="tx2"/>
              </a:solidFill>
              <a:ea typeface="ＭＳ Ｐゴシック" pitchFamily="50" charset="-128"/>
            </a:endParaRPr>
          </a:p>
        </p:txBody>
      </p:sp>
      <p:sp>
        <p:nvSpPr>
          <p:cNvPr id="46" name="Oval 45"/>
          <p:cNvSpPr>
            <a:spLocks noChangeArrowheads="1"/>
          </p:cNvSpPr>
          <p:nvPr/>
        </p:nvSpPr>
        <p:spPr bwMode="auto">
          <a:xfrm>
            <a:off x="2477054" y="3600450"/>
            <a:ext cx="1216025" cy="455613"/>
          </a:xfrm>
          <a:prstGeom prst="ellipse">
            <a:avLst/>
          </a:prstGeom>
          <a:solidFill>
            <a:schemeClr val="accent3"/>
          </a:solidFill>
          <a:ln w="6350" algn="ctr">
            <a:noFill/>
            <a:round/>
            <a:headEnd/>
            <a:tailEnd/>
          </a:ln>
          <a:effectLst/>
        </p:spPr>
        <p:txBody>
          <a:bodyPr tIns="91440" bIns="91440" anchor="ctr"/>
          <a:lstStyle/>
          <a:p>
            <a:pPr algn="ctr">
              <a:spcBef>
                <a:spcPct val="0"/>
              </a:spcBef>
              <a:defRPr/>
            </a:pPr>
            <a:r>
              <a:rPr lang="en-GB" altLang="ja-JP" sz="1200">
                <a:solidFill>
                  <a:schemeClr val="bg1"/>
                </a:solidFill>
                <a:ea typeface="ＭＳ Ｐゴシック" pitchFamily="50" charset="-128"/>
              </a:rPr>
              <a:t>Insight</a:t>
            </a:r>
          </a:p>
        </p:txBody>
      </p:sp>
      <p:sp>
        <p:nvSpPr>
          <p:cNvPr id="47" name="AutoShape 16"/>
          <p:cNvSpPr>
            <a:spLocks noChangeArrowheads="1"/>
          </p:cNvSpPr>
          <p:nvPr/>
        </p:nvSpPr>
        <p:spPr bwMode="auto">
          <a:xfrm rot="16200000">
            <a:off x="2971560" y="4733131"/>
            <a:ext cx="225425" cy="506413"/>
          </a:xfrm>
          <a:prstGeom prst="rightArrow">
            <a:avLst>
              <a:gd name="adj1" fmla="val 50000"/>
              <a:gd name="adj2" fmla="val 50032"/>
            </a:avLst>
          </a:prstGeom>
          <a:solidFill>
            <a:schemeClr val="accent3"/>
          </a:solidFill>
          <a:ln w="6350" algn="ctr">
            <a:noFill/>
            <a:miter lim="800000"/>
            <a:headEnd/>
            <a:tailEnd/>
          </a:ln>
          <a:effectLst/>
        </p:spPr>
        <p:txBody>
          <a:bodyPr tIns="91440" bIns="91440" anchor="ctr"/>
          <a:lstStyle/>
          <a:p>
            <a:pPr algn="ctr">
              <a:spcBef>
                <a:spcPct val="0"/>
              </a:spcBef>
              <a:defRPr/>
            </a:pPr>
            <a:endParaRPr lang="en-GB" sz="1200"/>
          </a:p>
        </p:txBody>
      </p:sp>
      <p:sp>
        <p:nvSpPr>
          <p:cNvPr id="48" name="Rectangle 47"/>
          <p:cNvSpPr>
            <a:spLocks noChangeArrowheads="1"/>
          </p:cNvSpPr>
          <p:nvPr/>
        </p:nvSpPr>
        <p:spPr bwMode="auto">
          <a:xfrm>
            <a:off x="7228929" y="3578225"/>
            <a:ext cx="1466490" cy="500063"/>
          </a:xfrm>
          <a:prstGeom prst="rect">
            <a:avLst/>
          </a:prstGeom>
          <a:noFill/>
          <a:ln w="12700" algn="ctr">
            <a:noFill/>
            <a:miter lim="800000"/>
            <a:headEnd/>
            <a:tailEnd/>
          </a:ln>
          <a:effectLst/>
        </p:spPr>
        <p:txBody>
          <a:bodyPr tIns="91440" bIns="91440" anchor="ctr"/>
          <a:lstStyle/>
          <a:p>
            <a:pPr marL="12700" indent="-12700" algn="ctr">
              <a:lnSpc>
                <a:spcPct val="110000"/>
              </a:lnSpc>
              <a:spcBef>
                <a:spcPct val="0"/>
              </a:spcBef>
            </a:pPr>
            <a:r>
              <a:rPr lang="en-GB" altLang="ja-JP" sz="1200">
                <a:solidFill>
                  <a:schemeClr val="tx2"/>
                </a:solidFill>
                <a:ea typeface="ＭＳ Ｐゴシック" pitchFamily="50" charset="-128"/>
              </a:rPr>
              <a:t>CSFs and KPIs</a:t>
            </a:r>
          </a:p>
        </p:txBody>
      </p:sp>
      <p:sp>
        <p:nvSpPr>
          <p:cNvPr id="49" name="Rectangle 48"/>
          <p:cNvSpPr>
            <a:spLocks noChangeArrowheads="1"/>
          </p:cNvSpPr>
          <p:nvPr/>
        </p:nvSpPr>
        <p:spPr bwMode="auto">
          <a:xfrm>
            <a:off x="738741" y="3965258"/>
            <a:ext cx="1016000" cy="501650"/>
          </a:xfrm>
          <a:prstGeom prst="rect">
            <a:avLst/>
          </a:prstGeom>
          <a:noFill/>
          <a:ln w="12700" algn="ctr">
            <a:noFill/>
            <a:miter lim="800000"/>
            <a:headEnd/>
            <a:tailEnd/>
          </a:ln>
          <a:effectLst/>
        </p:spPr>
        <p:txBody>
          <a:bodyPr tIns="91440" bIns="91440" anchor="ctr"/>
          <a:lstStyle/>
          <a:p>
            <a:pPr marL="12700" indent="-12700" algn="ctr">
              <a:lnSpc>
                <a:spcPct val="110000"/>
              </a:lnSpc>
              <a:spcBef>
                <a:spcPct val="0"/>
              </a:spcBef>
            </a:pPr>
            <a:r>
              <a:rPr lang="en-GB" altLang="ja-JP" sz="1200" dirty="0">
                <a:solidFill>
                  <a:schemeClr val="tx2"/>
                </a:solidFill>
                <a:ea typeface="ＭＳ Ｐゴシック" pitchFamily="50" charset="-128"/>
              </a:rPr>
              <a:t>Strategic </a:t>
            </a:r>
          </a:p>
          <a:p>
            <a:pPr marL="12700" indent="-12700" algn="ctr">
              <a:lnSpc>
                <a:spcPct val="110000"/>
              </a:lnSpc>
              <a:spcBef>
                <a:spcPct val="0"/>
              </a:spcBef>
            </a:pPr>
            <a:r>
              <a:rPr lang="en-GB" altLang="ja-JP" sz="1200" dirty="0" smtClean="0">
                <a:solidFill>
                  <a:schemeClr val="tx2"/>
                </a:solidFill>
                <a:ea typeface="ＭＳ Ｐゴシック" pitchFamily="50" charset="-128"/>
              </a:rPr>
              <a:t>issues</a:t>
            </a:r>
            <a:endParaRPr lang="en-GB" altLang="ja-JP" sz="1200" dirty="0">
              <a:solidFill>
                <a:schemeClr val="tx2"/>
              </a:solidFill>
              <a:ea typeface="ＭＳ Ｐゴシック" pitchFamily="50" charset="-128"/>
            </a:endParaRPr>
          </a:p>
        </p:txBody>
      </p:sp>
      <p:sp>
        <p:nvSpPr>
          <p:cNvPr id="50" name="Rectangle 49"/>
          <p:cNvSpPr>
            <a:spLocks noChangeArrowheads="1"/>
          </p:cNvSpPr>
          <p:nvPr/>
        </p:nvSpPr>
        <p:spPr bwMode="auto">
          <a:xfrm>
            <a:off x="743504" y="3191193"/>
            <a:ext cx="1016000" cy="500062"/>
          </a:xfrm>
          <a:prstGeom prst="rect">
            <a:avLst/>
          </a:prstGeom>
          <a:noFill/>
          <a:ln w="12700" algn="ctr">
            <a:noFill/>
            <a:miter lim="800000"/>
            <a:headEnd/>
            <a:tailEnd/>
          </a:ln>
          <a:effectLst/>
        </p:spPr>
        <p:txBody>
          <a:bodyPr tIns="91440" bIns="91440" anchor="ctr"/>
          <a:lstStyle/>
          <a:p>
            <a:pPr marL="12700" indent="-12700" algn="ctr">
              <a:lnSpc>
                <a:spcPct val="110000"/>
              </a:lnSpc>
              <a:spcBef>
                <a:spcPct val="0"/>
              </a:spcBef>
            </a:pPr>
            <a:r>
              <a:rPr lang="en-GB" altLang="ja-JP" sz="1200" dirty="0">
                <a:solidFill>
                  <a:schemeClr val="tx2"/>
                </a:solidFill>
                <a:ea typeface="ＭＳ Ｐゴシック" pitchFamily="50" charset="-128"/>
              </a:rPr>
              <a:t>Scope </a:t>
            </a:r>
            <a:br>
              <a:rPr lang="en-GB" altLang="ja-JP" sz="1200" dirty="0">
                <a:solidFill>
                  <a:schemeClr val="tx2"/>
                </a:solidFill>
                <a:ea typeface="ＭＳ Ｐゴシック" pitchFamily="50" charset="-128"/>
              </a:rPr>
            </a:br>
            <a:r>
              <a:rPr lang="en-GB" altLang="ja-JP" sz="1200" dirty="0">
                <a:solidFill>
                  <a:schemeClr val="tx2"/>
                </a:solidFill>
                <a:ea typeface="ＭＳ Ｐゴシック" pitchFamily="50" charset="-128"/>
              </a:rPr>
              <a:t>and </a:t>
            </a:r>
            <a:r>
              <a:rPr lang="en-GB" altLang="ja-JP" sz="1200" dirty="0" smtClean="0">
                <a:solidFill>
                  <a:schemeClr val="tx2"/>
                </a:solidFill>
                <a:ea typeface="ＭＳ Ｐゴシック" pitchFamily="50" charset="-128"/>
              </a:rPr>
              <a:t>context</a:t>
            </a:r>
            <a:endParaRPr lang="en-GB" altLang="ja-JP" sz="1200" dirty="0">
              <a:solidFill>
                <a:schemeClr val="tx2"/>
              </a:solidFill>
              <a:ea typeface="ＭＳ Ｐゴシック" pitchFamily="50" charset="-128"/>
            </a:endParaRPr>
          </a:p>
        </p:txBody>
      </p:sp>
      <p:sp>
        <p:nvSpPr>
          <p:cNvPr id="51" name="AutoShape 20"/>
          <p:cNvSpPr>
            <a:spLocks noChangeArrowheads="1"/>
          </p:cNvSpPr>
          <p:nvPr/>
        </p:nvSpPr>
        <p:spPr bwMode="auto">
          <a:xfrm rot="16200000">
            <a:off x="2971560" y="4063206"/>
            <a:ext cx="225425" cy="506413"/>
          </a:xfrm>
          <a:prstGeom prst="rightArrow">
            <a:avLst>
              <a:gd name="adj1" fmla="val 50000"/>
              <a:gd name="adj2" fmla="val 50032"/>
            </a:avLst>
          </a:prstGeom>
          <a:solidFill>
            <a:schemeClr val="accent3"/>
          </a:solidFill>
          <a:ln w="6350" algn="ctr">
            <a:noFill/>
            <a:miter lim="800000"/>
            <a:headEnd/>
            <a:tailEnd/>
          </a:ln>
          <a:effectLst/>
        </p:spPr>
        <p:txBody>
          <a:bodyPr tIns="91440" bIns="91440" anchor="ctr"/>
          <a:lstStyle/>
          <a:p>
            <a:pPr algn="ctr">
              <a:spcBef>
                <a:spcPct val="0"/>
              </a:spcBef>
              <a:defRPr/>
            </a:pPr>
            <a:endParaRPr lang="en-GB" sz="1200"/>
          </a:p>
        </p:txBody>
      </p:sp>
      <p:sp>
        <p:nvSpPr>
          <p:cNvPr id="52" name="AutoShape 21"/>
          <p:cNvSpPr>
            <a:spLocks noChangeArrowheads="1"/>
          </p:cNvSpPr>
          <p:nvPr/>
        </p:nvSpPr>
        <p:spPr bwMode="auto">
          <a:xfrm rot="16200000" flipH="1">
            <a:off x="2970767" y="3122612"/>
            <a:ext cx="227012" cy="506413"/>
          </a:xfrm>
          <a:prstGeom prst="rightArrow">
            <a:avLst>
              <a:gd name="adj1" fmla="val 50000"/>
              <a:gd name="adj2" fmla="val 50032"/>
            </a:avLst>
          </a:prstGeom>
          <a:solidFill>
            <a:schemeClr val="accent3"/>
          </a:solidFill>
          <a:ln w="6350" algn="ctr">
            <a:noFill/>
            <a:miter lim="800000"/>
            <a:headEnd/>
            <a:tailEnd/>
          </a:ln>
          <a:effectLst/>
        </p:spPr>
        <p:txBody>
          <a:bodyPr tIns="91440" bIns="91440" anchor="ctr"/>
          <a:lstStyle/>
          <a:p>
            <a:pPr algn="ctr">
              <a:spcBef>
                <a:spcPct val="0"/>
              </a:spcBef>
              <a:defRPr/>
            </a:pPr>
            <a:endParaRPr lang="en-GB" sz="1200"/>
          </a:p>
        </p:txBody>
      </p:sp>
      <p:sp>
        <p:nvSpPr>
          <p:cNvPr id="53" name="AutoShape 22"/>
          <p:cNvSpPr>
            <a:spLocks noChangeArrowheads="1"/>
          </p:cNvSpPr>
          <p:nvPr/>
        </p:nvSpPr>
        <p:spPr bwMode="auto">
          <a:xfrm rot="16200000" flipH="1">
            <a:off x="2971560" y="2434431"/>
            <a:ext cx="225425" cy="506413"/>
          </a:xfrm>
          <a:prstGeom prst="rightArrow">
            <a:avLst>
              <a:gd name="adj1" fmla="val 50000"/>
              <a:gd name="adj2" fmla="val 50032"/>
            </a:avLst>
          </a:prstGeom>
          <a:solidFill>
            <a:schemeClr val="accent3"/>
          </a:solidFill>
          <a:ln w="6350" algn="ctr">
            <a:noFill/>
            <a:miter lim="800000"/>
            <a:headEnd/>
            <a:tailEnd/>
          </a:ln>
          <a:effectLst/>
        </p:spPr>
        <p:txBody>
          <a:bodyPr tIns="91440" bIns="91440" anchor="ctr"/>
          <a:lstStyle/>
          <a:p>
            <a:pPr algn="ctr">
              <a:spcBef>
                <a:spcPct val="0"/>
              </a:spcBef>
              <a:defRPr/>
            </a:pPr>
            <a:endParaRPr lang="en-GB" sz="1200"/>
          </a:p>
        </p:txBody>
      </p:sp>
      <p:sp>
        <p:nvSpPr>
          <p:cNvPr id="54" name="Rectangle 53"/>
          <p:cNvSpPr>
            <a:spLocks noChangeArrowheads="1"/>
          </p:cNvSpPr>
          <p:nvPr/>
        </p:nvSpPr>
        <p:spPr bwMode="auto">
          <a:xfrm>
            <a:off x="4334429" y="3965258"/>
            <a:ext cx="1012825" cy="501650"/>
          </a:xfrm>
          <a:prstGeom prst="rect">
            <a:avLst/>
          </a:prstGeom>
          <a:noFill/>
          <a:ln w="12700" algn="ctr">
            <a:noFill/>
            <a:miter lim="800000"/>
            <a:headEnd/>
            <a:tailEnd/>
          </a:ln>
          <a:effectLst/>
        </p:spPr>
        <p:txBody>
          <a:bodyPr tIns="91440" bIns="91440" anchor="ctr"/>
          <a:lstStyle/>
          <a:p>
            <a:pPr marL="12700" indent="-12700" algn="ctr">
              <a:lnSpc>
                <a:spcPct val="110000"/>
              </a:lnSpc>
              <a:spcBef>
                <a:spcPct val="0"/>
              </a:spcBef>
            </a:pPr>
            <a:r>
              <a:rPr lang="en-GB" altLang="ja-JP" sz="1200">
                <a:solidFill>
                  <a:schemeClr val="tx2"/>
                </a:solidFill>
                <a:ea typeface="ＭＳ Ｐゴシック" pitchFamily="50" charset="-128"/>
              </a:rPr>
              <a:t>Creativity</a:t>
            </a:r>
          </a:p>
        </p:txBody>
      </p:sp>
      <p:sp>
        <p:nvSpPr>
          <p:cNvPr id="55" name="Rectangle 54"/>
          <p:cNvSpPr>
            <a:spLocks noChangeArrowheads="1"/>
          </p:cNvSpPr>
          <p:nvPr/>
        </p:nvSpPr>
        <p:spPr bwMode="auto">
          <a:xfrm>
            <a:off x="4339191" y="3191193"/>
            <a:ext cx="1012825" cy="500062"/>
          </a:xfrm>
          <a:prstGeom prst="rect">
            <a:avLst/>
          </a:prstGeom>
          <a:noFill/>
          <a:ln w="12700" algn="ctr">
            <a:noFill/>
            <a:miter lim="800000"/>
            <a:headEnd/>
            <a:tailEnd/>
          </a:ln>
          <a:effectLst/>
        </p:spPr>
        <p:txBody>
          <a:bodyPr tIns="91440" bIns="91440" anchor="ctr"/>
          <a:lstStyle/>
          <a:p>
            <a:pPr marL="12700" indent="-12700" algn="ctr">
              <a:lnSpc>
                <a:spcPct val="110000"/>
              </a:lnSpc>
              <a:spcBef>
                <a:spcPct val="0"/>
              </a:spcBef>
            </a:pPr>
            <a:r>
              <a:rPr lang="en-GB" altLang="ja-JP" sz="1200" dirty="0">
                <a:solidFill>
                  <a:schemeClr val="tx2"/>
                </a:solidFill>
                <a:ea typeface="ＭＳ Ｐゴシック" pitchFamily="50" charset="-128"/>
              </a:rPr>
              <a:t>Scenarios</a:t>
            </a:r>
            <a:br>
              <a:rPr lang="en-GB" altLang="ja-JP" sz="1200" dirty="0">
                <a:solidFill>
                  <a:schemeClr val="tx2"/>
                </a:solidFill>
                <a:ea typeface="ＭＳ Ｐゴシック" pitchFamily="50" charset="-128"/>
              </a:rPr>
            </a:br>
            <a:r>
              <a:rPr lang="en-GB" altLang="ja-JP" sz="1200" dirty="0">
                <a:solidFill>
                  <a:schemeClr val="tx2"/>
                </a:solidFill>
                <a:ea typeface="ＭＳ Ｐゴシック" pitchFamily="50" charset="-128"/>
              </a:rPr>
              <a:t>and </a:t>
            </a:r>
            <a:r>
              <a:rPr lang="en-GB" altLang="ja-JP" sz="1200" dirty="0" smtClean="0">
                <a:solidFill>
                  <a:schemeClr val="tx2"/>
                </a:solidFill>
                <a:ea typeface="ＭＳ Ｐゴシック" pitchFamily="50" charset="-128"/>
              </a:rPr>
              <a:t>options</a:t>
            </a:r>
            <a:endParaRPr lang="en-GB" altLang="ja-JP" sz="1200" dirty="0">
              <a:solidFill>
                <a:schemeClr val="tx2"/>
              </a:solidFill>
              <a:ea typeface="ＭＳ Ｐゴシック" pitchFamily="50" charset="-128"/>
            </a:endParaRPr>
          </a:p>
        </p:txBody>
      </p:sp>
      <p:sp>
        <p:nvSpPr>
          <p:cNvPr id="56" name="Freeform 55"/>
          <p:cNvSpPr>
            <a:spLocks/>
          </p:cNvSpPr>
          <p:nvPr/>
        </p:nvSpPr>
        <p:spPr bwMode="auto">
          <a:xfrm>
            <a:off x="1902379" y="361156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accent3"/>
          </a:solidFill>
          <a:ln w="6350" cap="flat" cmpd="sng">
            <a:noFill/>
            <a:prstDash val="solid"/>
            <a:round/>
            <a:headEnd type="none" w="med" len="med"/>
            <a:tailEnd type="none" w="med" len="med"/>
          </a:ln>
          <a:effectLst/>
        </p:spPr>
        <p:txBody>
          <a:bodyPr tIns="91440" bIns="91440" anchor="ctr"/>
          <a:lstStyle/>
          <a:p>
            <a:pPr>
              <a:defRPr/>
            </a:pPr>
            <a:endParaRPr lang="en-GB" sz="1200"/>
          </a:p>
        </p:txBody>
      </p:sp>
      <p:sp>
        <p:nvSpPr>
          <p:cNvPr id="57" name="Freeform 56"/>
          <p:cNvSpPr>
            <a:spLocks/>
          </p:cNvSpPr>
          <p:nvPr/>
        </p:nvSpPr>
        <p:spPr bwMode="auto">
          <a:xfrm>
            <a:off x="3777216" y="361156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accent3"/>
          </a:solidFill>
          <a:ln w="6350" cap="flat" cmpd="sng">
            <a:noFill/>
            <a:prstDash val="solid"/>
            <a:round/>
            <a:headEnd type="none" w="med" len="med"/>
            <a:tailEnd type="none" w="med" len="med"/>
          </a:ln>
          <a:effectLst/>
        </p:spPr>
        <p:txBody>
          <a:bodyPr tIns="91440" bIns="91440" anchor="ctr"/>
          <a:lstStyle/>
          <a:p>
            <a:pPr>
              <a:defRPr/>
            </a:pPr>
            <a:endParaRPr lang="en-GB" sz="1200"/>
          </a:p>
        </p:txBody>
      </p:sp>
      <p:sp>
        <p:nvSpPr>
          <p:cNvPr id="58" name="Freeform 57"/>
          <p:cNvSpPr>
            <a:spLocks/>
          </p:cNvSpPr>
          <p:nvPr/>
        </p:nvSpPr>
        <p:spPr bwMode="auto">
          <a:xfrm>
            <a:off x="5398054" y="361156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accent3"/>
          </a:solidFill>
          <a:ln w="6350" cap="flat" cmpd="sng">
            <a:noFill/>
            <a:prstDash val="solid"/>
            <a:round/>
            <a:headEnd type="none" w="med" len="med"/>
            <a:tailEnd type="none" w="med" len="med"/>
          </a:ln>
          <a:effectLst/>
        </p:spPr>
        <p:txBody>
          <a:bodyPr tIns="91440" bIns="91440" anchor="ctr"/>
          <a:lstStyle/>
          <a:p>
            <a:pPr>
              <a:defRPr/>
            </a:pPr>
            <a:endParaRPr lang="en-GB" sz="1200"/>
          </a:p>
        </p:txBody>
      </p:sp>
      <p:sp>
        <p:nvSpPr>
          <p:cNvPr id="59" name="Freeform 58"/>
          <p:cNvSpPr>
            <a:spLocks/>
          </p:cNvSpPr>
          <p:nvPr/>
        </p:nvSpPr>
        <p:spPr bwMode="auto">
          <a:xfrm>
            <a:off x="6810548" y="3611563"/>
            <a:ext cx="488950" cy="446087"/>
          </a:xfrm>
          <a:custGeom>
            <a:avLst/>
            <a:gdLst/>
            <a:ahLst/>
            <a:cxnLst>
              <a:cxn ang="0">
                <a:pos x="0" y="147"/>
              </a:cxn>
              <a:cxn ang="0">
                <a:pos x="84" y="0"/>
              </a:cxn>
              <a:cxn ang="0">
                <a:pos x="84" y="71"/>
              </a:cxn>
              <a:cxn ang="0">
                <a:pos x="246" y="71"/>
              </a:cxn>
              <a:cxn ang="0">
                <a:pos x="246" y="3"/>
              </a:cxn>
              <a:cxn ang="0">
                <a:pos x="323" y="147"/>
              </a:cxn>
              <a:cxn ang="0">
                <a:pos x="243" y="295"/>
              </a:cxn>
              <a:cxn ang="0">
                <a:pos x="243" y="219"/>
              </a:cxn>
              <a:cxn ang="0">
                <a:pos x="84" y="219"/>
              </a:cxn>
              <a:cxn ang="0">
                <a:pos x="84" y="292"/>
              </a:cxn>
              <a:cxn ang="0">
                <a:pos x="0" y="147"/>
              </a:cxn>
            </a:cxnLst>
            <a:rect l="0" t="0" r="r" b="b"/>
            <a:pathLst>
              <a:path w="324" h="296">
                <a:moveTo>
                  <a:pt x="0" y="147"/>
                </a:moveTo>
                <a:lnTo>
                  <a:pt x="84" y="0"/>
                </a:lnTo>
                <a:lnTo>
                  <a:pt x="84" y="71"/>
                </a:lnTo>
                <a:lnTo>
                  <a:pt x="246" y="71"/>
                </a:lnTo>
                <a:lnTo>
                  <a:pt x="246" y="3"/>
                </a:lnTo>
                <a:lnTo>
                  <a:pt x="323" y="147"/>
                </a:lnTo>
                <a:lnTo>
                  <a:pt x="243" y="295"/>
                </a:lnTo>
                <a:lnTo>
                  <a:pt x="243" y="219"/>
                </a:lnTo>
                <a:lnTo>
                  <a:pt x="84" y="219"/>
                </a:lnTo>
                <a:lnTo>
                  <a:pt x="84" y="292"/>
                </a:lnTo>
                <a:lnTo>
                  <a:pt x="0" y="147"/>
                </a:lnTo>
              </a:path>
            </a:pathLst>
          </a:custGeom>
          <a:solidFill>
            <a:schemeClr val="accent3"/>
          </a:solidFill>
          <a:ln w="6350" cap="flat" cmpd="sng">
            <a:noFill/>
            <a:prstDash val="solid"/>
            <a:round/>
            <a:headEnd type="none" w="med" len="med"/>
            <a:tailEnd type="none" w="med" len="med"/>
          </a:ln>
          <a:effectLst/>
        </p:spPr>
        <p:txBody>
          <a:bodyPr tIns="91440" bIns="91440" anchor="ctr"/>
          <a:lstStyle/>
          <a:p>
            <a:pPr>
              <a:defRPr/>
            </a:pPr>
            <a:endParaRPr lang="en-GB" sz="1200"/>
          </a:p>
        </p:txBody>
      </p:sp>
      <p:sp>
        <p:nvSpPr>
          <p:cNvPr id="32" name="Text Placeholder 12"/>
          <p:cNvSpPr>
            <a:spLocks/>
          </p:cNvSpPr>
          <p:nvPr>
            <p:custDataLst>
              <p:tags r:id="rId1"/>
            </p:custDataLst>
          </p:nvPr>
        </p:nvSpPr>
        <p:spPr bwMode="auto">
          <a:xfrm>
            <a:off x="414338" y="1123950"/>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 name="Donut 387"/>
          <p:cNvSpPr/>
          <p:nvPr/>
        </p:nvSpPr>
        <p:spPr>
          <a:xfrm>
            <a:off x="4700365" y="2249349"/>
            <a:ext cx="4197350" cy="2457450"/>
          </a:xfrm>
          <a:prstGeom prst="donut">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387" name="Donut 386"/>
          <p:cNvSpPr/>
          <p:nvPr/>
        </p:nvSpPr>
        <p:spPr>
          <a:xfrm>
            <a:off x="395332" y="2268399"/>
            <a:ext cx="4197350" cy="2457450"/>
          </a:xfrm>
          <a:prstGeom prst="donut">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765955" name="Title 1"/>
          <p:cNvSpPr>
            <a:spLocks noGrp="1"/>
          </p:cNvSpPr>
          <p:nvPr>
            <p:ph type="title"/>
          </p:nvPr>
        </p:nvSpPr>
        <p:spPr>
          <a:xfrm>
            <a:off x="414338" y="446038"/>
            <a:ext cx="8330184" cy="333425"/>
          </a:xfrm>
        </p:spPr>
        <p:txBody>
          <a:bodyPr/>
          <a:lstStyle/>
          <a:p>
            <a:r>
              <a:rPr lang="en-GB" altLang="ja-JP"/>
              <a:t>Strategy development </a:t>
            </a:r>
            <a:r>
              <a:rPr lang="en-US"/>
              <a:t>—</a:t>
            </a:r>
            <a:r>
              <a:rPr lang="en-GB" altLang="ja-JP" smtClean="0"/>
              <a:t> </a:t>
            </a:r>
            <a:r>
              <a:rPr lang="en-GB" altLang="ja-JP"/>
              <a:t>the loop</a:t>
            </a:r>
            <a:endParaRPr lang="nl-NL"/>
          </a:p>
        </p:txBody>
      </p:sp>
      <p:sp>
        <p:nvSpPr>
          <p:cNvPr id="261" name="Oval 260"/>
          <p:cNvSpPr>
            <a:spLocks noChangeArrowheads="1"/>
          </p:cNvSpPr>
          <p:nvPr/>
        </p:nvSpPr>
        <p:spPr bwMode="auto">
          <a:xfrm>
            <a:off x="1081132" y="4973499"/>
            <a:ext cx="2825750" cy="393700"/>
          </a:xfrm>
          <a:prstGeom prst="ellipse">
            <a:avLst/>
          </a:prstGeom>
          <a:solidFill>
            <a:schemeClr val="accent3"/>
          </a:solidFill>
          <a:ln w="6350" algn="ctr">
            <a:noFill/>
            <a:round/>
            <a:headEnd type="none" w="sm" len="sm"/>
            <a:tailEnd type="none" w="sm" len="sm"/>
          </a:ln>
          <a:effectLst/>
        </p:spPr>
        <p:txBody>
          <a:bodyPr tIns="91440" bIns="91440" anchor="ctr"/>
          <a:lstStyle/>
          <a:p>
            <a:pPr algn="ctr">
              <a:defRPr/>
            </a:pPr>
            <a:r>
              <a:rPr lang="en-GB" altLang="ja-JP" sz="1000" b="1" dirty="0">
                <a:solidFill>
                  <a:schemeClr val="bg1"/>
                </a:solidFill>
                <a:ea typeface="ＭＳ Ｐゴシック" pitchFamily="50" charset="-128"/>
              </a:rPr>
              <a:t>Capital </a:t>
            </a:r>
            <a:r>
              <a:rPr lang="en-GB" altLang="ja-JP" sz="1000" b="1" dirty="0" smtClean="0">
                <a:solidFill>
                  <a:schemeClr val="bg1"/>
                </a:solidFill>
                <a:ea typeface="ＭＳ Ｐゴシック" pitchFamily="50" charset="-128"/>
              </a:rPr>
              <a:t>market</a:t>
            </a:r>
            <a:endParaRPr lang="en-GB" altLang="ja-JP" sz="1000" b="1" dirty="0">
              <a:solidFill>
                <a:schemeClr val="bg1"/>
              </a:solidFill>
              <a:ea typeface="ＭＳ Ｐゴシック" pitchFamily="50" charset="-128"/>
            </a:endParaRPr>
          </a:p>
        </p:txBody>
      </p:sp>
      <p:sp>
        <p:nvSpPr>
          <p:cNvPr id="262" name="Oval 261"/>
          <p:cNvSpPr>
            <a:spLocks noChangeArrowheads="1"/>
          </p:cNvSpPr>
          <p:nvPr/>
        </p:nvSpPr>
        <p:spPr bwMode="auto">
          <a:xfrm>
            <a:off x="5386165" y="4973499"/>
            <a:ext cx="2825750" cy="393700"/>
          </a:xfrm>
          <a:prstGeom prst="ellipse">
            <a:avLst/>
          </a:prstGeom>
          <a:solidFill>
            <a:schemeClr val="accent3"/>
          </a:solidFill>
          <a:ln w="6350" algn="ctr">
            <a:noFill/>
            <a:round/>
            <a:headEnd type="none" w="sm" len="sm"/>
            <a:tailEnd type="none" w="sm" len="sm"/>
          </a:ln>
          <a:effectLst/>
        </p:spPr>
        <p:txBody>
          <a:bodyPr tIns="91440" bIns="91440" anchor="ctr"/>
          <a:lstStyle/>
          <a:p>
            <a:pPr algn="ctr">
              <a:defRPr/>
            </a:pPr>
            <a:r>
              <a:rPr lang="en-GB" altLang="ja-JP" sz="1000" b="1" dirty="0">
                <a:solidFill>
                  <a:schemeClr val="bg1"/>
                </a:solidFill>
                <a:ea typeface="ＭＳ Ｐゴシック" pitchFamily="50" charset="-128"/>
              </a:rPr>
              <a:t>Managed </a:t>
            </a:r>
            <a:r>
              <a:rPr lang="en-GB" altLang="ja-JP" sz="1000" b="1" dirty="0" smtClean="0">
                <a:solidFill>
                  <a:schemeClr val="bg1"/>
                </a:solidFill>
                <a:ea typeface="ＭＳ Ｐゴシック" pitchFamily="50" charset="-128"/>
              </a:rPr>
              <a:t>performance</a:t>
            </a:r>
            <a:endParaRPr lang="en-GB" altLang="ja-JP" sz="1000" b="1" dirty="0">
              <a:solidFill>
                <a:schemeClr val="bg1"/>
              </a:solidFill>
              <a:ea typeface="ＭＳ Ｐゴシック" pitchFamily="50" charset="-128"/>
            </a:endParaRPr>
          </a:p>
        </p:txBody>
      </p:sp>
      <p:sp>
        <p:nvSpPr>
          <p:cNvPr id="264" name="Oval 10"/>
          <p:cNvSpPr>
            <a:spLocks noChangeArrowheads="1"/>
          </p:cNvSpPr>
          <p:nvPr/>
        </p:nvSpPr>
        <p:spPr bwMode="auto">
          <a:xfrm>
            <a:off x="1081132" y="1595299"/>
            <a:ext cx="2825750" cy="393700"/>
          </a:xfrm>
          <a:prstGeom prst="ellipse">
            <a:avLst/>
          </a:prstGeom>
          <a:solidFill>
            <a:schemeClr val="accent3"/>
          </a:solidFill>
          <a:ln w="6350" algn="ctr">
            <a:noFill/>
            <a:round/>
            <a:headEnd type="none" w="sm" len="sm"/>
            <a:tailEnd type="none" w="sm" len="sm"/>
          </a:ln>
          <a:effectLst/>
        </p:spPr>
        <p:txBody>
          <a:bodyPr tIns="91440" bIns="91440" anchor="ctr"/>
          <a:lstStyle/>
          <a:p>
            <a:pPr algn="ctr">
              <a:defRPr/>
            </a:pPr>
            <a:r>
              <a:rPr lang="en-GB" altLang="ja-JP" sz="1000" b="1" dirty="0">
                <a:solidFill>
                  <a:schemeClr val="bg1"/>
                </a:solidFill>
                <a:ea typeface="ＭＳ Ｐゴシック" pitchFamily="50" charset="-128"/>
              </a:rPr>
              <a:t>Commercial </a:t>
            </a:r>
            <a:r>
              <a:rPr lang="en-GB" altLang="ja-JP" sz="1000" b="1" dirty="0" smtClean="0">
                <a:solidFill>
                  <a:schemeClr val="bg1"/>
                </a:solidFill>
                <a:ea typeface="ＭＳ Ｐゴシック" pitchFamily="50" charset="-128"/>
              </a:rPr>
              <a:t>market</a:t>
            </a:r>
            <a:endParaRPr lang="en-GB" altLang="ja-JP" sz="1000" b="1" dirty="0">
              <a:solidFill>
                <a:schemeClr val="bg1"/>
              </a:solidFill>
              <a:ea typeface="ＭＳ Ｐゴシック" pitchFamily="50" charset="-128"/>
            </a:endParaRPr>
          </a:p>
        </p:txBody>
      </p:sp>
      <p:sp>
        <p:nvSpPr>
          <p:cNvPr id="265" name="Oval 11"/>
          <p:cNvSpPr>
            <a:spLocks noChangeArrowheads="1"/>
          </p:cNvSpPr>
          <p:nvPr/>
        </p:nvSpPr>
        <p:spPr bwMode="auto">
          <a:xfrm>
            <a:off x="5386165" y="1573074"/>
            <a:ext cx="2825750" cy="393700"/>
          </a:xfrm>
          <a:prstGeom prst="ellipse">
            <a:avLst/>
          </a:prstGeom>
          <a:solidFill>
            <a:schemeClr val="accent3"/>
          </a:solidFill>
          <a:ln w="6350" algn="ctr">
            <a:noFill/>
            <a:round/>
            <a:headEnd type="none" w="sm" len="sm"/>
            <a:tailEnd type="none" w="sm" len="sm"/>
          </a:ln>
          <a:effectLst/>
        </p:spPr>
        <p:txBody>
          <a:bodyPr tIns="91440" bIns="91440" anchor="ctr"/>
          <a:lstStyle/>
          <a:p>
            <a:pPr algn="ctr">
              <a:defRPr/>
            </a:pPr>
            <a:r>
              <a:rPr lang="en-GB" altLang="ja-JP" sz="1000" b="1" dirty="0">
                <a:solidFill>
                  <a:schemeClr val="bg1"/>
                </a:solidFill>
                <a:ea typeface="ＭＳ Ｐゴシック" pitchFamily="50" charset="-128"/>
              </a:rPr>
              <a:t>Structure and </a:t>
            </a:r>
            <a:r>
              <a:rPr lang="en-GB" altLang="ja-JP" sz="1000" b="1" dirty="0" smtClean="0">
                <a:solidFill>
                  <a:schemeClr val="bg1"/>
                </a:solidFill>
                <a:ea typeface="ＭＳ Ｐゴシック" pitchFamily="50" charset="-128"/>
              </a:rPr>
              <a:t>resources</a:t>
            </a:r>
            <a:endParaRPr lang="en-GB" altLang="ja-JP" sz="1000" b="1" dirty="0">
              <a:solidFill>
                <a:schemeClr val="bg1"/>
              </a:solidFill>
              <a:ea typeface="ＭＳ Ｐゴシック" pitchFamily="50" charset="-128"/>
            </a:endParaRPr>
          </a:p>
        </p:txBody>
      </p:sp>
      <p:sp>
        <p:nvSpPr>
          <p:cNvPr id="290" name="AutoShape 36"/>
          <p:cNvSpPr>
            <a:spLocks noChangeAspect="1" noChangeArrowheads="1"/>
          </p:cNvSpPr>
          <p:nvPr/>
        </p:nvSpPr>
        <p:spPr bwMode="auto">
          <a:xfrm>
            <a:off x="1671682" y="2494245"/>
            <a:ext cx="1644650" cy="211138"/>
          </a:xfrm>
          <a:prstGeom prst="roundRect">
            <a:avLst>
              <a:gd name="adj" fmla="val 50000"/>
            </a:avLst>
          </a:prstGeom>
          <a:noFill/>
          <a:ln w="6350" algn="ctr">
            <a:noFill/>
            <a:round/>
            <a:headEnd type="none" w="sm" len="sm"/>
            <a:tailEnd type="none" w="sm" len="sm"/>
          </a:ln>
          <a:effectLst/>
        </p:spPr>
        <p:txBody>
          <a:bodyPr wrap="none" tIns="91440" bIns="91440" anchor="ctr"/>
          <a:lstStyle/>
          <a:p>
            <a:pPr marL="12700" indent="-12700" algn="ctr">
              <a:lnSpc>
                <a:spcPct val="110000"/>
              </a:lnSpc>
              <a:defRPr/>
            </a:pPr>
            <a:r>
              <a:rPr lang="en-GB" altLang="ja-JP" sz="1000" dirty="0">
                <a:solidFill>
                  <a:schemeClr val="bg1"/>
                </a:solidFill>
                <a:ea typeface="ＭＳ Ｐゴシック" pitchFamily="50" charset="-128"/>
              </a:rPr>
              <a:t>Strategic </a:t>
            </a:r>
            <a:r>
              <a:rPr lang="en-GB" altLang="ja-JP" sz="1000" dirty="0" smtClean="0">
                <a:solidFill>
                  <a:schemeClr val="bg1"/>
                </a:solidFill>
                <a:ea typeface="ＭＳ Ｐゴシック" pitchFamily="50" charset="-128"/>
              </a:rPr>
              <a:t>position</a:t>
            </a:r>
            <a:endParaRPr lang="en-GB" altLang="ja-JP" sz="1000" dirty="0">
              <a:solidFill>
                <a:schemeClr val="bg1"/>
              </a:solidFill>
              <a:ea typeface="ＭＳ Ｐゴシック" pitchFamily="50" charset="-128"/>
            </a:endParaRPr>
          </a:p>
        </p:txBody>
      </p:sp>
      <p:sp>
        <p:nvSpPr>
          <p:cNvPr id="291" name="AutoShape 37"/>
          <p:cNvSpPr>
            <a:spLocks noChangeAspect="1" noChangeArrowheads="1"/>
          </p:cNvSpPr>
          <p:nvPr/>
        </p:nvSpPr>
        <p:spPr bwMode="auto">
          <a:xfrm>
            <a:off x="2509617" y="1988942"/>
            <a:ext cx="1379537" cy="212725"/>
          </a:xfrm>
          <a:prstGeom prst="roundRect">
            <a:avLst>
              <a:gd name="adj" fmla="val 50000"/>
            </a:avLst>
          </a:prstGeom>
          <a:noFill/>
          <a:ln w="6350" algn="ctr">
            <a:noFill/>
            <a:round/>
            <a:headEnd type="none" w="sm" len="sm"/>
            <a:tailEnd type="none" w="sm" len="sm"/>
          </a:ln>
          <a:effectLst/>
        </p:spPr>
        <p:txBody>
          <a:bodyPr wrap="none" tIns="91440" bIns="91440" anchor="ctr"/>
          <a:lstStyle/>
          <a:p>
            <a:pPr marL="12700" indent="-12700" algn="ctr">
              <a:lnSpc>
                <a:spcPct val="110000"/>
              </a:lnSpc>
              <a:defRPr/>
            </a:pPr>
            <a:r>
              <a:rPr lang="en-GB" altLang="ja-JP" sz="1000" dirty="0">
                <a:solidFill>
                  <a:schemeClr val="tx2"/>
                </a:solidFill>
                <a:ea typeface="ＭＳ Ｐゴシック" pitchFamily="50" charset="-128"/>
              </a:rPr>
              <a:t>Competitive </a:t>
            </a:r>
            <a:r>
              <a:rPr lang="en-GB" altLang="ja-JP" sz="1000" dirty="0" smtClean="0">
                <a:solidFill>
                  <a:schemeClr val="tx2"/>
                </a:solidFill>
                <a:ea typeface="ＭＳ Ｐゴシック" pitchFamily="50" charset="-128"/>
              </a:rPr>
              <a:t>position</a:t>
            </a:r>
            <a:endParaRPr lang="en-GB" altLang="ja-JP" sz="1000" dirty="0">
              <a:solidFill>
                <a:schemeClr val="tx2"/>
              </a:solidFill>
              <a:ea typeface="ＭＳ Ｐゴシック" pitchFamily="50" charset="-128"/>
            </a:endParaRPr>
          </a:p>
        </p:txBody>
      </p:sp>
      <p:sp>
        <p:nvSpPr>
          <p:cNvPr id="292" name="AutoShape 38"/>
          <p:cNvSpPr>
            <a:spLocks noChangeAspect="1" noChangeArrowheads="1"/>
          </p:cNvSpPr>
          <p:nvPr/>
        </p:nvSpPr>
        <p:spPr bwMode="auto">
          <a:xfrm>
            <a:off x="999237" y="1988942"/>
            <a:ext cx="1379537" cy="212725"/>
          </a:xfrm>
          <a:prstGeom prst="roundRect">
            <a:avLst>
              <a:gd name="adj" fmla="val 50000"/>
            </a:avLst>
          </a:prstGeom>
          <a:noFill/>
          <a:ln w="6350" algn="ctr">
            <a:noFill/>
            <a:round/>
            <a:headEnd type="none" w="sm" len="sm"/>
            <a:tailEnd type="none" w="sm" len="sm"/>
          </a:ln>
          <a:effectLst/>
        </p:spPr>
        <p:txBody>
          <a:bodyPr wrap="none" tIns="91440" bIns="91440" anchor="ctr"/>
          <a:lstStyle/>
          <a:p>
            <a:pPr marL="12700" indent="-12700" algn="ctr">
              <a:lnSpc>
                <a:spcPct val="110000"/>
              </a:lnSpc>
              <a:defRPr/>
            </a:pPr>
            <a:r>
              <a:rPr lang="en-GB" altLang="ja-JP" sz="1000" dirty="0">
                <a:solidFill>
                  <a:schemeClr val="tx2"/>
                </a:solidFill>
                <a:ea typeface="ＭＳ Ｐゴシック" pitchFamily="50" charset="-128"/>
              </a:rPr>
              <a:t>Market </a:t>
            </a:r>
            <a:r>
              <a:rPr lang="en-GB" altLang="ja-JP" sz="1000" dirty="0" smtClean="0">
                <a:solidFill>
                  <a:schemeClr val="tx2"/>
                </a:solidFill>
                <a:ea typeface="ＭＳ Ｐゴシック" pitchFamily="50" charset="-128"/>
              </a:rPr>
              <a:t>attractiveness</a:t>
            </a:r>
            <a:endParaRPr lang="en-GB" altLang="ja-JP" sz="1000" dirty="0">
              <a:solidFill>
                <a:schemeClr val="tx2"/>
              </a:solidFill>
              <a:ea typeface="ＭＳ Ｐゴシック" pitchFamily="50" charset="-128"/>
            </a:endParaRPr>
          </a:p>
        </p:txBody>
      </p:sp>
      <p:sp>
        <p:nvSpPr>
          <p:cNvPr id="293" name="AutoShape 39"/>
          <p:cNvSpPr>
            <a:spLocks noChangeAspect="1" noChangeArrowheads="1"/>
          </p:cNvSpPr>
          <p:nvPr/>
        </p:nvSpPr>
        <p:spPr bwMode="auto">
          <a:xfrm>
            <a:off x="937541" y="3112192"/>
            <a:ext cx="1350962" cy="211137"/>
          </a:xfrm>
          <a:prstGeom prst="roundRect">
            <a:avLst>
              <a:gd name="adj" fmla="val 50000"/>
            </a:avLst>
          </a:prstGeom>
          <a:noFill/>
          <a:ln w="6350" algn="ctr">
            <a:noFill/>
            <a:round/>
            <a:headEnd type="none" w="sm" len="sm"/>
            <a:tailEnd type="none" w="sm" len="sm"/>
          </a:ln>
          <a:effectLst/>
        </p:spPr>
        <p:txBody>
          <a:bodyPr wrap="none" tIns="91440" bIns="91440" anchor="ctr"/>
          <a:lstStyle/>
          <a:p>
            <a:pPr marL="12700" indent="-12700" algn="ctr">
              <a:defRPr/>
            </a:pPr>
            <a:r>
              <a:rPr lang="en-GB" altLang="ja-JP" sz="1000" dirty="0">
                <a:solidFill>
                  <a:schemeClr val="tx2"/>
                </a:solidFill>
                <a:ea typeface="ＭＳ Ｐゴシック" pitchFamily="50" charset="-128"/>
              </a:rPr>
              <a:t>Scope </a:t>
            </a:r>
            <a:r>
              <a:rPr lang="en-GB" altLang="ja-JP" sz="1000" dirty="0" smtClean="0">
                <a:solidFill>
                  <a:schemeClr val="tx2"/>
                </a:solidFill>
                <a:ea typeface="ＭＳ Ｐゴシック" pitchFamily="50" charset="-128"/>
              </a:rPr>
              <a:t/>
            </a:r>
            <a:br>
              <a:rPr lang="en-GB" altLang="ja-JP" sz="1000" dirty="0" smtClean="0">
                <a:solidFill>
                  <a:schemeClr val="tx2"/>
                </a:solidFill>
                <a:ea typeface="ＭＳ Ｐゴシック" pitchFamily="50" charset="-128"/>
              </a:rPr>
            </a:br>
            <a:r>
              <a:rPr lang="en-GB" altLang="ja-JP" sz="1000" dirty="0" smtClean="0">
                <a:solidFill>
                  <a:schemeClr val="tx2"/>
                </a:solidFill>
                <a:ea typeface="ＭＳ Ｐゴシック" pitchFamily="50" charset="-128"/>
              </a:rPr>
              <a:t>and context</a:t>
            </a:r>
            <a:endParaRPr lang="en-GB" altLang="ja-JP" sz="1000" dirty="0">
              <a:solidFill>
                <a:schemeClr val="tx2"/>
              </a:solidFill>
              <a:ea typeface="ＭＳ Ｐゴシック" pitchFamily="50" charset="-128"/>
            </a:endParaRPr>
          </a:p>
        </p:txBody>
      </p:sp>
      <p:sp>
        <p:nvSpPr>
          <p:cNvPr id="294" name="AutoShape 40"/>
          <p:cNvSpPr>
            <a:spLocks noChangeAspect="1" noChangeArrowheads="1"/>
          </p:cNvSpPr>
          <p:nvPr/>
        </p:nvSpPr>
        <p:spPr bwMode="auto">
          <a:xfrm>
            <a:off x="952840" y="3579679"/>
            <a:ext cx="1350962" cy="365253"/>
          </a:xfrm>
          <a:prstGeom prst="roundRect">
            <a:avLst>
              <a:gd name="adj" fmla="val 50000"/>
            </a:avLst>
          </a:prstGeom>
          <a:noFill/>
          <a:ln w="6350" algn="ctr">
            <a:noFill/>
            <a:round/>
            <a:headEnd type="none" w="sm" len="sm"/>
            <a:tailEnd type="none" w="sm" len="sm"/>
          </a:ln>
          <a:effectLst/>
        </p:spPr>
        <p:txBody>
          <a:bodyPr wrap="none" tIns="91440" bIns="91440" anchor="ctr"/>
          <a:lstStyle/>
          <a:p>
            <a:pPr marL="12700" indent="-12700" algn="ctr">
              <a:defRPr/>
            </a:pPr>
            <a:r>
              <a:rPr lang="en-GB" altLang="ja-JP" sz="1000" dirty="0">
                <a:solidFill>
                  <a:schemeClr val="tx2"/>
                </a:solidFill>
                <a:ea typeface="ＭＳ Ｐゴシック" pitchFamily="50" charset="-128"/>
              </a:rPr>
              <a:t>Strategic </a:t>
            </a:r>
            <a:r>
              <a:rPr lang="en-GB" altLang="ja-JP" sz="1000" dirty="0" smtClean="0">
                <a:solidFill>
                  <a:schemeClr val="tx2"/>
                </a:solidFill>
                <a:ea typeface="ＭＳ Ｐゴシック" pitchFamily="50" charset="-128"/>
              </a:rPr>
              <a:t/>
            </a:r>
            <a:br>
              <a:rPr lang="en-GB" altLang="ja-JP" sz="1000" dirty="0" smtClean="0">
                <a:solidFill>
                  <a:schemeClr val="tx2"/>
                </a:solidFill>
                <a:ea typeface="ＭＳ Ｐゴシック" pitchFamily="50" charset="-128"/>
              </a:rPr>
            </a:br>
            <a:r>
              <a:rPr lang="en-GB" altLang="ja-JP" sz="1000" dirty="0" smtClean="0">
                <a:solidFill>
                  <a:schemeClr val="tx2"/>
                </a:solidFill>
                <a:ea typeface="ＭＳ Ｐゴシック" pitchFamily="50" charset="-128"/>
              </a:rPr>
              <a:t>issues</a:t>
            </a:r>
            <a:endParaRPr lang="en-GB" altLang="ja-JP" sz="1000" dirty="0">
              <a:solidFill>
                <a:schemeClr val="tx2"/>
              </a:solidFill>
              <a:ea typeface="ＭＳ Ｐゴシック" pitchFamily="50" charset="-128"/>
            </a:endParaRPr>
          </a:p>
        </p:txBody>
      </p:sp>
      <p:sp>
        <p:nvSpPr>
          <p:cNvPr id="305" name="Oval 51"/>
          <p:cNvSpPr>
            <a:spLocks noChangeArrowheads="1"/>
          </p:cNvSpPr>
          <p:nvPr/>
        </p:nvSpPr>
        <p:spPr bwMode="auto">
          <a:xfrm>
            <a:off x="2050301" y="3111362"/>
            <a:ext cx="887413" cy="885825"/>
          </a:xfrm>
          <a:prstGeom prst="ellipse">
            <a:avLst/>
          </a:prstGeom>
          <a:noFill/>
          <a:ln w="19050">
            <a:solidFill>
              <a:schemeClr val="accent3"/>
            </a:solidFill>
            <a:round/>
            <a:headEnd type="none" w="sm" len="sm"/>
            <a:tailEnd type="none" w="sm" len="sm"/>
          </a:ln>
          <a:effectLst/>
        </p:spPr>
        <p:txBody>
          <a:bodyPr wrap="none" anchor="ctr"/>
          <a:lstStyle/>
          <a:p>
            <a:pPr algn="ctr">
              <a:defRPr/>
            </a:pPr>
            <a:r>
              <a:rPr kumimoji="1" lang="en-GB" altLang="ja-JP" sz="1200" b="1" dirty="0">
                <a:solidFill>
                  <a:schemeClr val="tx2"/>
                </a:solidFill>
                <a:ea typeface="ＭＳ Ｐゴシック" pitchFamily="50" charset="-128"/>
              </a:rPr>
              <a:t>Insight</a:t>
            </a:r>
          </a:p>
        </p:txBody>
      </p:sp>
      <p:sp>
        <p:nvSpPr>
          <p:cNvPr id="306" name="Oval 52"/>
          <p:cNvSpPr>
            <a:spLocks noChangeArrowheads="1"/>
          </p:cNvSpPr>
          <p:nvPr/>
        </p:nvSpPr>
        <p:spPr bwMode="auto">
          <a:xfrm>
            <a:off x="6356922" y="3059689"/>
            <a:ext cx="884237" cy="885825"/>
          </a:xfrm>
          <a:prstGeom prst="ellipse">
            <a:avLst/>
          </a:prstGeom>
          <a:solidFill>
            <a:srgbClr val="FFFFFF"/>
          </a:solidFill>
          <a:ln w="19050">
            <a:solidFill>
              <a:schemeClr val="accent3"/>
            </a:solidFill>
            <a:round/>
            <a:headEnd type="none" w="sm" len="sm"/>
            <a:tailEnd type="none" w="sm" len="sm"/>
          </a:ln>
          <a:effectLst/>
        </p:spPr>
        <p:txBody>
          <a:bodyPr lIns="0" tIns="0" rIns="0" bIns="0" anchor="ctr"/>
          <a:lstStyle/>
          <a:p>
            <a:pPr algn="ctr">
              <a:defRPr/>
            </a:pPr>
            <a:endParaRPr kumimoji="1" lang="en-GB" sz="1000">
              <a:ea typeface="ＭＳ Ｐゴシック" pitchFamily="50" charset="-128"/>
            </a:endParaRPr>
          </a:p>
        </p:txBody>
      </p:sp>
      <p:sp>
        <p:nvSpPr>
          <p:cNvPr id="765968" name="Rectangle 53"/>
          <p:cNvSpPr>
            <a:spLocks noChangeArrowheads="1"/>
          </p:cNvSpPr>
          <p:nvPr/>
        </p:nvSpPr>
        <p:spPr bwMode="auto">
          <a:xfrm>
            <a:off x="6268815" y="3334814"/>
            <a:ext cx="1060450" cy="332399"/>
          </a:xfrm>
          <a:prstGeom prst="rect">
            <a:avLst/>
          </a:prstGeom>
          <a:noFill/>
          <a:ln w="12700">
            <a:noFill/>
            <a:miter lim="800000"/>
            <a:headEnd type="none" w="sm" len="sm"/>
            <a:tailEnd type="none" w="sm" len="sm"/>
          </a:ln>
        </p:spPr>
        <p:txBody>
          <a:bodyPr lIns="0" tIns="0" rIns="0" bIns="0" anchor="ctr">
            <a:spAutoFit/>
          </a:bodyPr>
          <a:lstStyle/>
          <a:p>
            <a:pPr algn="ctr">
              <a:lnSpc>
                <a:spcPct val="80000"/>
              </a:lnSpc>
            </a:pPr>
            <a:r>
              <a:rPr kumimoji="1" lang="en-GB" altLang="ja-JP" sz="1200" b="1" dirty="0">
                <a:solidFill>
                  <a:schemeClr val="tx2"/>
                </a:solidFill>
                <a:ea typeface="ＭＳ Ｐゴシック" charset="-128"/>
              </a:rPr>
              <a:t>Value </a:t>
            </a:r>
          </a:p>
          <a:p>
            <a:pPr algn="ctr">
              <a:lnSpc>
                <a:spcPct val="80000"/>
              </a:lnSpc>
            </a:pPr>
            <a:r>
              <a:rPr kumimoji="1" lang="en-GB" altLang="ja-JP" sz="1200" b="1" dirty="0" smtClean="0">
                <a:solidFill>
                  <a:schemeClr val="tx2"/>
                </a:solidFill>
                <a:ea typeface="ＭＳ Ｐゴシック" charset="-128"/>
              </a:rPr>
              <a:t>creation</a:t>
            </a:r>
            <a:endParaRPr kumimoji="1" lang="en-GB" altLang="ja-JP" sz="1200" b="1" dirty="0">
              <a:solidFill>
                <a:schemeClr val="tx2"/>
              </a:solidFill>
              <a:ea typeface="ＭＳ Ｐゴシック" charset="-128"/>
            </a:endParaRPr>
          </a:p>
        </p:txBody>
      </p:sp>
      <p:sp>
        <p:nvSpPr>
          <p:cNvPr id="308" name="AutoShape 54"/>
          <p:cNvSpPr>
            <a:spLocks noChangeAspect="1" noChangeArrowheads="1"/>
          </p:cNvSpPr>
          <p:nvPr/>
        </p:nvSpPr>
        <p:spPr bwMode="auto">
          <a:xfrm>
            <a:off x="1671682" y="4303000"/>
            <a:ext cx="1644650" cy="211137"/>
          </a:xfrm>
          <a:prstGeom prst="roundRect">
            <a:avLst>
              <a:gd name="adj" fmla="val 50000"/>
            </a:avLst>
          </a:prstGeom>
          <a:noFill/>
          <a:ln w="6350" algn="ctr">
            <a:noFill/>
            <a:round/>
            <a:headEnd type="none" w="sm" len="sm"/>
            <a:tailEnd type="none" w="sm" len="sm"/>
          </a:ln>
          <a:effectLst/>
        </p:spPr>
        <p:txBody>
          <a:bodyPr wrap="none" tIns="91440" bIns="91440" anchor="ctr"/>
          <a:lstStyle/>
          <a:p>
            <a:pPr marL="12700" indent="-12700" algn="ctr">
              <a:lnSpc>
                <a:spcPct val="110000"/>
              </a:lnSpc>
              <a:defRPr/>
            </a:pPr>
            <a:r>
              <a:rPr lang="en-GB" altLang="ja-JP" sz="1000" dirty="0">
                <a:solidFill>
                  <a:schemeClr val="bg1"/>
                </a:solidFill>
                <a:ea typeface="ＭＳ Ｐゴシック" pitchFamily="50" charset="-128"/>
              </a:rPr>
              <a:t>Financial </a:t>
            </a:r>
            <a:r>
              <a:rPr lang="en-GB" altLang="ja-JP" sz="1000" dirty="0" smtClean="0">
                <a:solidFill>
                  <a:schemeClr val="bg1"/>
                </a:solidFill>
                <a:ea typeface="ＭＳ Ｐゴシック" pitchFamily="50" charset="-128"/>
              </a:rPr>
              <a:t>position</a:t>
            </a:r>
            <a:endParaRPr lang="en-GB" altLang="ja-JP" sz="1000" dirty="0">
              <a:solidFill>
                <a:schemeClr val="bg1"/>
              </a:solidFill>
              <a:ea typeface="ＭＳ Ｐゴシック" pitchFamily="50" charset="-128"/>
            </a:endParaRPr>
          </a:p>
        </p:txBody>
      </p:sp>
      <p:sp>
        <p:nvSpPr>
          <p:cNvPr id="309" name="AutoShape 55"/>
          <p:cNvSpPr>
            <a:spLocks noChangeAspect="1" noChangeArrowheads="1"/>
          </p:cNvSpPr>
          <p:nvPr/>
        </p:nvSpPr>
        <p:spPr bwMode="auto">
          <a:xfrm>
            <a:off x="2509617" y="4730918"/>
            <a:ext cx="1370013" cy="211138"/>
          </a:xfrm>
          <a:prstGeom prst="roundRect">
            <a:avLst>
              <a:gd name="adj" fmla="val 50000"/>
            </a:avLst>
          </a:prstGeom>
          <a:noFill/>
          <a:ln w="6350" algn="ctr">
            <a:noFill/>
            <a:round/>
            <a:headEnd type="none" w="sm" len="sm"/>
            <a:tailEnd type="none" w="sm" len="sm"/>
          </a:ln>
          <a:effectLst/>
        </p:spPr>
        <p:txBody>
          <a:bodyPr wrap="none" tIns="91440" bIns="91440" anchor="ctr"/>
          <a:lstStyle/>
          <a:p>
            <a:pPr marL="12700" indent="-12700" algn="ctr">
              <a:lnSpc>
                <a:spcPct val="110000"/>
              </a:lnSpc>
              <a:defRPr/>
            </a:pPr>
            <a:r>
              <a:rPr lang="en-GB" altLang="ja-JP" sz="1000" dirty="0">
                <a:solidFill>
                  <a:schemeClr val="tx2"/>
                </a:solidFill>
                <a:ea typeface="ＭＳ Ｐゴシック" pitchFamily="50" charset="-128"/>
              </a:rPr>
              <a:t>Growth</a:t>
            </a:r>
          </a:p>
        </p:txBody>
      </p:sp>
      <p:sp>
        <p:nvSpPr>
          <p:cNvPr id="310" name="AutoShape 56"/>
          <p:cNvSpPr>
            <a:spLocks noChangeAspect="1" noChangeArrowheads="1"/>
          </p:cNvSpPr>
          <p:nvPr/>
        </p:nvSpPr>
        <p:spPr bwMode="auto">
          <a:xfrm>
            <a:off x="735693" y="4730918"/>
            <a:ext cx="1757868" cy="250497"/>
          </a:xfrm>
          <a:prstGeom prst="roundRect">
            <a:avLst>
              <a:gd name="adj" fmla="val 50000"/>
            </a:avLst>
          </a:prstGeom>
          <a:noFill/>
          <a:ln w="6350" algn="ctr">
            <a:noFill/>
            <a:round/>
            <a:headEnd type="none" w="sm" len="sm"/>
            <a:tailEnd type="none" w="sm" len="sm"/>
          </a:ln>
          <a:effectLst/>
        </p:spPr>
        <p:txBody>
          <a:bodyPr wrap="none" tIns="91440" bIns="91440" anchor="ctr"/>
          <a:lstStyle/>
          <a:p>
            <a:pPr marL="12700" indent="-12700" algn="ctr">
              <a:lnSpc>
                <a:spcPct val="110000"/>
              </a:lnSpc>
              <a:defRPr/>
            </a:pPr>
            <a:r>
              <a:rPr lang="en-GB" altLang="ja-JP" sz="1000" dirty="0" smtClean="0">
                <a:solidFill>
                  <a:schemeClr val="tx2"/>
                </a:solidFill>
                <a:ea typeface="ＭＳ Ｐゴシック" pitchFamily="50" charset="-128"/>
              </a:rPr>
              <a:t>Economic profitability</a:t>
            </a:r>
            <a:endParaRPr lang="en-GB" altLang="ja-JP" sz="1000" dirty="0">
              <a:solidFill>
                <a:schemeClr val="tx2"/>
              </a:solidFill>
              <a:ea typeface="ＭＳ Ｐゴシック" pitchFamily="50" charset="-128"/>
            </a:endParaRPr>
          </a:p>
        </p:txBody>
      </p:sp>
      <p:sp>
        <p:nvSpPr>
          <p:cNvPr id="311" name="AutoShape 57"/>
          <p:cNvSpPr>
            <a:spLocks noChangeAspect="1" noChangeArrowheads="1"/>
          </p:cNvSpPr>
          <p:nvPr/>
        </p:nvSpPr>
        <p:spPr bwMode="auto">
          <a:xfrm>
            <a:off x="5149628" y="4299548"/>
            <a:ext cx="3298825" cy="239713"/>
          </a:xfrm>
          <a:prstGeom prst="roundRect">
            <a:avLst>
              <a:gd name="adj" fmla="val 50000"/>
            </a:avLst>
          </a:prstGeom>
          <a:noFill/>
          <a:ln w="6350" algn="ctr">
            <a:noFill/>
            <a:round/>
            <a:headEnd type="none" w="sm" len="sm"/>
            <a:tailEnd type="none" w="sm" len="sm"/>
          </a:ln>
          <a:effectLst/>
        </p:spPr>
        <p:txBody>
          <a:bodyPr wrap="none" tIns="91440" bIns="91440" anchor="ctr"/>
          <a:lstStyle/>
          <a:p>
            <a:pPr marL="12700" indent="-12700" algn="ctr">
              <a:lnSpc>
                <a:spcPct val="110000"/>
              </a:lnSpc>
              <a:defRPr/>
            </a:pPr>
            <a:r>
              <a:rPr lang="en-GB" altLang="ja-JP" sz="1000" dirty="0">
                <a:solidFill>
                  <a:schemeClr val="bg1"/>
                </a:solidFill>
                <a:ea typeface="ＭＳ Ｐゴシック" pitchFamily="50" charset="-128"/>
              </a:rPr>
              <a:t>Critical </a:t>
            </a:r>
            <a:r>
              <a:rPr lang="en-GB" altLang="ja-JP" sz="1000" dirty="0" smtClean="0">
                <a:solidFill>
                  <a:schemeClr val="bg1"/>
                </a:solidFill>
                <a:ea typeface="ＭＳ Ｐゴシック" pitchFamily="50" charset="-128"/>
              </a:rPr>
              <a:t>success factors </a:t>
            </a:r>
            <a:r>
              <a:rPr lang="en-GB" altLang="ja-JP" sz="1000" dirty="0">
                <a:solidFill>
                  <a:schemeClr val="bg1"/>
                </a:solidFill>
                <a:ea typeface="ＭＳ Ｐゴシック" pitchFamily="50" charset="-128"/>
              </a:rPr>
              <a:t>and</a:t>
            </a:r>
            <a:br>
              <a:rPr lang="en-GB" altLang="ja-JP" sz="1000" dirty="0">
                <a:solidFill>
                  <a:schemeClr val="bg1"/>
                </a:solidFill>
                <a:ea typeface="ＭＳ Ｐゴシック" pitchFamily="50" charset="-128"/>
              </a:rPr>
            </a:br>
            <a:r>
              <a:rPr lang="en-GB" altLang="ja-JP" sz="1000" dirty="0" smtClean="0">
                <a:solidFill>
                  <a:schemeClr val="bg1"/>
                </a:solidFill>
                <a:ea typeface="ＭＳ Ｐゴシック" pitchFamily="50" charset="-128"/>
              </a:rPr>
              <a:t>key </a:t>
            </a:r>
            <a:r>
              <a:rPr lang="en-GB" altLang="ja-JP" sz="1000" dirty="0">
                <a:solidFill>
                  <a:schemeClr val="bg1"/>
                </a:solidFill>
                <a:ea typeface="ＭＳ Ｐゴシック" pitchFamily="50" charset="-128"/>
              </a:rPr>
              <a:t>p</a:t>
            </a:r>
            <a:r>
              <a:rPr lang="en-GB" altLang="ja-JP" sz="1000" dirty="0" smtClean="0">
                <a:solidFill>
                  <a:schemeClr val="bg1"/>
                </a:solidFill>
                <a:ea typeface="ＭＳ Ｐゴシック" pitchFamily="50" charset="-128"/>
              </a:rPr>
              <a:t>erformance indicators </a:t>
            </a:r>
            <a:endParaRPr lang="en-GB" altLang="ja-JP" sz="1000" dirty="0">
              <a:solidFill>
                <a:schemeClr val="bg1"/>
              </a:solidFill>
              <a:ea typeface="ＭＳ Ｐゴシック" pitchFamily="50" charset="-128"/>
            </a:endParaRPr>
          </a:p>
        </p:txBody>
      </p:sp>
      <p:sp>
        <p:nvSpPr>
          <p:cNvPr id="312" name="AutoShape 58"/>
          <p:cNvSpPr>
            <a:spLocks noChangeAspect="1" noChangeArrowheads="1"/>
          </p:cNvSpPr>
          <p:nvPr/>
        </p:nvSpPr>
        <p:spPr bwMode="auto">
          <a:xfrm>
            <a:off x="5152009" y="4730918"/>
            <a:ext cx="3294062" cy="239712"/>
          </a:xfrm>
          <a:prstGeom prst="roundRect">
            <a:avLst>
              <a:gd name="adj" fmla="val 50000"/>
            </a:avLst>
          </a:prstGeom>
          <a:noFill/>
          <a:ln w="6350" algn="ctr">
            <a:noFill/>
            <a:round/>
            <a:headEnd type="none" w="sm" len="sm"/>
            <a:tailEnd type="none" w="sm" len="sm"/>
          </a:ln>
          <a:effectLst/>
        </p:spPr>
        <p:txBody>
          <a:bodyPr wrap="none" tIns="91440" bIns="91440" anchor="ctr"/>
          <a:lstStyle/>
          <a:p>
            <a:pPr marL="12700" indent="-12700" algn="ctr">
              <a:lnSpc>
                <a:spcPct val="110000"/>
              </a:lnSpc>
              <a:defRPr/>
            </a:pPr>
            <a:r>
              <a:rPr lang="en-GB" altLang="ja-JP" sz="1000" dirty="0">
                <a:solidFill>
                  <a:schemeClr val="tx2"/>
                </a:solidFill>
                <a:ea typeface="ＭＳ Ｐゴシック" pitchFamily="50" charset="-128"/>
              </a:rPr>
              <a:t>Performance </a:t>
            </a:r>
            <a:r>
              <a:rPr lang="en-GB" altLang="ja-JP" sz="1000" dirty="0" smtClean="0">
                <a:solidFill>
                  <a:schemeClr val="tx2"/>
                </a:solidFill>
                <a:ea typeface="ＭＳ Ｐゴシック" pitchFamily="50" charset="-128"/>
              </a:rPr>
              <a:t>monitoring </a:t>
            </a:r>
            <a:r>
              <a:rPr lang="en-GB" altLang="ja-JP" sz="1000" dirty="0">
                <a:solidFill>
                  <a:schemeClr val="tx2"/>
                </a:solidFill>
                <a:ea typeface="ＭＳ Ｐゴシック" pitchFamily="50" charset="-128"/>
              </a:rPr>
              <a:t>and </a:t>
            </a:r>
            <a:r>
              <a:rPr lang="en-GB" altLang="ja-JP" sz="1000" dirty="0" smtClean="0">
                <a:solidFill>
                  <a:schemeClr val="tx2"/>
                </a:solidFill>
                <a:ea typeface="ＭＳ Ｐゴシック" pitchFamily="50" charset="-128"/>
              </a:rPr>
              <a:t>incentive compensation</a:t>
            </a:r>
            <a:endParaRPr lang="en-GB" altLang="ja-JP" sz="1000" dirty="0">
              <a:solidFill>
                <a:schemeClr val="tx2"/>
              </a:solidFill>
              <a:ea typeface="ＭＳ Ｐゴシック" pitchFamily="50" charset="-128"/>
            </a:endParaRPr>
          </a:p>
        </p:txBody>
      </p:sp>
      <p:sp>
        <p:nvSpPr>
          <p:cNvPr id="313" name="AutoShape 59"/>
          <p:cNvSpPr>
            <a:spLocks noChangeAspect="1" noChangeArrowheads="1"/>
          </p:cNvSpPr>
          <p:nvPr/>
        </p:nvSpPr>
        <p:spPr bwMode="auto">
          <a:xfrm>
            <a:off x="5644134" y="1988942"/>
            <a:ext cx="2309813" cy="228600"/>
          </a:xfrm>
          <a:prstGeom prst="roundRect">
            <a:avLst>
              <a:gd name="adj" fmla="val 50000"/>
            </a:avLst>
          </a:prstGeom>
          <a:noFill/>
          <a:ln w="6350" algn="ctr">
            <a:noFill/>
            <a:round/>
            <a:headEnd type="none" w="sm" len="sm"/>
            <a:tailEnd type="none" w="sm" len="sm"/>
          </a:ln>
          <a:effectLst/>
        </p:spPr>
        <p:txBody>
          <a:bodyPr wrap="none" tIns="91440" bIns="91440" anchor="ctr"/>
          <a:lstStyle/>
          <a:p>
            <a:pPr marL="12700" indent="-12700" algn="ctr">
              <a:lnSpc>
                <a:spcPct val="110000"/>
              </a:lnSpc>
              <a:defRPr/>
            </a:pPr>
            <a:r>
              <a:rPr lang="en-GB" altLang="ja-JP" sz="1000" dirty="0">
                <a:solidFill>
                  <a:schemeClr val="tx2"/>
                </a:solidFill>
                <a:ea typeface="ＭＳ Ｐゴシック" pitchFamily="50" charset="-128"/>
              </a:rPr>
              <a:t>Organizational </a:t>
            </a:r>
            <a:r>
              <a:rPr lang="en-GB" altLang="ja-JP" sz="1000" dirty="0" smtClean="0">
                <a:solidFill>
                  <a:schemeClr val="tx2"/>
                </a:solidFill>
                <a:ea typeface="ＭＳ Ｐゴシック" pitchFamily="50" charset="-128"/>
              </a:rPr>
              <a:t>architecture</a:t>
            </a:r>
            <a:endParaRPr lang="en-GB" altLang="ja-JP" sz="1000" dirty="0">
              <a:solidFill>
                <a:schemeClr val="tx2"/>
              </a:solidFill>
              <a:ea typeface="ＭＳ Ｐゴシック" pitchFamily="50" charset="-128"/>
            </a:endParaRPr>
          </a:p>
        </p:txBody>
      </p:sp>
      <p:sp>
        <p:nvSpPr>
          <p:cNvPr id="314" name="AutoShape 60"/>
          <p:cNvSpPr>
            <a:spLocks noChangeAspect="1" noChangeArrowheads="1"/>
          </p:cNvSpPr>
          <p:nvPr/>
        </p:nvSpPr>
        <p:spPr bwMode="auto">
          <a:xfrm>
            <a:off x="5943378" y="2470433"/>
            <a:ext cx="1711325" cy="211137"/>
          </a:xfrm>
          <a:prstGeom prst="roundRect">
            <a:avLst>
              <a:gd name="adj" fmla="val 50000"/>
            </a:avLst>
          </a:prstGeom>
          <a:noFill/>
          <a:ln w="6350" algn="ctr">
            <a:noFill/>
            <a:round/>
            <a:headEnd type="none" w="sm" len="sm"/>
            <a:tailEnd type="none" w="sm" len="sm"/>
          </a:ln>
          <a:effectLst/>
        </p:spPr>
        <p:txBody>
          <a:bodyPr wrap="none" tIns="91440" bIns="91440" anchor="ctr"/>
          <a:lstStyle/>
          <a:p>
            <a:pPr marL="12700" indent="-12700" algn="ctr">
              <a:lnSpc>
                <a:spcPct val="110000"/>
              </a:lnSpc>
              <a:defRPr/>
            </a:pPr>
            <a:r>
              <a:rPr lang="en-GB" altLang="ja-JP" sz="1000" dirty="0">
                <a:solidFill>
                  <a:schemeClr val="bg1"/>
                </a:solidFill>
                <a:ea typeface="ＭＳ Ｐゴシック" pitchFamily="50" charset="-128"/>
              </a:rPr>
              <a:t>Projects and </a:t>
            </a:r>
            <a:r>
              <a:rPr lang="en-GB" altLang="ja-JP" sz="1000" dirty="0" smtClean="0">
                <a:solidFill>
                  <a:schemeClr val="bg1"/>
                </a:solidFill>
                <a:ea typeface="ＭＳ Ｐゴシック" pitchFamily="50" charset="-128"/>
              </a:rPr>
              <a:t>resources</a:t>
            </a:r>
            <a:endParaRPr lang="en-GB" altLang="ja-JP" sz="1000" dirty="0">
              <a:solidFill>
                <a:schemeClr val="bg1"/>
              </a:solidFill>
              <a:ea typeface="ＭＳ Ｐゴシック" pitchFamily="50" charset="-128"/>
            </a:endParaRPr>
          </a:p>
        </p:txBody>
      </p:sp>
      <p:grpSp>
        <p:nvGrpSpPr>
          <p:cNvPr id="2" name="Group 61"/>
          <p:cNvGrpSpPr>
            <a:grpSpLocks/>
          </p:cNvGrpSpPr>
          <p:nvPr/>
        </p:nvGrpSpPr>
        <p:grpSpPr bwMode="auto">
          <a:xfrm>
            <a:off x="4131536" y="2895506"/>
            <a:ext cx="1020861" cy="1041299"/>
            <a:chOff x="2650" y="1670"/>
            <a:chExt cx="558" cy="683"/>
          </a:xfrm>
        </p:grpSpPr>
        <p:sp>
          <p:nvSpPr>
            <p:cNvPr id="316" name="Oval 62"/>
            <p:cNvSpPr>
              <a:spLocks noChangeArrowheads="1"/>
            </p:cNvSpPr>
            <p:nvPr/>
          </p:nvSpPr>
          <p:spPr bwMode="auto">
            <a:xfrm>
              <a:off x="2650" y="1795"/>
              <a:ext cx="558" cy="558"/>
            </a:xfrm>
            <a:prstGeom prst="ellipse">
              <a:avLst/>
            </a:prstGeom>
            <a:noFill/>
            <a:ln w="28575">
              <a:solidFill>
                <a:schemeClr val="accent3"/>
              </a:solidFill>
              <a:round/>
              <a:headEnd type="none" w="sm" len="sm"/>
              <a:tailEnd type="none" w="sm" len="sm"/>
            </a:ln>
          </p:spPr>
          <p:txBody>
            <a:bodyPr wrap="none" anchor="ctr"/>
            <a:lstStyle/>
            <a:p>
              <a:pPr algn="ctr">
                <a:defRPr/>
              </a:pPr>
              <a:endParaRPr kumimoji="1" lang="en-GB" sz="1000">
                <a:ea typeface="ＭＳ Ｐゴシック" pitchFamily="50" charset="-128"/>
              </a:endParaRPr>
            </a:p>
          </p:txBody>
        </p:sp>
        <p:grpSp>
          <p:nvGrpSpPr>
            <p:cNvPr id="3" name="Group 63"/>
            <p:cNvGrpSpPr>
              <a:grpSpLocks/>
            </p:cNvGrpSpPr>
            <p:nvPr/>
          </p:nvGrpSpPr>
          <p:grpSpPr bwMode="auto">
            <a:xfrm>
              <a:off x="2745" y="1670"/>
              <a:ext cx="375" cy="120"/>
              <a:chOff x="2745" y="1670"/>
              <a:chExt cx="375" cy="120"/>
            </a:xfrm>
          </p:grpSpPr>
          <p:sp>
            <p:nvSpPr>
              <p:cNvPr id="318" name="Line 64"/>
              <p:cNvSpPr>
                <a:spLocks noChangeShapeType="1"/>
              </p:cNvSpPr>
              <p:nvPr/>
            </p:nvSpPr>
            <p:spPr bwMode="auto">
              <a:xfrm>
                <a:off x="2745" y="1670"/>
                <a:ext cx="375" cy="0"/>
              </a:xfrm>
              <a:prstGeom prst="line">
                <a:avLst/>
              </a:prstGeom>
              <a:noFill/>
              <a:ln w="28575">
                <a:solidFill>
                  <a:schemeClr val="accent3"/>
                </a:solidFill>
                <a:round/>
                <a:headEnd type="none" w="sm" len="sm"/>
                <a:tailEnd type="none" w="sm" len="sm"/>
              </a:ln>
            </p:spPr>
            <p:txBody>
              <a:bodyPr wrap="none" anchor="ctr"/>
              <a:lstStyle/>
              <a:p>
                <a:pPr>
                  <a:defRPr/>
                </a:pPr>
                <a:endParaRPr lang="en-GB" sz="1000"/>
              </a:p>
            </p:txBody>
          </p:sp>
          <p:sp>
            <p:nvSpPr>
              <p:cNvPr id="319" name="Line 65"/>
              <p:cNvSpPr>
                <a:spLocks noChangeShapeType="1"/>
              </p:cNvSpPr>
              <p:nvPr/>
            </p:nvSpPr>
            <p:spPr bwMode="auto">
              <a:xfrm rot="5400000">
                <a:off x="2873" y="1730"/>
                <a:ext cx="120" cy="0"/>
              </a:xfrm>
              <a:prstGeom prst="line">
                <a:avLst/>
              </a:prstGeom>
              <a:noFill/>
              <a:ln w="28575">
                <a:solidFill>
                  <a:schemeClr val="accent3"/>
                </a:solidFill>
                <a:round/>
                <a:headEnd type="none" w="sm" len="sm"/>
                <a:tailEnd type="none" w="sm" len="sm"/>
              </a:ln>
            </p:spPr>
            <p:txBody>
              <a:bodyPr wrap="none" anchor="ctr"/>
              <a:lstStyle/>
              <a:p>
                <a:pPr>
                  <a:defRPr/>
                </a:pPr>
                <a:endParaRPr lang="en-GB" sz="1000"/>
              </a:p>
            </p:txBody>
          </p:sp>
        </p:grpSp>
      </p:grpSp>
      <p:sp>
        <p:nvSpPr>
          <p:cNvPr id="765977" name="Text Box 66"/>
          <p:cNvSpPr txBox="1">
            <a:spLocks noChangeArrowheads="1"/>
          </p:cNvSpPr>
          <p:nvPr/>
        </p:nvSpPr>
        <p:spPr bwMode="auto">
          <a:xfrm>
            <a:off x="4046414" y="2400187"/>
            <a:ext cx="1219200" cy="461963"/>
          </a:xfrm>
          <a:prstGeom prst="rect">
            <a:avLst/>
          </a:prstGeom>
          <a:noFill/>
          <a:ln w="12700">
            <a:noFill/>
            <a:miter lim="800000"/>
            <a:headEnd type="none" w="sm" len="sm"/>
            <a:tailEnd type="none" w="sm" len="sm"/>
          </a:ln>
        </p:spPr>
        <p:txBody>
          <a:bodyPr anchor="ctr">
            <a:spAutoFit/>
          </a:bodyPr>
          <a:lstStyle/>
          <a:p>
            <a:pPr algn="ctr"/>
            <a:r>
              <a:rPr kumimoji="1" lang="en-GB" altLang="ja-JP" sz="1200" dirty="0">
                <a:solidFill>
                  <a:schemeClr val="tx2"/>
                </a:solidFill>
                <a:ea typeface="ＭＳ Ｐゴシック" charset="-128"/>
              </a:rPr>
              <a:t>Chosen </a:t>
            </a:r>
            <a:r>
              <a:rPr kumimoji="1" lang="en-GB" altLang="ja-JP" sz="1200" dirty="0" smtClean="0">
                <a:solidFill>
                  <a:schemeClr val="tx2"/>
                </a:solidFill>
                <a:ea typeface="ＭＳ Ｐゴシック" charset="-128"/>
              </a:rPr>
              <a:t>strategy</a:t>
            </a:r>
            <a:endParaRPr kumimoji="1" lang="en-GB" altLang="ja-JP" sz="1200" dirty="0">
              <a:solidFill>
                <a:schemeClr val="tx2"/>
              </a:solidFill>
              <a:ea typeface="ＭＳ Ｐゴシック" charset="-128"/>
            </a:endParaRPr>
          </a:p>
        </p:txBody>
      </p:sp>
      <p:sp>
        <p:nvSpPr>
          <p:cNvPr id="321" name="AutoShape 67"/>
          <p:cNvSpPr>
            <a:spLocks noChangeAspect="1" noChangeArrowheads="1"/>
          </p:cNvSpPr>
          <p:nvPr/>
        </p:nvSpPr>
        <p:spPr bwMode="auto">
          <a:xfrm>
            <a:off x="2647491" y="3112192"/>
            <a:ext cx="1350963" cy="211137"/>
          </a:xfrm>
          <a:prstGeom prst="roundRect">
            <a:avLst>
              <a:gd name="adj" fmla="val 50000"/>
            </a:avLst>
          </a:prstGeom>
          <a:noFill/>
          <a:ln w="6350" algn="ctr">
            <a:noFill/>
            <a:round/>
            <a:headEnd type="none" w="sm" len="sm"/>
            <a:tailEnd type="none" w="sm" len="sm"/>
          </a:ln>
          <a:effectLst/>
        </p:spPr>
        <p:txBody>
          <a:bodyPr wrap="none" tIns="91440" bIns="91440" anchor="ctr"/>
          <a:lstStyle/>
          <a:p>
            <a:pPr marL="12700" indent="-12700" algn="ctr">
              <a:defRPr/>
            </a:pPr>
            <a:r>
              <a:rPr lang="en-GB" altLang="ja-JP" sz="1000" dirty="0">
                <a:solidFill>
                  <a:schemeClr val="tx2"/>
                </a:solidFill>
                <a:ea typeface="ＭＳ Ｐゴシック" pitchFamily="50" charset="-128"/>
              </a:rPr>
              <a:t>Scenarios </a:t>
            </a:r>
            <a:br>
              <a:rPr lang="en-GB" altLang="ja-JP" sz="1000" dirty="0">
                <a:solidFill>
                  <a:schemeClr val="tx2"/>
                </a:solidFill>
                <a:ea typeface="ＭＳ Ｐゴシック" pitchFamily="50" charset="-128"/>
              </a:rPr>
            </a:br>
            <a:r>
              <a:rPr lang="en-GB" altLang="ja-JP" sz="1000" dirty="0">
                <a:solidFill>
                  <a:schemeClr val="tx2"/>
                </a:solidFill>
                <a:ea typeface="ＭＳ Ｐゴシック" pitchFamily="50" charset="-128"/>
              </a:rPr>
              <a:t>and </a:t>
            </a:r>
            <a:r>
              <a:rPr lang="en-GB" altLang="ja-JP" sz="1000" dirty="0" smtClean="0">
                <a:solidFill>
                  <a:schemeClr val="tx2"/>
                </a:solidFill>
                <a:ea typeface="ＭＳ Ｐゴシック" pitchFamily="50" charset="-128"/>
              </a:rPr>
              <a:t>options</a:t>
            </a:r>
            <a:endParaRPr lang="en-GB" altLang="ja-JP" sz="1000" dirty="0">
              <a:solidFill>
                <a:schemeClr val="tx2"/>
              </a:solidFill>
              <a:ea typeface="ＭＳ Ｐゴシック" pitchFamily="50" charset="-128"/>
            </a:endParaRPr>
          </a:p>
        </p:txBody>
      </p:sp>
      <p:sp>
        <p:nvSpPr>
          <p:cNvPr id="322" name="AutoShape 68"/>
          <p:cNvSpPr>
            <a:spLocks noChangeAspect="1" noChangeArrowheads="1"/>
          </p:cNvSpPr>
          <p:nvPr/>
        </p:nvSpPr>
        <p:spPr bwMode="auto">
          <a:xfrm>
            <a:off x="2692795" y="3579679"/>
            <a:ext cx="1350963" cy="211138"/>
          </a:xfrm>
          <a:prstGeom prst="roundRect">
            <a:avLst>
              <a:gd name="adj" fmla="val 50000"/>
            </a:avLst>
          </a:prstGeom>
          <a:noFill/>
          <a:ln w="6350" algn="ctr">
            <a:noFill/>
            <a:round/>
            <a:headEnd type="none" w="sm" len="sm"/>
            <a:tailEnd type="none" w="sm" len="sm"/>
          </a:ln>
          <a:effectLst/>
        </p:spPr>
        <p:txBody>
          <a:bodyPr wrap="none" tIns="91440" bIns="91440" anchor="ctr"/>
          <a:lstStyle/>
          <a:p>
            <a:pPr marL="12700" indent="-12700" algn="ctr">
              <a:lnSpc>
                <a:spcPct val="110000"/>
              </a:lnSpc>
              <a:defRPr/>
            </a:pPr>
            <a:r>
              <a:rPr lang="en-GB" altLang="ja-JP" sz="1000" dirty="0">
                <a:solidFill>
                  <a:schemeClr val="tx2"/>
                </a:solidFill>
                <a:ea typeface="ＭＳ Ｐゴシック" pitchFamily="50" charset="-128"/>
              </a:rPr>
              <a:t>Creativity</a:t>
            </a:r>
          </a:p>
        </p:txBody>
      </p:sp>
      <p:grpSp>
        <p:nvGrpSpPr>
          <p:cNvPr id="74" name="Group 73"/>
          <p:cNvGrpSpPr/>
          <p:nvPr/>
        </p:nvGrpSpPr>
        <p:grpSpPr>
          <a:xfrm>
            <a:off x="4322352" y="3367038"/>
            <a:ext cx="653866" cy="350664"/>
            <a:chOff x="4395610" y="3367038"/>
            <a:chExt cx="489944" cy="262754"/>
          </a:xfrm>
        </p:grpSpPr>
        <p:sp>
          <p:nvSpPr>
            <p:cNvPr id="389" name="Isosceles Triangle 388"/>
            <p:cNvSpPr/>
            <p:nvPr/>
          </p:nvSpPr>
          <p:spPr>
            <a:xfrm rot="5400000">
              <a:off x="4641873" y="3385294"/>
              <a:ext cx="261938" cy="225425"/>
            </a:xfrm>
            <a:prstGeom prst="triangl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90" name="Isosceles Triangle 389"/>
            <p:cNvSpPr/>
            <p:nvPr/>
          </p:nvSpPr>
          <p:spPr>
            <a:xfrm rot="16200000" flipH="1">
              <a:off x="4377354" y="3386110"/>
              <a:ext cx="261938" cy="225425"/>
            </a:xfrm>
            <a:prstGeom prst="triangl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394" name="Isosceles Triangle 393"/>
          <p:cNvSpPr/>
          <p:nvPr/>
        </p:nvSpPr>
        <p:spPr>
          <a:xfrm rot="10800000" flipV="1">
            <a:off x="2390820" y="4599411"/>
            <a:ext cx="206375" cy="177800"/>
          </a:xfrm>
          <a:prstGeom prst="triangl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96" name="Isosceles Triangle 395"/>
          <p:cNvSpPr/>
          <p:nvPr/>
        </p:nvSpPr>
        <p:spPr>
          <a:xfrm rot="10800000" flipV="1">
            <a:off x="2390820" y="4020382"/>
            <a:ext cx="206375" cy="177800"/>
          </a:xfrm>
          <a:prstGeom prst="triangl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98" name="Isosceles Triangle 397"/>
          <p:cNvSpPr/>
          <p:nvPr/>
        </p:nvSpPr>
        <p:spPr>
          <a:xfrm rot="10800000">
            <a:off x="2390820" y="2792473"/>
            <a:ext cx="206375" cy="177800"/>
          </a:xfrm>
          <a:prstGeom prst="triangl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00" name="Isosceles Triangle 399"/>
          <p:cNvSpPr/>
          <p:nvPr/>
        </p:nvSpPr>
        <p:spPr>
          <a:xfrm rot="10800000">
            <a:off x="2390820" y="2221999"/>
            <a:ext cx="206375" cy="177800"/>
          </a:xfrm>
          <a:prstGeom prst="triangl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1"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5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60" name="Isosceles Triangle 59"/>
          <p:cNvSpPr/>
          <p:nvPr/>
        </p:nvSpPr>
        <p:spPr>
          <a:xfrm rot="10800000" flipV="1">
            <a:off x="6695853" y="4599411"/>
            <a:ext cx="206375" cy="177800"/>
          </a:xfrm>
          <a:prstGeom prst="triangl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1" name="Isosceles Triangle 60"/>
          <p:cNvSpPr/>
          <p:nvPr/>
        </p:nvSpPr>
        <p:spPr>
          <a:xfrm rot="10800000" flipV="1">
            <a:off x="6695853" y="4020382"/>
            <a:ext cx="206375" cy="177800"/>
          </a:xfrm>
          <a:prstGeom prst="triangl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2" name="Isosceles Triangle 61"/>
          <p:cNvSpPr/>
          <p:nvPr/>
        </p:nvSpPr>
        <p:spPr>
          <a:xfrm rot="10800000">
            <a:off x="6695853" y="2792473"/>
            <a:ext cx="206375" cy="177800"/>
          </a:xfrm>
          <a:prstGeom prst="triangl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3" name="Isosceles Triangle 62"/>
          <p:cNvSpPr/>
          <p:nvPr/>
        </p:nvSpPr>
        <p:spPr>
          <a:xfrm rot="10800000">
            <a:off x="6695853" y="2221999"/>
            <a:ext cx="206375" cy="177800"/>
          </a:xfrm>
          <a:prstGeom prst="triangl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4" name="Isosceles Triangle 63"/>
          <p:cNvSpPr/>
          <p:nvPr/>
        </p:nvSpPr>
        <p:spPr>
          <a:xfrm rot="5400000" flipV="1">
            <a:off x="2759477" y="3418411"/>
            <a:ext cx="206375" cy="177800"/>
          </a:xfrm>
          <a:prstGeom prst="triangl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5" name="Isosceles Triangle 64"/>
          <p:cNvSpPr/>
          <p:nvPr/>
        </p:nvSpPr>
        <p:spPr>
          <a:xfrm rot="16200000" flipV="1">
            <a:off x="2978507" y="3418411"/>
            <a:ext cx="206375" cy="177800"/>
          </a:xfrm>
          <a:prstGeom prst="triangl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6" name="Isosceles Triangle 65"/>
          <p:cNvSpPr/>
          <p:nvPr/>
        </p:nvSpPr>
        <p:spPr>
          <a:xfrm rot="5400000" flipV="1">
            <a:off x="5629670" y="3418411"/>
            <a:ext cx="206375" cy="177800"/>
          </a:xfrm>
          <a:prstGeom prst="triangl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7" name="Isosceles Triangle 66"/>
          <p:cNvSpPr/>
          <p:nvPr/>
        </p:nvSpPr>
        <p:spPr>
          <a:xfrm rot="16200000" flipV="1">
            <a:off x="5848700" y="3418411"/>
            <a:ext cx="206375" cy="177800"/>
          </a:xfrm>
          <a:prstGeom prst="triangl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2" name="Isosceles Triangle 71"/>
          <p:cNvSpPr/>
          <p:nvPr/>
        </p:nvSpPr>
        <p:spPr>
          <a:xfrm rot="5400000" flipV="1">
            <a:off x="1684382" y="3418411"/>
            <a:ext cx="206375" cy="177800"/>
          </a:xfrm>
          <a:prstGeom prst="triangl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3" name="Isosceles Triangle 72"/>
          <p:cNvSpPr/>
          <p:nvPr/>
        </p:nvSpPr>
        <p:spPr>
          <a:xfrm rot="16200000" flipV="1">
            <a:off x="1903412" y="3418411"/>
            <a:ext cx="206375" cy="177800"/>
          </a:xfrm>
          <a:prstGeom prst="triangl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6977" name="Title 1"/>
          <p:cNvSpPr>
            <a:spLocks noGrp="1"/>
          </p:cNvSpPr>
          <p:nvPr>
            <p:ph type="title"/>
          </p:nvPr>
        </p:nvSpPr>
        <p:spPr/>
        <p:txBody>
          <a:bodyPr/>
          <a:lstStyle/>
          <a:p>
            <a:r>
              <a:rPr lang="en-GB" altLang="ja-JP"/>
              <a:t>Backward strategic planning framework</a:t>
            </a:r>
            <a:endParaRPr lang="nl-NL"/>
          </a:p>
        </p:txBody>
      </p:sp>
      <p:sp>
        <p:nvSpPr>
          <p:cNvPr id="766979" name="Rectangle 3"/>
          <p:cNvSpPr>
            <a:spLocks noChangeArrowheads="1"/>
          </p:cNvSpPr>
          <p:nvPr/>
        </p:nvSpPr>
        <p:spPr bwMode="auto">
          <a:xfrm>
            <a:off x="4313553" y="5921375"/>
            <a:ext cx="597858" cy="272895"/>
          </a:xfrm>
          <a:prstGeom prst="rect">
            <a:avLst/>
          </a:prstGeom>
          <a:noFill/>
          <a:ln w="12700">
            <a:noFill/>
            <a:miter lim="800000"/>
            <a:headEnd/>
            <a:tailEnd/>
          </a:ln>
        </p:spPr>
        <p:txBody>
          <a:bodyPr wrap="none" lIns="90488" tIns="44450" rIns="90488" bIns="44450">
            <a:spAutoFit/>
          </a:bodyPr>
          <a:lstStyle/>
          <a:p>
            <a:pPr defTabSz="903288">
              <a:lnSpc>
                <a:spcPct val="85000"/>
              </a:lnSpc>
            </a:pPr>
            <a:r>
              <a:rPr lang="en-GB" altLang="ja-JP" sz="1400" b="1" dirty="0">
                <a:solidFill>
                  <a:schemeClr val="tx2"/>
                </a:solidFill>
                <a:ea typeface="ＭＳ Ｐゴシック" charset="-128"/>
              </a:rPr>
              <a:t>Time</a:t>
            </a:r>
          </a:p>
        </p:txBody>
      </p:sp>
      <p:sp>
        <p:nvSpPr>
          <p:cNvPr id="766980" name="Rectangle 4"/>
          <p:cNvSpPr>
            <a:spLocks noChangeArrowheads="1"/>
          </p:cNvSpPr>
          <p:nvPr/>
        </p:nvSpPr>
        <p:spPr bwMode="auto">
          <a:xfrm rot="-5400000">
            <a:off x="1542624" y="4029154"/>
            <a:ext cx="580289" cy="272895"/>
          </a:xfrm>
          <a:prstGeom prst="rect">
            <a:avLst/>
          </a:prstGeom>
          <a:noFill/>
          <a:ln w="12700">
            <a:noFill/>
            <a:miter lim="800000"/>
            <a:headEnd/>
            <a:tailEnd/>
          </a:ln>
        </p:spPr>
        <p:txBody>
          <a:bodyPr wrap="none" lIns="90488" tIns="44450" rIns="90488" bIns="44450">
            <a:spAutoFit/>
          </a:bodyPr>
          <a:lstStyle/>
          <a:p>
            <a:pPr defTabSz="903288">
              <a:lnSpc>
                <a:spcPct val="85000"/>
              </a:lnSpc>
            </a:pPr>
            <a:r>
              <a:rPr lang="en-GB" altLang="ja-JP" sz="1400" b="1" dirty="0">
                <a:solidFill>
                  <a:schemeClr val="tx2"/>
                </a:solidFill>
                <a:ea typeface="ＭＳ Ｐゴシック" charset="-128"/>
              </a:rPr>
              <a:t>Goal</a:t>
            </a:r>
          </a:p>
        </p:txBody>
      </p:sp>
      <p:sp>
        <p:nvSpPr>
          <p:cNvPr id="766981" name="Rectangle 5"/>
          <p:cNvSpPr>
            <a:spLocks noChangeArrowheads="1"/>
          </p:cNvSpPr>
          <p:nvPr/>
        </p:nvSpPr>
        <p:spPr bwMode="auto">
          <a:xfrm>
            <a:off x="4106863" y="4705350"/>
            <a:ext cx="1331912" cy="455613"/>
          </a:xfrm>
          <a:prstGeom prst="rect">
            <a:avLst/>
          </a:prstGeom>
          <a:noFill/>
          <a:ln w="12700">
            <a:noFill/>
            <a:miter lim="800000"/>
            <a:headEnd/>
            <a:tailEnd/>
          </a:ln>
        </p:spPr>
        <p:txBody>
          <a:bodyPr lIns="90488" tIns="44450" rIns="90488" bIns="44450">
            <a:spAutoFit/>
          </a:bodyPr>
          <a:lstStyle/>
          <a:p>
            <a:pPr algn="ctr" defTabSz="903288">
              <a:lnSpc>
                <a:spcPct val="85000"/>
              </a:lnSpc>
            </a:pPr>
            <a:r>
              <a:rPr lang="en-GB" altLang="ja-JP" sz="1400">
                <a:solidFill>
                  <a:schemeClr val="tx2"/>
                </a:solidFill>
                <a:ea typeface="ＭＳ Ｐゴシック" charset="-128"/>
              </a:rPr>
              <a:t>Actions driven by strategy</a:t>
            </a:r>
          </a:p>
        </p:txBody>
      </p:sp>
      <p:sp>
        <p:nvSpPr>
          <p:cNvPr id="766982" name="Rectangle 6"/>
          <p:cNvSpPr>
            <a:spLocks noChangeArrowheads="1"/>
          </p:cNvSpPr>
          <p:nvPr/>
        </p:nvSpPr>
        <p:spPr bwMode="auto">
          <a:xfrm>
            <a:off x="2251265" y="5273675"/>
            <a:ext cx="1017587" cy="455613"/>
          </a:xfrm>
          <a:prstGeom prst="rect">
            <a:avLst/>
          </a:prstGeom>
          <a:noFill/>
          <a:ln w="12700">
            <a:noFill/>
            <a:miter lim="800000"/>
            <a:headEnd/>
            <a:tailEnd/>
          </a:ln>
        </p:spPr>
        <p:txBody>
          <a:bodyPr wrap="none" lIns="90488" tIns="44450" rIns="90488" bIns="44450">
            <a:spAutoFit/>
          </a:bodyPr>
          <a:lstStyle/>
          <a:p>
            <a:pPr algn="ctr" defTabSz="903288">
              <a:lnSpc>
                <a:spcPct val="85000"/>
              </a:lnSpc>
            </a:pPr>
            <a:r>
              <a:rPr lang="en-GB" altLang="ja-JP" sz="1400" dirty="0">
                <a:solidFill>
                  <a:schemeClr val="tx2"/>
                </a:solidFill>
                <a:ea typeface="ＭＳ Ｐゴシック" charset="-128"/>
              </a:rPr>
              <a:t>Where are</a:t>
            </a:r>
            <a:br>
              <a:rPr lang="en-GB" altLang="ja-JP" sz="1400" dirty="0">
                <a:solidFill>
                  <a:schemeClr val="tx2"/>
                </a:solidFill>
                <a:ea typeface="ＭＳ Ｐゴシック" charset="-128"/>
              </a:rPr>
            </a:br>
            <a:r>
              <a:rPr lang="en-GB" altLang="ja-JP" sz="1400" dirty="0">
                <a:solidFill>
                  <a:schemeClr val="tx2"/>
                </a:solidFill>
                <a:ea typeface="ＭＳ Ｐゴシック" charset="-128"/>
              </a:rPr>
              <a:t> we now? </a:t>
            </a:r>
          </a:p>
        </p:txBody>
      </p:sp>
      <p:sp>
        <p:nvSpPr>
          <p:cNvPr id="766983" name="Line 7"/>
          <p:cNvSpPr>
            <a:spLocks noChangeShapeType="1"/>
          </p:cNvSpPr>
          <p:nvPr/>
        </p:nvSpPr>
        <p:spPr bwMode="auto">
          <a:xfrm flipH="1">
            <a:off x="2171042" y="5864312"/>
            <a:ext cx="4904995" cy="0"/>
          </a:xfrm>
          <a:prstGeom prst="line">
            <a:avLst/>
          </a:prstGeom>
          <a:noFill/>
          <a:ln w="12700">
            <a:solidFill>
              <a:schemeClr val="tx2"/>
            </a:solidFill>
            <a:round/>
            <a:headEnd/>
            <a:tailEnd/>
          </a:ln>
        </p:spPr>
        <p:txBody>
          <a:bodyPr wrap="none" anchor="ctr"/>
          <a:lstStyle/>
          <a:p>
            <a:endParaRPr lang="en-US"/>
          </a:p>
        </p:txBody>
      </p:sp>
      <p:sp>
        <p:nvSpPr>
          <p:cNvPr id="766984" name="Line 8"/>
          <p:cNvSpPr>
            <a:spLocks noChangeShapeType="1"/>
          </p:cNvSpPr>
          <p:nvPr/>
        </p:nvSpPr>
        <p:spPr bwMode="auto">
          <a:xfrm flipH="1">
            <a:off x="2171042" y="2860208"/>
            <a:ext cx="1" cy="3004104"/>
          </a:xfrm>
          <a:prstGeom prst="line">
            <a:avLst/>
          </a:prstGeom>
          <a:noFill/>
          <a:ln w="12700">
            <a:solidFill>
              <a:schemeClr val="tx2"/>
            </a:solidFill>
            <a:round/>
            <a:headEnd/>
            <a:tailEnd/>
          </a:ln>
        </p:spPr>
        <p:txBody>
          <a:bodyPr wrap="none" anchor="ctr"/>
          <a:lstStyle/>
          <a:p>
            <a:endParaRPr lang="en-US"/>
          </a:p>
        </p:txBody>
      </p:sp>
      <p:sp>
        <p:nvSpPr>
          <p:cNvPr id="766985" name="Line 9"/>
          <p:cNvSpPr>
            <a:spLocks noChangeShapeType="1"/>
          </p:cNvSpPr>
          <p:nvPr/>
        </p:nvSpPr>
        <p:spPr bwMode="auto">
          <a:xfrm>
            <a:off x="2083337" y="3287713"/>
            <a:ext cx="83217" cy="0"/>
          </a:xfrm>
          <a:prstGeom prst="line">
            <a:avLst/>
          </a:prstGeom>
          <a:noFill/>
          <a:ln w="12700">
            <a:solidFill>
              <a:schemeClr val="tx2"/>
            </a:solidFill>
            <a:round/>
            <a:headEnd/>
            <a:tailEnd/>
          </a:ln>
        </p:spPr>
        <p:txBody>
          <a:bodyPr wrap="none" anchor="ctr"/>
          <a:lstStyle/>
          <a:p>
            <a:endParaRPr lang="en-US"/>
          </a:p>
        </p:txBody>
      </p:sp>
      <p:sp>
        <p:nvSpPr>
          <p:cNvPr id="766986" name="Line 10"/>
          <p:cNvSpPr>
            <a:spLocks noChangeShapeType="1"/>
          </p:cNvSpPr>
          <p:nvPr/>
        </p:nvSpPr>
        <p:spPr bwMode="auto">
          <a:xfrm>
            <a:off x="2075244" y="3716338"/>
            <a:ext cx="75300" cy="0"/>
          </a:xfrm>
          <a:prstGeom prst="line">
            <a:avLst/>
          </a:prstGeom>
          <a:noFill/>
          <a:ln w="12700">
            <a:solidFill>
              <a:schemeClr val="tx2"/>
            </a:solidFill>
            <a:round/>
            <a:headEnd/>
            <a:tailEnd/>
          </a:ln>
        </p:spPr>
        <p:txBody>
          <a:bodyPr wrap="none" anchor="ctr"/>
          <a:lstStyle/>
          <a:p>
            <a:endParaRPr lang="en-US"/>
          </a:p>
        </p:txBody>
      </p:sp>
      <p:sp>
        <p:nvSpPr>
          <p:cNvPr id="766987" name="Line 11"/>
          <p:cNvSpPr>
            <a:spLocks noChangeShapeType="1"/>
          </p:cNvSpPr>
          <p:nvPr/>
        </p:nvSpPr>
        <p:spPr bwMode="auto">
          <a:xfrm>
            <a:off x="2078449" y="4144963"/>
            <a:ext cx="88106" cy="0"/>
          </a:xfrm>
          <a:prstGeom prst="line">
            <a:avLst/>
          </a:prstGeom>
          <a:noFill/>
          <a:ln w="12700">
            <a:solidFill>
              <a:schemeClr val="tx2"/>
            </a:solidFill>
            <a:round/>
            <a:headEnd/>
            <a:tailEnd/>
          </a:ln>
        </p:spPr>
        <p:txBody>
          <a:bodyPr wrap="none" anchor="ctr"/>
          <a:lstStyle/>
          <a:p>
            <a:endParaRPr lang="en-US"/>
          </a:p>
        </p:txBody>
      </p:sp>
      <p:sp>
        <p:nvSpPr>
          <p:cNvPr id="766988" name="Line 12"/>
          <p:cNvSpPr>
            <a:spLocks noChangeShapeType="1"/>
          </p:cNvSpPr>
          <p:nvPr/>
        </p:nvSpPr>
        <p:spPr bwMode="auto">
          <a:xfrm>
            <a:off x="2075243" y="4573588"/>
            <a:ext cx="91311" cy="0"/>
          </a:xfrm>
          <a:prstGeom prst="line">
            <a:avLst/>
          </a:prstGeom>
          <a:noFill/>
          <a:ln w="12700">
            <a:solidFill>
              <a:schemeClr val="tx2"/>
            </a:solidFill>
            <a:round/>
            <a:headEnd/>
            <a:tailEnd/>
          </a:ln>
        </p:spPr>
        <p:txBody>
          <a:bodyPr wrap="none" anchor="ctr"/>
          <a:lstStyle/>
          <a:p>
            <a:endParaRPr lang="en-US"/>
          </a:p>
        </p:txBody>
      </p:sp>
      <p:sp>
        <p:nvSpPr>
          <p:cNvPr id="766989" name="Line 13"/>
          <p:cNvSpPr>
            <a:spLocks noChangeShapeType="1"/>
          </p:cNvSpPr>
          <p:nvPr/>
        </p:nvSpPr>
        <p:spPr bwMode="auto">
          <a:xfrm>
            <a:off x="2082241" y="5002213"/>
            <a:ext cx="75760" cy="0"/>
          </a:xfrm>
          <a:prstGeom prst="line">
            <a:avLst/>
          </a:prstGeom>
          <a:noFill/>
          <a:ln w="12700">
            <a:solidFill>
              <a:schemeClr val="tx2"/>
            </a:solidFill>
            <a:round/>
            <a:headEnd/>
            <a:tailEnd/>
          </a:ln>
        </p:spPr>
        <p:txBody>
          <a:bodyPr wrap="none" anchor="ctr"/>
          <a:lstStyle/>
          <a:p>
            <a:endParaRPr lang="en-US"/>
          </a:p>
        </p:txBody>
      </p:sp>
      <p:sp>
        <p:nvSpPr>
          <p:cNvPr id="766990" name="Line 14"/>
          <p:cNvSpPr>
            <a:spLocks noChangeShapeType="1"/>
          </p:cNvSpPr>
          <p:nvPr/>
        </p:nvSpPr>
        <p:spPr bwMode="auto">
          <a:xfrm>
            <a:off x="2083464" y="5430838"/>
            <a:ext cx="83091" cy="0"/>
          </a:xfrm>
          <a:prstGeom prst="line">
            <a:avLst/>
          </a:prstGeom>
          <a:noFill/>
          <a:ln w="12700">
            <a:solidFill>
              <a:schemeClr val="tx2"/>
            </a:solidFill>
            <a:round/>
            <a:headEnd/>
            <a:tailEnd/>
          </a:ln>
        </p:spPr>
        <p:txBody>
          <a:bodyPr wrap="none" anchor="ctr"/>
          <a:lstStyle/>
          <a:p>
            <a:endParaRPr lang="en-US"/>
          </a:p>
        </p:txBody>
      </p:sp>
      <p:sp>
        <p:nvSpPr>
          <p:cNvPr id="766991" name="Line 15"/>
          <p:cNvSpPr>
            <a:spLocks noChangeShapeType="1"/>
          </p:cNvSpPr>
          <p:nvPr/>
        </p:nvSpPr>
        <p:spPr bwMode="auto">
          <a:xfrm>
            <a:off x="2079673" y="2859088"/>
            <a:ext cx="86882" cy="0"/>
          </a:xfrm>
          <a:prstGeom prst="line">
            <a:avLst/>
          </a:prstGeom>
          <a:noFill/>
          <a:ln w="12700">
            <a:solidFill>
              <a:schemeClr val="tx2"/>
            </a:solidFill>
            <a:round/>
            <a:headEnd/>
            <a:tailEnd/>
          </a:ln>
        </p:spPr>
        <p:txBody>
          <a:bodyPr wrap="none" anchor="ctr"/>
          <a:lstStyle/>
          <a:p>
            <a:endParaRPr lang="en-US"/>
          </a:p>
        </p:txBody>
      </p:sp>
      <p:sp>
        <p:nvSpPr>
          <p:cNvPr id="18" name="Oval 17"/>
          <p:cNvSpPr>
            <a:spLocks noChangeArrowheads="1"/>
          </p:cNvSpPr>
          <p:nvPr/>
        </p:nvSpPr>
        <p:spPr bwMode="auto">
          <a:xfrm>
            <a:off x="3409950" y="4586288"/>
            <a:ext cx="142875" cy="155575"/>
          </a:xfrm>
          <a:prstGeom prst="ellipse">
            <a:avLst/>
          </a:prstGeom>
          <a:solidFill>
            <a:srgbClr val="FFFFFF"/>
          </a:solidFill>
          <a:ln w="12700">
            <a:solidFill>
              <a:schemeClr val="tx2"/>
            </a:solidFill>
            <a:round/>
            <a:headEnd/>
            <a:tailEnd/>
          </a:ln>
          <a:effectLst/>
        </p:spPr>
        <p:txBody>
          <a:bodyPr wrap="none" anchor="ctr"/>
          <a:lstStyle/>
          <a:p>
            <a:pPr algn="ctr">
              <a:defRPr/>
            </a:pPr>
            <a:endParaRPr lang="en-GB" sz="1400">
              <a:ln>
                <a:solidFill>
                  <a:schemeClr val="tx2"/>
                </a:solidFill>
              </a:ln>
            </a:endParaRPr>
          </a:p>
        </p:txBody>
      </p:sp>
      <p:sp>
        <p:nvSpPr>
          <p:cNvPr id="19" name="Oval 18"/>
          <p:cNvSpPr>
            <a:spLocks noChangeArrowheads="1"/>
          </p:cNvSpPr>
          <p:nvPr/>
        </p:nvSpPr>
        <p:spPr bwMode="auto">
          <a:xfrm>
            <a:off x="3997325" y="4203700"/>
            <a:ext cx="141288" cy="155575"/>
          </a:xfrm>
          <a:prstGeom prst="ellipse">
            <a:avLst/>
          </a:prstGeom>
          <a:solidFill>
            <a:srgbClr val="FFFFFF"/>
          </a:solidFill>
          <a:ln w="12700">
            <a:solidFill>
              <a:schemeClr val="tx2"/>
            </a:solidFill>
            <a:round/>
            <a:headEnd/>
            <a:tailEnd/>
          </a:ln>
          <a:effectLst/>
        </p:spPr>
        <p:txBody>
          <a:bodyPr wrap="none" anchor="ctr"/>
          <a:lstStyle/>
          <a:p>
            <a:pPr algn="ctr">
              <a:defRPr/>
            </a:pPr>
            <a:endParaRPr lang="en-GB" sz="1400">
              <a:ln>
                <a:solidFill>
                  <a:schemeClr val="tx2"/>
                </a:solidFill>
              </a:ln>
            </a:endParaRPr>
          </a:p>
        </p:txBody>
      </p:sp>
      <p:sp>
        <p:nvSpPr>
          <p:cNvPr id="20" name="Oval 19"/>
          <p:cNvSpPr>
            <a:spLocks noChangeArrowheads="1"/>
          </p:cNvSpPr>
          <p:nvPr/>
        </p:nvSpPr>
        <p:spPr bwMode="auto">
          <a:xfrm>
            <a:off x="4608513" y="3768725"/>
            <a:ext cx="142875" cy="155575"/>
          </a:xfrm>
          <a:prstGeom prst="ellipse">
            <a:avLst/>
          </a:prstGeom>
          <a:solidFill>
            <a:srgbClr val="FFFFFF"/>
          </a:solidFill>
          <a:ln w="12700">
            <a:solidFill>
              <a:schemeClr val="tx2"/>
            </a:solidFill>
            <a:round/>
            <a:headEnd/>
            <a:tailEnd/>
          </a:ln>
          <a:effectLst/>
        </p:spPr>
        <p:txBody>
          <a:bodyPr wrap="none" anchor="ctr"/>
          <a:lstStyle/>
          <a:p>
            <a:pPr algn="ctr">
              <a:defRPr/>
            </a:pPr>
            <a:endParaRPr lang="en-GB" sz="1400">
              <a:ln>
                <a:solidFill>
                  <a:schemeClr val="tx2"/>
                </a:solidFill>
              </a:ln>
            </a:endParaRPr>
          </a:p>
        </p:txBody>
      </p:sp>
      <p:sp>
        <p:nvSpPr>
          <p:cNvPr id="766996" name="Oval 20"/>
          <p:cNvSpPr>
            <a:spLocks noChangeArrowheads="1"/>
          </p:cNvSpPr>
          <p:nvPr/>
        </p:nvSpPr>
        <p:spPr bwMode="auto">
          <a:xfrm>
            <a:off x="5218113" y="3286125"/>
            <a:ext cx="142875" cy="155575"/>
          </a:xfrm>
          <a:prstGeom prst="ellipse">
            <a:avLst/>
          </a:prstGeom>
          <a:solidFill>
            <a:schemeClr val="tx2"/>
          </a:solidFill>
          <a:ln w="6350" algn="ctr">
            <a:noFill/>
            <a:round/>
            <a:headEnd/>
            <a:tailEnd/>
          </a:ln>
        </p:spPr>
        <p:txBody>
          <a:bodyPr lIns="18000" tIns="18000" rIns="18000" bIns="18000" anchor="ctr"/>
          <a:lstStyle/>
          <a:p>
            <a:pPr algn="ctr"/>
            <a:endParaRPr lang="en-GB" sz="1400"/>
          </a:p>
        </p:txBody>
      </p:sp>
      <p:sp>
        <p:nvSpPr>
          <p:cNvPr id="22" name="Arc 21"/>
          <p:cNvSpPr>
            <a:spLocks/>
          </p:cNvSpPr>
          <p:nvPr/>
        </p:nvSpPr>
        <p:spPr bwMode="auto">
          <a:xfrm rot="21300818">
            <a:off x="4819650" y="3521075"/>
            <a:ext cx="587375" cy="354013"/>
          </a:xfrm>
          <a:custGeom>
            <a:avLst/>
            <a:gdLst>
              <a:gd name="T0" fmla="*/ 2147483647 w 29823"/>
              <a:gd name="T1" fmla="*/ 0 h 23978"/>
              <a:gd name="T2" fmla="*/ 0 w 29823"/>
              <a:gd name="T3" fmla="*/ 2147483647 h 23978"/>
              <a:gd name="T4" fmla="*/ 2147483647 w 29823"/>
              <a:gd name="T5" fmla="*/ 1668163765 h 23978"/>
              <a:gd name="T6" fmla="*/ 0 60000 65536"/>
              <a:gd name="T7" fmla="*/ 0 60000 65536"/>
              <a:gd name="T8" fmla="*/ 0 60000 65536"/>
              <a:gd name="T9" fmla="*/ 0 w 29823"/>
              <a:gd name="T10" fmla="*/ 0 h 23978"/>
              <a:gd name="T11" fmla="*/ 29823 w 29823"/>
              <a:gd name="T12" fmla="*/ 23978 h 23978"/>
            </a:gdLst>
            <a:ahLst/>
            <a:cxnLst>
              <a:cxn ang="T6">
                <a:pos x="T0" y="T1"/>
              </a:cxn>
              <a:cxn ang="T7">
                <a:pos x="T2" y="T3"/>
              </a:cxn>
              <a:cxn ang="T8">
                <a:pos x="T4" y="T5"/>
              </a:cxn>
            </a:cxnLst>
            <a:rect l="T9" t="T10" r="T11" b="T12"/>
            <a:pathLst>
              <a:path w="29823" h="23978" fill="none" extrusionOk="0">
                <a:moveTo>
                  <a:pt x="29691" y="0"/>
                </a:moveTo>
                <a:cubicBezTo>
                  <a:pt x="29779" y="789"/>
                  <a:pt x="29823" y="1583"/>
                  <a:pt x="29823" y="2378"/>
                </a:cubicBezTo>
                <a:cubicBezTo>
                  <a:pt x="29823" y="14307"/>
                  <a:pt x="20152" y="23978"/>
                  <a:pt x="8223" y="23978"/>
                </a:cubicBezTo>
                <a:cubicBezTo>
                  <a:pt x="5402" y="23978"/>
                  <a:pt x="2608" y="23425"/>
                  <a:pt x="-1" y="22351"/>
                </a:cubicBezTo>
              </a:path>
              <a:path w="29823" h="23978" stroke="0" extrusionOk="0">
                <a:moveTo>
                  <a:pt x="29691" y="0"/>
                </a:moveTo>
                <a:cubicBezTo>
                  <a:pt x="29779" y="789"/>
                  <a:pt x="29823" y="1583"/>
                  <a:pt x="29823" y="2378"/>
                </a:cubicBezTo>
                <a:cubicBezTo>
                  <a:pt x="29823" y="14307"/>
                  <a:pt x="20152" y="23978"/>
                  <a:pt x="8223" y="23978"/>
                </a:cubicBezTo>
                <a:cubicBezTo>
                  <a:pt x="5402" y="23978"/>
                  <a:pt x="2608" y="23425"/>
                  <a:pt x="-1" y="22351"/>
                </a:cubicBezTo>
                <a:lnTo>
                  <a:pt x="8223" y="2378"/>
                </a:lnTo>
                <a:close/>
              </a:path>
            </a:pathLst>
          </a:custGeom>
          <a:noFill/>
          <a:ln w="12700" cap="rnd">
            <a:solidFill>
              <a:schemeClr val="accent3"/>
            </a:solidFill>
            <a:round/>
            <a:headEnd type="none" w="sm" len="sm"/>
            <a:tailEnd type="stealth" w="med" len="lg"/>
          </a:ln>
        </p:spPr>
        <p:txBody>
          <a:bodyPr wrap="none" anchor="ctr"/>
          <a:lstStyle/>
          <a:p>
            <a:pPr algn="ctr">
              <a:defRPr/>
            </a:pPr>
            <a:endParaRPr lang="en-GB" sz="1400"/>
          </a:p>
        </p:txBody>
      </p:sp>
      <p:sp>
        <p:nvSpPr>
          <p:cNvPr id="766998" name="Oval 22"/>
          <p:cNvSpPr>
            <a:spLocks noChangeArrowheads="1"/>
          </p:cNvSpPr>
          <p:nvPr/>
        </p:nvSpPr>
        <p:spPr bwMode="auto">
          <a:xfrm>
            <a:off x="2700338" y="5065713"/>
            <a:ext cx="144462" cy="155575"/>
          </a:xfrm>
          <a:prstGeom prst="ellipse">
            <a:avLst/>
          </a:prstGeom>
          <a:solidFill>
            <a:schemeClr val="tx2"/>
          </a:solidFill>
          <a:ln w="6350" algn="ctr">
            <a:noFill/>
            <a:round/>
            <a:headEnd/>
            <a:tailEnd/>
          </a:ln>
        </p:spPr>
        <p:txBody>
          <a:bodyPr lIns="18000" tIns="18000" rIns="18000" bIns="18000" anchor="ctr"/>
          <a:lstStyle/>
          <a:p>
            <a:pPr algn="ctr"/>
            <a:endParaRPr lang="en-GB" sz="1400"/>
          </a:p>
        </p:txBody>
      </p:sp>
      <p:sp>
        <p:nvSpPr>
          <p:cNvPr id="24" name="Arc 23"/>
          <p:cNvSpPr>
            <a:spLocks/>
          </p:cNvSpPr>
          <p:nvPr/>
        </p:nvSpPr>
        <p:spPr bwMode="auto">
          <a:xfrm rot="21173617">
            <a:off x="4221163" y="4005263"/>
            <a:ext cx="585787" cy="385762"/>
          </a:xfrm>
          <a:custGeom>
            <a:avLst/>
            <a:gdLst>
              <a:gd name="T0" fmla="*/ 2147483647 w 29767"/>
              <a:gd name="T1" fmla="*/ 0 h 26228"/>
              <a:gd name="T2" fmla="*/ 0 w 29767"/>
              <a:gd name="T3" fmla="*/ 2147483647 h 26228"/>
              <a:gd name="T4" fmla="*/ 2147483647 w 29767"/>
              <a:gd name="T5" fmla="*/ 2147483647 h 26228"/>
              <a:gd name="T6" fmla="*/ 0 60000 65536"/>
              <a:gd name="T7" fmla="*/ 0 60000 65536"/>
              <a:gd name="T8" fmla="*/ 0 60000 65536"/>
              <a:gd name="T9" fmla="*/ 0 w 29767"/>
              <a:gd name="T10" fmla="*/ 0 h 26228"/>
              <a:gd name="T11" fmla="*/ 29767 w 29767"/>
              <a:gd name="T12" fmla="*/ 26228 h 26228"/>
            </a:gdLst>
            <a:ahLst/>
            <a:cxnLst>
              <a:cxn ang="T6">
                <a:pos x="T0" y="T1"/>
              </a:cxn>
              <a:cxn ang="T7">
                <a:pos x="T2" y="T3"/>
              </a:cxn>
              <a:cxn ang="T8">
                <a:pos x="T4" y="T5"/>
              </a:cxn>
            </a:cxnLst>
            <a:rect l="T9" t="T10" r="T11" b="T12"/>
            <a:pathLst>
              <a:path w="29767" h="26228" fill="none" extrusionOk="0">
                <a:moveTo>
                  <a:pt x="29265" y="-1"/>
                </a:moveTo>
                <a:cubicBezTo>
                  <a:pt x="29598" y="1520"/>
                  <a:pt x="29767" y="3071"/>
                  <a:pt x="29767" y="4628"/>
                </a:cubicBezTo>
                <a:cubicBezTo>
                  <a:pt x="29767" y="16557"/>
                  <a:pt x="20096" y="26228"/>
                  <a:pt x="8167" y="26228"/>
                </a:cubicBezTo>
                <a:cubicBezTo>
                  <a:pt x="5366" y="26228"/>
                  <a:pt x="2592" y="25683"/>
                  <a:pt x="-1" y="24624"/>
                </a:cubicBezTo>
              </a:path>
              <a:path w="29767" h="26228" stroke="0" extrusionOk="0">
                <a:moveTo>
                  <a:pt x="29265" y="-1"/>
                </a:moveTo>
                <a:cubicBezTo>
                  <a:pt x="29598" y="1520"/>
                  <a:pt x="29767" y="3071"/>
                  <a:pt x="29767" y="4628"/>
                </a:cubicBezTo>
                <a:cubicBezTo>
                  <a:pt x="29767" y="16557"/>
                  <a:pt x="20096" y="26228"/>
                  <a:pt x="8167" y="26228"/>
                </a:cubicBezTo>
                <a:cubicBezTo>
                  <a:pt x="5366" y="26228"/>
                  <a:pt x="2592" y="25683"/>
                  <a:pt x="-1" y="24624"/>
                </a:cubicBezTo>
                <a:lnTo>
                  <a:pt x="8167" y="4628"/>
                </a:lnTo>
                <a:close/>
              </a:path>
            </a:pathLst>
          </a:custGeom>
          <a:noFill/>
          <a:ln w="12700" cap="rnd">
            <a:solidFill>
              <a:schemeClr val="accent3"/>
            </a:solidFill>
            <a:round/>
            <a:headEnd type="none" w="sm" len="sm"/>
            <a:tailEnd type="stealth" w="med" len="lg"/>
          </a:ln>
        </p:spPr>
        <p:txBody>
          <a:bodyPr wrap="none" anchor="ctr"/>
          <a:lstStyle/>
          <a:p>
            <a:pPr algn="ctr">
              <a:defRPr/>
            </a:pPr>
            <a:endParaRPr lang="en-GB" sz="1400"/>
          </a:p>
        </p:txBody>
      </p:sp>
      <p:sp>
        <p:nvSpPr>
          <p:cNvPr id="25" name="Arc 24"/>
          <p:cNvSpPr>
            <a:spLocks/>
          </p:cNvSpPr>
          <p:nvPr/>
        </p:nvSpPr>
        <p:spPr bwMode="auto">
          <a:xfrm rot="720000">
            <a:off x="2963863" y="3041650"/>
            <a:ext cx="2057400" cy="2171700"/>
          </a:xfrm>
          <a:custGeom>
            <a:avLst/>
            <a:gdLst>
              <a:gd name="T0" fmla="*/ 0 w 21600"/>
              <a:gd name="T1" fmla="*/ 2147483647 h 21600"/>
              <a:gd name="T2" fmla="*/ 2147483647 w 21600"/>
              <a:gd name="T3" fmla="*/ 0 h 21600"/>
              <a:gd name="T4" fmla="*/ 2147483647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7"/>
                  <a:pt x="9660" y="9"/>
                  <a:pt x="21583" y="0"/>
                </a:cubicBezTo>
              </a:path>
              <a:path w="21600" h="21600" stroke="0" extrusionOk="0">
                <a:moveTo>
                  <a:pt x="0" y="21600"/>
                </a:moveTo>
                <a:cubicBezTo>
                  <a:pt x="0" y="9677"/>
                  <a:pt x="9660" y="9"/>
                  <a:pt x="21583" y="0"/>
                </a:cubicBezTo>
                <a:lnTo>
                  <a:pt x="21600" y="21600"/>
                </a:lnTo>
                <a:close/>
              </a:path>
            </a:pathLst>
          </a:custGeom>
          <a:noFill/>
          <a:ln w="12700" cap="rnd">
            <a:solidFill>
              <a:schemeClr val="accent3"/>
            </a:solidFill>
            <a:round/>
            <a:headEnd type="none" w="sm" len="sm"/>
            <a:tailEnd type="stealth" w="med" len="lg"/>
          </a:ln>
        </p:spPr>
        <p:txBody>
          <a:bodyPr wrap="none" anchor="ctr"/>
          <a:lstStyle/>
          <a:p>
            <a:pPr algn="ctr">
              <a:defRPr/>
            </a:pPr>
            <a:endParaRPr lang="en-GB" sz="1400"/>
          </a:p>
        </p:txBody>
      </p:sp>
      <p:sp>
        <p:nvSpPr>
          <p:cNvPr id="26" name="Arc 25"/>
          <p:cNvSpPr>
            <a:spLocks/>
          </p:cNvSpPr>
          <p:nvPr/>
        </p:nvSpPr>
        <p:spPr bwMode="auto">
          <a:xfrm>
            <a:off x="3586163" y="4421188"/>
            <a:ext cx="585787" cy="385762"/>
          </a:xfrm>
          <a:custGeom>
            <a:avLst/>
            <a:gdLst>
              <a:gd name="T0" fmla="*/ 2147483647 w 29767"/>
              <a:gd name="T1" fmla="*/ 0 h 26228"/>
              <a:gd name="T2" fmla="*/ 0 w 29767"/>
              <a:gd name="T3" fmla="*/ 2147483647 h 26228"/>
              <a:gd name="T4" fmla="*/ 2147483647 w 29767"/>
              <a:gd name="T5" fmla="*/ 2147483647 h 26228"/>
              <a:gd name="T6" fmla="*/ 0 60000 65536"/>
              <a:gd name="T7" fmla="*/ 0 60000 65536"/>
              <a:gd name="T8" fmla="*/ 0 60000 65536"/>
              <a:gd name="T9" fmla="*/ 0 w 29767"/>
              <a:gd name="T10" fmla="*/ 0 h 26228"/>
              <a:gd name="T11" fmla="*/ 29767 w 29767"/>
              <a:gd name="T12" fmla="*/ 26228 h 26228"/>
            </a:gdLst>
            <a:ahLst/>
            <a:cxnLst>
              <a:cxn ang="T6">
                <a:pos x="T0" y="T1"/>
              </a:cxn>
              <a:cxn ang="T7">
                <a:pos x="T2" y="T3"/>
              </a:cxn>
              <a:cxn ang="T8">
                <a:pos x="T4" y="T5"/>
              </a:cxn>
            </a:cxnLst>
            <a:rect l="T9" t="T10" r="T11" b="T12"/>
            <a:pathLst>
              <a:path w="29767" h="26228" fill="none" extrusionOk="0">
                <a:moveTo>
                  <a:pt x="29265" y="-1"/>
                </a:moveTo>
                <a:cubicBezTo>
                  <a:pt x="29598" y="1520"/>
                  <a:pt x="29767" y="3071"/>
                  <a:pt x="29767" y="4628"/>
                </a:cubicBezTo>
                <a:cubicBezTo>
                  <a:pt x="29767" y="16557"/>
                  <a:pt x="20096" y="26228"/>
                  <a:pt x="8167" y="26228"/>
                </a:cubicBezTo>
                <a:cubicBezTo>
                  <a:pt x="5366" y="26228"/>
                  <a:pt x="2592" y="25683"/>
                  <a:pt x="-1" y="24624"/>
                </a:cubicBezTo>
              </a:path>
              <a:path w="29767" h="26228" stroke="0" extrusionOk="0">
                <a:moveTo>
                  <a:pt x="29265" y="-1"/>
                </a:moveTo>
                <a:cubicBezTo>
                  <a:pt x="29598" y="1520"/>
                  <a:pt x="29767" y="3071"/>
                  <a:pt x="29767" y="4628"/>
                </a:cubicBezTo>
                <a:cubicBezTo>
                  <a:pt x="29767" y="16557"/>
                  <a:pt x="20096" y="26228"/>
                  <a:pt x="8167" y="26228"/>
                </a:cubicBezTo>
                <a:cubicBezTo>
                  <a:pt x="5366" y="26228"/>
                  <a:pt x="2592" y="25683"/>
                  <a:pt x="-1" y="24624"/>
                </a:cubicBezTo>
                <a:lnTo>
                  <a:pt x="8167" y="4628"/>
                </a:lnTo>
                <a:close/>
              </a:path>
            </a:pathLst>
          </a:custGeom>
          <a:noFill/>
          <a:ln w="12700" cap="rnd">
            <a:solidFill>
              <a:schemeClr val="accent3"/>
            </a:solidFill>
            <a:round/>
            <a:headEnd type="none" w="sm" len="sm"/>
            <a:tailEnd type="stealth" w="med" len="lg"/>
          </a:ln>
        </p:spPr>
        <p:txBody>
          <a:bodyPr wrap="none" anchor="ctr"/>
          <a:lstStyle/>
          <a:p>
            <a:pPr algn="ctr">
              <a:defRPr/>
            </a:pPr>
            <a:endParaRPr lang="en-GB" sz="1400"/>
          </a:p>
        </p:txBody>
      </p:sp>
      <p:sp>
        <p:nvSpPr>
          <p:cNvPr id="27" name="Oval 26"/>
          <p:cNvSpPr>
            <a:spLocks noChangeArrowheads="1"/>
          </p:cNvSpPr>
          <p:nvPr/>
        </p:nvSpPr>
        <p:spPr bwMode="auto">
          <a:xfrm>
            <a:off x="633413" y="1558925"/>
            <a:ext cx="2755900" cy="766763"/>
          </a:xfrm>
          <a:prstGeom prst="ellipse">
            <a:avLst/>
          </a:prstGeom>
          <a:solidFill>
            <a:schemeClr val="accent3"/>
          </a:solidFill>
          <a:ln w="12700" algn="ctr">
            <a:solidFill>
              <a:schemeClr val="bg1"/>
            </a:solidFill>
            <a:round/>
            <a:headEnd/>
            <a:tailEnd/>
          </a:ln>
        </p:spPr>
        <p:txBody>
          <a:bodyPr tIns="91440" bIns="91440" anchor="ctr"/>
          <a:lstStyle/>
          <a:p>
            <a:pPr marL="173038" indent="-173038" algn="ctr">
              <a:tabLst>
                <a:tab pos="1079500" algn="l"/>
              </a:tabLst>
              <a:defRPr/>
            </a:pPr>
            <a:endParaRPr lang="en-GB" altLang="ja-JP" sz="1200" dirty="0">
              <a:solidFill>
                <a:schemeClr val="bg1"/>
              </a:solidFill>
              <a:ea typeface="ＭＳ Ｐゴシック" pitchFamily="50" charset="-128"/>
            </a:endParaRPr>
          </a:p>
        </p:txBody>
      </p:sp>
      <p:sp>
        <p:nvSpPr>
          <p:cNvPr id="28" name="Oval 27"/>
          <p:cNvSpPr>
            <a:spLocks noChangeArrowheads="1"/>
          </p:cNvSpPr>
          <p:nvPr/>
        </p:nvSpPr>
        <p:spPr bwMode="auto">
          <a:xfrm>
            <a:off x="1816100" y="2168525"/>
            <a:ext cx="2755900" cy="766763"/>
          </a:xfrm>
          <a:prstGeom prst="ellipse">
            <a:avLst/>
          </a:prstGeom>
          <a:solidFill>
            <a:schemeClr val="accent3"/>
          </a:solidFill>
          <a:ln w="12700" algn="ctr">
            <a:solidFill>
              <a:schemeClr val="bg1"/>
            </a:solidFill>
            <a:round/>
            <a:headEnd/>
            <a:tailEnd/>
          </a:ln>
        </p:spPr>
        <p:txBody>
          <a:bodyPr tIns="91440" bIns="91440" anchor="ctr"/>
          <a:lstStyle/>
          <a:p>
            <a:pPr marL="173038" indent="-173038" algn="ctr">
              <a:tabLst>
                <a:tab pos="1079500" algn="l"/>
              </a:tabLst>
              <a:defRPr/>
            </a:pPr>
            <a:endParaRPr lang="en-GB" altLang="ja-JP" sz="1200" dirty="0">
              <a:solidFill>
                <a:schemeClr val="bg1"/>
              </a:solidFill>
              <a:ea typeface="ＭＳ Ｐゴシック" pitchFamily="50" charset="-128"/>
            </a:endParaRPr>
          </a:p>
        </p:txBody>
      </p:sp>
      <p:sp>
        <p:nvSpPr>
          <p:cNvPr id="29" name="Oval 28"/>
          <p:cNvSpPr>
            <a:spLocks noChangeArrowheads="1"/>
          </p:cNvSpPr>
          <p:nvPr/>
        </p:nvSpPr>
        <p:spPr bwMode="auto">
          <a:xfrm>
            <a:off x="5697538" y="1939925"/>
            <a:ext cx="2757487" cy="766763"/>
          </a:xfrm>
          <a:prstGeom prst="ellipse">
            <a:avLst/>
          </a:prstGeom>
          <a:solidFill>
            <a:schemeClr val="accent3"/>
          </a:solidFill>
          <a:ln w="12700" algn="ctr">
            <a:solidFill>
              <a:schemeClr val="bg1"/>
            </a:solidFill>
            <a:round/>
            <a:headEnd/>
            <a:tailEnd/>
          </a:ln>
        </p:spPr>
        <p:txBody>
          <a:bodyPr tIns="91440" bIns="91440" anchor="ctr"/>
          <a:lstStyle/>
          <a:p>
            <a:pPr marL="173038" indent="-173038" algn="ctr">
              <a:tabLst>
                <a:tab pos="1079500" algn="l"/>
              </a:tabLst>
              <a:defRPr/>
            </a:pPr>
            <a:endParaRPr lang="en-GB" altLang="ja-JP" sz="1400" b="0" dirty="0">
              <a:solidFill>
                <a:schemeClr val="bg1"/>
              </a:solidFill>
              <a:ea typeface="ＭＳ Ｐゴシック" pitchFamily="50" charset="-128"/>
            </a:endParaRPr>
          </a:p>
        </p:txBody>
      </p:sp>
      <p:sp>
        <p:nvSpPr>
          <p:cNvPr id="30" name="Oval 29"/>
          <p:cNvSpPr>
            <a:spLocks noChangeArrowheads="1"/>
          </p:cNvSpPr>
          <p:nvPr/>
        </p:nvSpPr>
        <p:spPr bwMode="auto">
          <a:xfrm>
            <a:off x="5416550" y="4391025"/>
            <a:ext cx="2755900" cy="766763"/>
          </a:xfrm>
          <a:prstGeom prst="ellipse">
            <a:avLst/>
          </a:prstGeom>
          <a:solidFill>
            <a:schemeClr val="accent3"/>
          </a:solidFill>
          <a:ln w="12700" algn="ctr">
            <a:solidFill>
              <a:schemeClr val="bg1"/>
            </a:solidFill>
            <a:round/>
            <a:headEnd/>
            <a:tailEnd/>
          </a:ln>
        </p:spPr>
        <p:txBody>
          <a:bodyPr tIns="91440" bIns="91440" anchor="ctr"/>
          <a:lstStyle/>
          <a:p>
            <a:pPr marL="173038" indent="-173038">
              <a:tabLst>
                <a:tab pos="1079500" algn="l"/>
              </a:tabLst>
              <a:defRPr/>
            </a:pPr>
            <a:endParaRPr lang="en-GB" altLang="ja-JP" sz="1400" b="0" dirty="0">
              <a:solidFill>
                <a:schemeClr val="bg1"/>
              </a:solidFill>
              <a:ea typeface="ＭＳ Ｐゴシック" pitchFamily="50" charset="-128"/>
            </a:endParaRPr>
          </a:p>
        </p:txBody>
      </p:sp>
      <p:sp>
        <p:nvSpPr>
          <p:cNvPr id="33"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6"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38" name="TextBox 37"/>
          <p:cNvSpPr txBox="1"/>
          <p:nvPr/>
        </p:nvSpPr>
        <p:spPr>
          <a:xfrm>
            <a:off x="932656" y="1706860"/>
            <a:ext cx="2139728" cy="461665"/>
          </a:xfrm>
          <a:prstGeom prst="rect">
            <a:avLst/>
          </a:prstGeom>
          <a:noFill/>
        </p:spPr>
        <p:txBody>
          <a:bodyPr wrap="square" rtlCol="0">
            <a:spAutoFit/>
          </a:bodyPr>
          <a:lstStyle/>
          <a:p>
            <a:pPr>
              <a:spcBef>
                <a:spcPts val="600"/>
              </a:spcBef>
            </a:pPr>
            <a:r>
              <a:rPr lang="en-GB" altLang="ja-JP" sz="1200" dirty="0" smtClean="0">
                <a:solidFill>
                  <a:schemeClr val="bg1"/>
                </a:solidFill>
                <a:ea typeface="ＭＳ Ｐゴシック" pitchFamily="50" charset="-128"/>
              </a:rPr>
              <a:t>Mission:</a:t>
            </a:r>
            <a:br>
              <a:rPr lang="en-GB" altLang="ja-JP" sz="1200" dirty="0" smtClean="0">
                <a:solidFill>
                  <a:schemeClr val="bg1"/>
                </a:solidFill>
                <a:ea typeface="ＭＳ Ｐゴシック" pitchFamily="50" charset="-128"/>
              </a:rPr>
            </a:br>
            <a:r>
              <a:rPr lang="en-GB" altLang="ja-JP" sz="1200" dirty="0" smtClean="0">
                <a:solidFill>
                  <a:schemeClr val="bg1"/>
                </a:solidFill>
                <a:ea typeface="ＭＳ Ｐゴシック" pitchFamily="50" charset="-128"/>
              </a:rPr>
              <a:t>Why are we in business?</a:t>
            </a:r>
            <a:endParaRPr lang="en-US" sz="1200" dirty="0" err="1" smtClean="0"/>
          </a:p>
        </p:txBody>
      </p:sp>
      <p:sp>
        <p:nvSpPr>
          <p:cNvPr id="39" name="TextBox 38"/>
          <p:cNvSpPr txBox="1"/>
          <p:nvPr/>
        </p:nvSpPr>
        <p:spPr>
          <a:xfrm>
            <a:off x="2123494" y="2206816"/>
            <a:ext cx="2139728" cy="646331"/>
          </a:xfrm>
          <a:prstGeom prst="rect">
            <a:avLst/>
          </a:prstGeom>
          <a:noFill/>
        </p:spPr>
        <p:txBody>
          <a:bodyPr wrap="square" rtlCol="0">
            <a:spAutoFit/>
          </a:bodyPr>
          <a:lstStyle/>
          <a:p>
            <a:pPr marL="173038" indent="-173038">
              <a:tabLst>
                <a:tab pos="1079500" algn="l"/>
              </a:tabLst>
              <a:defRPr/>
            </a:pPr>
            <a:r>
              <a:rPr lang="en-GB" altLang="ja-JP" sz="1200" dirty="0" smtClean="0">
                <a:solidFill>
                  <a:schemeClr val="bg1"/>
                </a:solidFill>
                <a:ea typeface="ＭＳ Ｐゴシック" pitchFamily="50" charset="-128"/>
              </a:rPr>
              <a:t>Values:</a:t>
            </a:r>
            <a:br>
              <a:rPr lang="en-GB" altLang="ja-JP" sz="1200" dirty="0" smtClean="0">
                <a:solidFill>
                  <a:schemeClr val="bg1"/>
                </a:solidFill>
                <a:ea typeface="ＭＳ Ｐゴシック" pitchFamily="50" charset="-128"/>
              </a:rPr>
            </a:br>
            <a:r>
              <a:rPr lang="en-GB" altLang="ja-JP" sz="1200" dirty="0" smtClean="0">
                <a:solidFill>
                  <a:schemeClr val="bg1"/>
                </a:solidFill>
                <a:ea typeface="ＭＳ Ｐゴシック" pitchFamily="50" charset="-128"/>
              </a:rPr>
              <a:t>What are our enduring principles and beliefs?</a:t>
            </a:r>
            <a:endParaRPr lang="en-GB" altLang="ja-JP" sz="1200" dirty="0">
              <a:solidFill>
                <a:schemeClr val="bg1"/>
              </a:solidFill>
              <a:ea typeface="ＭＳ Ｐゴシック" pitchFamily="50" charset="-128"/>
            </a:endParaRPr>
          </a:p>
        </p:txBody>
      </p:sp>
      <p:sp>
        <p:nvSpPr>
          <p:cNvPr id="40" name="TextBox 39"/>
          <p:cNvSpPr txBox="1"/>
          <p:nvPr/>
        </p:nvSpPr>
        <p:spPr>
          <a:xfrm>
            <a:off x="5624385" y="2057386"/>
            <a:ext cx="2757487" cy="461665"/>
          </a:xfrm>
          <a:prstGeom prst="rect">
            <a:avLst/>
          </a:prstGeom>
          <a:noFill/>
        </p:spPr>
        <p:txBody>
          <a:bodyPr wrap="square" rtlCol="0">
            <a:spAutoFit/>
          </a:bodyPr>
          <a:lstStyle/>
          <a:p>
            <a:pPr marL="173038" indent="-173038">
              <a:tabLst>
                <a:tab pos="1079500" algn="l"/>
              </a:tabLst>
              <a:defRPr/>
            </a:pPr>
            <a:r>
              <a:rPr lang="en-GB" altLang="ja-JP" sz="1200" dirty="0" smtClean="0">
                <a:solidFill>
                  <a:schemeClr val="bg1"/>
                </a:solidFill>
                <a:ea typeface="ＭＳ Ｐゴシック" pitchFamily="50" charset="-128"/>
              </a:rPr>
              <a:t>Vision:</a:t>
            </a:r>
            <a:br>
              <a:rPr lang="en-GB" altLang="ja-JP" sz="1200" dirty="0" smtClean="0">
                <a:solidFill>
                  <a:schemeClr val="bg1"/>
                </a:solidFill>
                <a:ea typeface="ＭＳ Ｐゴシック" pitchFamily="50" charset="-128"/>
              </a:rPr>
            </a:br>
            <a:r>
              <a:rPr lang="en-GB" altLang="ja-JP" sz="1200" dirty="0" smtClean="0">
                <a:solidFill>
                  <a:schemeClr val="bg1"/>
                </a:solidFill>
                <a:ea typeface="ＭＳ Ｐゴシック" pitchFamily="50" charset="-128"/>
              </a:rPr>
              <a:t>Where do we want to be in 2010?</a:t>
            </a:r>
            <a:endParaRPr lang="en-GB" altLang="ja-JP" sz="1200" dirty="0">
              <a:solidFill>
                <a:schemeClr val="bg1"/>
              </a:solidFill>
              <a:ea typeface="ＭＳ Ｐゴシック" pitchFamily="50" charset="-128"/>
            </a:endParaRPr>
          </a:p>
        </p:txBody>
      </p:sp>
      <p:sp>
        <p:nvSpPr>
          <p:cNvPr id="41" name="TextBox 40"/>
          <p:cNvSpPr txBox="1"/>
          <p:nvPr/>
        </p:nvSpPr>
        <p:spPr>
          <a:xfrm>
            <a:off x="5438775" y="4535785"/>
            <a:ext cx="2757487" cy="461665"/>
          </a:xfrm>
          <a:prstGeom prst="rect">
            <a:avLst/>
          </a:prstGeom>
          <a:noFill/>
        </p:spPr>
        <p:txBody>
          <a:bodyPr wrap="square" rtlCol="0">
            <a:spAutoFit/>
          </a:bodyPr>
          <a:lstStyle/>
          <a:p>
            <a:pPr marL="173038" indent="-173038">
              <a:tabLst>
                <a:tab pos="1079500" algn="l"/>
              </a:tabLst>
              <a:defRPr/>
            </a:pPr>
            <a:r>
              <a:rPr lang="en-GB" altLang="ja-JP" sz="1200" dirty="0" smtClean="0">
                <a:solidFill>
                  <a:schemeClr val="bg1"/>
                </a:solidFill>
                <a:ea typeface="ＭＳ Ｐゴシック" pitchFamily="50" charset="-128"/>
              </a:rPr>
              <a:t>Strategy:</a:t>
            </a:r>
            <a:br>
              <a:rPr lang="en-GB" altLang="ja-JP" sz="1200" dirty="0" smtClean="0">
                <a:solidFill>
                  <a:schemeClr val="bg1"/>
                </a:solidFill>
                <a:ea typeface="ＭＳ Ｐゴシック" pitchFamily="50" charset="-128"/>
              </a:rPr>
            </a:br>
            <a:r>
              <a:rPr lang="en-GB" altLang="ja-JP" sz="1200" dirty="0" smtClean="0">
                <a:solidFill>
                  <a:schemeClr val="bg1"/>
                </a:solidFill>
                <a:ea typeface="ＭＳ Ｐゴシック" pitchFamily="50" charset="-128"/>
              </a:rPr>
              <a:t>How do we get there?</a:t>
            </a:r>
            <a:endParaRPr lang="en-GB" altLang="ja-JP" sz="1200" dirty="0">
              <a:solidFill>
                <a:schemeClr val="bg1"/>
              </a:solidFill>
              <a:ea typeface="ＭＳ Ｐゴシック" pitchFamily="50" charset="-128"/>
            </a:endParaRPr>
          </a:p>
        </p:txBody>
      </p:sp>
    </p:spTree>
  </p:cSld>
  <p:clrMapOvr>
    <a:masterClrMapping/>
  </p:clrMapOvr>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01" name="Title 1"/>
          <p:cNvSpPr>
            <a:spLocks noGrp="1"/>
          </p:cNvSpPr>
          <p:nvPr>
            <p:ph type="title"/>
          </p:nvPr>
        </p:nvSpPr>
        <p:spPr/>
        <p:txBody>
          <a:bodyPr/>
          <a:lstStyle/>
          <a:p>
            <a:r>
              <a:rPr lang="en-GB" altLang="ja-JP"/>
              <a:t>Incremental versus dynamic strategic planning framework</a:t>
            </a:r>
            <a:endParaRPr lang="nl-NL"/>
          </a:p>
        </p:txBody>
      </p:sp>
      <p:sp>
        <p:nvSpPr>
          <p:cNvPr id="768003" name="Rectangle 3"/>
          <p:cNvSpPr>
            <a:spLocks noChangeArrowheads="1"/>
          </p:cNvSpPr>
          <p:nvPr/>
        </p:nvSpPr>
        <p:spPr bwMode="auto">
          <a:xfrm>
            <a:off x="4046538" y="3130122"/>
            <a:ext cx="952500" cy="274638"/>
          </a:xfrm>
          <a:prstGeom prst="rect">
            <a:avLst/>
          </a:prstGeom>
          <a:noFill/>
          <a:ln w="12700">
            <a:noFill/>
            <a:miter lim="800000"/>
            <a:headEnd/>
            <a:tailEnd/>
          </a:ln>
        </p:spPr>
        <p:txBody>
          <a:bodyPr lIns="90488" tIns="44450" rIns="90488" bIns="44450">
            <a:spAutoFit/>
          </a:bodyPr>
          <a:lstStyle/>
          <a:p>
            <a:pPr algn="ctr" defTabSz="903288"/>
            <a:r>
              <a:rPr lang="en-GB" altLang="ja-JP" sz="1200" b="1" dirty="0">
                <a:solidFill>
                  <a:schemeClr val="accent3"/>
                </a:solidFill>
                <a:ea typeface="ＭＳ Ｐゴシック" charset="-128"/>
              </a:rPr>
              <a:t>Versus</a:t>
            </a:r>
          </a:p>
        </p:txBody>
      </p:sp>
      <p:sp>
        <p:nvSpPr>
          <p:cNvPr id="6" name="Rectangle 5"/>
          <p:cNvSpPr>
            <a:spLocks noChangeArrowheads="1"/>
          </p:cNvSpPr>
          <p:nvPr/>
        </p:nvSpPr>
        <p:spPr bwMode="auto">
          <a:xfrm>
            <a:off x="559085" y="5065713"/>
            <a:ext cx="3630613" cy="768350"/>
          </a:xfrm>
          <a:prstGeom prst="rect">
            <a:avLst/>
          </a:prstGeom>
          <a:solidFill>
            <a:schemeClr val="accent3"/>
          </a:solidFill>
          <a:ln w="6350" algn="ctr">
            <a:noFill/>
            <a:miter lim="800000"/>
            <a:headEnd/>
            <a:tailEnd/>
          </a:ln>
          <a:effectLst/>
        </p:spPr>
        <p:txBody>
          <a:bodyPr tIns="91440" bIns="91440" anchor="ctr"/>
          <a:lstStyle/>
          <a:p>
            <a:pPr algn="ctr">
              <a:defRPr/>
            </a:pPr>
            <a:r>
              <a:rPr lang="en-GB" altLang="ja-JP" sz="1400" b="1" dirty="0" err="1">
                <a:solidFill>
                  <a:schemeClr val="bg1"/>
                </a:solidFill>
                <a:ea typeface="ＭＳ Ｐゴシック" pitchFamily="50" charset="-128"/>
              </a:rPr>
              <a:t>Incrementalism</a:t>
            </a:r>
            <a:endParaRPr lang="en-GB" altLang="ja-JP" sz="1400" b="1" dirty="0">
              <a:solidFill>
                <a:schemeClr val="bg1"/>
              </a:solidFill>
              <a:ea typeface="ＭＳ Ｐゴシック" pitchFamily="50" charset="-128"/>
            </a:endParaRPr>
          </a:p>
          <a:p>
            <a:pPr algn="ctr">
              <a:defRPr/>
            </a:pPr>
            <a:r>
              <a:rPr lang="en-GB" altLang="ja-JP" sz="1400" b="1" dirty="0">
                <a:solidFill>
                  <a:schemeClr val="bg1"/>
                </a:solidFill>
                <a:ea typeface="ＭＳ Ｐゴシック" pitchFamily="50" charset="-128"/>
              </a:rPr>
              <a:t>[One reason why companies stagnate]</a:t>
            </a:r>
          </a:p>
        </p:txBody>
      </p:sp>
      <p:sp>
        <p:nvSpPr>
          <p:cNvPr id="39" name="Rectangle 38"/>
          <p:cNvSpPr>
            <a:spLocks noChangeArrowheads="1"/>
          </p:cNvSpPr>
          <p:nvPr/>
        </p:nvSpPr>
        <p:spPr bwMode="auto">
          <a:xfrm>
            <a:off x="5295318" y="5086350"/>
            <a:ext cx="3446463" cy="773113"/>
          </a:xfrm>
          <a:prstGeom prst="rect">
            <a:avLst/>
          </a:prstGeom>
          <a:solidFill>
            <a:schemeClr val="accent3"/>
          </a:solidFill>
          <a:ln w="6350" algn="ctr">
            <a:noFill/>
            <a:miter lim="800000"/>
            <a:headEnd/>
            <a:tailEnd/>
          </a:ln>
          <a:effectLst/>
        </p:spPr>
        <p:txBody>
          <a:bodyPr tIns="91440" bIns="91440" anchor="ctr"/>
          <a:lstStyle/>
          <a:p>
            <a:pPr algn="ctr">
              <a:defRPr/>
            </a:pPr>
            <a:r>
              <a:rPr lang="en-GB" altLang="ja-JP" sz="1400" b="1" dirty="0">
                <a:solidFill>
                  <a:schemeClr val="bg1"/>
                </a:solidFill>
                <a:ea typeface="ＭＳ Ｐゴシック" pitchFamily="50" charset="-128"/>
              </a:rPr>
              <a:t>Focus</a:t>
            </a:r>
          </a:p>
          <a:p>
            <a:pPr algn="ctr">
              <a:defRPr/>
            </a:pPr>
            <a:r>
              <a:rPr lang="en-GB" altLang="ja-JP" sz="1400" b="1" dirty="0">
                <a:solidFill>
                  <a:schemeClr val="bg1"/>
                </a:solidFill>
                <a:ea typeface="ＭＳ Ｐゴシック" pitchFamily="50" charset="-128"/>
              </a:rPr>
              <a:t>[One reason why companies grow]</a:t>
            </a:r>
          </a:p>
        </p:txBody>
      </p:sp>
      <p:sp>
        <p:nvSpPr>
          <p:cNvPr id="768051" name="Text Placeholder 12"/>
          <p:cNvSpPr>
            <a:spLocks/>
          </p:cNvSpPr>
          <p:nvPr>
            <p:custDataLst>
              <p:tags r:id="rId1"/>
            </p:custDataLst>
          </p:nvPr>
        </p:nvSpPr>
        <p:spPr bwMode="auto">
          <a:xfrm>
            <a:off x="1046993" y="1594818"/>
            <a:ext cx="2556790" cy="215444"/>
          </a:xfrm>
          <a:prstGeom prst="rect">
            <a:avLst/>
          </a:prstGeom>
          <a:noFill/>
          <a:ln w="9525">
            <a:noFill/>
            <a:miter lim="800000"/>
            <a:headEnd/>
            <a:tailEnd/>
          </a:ln>
        </p:spPr>
        <p:txBody>
          <a:bodyPr wrap="none" lIns="0" tIns="0" rIns="0" bIns="0">
            <a:spAutoFit/>
          </a:bodyPr>
          <a:lstStyle/>
          <a:p>
            <a:pPr defTabSz="1019175">
              <a:spcAft>
                <a:spcPts val="300"/>
              </a:spcAft>
            </a:pPr>
            <a:r>
              <a:rPr lang="en-US" sz="1400" b="1" dirty="0">
                <a:solidFill>
                  <a:schemeClr val="tx2"/>
                </a:solidFill>
              </a:rPr>
              <a:t>Incremental </a:t>
            </a:r>
            <a:r>
              <a:rPr lang="en-US" sz="1400" b="1" dirty="0" smtClean="0">
                <a:solidFill>
                  <a:schemeClr val="tx2"/>
                </a:solidFill>
              </a:rPr>
              <a:t>planning process</a:t>
            </a:r>
            <a:endParaRPr lang="en-US" sz="1400" b="1" dirty="0">
              <a:solidFill>
                <a:schemeClr val="tx2"/>
              </a:solidFill>
            </a:endParaRPr>
          </a:p>
        </p:txBody>
      </p:sp>
      <p:sp>
        <p:nvSpPr>
          <p:cNvPr id="768052" name="Text Placeholder 12"/>
          <p:cNvSpPr>
            <a:spLocks/>
          </p:cNvSpPr>
          <p:nvPr>
            <p:custDataLst>
              <p:tags r:id="rId2"/>
            </p:custDataLst>
          </p:nvPr>
        </p:nvSpPr>
        <p:spPr bwMode="auto">
          <a:xfrm>
            <a:off x="5403790" y="1588655"/>
            <a:ext cx="3114635" cy="193899"/>
          </a:xfrm>
          <a:prstGeom prst="rect">
            <a:avLst/>
          </a:prstGeom>
          <a:noFill/>
          <a:ln w="9525">
            <a:noFill/>
            <a:miter lim="800000"/>
            <a:headEnd/>
            <a:tailEnd/>
          </a:ln>
        </p:spPr>
        <p:txBody>
          <a:bodyPr wrap="none" lIns="0" tIns="0" rIns="0" bIns="0">
            <a:spAutoFit/>
          </a:bodyPr>
          <a:lstStyle/>
          <a:p>
            <a:pPr algn="ctr" defTabSz="903288">
              <a:lnSpc>
                <a:spcPct val="90000"/>
              </a:lnSpc>
            </a:pPr>
            <a:r>
              <a:rPr lang="en-GB" altLang="ja-JP" sz="1400" b="1" dirty="0">
                <a:solidFill>
                  <a:schemeClr val="tx2"/>
                </a:solidFill>
                <a:ea typeface="ＭＳ Ｐゴシック" charset="-128"/>
              </a:rPr>
              <a:t>Dynamic </a:t>
            </a:r>
            <a:r>
              <a:rPr lang="en-GB" altLang="ja-JP" sz="1400" b="1" dirty="0" smtClean="0">
                <a:solidFill>
                  <a:schemeClr val="tx2"/>
                </a:solidFill>
                <a:ea typeface="ＭＳ Ｐゴシック" charset="-128"/>
              </a:rPr>
              <a:t>strategic planning process</a:t>
            </a:r>
            <a:endParaRPr lang="en-GB" altLang="ja-JP" sz="1400" b="1" dirty="0">
              <a:solidFill>
                <a:schemeClr val="tx2"/>
              </a:solidFill>
              <a:ea typeface="ＭＳ Ｐゴシック" charset="-128"/>
            </a:endParaRPr>
          </a:p>
        </p:txBody>
      </p:sp>
      <p:grpSp>
        <p:nvGrpSpPr>
          <p:cNvPr id="116" name="Group 115"/>
          <p:cNvGrpSpPr/>
          <p:nvPr/>
        </p:nvGrpSpPr>
        <p:grpSpPr>
          <a:xfrm>
            <a:off x="532958" y="2369196"/>
            <a:ext cx="3592848" cy="2464442"/>
            <a:chOff x="453690" y="2358627"/>
            <a:chExt cx="3592848" cy="2464442"/>
          </a:xfrm>
        </p:grpSpPr>
        <p:grpSp>
          <p:nvGrpSpPr>
            <p:cNvPr id="2" name="Group 6"/>
            <p:cNvGrpSpPr>
              <a:grpSpLocks/>
            </p:cNvGrpSpPr>
            <p:nvPr/>
          </p:nvGrpSpPr>
          <p:grpSpPr bwMode="auto">
            <a:xfrm>
              <a:off x="1326174" y="3852435"/>
              <a:ext cx="493834" cy="155575"/>
              <a:chOff x="724" y="2530"/>
              <a:chExt cx="321" cy="108"/>
            </a:xfrm>
            <a:solidFill>
              <a:schemeClr val="accent3"/>
            </a:solidFill>
            <a:effectLst/>
          </p:grpSpPr>
          <p:sp>
            <p:nvSpPr>
              <p:cNvPr id="8" name="Freeform 7"/>
              <p:cNvSpPr>
                <a:spLocks/>
              </p:cNvSpPr>
              <p:nvPr/>
            </p:nvSpPr>
            <p:spPr bwMode="auto">
              <a:xfrm>
                <a:off x="964" y="2530"/>
                <a:ext cx="81" cy="73"/>
              </a:xfrm>
              <a:custGeom>
                <a:avLst/>
                <a:gdLst>
                  <a:gd name="T0" fmla="*/ 80 w 81"/>
                  <a:gd name="T1" fmla="*/ 22 h 73"/>
                  <a:gd name="T2" fmla="*/ 15 w 81"/>
                  <a:gd name="T3" fmla="*/ 72 h 73"/>
                  <a:gd name="T4" fmla="*/ 29 w 81"/>
                  <a:gd name="T5" fmla="*/ 29 h 73"/>
                  <a:gd name="T6" fmla="*/ 0 w 81"/>
                  <a:gd name="T7" fmla="*/ 0 h 73"/>
                  <a:gd name="T8" fmla="*/ 80 w 81"/>
                  <a:gd name="T9" fmla="*/ 22 h 73"/>
                  <a:gd name="T10" fmla="*/ 0 60000 65536"/>
                  <a:gd name="T11" fmla="*/ 0 60000 65536"/>
                  <a:gd name="T12" fmla="*/ 0 60000 65536"/>
                  <a:gd name="T13" fmla="*/ 0 60000 65536"/>
                  <a:gd name="T14" fmla="*/ 0 60000 65536"/>
                  <a:gd name="T15" fmla="*/ 0 w 81"/>
                  <a:gd name="T16" fmla="*/ 0 h 73"/>
                  <a:gd name="T17" fmla="*/ 81 w 81"/>
                  <a:gd name="T18" fmla="*/ 73 h 73"/>
                </a:gdLst>
                <a:ahLst/>
                <a:cxnLst>
                  <a:cxn ang="T10">
                    <a:pos x="T0" y="T1"/>
                  </a:cxn>
                  <a:cxn ang="T11">
                    <a:pos x="T2" y="T3"/>
                  </a:cxn>
                  <a:cxn ang="T12">
                    <a:pos x="T4" y="T5"/>
                  </a:cxn>
                  <a:cxn ang="T13">
                    <a:pos x="T6" y="T7"/>
                  </a:cxn>
                  <a:cxn ang="T14">
                    <a:pos x="T8" y="T9"/>
                  </a:cxn>
                </a:cxnLst>
                <a:rect l="T15" t="T16" r="T17" b="T18"/>
                <a:pathLst>
                  <a:path w="81" h="73">
                    <a:moveTo>
                      <a:pt x="80" y="22"/>
                    </a:moveTo>
                    <a:lnTo>
                      <a:pt x="15" y="72"/>
                    </a:lnTo>
                    <a:lnTo>
                      <a:pt x="29" y="29"/>
                    </a:lnTo>
                    <a:lnTo>
                      <a:pt x="0" y="0"/>
                    </a:lnTo>
                    <a:lnTo>
                      <a:pt x="80" y="22"/>
                    </a:lnTo>
                  </a:path>
                </a:pathLst>
              </a:custGeom>
              <a:grpFill/>
              <a:ln w="12700" cap="rnd">
                <a:solidFill>
                  <a:schemeClr val="accent3"/>
                </a:solidFill>
                <a:round/>
                <a:headEnd/>
                <a:tailEnd/>
              </a:ln>
            </p:spPr>
            <p:txBody>
              <a:bodyPr/>
              <a:lstStyle/>
              <a:p>
                <a:pPr>
                  <a:defRPr/>
                </a:pPr>
                <a:endParaRPr lang="en-GB" sz="1200"/>
              </a:p>
            </p:txBody>
          </p:sp>
          <p:sp>
            <p:nvSpPr>
              <p:cNvPr id="9" name="Line 8"/>
              <p:cNvSpPr>
                <a:spLocks noChangeShapeType="1"/>
              </p:cNvSpPr>
              <p:nvPr/>
            </p:nvSpPr>
            <p:spPr bwMode="auto">
              <a:xfrm flipV="1">
                <a:off x="724" y="2560"/>
                <a:ext cx="263" cy="78"/>
              </a:xfrm>
              <a:prstGeom prst="line">
                <a:avLst/>
              </a:prstGeom>
              <a:grpFill/>
              <a:ln w="12700">
                <a:solidFill>
                  <a:schemeClr val="accent3"/>
                </a:solidFill>
                <a:round/>
                <a:headEnd/>
                <a:tailEnd/>
              </a:ln>
            </p:spPr>
            <p:txBody>
              <a:bodyPr wrap="none" anchor="ctr"/>
              <a:lstStyle/>
              <a:p>
                <a:pPr>
                  <a:defRPr/>
                </a:pPr>
                <a:endParaRPr lang="en-GB" sz="1200"/>
              </a:p>
            </p:txBody>
          </p:sp>
        </p:grpSp>
        <p:sp>
          <p:nvSpPr>
            <p:cNvPr id="768006" name="Rectangle 9"/>
            <p:cNvSpPr>
              <a:spLocks noChangeArrowheads="1"/>
            </p:cNvSpPr>
            <p:nvPr/>
          </p:nvSpPr>
          <p:spPr bwMode="auto">
            <a:xfrm>
              <a:off x="2072827" y="4576335"/>
              <a:ext cx="539059" cy="246734"/>
            </a:xfrm>
            <a:prstGeom prst="rect">
              <a:avLst/>
            </a:prstGeom>
            <a:noFill/>
            <a:ln w="12700">
              <a:noFill/>
              <a:miter lim="800000"/>
              <a:headEnd/>
              <a:tailEnd/>
            </a:ln>
          </p:spPr>
          <p:txBody>
            <a:bodyPr wrap="none" lIns="90488" tIns="44450" rIns="90488" bIns="44450">
              <a:spAutoFit/>
            </a:bodyPr>
            <a:lstStyle/>
            <a:p>
              <a:pPr defTabSz="903288">
                <a:lnSpc>
                  <a:spcPct val="85000"/>
                </a:lnSpc>
              </a:pPr>
              <a:r>
                <a:rPr lang="en-GB" altLang="ja-JP" sz="1200" b="1">
                  <a:solidFill>
                    <a:schemeClr val="tx2"/>
                  </a:solidFill>
                  <a:ea typeface="ＭＳ Ｐゴシック" charset="-128"/>
                </a:rPr>
                <a:t>Time</a:t>
              </a:r>
            </a:p>
          </p:txBody>
        </p:sp>
        <p:sp>
          <p:nvSpPr>
            <p:cNvPr id="768007" name="Rectangle 10"/>
            <p:cNvSpPr>
              <a:spLocks noChangeArrowheads="1"/>
            </p:cNvSpPr>
            <p:nvPr/>
          </p:nvSpPr>
          <p:spPr bwMode="auto">
            <a:xfrm rot="-5400000">
              <a:off x="314163" y="3117881"/>
              <a:ext cx="525787" cy="246734"/>
            </a:xfrm>
            <a:prstGeom prst="rect">
              <a:avLst/>
            </a:prstGeom>
            <a:noFill/>
            <a:ln w="12700">
              <a:noFill/>
              <a:miter lim="800000"/>
              <a:headEnd/>
              <a:tailEnd/>
            </a:ln>
          </p:spPr>
          <p:txBody>
            <a:bodyPr wrap="none" lIns="90488" tIns="44450" rIns="90488" bIns="44450">
              <a:spAutoFit/>
            </a:bodyPr>
            <a:lstStyle/>
            <a:p>
              <a:pPr defTabSz="903288">
                <a:lnSpc>
                  <a:spcPct val="85000"/>
                </a:lnSpc>
              </a:pPr>
              <a:r>
                <a:rPr lang="en-GB" altLang="ja-JP" sz="1200" b="1" dirty="0">
                  <a:solidFill>
                    <a:schemeClr val="tx2"/>
                  </a:solidFill>
                  <a:ea typeface="ＭＳ Ｐゴシック" charset="-128"/>
                </a:rPr>
                <a:t>Goal</a:t>
              </a:r>
            </a:p>
          </p:txBody>
        </p:sp>
        <p:sp>
          <p:nvSpPr>
            <p:cNvPr id="768008" name="Oval 11"/>
            <p:cNvSpPr>
              <a:spLocks noChangeArrowheads="1"/>
            </p:cNvSpPr>
            <p:nvPr/>
          </p:nvSpPr>
          <p:spPr bwMode="auto">
            <a:xfrm>
              <a:off x="1209675" y="3959480"/>
              <a:ext cx="147638" cy="127000"/>
            </a:xfrm>
            <a:prstGeom prst="ellipse">
              <a:avLst/>
            </a:prstGeom>
            <a:solidFill>
              <a:schemeClr val="tx2"/>
            </a:solidFill>
            <a:ln w="6350" algn="ctr">
              <a:noFill/>
              <a:round/>
              <a:headEnd/>
              <a:tailEnd/>
            </a:ln>
          </p:spPr>
          <p:txBody>
            <a:bodyPr tIns="91440" bIns="91440" anchor="ctr"/>
            <a:lstStyle/>
            <a:p>
              <a:pPr algn="ctr"/>
              <a:endParaRPr lang="en-GB" sz="1200"/>
            </a:p>
          </p:txBody>
        </p:sp>
        <p:sp>
          <p:nvSpPr>
            <p:cNvPr id="768009" name="Rectangle 12"/>
            <p:cNvSpPr>
              <a:spLocks noChangeArrowheads="1"/>
            </p:cNvSpPr>
            <p:nvPr/>
          </p:nvSpPr>
          <p:spPr bwMode="auto">
            <a:xfrm>
              <a:off x="893763" y="4120576"/>
              <a:ext cx="873125" cy="403225"/>
            </a:xfrm>
            <a:prstGeom prst="rect">
              <a:avLst/>
            </a:prstGeom>
            <a:noFill/>
            <a:ln w="12700">
              <a:noFill/>
              <a:miter lim="800000"/>
              <a:headEnd/>
              <a:tailEnd/>
            </a:ln>
          </p:spPr>
          <p:txBody>
            <a:bodyPr wrap="none" lIns="90488" tIns="44450" rIns="90488" bIns="44450">
              <a:spAutoFit/>
            </a:bodyPr>
            <a:lstStyle/>
            <a:p>
              <a:pPr defTabSz="903288">
                <a:lnSpc>
                  <a:spcPct val="85000"/>
                </a:lnSpc>
              </a:pPr>
              <a:r>
                <a:rPr lang="en-GB" altLang="ja-JP" sz="1200" dirty="0">
                  <a:solidFill>
                    <a:schemeClr val="tx2"/>
                  </a:solidFill>
                  <a:ea typeface="ＭＳ Ｐゴシック" charset="-128"/>
                </a:rPr>
                <a:t>Where we</a:t>
              </a:r>
              <a:br>
                <a:rPr lang="en-GB" altLang="ja-JP" sz="1200" dirty="0">
                  <a:solidFill>
                    <a:schemeClr val="tx2"/>
                  </a:solidFill>
                  <a:ea typeface="ＭＳ Ｐゴシック" charset="-128"/>
                </a:rPr>
              </a:br>
              <a:r>
                <a:rPr lang="en-GB" altLang="ja-JP" sz="1200" dirty="0">
                  <a:solidFill>
                    <a:schemeClr val="tx2"/>
                  </a:solidFill>
                  <a:ea typeface="ＭＳ Ｐゴシック" charset="-128"/>
                </a:rPr>
                <a:t>are now?</a:t>
              </a:r>
            </a:p>
          </p:txBody>
        </p:sp>
        <p:sp>
          <p:nvSpPr>
            <p:cNvPr id="768010" name="Rectangle 13"/>
            <p:cNvSpPr>
              <a:spLocks noChangeArrowheads="1"/>
            </p:cNvSpPr>
            <p:nvPr/>
          </p:nvSpPr>
          <p:spPr bwMode="auto">
            <a:xfrm>
              <a:off x="2744788" y="3925460"/>
              <a:ext cx="1301750" cy="560388"/>
            </a:xfrm>
            <a:prstGeom prst="rect">
              <a:avLst/>
            </a:prstGeom>
            <a:noFill/>
            <a:ln w="12700">
              <a:noFill/>
              <a:miter lim="800000"/>
              <a:headEnd/>
              <a:tailEnd/>
            </a:ln>
          </p:spPr>
          <p:txBody>
            <a:bodyPr lIns="90488" tIns="44450" rIns="90488" bIns="44450">
              <a:spAutoFit/>
            </a:bodyPr>
            <a:lstStyle/>
            <a:p>
              <a:pPr defTabSz="903288">
                <a:lnSpc>
                  <a:spcPct val="85000"/>
                </a:lnSpc>
              </a:pPr>
              <a:r>
                <a:rPr lang="en-GB" altLang="ja-JP" sz="1200" dirty="0">
                  <a:solidFill>
                    <a:schemeClr val="tx2"/>
                  </a:solidFill>
                  <a:ea typeface="ＭＳ Ｐゴシック" charset="-128"/>
                </a:rPr>
                <a:t>Actions taken in response to circumstances</a:t>
              </a:r>
            </a:p>
          </p:txBody>
        </p:sp>
        <p:sp>
          <p:nvSpPr>
            <p:cNvPr id="15" name="Oval 14"/>
            <p:cNvSpPr>
              <a:spLocks noChangeArrowheads="1"/>
            </p:cNvSpPr>
            <p:nvPr/>
          </p:nvSpPr>
          <p:spPr bwMode="auto">
            <a:xfrm>
              <a:off x="1850341" y="3811160"/>
              <a:ext cx="147637" cy="139700"/>
            </a:xfrm>
            <a:prstGeom prst="ellipse">
              <a:avLst/>
            </a:prstGeom>
            <a:solidFill>
              <a:srgbClr val="FFFFFF"/>
            </a:solidFill>
            <a:ln w="12700">
              <a:solidFill>
                <a:schemeClr val="tx2"/>
              </a:solidFill>
              <a:round/>
              <a:headEnd/>
              <a:tailEnd/>
            </a:ln>
            <a:effectLst/>
          </p:spPr>
          <p:txBody>
            <a:bodyPr wrap="none" anchor="ctr"/>
            <a:lstStyle/>
            <a:p>
              <a:pPr algn="ctr">
                <a:defRPr/>
              </a:pPr>
              <a:endParaRPr lang="en-GB" sz="1200"/>
            </a:p>
          </p:txBody>
        </p:sp>
        <p:sp>
          <p:nvSpPr>
            <p:cNvPr id="16" name="Oval 15"/>
            <p:cNvSpPr>
              <a:spLocks noChangeArrowheads="1"/>
            </p:cNvSpPr>
            <p:nvPr/>
          </p:nvSpPr>
          <p:spPr bwMode="auto">
            <a:xfrm>
              <a:off x="2411413" y="3684160"/>
              <a:ext cx="147637" cy="138113"/>
            </a:xfrm>
            <a:prstGeom prst="ellipse">
              <a:avLst/>
            </a:prstGeom>
            <a:solidFill>
              <a:srgbClr val="FFFFFF"/>
            </a:solidFill>
            <a:ln w="12700">
              <a:solidFill>
                <a:schemeClr val="tx2"/>
              </a:solidFill>
              <a:round/>
              <a:headEnd/>
              <a:tailEnd/>
            </a:ln>
            <a:effectLst/>
          </p:spPr>
          <p:txBody>
            <a:bodyPr wrap="none" anchor="ctr"/>
            <a:lstStyle/>
            <a:p>
              <a:pPr algn="ctr">
                <a:defRPr/>
              </a:pPr>
              <a:endParaRPr lang="en-GB" sz="1200"/>
            </a:p>
          </p:txBody>
        </p:sp>
        <p:sp>
          <p:nvSpPr>
            <p:cNvPr id="17" name="Oval 16"/>
            <p:cNvSpPr>
              <a:spLocks noChangeArrowheads="1"/>
            </p:cNvSpPr>
            <p:nvPr/>
          </p:nvSpPr>
          <p:spPr bwMode="auto">
            <a:xfrm>
              <a:off x="3051175" y="3523823"/>
              <a:ext cx="146050" cy="138112"/>
            </a:xfrm>
            <a:prstGeom prst="ellipse">
              <a:avLst/>
            </a:prstGeom>
            <a:solidFill>
              <a:srgbClr val="FFFFFF"/>
            </a:solidFill>
            <a:ln w="12700">
              <a:solidFill>
                <a:schemeClr val="tx2"/>
              </a:solidFill>
              <a:round/>
              <a:headEnd/>
              <a:tailEnd/>
            </a:ln>
            <a:effectLst/>
          </p:spPr>
          <p:txBody>
            <a:bodyPr wrap="none" anchor="ctr"/>
            <a:lstStyle/>
            <a:p>
              <a:pPr algn="ctr">
                <a:defRPr/>
              </a:pPr>
              <a:endParaRPr lang="en-GB" sz="1200"/>
            </a:p>
          </p:txBody>
        </p:sp>
        <p:grpSp>
          <p:nvGrpSpPr>
            <p:cNvPr id="4" name="Group 26"/>
            <p:cNvGrpSpPr>
              <a:grpSpLocks/>
            </p:cNvGrpSpPr>
            <p:nvPr/>
          </p:nvGrpSpPr>
          <p:grpSpPr bwMode="auto">
            <a:xfrm>
              <a:off x="2014538" y="3841323"/>
              <a:ext cx="454025" cy="173037"/>
              <a:chOff x="1173" y="2523"/>
              <a:chExt cx="296" cy="119"/>
            </a:xfrm>
          </p:grpSpPr>
          <p:sp>
            <p:nvSpPr>
              <p:cNvPr id="28" name="Arc 27"/>
              <p:cNvSpPr>
                <a:spLocks/>
              </p:cNvSpPr>
              <p:nvPr/>
            </p:nvSpPr>
            <p:spPr bwMode="auto">
              <a:xfrm>
                <a:off x="1173" y="2542"/>
                <a:ext cx="279" cy="100"/>
              </a:xfrm>
              <a:custGeom>
                <a:avLst/>
                <a:gdLst>
                  <a:gd name="T0" fmla="*/ 0 w 39642"/>
                  <a:gd name="T1" fmla="*/ 0 h 21600"/>
                  <a:gd name="T2" fmla="*/ 0 w 39642"/>
                  <a:gd name="T3" fmla="*/ 0 h 21600"/>
                  <a:gd name="T4" fmla="*/ 0 w 39642"/>
                  <a:gd name="T5" fmla="*/ 0 h 21600"/>
                  <a:gd name="T6" fmla="*/ 0 60000 65536"/>
                  <a:gd name="T7" fmla="*/ 0 60000 65536"/>
                  <a:gd name="T8" fmla="*/ 0 60000 65536"/>
                  <a:gd name="T9" fmla="*/ 0 w 39642"/>
                  <a:gd name="T10" fmla="*/ 0 h 21600"/>
                  <a:gd name="T11" fmla="*/ 39642 w 39642"/>
                  <a:gd name="T12" fmla="*/ 21600 h 21600"/>
                </a:gdLst>
                <a:ahLst/>
                <a:cxnLst>
                  <a:cxn ang="T6">
                    <a:pos x="T0" y="T1"/>
                  </a:cxn>
                  <a:cxn ang="T7">
                    <a:pos x="T2" y="T3"/>
                  </a:cxn>
                  <a:cxn ang="T8">
                    <a:pos x="T4" y="T5"/>
                  </a:cxn>
                </a:cxnLst>
                <a:rect l="T9" t="T10" r="T11" b="T12"/>
                <a:pathLst>
                  <a:path w="39642" h="21600" fill="none" extrusionOk="0">
                    <a:moveTo>
                      <a:pt x="39642" y="0"/>
                    </a:moveTo>
                    <a:cubicBezTo>
                      <a:pt x="39642" y="11929"/>
                      <a:pt x="29971" y="21600"/>
                      <a:pt x="18042" y="21600"/>
                    </a:cubicBezTo>
                    <a:cubicBezTo>
                      <a:pt x="10775" y="21600"/>
                      <a:pt x="3995" y="17945"/>
                      <a:pt x="-1" y="11876"/>
                    </a:cubicBezTo>
                  </a:path>
                  <a:path w="39642" h="21600" stroke="0" extrusionOk="0">
                    <a:moveTo>
                      <a:pt x="39642" y="0"/>
                    </a:moveTo>
                    <a:cubicBezTo>
                      <a:pt x="39642" y="11929"/>
                      <a:pt x="29971" y="21600"/>
                      <a:pt x="18042" y="21600"/>
                    </a:cubicBezTo>
                    <a:cubicBezTo>
                      <a:pt x="10775" y="21600"/>
                      <a:pt x="3995" y="17945"/>
                      <a:pt x="-1" y="11876"/>
                    </a:cubicBezTo>
                    <a:lnTo>
                      <a:pt x="18042" y="0"/>
                    </a:lnTo>
                    <a:close/>
                  </a:path>
                </a:pathLst>
              </a:custGeom>
              <a:noFill/>
              <a:ln w="12700" cap="rnd">
                <a:solidFill>
                  <a:schemeClr val="accent3"/>
                </a:solidFill>
                <a:round/>
                <a:headEnd/>
                <a:tailEnd/>
              </a:ln>
            </p:spPr>
            <p:txBody>
              <a:bodyPr wrap="none" anchor="ctr"/>
              <a:lstStyle/>
              <a:p>
                <a:pPr algn="ctr">
                  <a:defRPr/>
                </a:pPr>
                <a:endParaRPr lang="en-GB" sz="1200"/>
              </a:p>
            </p:txBody>
          </p:sp>
          <p:grpSp>
            <p:nvGrpSpPr>
              <p:cNvPr id="5" name="Group 28"/>
              <p:cNvGrpSpPr>
                <a:grpSpLocks/>
              </p:cNvGrpSpPr>
              <p:nvPr/>
            </p:nvGrpSpPr>
            <p:grpSpPr bwMode="auto">
              <a:xfrm>
                <a:off x="1395" y="2523"/>
                <a:ext cx="74" cy="80"/>
                <a:chOff x="1395" y="2523"/>
                <a:chExt cx="74" cy="80"/>
              </a:xfrm>
            </p:grpSpPr>
            <p:sp>
              <p:nvSpPr>
                <p:cNvPr id="30" name="Freeform 29"/>
                <p:cNvSpPr>
                  <a:spLocks/>
                </p:cNvSpPr>
                <p:nvPr/>
              </p:nvSpPr>
              <p:spPr bwMode="auto">
                <a:xfrm>
                  <a:off x="1396" y="2523"/>
                  <a:ext cx="73" cy="80"/>
                </a:xfrm>
                <a:custGeom>
                  <a:avLst/>
                  <a:gdLst>
                    <a:gd name="T0" fmla="*/ 66 w 74"/>
                    <a:gd name="T1" fmla="*/ 0 h 80"/>
                    <a:gd name="T2" fmla="*/ 73 w 74"/>
                    <a:gd name="T3" fmla="*/ 79 h 80"/>
                    <a:gd name="T4" fmla="*/ 43 w 74"/>
                    <a:gd name="T5" fmla="*/ 44 h 80"/>
                    <a:gd name="T6" fmla="*/ 0 w 74"/>
                    <a:gd name="T7" fmla="*/ 58 h 80"/>
                    <a:gd name="T8" fmla="*/ 66 w 74"/>
                    <a:gd name="T9" fmla="*/ 0 h 80"/>
                    <a:gd name="T10" fmla="*/ 0 60000 65536"/>
                    <a:gd name="T11" fmla="*/ 0 60000 65536"/>
                    <a:gd name="T12" fmla="*/ 0 60000 65536"/>
                    <a:gd name="T13" fmla="*/ 0 60000 65536"/>
                    <a:gd name="T14" fmla="*/ 0 60000 65536"/>
                    <a:gd name="T15" fmla="*/ 0 w 74"/>
                    <a:gd name="T16" fmla="*/ 0 h 80"/>
                    <a:gd name="T17" fmla="*/ 74 w 74"/>
                    <a:gd name="T18" fmla="*/ 80 h 80"/>
                  </a:gdLst>
                  <a:ahLst/>
                  <a:cxnLst>
                    <a:cxn ang="T10">
                      <a:pos x="T0" y="T1"/>
                    </a:cxn>
                    <a:cxn ang="T11">
                      <a:pos x="T2" y="T3"/>
                    </a:cxn>
                    <a:cxn ang="T12">
                      <a:pos x="T4" y="T5"/>
                    </a:cxn>
                    <a:cxn ang="T13">
                      <a:pos x="T6" y="T7"/>
                    </a:cxn>
                    <a:cxn ang="T14">
                      <a:pos x="T8" y="T9"/>
                    </a:cxn>
                  </a:cxnLst>
                  <a:rect l="T15" t="T16" r="T17" b="T18"/>
                  <a:pathLst>
                    <a:path w="74" h="80">
                      <a:moveTo>
                        <a:pt x="66" y="0"/>
                      </a:moveTo>
                      <a:lnTo>
                        <a:pt x="73" y="79"/>
                      </a:lnTo>
                      <a:lnTo>
                        <a:pt x="43" y="44"/>
                      </a:lnTo>
                      <a:lnTo>
                        <a:pt x="0" y="58"/>
                      </a:lnTo>
                      <a:lnTo>
                        <a:pt x="66" y="0"/>
                      </a:lnTo>
                    </a:path>
                  </a:pathLst>
                </a:custGeom>
                <a:solidFill>
                  <a:schemeClr val="accent3"/>
                </a:solidFill>
                <a:ln w="12700" cap="rnd">
                  <a:solidFill>
                    <a:schemeClr val="accent3"/>
                  </a:solidFill>
                  <a:round/>
                  <a:headEnd/>
                  <a:tailEnd/>
                </a:ln>
              </p:spPr>
              <p:txBody>
                <a:bodyPr/>
                <a:lstStyle/>
                <a:p>
                  <a:pPr>
                    <a:defRPr/>
                  </a:pPr>
                  <a:endParaRPr lang="en-GB" sz="1200"/>
                </a:p>
              </p:txBody>
            </p:sp>
            <p:sp>
              <p:nvSpPr>
                <p:cNvPr id="31" name="Line 30"/>
                <p:cNvSpPr>
                  <a:spLocks noChangeShapeType="1"/>
                </p:cNvSpPr>
                <p:nvPr/>
              </p:nvSpPr>
              <p:spPr bwMode="auto">
                <a:xfrm flipH="1">
                  <a:off x="1437" y="2574"/>
                  <a:ext cx="22" cy="0"/>
                </a:xfrm>
                <a:prstGeom prst="line">
                  <a:avLst/>
                </a:prstGeom>
                <a:noFill/>
                <a:ln w="12700">
                  <a:solidFill>
                    <a:schemeClr val="accent3"/>
                  </a:solidFill>
                  <a:round/>
                  <a:headEnd/>
                  <a:tailEnd/>
                </a:ln>
              </p:spPr>
              <p:txBody>
                <a:bodyPr wrap="none" anchor="ctr"/>
                <a:lstStyle/>
                <a:p>
                  <a:pPr>
                    <a:defRPr/>
                  </a:pPr>
                  <a:endParaRPr lang="en-GB" sz="1200"/>
                </a:p>
              </p:txBody>
            </p:sp>
          </p:grpSp>
        </p:grpSp>
        <p:grpSp>
          <p:nvGrpSpPr>
            <p:cNvPr id="7" name="Group 31"/>
            <p:cNvGrpSpPr>
              <a:grpSpLocks/>
            </p:cNvGrpSpPr>
            <p:nvPr/>
          </p:nvGrpSpPr>
          <p:grpSpPr bwMode="auto">
            <a:xfrm>
              <a:off x="2628900" y="3704798"/>
              <a:ext cx="454025" cy="176212"/>
              <a:chOff x="1573" y="2450"/>
              <a:chExt cx="296" cy="122"/>
            </a:xfrm>
          </p:grpSpPr>
          <p:sp>
            <p:nvSpPr>
              <p:cNvPr id="33" name="Arc 32"/>
              <p:cNvSpPr>
                <a:spLocks/>
              </p:cNvSpPr>
              <p:nvPr/>
            </p:nvSpPr>
            <p:spPr bwMode="auto">
              <a:xfrm>
                <a:off x="1573" y="2471"/>
                <a:ext cx="280" cy="101"/>
              </a:xfrm>
              <a:custGeom>
                <a:avLst/>
                <a:gdLst>
                  <a:gd name="T0" fmla="*/ 0 w 39738"/>
                  <a:gd name="T1" fmla="*/ 0 h 21600"/>
                  <a:gd name="T2" fmla="*/ 0 w 39738"/>
                  <a:gd name="T3" fmla="*/ 0 h 21600"/>
                  <a:gd name="T4" fmla="*/ 0 w 39738"/>
                  <a:gd name="T5" fmla="*/ 0 h 21600"/>
                  <a:gd name="T6" fmla="*/ 0 60000 65536"/>
                  <a:gd name="T7" fmla="*/ 0 60000 65536"/>
                  <a:gd name="T8" fmla="*/ 0 60000 65536"/>
                  <a:gd name="T9" fmla="*/ 0 w 39738"/>
                  <a:gd name="T10" fmla="*/ 0 h 21600"/>
                  <a:gd name="T11" fmla="*/ 39738 w 39738"/>
                  <a:gd name="T12" fmla="*/ 21600 h 21600"/>
                </a:gdLst>
                <a:ahLst/>
                <a:cxnLst>
                  <a:cxn ang="T6">
                    <a:pos x="T0" y="T1"/>
                  </a:cxn>
                  <a:cxn ang="T7">
                    <a:pos x="T2" y="T3"/>
                  </a:cxn>
                  <a:cxn ang="T8">
                    <a:pos x="T4" y="T5"/>
                  </a:cxn>
                </a:cxnLst>
                <a:rect l="T9" t="T10" r="T11" b="T12"/>
                <a:pathLst>
                  <a:path w="39738" h="21600" fill="none" extrusionOk="0">
                    <a:moveTo>
                      <a:pt x="39738" y="0"/>
                    </a:moveTo>
                    <a:cubicBezTo>
                      <a:pt x="39738" y="11929"/>
                      <a:pt x="30067" y="21600"/>
                      <a:pt x="18138" y="21600"/>
                    </a:cubicBezTo>
                    <a:cubicBezTo>
                      <a:pt x="10808" y="21600"/>
                      <a:pt x="3979" y="17883"/>
                      <a:pt x="-1" y="11729"/>
                    </a:cubicBezTo>
                  </a:path>
                  <a:path w="39738" h="21600" stroke="0" extrusionOk="0">
                    <a:moveTo>
                      <a:pt x="39738" y="0"/>
                    </a:moveTo>
                    <a:cubicBezTo>
                      <a:pt x="39738" y="11929"/>
                      <a:pt x="30067" y="21600"/>
                      <a:pt x="18138" y="21600"/>
                    </a:cubicBezTo>
                    <a:cubicBezTo>
                      <a:pt x="10808" y="21600"/>
                      <a:pt x="3979" y="17883"/>
                      <a:pt x="-1" y="11729"/>
                    </a:cubicBezTo>
                    <a:lnTo>
                      <a:pt x="18138" y="0"/>
                    </a:lnTo>
                    <a:close/>
                  </a:path>
                </a:pathLst>
              </a:custGeom>
              <a:noFill/>
              <a:ln w="12700" cap="rnd">
                <a:solidFill>
                  <a:schemeClr val="accent3"/>
                </a:solidFill>
                <a:round/>
                <a:headEnd/>
                <a:tailEnd/>
              </a:ln>
            </p:spPr>
            <p:txBody>
              <a:bodyPr wrap="none" anchor="ctr"/>
              <a:lstStyle/>
              <a:p>
                <a:pPr algn="ctr">
                  <a:defRPr/>
                </a:pPr>
                <a:endParaRPr lang="en-GB" sz="1200"/>
              </a:p>
            </p:txBody>
          </p:sp>
          <p:grpSp>
            <p:nvGrpSpPr>
              <p:cNvPr id="10" name="Group 33"/>
              <p:cNvGrpSpPr>
                <a:grpSpLocks/>
              </p:cNvGrpSpPr>
              <p:nvPr/>
            </p:nvGrpSpPr>
            <p:grpSpPr bwMode="auto">
              <a:xfrm>
                <a:off x="1795" y="2450"/>
                <a:ext cx="74" cy="81"/>
                <a:chOff x="1795" y="2450"/>
                <a:chExt cx="74" cy="81"/>
              </a:xfrm>
            </p:grpSpPr>
            <p:sp>
              <p:nvSpPr>
                <p:cNvPr id="35" name="Freeform 34"/>
                <p:cNvSpPr>
                  <a:spLocks/>
                </p:cNvSpPr>
                <p:nvPr/>
              </p:nvSpPr>
              <p:spPr bwMode="auto">
                <a:xfrm>
                  <a:off x="1796" y="2450"/>
                  <a:ext cx="73" cy="81"/>
                </a:xfrm>
                <a:custGeom>
                  <a:avLst/>
                  <a:gdLst>
                    <a:gd name="T0" fmla="*/ 66 w 74"/>
                    <a:gd name="T1" fmla="*/ 0 h 81"/>
                    <a:gd name="T2" fmla="*/ 73 w 74"/>
                    <a:gd name="T3" fmla="*/ 80 h 81"/>
                    <a:gd name="T4" fmla="*/ 43 w 74"/>
                    <a:gd name="T5" fmla="*/ 44 h 81"/>
                    <a:gd name="T6" fmla="*/ 0 w 74"/>
                    <a:gd name="T7" fmla="*/ 58 h 81"/>
                    <a:gd name="T8" fmla="*/ 66 w 74"/>
                    <a:gd name="T9" fmla="*/ 0 h 81"/>
                    <a:gd name="T10" fmla="*/ 0 60000 65536"/>
                    <a:gd name="T11" fmla="*/ 0 60000 65536"/>
                    <a:gd name="T12" fmla="*/ 0 60000 65536"/>
                    <a:gd name="T13" fmla="*/ 0 60000 65536"/>
                    <a:gd name="T14" fmla="*/ 0 60000 65536"/>
                    <a:gd name="T15" fmla="*/ 0 w 74"/>
                    <a:gd name="T16" fmla="*/ 0 h 81"/>
                    <a:gd name="T17" fmla="*/ 74 w 74"/>
                    <a:gd name="T18" fmla="*/ 81 h 81"/>
                  </a:gdLst>
                  <a:ahLst/>
                  <a:cxnLst>
                    <a:cxn ang="T10">
                      <a:pos x="T0" y="T1"/>
                    </a:cxn>
                    <a:cxn ang="T11">
                      <a:pos x="T2" y="T3"/>
                    </a:cxn>
                    <a:cxn ang="T12">
                      <a:pos x="T4" y="T5"/>
                    </a:cxn>
                    <a:cxn ang="T13">
                      <a:pos x="T6" y="T7"/>
                    </a:cxn>
                    <a:cxn ang="T14">
                      <a:pos x="T8" y="T9"/>
                    </a:cxn>
                  </a:cxnLst>
                  <a:rect l="T15" t="T16" r="T17" b="T18"/>
                  <a:pathLst>
                    <a:path w="74" h="81">
                      <a:moveTo>
                        <a:pt x="66" y="0"/>
                      </a:moveTo>
                      <a:lnTo>
                        <a:pt x="73" y="80"/>
                      </a:lnTo>
                      <a:lnTo>
                        <a:pt x="43" y="44"/>
                      </a:lnTo>
                      <a:lnTo>
                        <a:pt x="0" y="58"/>
                      </a:lnTo>
                      <a:lnTo>
                        <a:pt x="66" y="0"/>
                      </a:lnTo>
                    </a:path>
                  </a:pathLst>
                </a:custGeom>
                <a:solidFill>
                  <a:schemeClr val="accent3"/>
                </a:solidFill>
                <a:ln w="12700" cap="rnd">
                  <a:solidFill>
                    <a:schemeClr val="accent3"/>
                  </a:solidFill>
                  <a:round/>
                  <a:headEnd/>
                  <a:tailEnd/>
                </a:ln>
              </p:spPr>
              <p:txBody>
                <a:bodyPr/>
                <a:lstStyle/>
                <a:p>
                  <a:pPr>
                    <a:defRPr/>
                  </a:pPr>
                  <a:endParaRPr lang="en-GB" sz="1200"/>
                </a:p>
              </p:txBody>
            </p:sp>
            <p:sp>
              <p:nvSpPr>
                <p:cNvPr id="36" name="Line 35"/>
                <p:cNvSpPr>
                  <a:spLocks noChangeShapeType="1"/>
                </p:cNvSpPr>
                <p:nvPr/>
              </p:nvSpPr>
              <p:spPr bwMode="auto">
                <a:xfrm flipH="1">
                  <a:off x="1837" y="2503"/>
                  <a:ext cx="22" cy="0"/>
                </a:xfrm>
                <a:prstGeom prst="line">
                  <a:avLst/>
                </a:prstGeom>
                <a:noFill/>
                <a:ln w="12700">
                  <a:solidFill>
                    <a:schemeClr val="accent3"/>
                  </a:solidFill>
                  <a:round/>
                  <a:headEnd/>
                  <a:tailEnd/>
                </a:ln>
              </p:spPr>
              <p:txBody>
                <a:bodyPr wrap="none" anchor="ctr"/>
                <a:lstStyle/>
                <a:p>
                  <a:pPr>
                    <a:defRPr/>
                  </a:pPr>
                  <a:endParaRPr lang="en-GB" sz="1200"/>
                </a:p>
              </p:txBody>
            </p:sp>
          </p:grpSp>
        </p:grpSp>
        <p:sp>
          <p:nvSpPr>
            <p:cNvPr id="768025" name="Rectangle 36"/>
            <p:cNvSpPr>
              <a:spLocks noChangeArrowheads="1"/>
            </p:cNvSpPr>
            <p:nvPr/>
          </p:nvSpPr>
          <p:spPr bwMode="auto">
            <a:xfrm>
              <a:off x="1781175" y="2407810"/>
              <a:ext cx="1433513" cy="403225"/>
            </a:xfrm>
            <a:prstGeom prst="rect">
              <a:avLst/>
            </a:prstGeom>
            <a:noFill/>
            <a:ln w="12700" algn="ctr">
              <a:noFill/>
              <a:miter lim="800000"/>
              <a:headEnd/>
              <a:tailEnd/>
            </a:ln>
          </p:spPr>
          <p:txBody>
            <a:bodyPr lIns="90488" tIns="44450" rIns="90488" bIns="44450">
              <a:spAutoFit/>
            </a:bodyPr>
            <a:lstStyle/>
            <a:p>
              <a:pPr defTabSz="903288">
                <a:lnSpc>
                  <a:spcPct val="85000"/>
                </a:lnSpc>
              </a:pPr>
              <a:r>
                <a:rPr lang="en-GB" altLang="ja-JP" sz="1200" dirty="0">
                  <a:solidFill>
                    <a:schemeClr val="tx2"/>
                  </a:solidFill>
                  <a:ea typeface="ＭＳ Ｐゴシック" charset="-128"/>
                </a:rPr>
                <a:t>Where can we be next year?</a:t>
              </a:r>
            </a:p>
          </p:txBody>
        </p:sp>
        <p:grpSp>
          <p:nvGrpSpPr>
            <p:cNvPr id="83" name="Group 82"/>
            <p:cNvGrpSpPr/>
            <p:nvPr/>
          </p:nvGrpSpPr>
          <p:grpSpPr>
            <a:xfrm>
              <a:off x="772046" y="2358627"/>
              <a:ext cx="3259709" cy="2182287"/>
              <a:chOff x="772046" y="2358627"/>
              <a:chExt cx="3259709" cy="2182287"/>
            </a:xfrm>
          </p:grpSpPr>
          <p:sp>
            <p:nvSpPr>
              <p:cNvPr id="768014" name="Line 17"/>
              <p:cNvSpPr>
                <a:spLocks noChangeShapeType="1"/>
              </p:cNvSpPr>
              <p:nvPr/>
            </p:nvSpPr>
            <p:spPr bwMode="auto">
              <a:xfrm flipH="1">
                <a:off x="856755" y="4540914"/>
                <a:ext cx="3175000" cy="0"/>
              </a:xfrm>
              <a:prstGeom prst="line">
                <a:avLst/>
              </a:prstGeom>
              <a:noFill/>
              <a:ln w="12700">
                <a:solidFill>
                  <a:schemeClr val="tx2"/>
                </a:solidFill>
                <a:round/>
                <a:headEnd/>
                <a:tailEnd/>
              </a:ln>
            </p:spPr>
            <p:txBody>
              <a:bodyPr wrap="none" anchor="ctr"/>
              <a:lstStyle/>
              <a:p>
                <a:endParaRPr lang="en-US"/>
              </a:p>
            </p:txBody>
          </p:sp>
          <p:sp>
            <p:nvSpPr>
              <p:cNvPr id="87" name="Line 8"/>
              <p:cNvSpPr>
                <a:spLocks noChangeShapeType="1"/>
              </p:cNvSpPr>
              <p:nvPr/>
            </p:nvSpPr>
            <p:spPr bwMode="auto">
              <a:xfrm>
                <a:off x="862154" y="2358627"/>
                <a:ext cx="0" cy="2178050"/>
              </a:xfrm>
              <a:prstGeom prst="line">
                <a:avLst/>
              </a:prstGeom>
              <a:noFill/>
              <a:ln w="12700">
                <a:solidFill>
                  <a:schemeClr val="tx2"/>
                </a:solidFill>
                <a:round/>
                <a:headEnd/>
                <a:tailEnd/>
              </a:ln>
            </p:spPr>
            <p:txBody>
              <a:bodyPr wrap="none" anchor="ctr"/>
              <a:lstStyle/>
              <a:p>
                <a:endParaRPr lang="en-US"/>
              </a:p>
            </p:txBody>
          </p:sp>
          <p:sp>
            <p:nvSpPr>
              <p:cNvPr id="89" name="Line 9"/>
              <p:cNvSpPr>
                <a:spLocks noChangeShapeType="1"/>
              </p:cNvSpPr>
              <p:nvPr/>
            </p:nvSpPr>
            <p:spPr bwMode="auto">
              <a:xfrm>
                <a:off x="776938" y="2671440"/>
                <a:ext cx="88049" cy="0"/>
              </a:xfrm>
              <a:prstGeom prst="line">
                <a:avLst/>
              </a:prstGeom>
              <a:noFill/>
              <a:ln w="12700">
                <a:solidFill>
                  <a:schemeClr val="tx2"/>
                </a:solidFill>
                <a:round/>
                <a:headEnd/>
                <a:tailEnd/>
              </a:ln>
            </p:spPr>
            <p:txBody>
              <a:bodyPr wrap="none" anchor="ctr"/>
              <a:lstStyle/>
              <a:p>
                <a:endParaRPr lang="en-US"/>
              </a:p>
            </p:txBody>
          </p:sp>
          <p:sp>
            <p:nvSpPr>
              <p:cNvPr id="90" name="Line 10"/>
              <p:cNvSpPr>
                <a:spLocks noChangeShapeType="1"/>
              </p:cNvSpPr>
              <p:nvPr/>
            </p:nvSpPr>
            <p:spPr bwMode="auto">
              <a:xfrm>
                <a:off x="780606" y="2982204"/>
                <a:ext cx="84381" cy="0"/>
              </a:xfrm>
              <a:prstGeom prst="line">
                <a:avLst/>
              </a:prstGeom>
              <a:noFill/>
              <a:ln w="12700">
                <a:solidFill>
                  <a:schemeClr val="tx2"/>
                </a:solidFill>
                <a:round/>
                <a:headEnd/>
                <a:tailEnd/>
              </a:ln>
            </p:spPr>
            <p:txBody>
              <a:bodyPr wrap="none" anchor="ctr"/>
              <a:lstStyle/>
              <a:p>
                <a:endParaRPr lang="en-US"/>
              </a:p>
            </p:txBody>
          </p:sp>
          <p:sp>
            <p:nvSpPr>
              <p:cNvPr id="91" name="Line 11"/>
              <p:cNvSpPr>
                <a:spLocks noChangeShapeType="1"/>
              </p:cNvSpPr>
              <p:nvPr/>
            </p:nvSpPr>
            <p:spPr bwMode="auto">
              <a:xfrm>
                <a:off x="772046" y="3292968"/>
                <a:ext cx="90107" cy="0"/>
              </a:xfrm>
              <a:prstGeom prst="line">
                <a:avLst/>
              </a:prstGeom>
              <a:noFill/>
              <a:ln w="12700">
                <a:solidFill>
                  <a:schemeClr val="tx2"/>
                </a:solidFill>
                <a:round/>
                <a:headEnd/>
                <a:tailEnd/>
              </a:ln>
            </p:spPr>
            <p:txBody>
              <a:bodyPr wrap="none" anchor="ctr"/>
              <a:lstStyle/>
              <a:p>
                <a:endParaRPr lang="en-US"/>
              </a:p>
            </p:txBody>
          </p:sp>
          <p:sp>
            <p:nvSpPr>
              <p:cNvPr id="92" name="Line 12"/>
              <p:cNvSpPr>
                <a:spLocks noChangeShapeType="1"/>
              </p:cNvSpPr>
              <p:nvPr/>
            </p:nvSpPr>
            <p:spPr bwMode="auto">
              <a:xfrm>
                <a:off x="780606" y="3603731"/>
                <a:ext cx="84381" cy="0"/>
              </a:xfrm>
              <a:prstGeom prst="line">
                <a:avLst/>
              </a:prstGeom>
              <a:noFill/>
              <a:ln w="12700">
                <a:solidFill>
                  <a:schemeClr val="tx2"/>
                </a:solidFill>
                <a:round/>
                <a:headEnd/>
                <a:tailEnd/>
              </a:ln>
            </p:spPr>
            <p:txBody>
              <a:bodyPr wrap="none" anchor="ctr"/>
              <a:lstStyle/>
              <a:p>
                <a:endParaRPr lang="en-US"/>
              </a:p>
            </p:txBody>
          </p:sp>
          <p:sp>
            <p:nvSpPr>
              <p:cNvPr id="93" name="Line 13"/>
              <p:cNvSpPr>
                <a:spLocks noChangeShapeType="1"/>
              </p:cNvSpPr>
              <p:nvPr/>
            </p:nvSpPr>
            <p:spPr bwMode="auto">
              <a:xfrm>
                <a:off x="780607" y="3914495"/>
                <a:ext cx="81546" cy="0"/>
              </a:xfrm>
              <a:prstGeom prst="line">
                <a:avLst/>
              </a:prstGeom>
              <a:noFill/>
              <a:ln w="12700">
                <a:solidFill>
                  <a:schemeClr val="tx2"/>
                </a:solidFill>
                <a:round/>
                <a:headEnd/>
                <a:tailEnd/>
              </a:ln>
            </p:spPr>
            <p:txBody>
              <a:bodyPr wrap="none" anchor="ctr"/>
              <a:lstStyle/>
              <a:p>
                <a:endParaRPr lang="en-US"/>
              </a:p>
            </p:txBody>
          </p:sp>
          <p:sp>
            <p:nvSpPr>
              <p:cNvPr id="94" name="Line 14"/>
              <p:cNvSpPr>
                <a:spLocks noChangeShapeType="1"/>
              </p:cNvSpPr>
              <p:nvPr/>
            </p:nvSpPr>
            <p:spPr bwMode="auto">
              <a:xfrm>
                <a:off x="781832" y="4225259"/>
                <a:ext cx="83156" cy="0"/>
              </a:xfrm>
              <a:prstGeom prst="line">
                <a:avLst/>
              </a:prstGeom>
              <a:noFill/>
              <a:ln w="12700">
                <a:solidFill>
                  <a:schemeClr val="tx2"/>
                </a:solidFill>
                <a:round/>
                <a:headEnd/>
                <a:tailEnd/>
              </a:ln>
            </p:spPr>
            <p:txBody>
              <a:bodyPr wrap="none" anchor="ctr"/>
              <a:lstStyle/>
              <a:p>
                <a:endParaRPr lang="en-US"/>
              </a:p>
            </p:txBody>
          </p:sp>
          <p:sp>
            <p:nvSpPr>
              <p:cNvPr id="95" name="Line 15"/>
              <p:cNvSpPr>
                <a:spLocks noChangeShapeType="1"/>
              </p:cNvSpPr>
              <p:nvPr/>
            </p:nvSpPr>
            <p:spPr bwMode="auto">
              <a:xfrm>
                <a:off x="773270" y="2360676"/>
                <a:ext cx="88883" cy="0"/>
              </a:xfrm>
              <a:prstGeom prst="line">
                <a:avLst/>
              </a:prstGeom>
              <a:noFill/>
              <a:ln w="12700">
                <a:solidFill>
                  <a:schemeClr val="tx2"/>
                </a:solidFill>
                <a:round/>
                <a:headEnd/>
                <a:tailEnd/>
              </a:ln>
            </p:spPr>
            <p:txBody>
              <a:bodyPr wrap="none" anchor="ctr"/>
              <a:lstStyle/>
              <a:p>
                <a:endParaRPr lang="en-US"/>
              </a:p>
            </p:txBody>
          </p:sp>
        </p:grpSp>
      </p:grpSp>
      <p:sp>
        <p:nvSpPr>
          <p:cNvPr id="110" name="Text Placeholder 12"/>
          <p:cNvSpPr>
            <a:spLocks/>
          </p:cNvSpPr>
          <p:nvPr>
            <p:custDataLst>
              <p:tags r:id="rId3"/>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1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grpSp>
        <p:nvGrpSpPr>
          <p:cNvPr id="117" name="Group 116"/>
          <p:cNvGrpSpPr/>
          <p:nvPr/>
        </p:nvGrpSpPr>
        <p:grpSpPr>
          <a:xfrm>
            <a:off x="5192377" y="2031575"/>
            <a:ext cx="3536811" cy="2835084"/>
            <a:chOff x="5192377" y="2005448"/>
            <a:chExt cx="3536811" cy="2835084"/>
          </a:xfrm>
        </p:grpSpPr>
        <p:sp>
          <p:nvSpPr>
            <p:cNvPr id="768027" name="Rectangle 39"/>
            <p:cNvSpPr>
              <a:spLocks noChangeArrowheads="1"/>
            </p:cNvSpPr>
            <p:nvPr/>
          </p:nvSpPr>
          <p:spPr bwMode="auto">
            <a:xfrm>
              <a:off x="6699596" y="4593798"/>
              <a:ext cx="539059" cy="246734"/>
            </a:xfrm>
            <a:prstGeom prst="rect">
              <a:avLst/>
            </a:prstGeom>
            <a:noFill/>
            <a:ln w="12700">
              <a:noFill/>
              <a:miter lim="800000"/>
              <a:headEnd/>
              <a:tailEnd/>
            </a:ln>
          </p:spPr>
          <p:txBody>
            <a:bodyPr wrap="none" lIns="90488" tIns="44450" rIns="90488" bIns="44450">
              <a:spAutoFit/>
            </a:bodyPr>
            <a:lstStyle/>
            <a:p>
              <a:pPr defTabSz="903288">
                <a:lnSpc>
                  <a:spcPct val="85000"/>
                </a:lnSpc>
              </a:pPr>
              <a:r>
                <a:rPr lang="en-GB" altLang="ja-JP" sz="1200" b="1">
                  <a:solidFill>
                    <a:schemeClr val="tx2"/>
                  </a:solidFill>
                  <a:ea typeface="ＭＳ Ｐゴシック" charset="-128"/>
                </a:rPr>
                <a:t>Time</a:t>
              </a:r>
            </a:p>
          </p:txBody>
        </p:sp>
        <p:sp>
          <p:nvSpPr>
            <p:cNvPr id="768028" name="Rectangle 40"/>
            <p:cNvSpPr>
              <a:spLocks noChangeArrowheads="1"/>
            </p:cNvSpPr>
            <p:nvPr/>
          </p:nvSpPr>
          <p:spPr bwMode="auto">
            <a:xfrm rot="-5400000">
              <a:off x="5052850" y="3119469"/>
              <a:ext cx="525787" cy="246734"/>
            </a:xfrm>
            <a:prstGeom prst="rect">
              <a:avLst/>
            </a:prstGeom>
            <a:noFill/>
            <a:ln w="12700">
              <a:noFill/>
              <a:miter lim="800000"/>
              <a:headEnd/>
              <a:tailEnd/>
            </a:ln>
          </p:spPr>
          <p:txBody>
            <a:bodyPr wrap="none" lIns="90488" tIns="44450" rIns="90488" bIns="44450">
              <a:spAutoFit/>
            </a:bodyPr>
            <a:lstStyle/>
            <a:p>
              <a:pPr defTabSz="903288">
                <a:lnSpc>
                  <a:spcPct val="85000"/>
                </a:lnSpc>
              </a:pPr>
              <a:r>
                <a:rPr lang="en-GB" altLang="ja-JP" sz="1200" b="1" dirty="0">
                  <a:solidFill>
                    <a:schemeClr val="tx2"/>
                  </a:solidFill>
                  <a:ea typeface="ＭＳ Ｐゴシック" charset="-128"/>
                </a:rPr>
                <a:t>Goal</a:t>
              </a:r>
            </a:p>
          </p:txBody>
        </p:sp>
        <p:sp>
          <p:nvSpPr>
            <p:cNvPr id="768029" name="Rectangle 41"/>
            <p:cNvSpPr>
              <a:spLocks noChangeArrowheads="1"/>
            </p:cNvSpPr>
            <p:nvPr/>
          </p:nvSpPr>
          <p:spPr bwMode="auto">
            <a:xfrm>
              <a:off x="6765925" y="3803223"/>
              <a:ext cx="1941513" cy="246062"/>
            </a:xfrm>
            <a:prstGeom prst="rect">
              <a:avLst/>
            </a:prstGeom>
            <a:noFill/>
            <a:ln w="12700">
              <a:noFill/>
              <a:miter lim="800000"/>
              <a:headEnd/>
              <a:tailEnd/>
            </a:ln>
          </p:spPr>
          <p:txBody>
            <a:bodyPr wrap="none" lIns="90488" tIns="44450" rIns="90488" bIns="44450">
              <a:spAutoFit/>
            </a:bodyPr>
            <a:lstStyle/>
            <a:p>
              <a:pPr defTabSz="903288">
                <a:lnSpc>
                  <a:spcPct val="85000"/>
                </a:lnSpc>
              </a:pPr>
              <a:r>
                <a:rPr lang="en-GB" altLang="ja-JP" sz="1200">
                  <a:solidFill>
                    <a:schemeClr val="tx2"/>
                  </a:solidFill>
                  <a:ea typeface="ＭＳ Ｐゴシック" charset="-128"/>
                </a:rPr>
                <a:t>Actions driven by strategy</a:t>
              </a:r>
            </a:p>
          </p:txBody>
        </p:sp>
        <p:sp>
          <p:nvSpPr>
            <p:cNvPr id="43" name="Arc 42"/>
            <p:cNvSpPr>
              <a:spLocks/>
            </p:cNvSpPr>
            <p:nvPr/>
          </p:nvSpPr>
          <p:spPr bwMode="auto">
            <a:xfrm>
              <a:off x="6048375" y="2445910"/>
              <a:ext cx="1997075" cy="1573213"/>
            </a:xfrm>
            <a:custGeom>
              <a:avLst/>
              <a:gdLst>
                <a:gd name="T0" fmla="*/ 0 w 21600"/>
                <a:gd name="T1" fmla="*/ 2147483647 h 21600"/>
                <a:gd name="T2" fmla="*/ 2147483647 w 21600"/>
                <a:gd name="T3" fmla="*/ 0 h 21600"/>
                <a:gd name="T4" fmla="*/ 2147483647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6"/>
                    <a:pt x="9661" y="8"/>
                    <a:pt x="21585" y="0"/>
                  </a:cubicBezTo>
                </a:path>
                <a:path w="21600" h="21600" stroke="0" extrusionOk="0">
                  <a:moveTo>
                    <a:pt x="0" y="21600"/>
                  </a:moveTo>
                  <a:cubicBezTo>
                    <a:pt x="0" y="9676"/>
                    <a:pt x="9661" y="8"/>
                    <a:pt x="21585" y="0"/>
                  </a:cubicBezTo>
                  <a:lnTo>
                    <a:pt x="21600" y="21600"/>
                  </a:lnTo>
                  <a:close/>
                </a:path>
              </a:pathLst>
            </a:custGeom>
            <a:noFill/>
            <a:ln w="12700" cap="rnd">
              <a:solidFill>
                <a:schemeClr val="accent3"/>
              </a:solidFill>
              <a:round/>
              <a:headEnd/>
              <a:tailEnd/>
            </a:ln>
            <a:effectLst/>
          </p:spPr>
          <p:txBody>
            <a:bodyPr wrap="none" anchor="ctr"/>
            <a:lstStyle/>
            <a:p>
              <a:pPr algn="ctr">
                <a:defRPr/>
              </a:pPr>
              <a:endParaRPr lang="en-GB" sz="1200"/>
            </a:p>
          </p:txBody>
        </p:sp>
        <p:grpSp>
          <p:nvGrpSpPr>
            <p:cNvPr id="11" name="Group 43"/>
            <p:cNvGrpSpPr>
              <a:grpSpLocks/>
            </p:cNvGrpSpPr>
            <p:nvPr/>
          </p:nvGrpSpPr>
          <p:grpSpPr bwMode="auto">
            <a:xfrm>
              <a:off x="7964366" y="2394151"/>
              <a:ext cx="104042" cy="107950"/>
              <a:chOff x="5165" y="1506"/>
              <a:chExt cx="73" cy="74"/>
            </a:xfrm>
            <a:solidFill>
              <a:schemeClr val="accent3"/>
            </a:solidFill>
            <a:effectLst/>
          </p:grpSpPr>
          <p:sp>
            <p:nvSpPr>
              <p:cNvPr id="45" name="Freeform 44"/>
              <p:cNvSpPr>
                <a:spLocks/>
              </p:cNvSpPr>
              <p:nvPr/>
            </p:nvSpPr>
            <p:spPr bwMode="auto">
              <a:xfrm>
                <a:off x="5165" y="1506"/>
                <a:ext cx="73" cy="74"/>
              </a:xfrm>
              <a:custGeom>
                <a:avLst/>
                <a:gdLst>
                  <a:gd name="T0" fmla="*/ 72 w 73"/>
                  <a:gd name="T1" fmla="*/ 37 h 74"/>
                  <a:gd name="T2" fmla="*/ 0 w 73"/>
                  <a:gd name="T3" fmla="*/ 73 h 74"/>
                  <a:gd name="T4" fmla="*/ 22 w 73"/>
                  <a:gd name="T5" fmla="*/ 37 h 74"/>
                  <a:gd name="T6" fmla="*/ 0 w 73"/>
                  <a:gd name="T7" fmla="*/ 0 h 74"/>
                  <a:gd name="T8" fmla="*/ 72 w 73"/>
                  <a:gd name="T9" fmla="*/ 37 h 74"/>
                  <a:gd name="T10" fmla="*/ 0 60000 65536"/>
                  <a:gd name="T11" fmla="*/ 0 60000 65536"/>
                  <a:gd name="T12" fmla="*/ 0 60000 65536"/>
                  <a:gd name="T13" fmla="*/ 0 60000 65536"/>
                  <a:gd name="T14" fmla="*/ 0 60000 65536"/>
                  <a:gd name="T15" fmla="*/ 0 w 73"/>
                  <a:gd name="T16" fmla="*/ 0 h 74"/>
                  <a:gd name="T17" fmla="*/ 73 w 73"/>
                  <a:gd name="T18" fmla="*/ 74 h 74"/>
                </a:gdLst>
                <a:ahLst/>
                <a:cxnLst>
                  <a:cxn ang="T10">
                    <a:pos x="T0" y="T1"/>
                  </a:cxn>
                  <a:cxn ang="T11">
                    <a:pos x="T2" y="T3"/>
                  </a:cxn>
                  <a:cxn ang="T12">
                    <a:pos x="T4" y="T5"/>
                  </a:cxn>
                  <a:cxn ang="T13">
                    <a:pos x="T6" y="T7"/>
                  </a:cxn>
                  <a:cxn ang="T14">
                    <a:pos x="T8" y="T9"/>
                  </a:cxn>
                </a:cxnLst>
                <a:rect l="T15" t="T16" r="T17" b="T18"/>
                <a:pathLst>
                  <a:path w="73" h="74">
                    <a:moveTo>
                      <a:pt x="72" y="37"/>
                    </a:moveTo>
                    <a:lnTo>
                      <a:pt x="0" y="73"/>
                    </a:lnTo>
                    <a:lnTo>
                      <a:pt x="22" y="37"/>
                    </a:lnTo>
                    <a:lnTo>
                      <a:pt x="0" y="0"/>
                    </a:lnTo>
                    <a:lnTo>
                      <a:pt x="72" y="37"/>
                    </a:lnTo>
                  </a:path>
                </a:pathLst>
              </a:custGeom>
              <a:grpFill/>
              <a:ln w="12700" cap="rnd">
                <a:solidFill>
                  <a:schemeClr val="accent3"/>
                </a:solidFill>
                <a:round/>
                <a:headEnd/>
                <a:tailEnd/>
              </a:ln>
            </p:spPr>
            <p:txBody>
              <a:bodyPr/>
              <a:lstStyle/>
              <a:p>
                <a:pPr>
                  <a:defRPr/>
                </a:pPr>
                <a:endParaRPr lang="en-GB" sz="1200"/>
              </a:p>
            </p:txBody>
          </p:sp>
          <p:sp>
            <p:nvSpPr>
              <p:cNvPr id="46" name="Line 45"/>
              <p:cNvSpPr>
                <a:spLocks noChangeShapeType="1"/>
              </p:cNvSpPr>
              <p:nvPr/>
            </p:nvSpPr>
            <p:spPr bwMode="auto">
              <a:xfrm>
                <a:off x="5178" y="1550"/>
                <a:ext cx="7" cy="0"/>
              </a:xfrm>
              <a:prstGeom prst="line">
                <a:avLst/>
              </a:prstGeom>
              <a:grpFill/>
              <a:ln w="12700">
                <a:solidFill>
                  <a:schemeClr val="accent3"/>
                </a:solidFill>
                <a:round/>
                <a:headEnd/>
                <a:tailEnd/>
              </a:ln>
            </p:spPr>
            <p:txBody>
              <a:bodyPr wrap="none" anchor="ctr"/>
              <a:lstStyle/>
              <a:p>
                <a:pPr>
                  <a:defRPr/>
                </a:pPr>
                <a:endParaRPr lang="en-GB" sz="1200"/>
              </a:p>
            </p:txBody>
          </p:sp>
        </p:grpSp>
        <p:sp>
          <p:nvSpPr>
            <p:cNvPr id="768032" name="Rectangle 46"/>
            <p:cNvSpPr>
              <a:spLocks noChangeArrowheads="1"/>
            </p:cNvSpPr>
            <p:nvPr/>
          </p:nvSpPr>
          <p:spPr bwMode="auto">
            <a:xfrm>
              <a:off x="5564188" y="4125628"/>
              <a:ext cx="898525" cy="403225"/>
            </a:xfrm>
            <a:prstGeom prst="rect">
              <a:avLst/>
            </a:prstGeom>
            <a:noFill/>
            <a:ln w="12700">
              <a:noFill/>
              <a:miter lim="800000"/>
              <a:headEnd/>
              <a:tailEnd/>
            </a:ln>
          </p:spPr>
          <p:txBody>
            <a:bodyPr wrap="none" lIns="90488" tIns="44450" rIns="90488" bIns="44450">
              <a:spAutoFit/>
            </a:bodyPr>
            <a:lstStyle/>
            <a:p>
              <a:pPr defTabSz="903288">
                <a:lnSpc>
                  <a:spcPct val="85000"/>
                </a:lnSpc>
              </a:pPr>
              <a:r>
                <a:rPr lang="en-GB" altLang="ja-JP" sz="1200" dirty="0">
                  <a:solidFill>
                    <a:schemeClr val="tx2"/>
                  </a:solidFill>
                  <a:ea typeface="ＭＳ Ｐゴシック" charset="-128"/>
                </a:rPr>
                <a:t>Where are</a:t>
              </a:r>
              <a:br>
                <a:rPr lang="en-GB" altLang="ja-JP" sz="1200" dirty="0">
                  <a:solidFill>
                    <a:schemeClr val="tx2"/>
                  </a:solidFill>
                  <a:ea typeface="ＭＳ Ｐゴシック" charset="-128"/>
                </a:rPr>
              </a:br>
              <a:r>
                <a:rPr lang="en-GB" altLang="ja-JP" sz="1200" dirty="0">
                  <a:solidFill>
                    <a:schemeClr val="tx2"/>
                  </a:solidFill>
                  <a:ea typeface="ＭＳ Ｐゴシック" charset="-128"/>
                </a:rPr>
                <a:t> we now? </a:t>
              </a:r>
            </a:p>
          </p:txBody>
        </p:sp>
        <p:sp>
          <p:nvSpPr>
            <p:cNvPr id="768033" name="Oval 47"/>
            <p:cNvSpPr>
              <a:spLocks noChangeArrowheads="1"/>
            </p:cNvSpPr>
            <p:nvPr/>
          </p:nvSpPr>
          <p:spPr bwMode="auto">
            <a:xfrm>
              <a:off x="5996804" y="3919110"/>
              <a:ext cx="134937" cy="138113"/>
            </a:xfrm>
            <a:prstGeom prst="ellipse">
              <a:avLst/>
            </a:prstGeom>
            <a:solidFill>
              <a:schemeClr val="tx2"/>
            </a:solidFill>
            <a:ln w="6350" algn="ctr">
              <a:noFill/>
              <a:round/>
              <a:headEnd/>
              <a:tailEnd/>
            </a:ln>
          </p:spPr>
          <p:txBody>
            <a:bodyPr tIns="91440" bIns="91440" anchor="ctr"/>
            <a:lstStyle/>
            <a:p>
              <a:pPr algn="ctr"/>
              <a:endParaRPr lang="en-GB" sz="1200"/>
            </a:p>
          </p:txBody>
        </p:sp>
        <p:sp>
          <p:nvSpPr>
            <p:cNvPr id="49" name="Oval 48"/>
            <p:cNvSpPr>
              <a:spLocks noChangeArrowheads="1"/>
            </p:cNvSpPr>
            <p:nvPr/>
          </p:nvSpPr>
          <p:spPr bwMode="auto">
            <a:xfrm>
              <a:off x="6775450" y="3404760"/>
              <a:ext cx="136525" cy="130175"/>
            </a:xfrm>
            <a:prstGeom prst="ellipse">
              <a:avLst/>
            </a:prstGeom>
            <a:solidFill>
              <a:srgbClr val="FFFFFF"/>
            </a:solidFill>
            <a:ln w="12700">
              <a:solidFill>
                <a:schemeClr val="tx2"/>
              </a:solidFill>
              <a:round/>
              <a:headEnd/>
              <a:tailEnd/>
            </a:ln>
            <a:effectLst/>
          </p:spPr>
          <p:txBody>
            <a:bodyPr wrap="none" anchor="ctr"/>
            <a:lstStyle/>
            <a:p>
              <a:pPr algn="ctr">
                <a:defRPr/>
              </a:pPr>
              <a:endParaRPr lang="en-GB" sz="1200"/>
            </a:p>
          </p:txBody>
        </p:sp>
        <p:sp>
          <p:nvSpPr>
            <p:cNvPr id="50" name="Oval 49"/>
            <p:cNvSpPr>
              <a:spLocks noChangeArrowheads="1"/>
            </p:cNvSpPr>
            <p:nvPr/>
          </p:nvSpPr>
          <p:spPr bwMode="auto">
            <a:xfrm>
              <a:off x="7467600" y="2887235"/>
              <a:ext cx="133350" cy="139700"/>
            </a:xfrm>
            <a:prstGeom prst="ellipse">
              <a:avLst/>
            </a:prstGeom>
            <a:solidFill>
              <a:srgbClr val="FFFFFF"/>
            </a:solidFill>
            <a:ln w="12700">
              <a:solidFill>
                <a:schemeClr val="tx2"/>
              </a:solidFill>
              <a:round/>
              <a:headEnd/>
              <a:tailEnd/>
            </a:ln>
            <a:effectLst/>
          </p:spPr>
          <p:txBody>
            <a:bodyPr wrap="none" anchor="ctr"/>
            <a:lstStyle/>
            <a:p>
              <a:pPr algn="ctr">
                <a:defRPr/>
              </a:pPr>
              <a:endParaRPr lang="en-GB" sz="1200"/>
            </a:p>
          </p:txBody>
        </p:sp>
        <p:sp>
          <p:nvSpPr>
            <p:cNvPr id="768036" name="Oval 50"/>
            <p:cNvSpPr>
              <a:spLocks noChangeArrowheads="1"/>
            </p:cNvSpPr>
            <p:nvPr/>
          </p:nvSpPr>
          <p:spPr bwMode="auto">
            <a:xfrm>
              <a:off x="8116888" y="2414160"/>
              <a:ext cx="134937" cy="141288"/>
            </a:xfrm>
            <a:prstGeom prst="ellipse">
              <a:avLst/>
            </a:prstGeom>
            <a:solidFill>
              <a:schemeClr val="tx2"/>
            </a:solidFill>
            <a:ln w="6350" algn="ctr">
              <a:noFill/>
              <a:round/>
              <a:headEnd/>
              <a:tailEnd/>
            </a:ln>
          </p:spPr>
          <p:txBody>
            <a:bodyPr tIns="91440" bIns="91440" anchor="ctr"/>
            <a:lstStyle/>
            <a:p>
              <a:pPr algn="ctr"/>
              <a:endParaRPr lang="en-GB" sz="1200"/>
            </a:p>
          </p:txBody>
        </p:sp>
        <p:sp>
          <p:nvSpPr>
            <p:cNvPr id="768047" name="Rectangle 61"/>
            <p:cNvSpPr>
              <a:spLocks noChangeArrowheads="1"/>
            </p:cNvSpPr>
            <p:nvPr/>
          </p:nvSpPr>
          <p:spPr bwMode="auto">
            <a:xfrm>
              <a:off x="6432550" y="2005448"/>
              <a:ext cx="2039938" cy="403700"/>
            </a:xfrm>
            <a:prstGeom prst="rect">
              <a:avLst/>
            </a:prstGeom>
            <a:noFill/>
            <a:ln w="12700" algn="ctr">
              <a:noFill/>
              <a:miter lim="800000"/>
              <a:headEnd/>
              <a:tailEnd/>
            </a:ln>
          </p:spPr>
          <p:txBody>
            <a:bodyPr wrap="square" lIns="90488" tIns="44450" rIns="90488" bIns="44450">
              <a:spAutoFit/>
            </a:bodyPr>
            <a:lstStyle/>
            <a:p>
              <a:pPr defTabSz="903288">
                <a:lnSpc>
                  <a:spcPct val="85000"/>
                </a:lnSpc>
              </a:pPr>
              <a:r>
                <a:rPr lang="en-GB" altLang="ja-JP" sz="1200" dirty="0">
                  <a:solidFill>
                    <a:schemeClr val="tx2"/>
                  </a:solidFill>
                  <a:ea typeface="ＭＳ Ｐゴシック" charset="-128"/>
                </a:rPr>
                <a:t>Vision of where we need to be five years from now</a:t>
              </a:r>
            </a:p>
          </p:txBody>
        </p:sp>
        <p:grpSp>
          <p:nvGrpSpPr>
            <p:cNvPr id="12" name="Group 62"/>
            <p:cNvGrpSpPr>
              <a:grpSpLocks/>
            </p:cNvGrpSpPr>
            <p:nvPr/>
          </p:nvGrpSpPr>
          <p:grpSpPr bwMode="auto">
            <a:xfrm>
              <a:off x="6981825" y="3103135"/>
              <a:ext cx="598488" cy="533400"/>
              <a:chOff x="4469" y="2007"/>
              <a:chExt cx="424" cy="366"/>
            </a:xfrm>
          </p:grpSpPr>
          <p:grpSp>
            <p:nvGrpSpPr>
              <p:cNvPr id="13" name="Group 63"/>
              <p:cNvGrpSpPr>
                <a:grpSpLocks/>
              </p:cNvGrpSpPr>
              <p:nvPr/>
            </p:nvGrpSpPr>
            <p:grpSpPr bwMode="auto">
              <a:xfrm>
                <a:off x="4469" y="2276"/>
                <a:ext cx="101" cy="97"/>
                <a:chOff x="4469" y="2276"/>
                <a:chExt cx="101" cy="97"/>
              </a:xfrm>
            </p:grpSpPr>
            <p:sp>
              <p:nvSpPr>
                <p:cNvPr id="66" name="Freeform 64"/>
                <p:cNvSpPr>
                  <a:spLocks/>
                </p:cNvSpPr>
                <p:nvPr/>
              </p:nvSpPr>
              <p:spPr bwMode="auto">
                <a:xfrm>
                  <a:off x="4469" y="2276"/>
                  <a:ext cx="101" cy="97"/>
                </a:xfrm>
                <a:custGeom>
                  <a:avLst/>
                  <a:gdLst>
                    <a:gd name="T0" fmla="*/ 0 w 101"/>
                    <a:gd name="T1" fmla="*/ 19 h 97"/>
                    <a:gd name="T2" fmla="*/ 100 w 101"/>
                    <a:gd name="T3" fmla="*/ 0 h 97"/>
                    <a:gd name="T4" fmla="*/ 55 w 101"/>
                    <a:gd name="T5" fmla="*/ 39 h 97"/>
                    <a:gd name="T6" fmla="*/ 72 w 101"/>
                    <a:gd name="T7" fmla="*/ 96 h 97"/>
                    <a:gd name="T8" fmla="*/ 0 w 101"/>
                    <a:gd name="T9" fmla="*/ 19 h 97"/>
                    <a:gd name="T10" fmla="*/ 0 60000 65536"/>
                    <a:gd name="T11" fmla="*/ 0 60000 65536"/>
                    <a:gd name="T12" fmla="*/ 0 60000 65536"/>
                    <a:gd name="T13" fmla="*/ 0 60000 65536"/>
                    <a:gd name="T14" fmla="*/ 0 60000 65536"/>
                    <a:gd name="T15" fmla="*/ 0 w 101"/>
                    <a:gd name="T16" fmla="*/ 0 h 97"/>
                    <a:gd name="T17" fmla="*/ 101 w 101"/>
                    <a:gd name="T18" fmla="*/ 97 h 97"/>
                  </a:gdLst>
                  <a:ahLst/>
                  <a:cxnLst>
                    <a:cxn ang="T10">
                      <a:pos x="T0" y="T1"/>
                    </a:cxn>
                    <a:cxn ang="T11">
                      <a:pos x="T2" y="T3"/>
                    </a:cxn>
                    <a:cxn ang="T12">
                      <a:pos x="T4" y="T5"/>
                    </a:cxn>
                    <a:cxn ang="T13">
                      <a:pos x="T6" y="T7"/>
                    </a:cxn>
                    <a:cxn ang="T14">
                      <a:pos x="T8" y="T9"/>
                    </a:cxn>
                  </a:cxnLst>
                  <a:rect l="T15" t="T16" r="T17" b="T18"/>
                  <a:pathLst>
                    <a:path w="101" h="97">
                      <a:moveTo>
                        <a:pt x="0" y="19"/>
                      </a:moveTo>
                      <a:lnTo>
                        <a:pt x="100" y="0"/>
                      </a:lnTo>
                      <a:lnTo>
                        <a:pt x="55" y="39"/>
                      </a:lnTo>
                      <a:lnTo>
                        <a:pt x="72" y="96"/>
                      </a:lnTo>
                      <a:lnTo>
                        <a:pt x="0" y="19"/>
                      </a:lnTo>
                    </a:path>
                  </a:pathLst>
                </a:custGeom>
                <a:solidFill>
                  <a:schemeClr val="accent3"/>
                </a:solidFill>
                <a:ln w="12700" cap="rnd">
                  <a:solidFill>
                    <a:schemeClr val="accent3"/>
                  </a:solidFill>
                  <a:round/>
                  <a:headEnd/>
                  <a:tailEnd/>
                </a:ln>
              </p:spPr>
              <p:txBody>
                <a:bodyPr/>
                <a:lstStyle/>
                <a:p>
                  <a:pPr>
                    <a:defRPr/>
                  </a:pPr>
                  <a:endParaRPr lang="en-GB" sz="1200"/>
                </a:p>
              </p:txBody>
            </p:sp>
            <p:sp>
              <p:nvSpPr>
                <p:cNvPr id="67" name="Line 65"/>
                <p:cNvSpPr>
                  <a:spLocks noChangeShapeType="1"/>
                </p:cNvSpPr>
                <p:nvPr/>
              </p:nvSpPr>
              <p:spPr bwMode="auto">
                <a:xfrm flipH="1">
                  <a:off x="4522" y="2325"/>
                  <a:ext cx="35" cy="0"/>
                </a:xfrm>
                <a:prstGeom prst="line">
                  <a:avLst/>
                </a:prstGeom>
                <a:noFill/>
                <a:ln w="12700">
                  <a:solidFill>
                    <a:schemeClr val="accent3"/>
                  </a:solidFill>
                  <a:round/>
                  <a:headEnd/>
                  <a:tailEnd/>
                </a:ln>
              </p:spPr>
              <p:txBody>
                <a:bodyPr wrap="none" anchor="ctr"/>
                <a:lstStyle/>
                <a:p>
                  <a:pPr>
                    <a:defRPr/>
                  </a:pPr>
                  <a:endParaRPr lang="en-GB" sz="1200"/>
                </a:p>
              </p:txBody>
            </p:sp>
          </p:grpSp>
          <p:sp>
            <p:nvSpPr>
              <p:cNvPr id="65" name="Arc 66"/>
              <p:cNvSpPr>
                <a:spLocks/>
              </p:cNvSpPr>
              <p:nvPr/>
            </p:nvSpPr>
            <p:spPr bwMode="auto">
              <a:xfrm>
                <a:off x="4539" y="2007"/>
                <a:ext cx="354" cy="31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2700" cap="rnd">
                <a:solidFill>
                  <a:schemeClr val="accent3"/>
                </a:solidFill>
                <a:round/>
                <a:headEnd/>
                <a:tailEnd/>
              </a:ln>
            </p:spPr>
            <p:txBody>
              <a:bodyPr wrap="none" anchor="ctr"/>
              <a:lstStyle/>
              <a:p>
                <a:pPr algn="ctr">
                  <a:defRPr/>
                </a:pPr>
                <a:endParaRPr lang="en-GB" sz="1200"/>
              </a:p>
            </p:txBody>
          </p:sp>
        </p:grpSp>
        <p:grpSp>
          <p:nvGrpSpPr>
            <p:cNvPr id="14" name="Group 67"/>
            <p:cNvGrpSpPr>
              <a:grpSpLocks/>
            </p:cNvGrpSpPr>
            <p:nvPr/>
          </p:nvGrpSpPr>
          <p:grpSpPr bwMode="auto">
            <a:xfrm>
              <a:off x="6229350" y="3617485"/>
              <a:ext cx="598488" cy="531813"/>
              <a:chOff x="3935" y="2360"/>
              <a:chExt cx="425" cy="365"/>
            </a:xfrm>
          </p:grpSpPr>
          <p:grpSp>
            <p:nvGrpSpPr>
              <p:cNvPr id="18" name="Group 68"/>
              <p:cNvGrpSpPr>
                <a:grpSpLocks/>
              </p:cNvGrpSpPr>
              <p:nvPr/>
            </p:nvGrpSpPr>
            <p:grpSpPr bwMode="auto">
              <a:xfrm>
                <a:off x="3935" y="2629"/>
                <a:ext cx="101" cy="96"/>
                <a:chOff x="3935" y="2629"/>
                <a:chExt cx="101" cy="96"/>
              </a:xfrm>
            </p:grpSpPr>
            <p:sp>
              <p:nvSpPr>
                <p:cNvPr id="71" name="Freeform 69"/>
                <p:cNvSpPr>
                  <a:spLocks/>
                </p:cNvSpPr>
                <p:nvPr/>
              </p:nvSpPr>
              <p:spPr bwMode="auto">
                <a:xfrm>
                  <a:off x="3935" y="2629"/>
                  <a:ext cx="101" cy="96"/>
                </a:xfrm>
                <a:custGeom>
                  <a:avLst/>
                  <a:gdLst>
                    <a:gd name="T0" fmla="*/ 0 w 101"/>
                    <a:gd name="T1" fmla="*/ 19 h 96"/>
                    <a:gd name="T2" fmla="*/ 100 w 101"/>
                    <a:gd name="T3" fmla="*/ 0 h 96"/>
                    <a:gd name="T4" fmla="*/ 55 w 101"/>
                    <a:gd name="T5" fmla="*/ 38 h 96"/>
                    <a:gd name="T6" fmla="*/ 72 w 101"/>
                    <a:gd name="T7" fmla="*/ 95 h 96"/>
                    <a:gd name="T8" fmla="*/ 0 w 101"/>
                    <a:gd name="T9" fmla="*/ 19 h 96"/>
                    <a:gd name="T10" fmla="*/ 0 60000 65536"/>
                    <a:gd name="T11" fmla="*/ 0 60000 65536"/>
                    <a:gd name="T12" fmla="*/ 0 60000 65536"/>
                    <a:gd name="T13" fmla="*/ 0 60000 65536"/>
                    <a:gd name="T14" fmla="*/ 0 60000 65536"/>
                    <a:gd name="T15" fmla="*/ 0 w 101"/>
                    <a:gd name="T16" fmla="*/ 0 h 96"/>
                    <a:gd name="T17" fmla="*/ 101 w 101"/>
                    <a:gd name="T18" fmla="*/ 96 h 96"/>
                  </a:gdLst>
                  <a:ahLst/>
                  <a:cxnLst>
                    <a:cxn ang="T10">
                      <a:pos x="T0" y="T1"/>
                    </a:cxn>
                    <a:cxn ang="T11">
                      <a:pos x="T2" y="T3"/>
                    </a:cxn>
                    <a:cxn ang="T12">
                      <a:pos x="T4" y="T5"/>
                    </a:cxn>
                    <a:cxn ang="T13">
                      <a:pos x="T6" y="T7"/>
                    </a:cxn>
                    <a:cxn ang="T14">
                      <a:pos x="T8" y="T9"/>
                    </a:cxn>
                  </a:cxnLst>
                  <a:rect l="T15" t="T16" r="T17" b="T18"/>
                  <a:pathLst>
                    <a:path w="101" h="96">
                      <a:moveTo>
                        <a:pt x="0" y="19"/>
                      </a:moveTo>
                      <a:lnTo>
                        <a:pt x="100" y="0"/>
                      </a:lnTo>
                      <a:lnTo>
                        <a:pt x="55" y="38"/>
                      </a:lnTo>
                      <a:lnTo>
                        <a:pt x="72" y="95"/>
                      </a:lnTo>
                      <a:lnTo>
                        <a:pt x="0" y="19"/>
                      </a:lnTo>
                    </a:path>
                  </a:pathLst>
                </a:custGeom>
                <a:solidFill>
                  <a:schemeClr val="accent3"/>
                </a:solidFill>
                <a:ln w="12700" cap="rnd">
                  <a:solidFill>
                    <a:schemeClr val="accent3"/>
                  </a:solidFill>
                  <a:round/>
                  <a:headEnd/>
                  <a:tailEnd/>
                </a:ln>
              </p:spPr>
              <p:txBody>
                <a:bodyPr/>
                <a:lstStyle/>
                <a:p>
                  <a:pPr>
                    <a:defRPr/>
                  </a:pPr>
                  <a:endParaRPr lang="en-GB" sz="1200"/>
                </a:p>
              </p:txBody>
            </p:sp>
            <p:sp>
              <p:nvSpPr>
                <p:cNvPr id="72" name="Line 70"/>
                <p:cNvSpPr>
                  <a:spLocks noChangeShapeType="1"/>
                </p:cNvSpPr>
                <p:nvPr/>
              </p:nvSpPr>
              <p:spPr bwMode="auto">
                <a:xfrm flipH="1">
                  <a:off x="3988" y="2677"/>
                  <a:ext cx="35" cy="0"/>
                </a:xfrm>
                <a:prstGeom prst="line">
                  <a:avLst/>
                </a:prstGeom>
                <a:noFill/>
                <a:ln w="12700">
                  <a:solidFill>
                    <a:schemeClr val="accent3"/>
                  </a:solidFill>
                  <a:round/>
                  <a:headEnd/>
                  <a:tailEnd/>
                </a:ln>
              </p:spPr>
              <p:txBody>
                <a:bodyPr wrap="none" anchor="ctr"/>
                <a:lstStyle/>
                <a:p>
                  <a:pPr>
                    <a:defRPr/>
                  </a:pPr>
                  <a:endParaRPr lang="en-GB" sz="1200"/>
                </a:p>
              </p:txBody>
            </p:sp>
          </p:grpSp>
          <p:sp>
            <p:nvSpPr>
              <p:cNvPr id="70" name="Arc 71"/>
              <p:cNvSpPr>
                <a:spLocks/>
              </p:cNvSpPr>
              <p:nvPr/>
            </p:nvSpPr>
            <p:spPr bwMode="auto">
              <a:xfrm>
                <a:off x="4006" y="2360"/>
                <a:ext cx="354" cy="31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2700" cap="rnd">
                <a:solidFill>
                  <a:schemeClr val="accent3"/>
                </a:solidFill>
                <a:round/>
                <a:headEnd/>
                <a:tailEnd/>
              </a:ln>
            </p:spPr>
            <p:txBody>
              <a:bodyPr wrap="none" anchor="ctr"/>
              <a:lstStyle/>
              <a:p>
                <a:pPr algn="ctr">
                  <a:defRPr/>
                </a:pPr>
                <a:endParaRPr lang="en-GB" sz="1200"/>
              </a:p>
            </p:txBody>
          </p:sp>
        </p:grpSp>
        <p:grpSp>
          <p:nvGrpSpPr>
            <p:cNvPr id="19" name="Group 72"/>
            <p:cNvGrpSpPr>
              <a:grpSpLocks/>
            </p:cNvGrpSpPr>
            <p:nvPr/>
          </p:nvGrpSpPr>
          <p:grpSpPr bwMode="auto">
            <a:xfrm>
              <a:off x="7659688" y="2622123"/>
              <a:ext cx="598487" cy="533400"/>
              <a:chOff x="4949" y="1677"/>
              <a:chExt cx="424" cy="366"/>
            </a:xfrm>
          </p:grpSpPr>
          <p:grpSp>
            <p:nvGrpSpPr>
              <p:cNvPr id="20" name="Group 73"/>
              <p:cNvGrpSpPr>
                <a:grpSpLocks/>
              </p:cNvGrpSpPr>
              <p:nvPr/>
            </p:nvGrpSpPr>
            <p:grpSpPr bwMode="auto">
              <a:xfrm>
                <a:off x="4949" y="1946"/>
                <a:ext cx="101" cy="97"/>
                <a:chOff x="4949" y="1946"/>
                <a:chExt cx="101" cy="97"/>
              </a:xfrm>
            </p:grpSpPr>
            <p:sp>
              <p:nvSpPr>
                <p:cNvPr id="76" name="Freeform 74"/>
                <p:cNvSpPr>
                  <a:spLocks/>
                </p:cNvSpPr>
                <p:nvPr/>
              </p:nvSpPr>
              <p:spPr bwMode="auto">
                <a:xfrm>
                  <a:off x="4949" y="1946"/>
                  <a:ext cx="101" cy="97"/>
                </a:xfrm>
                <a:custGeom>
                  <a:avLst/>
                  <a:gdLst>
                    <a:gd name="T0" fmla="*/ 0 w 101"/>
                    <a:gd name="T1" fmla="*/ 19 h 97"/>
                    <a:gd name="T2" fmla="*/ 100 w 101"/>
                    <a:gd name="T3" fmla="*/ 0 h 97"/>
                    <a:gd name="T4" fmla="*/ 55 w 101"/>
                    <a:gd name="T5" fmla="*/ 39 h 97"/>
                    <a:gd name="T6" fmla="*/ 72 w 101"/>
                    <a:gd name="T7" fmla="*/ 96 h 97"/>
                    <a:gd name="T8" fmla="*/ 0 w 101"/>
                    <a:gd name="T9" fmla="*/ 19 h 97"/>
                    <a:gd name="T10" fmla="*/ 0 60000 65536"/>
                    <a:gd name="T11" fmla="*/ 0 60000 65536"/>
                    <a:gd name="T12" fmla="*/ 0 60000 65536"/>
                    <a:gd name="T13" fmla="*/ 0 60000 65536"/>
                    <a:gd name="T14" fmla="*/ 0 60000 65536"/>
                    <a:gd name="T15" fmla="*/ 0 w 101"/>
                    <a:gd name="T16" fmla="*/ 0 h 97"/>
                    <a:gd name="T17" fmla="*/ 101 w 101"/>
                    <a:gd name="T18" fmla="*/ 97 h 97"/>
                  </a:gdLst>
                  <a:ahLst/>
                  <a:cxnLst>
                    <a:cxn ang="T10">
                      <a:pos x="T0" y="T1"/>
                    </a:cxn>
                    <a:cxn ang="T11">
                      <a:pos x="T2" y="T3"/>
                    </a:cxn>
                    <a:cxn ang="T12">
                      <a:pos x="T4" y="T5"/>
                    </a:cxn>
                    <a:cxn ang="T13">
                      <a:pos x="T6" y="T7"/>
                    </a:cxn>
                    <a:cxn ang="T14">
                      <a:pos x="T8" y="T9"/>
                    </a:cxn>
                  </a:cxnLst>
                  <a:rect l="T15" t="T16" r="T17" b="T18"/>
                  <a:pathLst>
                    <a:path w="101" h="97">
                      <a:moveTo>
                        <a:pt x="0" y="19"/>
                      </a:moveTo>
                      <a:lnTo>
                        <a:pt x="100" y="0"/>
                      </a:lnTo>
                      <a:lnTo>
                        <a:pt x="55" y="39"/>
                      </a:lnTo>
                      <a:lnTo>
                        <a:pt x="72" y="96"/>
                      </a:lnTo>
                      <a:lnTo>
                        <a:pt x="0" y="19"/>
                      </a:lnTo>
                    </a:path>
                  </a:pathLst>
                </a:custGeom>
                <a:solidFill>
                  <a:schemeClr val="accent3"/>
                </a:solidFill>
                <a:ln w="12700" cap="rnd">
                  <a:solidFill>
                    <a:schemeClr val="accent3"/>
                  </a:solidFill>
                  <a:round/>
                  <a:headEnd/>
                  <a:tailEnd/>
                </a:ln>
              </p:spPr>
              <p:txBody>
                <a:bodyPr/>
                <a:lstStyle/>
                <a:p>
                  <a:pPr>
                    <a:defRPr/>
                  </a:pPr>
                  <a:endParaRPr lang="en-GB" sz="1200"/>
                </a:p>
              </p:txBody>
            </p:sp>
            <p:sp>
              <p:nvSpPr>
                <p:cNvPr id="77" name="Line 75"/>
                <p:cNvSpPr>
                  <a:spLocks noChangeShapeType="1"/>
                </p:cNvSpPr>
                <p:nvPr/>
              </p:nvSpPr>
              <p:spPr bwMode="auto">
                <a:xfrm flipH="1">
                  <a:off x="5002" y="1995"/>
                  <a:ext cx="35" cy="0"/>
                </a:xfrm>
                <a:prstGeom prst="line">
                  <a:avLst/>
                </a:prstGeom>
                <a:solidFill>
                  <a:schemeClr val="accent3"/>
                </a:solidFill>
                <a:ln w="12700">
                  <a:solidFill>
                    <a:schemeClr val="accent3"/>
                  </a:solidFill>
                  <a:round/>
                  <a:headEnd/>
                  <a:tailEnd/>
                </a:ln>
              </p:spPr>
              <p:txBody>
                <a:bodyPr wrap="none" anchor="ctr"/>
                <a:lstStyle/>
                <a:p>
                  <a:pPr>
                    <a:defRPr/>
                  </a:pPr>
                  <a:endParaRPr lang="en-GB" sz="1200"/>
                </a:p>
              </p:txBody>
            </p:sp>
          </p:grpSp>
          <p:sp>
            <p:nvSpPr>
              <p:cNvPr id="75" name="Arc 76"/>
              <p:cNvSpPr>
                <a:spLocks/>
              </p:cNvSpPr>
              <p:nvPr/>
            </p:nvSpPr>
            <p:spPr bwMode="auto">
              <a:xfrm>
                <a:off x="5019" y="1677"/>
                <a:ext cx="354" cy="31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2700" cap="rnd">
                <a:solidFill>
                  <a:schemeClr val="accent3"/>
                </a:solidFill>
                <a:round/>
                <a:headEnd/>
                <a:tailEnd/>
              </a:ln>
            </p:spPr>
            <p:txBody>
              <a:bodyPr wrap="none" anchor="ctr"/>
              <a:lstStyle/>
              <a:p>
                <a:pPr algn="ctr">
                  <a:defRPr/>
                </a:pPr>
                <a:endParaRPr lang="en-GB" sz="1200"/>
              </a:p>
            </p:txBody>
          </p:sp>
        </p:grpSp>
        <p:grpSp>
          <p:nvGrpSpPr>
            <p:cNvPr id="115" name="Group 114"/>
            <p:cNvGrpSpPr/>
            <p:nvPr/>
          </p:nvGrpSpPr>
          <p:grpSpPr>
            <a:xfrm>
              <a:off x="5469479" y="2352773"/>
              <a:ext cx="3259709" cy="2178050"/>
              <a:chOff x="5469479" y="2352773"/>
              <a:chExt cx="3259709" cy="2178050"/>
            </a:xfrm>
          </p:grpSpPr>
          <p:sp>
            <p:nvSpPr>
              <p:cNvPr id="85" name="Line 17"/>
              <p:cNvSpPr>
                <a:spLocks noChangeShapeType="1"/>
              </p:cNvSpPr>
              <p:nvPr/>
            </p:nvSpPr>
            <p:spPr bwMode="auto">
              <a:xfrm flipH="1">
                <a:off x="5554188" y="4530297"/>
                <a:ext cx="3175000" cy="0"/>
              </a:xfrm>
              <a:prstGeom prst="line">
                <a:avLst/>
              </a:prstGeom>
              <a:noFill/>
              <a:ln w="12700">
                <a:solidFill>
                  <a:schemeClr val="tx2"/>
                </a:solidFill>
                <a:round/>
                <a:headEnd/>
                <a:tailEnd/>
              </a:ln>
            </p:spPr>
            <p:txBody>
              <a:bodyPr wrap="none" anchor="ctr"/>
              <a:lstStyle/>
              <a:p>
                <a:endParaRPr lang="en-US"/>
              </a:p>
            </p:txBody>
          </p:sp>
          <p:sp>
            <p:nvSpPr>
              <p:cNvPr id="86" name="Line 8"/>
              <p:cNvSpPr>
                <a:spLocks noChangeShapeType="1"/>
              </p:cNvSpPr>
              <p:nvPr/>
            </p:nvSpPr>
            <p:spPr bwMode="auto">
              <a:xfrm>
                <a:off x="5559587" y="2352773"/>
                <a:ext cx="0" cy="2178050"/>
              </a:xfrm>
              <a:prstGeom prst="line">
                <a:avLst/>
              </a:prstGeom>
              <a:noFill/>
              <a:ln w="12700">
                <a:solidFill>
                  <a:schemeClr val="tx2"/>
                </a:solidFill>
                <a:round/>
                <a:headEnd/>
                <a:tailEnd/>
              </a:ln>
            </p:spPr>
            <p:txBody>
              <a:bodyPr wrap="none" anchor="ctr"/>
              <a:lstStyle/>
              <a:p>
                <a:endParaRPr lang="en-US"/>
              </a:p>
            </p:txBody>
          </p:sp>
          <p:sp>
            <p:nvSpPr>
              <p:cNvPr id="106" name="Line 9"/>
              <p:cNvSpPr>
                <a:spLocks noChangeShapeType="1"/>
              </p:cNvSpPr>
              <p:nvPr/>
            </p:nvSpPr>
            <p:spPr bwMode="auto">
              <a:xfrm>
                <a:off x="5474371" y="2665586"/>
                <a:ext cx="88049" cy="0"/>
              </a:xfrm>
              <a:prstGeom prst="line">
                <a:avLst/>
              </a:prstGeom>
              <a:noFill/>
              <a:ln w="12700">
                <a:solidFill>
                  <a:schemeClr val="tx2"/>
                </a:solidFill>
                <a:round/>
                <a:headEnd/>
                <a:tailEnd/>
              </a:ln>
            </p:spPr>
            <p:txBody>
              <a:bodyPr wrap="none" anchor="ctr"/>
              <a:lstStyle/>
              <a:p>
                <a:endParaRPr lang="en-US"/>
              </a:p>
            </p:txBody>
          </p:sp>
          <p:sp>
            <p:nvSpPr>
              <p:cNvPr id="107" name="Line 10"/>
              <p:cNvSpPr>
                <a:spLocks noChangeShapeType="1"/>
              </p:cNvSpPr>
              <p:nvPr/>
            </p:nvSpPr>
            <p:spPr bwMode="auto">
              <a:xfrm>
                <a:off x="5478039" y="2976350"/>
                <a:ext cx="84381" cy="0"/>
              </a:xfrm>
              <a:prstGeom prst="line">
                <a:avLst/>
              </a:prstGeom>
              <a:noFill/>
              <a:ln w="12700">
                <a:solidFill>
                  <a:schemeClr val="tx2"/>
                </a:solidFill>
                <a:round/>
                <a:headEnd/>
                <a:tailEnd/>
              </a:ln>
            </p:spPr>
            <p:txBody>
              <a:bodyPr wrap="none" anchor="ctr"/>
              <a:lstStyle/>
              <a:p>
                <a:endParaRPr lang="en-US"/>
              </a:p>
            </p:txBody>
          </p:sp>
          <p:sp>
            <p:nvSpPr>
              <p:cNvPr id="108" name="Line 11"/>
              <p:cNvSpPr>
                <a:spLocks noChangeShapeType="1"/>
              </p:cNvSpPr>
              <p:nvPr/>
            </p:nvSpPr>
            <p:spPr bwMode="auto">
              <a:xfrm>
                <a:off x="5469479" y="3287114"/>
                <a:ext cx="90107" cy="0"/>
              </a:xfrm>
              <a:prstGeom prst="line">
                <a:avLst/>
              </a:prstGeom>
              <a:noFill/>
              <a:ln w="12700">
                <a:solidFill>
                  <a:schemeClr val="tx2"/>
                </a:solidFill>
                <a:round/>
                <a:headEnd/>
                <a:tailEnd/>
              </a:ln>
            </p:spPr>
            <p:txBody>
              <a:bodyPr wrap="none" anchor="ctr"/>
              <a:lstStyle/>
              <a:p>
                <a:endParaRPr lang="en-US"/>
              </a:p>
            </p:txBody>
          </p:sp>
          <p:sp>
            <p:nvSpPr>
              <p:cNvPr id="109" name="Line 12"/>
              <p:cNvSpPr>
                <a:spLocks noChangeShapeType="1"/>
              </p:cNvSpPr>
              <p:nvPr/>
            </p:nvSpPr>
            <p:spPr bwMode="auto">
              <a:xfrm>
                <a:off x="5478039" y="3597877"/>
                <a:ext cx="84381" cy="0"/>
              </a:xfrm>
              <a:prstGeom prst="line">
                <a:avLst/>
              </a:prstGeom>
              <a:noFill/>
              <a:ln w="12700">
                <a:solidFill>
                  <a:schemeClr val="tx2"/>
                </a:solidFill>
                <a:round/>
                <a:headEnd/>
                <a:tailEnd/>
              </a:ln>
            </p:spPr>
            <p:txBody>
              <a:bodyPr wrap="none" anchor="ctr"/>
              <a:lstStyle/>
              <a:p>
                <a:endParaRPr lang="en-US"/>
              </a:p>
            </p:txBody>
          </p:sp>
          <p:sp>
            <p:nvSpPr>
              <p:cNvPr id="112" name="Line 13"/>
              <p:cNvSpPr>
                <a:spLocks noChangeShapeType="1"/>
              </p:cNvSpPr>
              <p:nvPr/>
            </p:nvSpPr>
            <p:spPr bwMode="auto">
              <a:xfrm>
                <a:off x="5478040" y="3908641"/>
                <a:ext cx="81546" cy="0"/>
              </a:xfrm>
              <a:prstGeom prst="line">
                <a:avLst/>
              </a:prstGeom>
              <a:noFill/>
              <a:ln w="12700">
                <a:solidFill>
                  <a:schemeClr val="tx2"/>
                </a:solidFill>
                <a:round/>
                <a:headEnd/>
                <a:tailEnd/>
              </a:ln>
            </p:spPr>
            <p:txBody>
              <a:bodyPr wrap="none" anchor="ctr"/>
              <a:lstStyle/>
              <a:p>
                <a:endParaRPr lang="en-US"/>
              </a:p>
            </p:txBody>
          </p:sp>
          <p:sp>
            <p:nvSpPr>
              <p:cNvPr id="113" name="Line 14"/>
              <p:cNvSpPr>
                <a:spLocks noChangeShapeType="1"/>
              </p:cNvSpPr>
              <p:nvPr/>
            </p:nvSpPr>
            <p:spPr bwMode="auto">
              <a:xfrm>
                <a:off x="5479265" y="4219405"/>
                <a:ext cx="83156" cy="0"/>
              </a:xfrm>
              <a:prstGeom prst="line">
                <a:avLst/>
              </a:prstGeom>
              <a:noFill/>
              <a:ln w="12700">
                <a:solidFill>
                  <a:schemeClr val="tx2"/>
                </a:solidFill>
                <a:round/>
                <a:headEnd/>
                <a:tailEnd/>
              </a:ln>
            </p:spPr>
            <p:txBody>
              <a:bodyPr wrap="none" anchor="ctr"/>
              <a:lstStyle/>
              <a:p>
                <a:endParaRPr lang="en-US"/>
              </a:p>
            </p:txBody>
          </p:sp>
          <p:sp>
            <p:nvSpPr>
              <p:cNvPr id="114" name="Line 15"/>
              <p:cNvSpPr>
                <a:spLocks noChangeShapeType="1"/>
              </p:cNvSpPr>
              <p:nvPr/>
            </p:nvSpPr>
            <p:spPr bwMode="auto">
              <a:xfrm>
                <a:off x="5470703" y="2359585"/>
                <a:ext cx="88883" cy="0"/>
              </a:xfrm>
              <a:prstGeom prst="line">
                <a:avLst/>
              </a:prstGeom>
              <a:noFill/>
              <a:ln w="12700">
                <a:solidFill>
                  <a:schemeClr val="tx2"/>
                </a:solidFill>
                <a:round/>
                <a:headEnd/>
                <a:tailEnd/>
              </a:ln>
            </p:spPr>
            <p:txBody>
              <a:bodyPr wrap="none" anchor="ctr"/>
              <a:lstStyle/>
              <a:p>
                <a:endParaRPr lang="en-US"/>
              </a:p>
            </p:txBody>
          </p:sp>
        </p:grpSp>
      </p:grpSp>
    </p:spTree>
  </p:cSld>
  <p:clrMapOvr>
    <a:masterClrMapping/>
  </p:clrMapOvr>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0836" name="Title 1"/>
          <p:cNvSpPr>
            <a:spLocks noGrp="1"/>
          </p:cNvSpPr>
          <p:nvPr>
            <p:ph type="title"/>
            <p:custDataLst>
              <p:tags r:id="rId2"/>
            </p:custDataLst>
          </p:nvPr>
        </p:nvSpPr>
        <p:spPr/>
        <p:txBody>
          <a:bodyPr/>
          <a:lstStyle/>
          <a:p>
            <a:r>
              <a:rPr lang="en-GB"/>
              <a:t>Pentagon</a:t>
            </a:r>
            <a:endParaRPr lang="nl-NL"/>
          </a:p>
        </p:txBody>
      </p:sp>
      <p:graphicFrame>
        <p:nvGraphicFramePr>
          <p:cNvPr id="760834"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6867"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 name="Group 48"/>
          <p:cNvGrpSpPr>
            <a:grpSpLocks/>
          </p:cNvGrpSpPr>
          <p:nvPr>
            <p:custDataLst>
              <p:tags r:id="rId4"/>
            </p:custDataLst>
          </p:nvPr>
        </p:nvGrpSpPr>
        <p:grpSpPr bwMode="auto">
          <a:xfrm>
            <a:off x="2243585" y="1601788"/>
            <a:ext cx="4629150" cy="4437062"/>
            <a:chOff x="1292" y="928"/>
            <a:chExt cx="3177" cy="3046"/>
          </a:xfrm>
        </p:grpSpPr>
        <p:sp>
          <p:nvSpPr>
            <p:cNvPr id="50" name="Freeform 5"/>
            <p:cNvSpPr>
              <a:spLocks/>
            </p:cNvSpPr>
            <p:nvPr/>
          </p:nvSpPr>
          <p:spPr bwMode="blackWhite">
            <a:xfrm>
              <a:off x="1807" y="1375"/>
              <a:ext cx="2155" cy="1828"/>
            </a:xfrm>
            <a:custGeom>
              <a:avLst/>
              <a:gdLst>
                <a:gd name="T0" fmla="*/ 3827 w 1009"/>
                <a:gd name="T1" fmla="*/ 16313 h 881"/>
                <a:gd name="T2" fmla="*/ 17479 w 1009"/>
                <a:gd name="T3" fmla="*/ 16313 h 881"/>
                <a:gd name="T4" fmla="*/ 20973 w 1009"/>
                <a:gd name="T5" fmla="*/ 6673 h 881"/>
                <a:gd name="T6" fmla="*/ 10482 w 1009"/>
                <a:gd name="T7" fmla="*/ 0 h 881"/>
                <a:gd name="T8" fmla="*/ 0 w 1009"/>
                <a:gd name="T9" fmla="*/ 6673 h 881"/>
                <a:gd name="T10" fmla="*/ 3827 w 1009"/>
                <a:gd name="T11" fmla="*/ 16313 h 881"/>
                <a:gd name="T12" fmla="*/ 0 60000 65536"/>
                <a:gd name="T13" fmla="*/ 0 60000 65536"/>
                <a:gd name="T14" fmla="*/ 0 60000 65536"/>
                <a:gd name="T15" fmla="*/ 0 60000 65536"/>
                <a:gd name="T16" fmla="*/ 0 60000 65536"/>
                <a:gd name="T17" fmla="*/ 0 60000 65536"/>
                <a:gd name="T18" fmla="*/ 0 w 1009"/>
                <a:gd name="T19" fmla="*/ 0 h 881"/>
                <a:gd name="T20" fmla="*/ 1009 w 1009"/>
                <a:gd name="T21" fmla="*/ 881 h 881"/>
              </a:gdLst>
              <a:ahLst/>
              <a:cxnLst>
                <a:cxn ang="T12">
                  <a:pos x="T0" y="T1"/>
                </a:cxn>
                <a:cxn ang="T13">
                  <a:pos x="T2" y="T3"/>
                </a:cxn>
                <a:cxn ang="T14">
                  <a:pos x="T4" y="T5"/>
                </a:cxn>
                <a:cxn ang="T15">
                  <a:pos x="T6" y="T7"/>
                </a:cxn>
                <a:cxn ang="T16">
                  <a:pos x="T8" y="T9"/>
                </a:cxn>
                <a:cxn ang="T17">
                  <a:pos x="T10" y="T11"/>
                </a:cxn>
              </a:cxnLst>
              <a:rect l="T18" t="T19" r="T20" b="T21"/>
              <a:pathLst>
                <a:path w="1009" h="881">
                  <a:moveTo>
                    <a:pt x="184" y="880"/>
                  </a:moveTo>
                  <a:lnTo>
                    <a:pt x="840" y="880"/>
                  </a:lnTo>
                  <a:lnTo>
                    <a:pt x="1008" y="360"/>
                  </a:lnTo>
                  <a:lnTo>
                    <a:pt x="504" y="0"/>
                  </a:lnTo>
                  <a:lnTo>
                    <a:pt x="0" y="360"/>
                  </a:lnTo>
                  <a:lnTo>
                    <a:pt x="184" y="880"/>
                  </a:lnTo>
                </a:path>
              </a:pathLst>
            </a:custGeom>
            <a:solidFill>
              <a:schemeClr val="bg1"/>
            </a:solidFill>
            <a:ln w="12700" cap="rnd">
              <a:solidFill>
                <a:schemeClr val="accent3"/>
              </a:solidFill>
              <a:round/>
              <a:headEnd/>
              <a:tailEnd/>
            </a:ln>
          </p:spPr>
          <p:txBody>
            <a:bodyPr lIns="0" tIns="0" rIns="0" bIns="0">
              <a:spAutoFit/>
            </a:bodyPr>
            <a:lstStyle/>
            <a:p>
              <a:endParaRPr lang="en-GB"/>
            </a:p>
          </p:txBody>
        </p:sp>
        <p:sp>
          <p:nvSpPr>
            <p:cNvPr id="51" name="Arc 6"/>
            <p:cNvSpPr>
              <a:spLocks/>
            </p:cNvSpPr>
            <p:nvPr/>
          </p:nvSpPr>
          <p:spPr bwMode="blackWhite">
            <a:xfrm>
              <a:off x="1292" y="928"/>
              <a:ext cx="3177" cy="3046"/>
            </a:xfrm>
            <a:custGeom>
              <a:avLst/>
              <a:gdLst>
                <a:gd name="T0" fmla="*/ 0 w 43200"/>
                <a:gd name="T1" fmla="*/ 0 h 40309"/>
                <a:gd name="T2" fmla="*/ 0 w 43200"/>
                <a:gd name="T3" fmla="*/ 0 h 40309"/>
                <a:gd name="T4" fmla="*/ 0 w 43200"/>
                <a:gd name="T5" fmla="*/ 0 h 40309"/>
                <a:gd name="T6" fmla="*/ 0 60000 65536"/>
                <a:gd name="T7" fmla="*/ 0 60000 65536"/>
                <a:gd name="T8" fmla="*/ 0 60000 65536"/>
                <a:gd name="T9" fmla="*/ 0 w 43200"/>
                <a:gd name="T10" fmla="*/ 0 h 40309"/>
                <a:gd name="T11" fmla="*/ 43200 w 43200"/>
                <a:gd name="T12" fmla="*/ 40309 h 40309"/>
              </a:gdLst>
              <a:ahLst/>
              <a:cxnLst>
                <a:cxn ang="T6">
                  <a:pos x="T0" y="T1"/>
                </a:cxn>
                <a:cxn ang="T7">
                  <a:pos x="T2" y="T3"/>
                </a:cxn>
                <a:cxn ang="T8">
                  <a:pos x="T4" y="T5"/>
                </a:cxn>
              </a:cxnLst>
              <a:rect l="T9" t="T10" r="T11" b="T12"/>
              <a:pathLst>
                <a:path w="43200" h="40309" fill="none"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path>
                <a:path w="43200" h="40309" stroke="0" extrusionOk="0">
                  <a:moveTo>
                    <a:pt x="32395" y="-1"/>
                  </a:moveTo>
                  <a:cubicBezTo>
                    <a:pt x="39080" y="3857"/>
                    <a:pt x="43200" y="10990"/>
                    <a:pt x="43200" y="18709"/>
                  </a:cubicBezTo>
                  <a:cubicBezTo>
                    <a:pt x="43200" y="30638"/>
                    <a:pt x="33529" y="40309"/>
                    <a:pt x="21600" y="40309"/>
                  </a:cubicBezTo>
                  <a:cubicBezTo>
                    <a:pt x="9670" y="40309"/>
                    <a:pt x="0" y="30638"/>
                    <a:pt x="0" y="18709"/>
                  </a:cubicBezTo>
                  <a:cubicBezTo>
                    <a:pt x="-1" y="10995"/>
                    <a:pt x="4113" y="3866"/>
                    <a:pt x="10792" y="7"/>
                  </a:cubicBezTo>
                  <a:lnTo>
                    <a:pt x="21600" y="18709"/>
                  </a:lnTo>
                  <a:close/>
                </a:path>
              </a:pathLst>
            </a:custGeom>
            <a:noFill/>
            <a:ln w="12700" cap="rnd">
              <a:solidFill>
                <a:schemeClr val="accent3"/>
              </a:solidFill>
              <a:round/>
              <a:headEnd type="triangle" w="med" len="lg"/>
              <a:tailEnd type="none" w="sm" len="sm"/>
            </a:ln>
          </p:spPr>
          <p:txBody>
            <a:bodyPr lIns="0" tIns="0" rIns="0" bIns="0">
              <a:spAutoFit/>
            </a:bodyPr>
            <a:lstStyle/>
            <a:p>
              <a:pPr algn="ctr">
                <a:spcBef>
                  <a:spcPct val="0"/>
                </a:spcBef>
              </a:pPr>
              <a:endParaRPr lang="en-GB"/>
            </a:p>
          </p:txBody>
        </p:sp>
      </p:grpSp>
      <p:sp>
        <p:nvSpPr>
          <p:cNvPr id="52" name="Rectangle 7"/>
          <p:cNvSpPr>
            <a:spLocks noChangeArrowheads="1"/>
          </p:cNvSpPr>
          <p:nvPr>
            <p:custDataLst>
              <p:tags r:id="rId5"/>
            </p:custDataLst>
          </p:nvPr>
        </p:nvSpPr>
        <p:spPr bwMode="blackWhite">
          <a:xfrm>
            <a:off x="3457334" y="3638233"/>
            <a:ext cx="2216222" cy="204671"/>
          </a:xfrm>
          <a:prstGeom prst="rect">
            <a:avLst/>
          </a:prstGeom>
          <a:noFill/>
          <a:ln w="9525">
            <a:noFill/>
            <a:miter lim="800000"/>
            <a:headEnd/>
            <a:tailEnd/>
          </a:ln>
        </p:spPr>
        <p:txBody>
          <a:bodyPr wrap="square" lIns="0" tIns="0" rIns="0" bIns="0">
            <a:spAutoFit/>
          </a:bodyPr>
          <a:lstStyle/>
          <a:p>
            <a:pPr algn="ctr" defTabSz="820738">
              <a:lnSpc>
                <a:spcPct val="95000"/>
              </a:lnSpc>
              <a:spcBef>
                <a:spcPct val="0"/>
              </a:spcBef>
              <a:spcAft>
                <a:spcPct val="37000"/>
              </a:spcAft>
            </a:pPr>
            <a:r>
              <a:rPr lang="en-GB" sz="1400" b="1">
                <a:solidFill>
                  <a:schemeClr val="tx2"/>
                </a:solidFill>
                <a:ea typeface="ＭＳ Ｐゴシック" pitchFamily="50" charset="-128"/>
              </a:rPr>
              <a:t>Restructuring framework </a:t>
            </a:r>
          </a:p>
        </p:txBody>
      </p:sp>
      <p:sp>
        <p:nvSpPr>
          <p:cNvPr id="53" name="Oval 8"/>
          <p:cNvSpPr>
            <a:spLocks noChangeArrowheads="1"/>
          </p:cNvSpPr>
          <p:nvPr>
            <p:custDataLst>
              <p:tags r:id="rId6"/>
            </p:custDataLst>
          </p:nvPr>
        </p:nvSpPr>
        <p:spPr bwMode="blackWhite">
          <a:xfrm>
            <a:off x="4349068" y="2130562"/>
            <a:ext cx="432000" cy="432000"/>
          </a:xfrm>
          <a:prstGeom prst="ellipse">
            <a:avLst/>
          </a:prstGeom>
          <a:solidFill>
            <a:schemeClr val="accent3"/>
          </a:solidFill>
          <a:ln w="12700">
            <a:solidFill>
              <a:schemeClr val="bg1"/>
            </a:solidFill>
            <a:round/>
            <a:headEnd/>
            <a:tailEnd/>
          </a:ln>
        </p:spPr>
        <p:txBody>
          <a:bodyPr lIns="0" tIns="0" rIns="0" bIns="0" anchor="ctr">
            <a:noAutofit/>
          </a:bodyPr>
          <a:lstStyle/>
          <a:p>
            <a:pPr algn="ctr">
              <a:spcBef>
                <a:spcPct val="0"/>
              </a:spcBef>
            </a:pPr>
            <a:r>
              <a:rPr lang="en-GB" sz="1400">
                <a:solidFill>
                  <a:schemeClr val="bg1"/>
                </a:solidFill>
              </a:rPr>
              <a:t>1</a:t>
            </a:r>
          </a:p>
        </p:txBody>
      </p:sp>
      <p:sp>
        <p:nvSpPr>
          <p:cNvPr id="54" name="Oval 8"/>
          <p:cNvSpPr>
            <a:spLocks noChangeArrowheads="1"/>
          </p:cNvSpPr>
          <p:nvPr>
            <p:custDataLst>
              <p:tags r:id="rId7"/>
            </p:custDataLst>
          </p:nvPr>
        </p:nvSpPr>
        <p:spPr bwMode="blackWhite">
          <a:xfrm>
            <a:off x="2796716" y="3150789"/>
            <a:ext cx="432000" cy="432000"/>
          </a:xfrm>
          <a:prstGeom prst="ellipse">
            <a:avLst/>
          </a:prstGeom>
          <a:solidFill>
            <a:schemeClr val="accent3"/>
          </a:solidFill>
          <a:ln w="12700">
            <a:solidFill>
              <a:schemeClr val="bg1"/>
            </a:solidFill>
            <a:round/>
            <a:headEnd/>
            <a:tailEnd/>
          </a:ln>
        </p:spPr>
        <p:txBody>
          <a:bodyPr lIns="0" tIns="0" rIns="0" bIns="0" anchor="ctr">
            <a:noAutofit/>
          </a:bodyPr>
          <a:lstStyle/>
          <a:p>
            <a:pPr algn="ctr">
              <a:spcBef>
                <a:spcPct val="0"/>
              </a:spcBef>
            </a:pPr>
            <a:r>
              <a:rPr lang="en-GB" sz="1400">
                <a:solidFill>
                  <a:schemeClr val="bg1"/>
                </a:solidFill>
              </a:rPr>
              <a:t>2</a:t>
            </a:r>
          </a:p>
        </p:txBody>
      </p:sp>
      <p:sp>
        <p:nvSpPr>
          <p:cNvPr id="56" name="Oval 8"/>
          <p:cNvSpPr>
            <a:spLocks noChangeArrowheads="1"/>
          </p:cNvSpPr>
          <p:nvPr/>
        </p:nvSpPr>
        <p:spPr bwMode="blackWhite">
          <a:xfrm>
            <a:off x="5954584" y="3150789"/>
            <a:ext cx="432000" cy="432000"/>
          </a:xfrm>
          <a:prstGeom prst="ellipse">
            <a:avLst/>
          </a:prstGeom>
          <a:solidFill>
            <a:schemeClr val="accent3"/>
          </a:solidFill>
          <a:ln w="12700">
            <a:solidFill>
              <a:schemeClr val="bg1"/>
            </a:solidFill>
            <a:round/>
            <a:headEnd/>
            <a:tailEnd/>
          </a:ln>
        </p:spPr>
        <p:txBody>
          <a:bodyPr lIns="0" tIns="0" rIns="0" bIns="0" anchor="ctr">
            <a:noAutofit/>
          </a:bodyPr>
          <a:lstStyle/>
          <a:p>
            <a:pPr algn="ctr">
              <a:spcBef>
                <a:spcPct val="0"/>
              </a:spcBef>
            </a:pPr>
            <a:r>
              <a:rPr lang="en-GB" sz="1400">
                <a:solidFill>
                  <a:schemeClr val="bg1"/>
                </a:solidFill>
              </a:rPr>
              <a:t>5</a:t>
            </a:r>
          </a:p>
        </p:txBody>
      </p:sp>
      <p:sp>
        <p:nvSpPr>
          <p:cNvPr id="48" name="Oval 8"/>
          <p:cNvSpPr>
            <a:spLocks noChangeArrowheads="1"/>
          </p:cNvSpPr>
          <p:nvPr>
            <p:custDataLst>
              <p:tags r:id="rId8"/>
            </p:custDataLst>
          </p:nvPr>
        </p:nvSpPr>
        <p:spPr bwMode="blackWhite">
          <a:xfrm>
            <a:off x="3318911" y="4724615"/>
            <a:ext cx="432000" cy="432000"/>
          </a:xfrm>
          <a:prstGeom prst="ellipse">
            <a:avLst/>
          </a:prstGeom>
          <a:solidFill>
            <a:schemeClr val="accent3"/>
          </a:solidFill>
          <a:ln w="12700">
            <a:solidFill>
              <a:schemeClr val="bg1"/>
            </a:solidFill>
            <a:round/>
            <a:headEnd/>
            <a:tailEnd/>
          </a:ln>
        </p:spPr>
        <p:txBody>
          <a:bodyPr lIns="0" tIns="0" rIns="0" bIns="0" anchor="ctr">
            <a:noAutofit/>
          </a:bodyPr>
          <a:lstStyle/>
          <a:p>
            <a:pPr algn="ctr">
              <a:spcBef>
                <a:spcPct val="0"/>
              </a:spcBef>
            </a:pPr>
            <a:r>
              <a:rPr lang="en-GB" sz="1400">
                <a:solidFill>
                  <a:schemeClr val="bg1"/>
                </a:solidFill>
              </a:rPr>
              <a:t>3</a:t>
            </a:r>
          </a:p>
        </p:txBody>
      </p:sp>
      <p:sp>
        <p:nvSpPr>
          <p:cNvPr id="55" name="Oval 8"/>
          <p:cNvSpPr>
            <a:spLocks noChangeArrowheads="1"/>
          </p:cNvSpPr>
          <p:nvPr>
            <p:custDataLst>
              <p:tags r:id="rId9"/>
            </p:custDataLst>
          </p:nvPr>
        </p:nvSpPr>
        <p:spPr bwMode="blackWhite">
          <a:xfrm>
            <a:off x="5358772" y="4724615"/>
            <a:ext cx="432000" cy="432000"/>
          </a:xfrm>
          <a:prstGeom prst="ellipse">
            <a:avLst/>
          </a:prstGeom>
          <a:solidFill>
            <a:schemeClr val="accent3"/>
          </a:solidFill>
          <a:ln w="12700">
            <a:solidFill>
              <a:schemeClr val="bg1"/>
            </a:solidFill>
            <a:round/>
            <a:headEnd/>
            <a:tailEnd/>
          </a:ln>
        </p:spPr>
        <p:txBody>
          <a:bodyPr lIns="0" tIns="0" rIns="0" bIns="0" anchor="ctr">
            <a:noAutofit/>
          </a:bodyPr>
          <a:lstStyle/>
          <a:p>
            <a:pPr algn="ctr">
              <a:spcBef>
                <a:spcPct val="0"/>
              </a:spcBef>
            </a:pPr>
            <a:r>
              <a:rPr lang="en-GB" sz="1400">
                <a:solidFill>
                  <a:schemeClr val="bg1"/>
                </a:solidFill>
              </a:rPr>
              <a:t>4</a:t>
            </a:r>
          </a:p>
        </p:txBody>
      </p:sp>
      <p:sp>
        <p:nvSpPr>
          <p:cNvPr id="15" name="Text Placeholder 12"/>
          <p:cNvSpPr>
            <a:spLocks/>
          </p:cNvSpPr>
          <p:nvPr>
            <p:custDataLst>
              <p:tags r:id="rId10"/>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6"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1073" name="Title 1"/>
          <p:cNvSpPr>
            <a:spLocks noGrp="1"/>
          </p:cNvSpPr>
          <p:nvPr>
            <p:ph type="title"/>
          </p:nvPr>
        </p:nvSpPr>
        <p:spPr/>
        <p:txBody>
          <a:bodyPr/>
          <a:lstStyle/>
          <a:p>
            <a:r>
              <a:rPr lang="en-GB" altLang="ja-JP"/>
              <a:t>Strategic disciplines</a:t>
            </a:r>
            <a:endParaRPr lang="nl-NL"/>
          </a:p>
        </p:txBody>
      </p:sp>
      <p:sp>
        <p:nvSpPr>
          <p:cNvPr id="15" name="Oval 3"/>
          <p:cNvSpPr>
            <a:spLocks noChangeAspect="1" noChangeArrowheads="1"/>
          </p:cNvSpPr>
          <p:nvPr/>
        </p:nvSpPr>
        <p:spPr bwMode="auto">
          <a:xfrm>
            <a:off x="2601359" y="2004878"/>
            <a:ext cx="3946525" cy="3676650"/>
          </a:xfrm>
          <a:prstGeom prst="ellipse">
            <a:avLst/>
          </a:prstGeom>
          <a:noFill/>
          <a:ln w="12700">
            <a:solidFill>
              <a:schemeClr val="accent3"/>
            </a:solidFill>
            <a:round/>
            <a:headEnd/>
            <a:tailEnd/>
          </a:ln>
        </p:spPr>
        <p:txBody>
          <a:bodyPr wrap="none" anchor="ctr"/>
          <a:lstStyle/>
          <a:p>
            <a:pPr algn="ctr">
              <a:spcBef>
                <a:spcPct val="0"/>
              </a:spcBef>
            </a:pPr>
            <a:endParaRPr lang="en-GB" sz="1400">
              <a:solidFill>
                <a:schemeClr val="bg1"/>
              </a:solidFill>
            </a:endParaRPr>
          </a:p>
        </p:txBody>
      </p:sp>
      <p:sp>
        <p:nvSpPr>
          <p:cNvPr id="16" name="Rectangle 4"/>
          <p:cNvSpPr>
            <a:spLocks noChangeAspect="1" noChangeArrowheads="1"/>
          </p:cNvSpPr>
          <p:nvPr/>
        </p:nvSpPr>
        <p:spPr bwMode="auto">
          <a:xfrm>
            <a:off x="1585359" y="5183053"/>
            <a:ext cx="2295525" cy="277813"/>
          </a:xfrm>
          <a:prstGeom prst="rect">
            <a:avLst/>
          </a:prstGeom>
          <a:solidFill>
            <a:schemeClr val="accent3"/>
          </a:solidFill>
          <a:ln w="6350" algn="ctr">
            <a:noFill/>
            <a:miter lim="800000"/>
            <a:headEnd/>
            <a:tailEnd/>
          </a:ln>
        </p:spPr>
        <p:txBody>
          <a:bodyPr tIns="91440" bIns="91440" anchor="ctr"/>
          <a:lstStyle/>
          <a:p>
            <a:pPr algn="ctr">
              <a:spcBef>
                <a:spcPct val="0"/>
              </a:spcBef>
            </a:pPr>
            <a:r>
              <a:rPr lang="en-GB" altLang="ja-JP" sz="1400" b="1">
                <a:solidFill>
                  <a:schemeClr val="bg1"/>
                </a:solidFill>
                <a:ea typeface="ＭＳ Ｐゴシック" pitchFamily="50" charset="-128"/>
              </a:rPr>
              <a:t>Text</a:t>
            </a:r>
          </a:p>
        </p:txBody>
      </p:sp>
      <p:sp>
        <p:nvSpPr>
          <p:cNvPr id="17" name="Rectangle 5"/>
          <p:cNvSpPr>
            <a:spLocks noChangeAspect="1" noChangeArrowheads="1"/>
          </p:cNvSpPr>
          <p:nvPr/>
        </p:nvSpPr>
        <p:spPr bwMode="auto">
          <a:xfrm>
            <a:off x="5036584" y="5183053"/>
            <a:ext cx="2295525" cy="277813"/>
          </a:xfrm>
          <a:prstGeom prst="rect">
            <a:avLst/>
          </a:prstGeom>
          <a:solidFill>
            <a:schemeClr val="accent3"/>
          </a:solidFill>
          <a:ln w="6350" algn="ctr">
            <a:noFill/>
            <a:miter lim="800000"/>
            <a:headEnd/>
            <a:tailEnd/>
          </a:ln>
        </p:spPr>
        <p:txBody>
          <a:bodyPr tIns="91440" bIns="91440" anchor="ctr"/>
          <a:lstStyle/>
          <a:p>
            <a:pPr algn="ctr">
              <a:spcBef>
                <a:spcPct val="0"/>
              </a:spcBef>
            </a:pPr>
            <a:r>
              <a:rPr lang="en-GB" altLang="ja-JP" sz="1400" b="1">
                <a:solidFill>
                  <a:schemeClr val="bg1"/>
                </a:solidFill>
                <a:ea typeface="ＭＳ Ｐゴシック" pitchFamily="50" charset="-128"/>
              </a:rPr>
              <a:t>Text</a:t>
            </a:r>
          </a:p>
        </p:txBody>
      </p:sp>
      <p:sp>
        <p:nvSpPr>
          <p:cNvPr id="18" name="Line 6"/>
          <p:cNvSpPr>
            <a:spLocks noChangeAspect="1" noChangeShapeType="1"/>
          </p:cNvSpPr>
          <p:nvPr/>
        </p:nvSpPr>
        <p:spPr bwMode="auto">
          <a:xfrm>
            <a:off x="4565097" y="1996610"/>
            <a:ext cx="0" cy="1801813"/>
          </a:xfrm>
          <a:prstGeom prst="line">
            <a:avLst/>
          </a:prstGeom>
          <a:noFill/>
          <a:ln w="50800">
            <a:solidFill>
              <a:schemeClr val="accent3"/>
            </a:solidFill>
            <a:round/>
            <a:headEnd type="triangle" w="med" len="med"/>
            <a:tailEnd/>
          </a:ln>
        </p:spPr>
        <p:txBody>
          <a:bodyPr wrap="none" anchor="ctr"/>
          <a:lstStyle/>
          <a:p>
            <a:endParaRPr lang="en-GB">
              <a:solidFill>
                <a:schemeClr val="bg1"/>
              </a:solidFill>
            </a:endParaRPr>
          </a:p>
        </p:txBody>
      </p:sp>
      <p:sp>
        <p:nvSpPr>
          <p:cNvPr id="19" name="Line 7"/>
          <p:cNvSpPr>
            <a:spLocks noChangeAspect="1" noChangeShapeType="1"/>
          </p:cNvSpPr>
          <p:nvPr/>
        </p:nvSpPr>
        <p:spPr bwMode="auto">
          <a:xfrm flipH="1">
            <a:off x="3214763" y="3902239"/>
            <a:ext cx="1354137" cy="1263650"/>
          </a:xfrm>
          <a:prstGeom prst="line">
            <a:avLst/>
          </a:prstGeom>
          <a:noFill/>
          <a:ln w="50800">
            <a:solidFill>
              <a:schemeClr val="accent3"/>
            </a:solidFill>
            <a:round/>
            <a:headEnd/>
            <a:tailEnd type="triangle" w="med" len="med"/>
          </a:ln>
        </p:spPr>
        <p:txBody>
          <a:bodyPr wrap="none" anchor="ctr"/>
          <a:lstStyle/>
          <a:p>
            <a:endParaRPr lang="en-GB">
              <a:solidFill>
                <a:schemeClr val="bg1"/>
              </a:solidFill>
            </a:endParaRPr>
          </a:p>
        </p:txBody>
      </p:sp>
      <p:sp>
        <p:nvSpPr>
          <p:cNvPr id="20" name="Line 8"/>
          <p:cNvSpPr>
            <a:spLocks noChangeAspect="1" noChangeShapeType="1"/>
          </p:cNvSpPr>
          <p:nvPr/>
        </p:nvSpPr>
        <p:spPr bwMode="auto">
          <a:xfrm>
            <a:off x="4664779" y="3902239"/>
            <a:ext cx="1263650" cy="1263650"/>
          </a:xfrm>
          <a:prstGeom prst="line">
            <a:avLst/>
          </a:prstGeom>
          <a:noFill/>
          <a:ln w="50800">
            <a:solidFill>
              <a:schemeClr val="accent3"/>
            </a:solidFill>
            <a:round/>
            <a:headEnd/>
            <a:tailEnd type="triangle" w="med" len="med"/>
          </a:ln>
        </p:spPr>
        <p:txBody>
          <a:bodyPr wrap="none" anchor="ctr"/>
          <a:lstStyle/>
          <a:p>
            <a:endParaRPr lang="en-GB">
              <a:solidFill>
                <a:schemeClr val="bg1"/>
              </a:solidFill>
            </a:endParaRPr>
          </a:p>
        </p:txBody>
      </p:sp>
      <p:sp>
        <p:nvSpPr>
          <p:cNvPr id="21" name="Rectangle 9"/>
          <p:cNvSpPr>
            <a:spLocks noChangeAspect="1" noChangeArrowheads="1"/>
          </p:cNvSpPr>
          <p:nvPr/>
        </p:nvSpPr>
        <p:spPr bwMode="auto">
          <a:xfrm>
            <a:off x="3404634" y="1592128"/>
            <a:ext cx="2295525" cy="277813"/>
          </a:xfrm>
          <a:prstGeom prst="rect">
            <a:avLst/>
          </a:prstGeom>
          <a:solidFill>
            <a:schemeClr val="accent3"/>
          </a:solidFill>
          <a:ln w="6350" algn="ctr">
            <a:noFill/>
            <a:miter lim="800000"/>
            <a:headEnd/>
            <a:tailEnd/>
          </a:ln>
        </p:spPr>
        <p:txBody>
          <a:bodyPr tIns="91440" bIns="91440" anchor="ctr"/>
          <a:lstStyle/>
          <a:p>
            <a:pPr algn="ctr">
              <a:spcBef>
                <a:spcPct val="0"/>
              </a:spcBef>
            </a:pPr>
            <a:r>
              <a:rPr lang="en-GB" altLang="ja-JP" sz="1400" b="1" dirty="0">
                <a:solidFill>
                  <a:schemeClr val="bg1"/>
                </a:solidFill>
                <a:ea typeface="ＭＳ Ｐゴシック" pitchFamily="50" charset="-128"/>
              </a:rPr>
              <a:t>Text</a:t>
            </a:r>
          </a:p>
        </p:txBody>
      </p:sp>
      <p:sp>
        <p:nvSpPr>
          <p:cNvPr id="22" name="Oval 10"/>
          <p:cNvSpPr>
            <a:spLocks noChangeAspect="1" noChangeArrowheads="1"/>
          </p:cNvSpPr>
          <p:nvPr/>
        </p:nvSpPr>
        <p:spPr bwMode="auto">
          <a:xfrm>
            <a:off x="4461909" y="3741603"/>
            <a:ext cx="201613" cy="204788"/>
          </a:xfrm>
          <a:prstGeom prst="ellipse">
            <a:avLst/>
          </a:prstGeom>
          <a:solidFill>
            <a:schemeClr val="accent3"/>
          </a:solidFill>
          <a:ln w="12700">
            <a:solidFill>
              <a:schemeClr val="tx1"/>
            </a:solidFill>
            <a:round/>
            <a:headEnd/>
            <a:tailEnd/>
          </a:ln>
        </p:spPr>
        <p:txBody>
          <a:bodyPr wrap="none" anchor="ctr"/>
          <a:lstStyle/>
          <a:p>
            <a:pPr algn="ctr">
              <a:spcBef>
                <a:spcPct val="0"/>
              </a:spcBef>
            </a:pPr>
            <a:r>
              <a:rPr lang="en-GB" altLang="ja-JP" sz="1400" b="1">
                <a:solidFill>
                  <a:schemeClr val="bg1"/>
                </a:solidFill>
                <a:ea typeface="ＭＳ Ｐゴシック" pitchFamily="50" charset="-128"/>
              </a:rPr>
              <a:t>…</a:t>
            </a:r>
          </a:p>
        </p:txBody>
      </p:sp>
      <p:sp>
        <p:nvSpPr>
          <p:cNvPr id="23" name="Oval 11"/>
          <p:cNvSpPr>
            <a:spLocks noChangeAspect="1" noChangeArrowheads="1"/>
          </p:cNvSpPr>
          <p:nvPr/>
        </p:nvSpPr>
        <p:spPr bwMode="auto">
          <a:xfrm>
            <a:off x="3668159" y="2938328"/>
            <a:ext cx="1812925" cy="1809750"/>
          </a:xfrm>
          <a:prstGeom prst="ellipse">
            <a:avLst/>
          </a:prstGeom>
          <a:solidFill>
            <a:schemeClr val="accent3"/>
          </a:solidFill>
          <a:ln w="12700">
            <a:noFill/>
            <a:prstDash val="sysDot"/>
            <a:round/>
            <a:headEnd/>
            <a:tailEnd/>
          </a:ln>
        </p:spPr>
        <p:txBody>
          <a:bodyPr wrap="none" anchor="ctr"/>
          <a:lstStyle/>
          <a:p>
            <a:pPr algn="ctr">
              <a:spcBef>
                <a:spcPct val="0"/>
              </a:spcBef>
            </a:pPr>
            <a:r>
              <a:rPr lang="en-GB" altLang="ja-JP" sz="1400" b="1" dirty="0" smtClean="0">
                <a:solidFill>
                  <a:schemeClr val="bg1"/>
                </a:solidFill>
                <a:ea typeface="ＭＳ Ｐゴシック" pitchFamily="50" charset="-128"/>
              </a:rPr>
              <a:t>Text</a:t>
            </a:r>
            <a:endParaRPr lang="en-GB" altLang="ja-JP" sz="1400" b="1" dirty="0">
              <a:solidFill>
                <a:schemeClr val="bg1"/>
              </a:solidFill>
              <a:ea typeface="ＭＳ Ｐゴシック" pitchFamily="50" charset="-128"/>
            </a:endParaRPr>
          </a:p>
        </p:txBody>
      </p:sp>
      <p:sp>
        <p:nvSpPr>
          <p:cNvPr id="2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5"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2097" name="Title 1"/>
          <p:cNvSpPr>
            <a:spLocks noGrp="1"/>
          </p:cNvSpPr>
          <p:nvPr>
            <p:ph type="title"/>
          </p:nvPr>
        </p:nvSpPr>
        <p:spPr/>
        <p:txBody>
          <a:bodyPr/>
          <a:lstStyle/>
          <a:p>
            <a:r>
              <a:rPr lang="en-GB"/>
              <a:t>Seven S</a:t>
            </a:r>
            <a:endParaRPr lang="nl-NL"/>
          </a:p>
        </p:txBody>
      </p:sp>
      <p:sp>
        <p:nvSpPr>
          <p:cNvPr id="49" name="Line 27"/>
          <p:cNvSpPr>
            <a:spLocks noChangeShapeType="1"/>
          </p:cNvSpPr>
          <p:nvPr/>
        </p:nvSpPr>
        <p:spPr bwMode="blackWhite">
          <a:xfrm>
            <a:off x="4572591" y="2101850"/>
            <a:ext cx="1384300" cy="2476500"/>
          </a:xfrm>
          <a:prstGeom prst="line">
            <a:avLst/>
          </a:prstGeom>
          <a:noFill/>
          <a:ln w="12700">
            <a:solidFill>
              <a:schemeClr val="accent1"/>
            </a:solidFill>
            <a:round/>
            <a:headEnd/>
            <a:tailEnd/>
          </a:ln>
        </p:spPr>
        <p:txBody>
          <a:bodyPr wrap="none" lIns="0" tIns="0" rIns="0" bIns="0" anchor="ctr">
            <a:spAutoFit/>
          </a:bodyPr>
          <a:lstStyle/>
          <a:p>
            <a:endParaRPr lang="en-GB">
              <a:solidFill>
                <a:schemeClr val="bg1"/>
              </a:solidFill>
            </a:endParaRPr>
          </a:p>
        </p:txBody>
      </p:sp>
      <p:sp>
        <p:nvSpPr>
          <p:cNvPr id="50" name="Line 28"/>
          <p:cNvSpPr>
            <a:spLocks noChangeShapeType="1"/>
          </p:cNvSpPr>
          <p:nvPr/>
        </p:nvSpPr>
        <p:spPr bwMode="blackWhite">
          <a:xfrm flipH="1">
            <a:off x="3159716" y="2101850"/>
            <a:ext cx="1385888" cy="2476500"/>
          </a:xfrm>
          <a:prstGeom prst="line">
            <a:avLst/>
          </a:prstGeom>
          <a:noFill/>
          <a:ln w="12700">
            <a:solidFill>
              <a:schemeClr val="accent1"/>
            </a:solidFill>
            <a:round/>
            <a:headEnd/>
            <a:tailEnd/>
          </a:ln>
        </p:spPr>
        <p:txBody>
          <a:bodyPr wrap="none" lIns="0" tIns="0" rIns="0" bIns="0" anchor="ctr">
            <a:spAutoFit/>
          </a:bodyPr>
          <a:lstStyle/>
          <a:p>
            <a:endParaRPr lang="en-GB">
              <a:solidFill>
                <a:schemeClr val="bg1"/>
              </a:solidFill>
            </a:endParaRPr>
          </a:p>
        </p:txBody>
      </p:sp>
      <p:sp>
        <p:nvSpPr>
          <p:cNvPr id="51" name="Line 29"/>
          <p:cNvSpPr>
            <a:spLocks noChangeShapeType="1"/>
          </p:cNvSpPr>
          <p:nvPr/>
        </p:nvSpPr>
        <p:spPr bwMode="blackWhite">
          <a:xfrm>
            <a:off x="3148604" y="3008313"/>
            <a:ext cx="1382712" cy="2476500"/>
          </a:xfrm>
          <a:prstGeom prst="line">
            <a:avLst/>
          </a:prstGeom>
          <a:noFill/>
          <a:ln w="12700">
            <a:solidFill>
              <a:schemeClr val="accent1"/>
            </a:solidFill>
            <a:round/>
            <a:headEnd/>
            <a:tailEnd/>
          </a:ln>
        </p:spPr>
        <p:txBody>
          <a:bodyPr wrap="none" lIns="0" tIns="0" rIns="0" bIns="0" anchor="ctr">
            <a:spAutoFit/>
          </a:bodyPr>
          <a:lstStyle/>
          <a:p>
            <a:endParaRPr lang="en-GB">
              <a:solidFill>
                <a:schemeClr val="bg1"/>
              </a:solidFill>
            </a:endParaRPr>
          </a:p>
        </p:txBody>
      </p:sp>
      <p:sp>
        <p:nvSpPr>
          <p:cNvPr id="52" name="Line 30"/>
          <p:cNvSpPr>
            <a:spLocks noChangeShapeType="1"/>
          </p:cNvSpPr>
          <p:nvPr/>
        </p:nvSpPr>
        <p:spPr bwMode="blackWhite">
          <a:xfrm flipH="1">
            <a:off x="4597991" y="3008313"/>
            <a:ext cx="1385888" cy="2476500"/>
          </a:xfrm>
          <a:prstGeom prst="line">
            <a:avLst/>
          </a:prstGeom>
          <a:noFill/>
          <a:ln w="12700">
            <a:solidFill>
              <a:schemeClr val="accent1"/>
            </a:solidFill>
            <a:round/>
            <a:headEnd/>
            <a:tailEnd/>
          </a:ln>
        </p:spPr>
        <p:txBody>
          <a:bodyPr wrap="none" lIns="0" tIns="0" rIns="0" bIns="0" anchor="ctr">
            <a:spAutoFit/>
          </a:bodyPr>
          <a:lstStyle/>
          <a:p>
            <a:endParaRPr lang="en-GB">
              <a:solidFill>
                <a:schemeClr val="bg1"/>
              </a:solidFill>
            </a:endParaRPr>
          </a:p>
        </p:txBody>
      </p:sp>
      <p:sp>
        <p:nvSpPr>
          <p:cNvPr id="53" name="Line 31"/>
          <p:cNvSpPr>
            <a:spLocks noChangeShapeType="1"/>
          </p:cNvSpPr>
          <p:nvPr/>
        </p:nvSpPr>
        <p:spPr bwMode="blackWhite">
          <a:xfrm>
            <a:off x="6007691" y="2974975"/>
            <a:ext cx="0" cy="1389063"/>
          </a:xfrm>
          <a:prstGeom prst="line">
            <a:avLst/>
          </a:prstGeom>
          <a:noFill/>
          <a:ln w="12700">
            <a:solidFill>
              <a:schemeClr val="tx2"/>
            </a:solidFill>
            <a:round/>
            <a:headEnd/>
            <a:tailEnd/>
          </a:ln>
        </p:spPr>
        <p:txBody>
          <a:bodyPr wrap="none" lIns="0" tIns="0" rIns="0" bIns="0" anchor="ctr">
            <a:spAutoFit/>
          </a:bodyPr>
          <a:lstStyle/>
          <a:p>
            <a:endParaRPr lang="en-GB">
              <a:solidFill>
                <a:schemeClr val="bg1"/>
              </a:solidFill>
            </a:endParaRPr>
          </a:p>
        </p:txBody>
      </p:sp>
      <p:sp>
        <p:nvSpPr>
          <p:cNvPr id="54" name="Line 32"/>
          <p:cNvSpPr>
            <a:spLocks noChangeShapeType="1"/>
          </p:cNvSpPr>
          <p:nvPr/>
        </p:nvSpPr>
        <p:spPr bwMode="blackWhite">
          <a:xfrm>
            <a:off x="3112091" y="2974975"/>
            <a:ext cx="0" cy="1389063"/>
          </a:xfrm>
          <a:prstGeom prst="line">
            <a:avLst/>
          </a:prstGeom>
          <a:noFill/>
          <a:ln w="12700">
            <a:solidFill>
              <a:schemeClr val="tx2"/>
            </a:solidFill>
            <a:round/>
            <a:headEnd/>
            <a:tailEnd/>
          </a:ln>
        </p:spPr>
        <p:txBody>
          <a:bodyPr wrap="none" lIns="0" tIns="0" rIns="0" bIns="0" anchor="ctr">
            <a:spAutoFit/>
          </a:bodyPr>
          <a:lstStyle/>
          <a:p>
            <a:endParaRPr lang="en-GB">
              <a:solidFill>
                <a:schemeClr val="bg1"/>
              </a:solidFill>
            </a:endParaRPr>
          </a:p>
        </p:txBody>
      </p:sp>
      <p:sp>
        <p:nvSpPr>
          <p:cNvPr id="55" name="Line 33"/>
          <p:cNvSpPr>
            <a:spLocks noChangeShapeType="1"/>
          </p:cNvSpPr>
          <p:nvPr/>
        </p:nvSpPr>
        <p:spPr bwMode="blackWhite">
          <a:xfrm rot="-5400000" flipH="1" flipV="1">
            <a:off x="3412922" y="1818482"/>
            <a:ext cx="865187" cy="1390650"/>
          </a:xfrm>
          <a:prstGeom prst="line">
            <a:avLst/>
          </a:prstGeom>
          <a:noFill/>
          <a:ln w="12700">
            <a:solidFill>
              <a:schemeClr val="accent1"/>
            </a:solidFill>
            <a:round/>
            <a:headEnd/>
            <a:tailEnd/>
          </a:ln>
        </p:spPr>
        <p:txBody>
          <a:bodyPr lIns="0" tIns="0" rIns="0" bIns="0" anchor="ctr">
            <a:spAutoFit/>
          </a:bodyPr>
          <a:lstStyle/>
          <a:p>
            <a:endParaRPr lang="en-GB">
              <a:solidFill>
                <a:schemeClr val="bg1"/>
              </a:solidFill>
            </a:endParaRPr>
          </a:p>
        </p:txBody>
      </p:sp>
      <p:sp>
        <p:nvSpPr>
          <p:cNvPr id="56" name="Line 34"/>
          <p:cNvSpPr>
            <a:spLocks noChangeShapeType="1"/>
          </p:cNvSpPr>
          <p:nvPr/>
        </p:nvSpPr>
        <p:spPr bwMode="blackWhite">
          <a:xfrm rot="5400000" flipV="1">
            <a:off x="4831354" y="1819275"/>
            <a:ext cx="865187" cy="1389063"/>
          </a:xfrm>
          <a:prstGeom prst="line">
            <a:avLst/>
          </a:prstGeom>
          <a:noFill/>
          <a:ln w="12700">
            <a:solidFill>
              <a:schemeClr val="accent1"/>
            </a:solidFill>
            <a:round/>
            <a:headEnd/>
            <a:tailEnd/>
          </a:ln>
        </p:spPr>
        <p:txBody>
          <a:bodyPr lIns="0" tIns="0" rIns="0" bIns="0" anchor="ctr">
            <a:spAutoFit/>
          </a:bodyPr>
          <a:lstStyle/>
          <a:p>
            <a:endParaRPr lang="en-GB">
              <a:solidFill>
                <a:schemeClr val="bg1"/>
              </a:solidFill>
            </a:endParaRPr>
          </a:p>
        </p:txBody>
      </p:sp>
      <p:sp>
        <p:nvSpPr>
          <p:cNvPr id="57" name="Line 35"/>
          <p:cNvSpPr>
            <a:spLocks noChangeShapeType="1"/>
          </p:cNvSpPr>
          <p:nvPr/>
        </p:nvSpPr>
        <p:spPr bwMode="blackWhite">
          <a:xfrm rot="5400000" flipH="1">
            <a:off x="3412922" y="4393407"/>
            <a:ext cx="865187" cy="1390650"/>
          </a:xfrm>
          <a:prstGeom prst="line">
            <a:avLst/>
          </a:prstGeom>
          <a:noFill/>
          <a:ln w="12700">
            <a:solidFill>
              <a:schemeClr val="accent1"/>
            </a:solidFill>
            <a:round/>
            <a:headEnd/>
            <a:tailEnd/>
          </a:ln>
        </p:spPr>
        <p:txBody>
          <a:bodyPr lIns="0" tIns="0" rIns="0" bIns="0" anchor="ctr">
            <a:spAutoFit/>
          </a:bodyPr>
          <a:lstStyle/>
          <a:p>
            <a:endParaRPr lang="en-GB">
              <a:solidFill>
                <a:schemeClr val="bg1"/>
              </a:solidFill>
            </a:endParaRPr>
          </a:p>
        </p:txBody>
      </p:sp>
      <p:sp>
        <p:nvSpPr>
          <p:cNvPr id="58" name="Line 36"/>
          <p:cNvSpPr>
            <a:spLocks noChangeShapeType="1"/>
          </p:cNvSpPr>
          <p:nvPr/>
        </p:nvSpPr>
        <p:spPr bwMode="blackWhite">
          <a:xfrm rot="-5400000">
            <a:off x="4831354" y="4394200"/>
            <a:ext cx="865187" cy="1389063"/>
          </a:xfrm>
          <a:prstGeom prst="line">
            <a:avLst/>
          </a:prstGeom>
          <a:noFill/>
          <a:ln w="12700">
            <a:solidFill>
              <a:schemeClr val="accent1"/>
            </a:solidFill>
            <a:round/>
            <a:headEnd/>
            <a:tailEnd/>
          </a:ln>
        </p:spPr>
        <p:txBody>
          <a:bodyPr lIns="0" tIns="0" rIns="0" bIns="0" anchor="ctr">
            <a:spAutoFit/>
          </a:bodyPr>
          <a:lstStyle/>
          <a:p>
            <a:endParaRPr lang="en-GB">
              <a:solidFill>
                <a:schemeClr val="bg1"/>
              </a:solidFill>
            </a:endParaRPr>
          </a:p>
        </p:txBody>
      </p:sp>
      <p:sp>
        <p:nvSpPr>
          <p:cNvPr id="59" name="Line 37"/>
          <p:cNvSpPr>
            <a:spLocks noChangeShapeType="1"/>
          </p:cNvSpPr>
          <p:nvPr/>
        </p:nvSpPr>
        <p:spPr bwMode="blackWhite">
          <a:xfrm rot="-5400000">
            <a:off x="3724072" y="2391569"/>
            <a:ext cx="1681163" cy="2809875"/>
          </a:xfrm>
          <a:prstGeom prst="line">
            <a:avLst/>
          </a:prstGeom>
          <a:noFill/>
          <a:ln w="12700">
            <a:solidFill>
              <a:schemeClr val="accent1"/>
            </a:solidFill>
            <a:round/>
            <a:headEnd/>
            <a:tailEnd/>
          </a:ln>
        </p:spPr>
        <p:txBody>
          <a:bodyPr lIns="0" tIns="0" rIns="0" bIns="0" anchor="ctr">
            <a:spAutoFit/>
          </a:bodyPr>
          <a:lstStyle/>
          <a:p>
            <a:endParaRPr lang="en-GB">
              <a:solidFill>
                <a:schemeClr val="bg1"/>
              </a:solidFill>
            </a:endParaRPr>
          </a:p>
        </p:txBody>
      </p:sp>
      <p:sp>
        <p:nvSpPr>
          <p:cNvPr id="60" name="Line 38"/>
          <p:cNvSpPr>
            <a:spLocks noChangeShapeType="1"/>
          </p:cNvSpPr>
          <p:nvPr/>
        </p:nvSpPr>
        <p:spPr bwMode="blackWhite">
          <a:xfrm rot="5400000" flipH="1">
            <a:off x="3709785" y="2358231"/>
            <a:ext cx="1690688" cy="2886075"/>
          </a:xfrm>
          <a:prstGeom prst="line">
            <a:avLst/>
          </a:prstGeom>
          <a:noFill/>
          <a:ln w="12700">
            <a:solidFill>
              <a:schemeClr val="accent1"/>
            </a:solidFill>
            <a:round/>
            <a:headEnd/>
            <a:tailEnd/>
          </a:ln>
        </p:spPr>
        <p:txBody>
          <a:bodyPr lIns="0" tIns="0" rIns="0" bIns="0" anchor="ctr">
            <a:spAutoFit/>
          </a:bodyPr>
          <a:lstStyle/>
          <a:p>
            <a:endParaRPr lang="en-GB">
              <a:solidFill>
                <a:schemeClr val="bg1"/>
              </a:solidFill>
            </a:endParaRPr>
          </a:p>
        </p:txBody>
      </p:sp>
      <p:sp>
        <p:nvSpPr>
          <p:cNvPr id="61" name="Line 39"/>
          <p:cNvSpPr>
            <a:spLocks noChangeShapeType="1"/>
          </p:cNvSpPr>
          <p:nvPr/>
        </p:nvSpPr>
        <p:spPr bwMode="blackWhite">
          <a:xfrm>
            <a:off x="4569416" y="2527300"/>
            <a:ext cx="0" cy="2779713"/>
          </a:xfrm>
          <a:prstGeom prst="line">
            <a:avLst/>
          </a:prstGeom>
          <a:noFill/>
          <a:ln w="12700">
            <a:solidFill>
              <a:schemeClr val="accent1"/>
            </a:solidFill>
            <a:round/>
            <a:headEnd/>
            <a:tailEnd/>
          </a:ln>
        </p:spPr>
        <p:txBody>
          <a:bodyPr lIns="0" tIns="0" rIns="0" bIns="0" anchor="ctr">
            <a:spAutoFit/>
          </a:bodyPr>
          <a:lstStyle/>
          <a:p>
            <a:endParaRPr lang="en-GB">
              <a:solidFill>
                <a:schemeClr val="bg1"/>
              </a:solidFill>
            </a:endParaRPr>
          </a:p>
        </p:txBody>
      </p:sp>
      <p:sp>
        <p:nvSpPr>
          <p:cNvPr id="62" name="Oval 40"/>
          <p:cNvSpPr>
            <a:spLocks noChangeArrowheads="1"/>
          </p:cNvSpPr>
          <p:nvPr/>
        </p:nvSpPr>
        <p:spPr bwMode="blackWhite">
          <a:xfrm>
            <a:off x="2508841" y="2339975"/>
            <a:ext cx="1263650" cy="1263650"/>
          </a:xfrm>
          <a:prstGeom prst="ellipse">
            <a:avLst/>
          </a:prstGeom>
          <a:solidFill>
            <a:schemeClr val="accent3"/>
          </a:solidFill>
          <a:ln w="12700">
            <a:solidFill>
              <a:schemeClr val="bg1"/>
            </a:solidFill>
            <a:round/>
            <a:headEnd/>
            <a:tailEnd/>
          </a:ln>
        </p:spPr>
        <p:txBody>
          <a:bodyPr wrap="none" lIns="0" tIns="0" rIns="0" bIns="0" anchor="ctr"/>
          <a:lstStyle/>
          <a:p>
            <a:pPr algn="ctr" defTabSz="912813">
              <a:lnSpc>
                <a:spcPct val="95000"/>
              </a:lnSpc>
              <a:spcBef>
                <a:spcPct val="0"/>
              </a:spcBef>
              <a:spcAft>
                <a:spcPct val="37000"/>
              </a:spcAft>
              <a:buSzPct val="75000"/>
            </a:pPr>
            <a:r>
              <a:rPr lang="en-GB" sz="1400" b="1">
                <a:solidFill>
                  <a:schemeClr val="bg1"/>
                </a:solidFill>
                <a:ea typeface="ＭＳ Ｐゴシック" pitchFamily="50" charset="-128"/>
              </a:rPr>
              <a:t>Strategy</a:t>
            </a:r>
          </a:p>
        </p:txBody>
      </p:sp>
      <p:sp>
        <p:nvSpPr>
          <p:cNvPr id="63" name="Oval 41"/>
          <p:cNvSpPr>
            <a:spLocks noChangeArrowheads="1"/>
          </p:cNvSpPr>
          <p:nvPr/>
        </p:nvSpPr>
        <p:spPr bwMode="blackWhite">
          <a:xfrm>
            <a:off x="5377454" y="2339975"/>
            <a:ext cx="1262062" cy="1263650"/>
          </a:xfrm>
          <a:prstGeom prst="ellipse">
            <a:avLst/>
          </a:prstGeom>
          <a:solidFill>
            <a:schemeClr val="accent3"/>
          </a:solidFill>
          <a:ln w="12700">
            <a:solidFill>
              <a:schemeClr val="bg1"/>
            </a:solidFill>
            <a:round/>
            <a:headEnd/>
            <a:tailEnd/>
          </a:ln>
        </p:spPr>
        <p:txBody>
          <a:bodyPr wrap="none" lIns="0" tIns="0" rIns="0" bIns="0" anchor="ctr"/>
          <a:lstStyle/>
          <a:p>
            <a:pPr algn="ctr" defTabSz="912813">
              <a:lnSpc>
                <a:spcPct val="95000"/>
              </a:lnSpc>
              <a:spcBef>
                <a:spcPct val="0"/>
              </a:spcBef>
              <a:spcAft>
                <a:spcPct val="37000"/>
              </a:spcAft>
              <a:buSzPct val="75000"/>
            </a:pPr>
            <a:r>
              <a:rPr lang="en-GB" sz="1400" b="1">
                <a:solidFill>
                  <a:schemeClr val="bg1"/>
                </a:solidFill>
              </a:rPr>
              <a:t>Systems</a:t>
            </a:r>
            <a:endParaRPr lang="en-GB" sz="1400" b="1">
              <a:solidFill>
                <a:schemeClr val="bg1"/>
              </a:solidFill>
              <a:ea typeface="ＭＳ Ｐゴシック" pitchFamily="50" charset="-128"/>
            </a:endParaRPr>
          </a:p>
        </p:txBody>
      </p:sp>
      <p:sp>
        <p:nvSpPr>
          <p:cNvPr id="64" name="Oval 42"/>
          <p:cNvSpPr>
            <a:spLocks noChangeArrowheads="1"/>
          </p:cNvSpPr>
          <p:nvPr/>
        </p:nvSpPr>
        <p:spPr bwMode="blackWhite">
          <a:xfrm>
            <a:off x="5377454" y="4014788"/>
            <a:ext cx="1262062" cy="1263650"/>
          </a:xfrm>
          <a:prstGeom prst="ellipse">
            <a:avLst/>
          </a:prstGeom>
          <a:solidFill>
            <a:schemeClr val="accent3"/>
          </a:solidFill>
          <a:ln w="12700">
            <a:solidFill>
              <a:schemeClr val="bg1"/>
            </a:solidFill>
            <a:round/>
            <a:headEnd/>
            <a:tailEnd/>
          </a:ln>
        </p:spPr>
        <p:txBody>
          <a:bodyPr wrap="none" lIns="0" tIns="0" rIns="0" bIns="0" anchor="ctr"/>
          <a:lstStyle/>
          <a:p>
            <a:pPr algn="ctr" defTabSz="912813">
              <a:lnSpc>
                <a:spcPct val="95000"/>
              </a:lnSpc>
              <a:spcBef>
                <a:spcPct val="0"/>
              </a:spcBef>
              <a:spcAft>
                <a:spcPct val="37000"/>
              </a:spcAft>
              <a:buSzPct val="75000"/>
            </a:pPr>
            <a:r>
              <a:rPr lang="en-GB" sz="1400" b="1">
                <a:solidFill>
                  <a:schemeClr val="bg1"/>
                </a:solidFill>
              </a:rPr>
              <a:t>Style</a:t>
            </a:r>
            <a:endParaRPr lang="en-GB" sz="1400" b="1">
              <a:solidFill>
                <a:schemeClr val="bg1"/>
              </a:solidFill>
              <a:ea typeface="ＭＳ Ｐゴシック" pitchFamily="50" charset="-128"/>
            </a:endParaRPr>
          </a:p>
        </p:txBody>
      </p:sp>
      <p:sp>
        <p:nvSpPr>
          <p:cNvPr id="65" name="Oval 43"/>
          <p:cNvSpPr>
            <a:spLocks noChangeArrowheads="1"/>
          </p:cNvSpPr>
          <p:nvPr/>
        </p:nvSpPr>
        <p:spPr bwMode="blackWhite">
          <a:xfrm>
            <a:off x="2523129" y="4014788"/>
            <a:ext cx="1265237" cy="1263650"/>
          </a:xfrm>
          <a:prstGeom prst="ellipse">
            <a:avLst/>
          </a:prstGeom>
          <a:solidFill>
            <a:schemeClr val="accent3"/>
          </a:solidFill>
          <a:ln w="12700">
            <a:solidFill>
              <a:schemeClr val="bg1"/>
            </a:solidFill>
            <a:round/>
            <a:headEnd/>
            <a:tailEnd/>
          </a:ln>
        </p:spPr>
        <p:txBody>
          <a:bodyPr wrap="none" lIns="0" tIns="0" rIns="0" bIns="0" anchor="ctr"/>
          <a:lstStyle/>
          <a:p>
            <a:pPr algn="ctr" defTabSz="912813">
              <a:lnSpc>
                <a:spcPct val="95000"/>
              </a:lnSpc>
              <a:spcBef>
                <a:spcPct val="0"/>
              </a:spcBef>
              <a:spcAft>
                <a:spcPct val="37000"/>
              </a:spcAft>
              <a:buSzPct val="75000"/>
            </a:pPr>
            <a:r>
              <a:rPr lang="en-GB" sz="1400" b="1">
                <a:solidFill>
                  <a:schemeClr val="bg1"/>
                </a:solidFill>
              </a:rPr>
              <a:t>Skills</a:t>
            </a:r>
          </a:p>
        </p:txBody>
      </p:sp>
      <p:sp>
        <p:nvSpPr>
          <p:cNvPr id="66" name="Oval 44"/>
          <p:cNvSpPr>
            <a:spLocks noChangeArrowheads="1"/>
          </p:cNvSpPr>
          <p:nvPr/>
        </p:nvSpPr>
        <p:spPr bwMode="blackWhite">
          <a:xfrm>
            <a:off x="3942354" y="3154363"/>
            <a:ext cx="1263650" cy="1263650"/>
          </a:xfrm>
          <a:prstGeom prst="ellipse">
            <a:avLst/>
          </a:prstGeom>
          <a:solidFill>
            <a:schemeClr val="tx2"/>
          </a:solidFill>
          <a:ln w="12700">
            <a:solidFill>
              <a:schemeClr val="bg1"/>
            </a:solidFill>
            <a:round/>
            <a:headEnd/>
            <a:tailEnd/>
          </a:ln>
        </p:spPr>
        <p:txBody>
          <a:bodyPr wrap="none" lIns="0" tIns="0" rIns="0" bIns="0" anchor="ctr"/>
          <a:lstStyle/>
          <a:p>
            <a:pPr algn="ctr" defTabSz="912813">
              <a:lnSpc>
                <a:spcPct val="95000"/>
              </a:lnSpc>
              <a:spcBef>
                <a:spcPct val="0"/>
              </a:spcBef>
              <a:spcAft>
                <a:spcPct val="37000"/>
              </a:spcAft>
              <a:buSzPct val="75000"/>
            </a:pPr>
            <a:r>
              <a:rPr lang="en-GB" sz="1400" b="1">
                <a:solidFill>
                  <a:schemeClr val="bg1"/>
                </a:solidFill>
                <a:ea typeface="ＭＳ Ｐゴシック" pitchFamily="50" charset="-128"/>
              </a:rPr>
              <a:t>Shared </a:t>
            </a:r>
          </a:p>
          <a:p>
            <a:pPr algn="ctr" defTabSz="912813">
              <a:lnSpc>
                <a:spcPct val="95000"/>
              </a:lnSpc>
              <a:spcBef>
                <a:spcPct val="0"/>
              </a:spcBef>
              <a:spcAft>
                <a:spcPct val="37000"/>
              </a:spcAft>
              <a:buSzPct val="75000"/>
            </a:pPr>
            <a:r>
              <a:rPr lang="en-GB" sz="1400" b="1">
                <a:solidFill>
                  <a:schemeClr val="bg1"/>
                </a:solidFill>
                <a:ea typeface="ＭＳ Ｐゴシック" pitchFamily="50" charset="-128"/>
              </a:rPr>
              <a:t>values</a:t>
            </a:r>
          </a:p>
        </p:txBody>
      </p:sp>
      <p:sp>
        <p:nvSpPr>
          <p:cNvPr id="67" name="Oval 45"/>
          <p:cNvSpPr>
            <a:spLocks noChangeArrowheads="1"/>
          </p:cNvSpPr>
          <p:nvPr/>
        </p:nvSpPr>
        <p:spPr bwMode="blackWhite">
          <a:xfrm>
            <a:off x="3942354" y="4902200"/>
            <a:ext cx="1263650" cy="1263650"/>
          </a:xfrm>
          <a:prstGeom prst="ellipse">
            <a:avLst/>
          </a:prstGeom>
          <a:solidFill>
            <a:schemeClr val="accent3"/>
          </a:solidFill>
          <a:ln w="12700">
            <a:solidFill>
              <a:schemeClr val="bg1"/>
            </a:solidFill>
            <a:round/>
            <a:headEnd/>
            <a:tailEnd/>
          </a:ln>
        </p:spPr>
        <p:txBody>
          <a:bodyPr wrap="none" lIns="0" tIns="0" rIns="0" bIns="0" anchor="ctr"/>
          <a:lstStyle/>
          <a:p>
            <a:pPr algn="ctr" defTabSz="912813">
              <a:lnSpc>
                <a:spcPct val="95000"/>
              </a:lnSpc>
              <a:spcBef>
                <a:spcPct val="0"/>
              </a:spcBef>
              <a:spcAft>
                <a:spcPct val="37000"/>
              </a:spcAft>
              <a:buSzPct val="75000"/>
            </a:pPr>
            <a:r>
              <a:rPr lang="en-GB" sz="1400" b="1">
                <a:solidFill>
                  <a:schemeClr val="bg1"/>
                </a:solidFill>
              </a:rPr>
              <a:t>Staff</a:t>
            </a:r>
          </a:p>
        </p:txBody>
      </p:sp>
      <p:sp>
        <p:nvSpPr>
          <p:cNvPr id="68" name="Oval 46"/>
          <p:cNvSpPr>
            <a:spLocks noChangeArrowheads="1"/>
          </p:cNvSpPr>
          <p:nvPr/>
        </p:nvSpPr>
        <p:spPr bwMode="blackWhite">
          <a:xfrm>
            <a:off x="3942354" y="1454150"/>
            <a:ext cx="1263650" cy="1263650"/>
          </a:xfrm>
          <a:prstGeom prst="ellipse">
            <a:avLst/>
          </a:prstGeom>
          <a:solidFill>
            <a:schemeClr val="accent3"/>
          </a:solidFill>
          <a:ln w="12700">
            <a:solidFill>
              <a:schemeClr val="bg1"/>
            </a:solidFill>
            <a:round/>
            <a:headEnd/>
            <a:tailEnd/>
          </a:ln>
        </p:spPr>
        <p:txBody>
          <a:bodyPr wrap="none" lIns="0" tIns="0" rIns="0" bIns="0" anchor="ctr"/>
          <a:lstStyle/>
          <a:p>
            <a:pPr algn="ctr" defTabSz="912813">
              <a:lnSpc>
                <a:spcPct val="95000"/>
              </a:lnSpc>
              <a:spcBef>
                <a:spcPct val="0"/>
              </a:spcBef>
              <a:spcAft>
                <a:spcPct val="37000"/>
              </a:spcAft>
              <a:buSzPct val="75000"/>
            </a:pPr>
            <a:r>
              <a:rPr lang="en-GB" sz="1400" b="1">
                <a:solidFill>
                  <a:schemeClr val="bg1"/>
                </a:solidFill>
              </a:rPr>
              <a:t>Structure</a:t>
            </a:r>
            <a:endParaRPr lang="en-GB" sz="1400" b="1">
              <a:solidFill>
                <a:schemeClr val="bg1"/>
              </a:solidFill>
              <a:ea typeface="ＭＳ Ｐゴシック" pitchFamily="50" charset="-128"/>
            </a:endParaRPr>
          </a:p>
        </p:txBody>
      </p:sp>
      <p:sp>
        <p:nvSpPr>
          <p:cNvPr id="69" name="Line 47"/>
          <p:cNvSpPr>
            <a:spLocks noChangeShapeType="1"/>
          </p:cNvSpPr>
          <p:nvPr/>
        </p:nvSpPr>
        <p:spPr bwMode="blackWhite">
          <a:xfrm rot="-5400000">
            <a:off x="4579735" y="3848894"/>
            <a:ext cx="0" cy="1595438"/>
          </a:xfrm>
          <a:prstGeom prst="line">
            <a:avLst/>
          </a:prstGeom>
          <a:noFill/>
          <a:ln w="12700">
            <a:solidFill>
              <a:schemeClr val="accent1"/>
            </a:solidFill>
            <a:round/>
            <a:headEnd/>
            <a:tailEnd/>
          </a:ln>
        </p:spPr>
        <p:txBody>
          <a:bodyPr lIns="0" tIns="0" rIns="0" bIns="0" anchor="ctr">
            <a:spAutoFit/>
          </a:bodyPr>
          <a:lstStyle/>
          <a:p>
            <a:endParaRPr lang="en-GB">
              <a:solidFill>
                <a:schemeClr val="bg1"/>
              </a:solidFill>
            </a:endParaRPr>
          </a:p>
        </p:txBody>
      </p:sp>
      <p:sp>
        <p:nvSpPr>
          <p:cNvPr id="70" name="Line 48"/>
          <p:cNvSpPr>
            <a:spLocks noChangeShapeType="1"/>
          </p:cNvSpPr>
          <p:nvPr/>
        </p:nvSpPr>
        <p:spPr bwMode="blackWhite">
          <a:xfrm rot="-5400000">
            <a:off x="4582910" y="2126456"/>
            <a:ext cx="0" cy="1595438"/>
          </a:xfrm>
          <a:prstGeom prst="line">
            <a:avLst/>
          </a:prstGeom>
          <a:noFill/>
          <a:ln w="12700">
            <a:solidFill>
              <a:schemeClr val="accent1"/>
            </a:solidFill>
            <a:round/>
            <a:headEnd/>
            <a:tailEnd/>
          </a:ln>
        </p:spPr>
        <p:txBody>
          <a:bodyPr lIns="0" tIns="0" rIns="0" bIns="0" anchor="ctr">
            <a:spAutoFit/>
          </a:bodyPr>
          <a:lstStyle/>
          <a:p>
            <a:endParaRPr lang="en-GB">
              <a:solidFill>
                <a:schemeClr val="bg1"/>
              </a:solidFill>
            </a:endParaRPr>
          </a:p>
        </p:txBody>
      </p:sp>
      <p:sp>
        <p:nvSpPr>
          <p:cNvPr id="27"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0609" name="Title 1"/>
          <p:cNvSpPr>
            <a:spLocks noGrp="1"/>
          </p:cNvSpPr>
          <p:nvPr>
            <p:ph type="title"/>
          </p:nvPr>
        </p:nvSpPr>
        <p:spPr>
          <a:xfrm>
            <a:off x="414338" y="446038"/>
            <a:ext cx="8330184" cy="333425"/>
          </a:xfrm>
        </p:spPr>
        <p:txBody>
          <a:bodyPr/>
          <a:lstStyle/>
          <a:p>
            <a:r>
              <a:rPr lang="en-US"/>
              <a:t>Text boxes — </a:t>
            </a:r>
            <a:r>
              <a:rPr lang="en-US" smtClean="0"/>
              <a:t>three by two</a:t>
            </a:r>
            <a:endParaRPr lang="nl-NL"/>
          </a:p>
        </p:txBody>
      </p:sp>
      <p:grpSp>
        <p:nvGrpSpPr>
          <p:cNvPr id="2" name="Group 12"/>
          <p:cNvGrpSpPr>
            <a:grpSpLocks/>
          </p:cNvGrpSpPr>
          <p:nvPr/>
        </p:nvGrpSpPr>
        <p:grpSpPr bwMode="auto">
          <a:xfrm>
            <a:off x="396875" y="3788518"/>
            <a:ext cx="2657475" cy="2015816"/>
            <a:chOff x="300" y="872"/>
            <a:chExt cx="1847" cy="1911"/>
          </a:xfrm>
        </p:grpSpPr>
        <p:sp>
          <p:nvSpPr>
            <p:cNvPr id="580622" name="Text Box 10"/>
            <p:cNvSpPr txBox="1">
              <a:spLocks noChangeArrowheads="1"/>
            </p:cNvSpPr>
            <p:nvPr/>
          </p:nvSpPr>
          <p:spPr bwMode="auto">
            <a:xfrm>
              <a:off x="300" y="872"/>
              <a:ext cx="1847" cy="260"/>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l" defTabSz="957263"/>
              <a:r>
                <a:rPr lang="en-US" sz="1400" dirty="0">
                  <a:solidFill>
                    <a:srgbClr val="FFFFFF"/>
                  </a:solidFill>
                </a:rPr>
                <a:t>Text</a:t>
              </a:r>
            </a:p>
          </p:txBody>
        </p:sp>
        <p:sp>
          <p:nvSpPr>
            <p:cNvPr id="18" name="Rectangle 17"/>
            <p:cNvSpPr>
              <a:spLocks noChangeArrowheads="1"/>
            </p:cNvSpPr>
            <p:nvPr/>
          </p:nvSpPr>
          <p:spPr bwMode="auto">
            <a:xfrm>
              <a:off x="300" y="1132"/>
              <a:ext cx="1847" cy="1651"/>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grpSp>
        <p:nvGrpSpPr>
          <p:cNvPr id="3" name="Group 12"/>
          <p:cNvGrpSpPr>
            <a:grpSpLocks/>
          </p:cNvGrpSpPr>
          <p:nvPr/>
        </p:nvGrpSpPr>
        <p:grpSpPr bwMode="auto">
          <a:xfrm>
            <a:off x="3243263" y="3788518"/>
            <a:ext cx="2657475" cy="2015816"/>
            <a:chOff x="300" y="872"/>
            <a:chExt cx="1847" cy="1911"/>
          </a:xfrm>
        </p:grpSpPr>
        <p:sp>
          <p:nvSpPr>
            <p:cNvPr id="26" name="Text Box 10"/>
            <p:cNvSpPr txBox="1">
              <a:spLocks noChangeArrowheads="1"/>
            </p:cNvSpPr>
            <p:nvPr/>
          </p:nvSpPr>
          <p:spPr bwMode="auto">
            <a:xfrm>
              <a:off x="300" y="872"/>
              <a:ext cx="1847" cy="260"/>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l" defTabSz="957263"/>
              <a:r>
                <a:rPr lang="en-US" sz="1400" dirty="0">
                  <a:solidFill>
                    <a:srgbClr val="FFFFFF"/>
                  </a:solidFill>
                </a:rPr>
                <a:t>Text</a:t>
              </a:r>
            </a:p>
          </p:txBody>
        </p:sp>
        <p:sp>
          <p:nvSpPr>
            <p:cNvPr id="27" name="Rectangle 26"/>
            <p:cNvSpPr>
              <a:spLocks noChangeArrowheads="1"/>
            </p:cNvSpPr>
            <p:nvPr/>
          </p:nvSpPr>
          <p:spPr bwMode="auto">
            <a:xfrm>
              <a:off x="300" y="1132"/>
              <a:ext cx="1847" cy="1651"/>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grpSp>
        <p:nvGrpSpPr>
          <p:cNvPr id="4" name="Group 12"/>
          <p:cNvGrpSpPr>
            <a:grpSpLocks/>
          </p:cNvGrpSpPr>
          <p:nvPr/>
        </p:nvGrpSpPr>
        <p:grpSpPr bwMode="auto">
          <a:xfrm>
            <a:off x="6089650" y="3788518"/>
            <a:ext cx="2657475" cy="2015816"/>
            <a:chOff x="300" y="872"/>
            <a:chExt cx="1847" cy="1911"/>
          </a:xfrm>
        </p:grpSpPr>
        <p:sp>
          <p:nvSpPr>
            <p:cNvPr id="29" name="Text Box 10"/>
            <p:cNvSpPr txBox="1">
              <a:spLocks noChangeArrowheads="1"/>
            </p:cNvSpPr>
            <p:nvPr/>
          </p:nvSpPr>
          <p:spPr bwMode="auto">
            <a:xfrm>
              <a:off x="300" y="872"/>
              <a:ext cx="1847" cy="260"/>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l" defTabSz="957263"/>
              <a:r>
                <a:rPr lang="en-US" sz="1400" dirty="0">
                  <a:solidFill>
                    <a:srgbClr val="FFFFFF"/>
                  </a:solidFill>
                </a:rPr>
                <a:t>Text</a:t>
              </a:r>
            </a:p>
          </p:txBody>
        </p:sp>
        <p:sp>
          <p:nvSpPr>
            <p:cNvPr id="30" name="Rectangle 29"/>
            <p:cNvSpPr>
              <a:spLocks noChangeArrowheads="1"/>
            </p:cNvSpPr>
            <p:nvPr/>
          </p:nvSpPr>
          <p:spPr bwMode="auto">
            <a:xfrm>
              <a:off x="300" y="1132"/>
              <a:ext cx="1847" cy="1651"/>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grpSp>
        <p:nvGrpSpPr>
          <p:cNvPr id="5" name="Group 12"/>
          <p:cNvGrpSpPr>
            <a:grpSpLocks/>
          </p:cNvGrpSpPr>
          <p:nvPr/>
        </p:nvGrpSpPr>
        <p:grpSpPr bwMode="auto">
          <a:xfrm>
            <a:off x="396875" y="1584672"/>
            <a:ext cx="2657475" cy="2015816"/>
            <a:chOff x="300" y="872"/>
            <a:chExt cx="1847" cy="1911"/>
          </a:xfrm>
        </p:grpSpPr>
        <p:sp>
          <p:nvSpPr>
            <p:cNvPr id="32" name="Text Box 10"/>
            <p:cNvSpPr txBox="1">
              <a:spLocks noChangeArrowheads="1"/>
            </p:cNvSpPr>
            <p:nvPr/>
          </p:nvSpPr>
          <p:spPr bwMode="auto">
            <a:xfrm>
              <a:off x="300" y="872"/>
              <a:ext cx="1847" cy="260"/>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l" defTabSz="957263"/>
              <a:r>
                <a:rPr lang="en-US" sz="1400" dirty="0">
                  <a:solidFill>
                    <a:srgbClr val="FFFFFF"/>
                  </a:solidFill>
                </a:rPr>
                <a:t>Text</a:t>
              </a:r>
            </a:p>
          </p:txBody>
        </p:sp>
        <p:sp>
          <p:nvSpPr>
            <p:cNvPr id="33" name="Rectangle 32"/>
            <p:cNvSpPr>
              <a:spLocks noChangeArrowheads="1"/>
            </p:cNvSpPr>
            <p:nvPr/>
          </p:nvSpPr>
          <p:spPr bwMode="auto">
            <a:xfrm>
              <a:off x="300" y="1132"/>
              <a:ext cx="1847" cy="1651"/>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grpSp>
        <p:nvGrpSpPr>
          <p:cNvPr id="6" name="Group 12"/>
          <p:cNvGrpSpPr>
            <a:grpSpLocks/>
          </p:cNvGrpSpPr>
          <p:nvPr/>
        </p:nvGrpSpPr>
        <p:grpSpPr bwMode="auto">
          <a:xfrm>
            <a:off x="3243263" y="1584672"/>
            <a:ext cx="2657475" cy="2015816"/>
            <a:chOff x="300" y="872"/>
            <a:chExt cx="1847" cy="1911"/>
          </a:xfrm>
        </p:grpSpPr>
        <p:sp>
          <p:nvSpPr>
            <p:cNvPr id="35" name="Text Box 10"/>
            <p:cNvSpPr txBox="1">
              <a:spLocks noChangeArrowheads="1"/>
            </p:cNvSpPr>
            <p:nvPr/>
          </p:nvSpPr>
          <p:spPr bwMode="auto">
            <a:xfrm>
              <a:off x="300" y="872"/>
              <a:ext cx="1847" cy="260"/>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l" defTabSz="957263"/>
              <a:r>
                <a:rPr lang="en-US" sz="1400" dirty="0">
                  <a:solidFill>
                    <a:srgbClr val="FFFFFF"/>
                  </a:solidFill>
                </a:rPr>
                <a:t>Text</a:t>
              </a:r>
            </a:p>
          </p:txBody>
        </p:sp>
        <p:sp>
          <p:nvSpPr>
            <p:cNvPr id="36" name="Rectangle 35"/>
            <p:cNvSpPr>
              <a:spLocks noChangeArrowheads="1"/>
            </p:cNvSpPr>
            <p:nvPr/>
          </p:nvSpPr>
          <p:spPr bwMode="auto">
            <a:xfrm>
              <a:off x="300" y="1132"/>
              <a:ext cx="1847" cy="1651"/>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grpSp>
        <p:nvGrpSpPr>
          <p:cNvPr id="7" name="Group 12"/>
          <p:cNvGrpSpPr>
            <a:grpSpLocks/>
          </p:cNvGrpSpPr>
          <p:nvPr/>
        </p:nvGrpSpPr>
        <p:grpSpPr bwMode="auto">
          <a:xfrm>
            <a:off x="6087047" y="1584672"/>
            <a:ext cx="2657475" cy="2015816"/>
            <a:chOff x="300" y="872"/>
            <a:chExt cx="1847" cy="1911"/>
          </a:xfrm>
        </p:grpSpPr>
        <p:sp>
          <p:nvSpPr>
            <p:cNvPr id="38" name="Text Box 10"/>
            <p:cNvSpPr txBox="1">
              <a:spLocks noChangeArrowheads="1"/>
            </p:cNvSpPr>
            <p:nvPr/>
          </p:nvSpPr>
          <p:spPr bwMode="auto">
            <a:xfrm>
              <a:off x="300" y="872"/>
              <a:ext cx="1847" cy="260"/>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l" defTabSz="957263"/>
              <a:r>
                <a:rPr lang="en-US" sz="1400" dirty="0">
                  <a:solidFill>
                    <a:srgbClr val="FFFFFF"/>
                  </a:solidFill>
                </a:rPr>
                <a:t>Text</a:t>
              </a:r>
            </a:p>
          </p:txBody>
        </p:sp>
        <p:sp>
          <p:nvSpPr>
            <p:cNvPr id="39" name="Rectangle 38"/>
            <p:cNvSpPr>
              <a:spLocks noChangeArrowheads="1"/>
            </p:cNvSpPr>
            <p:nvPr/>
          </p:nvSpPr>
          <p:spPr bwMode="auto">
            <a:xfrm>
              <a:off x="300" y="1132"/>
              <a:ext cx="1847" cy="1651"/>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sp>
        <p:nvSpPr>
          <p:cNvPr id="23"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2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3121" name="Title 1"/>
          <p:cNvSpPr>
            <a:spLocks noGrp="1"/>
          </p:cNvSpPr>
          <p:nvPr>
            <p:ph type="title"/>
          </p:nvPr>
        </p:nvSpPr>
        <p:spPr/>
        <p:txBody>
          <a:bodyPr/>
          <a:lstStyle/>
          <a:p>
            <a:r>
              <a:rPr lang="en-GB"/>
              <a:t>Three Cs triangle</a:t>
            </a:r>
            <a:endParaRPr lang="nl-NL"/>
          </a:p>
        </p:txBody>
      </p:sp>
      <p:grpSp>
        <p:nvGrpSpPr>
          <p:cNvPr id="2" name="Group 50"/>
          <p:cNvGrpSpPr>
            <a:grpSpLocks/>
          </p:cNvGrpSpPr>
          <p:nvPr/>
        </p:nvGrpSpPr>
        <p:grpSpPr bwMode="auto">
          <a:xfrm>
            <a:off x="1819564" y="1389063"/>
            <a:ext cx="5384800" cy="4891087"/>
            <a:chOff x="2312988" y="1389063"/>
            <a:chExt cx="5376862" cy="4891087"/>
          </a:xfrm>
          <a:solidFill>
            <a:schemeClr val="accent3"/>
          </a:solidFill>
        </p:grpSpPr>
        <p:sp>
          <p:nvSpPr>
            <p:cNvPr id="10" name="Oval 9"/>
            <p:cNvSpPr>
              <a:spLocks noChangeArrowheads="1"/>
            </p:cNvSpPr>
            <p:nvPr/>
          </p:nvSpPr>
          <p:spPr bwMode="blackWhite">
            <a:xfrm>
              <a:off x="4334041" y="1389063"/>
              <a:ext cx="1314115" cy="1257300"/>
            </a:xfrm>
            <a:prstGeom prst="ellipse">
              <a:avLst/>
            </a:prstGeom>
            <a:grpFill/>
            <a:ln w="12700">
              <a:noFill/>
              <a:round/>
              <a:headEnd/>
              <a:tailEnd/>
            </a:ln>
          </p:spPr>
          <p:txBody>
            <a:bodyPr wrap="none" lIns="0" tIns="0" rIns="0" bIns="0" anchor="ctr"/>
            <a:lstStyle/>
            <a:p>
              <a:pPr algn="ctr" defTabSz="820738">
                <a:lnSpc>
                  <a:spcPct val="95000"/>
                </a:lnSpc>
                <a:spcAft>
                  <a:spcPct val="37000"/>
                </a:spcAft>
                <a:defRPr/>
              </a:pPr>
              <a:r>
                <a:rPr lang="en-GB" sz="1400" b="1" dirty="0">
                  <a:solidFill>
                    <a:schemeClr val="bg1"/>
                  </a:solidFill>
                  <a:ea typeface="ＭＳ Ｐゴシック" pitchFamily="50" charset="-128"/>
                </a:rPr>
                <a:t>Customer</a:t>
              </a:r>
            </a:p>
          </p:txBody>
        </p:sp>
        <p:sp>
          <p:nvSpPr>
            <p:cNvPr id="11" name="Oval 10"/>
            <p:cNvSpPr>
              <a:spLocks noChangeArrowheads="1"/>
            </p:cNvSpPr>
            <p:nvPr/>
          </p:nvSpPr>
          <p:spPr bwMode="blackWhite">
            <a:xfrm>
              <a:off x="2312988" y="4090988"/>
              <a:ext cx="1296914" cy="1257300"/>
            </a:xfrm>
            <a:prstGeom prst="ellipse">
              <a:avLst/>
            </a:prstGeom>
            <a:grpFill/>
            <a:ln w="12700">
              <a:noFill/>
              <a:round/>
              <a:headEnd/>
              <a:tailEnd/>
            </a:ln>
          </p:spPr>
          <p:txBody>
            <a:bodyPr wrap="none" lIns="0" tIns="0" rIns="0" bIns="0" anchor="ctr"/>
            <a:lstStyle/>
            <a:p>
              <a:pPr algn="ctr" defTabSz="820738">
                <a:lnSpc>
                  <a:spcPct val="95000"/>
                </a:lnSpc>
                <a:spcAft>
                  <a:spcPct val="37000"/>
                </a:spcAft>
                <a:defRPr/>
              </a:pPr>
              <a:r>
                <a:rPr lang="en-GB" sz="1400" b="1">
                  <a:solidFill>
                    <a:schemeClr val="bg1"/>
                  </a:solidFill>
                  <a:ea typeface="ＭＳ Ｐゴシック" pitchFamily="50" charset="-128"/>
                </a:rPr>
                <a:t>Clients</a:t>
              </a:r>
            </a:p>
          </p:txBody>
        </p:sp>
        <p:sp>
          <p:nvSpPr>
            <p:cNvPr id="14" name="Oval 13"/>
            <p:cNvSpPr>
              <a:spLocks noChangeArrowheads="1"/>
            </p:cNvSpPr>
            <p:nvPr/>
          </p:nvSpPr>
          <p:spPr bwMode="blackWhite">
            <a:xfrm>
              <a:off x="4332321" y="3125788"/>
              <a:ext cx="1317555" cy="1258887"/>
            </a:xfrm>
            <a:prstGeom prst="ellipse">
              <a:avLst/>
            </a:prstGeom>
            <a:grpFill/>
            <a:ln w="12700">
              <a:noFill/>
              <a:round/>
              <a:headEnd/>
              <a:tailEnd/>
            </a:ln>
          </p:spPr>
          <p:txBody>
            <a:bodyPr wrap="none" lIns="0" tIns="0" rIns="0" bIns="0" anchor="ctr"/>
            <a:lstStyle/>
            <a:p>
              <a:pPr algn="ctr" defTabSz="820738">
                <a:lnSpc>
                  <a:spcPct val="95000"/>
                </a:lnSpc>
                <a:spcAft>
                  <a:spcPct val="37000"/>
                </a:spcAft>
                <a:defRPr/>
              </a:pPr>
              <a:r>
                <a:rPr lang="en-GB" sz="1400" b="1">
                  <a:solidFill>
                    <a:schemeClr val="bg1"/>
                  </a:solidFill>
                  <a:ea typeface="ＭＳ Ｐゴシック" pitchFamily="50" charset="-128"/>
                </a:rPr>
                <a:t>Distributors</a:t>
              </a:r>
            </a:p>
          </p:txBody>
        </p:sp>
        <p:sp>
          <p:nvSpPr>
            <p:cNvPr id="15" name="Oval 14"/>
            <p:cNvSpPr>
              <a:spLocks noChangeArrowheads="1"/>
            </p:cNvSpPr>
            <p:nvPr/>
          </p:nvSpPr>
          <p:spPr bwMode="blackWhite">
            <a:xfrm>
              <a:off x="6392936" y="4090988"/>
              <a:ext cx="1296914" cy="1257300"/>
            </a:xfrm>
            <a:prstGeom prst="ellipse">
              <a:avLst/>
            </a:prstGeom>
            <a:grpFill/>
            <a:ln w="12700">
              <a:noFill/>
              <a:round/>
              <a:headEnd/>
              <a:tailEnd/>
            </a:ln>
          </p:spPr>
          <p:txBody>
            <a:bodyPr wrap="none" lIns="0" tIns="0" rIns="0" bIns="0" anchor="ctr"/>
            <a:lstStyle/>
            <a:p>
              <a:pPr algn="ctr" defTabSz="820738">
                <a:lnSpc>
                  <a:spcPct val="95000"/>
                </a:lnSpc>
                <a:spcAft>
                  <a:spcPct val="37000"/>
                </a:spcAft>
                <a:defRPr/>
              </a:pPr>
              <a:r>
                <a:rPr lang="en-GB" sz="1400" b="1">
                  <a:solidFill>
                    <a:schemeClr val="bg1"/>
                  </a:solidFill>
                  <a:ea typeface="ＭＳ Ｐゴシック" pitchFamily="50" charset="-128"/>
                </a:rPr>
                <a:t>Competitors</a:t>
              </a:r>
            </a:p>
          </p:txBody>
        </p:sp>
        <p:sp>
          <p:nvSpPr>
            <p:cNvPr id="16" name="Oval 15"/>
            <p:cNvSpPr>
              <a:spLocks noChangeArrowheads="1"/>
            </p:cNvSpPr>
            <p:nvPr/>
          </p:nvSpPr>
          <p:spPr bwMode="blackWhite">
            <a:xfrm>
              <a:off x="4332321" y="5022850"/>
              <a:ext cx="1317555" cy="1257300"/>
            </a:xfrm>
            <a:prstGeom prst="ellipse">
              <a:avLst/>
            </a:prstGeom>
            <a:grpFill/>
            <a:ln w="12700">
              <a:noFill/>
              <a:round/>
              <a:headEnd/>
              <a:tailEnd/>
            </a:ln>
          </p:spPr>
          <p:txBody>
            <a:bodyPr wrap="none" lIns="0" tIns="0" rIns="0" bIns="0" anchor="ctr"/>
            <a:lstStyle/>
            <a:p>
              <a:pPr algn="ctr" defTabSz="820738">
                <a:lnSpc>
                  <a:spcPct val="95000"/>
                </a:lnSpc>
                <a:spcAft>
                  <a:spcPct val="37000"/>
                </a:spcAft>
                <a:defRPr/>
              </a:pPr>
              <a:r>
                <a:rPr lang="en-GB" sz="1400" b="1">
                  <a:solidFill>
                    <a:schemeClr val="bg1"/>
                  </a:solidFill>
                  <a:ea typeface="ＭＳ Ｐゴシック" pitchFamily="50" charset="-128"/>
                </a:rPr>
                <a:t>Suppliers</a:t>
              </a:r>
            </a:p>
          </p:txBody>
        </p:sp>
        <p:cxnSp>
          <p:nvCxnSpPr>
            <p:cNvPr id="21" name="Straight Arrow Connector 20"/>
            <p:cNvCxnSpPr>
              <a:stCxn id="10" idx="5"/>
              <a:endCxn id="15" idx="0"/>
            </p:cNvCxnSpPr>
            <p:nvPr/>
          </p:nvCxnSpPr>
          <p:spPr>
            <a:xfrm rot="16200000" flipH="1">
              <a:off x="5434064" y="2483660"/>
              <a:ext cx="1628775" cy="1585882"/>
            </a:xfrm>
            <a:prstGeom prst="straightConnector1">
              <a:avLst/>
            </a:prstGeom>
            <a:grpFill/>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0" idx="3"/>
              <a:endCxn id="11" idx="0"/>
            </p:cNvCxnSpPr>
            <p:nvPr/>
          </p:nvCxnSpPr>
          <p:spPr>
            <a:xfrm rot="5400000">
              <a:off x="2929678" y="2493980"/>
              <a:ext cx="1628775" cy="1565241"/>
            </a:xfrm>
            <a:prstGeom prst="straightConnector1">
              <a:avLst/>
            </a:prstGeom>
            <a:grpFill/>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0" idx="4"/>
              <a:endCxn id="14" idx="0"/>
            </p:cNvCxnSpPr>
            <p:nvPr/>
          </p:nvCxnSpPr>
          <p:spPr>
            <a:xfrm rot="16200000" flipH="1">
              <a:off x="4751385" y="2886076"/>
              <a:ext cx="479425" cy="0"/>
            </a:xfrm>
            <a:prstGeom prst="straightConnector1">
              <a:avLst/>
            </a:prstGeom>
            <a:grpFill/>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4" idx="2"/>
              <a:endCxn id="11" idx="7"/>
            </p:cNvCxnSpPr>
            <p:nvPr/>
          </p:nvCxnSpPr>
          <p:spPr>
            <a:xfrm rot="10800000" flipV="1">
              <a:off x="3420697" y="3754438"/>
              <a:ext cx="911624" cy="520700"/>
            </a:xfrm>
            <a:prstGeom prst="straightConnector1">
              <a:avLst/>
            </a:prstGeom>
            <a:grpFill/>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4" idx="6"/>
              <a:endCxn id="15" idx="1"/>
            </p:cNvCxnSpPr>
            <p:nvPr/>
          </p:nvCxnSpPr>
          <p:spPr>
            <a:xfrm>
              <a:off x="5649876" y="3756025"/>
              <a:ext cx="932265" cy="519113"/>
            </a:xfrm>
            <a:prstGeom prst="straightConnector1">
              <a:avLst/>
            </a:prstGeom>
            <a:grpFill/>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5" idx="2"/>
              <a:endCxn id="11" idx="6"/>
            </p:cNvCxnSpPr>
            <p:nvPr/>
          </p:nvCxnSpPr>
          <p:spPr>
            <a:xfrm rot="10800000">
              <a:off x="3609902" y="4719638"/>
              <a:ext cx="2783033" cy="1587"/>
            </a:xfrm>
            <a:prstGeom prst="straightConnector1">
              <a:avLst/>
            </a:prstGeom>
            <a:grpFill/>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16" idx="2"/>
              <a:endCxn id="11" idx="5"/>
            </p:cNvCxnSpPr>
            <p:nvPr/>
          </p:nvCxnSpPr>
          <p:spPr>
            <a:xfrm rot="10800000">
              <a:off x="3420697" y="5164138"/>
              <a:ext cx="911624" cy="487362"/>
            </a:xfrm>
            <a:prstGeom prst="straightConnector1">
              <a:avLst/>
            </a:prstGeom>
            <a:grpFill/>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endCxn id="16" idx="6"/>
            </p:cNvCxnSpPr>
            <p:nvPr/>
          </p:nvCxnSpPr>
          <p:spPr>
            <a:xfrm rot="10800000" flipV="1">
              <a:off x="5649876" y="5121275"/>
              <a:ext cx="829062" cy="530225"/>
            </a:xfrm>
            <a:prstGeom prst="straightConnector1">
              <a:avLst/>
            </a:prstGeom>
            <a:grpFill/>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2"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4145" name="Title 1"/>
          <p:cNvSpPr>
            <a:spLocks noGrp="1"/>
          </p:cNvSpPr>
          <p:nvPr>
            <p:ph type="title"/>
          </p:nvPr>
        </p:nvSpPr>
        <p:spPr/>
        <p:txBody>
          <a:bodyPr/>
          <a:lstStyle/>
          <a:p>
            <a:r>
              <a:rPr lang="en-GB"/>
              <a:t>Value creation</a:t>
            </a:r>
            <a:endParaRPr lang="nl-NL"/>
          </a:p>
        </p:txBody>
      </p:sp>
      <p:grpSp>
        <p:nvGrpSpPr>
          <p:cNvPr id="2" name="Group 3"/>
          <p:cNvGrpSpPr>
            <a:grpSpLocks/>
          </p:cNvGrpSpPr>
          <p:nvPr/>
        </p:nvGrpSpPr>
        <p:grpSpPr bwMode="auto">
          <a:xfrm>
            <a:off x="1899542" y="1592271"/>
            <a:ext cx="5247542" cy="4297362"/>
            <a:chOff x="1166" y="1131"/>
            <a:chExt cx="3581" cy="2707"/>
          </a:xfrm>
          <a:solidFill>
            <a:schemeClr val="accent3"/>
          </a:solidFill>
        </p:grpSpPr>
        <p:sp>
          <p:nvSpPr>
            <p:cNvPr id="5" name="Line 4"/>
            <p:cNvSpPr>
              <a:spLocks noChangeShapeType="1"/>
            </p:cNvSpPr>
            <p:nvPr/>
          </p:nvSpPr>
          <p:spPr bwMode="blackWhite">
            <a:xfrm>
              <a:off x="2992" y="2323"/>
              <a:ext cx="0" cy="1247"/>
            </a:xfrm>
            <a:prstGeom prst="line">
              <a:avLst/>
            </a:prstGeom>
            <a:grpFill/>
            <a:ln w="12700">
              <a:solidFill>
                <a:schemeClr val="tx2"/>
              </a:solidFill>
              <a:round/>
              <a:headEnd type="none" w="sm" len="sm"/>
              <a:tailEnd type="none" w="sm" len="sm"/>
            </a:ln>
          </p:spPr>
          <p:txBody>
            <a:bodyPr lIns="0" tIns="0" rIns="0" bIns="0" anchor="ctr">
              <a:spAutoFit/>
            </a:bodyPr>
            <a:lstStyle/>
            <a:p>
              <a:pPr>
                <a:defRPr/>
              </a:pPr>
              <a:endParaRPr lang="en-GB">
                <a:solidFill>
                  <a:schemeClr val="bg1"/>
                </a:solidFill>
              </a:endParaRPr>
            </a:p>
          </p:txBody>
        </p:sp>
        <p:sp>
          <p:nvSpPr>
            <p:cNvPr id="6" name="Line 5"/>
            <p:cNvSpPr>
              <a:spLocks noChangeShapeType="1"/>
            </p:cNvSpPr>
            <p:nvPr/>
          </p:nvSpPr>
          <p:spPr bwMode="blackWhite">
            <a:xfrm>
              <a:off x="1843" y="1645"/>
              <a:ext cx="2173" cy="1344"/>
            </a:xfrm>
            <a:prstGeom prst="line">
              <a:avLst/>
            </a:prstGeom>
            <a:grpFill/>
            <a:ln w="12700">
              <a:solidFill>
                <a:schemeClr val="tx2"/>
              </a:solidFill>
              <a:round/>
              <a:headEnd type="none" w="sm" len="sm"/>
              <a:tailEnd type="none" w="sm" len="sm"/>
            </a:ln>
          </p:spPr>
          <p:txBody>
            <a:bodyPr lIns="0" tIns="0" rIns="0" bIns="0" anchor="ctr">
              <a:spAutoFit/>
            </a:bodyPr>
            <a:lstStyle/>
            <a:p>
              <a:pPr>
                <a:defRPr/>
              </a:pPr>
              <a:endParaRPr lang="en-GB">
                <a:solidFill>
                  <a:schemeClr val="bg1"/>
                </a:solidFill>
              </a:endParaRPr>
            </a:p>
          </p:txBody>
        </p:sp>
        <p:sp>
          <p:nvSpPr>
            <p:cNvPr id="7" name="Line 6"/>
            <p:cNvSpPr>
              <a:spLocks noChangeShapeType="1"/>
            </p:cNvSpPr>
            <p:nvPr/>
          </p:nvSpPr>
          <p:spPr bwMode="blackWhite">
            <a:xfrm flipV="1">
              <a:off x="1843" y="1646"/>
              <a:ext cx="2173" cy="1345"/>
            </a:xfrm>
            <a:prstGeom prst="line">
              <a:avLst/>
            </a:prstGeom>
            <a:grpFill/>
            <a:ln w="12700">
              <a:solidFill>
                <a:schemeClr val="tx2"/>
              </a:solidFill>
              <a:round/>
              <a:headEnd type="none" w="sm" len="sm"/>
              <a:tailEnd type="none" w="sm" len="sm"/>
            </a:ln>
          </p:spPr>
          <p:txBody>
            <a:bodyPr lIns="0" tIns="0" rIns="0" bIns="0" anchor="ctr">
              <a:spAutoFit/>
            </a:bodyPr>
            <a:lstStyle/>
            <a:p>
              <a:pPr>
                <a:defRPr/>
              </a:pPr>
              <a:endParaRPr lang="en-GB">
                <a:solidFill>
                  <a:schemeClr val="bg1"/>
                </a:solidFill>
              </a:endParaRPr>
            </a:p>
          </p:txBody>
        </p:sp>
        <p:sp>
          <p:nvSpPr>
            <p:cNvPr id="9" name="Oval 8"/>
            <p:cNvSpPr>
              <a:spLocks noChangeArrowheads="1"/>
            </p:cNvSpPr>
            <p:nvPr/>
          </p:nvSpPr>
          <p:spPr bwMode="blackWhite">
            <a:xfrm>
              <a:off x="2340" y="3165"/>
              <a:ext cx="1306" cy="673"/>
            </a:xfrm>
            <a:prstGeom prst="ellipse">
              <a:avLst/>
            </a:prstGeom>
            <a:grpFill/>
            <a:ln w="12700">
              <a:solidFill>
                <a:schemeClr val="bg1"/>
              </a:solidFill>
              <a:round/>
              <a:headEnd/>
              <a:tailEnd/>
            </a:ln>
          </p:spPr>
          <p:txBody>
            <a:bodyPr lIns="0" tIns="0" rIns="0" bIns="0" anchor="ctr"/>
            <a:lstStyle/>
            <a:p>
              <a:pPr algn="ctr" defTabSz="820738">
                <a:spcBef>
                  <a:spcPts val="0"/>
                </a:spcBef>
                <a:defRPr/>
              </a:pPr>
              <a:r>
                <a:rPr lang="en-GB" sz="1400" b="1" dirty="0">
                  <a:solidFill>
                    <a:schemeClr val="bg1"/>
                  </a:solidFill>
                  <a:ea typeface="ＭＳ Ｐゴシック" pitchFamily="50" charset="-128"/>
                </a:rPr>
                <a:t>Grow</a:t>
              </a:r>
            </a:p>
            <a:p>
              <a:pPr algn="ctr" defTabSz="820738">
                <a:spcBef>
                  <a:spcPts val="0"/>
                </a:spcBef>
                <a:defRPr/>
              </a:pPr>
              <a:r>
                <a:rPr lang="en-GB" sz="1400" b="1" dirty="0" smtClean="0">
                  <a:solidFill>
                    <a:schemeClr val="bg1"/>
                  </a:solidFill>
                  <a:ea typeface="ＭＳ Ｐゴシック" pitchFamily="50" charset="-128"/>
                </a:rPr>
                <a:t>through cultural</a:t>
              </a:r>
              <a:endParaRPr lang="en-GB" sz="1400" b="1" dirty="0">
                <a:solidFill>
                  <a:schemeClr val="bg1"/>
                </a:solidFill>
                <a:ea typeface="ＭＳ Ｐゴシック" pitchFamily="50" charset="-128"/>
              </a:endParaRPr>
            </a:p>
            <a:p>
              <a:pPr algn="ctr" defTabSz="820738">
                <a:spcBef>
                  <a:spcPts val="0"/>
                </a:spcBef>
                <a:defRPr/>
              </a:pPr>
              <a:r>
                <a:rPr lang="en-GB" sz="1400" b="1" dirty="0">
                  <a:solidFill>
                    <a:schemeClr val="bg1"/>
                  </a:solidFill>
                  <a:ea typeface="ＭＳ Ｐゴシック" pitchFamily="50" charset="-128"/>
                </a:rPr>
                <a:t>initiative</a:t>
              </a:r>
            </a:p>
          </p:txBody>
        </p:sp>
        <p:sp>
          <p:nvSpPr>
            <p:cNvPr id="10" name="Oval 9"/>
            <p:cNvSpPr>
              <a:spLocks noChangeArrowheads="1"/>
            </p:cNvSpPr>
            <p:nvPr/>
          </p:nvSpPr>
          <p:spPr bwMode="blackWhite">
            <a:xfrm>
              <a:off x="3432" y="1131"/>
              <a:ext cx="1315" cy="675"/>
            </a:xfrm>
            <a:prstGeom prst="ellipse">
              <a:avLst/>
            </a:prstGeom>
            <a:grpFill/>
            <a:ln w="12700">
              <a:solidFill>
                <a:schemeClr val="bg1"/>
              </a:solidFill>
              <a:round/>
              <a:headEnd/>
              <a:tailEnd/>
            </a:ln>
          </p:spPr>
          <p:txBody>
            <a:bodyPr lIns="0" tIns="0" rIns="0" bIns="0" anchor="ctr"/>
            <a:lstStyle/>
            <a:p>
              <a:pPr algn="ctr" defTabSz="820738">
                <a:spcBef>
                  <a:spcPts val="0"/>
                </a:spcBef>
                <a:defRPr/>
              </a:pPr>
              <a:r>
                <a:rPr lang="en-GB" sz="1400" b="1" dirty="0">
                  <a:solidFill>
                    <a:schemeClr val="bg1"/>
                  </a:solidFill>
                  <a:ea typeface="ＭＳ Ｐゴシック" pitchFamily="50" charset="-128"/>
                </a:rPr>
                <a:t>Redeploy</a:t>
              </a:r>
            </a:p>
            <a:p>
              <a:pPr algn="ctr" defTabSz="820738">
                <a:spcBef>
                  <a:spcPts val="0"/>
                </a:spcBef>
                <a:defRPr/>
              </a:pPr>
              <a:r>
                <a:rPr lang="en-GB" sz="1400" b="1" dirty="0">
                  <a:solidFill>
                    <a:schemeClr val="bg1"/>
                  </a:solidFill>
                  <a:ea typeface="ＭＳ Ｐゴシック" pitchFamily="50" charset="-128"/>
                </a:rPr>
                <a:t>assets</a:t>
              </a:r>
            </a:p>
          </p:txBody>
        </p:sp>
        <p:sp>
          <p:nvSpPr>
            <p:cNvPr id="11" name="Oval 10"/>
            <p:cNvSpPr>
              <a:spLocks noChangeArrowheads="1"/>
            </p:cNvSpPr>
            <p:nvPr/>
          </p:nvSpPr>
          <p:spPr bwMode="blackWhite">
            <a:xfrm>
              <a:off x="1166" y="1131"/>
              <a:ext cx="1315" cy="675"/>
            </a:xfrm>
            <a:prstGeom prst="ellipse">
              <a:avLst/>
            </a:prstGeom>
            <a:grpFill/>
            <a:ln w="12700">
              <a:solidFill>
                <a:schemeClr val="bg1"/>
              </a:solidFill>
              <a:round/>
              <a:headEnd/>
              <a:tailEnd/>
            </a:ln>
          </p:spPr>
          <p:txBody>
            <a:bodyPr lIns="0" tIns="0" rIns="0" bIns="0" anchor="ctr"/>
            <a:lstStyle/>
            <a:p>
              <a:pPr algn="ctr" defTabSz="820738">
                <a:spcBef>
                  <a:spcPts val="0"/>
                </a:spcBef>
                <a:defRPr/>
              </a:pPr>
              <a:r>
                <a:rPr lang="en-GB" sz="1400" b="1" dirty="0">
                  <a:solidFill>
                    <a:schemeClr val="bg1"/>
                  </a:solidFill>
                  <a:ea typeface="ＭＳ Ｐゴシック" pitchFamily="50" charset="-128"/>
                </a:rPr>
                <a:t>Improve core</a:t>
              </a:r>
            </a:p>
            <a:p>
              <a:pPr algn="ctr" defTabSz="820738">
                <a:spcBef>
                  <a:spcPts val="0"/>
                </a:spcBef>
                <a:defRPr/>
              </a:pPr>
              <a:r>
                <a:rPr lang="en-GB" sz="1400" b="1" dirty="0">
                  <a:solidFill>
                    <a:schemeClr val="bg1"/>
                  </a:solidFill>
                  <a:ea typeface="ＭＳ Ｐゴシック" pitchFamily="50" charset="-128"/>
                </a:rPr>
                <a:t>business</a:t>
              </a:r>
            </a:p>
            <a:p>
              <a:pPr algn="ctr" defTabSz="820738">
                <a:spcBef>
                  <a:spcPts val="0"/>
                </a:spcBef>
                <a:defRPr/>
              </a:pPr>
              <a:r>
                <a:rPr lang="en-GB" sz="1400" b="1" dirty="0">
                  <a:solidFill>
                    <a:schemeClr val="bg1"/>
                  </a:solidFill>
                  <a:ea typeface="ＭＳ Ｐゴシック" pitchFamily="50" charset="-128"/>
                </a:rPr>
                <a:t>performance</a:t>
              </a:r>
            </a:p>
          </p:txBody>
        </p:sp>
        <p:sp>
          <p:nvSpPr>
            <p:cNvPr id="12" name="Oval 11"/>
            <p:cNvSpPr>
              <a:spLocks noChangeArrowheads="1"/>
            </p:cNvSpPr>
            <p:nvPr/>
          </p:nvSpPr>
          <p:spPr bwMode="blackWhite">
            <a:xfrm>
              <a:off x="3436" y="2719"/>
              <a:ext cx="1311" cy="573"/>
            </a:xfrm>
            <a:prstGeom prst="ellipse">
              <a:avLst/>
            </a:prstGeom>
            <a:grpFill/>
            <a:ln w="12700">
              <a:solidFill>
                <a:schemeClr val="bg1"/>
              </a:solidFill>
              <a:round/>
              <a:headEnd/>
              <a:tailEnd/>
            </a:ln>
          </p:spPr>
          <p:txBody>
            <a:bodyPr lIns="0" tIns="0" rIns="0" bIns="0" anchor="ctr">
              <a:spAutoFit/>
            </a:bodyPr>
            <a:lstStyle/>
            <a:p>
              <a:pPr algn="ctr" defTabSz="820738">
                <a:spcBef>
                  <a:spcPts val="0"/>
                </a:spcBef>
                <a:defRPr/>
              </a:pPr>
              <a:r>
                <a:rPr lang="en-GB" sz="1400" b="1" dirty="0">
                  <a:solidFill>
                    <a:schemeClr val="bg1"/>
                  </a:solidFill>
                  <a:ea typeface="ＭＳ Ｐゴシック" pitchFamily="50" charset="-128"/>
                </a:rPr>
                <a:t>Grow through</a:t>
              </a:r>
            </a:p>
            <a:p>
              <a:pPr algn="ctr" defTabSz="820738">
                <a:spcBef>
                  <a:spcPts val="0"/>
                </a:spcBef>
                <a:defRPr/>
              </a:pPr>
              <a:r>
                <a:rPr lang="en-GB" sz="1400" b="1" dirty="0">
                  <a:solidFill>
                    <a:schemeClr val="bg1"/>
                  </a:solidFill>
                  <a:ea typeface="ＭＳ Ｐゴシック" pitchFamily="50" charset="-128"/>
                </a:rPr>
                <a:t>acquisition</a:t>
              </a:r>
            </a:p>
            <a:p>
              <a:pPr algn="ctr" defTabSz="820738">
                <a:spcBef>
                  <a:spcPts val="0"/>
                </a:spcBef>
                <a:defRPr/>
              </a:pPr>
              <a:r>
                <a:rPr lang="en-GB" sz="1400" b="1" dirty="0">
                  <a:solidFill>
                    <a:schemeClr val="bg1"/>
                  </a:solidFill>
                  <a:ea typeface="ＭＳ Ｐゴシック" pitchFamily="50" charset="-128"/>
                </a:rPr>
                <a:t>and/or merger</a:t>
              </a:r>
            </a:p>
          </p:txBody>
        </p:sp>
        <p:sp>
          <p:nvSpPr>
            <p:cNvPr id="13" name="Oval 12"/>
            <p:cNvSpPr>
              <a:spLocks noChangeArrowheads="1"/>
            </p:cNvSpPr>
            <p:nvPr/>
          </p:nvSpPr>
          <p:spPr bwMode="blackWhite">
            <a:xfrm>
              <a:off x="1166" y="2666"/>
              <a:ext cx="1315" cy="675"/>
            </a:xfrm>
            <a:prstGeom prst="ellipse">
              <a:avLst/>
            </a:prstGeom>
            <a:grpFill/>
            <a:ln w="12700">
              <a:solidFill>
                <a:schemeClr val="bg1"/>
              </a:solidFill>
              <a:round/>
              <a:headEnd/>
              <a:tailEnd/>
            </a:ln>
          </p:spPr>
          <p:txBody>
            <a:bodyPr lIns="0" tIns="0" rIns="0" bIns="0" anchor="ctr"/>
            <a:lstStyle/>
            <a:p>
              <a:pPr algn="ctr" defTabSz="820738">
                <a:spcBef>
                  <a:spcPts val="0"/>
                </a:spcBef>
                <a:defRPr/>
              </a:pPr>
              <a:r>
                <a:rPr lang="en-GB" sz="1400" b="1" dirty="0">
                  <a:solidFill>
                    <a:schemeClr val="bg1"/>
                  </a:solidFill>
                  <a:ea typeface="ＭＳ Ｐゴシック" pitchFamily="50" charset="-128"/>
                </a:rPr>
                <a:t>Adopt sound</a:t>
              </a:r>
            </a:p>
            <a:p>
              <a:pPr algn="ctr" defTabSz="820738">
                <a:spcBef>
                  <a:spcPts val="0"/>
                </a:spcBef>
                <a:defRPr/>
              </a:pPr>
              <a:r>
                <a:rPr lang="en-GB" sz="1400" b="1" dirty="0">
                  <a:solidFill>
                    <a:schemeClr val="bg1"/>
                  </a:solidFill>
                  <a:ea typeface="ＭＳ Ｐゴシック" pitchFamily="50" charset="-128"/>
                </a:rPr>
                <a:t>financing</a:t>
              </a:r>
            </a:p>
            <a:p>
              <a:pPr algn="ctr" defTabSz="820738">
                <a:spcBef>
                  <a:spcPts val="0"/>
                </a:spcBef>
                <a:defRPr/>
              </a:pPr>
              <a:r>
                <a:rPr lang="en-GB" sz="1400" b="1" dirty="0">
                  <a:solidFill>
                    <a:schemeClr val="bg1"/>
                  </a:solidFill>
                  <a:ea typeface="ＭＳ Ｐゴシック" pitchFamily="50" charset="-128"/>
                </a:rPr>
                <a:t>approach</a:t>
              </a:r>
            </a:p>
          </p:txBody>
        </p:sp>
        <p:sp>
          <p:nvSpPr>
            <p:cNvPr id="8" name="Oval 7"/>
            <p:cNvSpPr>
              <a:spLocks noChangeArrowheads="1"/>
            </p:cNvSpPr>
            <p:nvPr/>
          </p:nvSpPr>
          <p:spPr bwMode="blackWhite">
            <a:xfrm>
              <a:off x="2343" y="1898"/>
              <a:ext cx="1306" cy="676"/>
            </a:xfrm>
            <a:prstGeom prst="ellipse">
              <a:avLst/>
            </a:prstGeom>
            <a:grpFill/>
            <a:ln w="12700">
              <a:solidFill>
                <a:schemeClr val="bg1"/>
              </a:solidFill>
              <a:round/>
              <a:headEnd/>
              <a:tailEnd/>
            </a:ln>
          </p:spPr>
          <p:txBody>
            <a:bodyPr lIns="0" tIns="0" rIns="0" bIns="0" anchor="ctr"/>
            <a:lstStyle/>
            <a:p>
              <a:pPr algn="ctr" defTabSz="820738">
                <a:spcBef>
                  <a:spcPts val="0"/>
                </a:spcBef>
                <a:defRPr/>
              </a:pPr>
              <a:r>
                <a:rPr lang="en-GB" sz="1400" b="1" dirty="0">
                  <a:solidFill>
                    <a:schemeClr val="bg1"/>
                  </a:solidFill>
                  <a:ea typeface="ＭＳ Ｐゴシック" pitchFamily="50" charset="-128"/>
                </a:rPr>
                <a:t>Maximize</a:t>
              </a:r>
            </a:p>
            <a:p>
              <a:pPr algn="ctr" defTabSz="820738">
                <a:spcBef>
                  <a:spcPts val="0"/>
                </a:spcBef>
                <a:defRPr/>
              </a:pPr>
              <a:r>
                <a:rPr lang="en-GB" sz="1400" b="1" dirty="0">
                  <a:solidFill>
                    <a:schemeClr val="bg1"/>
                  </a:solidFill>
                  <a:ea typeface="ＭＳ Ｐゴシック" pitchFamily="50" charset="-128"/>
                </a:rPr>
                <a:t>shareholder</a:t>
              </a:r>
            </a:p>
            <a:p>
              <a:pPr algn="ctr" defTabSz="820738">
                <a:spcBef>
                  <a:spcPts val="0"/>
                </a:spcBef>
                <a:defRPr/>
              </a:pPr>
              <a:r>
                <a:rPr lang="en-GB" sz="1400" b="1" dirty="0">
                  <a:solidFill>
                    <a:schemeClr val="bg1"/>
                  </a:solidFill>
                  <a:ea typeface="ＭＳ Ｐゴシック" pitchFamily="50" charset="-128"/>
                </a:rPr>
                <a:t>value</a:t>
              </a:r>
            </a:p>
          </p:txBody>
        </p:sp>
      </p:grpSp>
      <p:sp>
        <p:nvSpPr>
          <p:cNvPr id="16"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7"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5169" name="Title 1"/>
          <p:cNvSpPr>
            <a:spLocks noGrp="1"/>
          </p:cNvSpPr>
          <p:nvPr>
            <p:ph type="title"/>
          </p:nvPr>
        </p:nvSpPr>
        <p:spPr/>
        <p:txBody>
          <a:bodyPr/>
          <a:lstStyle/>
          <a:p>
            <a:r>
              <a:rPr lang="en-GB" altLang="ja-JP"/>
              <a:t>Portfolio matrix</a:t>
            </a:r>
            <a:endParaRPr lang="nl-NL"/>
          </a:p>
        </p:txBody>
      </p:sp>
      <p:sp>
        <p:nvSpPr>
          <p:cNvPr id="775171" name="Rectangle 3"/>
          <p:cNvSpPr>
            <a:spLocks noChangeArrowheads="1"/>
          </p:cNvSpPr>
          <p:nvPr/>
        </p:nvSpPr>
        <p:spPr bwMode="auto">
          <a:xfrm>
            <a:off x="3060307" y="5046857"/>
            <a:ext cx="3417090" cy="430887"/>
          </a:xfrm>
          <a:prstGeom prst="rect">
            <a:avLst/>
          </a:prstGeom>
          <a:noFill/>
          <a:ln w="9525">
            <a:noFill/>
            <a:miter lim="800000"/>
            <a:headEnd/>
            <a:tailEnd/>
          </a:ln>
        </p:spPr>
        <p:txBody>
          <a:bodyPr wrap="none" lIns="0" tIns="0" rIns="0" bIns="0">
            <a:spAutoFit/>
          </a:bodyPr>
          <a:lstStyle/>
          <a:p>
            <a:pPr algn="ctr">
              <a:spcBef>
                <a:spcPts val="0"/>
              </a:spcBef>
            </a:pPr>
            <a:r>
              <a:rPr lang="en-GB" altLang="ja-JP" sz="1400" b="1" dirty="0">
                <a:solidFill>
                  <a:schemeClr val="tx2"/>
                </a:solidFill>
                <a:ea typeface="ＭＳ Ｐゴシック" charset="-128"/>
              </a:rPr>
              <a:t>Competitive </a:t>
            </a:r>
            <a:r>
              <a:rPr lang="en-GB" altLang="ja-JP" sz="1400" b="1" dirty="0" smtClean="0">
                <a:solidFill>
                  <a:schemeClr val="tx2"/>
                </a:solidFill>
                <a:ea typeface="ＭＳ Ｐゴシック" charset="-128"/>
              </a:rPr>
              <a:t>position</a:t>
            </a:r>
            <a:endParaRPr lang="en-GB" altLang="ja-JP" sz="1400" b="1" dirty="0">
              <a:solidFill>
                <a:schemeClr val="tx2"/>
              </a:solidFill>
              <a:ea typeface="ＭＳ Ｐゴシック" charset="-128"/>
            </a:endParaRPr>
          </a:p>
          <a:p>
            <a:pPr algn="ctr">
              <a:spcBef>
                <a:spcPts val="0"/>
              </a:spcBef>
            </a:pPr>
            <a:r>
              <a:rPr lang="en-GB" altLang="ja-JP" sz="1400" b="1" dirty="0" smtClean="0">
                <a:solidFill>
                  <a:schemeClr val="tx2"/>
                </a:solidFill>
                <a:ea typeface="ＭＳ Ｐゴシック" charset="-128"/>
              </a:rPr>
              <a:t>(returns </a:t>
            </a:r>
            <a:r>
              <a:rPr lang="en-GB" altLang="ja-JP" sz="1400" b="1" dirty="0">
                <a:solidFill>
                  <a:schemeClr val="tx2"/>
                </a:solidFill>
                <a:ea typeface="ＭＳ Ｐゴシック" charset="-128"/>
              </a:rPr>
              <a:t>compared to </a:t>
            </a:r>
            <a:r>
              <a:rPr lang="en-GB" altLang="ja-JP" sz="1400" b="1" dirty="0" smtClean="0">
                <a:solidFill>
                  <a:schemeClr val="tx2"/>
                </a:solidFill>
                <a:ea typeface="ＭＳ Ｐゴシック" charset="-128"/>
              </a:rPr>
              <a:t>industry average</a:t>
            </a:r>
            <a:r>
              <a:rPr lang="en-GB" altLang="ja-JP" sz="1400" b="1" dirty="0">
                <a:solidFill>
                  <a:schemeClr val="tx2"/>
                </a:solidFill>
                <a:ea typeface="ＭＳ Ｐゴシック" charset="-128"/>
              </a:rPr>
              <a:t>)</a:t>
            </a:r>
          </a:p>
        </p:txBody>
      </p:sp>
      <p:sp>
        <p:nvSpPr>
          <p:cNvPr id="775172" name="Text Box 4"/>
          <p:cNvSpPr txBox="1">
            <a:spLocks noChangeArrowheads="1"/>
          </p:cNvSpPr>
          <p:nvPr/>
        </p:nvSpPr>
        <p:spPr bwMode="auto">
          <a:xfrm>
            <a:off x="3303588" y="4640020"/>
            <a:ext cx="513282" cy="307777"/>
          </a:xfrm>
          <a:prstGeom prst="rect">
            <a:avLst/>
          </a:prstGeom>
          <a:noFill/>
          <a:ln w="9525">
            <a:noFill/>
            <a:miter lim="800000"/>
            <a:headEnd type="none" w="sm" len="sm"/>
            <a:tailEnd type="none" w="med" len="lg"/>
          </a:ln>
        </p:spPr>
        <p:txBody>
          <a:bodyPr wrap="none">
            <a:spAutoFit/>
          </a:bodyPr>
          <a:lstStyle/>
          <a:p>
            <a:r>
              <a:rPr lang="en-GB" altLang="ja-JP" sz="1400">
                <a:solidFill>
                  <a:schemeClr val="tx2"/>
                </a:solidFill>
                <a:ea typeface="ＭＳ Ｐゴシック" charset="-128"/>
              </a:rPr>
              <a:t>Low</a:t>
            </a:r>
          </a:p>
        </p:txBody>
      </p:sp>
      <p:sp>
        <p:nvSpPr>
          <p:cNvPr id="775173" name="Text Box 5"/>
          <p:cNvSpPr txBox="1">
            <a:spLocks noChangeArrowheads="1"/>
          </p:cNvSpPr>
          <p:nvPr/>
        </p:nvSpPr>
        <p:spPr bwMode="auto">
          <a:xfrm>
            <a:off x="5819775" y="4640020"/>
            <a:ext cx="553357" cy="307777"/>
          </a:xfrm>
          <a:prstGeom prst="rect">
            <a:avLst/>
          </a:prstGeom>
          <a:noFill/>
          <a:ln w="9525">
            <a:noFill/>
            <a:miter lim="800000"/>
            <a:headEnd type="none" w="sm" len="sm"/>
            <a:tailEnd type="none" w="med" len="lg"/>
          </a:ln>
        </p:spPr>
        <p:txBody>
          <a:bodyPr wrap="none">
            <a:spAutoFit/>
          </a:bodyPr>
          <a:lstStyle/>
          <a:p>
            <a:r>
              <a:rPr lang="en-GB" altLang="ja-JP" sz="1400">
                <a:solidFill>
                  <a:schemeClr val="tx2"/>
                </a:solidFill>
                <a:ea typeface="ＭＳ Ｐゴシック" charset="-128"/>
              </a:rPr>
              <a:t>High</a:t>
            </a:r>
          </a:p>
        </p:txBody>
      </p:sp>
      <p:sp>
        <p:nvSpPr>
          <p:cNvPr id="22" name="AutoShape 6"/>
          <p:cNvSpPr>
            <a:spLocks noChangeArrowheads="1"/>
          </p:cNvSpPr>
          <p:nvPr/>
        </p:nvSpPr>
        <p:spPr bwMode="auto">
          <a:xfrm flipH="1" flipV="1">
            <a:off x="3294351" y="1622902"/>
            <a:ext cx="2914646" cy="2913929"/>
          </a:xfrm>
          <a:prstGeom prst="rtTriangle">
            <a:avLst/>
          </a:prstGeom>
          <a:solidFill>
            <a:schemeClr val="accent3"/>
          </a:solidFill>
          <a:ln w="9525" algn="ctr">
            <a:noFill/>
            <a:miter lim="800000"/>
            <a:headEnd/>
            <a:tailEnd/>
          </a:ln>
        </p:spPr>
        <p:txBody>
          <a:bodyPr rot="10800000" wrap="none" lIns="90000" tIns="46800" rIns="90000" bIns="46800" anchor="ctr"/>
          <a:lstStyle/>
          <a:p>
            <a:pPr algn="ctr">
              <a:defRPr/>
            </a:pPr>
            <a:endParaRPr lang="en-GB" sz="1400"/>
          </a:p>
        </p:txBody>
      </p:sp>
      <p:sp>
        <p:nvSpPr>
          <p:cNvPr id="775175" name="Rectangle 7"/>
          <p:cNvSpPr>
            <a:spLocks noChangeArrowheads="1"/>
          </p:cNvSpPr>
          <p:nvPr/>
        </p:nvSpPr>
        <p:spPr bwMode="auto">
          <a:xfrm rot="-5400000">
            <a:off x="1338416" y="2826193"/>
            <a:ext cx="2305050" cy="646331"/>
          </a:xfrm>
          <a:prstGeom prst="rect">
            <a:avLst/>
          </a:prstGeom>
          <a:noFill/>
          <a:ln w="9525">
            <a:noFill/>
            <a:miter lim="800000"/>
            <a:headEnd/>
            <a:tailEnd/>
          </a:ln>
        </p:spPr>
        <p:txBody>
          <a:bodyPr lIns="0" tIns="0" rIns="0" bIns="0">
            <a:spAutoFit/>
          </a:bodyPr>
          <a:lstStyle/>
          <a:p>
            <a:pPr algn="ctr">
              <a:spcBef>
                <a:spcPts val="0"/>
              </a:spcBef>
            </a:pPr>
            <a:r>
              <a:rPr lang="en-GB" altLang="ja-JP" sz="1400" b="1" dirty="0">
                <a:solidFill>
                  <a:schemeClr val="tx2"/>
                </a:solidFill>
                <a:ea typeface="ＭＳ Ｐゴシック" charset="-128"/>
              </a:rPr>
              <a:t>Market </a:t>
            </a:r>
            <a:r>
              <a:rPr lang="en-GB" altLang="ja-JP" sz="1400" b="1" dirty="0" smtClean="0">
                <a:solidFill>
                  <a:schemeClr val="tx2"/>
                </a:solidFill>
                <a:ea typeface="ＭＳ Ｐゴシック" charset="-128"/>
              </a:rPr>
              <a:t>attractiveness</a:t>
            </a:r>
            <a:endParaRPr lang="en-GB" altLang="ja-JP" sz="1400" b="1" dirty="0">
              <a:solidFill>
                <a:schemeClr val="tx2"/>
              </a:solidFill>
              <a:ea typeface="ＭＳ Ｐゴシック" charset="-128"/>
            </a:endParaRPr>
          </a:p>
          <a:p>
            <a:pPr algn="ctr">
              <a:spcBef>
                <a:spcPts val="0"/>
              </a:spcBef>
            </a:pPr>
            <a:r>
              <a:rPr lang="en-GB" altLang="ja-JP" sz="1400" b="1" dirty="0" smtClean="0">
                <a:solidFill>
                  <a:schemeClr val="tx2"/>
                </a:solidFill>
                <a:ea typeface="ＭＳ Ｐゴシック" charset="-128"/>
              </a:rPr>
              <a:t>(industry average returns </a:t>
            </a:r>
            <a:r>
              <a:rPr lang="en-GB" altLang="ja-JP" sz="1400" b="1" dirty="0">
                <a:solidFill>
                  <a:schemeClr val="tx2"/>
                </a:solidFill>
                <a:ea typeface="ＭＳ Ｐゴシック" charset="-128"/>
              </a:rPr>
              <a:t>above </a:t>
            </a:r>
            <a:r>
              <a:rPr lang="en-GB" altLang="ja-JP" sz="1400" b="1" dirty="0" smtClean="0">
                <a:solidFill>
                  <a:schemeClr val="tx2"/>
                </a:solidFill>
                <a:ea typeface="ＭＳ Ｐゴシック" charset="-128"/>
              </a:rPr>
              <a:t>cost </a:t>
            </a:r>
            <a:r>
              <a:rPr lang="en-GB" altLang="ja-JP" sz="1400" b="1" dirty="0">
                <a:solidFill>
                  <a:schemeClr val="tx2"/>
                </a:solidFill>
                <a:ea typeface="ＭＳ Ｐゴシック" charset="-128"/>
              </a:rPr>
              <a:t>of </a:t>
            </a:r>
            <a:r>
              <a:rPr lang="en-GB" altLang="ja-JP" sz="1400" b="1" dirty="0" smtClean="0">
                <a:solidFill>
                  <a:schemeClr val="tx2"/>
                </a:solidFill>
                <a:ea typeface="ＭＳ Ｐゴシック" charset="-128"/>
              </a:rPr>
              <a:t>capital</a:t>
            </a:r>
            <a:r>
              <a:rPr lang="en-GB" altLang="ja-JP" sz="1400" b="1" dirty="0">
                <a:solidFill>
                  <a:schemeClr val="tx2"/>
                </a:solidFill>
                <a:ea typeface="ＭＳ Ｐゴシック" charset="-128"/>
              </a:rPr>
              <a:t>)</a:t>
            </a:r>
          </a:p>
        </p:txBody>
      </p:sp>
      <p:sp>
        <p:nvSpPr>
          <p:cNvPr id="775176" name="Rectangle 8"/>
          <p:cNvSpPr>
            <a:spLocks noChangeArrowheads="1"/>
          </p:cNvSpPr>
          <p:nvPr/>
        </p:nvSpPr>
        <p:spPr bwMode="auto">
          <a:xfrm>
            <a:off x="3276600" y="1603904"/>
            <a:ext cx="2944813" cy="2941637"/>
          </a:xfrm>
          <a:prstGeom prst="rect">
            <a:avLst/>
          </a:prstGeom>
          <a:noFill/>
          <a:ln w="9525">
            <a:solidFill>
              <a:schemeClr val="tx2"/>
            </a:solidFill>
            <a:miter lim="800000"/>
            <a:headEnd/>
            <a:tailEnd/>
          </a:ln>
        </p:spPr>
        <p:txBody>
          <a:bodyPr/>
          <a:lstStyle/>
          <a:p>
            <a:pPr algn="ctr"/>
            <a:endParaRPr lang="en-GB" sz="1400"/>
          </a:p>
        </p:txBody>
      </p:sp>
      <p:sp>
        <p:nvSpPr>
          <p:cNvPr id="775177" name="Line 10"/>
          <p:cNvSpPr>
            <a:spLocks noChangeShapeType="1"/>
          </p:cNvSpPr>
          <p:nvPr/>
        </p:nvSpPr>
        <p:spPr bwMode="auto">
          <a:xfrm flipV="1">
            <a:off x="3276600" y="3082682"/>
            <a:ext cx="1476375" cy="1588"/>
          </a:xfrm>
          <a:prstGeom prst="line">
            <a:avLst/>
          </a:prstGeom>
          <a:noFill/>
          <a:ln w="12700">
            <a:solidFill>
              <a:schemeClr val="tx2"/>
            </a:solidFill>
            <a:round/>
            <a:headEnd/>
            <a:tailEnd/>
          </a:ln>
        </p:spPr>
        <p:txBody>
          <a:bodyPr/>
          <a:lstStyle/>
          <a:p>
            <a:endParaRPr lang="en-US"/>
          </a:p>
        </p:txBody>
      </p:sp>
      <p:sp>
        <p:nvSpPr>
          <p:cNvPr id="775178" name="Text Box 11"/>
          <p:cNvSpPr txBox="1">
            <a:spLocks noChangeArrowheads="1"/>
          </p:cNvSpPr>
          <p:nvPr/>
        </p:nvSpPr>
        <p:spPr bwMode="auto">
          <a:xfrm>
            <a:off x="5299075" y="1679332"/>
            <a:ext cx="954088" cy="247650"/>
          </a:xfrm>
          <a:prstGeom prst="rect">
            <a:avLst/>
          </a:prstGeom>
          <a:noFill/>
          <a:ln w="9525" algn="ctr">
            <a:noFill/>
            <a:miter lim="800000"/>
            <a:headEnd/>
            <a:tailEnd/>
          </a:ln>
        </p:spPr>
        <p:txBody>
          <a:bodyPr wrap="none" lIns="90000" tIns="46800" rIns="90000" bIns="46800">
            <a:spAutoFit/>
          </a:bodyPr>
          <a:lstStyle/>
          <a:p>
            <a:r>
              <a:rPr lang="en-GB" altLang="ja-JP" sz="1000">
                <a:solidFill>
                  <a:schemeClr val="bg1"/>
                </a:solidFill>
                <a:ea typeface="ＭＳ Ｐゴシック" charset="-128"/>
              </a:rPr>
              <a:t>ROCE &gt; CoC</a:t>
            </a:r>
          </a:p>
        </p:txBody>
      </p:sp>
      <p:sp>
        <p:nvSpPr>
          <p:cNvPr id="775179" name="Text Box 12"/>
          <p:cNvSpPr txBox="1">
            <a:spLocks noChangeArrowheads="1"/>
          </p:cNvSpPr>
          <p:nvPr/>
        </p:nvSpPr>
        <p:spPr bwMode="auto">
          <a:xfrm>
            <a:off x="3248025" y="4262195"/>
            <a:ext cx="954088" cy="247650"/>
          </a:xfrm>
          <a:prstGeom prst="rect">
            <a:avLst/>
          </a:prstGeom>
          <a:noFill/>
          <a:ln w="9525" algn="ctr">
            <a:noFill/>
            <a:miter lim="800000"/>
            <a:headEnd/>
            <a:tailEnd/>
          </a:ln>
        </p:spPr>
        <p:txBody>
          <a:bodyPr wrap="none" lIns="90000" tIns="46800" rIns="90000" bIns="46800">
            <a:spAutoFit/>
          </a:bodyPr>
          <a:lstStyle/>
          <a:p>
            <a:r>
              <a:rPr lang="en-GB" altLang="ja-JP" sz="1000">
                <a:solidFill>
                  <a:schemeClr val="tx2"/>
                </a:solidFill>
                <a:ea typeface="ＭＳ Ｐゴシック" charset="-128"/>
              </a:rPr>
              <a:t>ROCE &lt; CoC</a:t>
            </a:r>
          </a:p>
        </p:txBody>
      </p:sp>
      <p:sp>
        <p:nvSpPr>
          <p:cNvPr id="775180" name="Text Box 13"/>
          <p:cNvSpPr txBox="1">
            <a:spLocks noChangeArrowheads="1"/>
          </p:cNvSpPr>
          <p:nvPr/>
        </p:nvSpPr>
        <p:spPr bwMode="auto">
          <a:xfrm rot="2587060">
            <a:off x="4656138" y="3430345"/>
            <a:ext cx="954087" cy="247650"/>
          </a:xfrm>
          <a:prstGeom prst="rect">
            <a:avLst/>
          </a:prstGeom>
          <a:noFill/>
          <a:ln w="9525" algn="ctr">
            <a:noFill/>
            <a:miter lim="800000"/>
            <a:headEnd/>
            <a:tailEnd/>
          </a:ln>
        </p:spPr>
        <p:txBody>
          <a:bodyPr wrap="none" lIns="90000" tIns="46800" rIns="90000" bIns="46800">
            <a:spAutoFit/>
          </a:bodyPr>
          <a:lstStyle/>
          <a:p>
            <a:r>
              <a:rPr lang="en-GB" altLang="ja-JP" sz="1000">
                <a:solidFill>
                  <a:schemeClr val="tx2"/>
                </a:solidFill>
                <a:ea typeface="ＭＳ Ｐゴシック" charset="-128"/>
              </a:rPr>
              <a:t>ROCE = CoC</a:t>
            </a:r>
          </a:p>
        </p:txBody>
      </p:sp>
      <p:sp>
        <p:nvSpPr>
          <p:cNvPr id="775181" name="Text Box 14"/>
          <p:cNvSpPr txBox="1">
            <a:spLocks noChangeArrowheads="1"/>
          </p:cNvSpPr>
          <p:nvPr/>
        </p:nvSpPr>
        <p:spPr bwMode="auto">
          <a:xfrm>
            <a:off x="2798763" y="1601545"/>
            <a:ext cx="553357" cy="307777"/>
          </a:xfrm>
          <a:prstGeom prst="rect">
            <a:avLst/>
          </a:prstGeom>
          <a:noFill/>
          <a:ln w="9525">
            <a:noFill/>
            <a:miter lim="800000"/>
            <a:headEnd type="none" w="sm" len="sm"/>
            <a:tailEnd type="none" w="med" len="lg"/>
          </a:ln>
        </p:spPr>
        <p:txBody>
          <a:bodyPr wrap="none">
            <a:spAutoFit/>
          </a:bodyPr>
          <a:lstStyle/>
          <a:p>
            <a:r>
              <a:rPr lang="en-GB" altLang="ja-JP" sz="1400">
                <a:solidFill>
                  <a:schemeClr val="tx2"/>
                </a:solidFill>
                <a:ea typeface="ＭＳ Ｐゴシック" charset="-128"/>
              </a:rPr>
              <a:t>High</a:t>
            </a:r>
          </a:p>
        </p:txBody>
      </p:sp>
      <p:sp>
        <p:nvSpPr>
          <p:cNvPr id="775182" name="Text Box 15"/>
          <p:cNvSpPr txBox="1">
            <a:spLocks noChangeArrowheads="1"/>
          </p:cNvSpPr>
          <p:nvPr/>
        </p:nvSpPr>
        <p:spPr bwMode="auto">
          <a:xfrm>
            <a:off x="2798763" y="4284420"/>
            <a:ext cx="513282" cy="307777"/>
          </a:xfrm>
          <a:prstGeom prst="rect">
            <a:avLst/>
          </a:prstGeom>
          <a:noFill/>
          <a:ln w="9525">
            <a:noFill/>
            <a:miter lim="800000"/>
            <a:headEnd type="none" w="sm" len="sm"/>
            <a:tailEnd type="none" w="med" len="lg"/>
          </a:ln>
        </p:spPr>
        <p:txBody>
          <a:bodyPr wrap="none">
            <a:spAutoFit/>
          </a:bodyPr>
          <a:lstStyle/>
          <a:p>
            <a:r>
              <a:rPr lang="en-GB" altLang="ja-JP" sz="1400">
                <a:solidFill>
                  <a:schemeClr val="tx2"/>
                </a:solidFill>
                <a:ea typeface="ＭＳ Ｐゴシック" charset="-128"/>
              </a:rPr>
              <a:t>Low</a:t>
            </a:r>
          </a:p>
        </p:txBody>
      </p:sp>
      <p:sp>
        <p:nvSpPr>
          <p:cNvPr id="775183" name="Line 10"/>
          <p:cNvSpPr>
            <a:spLocks noChangeShapeType="1"/>
          </p:cNvSpPr>
          <p:nvPr/>
        </p:nvSpPr>
        <p:spPr bwMode="auto">
          <a:xfrm flipV="1">
            <a:off x="4770438" y="3082682"/>
            <a:ext cx="1449387" cy="0"/>
          </a:xfrm>
          <a:prstGeom prst="line">
            <a:avLst/>
          </a:prstGeom>
          <a:noFill/>
          <a:ln w="12700">
            <a:solidFill>
              <a:schemeClr val="bg1"/>
            </a:solidFill>
            <a:round/>
            <a:headEnd/>
            <a:tailEnd/>
          </a:ln>
        </p:spPr>
        <p:txBody>
          <a:bodyPr/>
          <a:lstStyle/>
          <a:p>
            <a:endParaRPr lang="en-US"/>
          </a:p>
        </p:txBody>
      </p:sp>
      <p:sp>
        <p:nvSpPr>
          <p:cNvPr id="775184" name="Line 9"/>
          <p:cNvSpPr>
            <a:spLocks noChangeShapeType="1"/>
          </p:cNvSpPr>
          <p:nvPr/>
        </p:nvSpPr>
        <p:spPr bwMode="auto">
          <a:xfrm flipH="1">
            <a:off x="4748213" y="3087445"/>
            <a:ext cx="12700" cy="1449387"/>
          </a:xfrm>
          <a:prstGeom prst="line">
            <a:avLst/>
          </a:prstGeom>
          <a:noFill/>
          <a:ln w="12700">
            <a:solidFill>
              <a:schemeClr val="tx2"/>
            </a:solidFill>
            <a:round/>
            <a:headEnd/>
            <a:tailEnd/>
          </a:ln>
        </p:spPr>
        <p:txBody>
          <a:bodyPr/>
          <a:lstStyle/>
          <a:p>
            <a:endParaRPr lang="en-US"/>
          </a:p>
        </p:txBody>
      </p:sp>
      <p:sp>
        <p:nvSpPr>
          <p:cNvPr id="775185" name="Line 9"/>
          <p:cNvSpPr>
            <a:spLocks noChangeShapeType="1"/>
          </p:cNvSpPr>
          <p:nvPr/>
        </p:nvSpPr>
        <p:spPr bwMode="auto">
          <a:xfrm flipH="1">
            <a:off x="4762500" y="1595195"/>
            <a:ext cx="12700" cy="1484312"/>
          </a:xfrm>
          <a:prstGeom prst="line">
            <a:avLst/>
          </a:prstGeom>
          <a:noFill/>
          <a:ln w="12700">
            <a:solidFill>
              <a:schemeClr val="bg1"/>
            </a:solidFill>
            <a:round/>
            <a:headEnd/>
            <a:tailEnd/>
          </a:ln>
        </p:spPr>
        <p:txBody>
          <a:bodyPr/>
          <a:lstStyle/>
          <a:p>
            <a:endParaRPr lang="en-US"/>
          </a:p>
        </p:txBody>
      </p:sp>
      <p:sp>
        <p:nvSpPr>
          <p:cNvPr id="21"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6193" name="Title 1"/>
          <p:cNvSpPr>
            <a:spLocks noGrp="1"/>
          </p:cNvSpPr>
          <p:nvPr>
            <p:ph type="title"/>
          </p:nvPr>
        </p:nvSpPr>
        <p:spPr>
          <a:xfrm>
            <a:off x="414338" y="446038"/>
            <a:ext cx="8330184" cy="333425"/>
          </a:xfrm>
        </p:spPr>
        <p:txBody>
          <a:bodyPr/>
          <a:lstStyle/>
          <a:p>
            <a:r>
              <a:rPr lang="en-GB"/>
              <a:t>Business portfolio </a:t>
            </a:r>
            <a:r>
              <a:rPr lang="en-US"/>
              <a:t>— </a:t>
            </a:r>
            <a:r>
              <a:rPr lang="en-US" smtClean="0"/>
              <a:t> three </a:t>
            </a:r>
            <a:r>
              <a:rPr lang="en-GB" smtClean="0"/>
              <a:t>by three</a:t>
            </a:r>
            <a:endParaRPr lang="nl-NL"/>
          </a:p>
        </p:txBody>
      </p:sp>
      <p:sp>
        <p:nvSpPr>
          <p:cNvPr id="776195" name="Rectangle 3"/>
          <p:cNvSpPr>
            <a:spLocks noChangeArrowheads="1"/>
          </p:cNvSpPr>
          <p:nvPr/>
        </p:nvSpPr>
        <p:spPr bwMode="auto">
          <a:xfrm rot="-5400000">
            <a:off x="418017" y="3399410"/>
            <a:ext cx="3565525" cy="204671"/>
          </a:xfrm>
          <a:prstGeom prst="rect">
            <a:avLst/>
          </a:prstGeom>
          <a:noFill/>
          <a:ln w="9525">
            <a:noFill/>
            <a:miter lim="800000"/>
            <a:headEnd/>
            <a:tailEnd/>
          </a:ln>
        </p:spPr>
        <p:txBody>
          <a:bodyPr lIns="0" tIns="0" rIns="0" bIns="0" anchor="ctr" anchorCtr="1">
            <a:spAutoFit/>
          </a:bodyPr>
          <a:lstStyle/>
          <a:p>
            <a:pPr defTabSz="892175">
              <a:lnSpc>
                <a:spcPct val="95000"/>
              </a:lnSpc>
              <a:spcAft>
                <a:spcPct val="37000"/>
              </a:spcAft>
            </a:pPr>
            <a:r>
              <a:rPr lang="en-GB" sz="1400" b="1" dirty="0">
                <a:solidFill>
                  <a:schemeClr val="tx2"/>
                </a:solidFill>
                <a:ea typeface="ＭＳ Ｐゴシック" charset="-128"/>
              </a:rPr>
              <a:t>Competitive position</a:t>
            </a:r>
          </a:p>
        </p:txBody>
      </p:sp>
      <p:sp>
        <p:nvSpPr>
          <p:cNvPr id="776196" name="Rectangle 4"/>
          <p:cNvSpPr>
            <a:spLocks noChangeArrowheads="1"/>
          </p:cNvSpPr>
          <p:nvPr/>
        </p:nvSpPr>
        <p:spPr bwMode="auto">
          <a:xfrm rot="-5400000">
            <a:off x="1990436" y="4584810"/>
            <a:ext cx="1106487" cy="175433"/>
          </a:xfrm>
          <a:prstGeom prst="rect">
            <a:avLst/>
          </a:prstGeom>
          <a:noFill/>
          <a:ln w="9525">
            <a:noFill/>
            <a:miter lim="800000"/>
            <a:headEnd/>
            <a:tailEnd/>
          </a:ln>
        </p:spPr>
        <p:txBody>
          <a:bodyPr lIns="0" tIns="0" rIns="0" bIns="0" anchorCtr="1">
            <a:spAutoFit/>
          </a:bodyPr>
          <a:lstStyle/>
          <a:p>
            <a:pPr defTabSz="892175">
              <a:lnSpc>
                <a:spcPct val="95000"/>
              </a:lnSpc>
              <a:spcAft>
                <a:spcPct val="37000"/>
              </a:spcAft>
            </a:pPr>
            <a:r>
              <a:rPr lang="en-GB" sz="1200">
                <a:solidFill>
                  <a:schemeClr val="tx2"/>
                </a:solidFill>
                <a:ea typeface="ＭＳ Ｐゴシック" charset="-128"/>
              </a:rPr>
              <a:t>Low</a:t>
            </a:r>
          </a:p>
        </p:txBody>
      </p:sp>
      <p:sp>
        <p:nvSpPr>
          <p:cNvPr id="776197" name="Rectangle 5"/>
          <p:cNvSpPr>
            <a:spLocks noChangeArrowheads="1"/>
          </p:cNvSpPr>
          <p:nvPr/>
        </p:nvSpPr>
        <p:spPr bwMode="auto">
          <a:xfrm rot="-5400000">
            <a:off x="2005517" y="3353704"/>
            <a:ext cx="1076325" cy="175433"/>
          </a:xfrm>
          <a:prstGeom prst="rect">
            <a:avLst/>
          </a:prstGeom>
          <a:noFill/>
          <a:ln w="9525">
            <a:noFill/>
            <a:miter lim="800000"/>
            <a:headEnd/>
            <a:tailEnd/>
          </a:ln>
        </p:spPr>
        <p:txBody>
          <a:bodyPr lIns="0" tIns="0" rIns="0" bIns="0" anchorCtr="1">
            <a:spAutoFit/>
          </a:bodyPr>
          <a:lstStyle/>
          <a:p>
            <a:pPr defTabSz="892175">
              <a:lnSpc>
                <a:spcPct val="95000"/>
              </a:lnSpc>
              <a:spcAft>
                <a:spcPct val="37000"/>
              </a:spcAft>
            </a:pPr>
            <a:r>
              <a:rPr lang="en-GB" sz="1200">
                <a:solidFill>
                  <a:schemeClr val="tx2"/>
                </a:solidFill>
                <a:ea typeface="ＭＳ Ｐゴシック" charset="-128"/>
              </a:rPr>
              <a:t>Medium</a:t>
            </a:r>
          </a:p>
        </p:txBody>
      </p:sp>
      <p:sp>
        <p:nvSpPr>
          <p:cNvPr id="776198" name="Rectangle 6"/>
          <p:cNvSpPr>
            <a:spLocks noChangeArrowheads="1"/>
          </p:cNvSpPr>
          <p:nvPr/>
        </p:nvSpPr>
        <p:spPr bwMode="auto">
          <a:xfrm rot="-5400000">
            <a:off x="1988848" y="2104341"/>
            <a:ext cx="1133475" cy="175433"/>
          </a:xfrm>
          <a:prstGeom prst="rect">
            <a:avLst/>
          </a:prstGeom>
          <a:noFill/>
          <a:ln w="9525">
            <a:noFill/>
            <a:miter lim="800000"/>
            <a:headEnd/>
            <a:tailEnd/>
          </a:ln>
        </p:spPr>
        <p:txBody>
          <a:bodyPr lIns="0" tIns="0" rIns="0" bIns="0" anchorCtr="1">
            <a:spAutoFit/>
          </a:bodyPr>
          <a:lstStyle/>
          <a:p>
            <a:pPr defTabSz="892175">
              <a:lnSpc>
                <a:spcPct val="95000"/>
              </a:lnSpc>
              <a:spcAft>
                <a:spcPct val="37000"/>
              </a:spcAft>
            </a:pPr>
            <a:r>
              <a:rPr lang="en-GB" sz="1200">
                <a:solidFill>
                  <a:schemeClr val="tx2"/>
                </a:solidFill>
                <a:ea typeface="ＭＳ Ｐゴシック" charset="-128"/>
              </a:rPr>
              <a:t>High</a:t>
            </a:r>
          </a:p>
        </p:txBody>
      </p:sp>
      <p:sp>
        <p:nvSpPr>
          <p:cNvPr id="776199" name="Rectangle 7"/>
          <p:cNvSpPr>
            <a:spLocks noChangeArrowheads="1"/>
          </p:cNvSpPr>
          <p:nvPr/>
        </p:nvSpPr>
        <p:spPr bwMode="auto">
          <a:xfrm>
            <a:off x="2727036" y="5712558"/>
            <a:ext cx="3768725" cy="204671"/>
          </a:xfrm>
          <a:prstGeom prst="rect">
            <a:avLst/>
          </a:prstGeom>
          <a:noFill/>
          <a:ln w="9525">
            <a:noFill/>
            <a:miter lim="800000"/>
            <a:headEnd/>
            <a:tailEnd/>
          </a:ln>
        </p:spPr>
        <p:txBody>
          <a:bodyPr lIns="0" tIns="0" rIns="0" bIns="0" anchorCtr="1">
            <a:spAutoFit/>
          </a:bodyPr>
          <a:lstStyle/>
          <a:p>
            <a:pPr defTabSz="892175">
              <a:lnSpc>
                <a:spcPct val="95000"/>
              </a:lnSpc>
              <a:spcAft>
                <a:spcPct val="37000"/>
              </a:spcAft>
            </a:pPr>
            <a:r>
              <a:rPr lang="en-GB" sz="1400" b="1" dirty="0">
                <a:solidFill>
                  <a:schemeClr val="tx2"/>
                </a:solidFill>
                <a:ea typeface="ＭＳ Ｐゴシック" charset="-128"/>
              </a:rPr>
              <a:t>Product/market attractiveness</a:t>
            </a:r>
          </a:p>
        </p:txBody>
      </p:sp>
      <p:sp>
        <p:nvSpPr>
          <p:cNvPr id="776200" name="Rectangle 8"/>
          <p:cNvSpPr>
            <a:spLocks noChangeArrowheads="1"/>
          </p:cNvSpPr>
          <p:nvPr/>
        </p:nvSpPr>
        <p:spPr bwMode="auto">
          <a:xfrm>
            <a:off x="2774661" y="5367057"/>
            <a:ext cx="1108075" cy="175433"/>
          </a:xfrm>
          <a:prstGeom prst="rect">
            <a:avLst/>
          </a:prstGeom>
          <a:noFill/>
          <a:ln w="9525">
            <a:noFill/>
            <a:miter lim="800000"/>
            <a:headEnd/>
            <a:tailEnd/>
          </a:ln>
        </p:spPr>
        <p:txBody>
          <a:bodyPr lIns="0" tIns="0" rIns="0" bIns="0" anchorCtr="1">
            <a:spAutoFit/>
          </a:bodyPr>
          <a:lstStyle/>
          <a:p>
            <a:pPr defTabSz="892175">
              <a:lnSpc>
                <a:spcPct val="95000"/>
              </a:lnSpc>
              <a:spcAft>
                <a:spcPct val="37000"/>
              </a:spcAft>
            </a:pPr>
            <a:r>
              <a:rPr lang="en-GB" sz="1200" dirty="0">
                <a:solidFill>
                  <a:schemeClr val="tx2"/>
                </a:solidFill>
                <a:ea typeface="ＭＳ Ｐゴシック" charset="-128"/>
              </a:rPr>
              <a:t>Low</a:t>
            </a:r>
          </a:p>
        </p:txBody>
      </p:sp>
      <p:sp>
        <p:nvSpPr>
          <p:cNvPr id="776201" name="Rectangle 9"/>
          <p:cNvSpPr>
            <a:spLocks noChangeArrowheads="1"/>
          </p:cNvSpPr>
          <p:nvPr/>
        </p:nvSpPr>
        <p:spPr bwMode="auto">
          <a:xfrm>
            <a:off x="4070061" y="5367057"/>
            <a:ext cx="1077913" cy="175433"/>
          </a:xfrm>
          <a:prstGeom prst="rect">
            <a:avLst/>
          </a:prstGeom>
          <a:noFill/>
          <a:ln w="9525">
            <a:noFill/>
            <a:miter lim="800000"/>
            <a:headEnd/>
            <a:tailEnd/>
          </a:ln>
        </p:spPr>
        <p:txBody>
          <a:bodyPr lIns="0" tIns="0" rIns="0" bIns="0" anchorCtr="1">
            <a:spAutoFit/>
          </a:bodyPr>
          <a:lstStyle/>
          <a:p>
            <a:pPr defTabSz="892175">
              <a:lnSpc>
                <a:spcPct val="95000"/>
              </a:lnSpc>
              <a:spcAft>
                <a:spcPct val="37000"/>
              </a:spcAft>
            </a:pPr>
            <a:r>
              <a:rPr lang="en-GB" sz="1200" dirty="0">
                <a:solidFill>
                  <a:schemeClr val="tx2"/>
                </a:solidFill>
                <a:ea typeface="ＭＳ Ｐゴシック" charset="-128"/>
              </a:rPr>
              <a:t>Medium</a:t>
            </a:r>
          </a:p>
        </p:txBody>
      </p:sp>
      <p:sp>
        <p:nvSpPr>
          <p:cNvPr id="776202" name="Rectangle 10"/>
          <p:cNvSpPr>
            <a:spLocks noChangeArrowheads="1"/>
          </p:cNvSpPr>
          <p:nvPr/>
        </p:nvSpPr>
        <p:spPr bwMode="auto">
          <a:xfrm>
            <a:off x="5352761" y="5367057"/>
            <a:ext cx="1003300" cy="175433"/>
          </a:xfrm>
          <a:prstGeom prst="rect">
            <a:avLst/>
          </a:prstGeom>
          <a:noFill/>
          <a:ln w="9525">
            <a:noFill/>
            <a:miter lim="800000"/>
            <a:headEnd/>
            <a:tailEnd/>
          </a:ln>
        </p:spPr>
        <p:txBody>
          <a:bodyPr lIns="0" tIns="0" rIns="0" bIns="0" anchorCtr="1">
            <a:spAutoFit/>
          </a:bodyPr>
          <a:lstStyle/>
          <a:p>
            <a:pPr defTabSz="892175">
              <a:lnSpc>
                <a:spcPct val="95000"/>
              </a:lnSpc>
              <a:spcAft>
                <a:spcPct val="37000"/>
              </a:spcAft>
            </a:pPr>
            <a:r>
              <a:rPr lang="en-GB" sz="1200" dirty="0">
                <a:solidFill>
                  <a:schemeClr val="tx2"/>
                </a:solidFill>
                <a:ea typeface="ＭＳ Ｐゴシック" charset="-128"/>
              </a:rPr>
              <a:t>High</a:t>
            </a:r>
          </a:p>
        </p:txBody>
      </p:sp>
      <p:sp>
        <p:nvSpPr>
          <p:cNvPr id="12" name="Rectangle 11"/>
          <p:cNvSpPr>
            <a:spLocks noChangeArrowheads="1"/>
          </p:cNvSpPr>
          <p:nvPr/>
        </p:nvSpPr>
        <p:spPr bwMode="blackWhite">
          <a:xfrm>
            <a:off x="2728624" y="1596744"/>
            <a:ext cx="1238250" cy="1231900"/>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13" name="Rectangle 12"/>
          <p:cNvSpPr>
            <a:spLocks noChangeArrowheads="1"/>
          </p:cNvSpPr>
          <p:nvPr/>
        </p:nvSpPr>
        <p:spPr bwMode="blackWhite">
          <a:xfrm>
            <a:off x="3947824" y="1596744"/>
            <a:ext cx="1238250" cy="1231900"/>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14" name="Rectangle 13"/>
          <p:cNvSpPr>
            <a:spLocks noChangeArrowheads="1"/>
          </p:cNvSpPr>
          <p:nvPr/>
        </p:nvSpPr>
        <p:spPr bwMode="blackWhite">
          <a:xfrm>
            <a:off x="5173374" y="1596744"/>
            <a:ext cx="1236662" cy="1231900"/>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15" name="Rectangle 14"/>
          <p:cNvSpPr>
            <a:spLocks noChangeArrowheads="1"/>
          </p:cNvSpPr>
          <p:nvPr/>
        </p:nvSpPr>
        <p:spPr bwMode="blackWhite">
          <a:xfrm>
            <a:off x="2728624" y="2827057"/>
            <a:ext cx="1238250" cy="1231900"/>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16" name="Rectangle 15"/>
          <p:cNvSpPr>
            <a:spLocks noChangeArrowheads="1"/>
          </p:cNvSpPr>
          <p:nvPr/>
        </p:nvSpPr>
        <p:spPr bwMode="blackWhite">
          <a:xfrm>
            <a:off x="3947824" y="2827057"/>
            <a:ext cx="1238250" cy="1231900"/>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17" name="Rectangle 16"/>
          <p:cNvSpPr>
            <a:spLocks noChangeArrowheads="1"/>
          </p:cNvSpPr>
          <p:nvPr/>
        </p:nvSpPr>
        <p:spPr bwMode="blackWhite">
          <a:xfrm>
            <a:off x="5173374" y="2827057"/>
            <a:ext cx="1236662" cy="1231900"/>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18" name="Rectangle 17"/>
          <p:cNvSpPr>
            <a:spLocks noChangeArrowheads="1"/>
          </p:cNvSpPr>
          <p:nvPr/>
        </p:nvSpPr>
        <p:spPr bwMode="blackWhite">
          <a:xfrm>
            <a:off x="2728624" y="4054194"/>
            <a:ext cx="1238250" cy="1233488"/>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19" name="Rectangle 18"/>
          <p:cNvSpPr>
            <a:spLocks noChangeArrowheads="1"/>
          </p:cNvSpPr>
          <p:nvPr/>
        </p:nvSpPr>
        <p:spPr bwMode="blackWhite">
          <a:xfrm>
            <a:off x="3947824" y="4054194"/>
            <a:ext cx="1238250" cy="1233488"/>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20" name="Rectangle 19"/>
          <p:cNvSpPr>
            <a:spLocks noChangeArrowheads="1"/>
          </p:cNvSpPr>
          <p:nvPr/>
        </p:nvSpPr>
        <p:spPr bwMode="blackWhite">
          <a:xfrm>
            <a:off x="5173374" y="4054194"/>
            <a:ext cx="1236662" cy="1233488"/>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2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5"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1858"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7891" name="think-cell Slide" r:id="rId16" imgW="0" imgH="0" progId="">
                  <p:embed/>
                </p:oleObj>
              </mc:Choice>
              <mc:Fallback>
                <p:oleObj name="think-cell Slide" r:id="rId1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1859" name="Title 1"/>
          <p:cNvSpPr>
            <a:spLocks noGrp="1"/>
          </p:cNvSpPr>
          <p:nvPr>
            <p:ph type="title"/>
            <p:custDataLst>
              <p:tags r:id="rId3"/>
            </p:custDataLst>
          </p:nvPr>
        </p:nvSpPr>
        <p:spPr>
          <a:xfrm>
            <a:off x="414338" y="446038"/>
            <a:ext cx="8330184" cy="333425"/>
          </a:xfrm>
        </p:spPr>
        <p:txBody>
          <a:bodyPr/>
          <a:lstStyle/>
          <a:p>
            <a:r>
              <a:rPr lang="en-GB"/>
              <a:t>Business portfolio </a:t>
            </a:r>
            <a:r>
              <a:rPr lang="en-US"/>
              <a:t>— </a:t>
            </a:r>
            <a:r>
              <a:rPr lang="en-GB" smtClean="0"/>
              <a:t>three by three</a:t>
            </a:r>
            <a:endParaRPr lang="nl-NL"/>
          </a:p>
        </p:txBody>
      </p:sp>
      <p:sp>
        <p:nvSpPr>
          <p:cNvPr id="17" name="Rectangle 16"/>
          <p:cNvSpPr>
            <a:spLocks noChangeArrowheads="1"/>
          </p:cNvSpPr>
          <p:nvPr>
            <p:custDataLst>
              <p:tags r:id="rId4"/>
            </p:custDataLst>
          </p:nvPr>
        </p:nvSpPr>
        <p:spPr bwMode="blackWhite">
          <a:xfrm>
            <a:off x="2916139" y="1736434"/>
            <a:ext cx="3301259" cy="169277"/>
          </a:xfrm>
          <a:prstGeom prst="rect">
            <a:avLst/>
          </a:prstGeom>
          <a:solidFill>
            <a:schemeClr val="accent3"/>
          </a:solidFill>
          <a:ln w="12700">
            <a:solidFill>
              <a:schemeClr val="accent1"/>
            </a:solidFill>
            <a:miter lim="800000"/>
            <a:headEnd/>
            <a:tailEnd/>
          </a:ln>
        </p:spPr>
        <p:txBody>
          <a:bodyPr wrap="square" lIns="0" tIns="0" rIns="0" bIns="0">
            <a:spAutoFit/>
          </a:bodyPr>
          <a:lstStyle/>
          <a:p>
            <a:pPr algn="ctr">
              <a:spcBef>
                <a:spcPct val="0"/>
              </a:spcBef>
            </a:pPr>
            <a:endParaRPr lang="en-GB"/>
          </a:p>
        </p:txBody>
      </p:sp>
      <p:sp>
        <p:nvSpPr>
          <p:cNvPr id="18" name="Freeform 17"/>
          <p:cNvSpPr>
            <a:spLocks/>
          </p:cNvSpPr>
          <p:nvPr>
            <p:custDataLst>
              <p:tags r:id="rId5"/>
            </p:custDataLst>
          </p:nvPr>
        </p:nvSpPr>
        <p:spPr bwMode="blackWhite">
          <a:xfrm>
            <a:off x="2923336" y="1736434"/>
            <a:ext cx="3294062" cy="3203575"/>
          </a:xfrm>
          <a:custGeom>
            <a:avLst/>
            <a:gdLst>
              <a:gd name="T0" fmla="*/ 0 w 1812"/>
              <a:gd name="T1" fmla="*/ 2147483647 h 1817"/>
              <a:gd name="T2" fmla="*/ 2147483647 w 1812"/>
              <a:gd name="T3" fmla="*/ 2147483647 h 1817"/>
              <a:gd name="T4" fmla="*/ 2147483647 w 1812"/>
              <a:gd name="T5" fmla="*/ 0 h 1817"/>
              <a:gd name="T6" fmla="*/ 0 w 1812"/>
              <a:gd name="T7" fmla="*/ 2147483647 h 1817"/>
              <a:gd name="T8" fmla="*/ 0 60000 65536"/>
              <a:gd name="T9" fmla="*/ 0 60000 65536"/>
              <a:gd name="T10" fmla="*/ 0 60000 65536"/>
              <a:gd name="T11" fmla="*/ 0 60000 65536"/>
              <a:gd name="T12" fmla="*/ 0 w 1812"/>
              <a:gd name="T13" fmla="*/ 0 h 1817"/>
              <a:gd name="T14" fmla="*/ 1812 w 1812"/>
              <a:gd name="T15" fmla="*/ 1817 h 1817"/>
            </a:gdLst>
            <a:ahLst/>
            <a:cxnLst>
              <a:cxn ang="T8">
                <a:pos x="T0" y="T1"/>
              </a:cxn>
              <a:cxn ang="T9">
                <a:pos x="T2" y="T3"/>
              </a:cxn>
              <a:cxn ang="T10">
                <a:pos x="T4" y="T5"/>
              </a:cxn>
              <a:cxn ang="T11">
                <a:pos x="T6" y="T7"/>
              </a:cxn>
            </a:cxnLst>
            <a:rect l="T12" t="T13" r="T14" b="T15"/>
            <a:pathLst>
              <a:path w="1812" h="1817">
                <a:moveTo>
                  <a:pt x="0" y="1816"/>
                </a:moveTo>
                <a:lnTo>
                  <a:pt x="1811" y="1816"/>
                </a:lnTo>
                <a:lnTo>
                  <a:pt x="1811" y="0"/>
                </a:lnTo>
                <a:lnTo>
                  <a:pt x="0" y="1816"/>
                </a:lnTo>
              </a:path>
            </a:pathLst>
          </a:custGeom>
          <a:solidFill>
            <a:srgbClr val="FFFFFF"/>
          </a:solidFill>
          <a:ln w="12700" cap="rnd">
            <a:solidFill>
              <a:schemeClr val="tx2"/>
            </a:solidFill>
            <a:round/>
            <a:headEnd/>
            <a:tailEnd/>
          </a:ln>
        </p:spPr>
        <p:txBody>
          <a:bodyPr lIns="0" tIns="0" rIns="0" bIns="0">
            <a:spAutoFit/>
          </a:bodyPr>
          <a:lstStyle/>
          <a:p>
            <a:endParaRPr lang="en-GB"/>
          </a:p>
        </p:txBody>
      </p:sp>
      <p:sp>
        <p:nvSpPr>
          <p:cNvPr id="19" name="Rectangle 18"/>
          <p:cNvSpPr>
            <a:spLocks noChangeArrowheads="1"/>
          </p:cNvSpPr>
          <p:nvPr>
            <p:custDataLst>
              <p:tags r:id="rId6"/>
            </p:custDataLst>
          </p:nvPr>
        </p:nvSpPr>
        <p:spPr bwMode="blackWhite">
          <a:xfrm rot="-5400000">
            <a:off x="2122719" y="3257317"/>
            <a:ext cx="1100138" cy="204671"/>
          </a:xfrm>
          <a:prstGeom prst="rect">
            <a:avLst/>
          </a:prstGeom>
          <a:noFill/>
          <a:ln w="9525">
            <a:noFill/>
            <a:miter lim="800000"/>
            <a:headEnd/>
            <a:tailEnd/>
          </a:ln>
        </p:spPr>
        <p:txBody>
          <a:bodyPr lIns="0" tIns="0" rIns="0" bIns="0">
            <a:spAutoFit/>
          </a:bodyPr>
          <a:lstStyle/>
          <a:p>
            <a:pPr algn="ctr" defTabSz="820738">
              <a:lnSpc>
                <a:spcPct val="95000"/>
              </a:lnSpc>
              <a:spcBef>
                <a:spcPct val="0"/>
              </a:spcBef>
              <a:spcAft>
                <a:spcPct val="37000"/>
              </a:spcAft>
            </a:pPr>
            <a:r>
              <a:rPr lang="en-GB" sz="1400" b="1" dirty="0">
                <a:solidFill>
                  <a:schemeClr val="tx2"/>
                </a:solidFill>
                <a:ea typeface="ＭＳ Ｐゴシック" pitchFamily="50" charset="-128"/>
              </a:rPr>
              <a:t>Benefit </a:t>
            </a:r>
          </a:p>
        </p:txBody>
      </p:sp>
      <p:sp>
        <p:nvSpPr>
          <p:cNvPr id="20" name="Rectangle 19"/>
          <p:cNvSpPr>
            <a:spLocks noChangeArrowheads="1"/>
          </p:cNvSpPr>
          <p:nvPr>
            <p:custDataLst>
              <p:tags r:id="rId7"/>
            </p:custDataLst>
          </p:nvPr>
        </p:nvSpPr>
        <p:spPr bwMode="blackWhite">
          <a:xfrm>
            <a:off x="3054809" y="5077259"/>
            <a:ext cx="3025775" cy="204671"/>
          </a:xfrm>
          <a:prstGeom prst="rect">
            <a:avLst/>
          </a:prstGeom>
          <a:noFill/>
          <a:ln w="9525">
            <a:noFill/>
            <a:miter lim="800000"/>
            <a:headEnd/>
            <a:tailEnd/>
          </a:ln>
        </p:spPr>
        <p:txBody>
          <a:bodyPr lIns="0" tIns="0" rIns="0" bIns="0">
            <a:spAutoFit/>
          </a:bodyPr>
          <a:lstStyle/>
          <a:p>
            <a:pPr algn="ctr" defTabSz="820738">
              <a:lnSpc>
                <a:spcPct val="95000"/>
              </a:lnSpc>
              <a:spcBef>
                <a:spcPct val="0"/>
              </a:spcBef>
              <a:spcAft>
                <a:spcPct val="37000"/>
              </a:spcAft>
            </a:pPr>
            <a:r>
              <a:rPr lang="en-GB" sz="1400" b="1" dirty="0">
                <a:solidFill>
                  <a:schemeClr val="tx2"/>
                </a:solidFill>
                <a:ea typeface="ＭＳ Ｐゴシック" pitchFamily="50" charset="-128"/>
              </a:rPr>
              <a:t>Price </a:t>
            </a:r>
          </a:p>
        </p:txBody>
      </p:sp>
      <p:sp>
        <p:nvSpPr>
          <p:cNvPr id="21" name="Rectangle 20"/>
          <p:cNvSpPr>
            <a:spLocks noChangeArrowheads="1"/>
          </p:cNvSpPr>
          <p:nvPr>
            <p:custDataLst>
              <p:tags r:id="rId8"/>
            </p:custDataLst>
          </p:nvPr>
        </p:nvSpPr>
        <p:spPr bwMode="blackWhite">
          <a:xfrm>
            <a:off x="4621672" y="4214522"/>
            <a:ext cx="1409700" cy="350865"/>
          </a:xfrm>
          <a:prstGeom prst="rect">
            <a:avLst/>
          </a:prstGeom>
          <a:noFill/>
          <a:ln w="9525">
            <a:noFill/>
            <a:miter lim="800000"/>
            <a:headEnd/>
            <a:tailEnd/>
          </a:ln>
        </p:spPr>
        <p:txBody>
          <a:bodyPr lIns="0" tIns="0" rIns="0" bIns="0" anchorCtr="1">
            <a:spAutoFit/>
          </a:bodyPr>
          <a:lstStyle/>
          <a:p>
            <a:pPr defTabSz="820738">
              <a:lnSpc>
                <a:spcPct val="95000"/>
              </a:lnSpc>
              <a:spcBef>
                <a:spcPct val="0"/>
              </a:spcBef>
              <a:spcAft>
                <a:spcPct val="37000"/>
              </a:spcAft>
            </a:pPr>
            <a:r>
              <a:rPr lang="en-GB" sz="1200">
                <a:solidFill>
                  <a:schemeClr val="tx2"/>
                </a:solidFill>
                <a:ea typeface="ＭＳ Ｐゴシック" pitchFamily="50" charset="-128"/>
              </a:rPr>
              <a:t>Competitive</a:t>
            </a:r>
            <a:br>
              <a:rPr lang="en-GB" sz="1200">
                <a:solidFill>
                  <a:schemeClr val="tx2"/>
                </a:solidFill>
                <a:ea typeface="ＭＳ Ｐゴシック" pitchFamily="50" charset="-128"/>
              </a:rPr>
            </a:br>
            <a:r>
              <a:rPr lang="en-GB" sz="1200">
                <a:solidFill>
                  <a:schemeClr val="tx2"/>
                </a:solidFill>
                <a:ea typeface="ＭＳ Ｐゴシック" pitchFamily="50" charset="-128"/>
              </a:rPr>
              <a:t>disadvantage </a:t>
            </a:r>
          </a:p>
        </p:txBody>
      </p:sp>
      <p:sp>
        <p:nvSpPr>
          <p:cNvPr id="22" name="Rectangle 21"/>
          <p:cNvSpPr>
            <a:spLocks noChangeArrowheads="1"/>
          </p:cNvSpPr>
          <p:nvPr>
            <p:custDataLst>
              <p:tags r:id="rId9"/>
            </p:custDataLst>
          </p:nvPr>
        </p:nvSpPr>
        <p:spPr bwMode="blackWhite">
          <a:xfrm>
            <a:off x="3223084" y="2082509"/>
            <a:ext cx="1292225" cy="350865"/>
          </a:xfrm>
          <a:prstGeom prst="rect">
            <a:avLst/>
          </a:prstGeom>
          <a:noFill/>
          <a:ln w="9525">
            <a:noFill/>
            <a:miter lim="800000"/>
            <a:headEnd/>
            <a:tailEnd/>
          </a:ln>
        </p:spPr>
        <p:txBody>
          <a:bodyPr lIns="0" tIns="0" rIns="0" bIns="0" anchorCtr="1">
            <a:spAutoFit/>
          </a:bodyPr>
          <a:lstStyle/>
          <a:p>
            <a:pPr defTabSz="820738">
              <a:lnSpc>
                <a:spcPct val="95000"/>
              </a:lnSpc>
              <a:spcBef>
                <a:spcPct val="0"/>
              </a:spcBef>
              <a:spcAft>
                <a:spcPct val="37000"/>
              </a:spcAft>
            </a:pPr>
            <a:r>
              <a:rPr lang="en-GB" sz="1200">
                <a:solidFill>
                  <a:schemeClr val="tx2"/>
                </a:solidFill>
                <a:ea typeface="ＭＳ Ｐゴシック" pitchFamily="50" charset="-128"/>
              </a:rPr>
              <a:t>Competitive</a:t>
            </a:r>
            <a:br>
              <a:rPr lang="en-GB" sz="1200">
                <a:solidFill>
                  <a:schemeClr val="tx2"/>
                </a:solidFill>
                <a:ea typeface="ＭＳ Ｐゴシック" pitchFamily="50" charset="-128"/>
              </a:rPr>
            </a:br>
            <a:r>
              <a:rPr lang="en-GB" sz="1200">
                <a:solidFill>
                  <a:schemeClr val="tx2"/>
                </a:solidFill>
                <a:ea typeface="ＭＳ Ｐゴシック" pitchFamily="50" charset="-128"/>
              </a:rPr>
              <a:t>advantage </a:t>
            </a:r>
          </a:p>
        </p:txBody>
      </p:sp>
      <p:sp>
        <p:nvSpPr>
          <p:cNvPr id="23" name="Line 10"/>
          <p:cNvSpPr>
            <a:spLocks noChangeShapeType="1"/>
          </p:cNvSpPr>
          <p:nvPr>
            <p:custDataLst>
              <p:tags r:id="rId10"/>
            </p:custDataLst>
          </p:nvPr>
        </p:nvSpPr>
        <p:spPr bwMode="blackWhite">
          <a:xfrm flipV="1">
            <a:off x="2929371" y="1745957"/>
            <a:ext cx="3287738" cy="3182209"/>
          </a:xfrm>
          <a:prstGeom prst="line">
            <a:avLst/>
          </a:prstGeom>
          <a:noFill/>
          <a:ln w="12700">
            <a:solidFill>
              <a:schemeClr val="tx2"/>
            </a:solidFill>
            <a:round/>
            <a:headEnd type="none" w="sm" len="sm"/>
            <a:tailEnd type="none" w="sm" len="sm"/>
          </a:ln>
        </p:spPr>
        <p:txBody>
          <a:bodyPr wrap="square" lIns="0" tIns="0" rIns="0" bIns="0">
            <a:spAutoFit/>
          </a:bodyPr>
          <a:lstStyle/>
          <a:p>
            <a:endParaRPr lang="en-GB"/>
          </a:p>
        </p:txBody>
      </p:sp>
      <p:sp>
        <p:nvSpPr>
          <p:cNvPr id="24" name="Line 11"/>
          <p:cNvSpPr>
            <a:spLocks noChangeShapeType="1"/>
          </p:cNvSpPr>
          <p:nvPr>
            <p:custDataLst>
              <p:tags r:id="rId11"/>
            </p:custDataLst>
          </p:nvPr>
        </p:nvSpPr>
        <p:spPr bwMode="auto">
          <a:xfrm>
            <a:off x="2924183" y="4928166"/>
            <a:ext cx="3430438" cy="11843"/>
          </a:xfrm>
          <a:prstGeom prst="line">
            <a:avLst/>
          </a:prstGeom>
          <a:noFill/>
          <a:ln w="38100">
            <a:solidFill>
              <a:schemeClr val="tx2"/>
            </a:solidFill>
            <a:round/>
            <a:headEnd/>
            <a:tailEnd type="triangle" w="med" len="lg"/>
          </a:ln>
        </p:spPr>
        <p:txBody>
          <a:bodyPr wrap="none" lIns="0" tIns="0" rIns="0" bIns="0" anchor="ctr"/>
          <a:lstStyle/>
          <a:p>
            <a:endParaRPr lang="en-GB"/>
          </a:p>
        </p:txBody>
      </p:sp>
      <p:sp>
        <p:nvSpPr>
          <p:cNvPr id="25" name="Line 12"/>
          <p:cNvSpPr>
            <a:spLocks noChangeShapeType="1"/>
          </p:cNvSpPr>
          <p:nvPr>
            <p:custDataLst>
              <p:tags r:id="rId12"/>
            </p:custDataLst>
          </p:nvPr>
        </p:nvSpPr>
        <p:spPr bwMode="auto">
          <a:xfrm flipV="1">
            <a:off x="2928944" y="1607143"/>
            <a:ext cx="3915" cy="3339215"/>
          </a:xfrm>
          <a:prstGeom prst="line">
            <a:avLst/>
          </a:prstGeom>
          <a:noFill/>
          <a:ln w="38100">
            <a:solidFill>
              <a:schemeClr val="tx2"/>
            </a:solidFill>
            <a:round/>
            <a:headEnd/>
            <a:tailEnd type="triangle" w="med" len="lg"/>
          </a:ln>
        </p:spPr>
        <p:txBody>
          <a:bodyPr wrap="none" lIns="0" tIns="0" rIns="0" bIns="0" anchor="ctr"/>
          <a:lstStyle/>
          <a:p>
            <a:endParaRPr lang="en-GB"/>
          </a:p>
        </p:txBody>
      </p:sp>
      <p:sp>
        <p:nvSpPr>
          <p:cNvPr id="26" name="Line 9"/>
          <p:cNvSpPr>
            <a:spLocks noChangeShapeType="1"/>
          </p:cNvSpPr>
          <p:nvPr>
            <p:custDataLst>
              <p:tags r:id="rId13"/>
            </p:custDataLst>
          </p:nvPr>
        </p:nvSpPr>
        <p:spPr bwMode="blackWhite">
          <a:xfrm>
            <a:off x="4066046" y="2971509"/>
            <a:ext cx="898525" cy="938213"/>
          </a:xfrm>
          <a:prstGeom prst="line">
            <a:avLst/>
          </a:prstGeom>
          <a:noFill/>
          <a:ln w="76200">
            <a:solidFill>
              <a:schemeClr val="accent3"/>
            </a:solidFill>
            <a:round/>
            <a:headEnd type="triangle" w="med" len="lg"/>
            <a:tailEnd type="triangle" w="med" len="lg"/>
          </a:ln>
        </p:spPr>
        <p:txBody>
          <a:bodyPr lIns="0" tIns="0" rIns="0" bIns="0">
            <a:spAutoFit/>
          </a:bodyPr>
          <a:lstStyle/>
          <a:p>
            <a:endParaRPr lang="en-GB"/>
          </a:p>
        </p:txBody>
      </p:sp>
      <p:sp>
        <p:nvSpPr>
          <p:cNvPr id="27"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8" name="Text Placeholder 12"/>
          <p:cNvSpPr>
            <a:spLocks/>
          </p:cNvSpPr>
          <p:nvPr>
            <p:custDataLst>
              <p:tags r:id="rId14"/>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9265" name="Title 1"/>
          <p:cNvSpPr>
            <a:spLocks noGrp="1"/>
          </p:cNvSpPr>
          <p:nvPr>
            <p:ph type="title"/>
          </p:nvPr>
        </p:nvSpPr>
        <p:spPr/>
        <p:txBody>
          <a:bodyPr/>
          <a:lstStyle/>
          <a:p>
            <a:r>
              <a:rPr lang="en-GB" altLang="ja-JP"/>
              <a:t>Five forces</a:t>
            </a:r>
            <a:endParaRPr lang="nl-NL"/>
          </a:p>
        </p:txBody>
      </p:sp>
      <p:sp>
        <p:nvSpPr>
          <p:cNvPr id="4" name="AutoShape 3"/>
          <p:cNvSpPr>
            <a:spLocks noChangeArrowheads="1"/>
          </p:cNvSpPr>
          <p:nvPr/>
        </p:nvSpPr>
        <p:spPr bwMode="auto">
          <a:xfrm>
            <a:off x="3267868" y="2941507"/>
            <a:ext cx="1425575" cy="796925"/>
          </a:xfrm>
          <a:prstGeom prst="roundRect">
            <a:avLst>
              <a:gd name="adj" fmla="val 16667"/>
            </a:avLst>
          </a:prstGeom>
          <a:solidFill>
            <a:schemeClr val="accent3"/>
          </a:solidFill>
          <a:ln w="12700" cap="sq">
            <a:noFill/>
            <a:round/>
            <a:headEnd type="none" w="sm" len="sm"/>
            <a:tailEnd type="none" w="sm" len="sm"/>
          </a:ln>
        </p:spPr>
        <p:txBody>
          <a:bodyPr wrap="none" anchor="ctr"/>
          <a:lstStyle/>
          <a:p>
            <a:pPr algn="ctr">
              <a:defRPr/>
            </a:pPr>
            <a:r>
              <a:rPr lang="en-GB" sz="1200" b="1">
                <a:solidFill>
                  <a:schemeClr val="bg1"/>
                </a:solidFill>
                <a:ea typeface="ＭＳ Ｐゴシック" pitchFamily="50" charset="-128"/>
              </a:rPr>
              <a:t>Competitors</a:t>
            </a:r>
          </a:p>
          <a:p>
            <a:pPr algn="ctr">
              <a:defRPr/>
            </a:pPr>
            <a:endParaRPr lang="en-GB" sz="1200" b="1">
              <a:solidFill>
                <a:schemeClr val="bg1"/>
              </a:solidFill>
              <a:ea typeface="ＭＳ Ｐゴシック" pitchFamily="50" charset="-128"/>
            </a:endParaRPr>
          </a:p>
          <a:p>
            <a:pPr algn="ctr">
              <a:defRPr/>
            </a:pPr>
            <a:endParaRPr lang="en-GB" sz="1200" b="1">
              <a:solidFill>
                <a:schemeClr val="bg1"/>
              </a:solidFill>
              <a:ea typeface="ＭＳ Ｐゴシック" pitchFamily="50" charset="-128"/>
            </a:endParaRPr>
          </a:p>
        </p:txBody>
      </p:sp>
      <p:sp>
        <p:nvSpPr>
          <p:cNvPr id="5" name="AutoShape 4"/>
          <p:cNvSpPr>
            <a:spLocks noChangeArrowheads="1"/>
          </p:cNvSpPr>
          <p:nvPr/>
        </p:nvSpPr>
        <p:spPr bwMode="auto">
          <a:xfrm>
            <a:off x="5220493" y="2928807"/>
            <a:ext cx="1263650" cy="823913"/>
          </a:xfrm>
          <a:prstGeom prst="roundRect">
            <a:avLst>
              <a:gd name="adj" fmla="val 16667"/>
            </a:avLst>
          </a:prstGeom>
          <a:solidFill>
            <a:schemeClr val="accent3"/>
          </a:solidFill>
          <a:ln w="12700" cap="sq" algn="ctr">
            <a:noFill/>
            <a:round/>
            <a:headEnd type="none" w="sm" len="sm"/>
            <a:tailEnd type="none" w="sm" len="sm"/>
          </a:ln>
        </p:spPr>
        <p:txBody>
          <a:bodyPr wrap="none" anchor="ctr"/>
          <a:lstStyle/>
          <a:p>
            <a:pPr algn="ctr">
              <a:defRPr/>
            </a:pPr>
            <a:r>
              <a:rPr lang="en-GB" sz="1200" b="1">
                <a:solidFill>
                  <a:schemeClr val="bg1"/>
                </a:solidFill>
                <a:ea typeface="ＭＳ Ｐゴシック" pitchFamily="50" charset="-128"/>
              </a:rPr>
              <a:t>Customers</a:t>
            </a:r>
          </a:p>
        </p:txBody>
      </p:sp>
      <p:sp>
        <p:nvSpPr>
          <p:cNvPr id="6" name="AutoShape 5"/>
          <p:cNvSpPr>
            <a:spLocks noChangeArrowheads="1"/>
          </p:cNvSpPr>
          <p:nvPr/>
        </p:nvSpPr>
        <p:spPr bwMode="auto">
          <a:xfrm>
            <a:off x="1520031" y="2928807"/>
            <a:ext cx="1265237" cy="823913"/>
          </a:xfrm>
          <a:prstGeom prst="roundRect">
            <a:avLst>
              <a:gd name="adj" fmla="val 16667"/>
            </a:avLst>
          </a:prstGeom>
          <a:solidFill>
            <a:schemeClr val="accent3"/>
          </a:solidFill>
          <a:ln w="12700" cap="sq">
            <a:noFill/>
            <a:round/>
            <a:headEnd type="none" w="sm" len="sm"/>
            <a:tailEnd type="none" w="sm" len="sm"/>
          </a:ln>
        </p:spPr>
        <p:txBody>
          <a:bodyPr wrap="none" anchor="ctr"/>
          <a:lstStyle/>
          <a:p>
            <a:pPr algn="ctr">
              <a:defRPr/>
            </a:pPr>
            <a:r>
              <a:rPr lang="en-GB" sz="1200" b="1">
                <a:solidFill>
                  <a:schemeClr val="bg1"/>
                </a:solidFill>
                <a:ea typeface="ＭＳ Ｐゴシック" pitchFamily="50" charset="-128"/>
              </a:rPr>
              <a:t>Suppliers</a:t>
            </a:r>
          </a:p>
        </p:txBody>
      </p:sp>
      <p:sp>
        <p:nvSpPr>
          <p:cNvPr id="7" name="AutoShape 6"/>
          <p:cNvSpPr>
            <a:spLocks noChangeArrowheads="1"/>
          </p:cNvSpPr>
          <p:nvPr/>
        </p:nvSpPr>
        <p:spPr bwMode="auto">
          <a:xfrm>
            <a:off x="3347243" y="4270245"/>
            <a:ext cx="1266825" cy="823912"/>
          </a:xfrm>
          <a:prstGeom prst="roundRect">
            <a:avLst>
              <a:gd name="adj" fmla="val 16667"/>
            </a:avLst>
          </a:prstGeom>
          <a:solidFill>
            <a:schemeClr val="accent3"/>
          </a:solidFill>
          <a:ln w="12700" cap="sq" algn="ctr">
            <a:noFill/>
            <a:round/>
            <a:headEnd type="none" w="sm" len="sm"/>
            <a:tailEnd type="none" w="sm" len="sm"/>
          </a:ln>
        </p:spPr>
        <p:txBody>
          <a:bodyPr wrap="none" anchor="ctr"/>
          <a:lstStyle/>
          <a:p>
            <a:pPr algn="ctr">
              <a:defRPr/>
            </a:pPr>
            <a:r>
              <a:rPr lang="en-GB" sz="1200" b="1">
                <a:solidFill>
                  <a:schemeClr val="bg1"/>
                </a:solidFill>
                <a:ea typeface="ＭＳ Ｐゴシック" pitchFamily="50" charset="-128"/>
              </a:rPr>
              <a:t>Substitutes</a:t>
            </a:r>
          </a:p>
        </p:txBody>
      </p:sp>
      <p:sp>
        <p:nvSpPr>
          <p:cNvPr id="8" name="AutoShape 7"/>
          <p:cNvSpPr>
            <a:spLocks noChangeArrowheads="1"/>
          </p:cNvSpPr>
          <p:nvPr/>
        </p:nvSpPr>
        <p:spPr bwMode="auto">
          <a:xfrm>
            <a:off x="3347243" y="1588957"/>
            <a:ext cx="1266825" cy="823913"/>
          </a:xfrm>
          <a:prstGeom prst="roundRect">
            <a:avLst>
              <a:gd name="adj" fmla="val 16667"/>
            </a:avLst>
          </a:prstGeom>
          <a:solidFill>
            <a:schemeClr val="accent3"/>
          </a:solidFill>
          <a:ln w="12700" cap="sq" algn="ctr">
            <a:noFill/>
            <a:round/>
            <a:headEnd type="none" w="sm" len="sm"/>
            <a:tailEnd type="none" w="sm" len="sm"/>
          </a:ln>
        </p:spPr>
        <p:txBody>
          <a:bodyPr wrap="none" anchor="ctr"/>
          <a:lstStyle/>
          <a:p>
            <a:pPr algn="ctr">
              <a:defRPr/>
            </a:pPr>
            <a:r>
              <a:rPr lang="en-GB" sz="1200" b="1" dirty="0">
                <a:solidFill>
                  <a:schemeClr val="bg1"/>
                </a:solidFill>
                <a:ea typeface="ＭＳ Ｐゴシック" pitchFamily="50" charset="-128"/>
              </a:rPr>
              <a:t>New </a:t>
            </a:r>
            <a:r>
              <a:rPr lang="en-GB" sz="1200" b="1" dirty="0" smtClean="0">
                <a:solidFill>
                  <a:schemeClr val="bg1"/>
                </a:solidFill>
                <a:ea typeface="ＭＳ Ｐゴシック" pitchFamily="50" charset="-128"/>
              </a:rPr>
              <a:t>entrants</a:t>
            </a:r>
            <a:endParaRPr lang="en-GB" sz="1200" b="1" dirty="0">
              <a:solidFill>
                <a:schemeClr val="bg1"/>
              </a:solidFill>
              <a:ea typeface="ＭＳ Ｐゴシック" pitchFamily="50" charset="-128"/>
            </a:endParaRPr>
          </a:p>
        </p:txBody>
      </p:sp>
      <p:sp>
        <p:nvSpPr>
          <p:cNvPr id="779272" name="AutoShape 8"/>
          <p:cNvSpPr>
            <a:spLocks noChangeArrowheads="1"/>
          </p:cNvSpPr>
          <p:nvPr/>
        </p:nvSpPr>
        <p:spPr bwMode="gray">
          <a:xfrm>
            <a:off x="3669506" y="3859082"/>
            <a:ext cx="623887" cy="274638"/>
          </a:xfrm>
          <a:prstGeom prst="upArrow">
            <a:avLst>
              <a:gd name="adj1" fmla="val 46694"/>
              <a:gd name="adj2" fmla="val 52602"/>
            </a:avLst>
          </a:prstGeom>
          <a:solidFill>
            <a:schemeClr val="tx2"/>
          </a:solidFill>
          <a:ln w="28575" algn="ctr">
            <a:noFill/>
            <a:miter lim="800000"/>
            <a:headEnd type="none" w="sm" len="sm"/>
            <a:tailEnd type="none" w="sm" len="sm"/>
          </a:ln>
        </p:spPr>
        <p:txBody>
          <a:bodyPr wrap="none" anchor="ctr"/>
          <a:lstStyle/>
          <a:p>
            <a:pPr algn="ctr"/>
            <a:endParaRPr lang="en-GB" sz="1200">
              <a:solidFill>
                <a:schemeClr val="bg1"/>
              </a:solidFill>
            </a:endParaRPr>
          </a:p>
        </p:txBody>
      </p:sp>
      <p:sp>
        <p:nvSpPr>
          <p:cNvPr id="779273" name="AutoShape 9"/>
          <p:cNvSpPr>
            <a:spLocks noChangeArrowheads="1"/>
          </p:cNvSpPr>
          <p:nvPr/>
        </p:nvSpPr>
        <p:spPr bwMode="gray">
          <a:xfrm flipV="1">
            <a:off x="3669506" y="2523995"/>
            <a:ext cx="623887" cy="274637"/>
          </a:xfrm>
          <a:prstGeom prst="upArrow">
            <a:avLst>
              <a:gd name="adj1" fmla="val 46694"/>
              <a:gd name="adj2" fmla="val 52602"/>
            </a:avLst>
          </a:prstGeom>
          <a:solidFill>
            <a:schemeClr val="accent4"/>
          </a:solidFill>
          <a:ln w="28575" algn="ctr">
            <a:noFill/>
            <a:miter lim="800000"/>
            <a:headEnd type="none" w="sm" len="sm"/>
            <a:tailEnd type="none" w="sm" len="sm"/>
          </a:ln>
        </p:spPr>
        <p:txBody>
          <a:bodyPr rot="10800000" wrap="none" anchor="ctr"/>
          <a:lstStyle/>
          <a:p>
            <a:pPr algn="ctr"/>
            <a:endParaRPr lang="en-GB" sz="1200">
              <a:solidFill>
                <a:schemeClr val="bg1"/>
              </a:solidFill>
            </a:endParaRPr>
          </a:p>
        </p:txBody>
      </p:sp>
      <p:sp>
        <p:nvSpPr>
          <p:cNvPr id="779274" name="AutoShape 10"/>
          <p:cNvSpPr>
            <a:spLocks noChangeArrowheads="1"/>
          </p:cNvSpPr>
          <p:nvPr/>
        </p:nvSpPr>
        <p:spPr bwMode="gray">
          <a:xfrm rot="5400000" flipV="1">
            <a:off x="4597400" y="3215350"/>
            <a:ext cx="673100" cy="252413"/>
          </a:xfrm>
          <a:prstGeom prst="upArrow">
            <a:avLst>
              <a:gd name="adj1" fmla="val 46694"/>
              <a:gd name="adj2" fmla="val 52602"/>
            </a:avLst>
          </a:prstGeom>
          <a:solidFill>
            <a:schemeClr val="accent6"/>
          </a:solidFill>
          <a:ln w="28575" algn="ctr">
            <a:noFill/>
            <a:miter lim="800000"/>
            <a:headEnd type="none" w="sm" len="sm"/>
            <a:tailEnd type="none" w="sm" len="sm"/>
          </a:ln>
        </p:spPr>
        <p:txBody>
          <a:bodyPr vert="eaVert" wrap="none" anchor="ctr"/>
          <a:lstStyle/>
          <a:p>
            <a:pPr algn="ctr"/>
            <a:endParaRPr lang="en-GB" sz="1200">
              <a:solidFill>
                <a:schemeClr val="bg1"/>
              </a:solidFill>
            </a:endParaRPr>
          </a:p>
        </p:txBody>
      </p:sp>
      <p:sp>
        <p:nvSpPr>
          <p:cNvPr id="779275" name="AutoShape 11"/>
          <p:cNvSpPr>
            <a:spLocks noChangeArrowheads="1"/>
          </p:cNvSpPr>
          <p:nvPr/>
        </p:nvSpPr>
        <p:spPr bwMode="gray">
          <a:xfrm rot="-5400000" flipH="1" flipV="1">
            <a:off x="2686843" y="3214557"/>
            <a:ext cx="673100" cy="254000"/>
          </a:xfrm>
          <a:prstGeom prst="upArrow">
            <a:avLst>
              <a:gd name="adj1" fmla="val 46694"/>
              <a:gd name="adj2" fmla="val 52602"/>
            </a:avLst>
          </a:prstGeom>
          <a:solidFill>
            <a:schemeClr val="tx2"/>
          </a:solidFill>
          <a:ln w="28575" algn="ctr">
            <a:noFill/>
            <a:miter lim="800000"/>
            <a:headEnd type="none" w="sm" len="sm"/>
            <a:tailEnd type="none" w="sm" len="sm"/>
          </a:ln>
        </p:spPr>
        <p:txBody>
          <a:bodyPr rot="10800000" vert="eaVert" wrap="none" anchor="ctr"/>
          <a:lstStyle/>
          <a:p>
            <a:pPr algn="ctr"/>
            <a:endParaRPr lang="en-GB" sz="1200">
              <a:solidFill>
                <a:schemeClr val="bg1"/>
              </a:solidFill>
            </a:endParaRPr>
          </a:p>
        </p:txBody>
      </p:sp>
      <p:sp>
        <p:nvSpPr>
          <p:cNvPr id="779276" name="Freeform 12"/>
          <p:cNvSpPr>
            <a:spLocks/>
          </p:cNvSpPr>
          <p:nvPr/>
        </p:nvSpPr>
        <p:spPr bwMode="gray">
          <a:xfrm rot="6101577">
            <a:off x="3751262" y="3196301"/>
            <a:ext cx="368300" cy="579438"/>
          </a:xfrm>
          <a:custGeom>
            <a:avLst/>
            <a:gdLst>
              <a:gd name="T0" fmla="*/ 2147483647 w 679"/>
              <a:gd name="T1" fmla="*/ 2147483647 h 1274"/>
              <a:gd name="T2" fmla="*/ 2147483647 w 679"/>
              <a:gd name="T3" fmla="*/ 2147483647 h 1274"/>
              <a:gd name="T4" fmla="*/ 2147483647 w 679"/>
              <a:gd name="T5" fmla="*/ 2147483647 h 1274"/>
              <a:gd name="T6" fmla="*/ 2147483647 w 679"/>
              <a:gd name="T7" fmla="*/ 2147483647 h 1274"/>
              <a:gd name="T8" fmla="*/ 2147483647 w 679"/>
              <a:gd name="T9" fmla="*/ 2147483647 h 1274"/>
              <a:gd name="T10" fmla="*/ 2147483647 w 679"/>
              <a:gd name="T11" fmla="*/ 2147483647 h 1274"/>
              <a:gd name="T12" fmla="*/ 2147483647 w 679"/>
              <a:gd name="T13" fmla="*/ 2147483647 h 1274"/>
              <a:gd name="T14" fmla="*/ 2147483647 w 679"/>
              <a:gd name="T15" fmla="*/ 2147483647 h 1274"/>
              <a:gd name="T16" fmla="*/ 2147483647 w 679"/>
              <a:gd name="T17" fmla="*/ 2147483647 h 1274"/>
              <a:gd name="T18" fmla="*/ 2147483647 w 679"/>
              <a:gd name="T19" fmla="*/ 2147483647 h 1274"/>
              <a:gd name="T20" fmla="*/ 2147483647 w 679"/>
              <a:gd name="T21" fmla="*/ 2147483647 h 1274"/>
              <a:gd name="T22" fmla="*/ 2147483647 w 679"/>
              <a:gd name="T23" fmla="*/ 2147483647 h 1274"/>
              <a:gd name="T24" fmla="*/ 2147483647 w 679"/>
              <a:gd name="T25" fmla="*/ 2147483647 h 1274"/>
              <a:gd name="T26" fmla="*/ 2147483647 w 679"/>
              <a:gd name="T27" fmla="*/ 2147483647 h 1274"/>
              <a:gd name="T28" fmla="*/ 2147483647 w 679"/>
              <a:gd name="T29" fmla="*/ 2147483647 h 1274"/>
              <a:gd name="T30" fmla="*/ 2147483647 w 679"/>
              <a:gd name="T31" fmla="*/ 2147483647 h 1274"/>
              <a:gd name="T32" fmla="*/ 2147483647 w 679"/>
              <a:gd name="T33" fmla="*/ 2147483647 h 1274"/>
              <a:gd name="T34" fmla="*/ 2147483647 w 679"/>
              <a:gd name="T35" fmla="*/ 2147483647 h 1274"/>
              <a:gd name="T36" fmla="*/ 2147483647 w 679"/>
              <a:gd name="T37" fmla="*/ 2147483647 h 1274"/>
              <a:gd name="T38" fmla="*/ 2147483647 w 679"/>
              <a:gd name="T39" fmla="*/ 2147483647 h 1274"/>
              <a:gd name="T40" fmla="*/ 2147483647 w 679"/>
              <a:gd name="T41" fmla="*/ 2147483647 h 1274"/>
              <a:gd name="T42" fmla="*/ 2147483647 w 679"/>
              <a:gd name="T43" fmla="*/ 2147483647 h 1274"/>
              <a:gd name="T44" fmla="*/ 2147483647 w 679"/>
              <a:gd name="T45" fmla="*/ 2147483647 h 1274"/>
              <a:gd name="T46" fmla="*/ 2147483647 w 679"/>
              <a:gd name="T47" fmla="*/ 2147483647 h 1274"/>
              <a:gd name="T48" fmla="*/ 2147483647 w 679"/>
              <a:gd name="T49" fmla="*/ 2147483647 h 1274"/>
              <a:gd name="T50" fmla="*/ 2147483647 w 679"/>
              <a:gd name="T51" fmla="*/ 2147483647 h 1274"/>
              <a:gd name="T52" fmla="*/ 2147483647 w 679"/>
              <a:gd name="T53" fmla="*/ 2147483647 h 1274"/>
              <a:gd name="T54" fmla="*/ 2147483647 w 679"/>
              <a:gd name="T55" fmla="*/ 2147483647 h 1274"/>
              <a:gd name="T56" fmla="*/ 2147483647 w 679"/>
              <a:gd name="T57" fmla="*/ 2147483647 h 1274"/>
              <a:gd name="T58" fmla="*/ 2147483647 w 679"/>
              <a:gd name="T59" fmla="*/ 2147483647 h 1274"/>
              <a:gd name="T60" fmla="*/ 2147483647 w 679"/>
              <a:gd name="T61" fmla="*/ 2147483647 h 1274"/>
              <a:gd name="T62" fmla="*/ 2147483647 w 679"/>
              <a:gd name="T63" fmla="*/ 2147483647 h 1274"/>
              <a:gd name="T64" fmla="*/ 2147483647 w 679"/>
              <a:gd name="T65" fmla="*/ 2147483647 h 1274"/>
              <a:gd name="T66" fmla="*/ 2147483647 w 679"/>
              <a:gd name="T67" fmla="*/ 2147483647 h 1274"/>
              <a:gd name="T68" fmla="*/ 2147483647 w 679"/>
              <a:gd name="T69" fmla="*/ 2147483647 h 1274"/>
              <a:gd name="T70" fmla="*/ 2147483647 w 679"/>
              <a:gd name="T71" fmla="*/ 2147483647 h 1274"/>
              <a:gd name="T72" fmla="*/ 2147483647 w 679"/>
              <a:gd name="T73" fmla="*/ 2147483647 h 1274"/>
              <a:gd name="T74" fmla="*/ 2147483647 w 679"/>
              <a:gd name="T75" fmla="*/ 2147483647 h 1274"/>
              <a:gd name="T76" fmla="*/ 2147483647 w 679"/>
              <a:gd name="T77" fmla="*/ 2147483647 h 1274"/>
              <a:gd name="T78" fmla="*/ 2147483647 w 679"/>
              <a:gd name="T79" fmla="*/ 2147483647 h 1274"/>
              <a:gd name="T80" fmla="*/ 2147483647 w 679"/>
              <a:gd name="T81" fmla="*/ 2147483647 h 1274"/>
              <a:gd name="T82" fmla="*/ 2147483647 w 679"/>
              <a:gd name="T83" fmla="*/ 2147483647 h 1274"/>
              <a:gd name="T84" fmla="*/ 2147483647 w 679"/>
              <a:gd name="T85" fmla="*/ 2147483647 h 1274"/>
              <a:gd name="T86" fmla="*/ 2147483647 w 679"/>
              <a:gd name="T87" fmla="*/ 2147483647 h 1274"/>
              <a:gd name="T88" fmla="*/ 2147483647 w 679"/>
              <a:gd name="T89" fmla="*/ 2147483647 h 1274"/>
              <a:gd name="T90" fmla="*/ 0 w 679"/>
              <a:gd name="T91" fmla="*/ 2147483647 h 1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79"/>
              <a:gd name="T139" fmla="*/ 0 h 1274"/>
              <a:gd name="T140" fmla="*/ 679 w 679"/>
              <a:gd name="T141" fmla="*/ 1274 h 1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79" h="1274">
                <a:moveTo>
                  <a:pt x="0" y="0"/>
                </a:moveTo>
                <a:lnTo>
                  <a:pt x="13" y="2"/>
                </a:lnTo>
                <a:lnTo>
                  <a:pt x="29" y="4"/>
                </a:lnTo>
                <a:lnTo>
                  <a:pt x="48" y="9"/>
                </a:lnTo>
                <a:lnTo>
                  <a:pt x="64" y="13"/>
                </a:lnTo>
                <a:lnTo>
                  <a:pt x="79" y="18"/>
                </a:lnTo>
                <a:lnTo>
                  <a:pt x="92" y="22"/>
                </a:lnTo>
                <a:lnTo>
                  <a:pt x="108" y="27"/>
                </a:lnTo>
                <a:lnTo>
                  <a:pt x="123" y="31"/>
                </a:lnTo>
                <a:lnTo>
                  <a:pt x="138" y="38"/>
                </a:lnTo>
                <a:lnTo>
                  <a:pt x="156" y="44"/>
                </a:lnTo>
                <a:lnTo>
                  <a:pt x="171" y="51"/>
                </a:lnTo>
                <a:lnTo>
                  <a:pt x="189" y="58"/>
                </a:lnTo>
                <a:lnTo>
                  <a:pt x="206" y="67"/>
                </a:lnTo>
                <a:lnTo>
                  <a:pt x="222" y="73"/>
                </a:lnTo>
                <a:lnTo>
                  <a:pt x="237" y="82"/>
                </a:lnTo>
                <a:lnTo>
                  <a:pt x="252" y="91"/>
                </a:lnTo>
                <a:lnTo>
                  <a:pt x="265" y="100"/>
                </a:lnTo>
                <a:lnTo>
                  <a:pt x="279" y="109"/>
                </a:lnTo>
                <a:lnTo>
                  <a:pt x="292" y="118"/>
                </a:lnTo>
                <a:lnTo>
                  <a:pt x="309" y="129"/>
                </a:lnTo>
                <a:lnTo>
                  <a:pt x="323" y="140"/>
                </a:lnTo>
                <a:lnTo>
                  <a:pt x="338" y="151"/>
                </a:lnTo>
                <a:lnTo>
                  <a:pt x="351" y="160"/>
                </a:lnTo>
                <a:lnTo>
                  <a:pt x="371" y="177"/>
                </a:lnTo>
                <a:lnTo>
                  <a:pt x="393" y="200"/>
                </a:lnTo>
                <a:lnTo>
                  <a:pt x="410" y="215"/>
                </a:lnTo>
                <a:lnTo>
                  <a:pt x="430" y="237"/>
                </a:lnTo>
                <a:lnTo>
                  <a:pt x="443" y="253"/>
                </a:lnTo>
                <a:lnTo>
                  <a:pt x="459" y="273"/>
                </a:lnTo>
                <a:lnTo>
                  <a:pt x="476" y="293"/>
                </a:lnTo>
                <a:lnTo>
                  <a:pt x="489" y="313"/>
                </a:lnTo>
                <a:lnTo>
                  <a:pt x="505" y="335"/>
                </a:lnTo>
                <a:lnTo>
                  <a:pt x="518" y="357"/>
                </a:lnTo>
                <a:lnTo>
                  <a:pt x="531" y="379"/>
                </a:lnTo>
                <a:lnTo>
                  <a:pt x="542" y="399"/>
                </a:lnTo>
                <a:lnTo>
                  <a:pt x="553" y="426"/>
                </a:lnTo>
                <a:lnTo>
                  <a:pt x="564" y="448"/>
                </a:lnTo>
                <a:lnTo>
                  <a:pt x="573" y="475"/>
                </a:lnTo>
                <a:lnTo>
                  <a:pt x="584" y="501"/>
                </a:lnTo>
                <a:lnTo>
                  <a:pt x="595" y="534"/>
                </a:lnTo>
                <a:lnTo>
                  <a:pt x="601" y="566"/>
                </a:lnTo>
                <a:lnTo>
                  <a:pt x="610" y="597"/>
                </a:lnTo>
                <a:lnTo>
                  <a:pt x="614" y="628"/>
                </a:lnTo>
                <a:lnTo>
                  <a:pt x="619" y="665"/>
                </a:lnTo>
                <a:lnTo>
                  <a:pt x="623" y="710"/>
                </a:lnTo>
                <a:lnTo>
                  <a:pt x="623" y="745"/>
                </a:lnTo>
                <a:lnTo>
                  <a:pt x="623" y="781"/>
                </a:lnTo>
                <a:lnTo>
                  <a:pt x="619" y="814"/>
                </a:lnTo>
                <a:lnTo>
                  <a:pt x="617" y="845"/>
                </a:lnTo>
                <a:lnTo>
                  <a:pt x="612" y="878"/>
                </a:lnTo>
                <a:lnTo>
                  <a:pt x="606" y="912"/>
                </a:lnTo>
                <a:lnTo>
                  <a:pt x="597" y="947"/>
                </a:lnTo>
                <a:lnTo>
                  <a:pt x="584" y="985"/>
                </a:lnTo>
                <a:lnTo>
                  <a:pt x="573" y="1018"/>
                </a:lnTo>
                <a:lnTo>
                  <a:pt x="560" y="1051"/>
                </a:lnTo>
                <a:lnTo>
                  <a:pt x="544" y="1084"/>
                </a:lnTo>
                <a:lnTo>
                  <a:pt x="527" y="1116"/>
                </a:lnTo>
                <a:lnTo>
                  <a:pt x="678" y="1204"/>
                </a:lnTo>
                <a:lnTo>
                  <a:pt x="213" y="1273"/>
                </a:lnTo>
                <a:lnTo>
                  <a:pt x="42" y="841"/>
                </a:lnTo>
                <a:lnTo>
                  <a:pt x="222" y="936"/>
                </a:lnTo>
                <a:lnTo>
                  <a:pt x="239" y="909"/>
                </a:lnTo>
                <a:lnTo>
                  <a:pt x="248" y="883"/>
                </a:lnTo>
                <a:lnTo>
                  <a:pt x="259" y="858"/>
                </a:lnTo>
                <a:lnTo>
                  <a:pt x="265" y="832"/>
                </a:lnTo>
                <a:lnTo>
                  <a:pt x="270" y="807"/>
                </a:lnTo>
                <a:lnTo>
                  <a:pt x="272" y="783"/>
                </a:lnTo>
                <a:lnTo>
                  <a:pt x="274" y="758"/>
                </a:lnTo>
                <a:lnTo>
                  <a:pt x="274" y="736"/>
                </a:lnTo>
                <a:lnTo>
                  <a:pt x="272" y="707"/>
                </a:lnTo>
                <a:lnTo>
                  <a:pt x="270" y="679"/>
                </a:lnTo>
                <a:lnTo>
                  <a:pt x="263" y="648"/>
                </a:lnTo>
                <a:lnTo>
                  <a:pt x="257" y="623"/>
                </a:lnTo>
                <a:lnTo>
                  <a:pt x="246" y="594"/>
                </a:lnTo>
                <a:lnTo>
                  <a:pt x="237" y="570"/>
                </a:lnTo>
                <a:lnTo>
                  <a:pt x="224" y="548"/>
                </a:lnTo>
                <a:lnTo>
                  <a:pt x="213" y="530"/>
                </a:lnTo>
                <a:lnTo>
                  <a:pt x="202" y="515"/>
                </a:lnTo>
                <a:lnTo>
                  <a:pt x="191" y="499"/>
                </a:lnTo>
                <a:lnTo>
                  <a:pt x="180" y="486"/>
                </a:lnTo>
                <a:lnTo>
                  <a:pt x="167" y="470"/>
                </a:lnTo>
                <a:lnTo>
                  <a:pt x="154" y="459"/>
                </a:lnTo>
                <a:lnTo>
                  <a:pt x="140" y="444"/>
                </a:lnTo>
                <a:lnTo>
                  <a:pt x="129" y="432"/>
                </a:lnTo>
                <a:lnTo>
                  <a:pt x="114" y="421"/>
                </a:lnTo>
                <a:lnTo>
                  <a:pt x="94" y="410"/>
                </a:lnTo>
                <a:lnTo>
                  <a:pt x="79" y="399"/>
                </a:lnTo>
                <a:lnTo>
                  <a:pt x="66" y="393"/>
                </a:lnTo>
                <a:lnTo>
                  <a:pt x="46" y="381"/>
                </a:lnTo>
                <a:lnTo>
                  <a:pt x="29" y="373"/>
                </a:lnTo>
                <a:lnTo>
                  <a:pt x="0" y="364"/>
                </a:lnTo>
                <a:lnTo>
                  <a:pt x="0" y="0"/>
                </a:lnTo>
              </a:path>
            </a:pathLst>
          </a:custGeom>
          <a:solidFill>
            <a:schemeClr val="accent6"/>
          </a:solidFill>
          <a:ln w="12700">
            <a:solidFill>
              <a:schemeClr val="bg1"/>
            </a:solidFill>
            <a:round/>
            <a:headEnd/>
            <a:tailEnd/>
          </a:ln>
        </p:spPr>
        <p:txBody>
          <a:bodyPr wrap="none" anchor="ctr"/>
          <a:lstStyle/>
          <a:p>
            <a:endParaRPr lang="en-GB" sz="1200">
              <a:solidFill>
                <a:schemeClr val="bg1"/>
              </a:solidFill>
            </a:endParaRPr>
          </a:p>
        </p:txBody>
      </p:sp>
      <p:sp>
        <p:nvSpPr>
          <p:cNvPr id="779277" name="AutoShape 13"/>
          <p:cNvSpPr>
            <a:spLocks noChangeArrowheads="1"/>
          </p:cNvSpPr>
          <p:nvPr/>
        </p:nvSpPr>
        <p:spPr bwMode="gray">
          <a:xfrm rot="-5400000" flipH="1" flipV="1">
            <a:off x="7041356" y="1677988"/>
            <a:ext cx="387350" cy="196850"/>
          </a:xfrm>
          <a:prstGeom prst="upArrow">
            <a:avLst>
              <a:gd name="adj1" fmla="val 46694"/>
              <a:gd name="adj2" fmla="val 52602"/>
            </a:avLst>
          </a:prstGeom>
          <a:solidFill>
            <a:schemeClr val="tx2"/>
          </a:solidFill>
          <a:ln w="28575" algn="ctr">
            <a:noFill/>
            <a:miter lim="800000"/>
            <a:headEnd type="none" w="sm" len="sm"/>
            <a:tailEnd type="none" w="sm" len="sm"/>
          </a:ln>
        </p:spPr>
        <p:txBody>
          <a:bodyPr rot="10800000" vert="eaVert" wrap="none" anchor="ctr"/>
          <a:lstStyle/>
          <a:p>
            <a:pPr algn="ctr"/>
            <a:endParaRPr lang="en-GB" sz="1200">
              <a:solidFill>
                <a:schemeClr val="tx2"/>
              </a:solidFill>
            </a:endParaRPr>
          </a:p>
        </p:txBody>
      </p:sp>
      <p:sp>
        <p:nvSpPr>
          <p:cNvPr id="779278" name="AutoShape 14"/>
          <p:cNvSpPr>
            <a:spLocks noChangeArrowheads="1"/>
          </p:cNvSpPr>
          <p:nvPr/>
        </p:nvSpPr>
        <p:spPr bwMode="gray">
          <a:xfrm rot="-5400000" flipH="1" flipV="1">
            <a:off x="7041356" y="2181225"/>
            <a:ext cx="387350" cy="196850"/>
          </a:xfrm>
          <a:prstGeom prst="upArrow">
            <a:avLst>
              <a:gd name="adj1" fmla="val 46694"/>
              <a:gd name="adj2" fmla="val 52602"/>
            </a:avLst>
          </a:prstGeom>
          <a:solidFill>
            <a:schemeClr val="accent4"/>
          </a:solidFill>
          <a:ln w="28575" algn="ctr">
            <a:noFill/>
            <a:miter lim="800000"/>
            <a:headEnd type="none" w="sm" len="sm"/>
            <a:tailEnd type="none" w="sm" len="sm"/>
          </a:ln>
        </p:spPr>
        <p:txBody>
          <a:bodyPr rot="10800000" vert="eaVert" wrap="none" anchor="ctr"/>
          <a:lstStyle/>
          <a:p>
            <a:pPr algn="ctr"/>
            <a:endParaRPr lang="en-GB" sz="1200">
              <a:solidFill>
                <a:schemeClr val="tx2"/>
              </a:solidFill>
            </a:endParaRPr>
          </a:p>
        </p:txBody>
      </p:sp>
      <p:sp>
        <p:nvSpPr>
          <p:cNvPr id="779279" name="AutoShape 15"/>
          <p:cNvSpPr>
            <a:spLocks noChangeArrowheads="1"/>
          </p:cNvSpPr>
          <p:nvPr/>
        </p:nvSpPr>
        <p:spPr bwMode="gray">
          <a:xfrm rot="-5400000" flipH="1" flipV="1">
            <a:off x="7041356" y="2686050"/>
            <a:ext cx="387350" cy="196850"/>
          </a:xfrm>
          <a:prstGeom prst="upArrow">
            <a:avLst>
              <a:gd name="adj1" fmla="val 46694"/>
              <a:gd name="adj2" fmla="val 52602"/>
            </a:avLst>
          </a:prstGeom>
          <a:solidFill>
            <a:schemeClr val="accent6"/>
          </a:solidFill>
          <a:ln w="28575" algn="ctr">
            <a:noFill/>
            <a:miter lim="800000"/>
            <a:headEnd type="none" w="sm" len="sm"/>
            <a:tailEnd type="none" w="sm" len="sm"/>
          </a:ln>
        </p:spPr>
        <p:txBody>
          <a:bodyPr rot="10800000" vert="eaVert" wrap="none" anchor="ctr"/>
          <a:lstStyle/>
          <a:p>
            <a:pPr algn="ctr"/>
            <a:endParaRPr lang="en-GB" sz="1200">
              <a:solidFill>
                <a:schemeClr val="tx2"/>
              </a:solidFill>
            </a:endParaRPr>
          </a:p>
        </p:txBody>
      </p:sp>
      <p:sp>
        <p:nvSpPr>
          <p:cNvPr id="779280" name="Text Box 16"/>
          <p:cNvSpPr txBox="1">
            <a:spLocks noChangeArrowheads="1"/>
          </p:cNvSpPr>
          <p:nvPr/>
        </p:nvSpPr>
        <p:spPr bwMode="auto">
          <a:xfrm>
            <a:off x="7333456" y="1639888"/>
            <a:ext cx="636587" cy="276225"/>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Strong</a:t>
            </a:r>
          </a:p>
        </p:txBody>
      </p:sp>
      <p:sp>
        <p:nvSpPr>
          <p:cNvPr id="779281" name="Text Box 17"/>
          <p:cNvSpPr txBox="1">
            <a:spLocks noChangeArrowheads="1"/>
          </p:cNvSpPr>
          <p:nvPr/>
        </p:nvSpPr>
        <p:spPr bwMode="auto">
          <a:xfrm>
            <a:off x="7333456" y="2143125"/>
            <a:ext cx="831850" cy="276225"/>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Moderate</a:t>
            </a:r>
          </a:p>
        </p:txBody>
      </p:sp>
      <p:sp>
        <p:nvSpPr>
          <p:cNvPr id="779282" name="Text Box 18"/>
          <p:cNvSpPr txBox="1">
            <a:spLocks noChangeArrowheads="1"/>
          </p:cNvSpPr>
          <p:nvPr/>
        </p:nvSpPr>
        <p:spPr bwMode="auto">
          <a:xfrm>
            <a:off x="7333456" y="2647950"/>
            <a:ext cx="574675" cy="276225"/>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Weak</a:t>
            </a:r>
          </a:p>
        </p:txBody>
      </p:sp>
      <p:sp>
        <p:nvSpPr>
          <p:cNvPr id="2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5"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0289" name="Title 1"/>
          <p:cNvSpPr>
            <a:spLocks noGrp="1"/>
          </p:cNvSpPr>
          <p:nvPr>
            <p:ph type="title"/>
          </p:nvPr>
        </p:nvSpPr>
        <p:spPr>
          <a:xfrm>
            <a:off x="414338" y="446038"/>
            <a:ext cx="8330184" cy="333425"/>
          </a:xfrm>
        </p:spPr>
        <p:txBody>
          <a:bodyPr/>
          <a:lstStyle/>
          <a:p>
            <a:r>
              <a:rPr lang="en-GB" altLang="ja-JP"/>
              <a:t>Activity map </a:t>
            </a:r>
            <a:r>
              <a:rPr lang="en-US"/>
              <a:t>—</a:t>
            </a:r>
            <a:r>
              <a:rPr lang="en-GB" altLang="ja-JP" smtClean="0"/>
              <a:t> </a:t>
            </a:r>
            <a:r>
              <a:rPr lang="en-GB" altLang="ja-JP"/>
              <a:t>generic</a:t>
            </a:r>
            <a:endParaRPr lang="nl-NL"/>
          </a:p>
        </p:txBody>
      </p:sp>
      <p:sp>
        <p:nvSpPr>
          <p:cNvPr id="780291" name="Text Box 3"/>
          <p:cNvSpPr txBox="1">
            <a:spLocks noChangeArrowheads="1"/>
          </p:cNvSpPr>
          <p:nvPr/>
        </p:nvSpPr>
        <p:spPr bwMode="auto">
          <a:xfrm>
            <a:off x="830263" y="1551867"/>
            <a:ext cx="468312" cy="277812"/>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5" name="Rectangle 4"/>
          <p:cNvSpPr>
            <a:spLocks noChangeArrowheads="1"/>
          </p:cNvSpPr>
          <p:nvPr/>
        </p:nvSpPr>
        <p:spPr bwMode="auto">
          <a:xfrm>
            <a:off x="1581150" y="1582029"/>
            <a:ext cx="598488"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p>
        </p:txBody>
      </p:sp>
      <p:sp>
        <p:nvSpPr>
          <p:cNvPr id="780293" name="Rectangle 5"/>
          <p:cNvSpPr>
            <a:spLocks noChangeArrowheads="1"/>
          </p:cNvSpPr>
          <p:nvPr/>
        </p:nvSpPr>
        <p:spPr bwMode="auto">
          <a:xfrm>
            <a:off x="2457450" y="1582029"/>
            <a:ext cx="598488" cy="215900"/>
          </a:xfrm>
          <a:prstGeom prst="rect">
            <a:avLst/>
          </a:prstGeom>
          <a:solidFill>
            <a:schemeClr val="accent2"/>
          </a:solidFill>
          <a:ln w="12700" algn="ctr">
            <a:solidFill>
              <a:schemeClr val="bg1"/>
            </a:solidFill>
            <a:miter lim="800000"/>
            <a:headEnd type="none" w="sm" len="sm"/>
            <a:tailEnd type="none" w="med" len="lg"/>
          </a:ln>
        </p:spPr>
        <p:txBody>
          <a:bodyPr wrap="none" anchor="ctr"/>
          <a:lstStyle/>
          <a:p>
            <a:pPr algn="ctr"/>
            <a:endParaRPr lang="en-GB" sz="1000">
              <a:solidFill>
                <a:schemeClr val="tx2"/>
              </a:solidFill>
            </a:endParaRPr>
          </a:p>
        </p:txBody>
      </p:sp>
      <p:sp>
        <p:nvSpPr>
          <p:cNvPr id="7" name="Rectangle 6"/>
          <p:cNvSpPr>
            <a:spLocks noChangeArrowheads="1"/>
          </p:cNvSpPr>
          <p:nvPr/>
        </p:nvSpPr>
        <p:spPr bwMode="auto">
          <a:xfrm>
            <a:off x="3335338" y="1582029"/>
            <a:ext cx="598487"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solidFill>
                <a:schemeClr val="tx2"/>
              </a:solidFill>
            </a:endParaRPr>
          </a:p>
        </p:txBody>
      </p:sp>
      <p:sp>
        <p:nvSpPr>
          <p:cNvPr id="8" name="Rectangle 7"/>
          <p:cNvSpPr>
            <a:spLocks noChangeArrowheads="1"/>
          </p:cNvSpPr>
          <p:nvPr/>
        </p:nvSpPr>
        <p:spPr bwMode="auto">
          <a:xfrm>
            <a:off x="4213225" y="1582029"/>
            <a:ext cx="596900" cy="215900"/>
          </a:xfrm>
          <a:prstGeom prst="rect">
            <a:avLst/>
          </a:prstGeom>
          <a:noFill/>
          <a:ln w="12700">
            <a:solidFill>
              <a:schemeClr val="accent3"/>
            </a:solidFill>
            <a:miter lim="800000"/>
            <a:headEnd type="none" w="sm" len="sm"/>
            <a:tailEnd type="none" w="med" len="lg"/>
          </a:ln>
        </p:spPr>
        <p:txBody>
          <a:bodyPr wrap="none" anchor="ctr"/>
          <a:lstStyle/>
          <a:p>
            <a:pPr algn="ctr">
              <a:defRPr/>
            </a:pPr>
            <a:endParaRPr lang="en-GB" sz="1000">
              <a:solidFill>
                <a:schemeClr val="tx2"/>
              </a:solidFill>
            </a:endParaRPr>
          </a:p>
        </p:txBody>
      </p:sp>
      <p:sp>
        <p:nvSpPr>
          <p:cNvPr id="9" name="Rectangle 8"/>
          <p:cNvSpPr>
            <a:spLocks noChangeArrowheads="1"/>
          </p:cNvSpPr>
          <p:nvPr/>
        </p:nvSpPr>
        <p:spPr bwMode="auto">
          <a:xfrm>
            <a:off x="5091113" y="1582029"/>
            <a:ext cx="596900" cy="215900"/>
          </a:xfrm>
          <a:prstGeom prst="rect">
            <a:avLst/>
          </a:prstGeom>
          <a:noFill/>
          <a:ln w="12700">
            <a:solidFill>
              <a:schemeClr val="accent3"/>
            </a:solidFill>
            <a:miter lim="800000"/>
            <a:headEnd type="none" w="sm" len="sm"/>
            <a:tailEnd type="none" w="med" len="lg"/>
          </a:ln>
        </p:spPr>
        <p:txBody>
          <a:bodyPr wrap="none" anchor="ctr"/>
          <a:lstStyle/>
          <a:p>
            <a:pPr algn="ctr">
              <a:defRPr/>
            </a:pPr>
            <a:endParaRPr lang="en-GB" sz="1000">
              <a:solidFill>
                <a:schemeClr val="tx2"/>
              </a:solidFill>
            </a:endParaRPr>
          </a:p>
        </p:txBody>
      </p:sp>
      <p:sp>
        <p:nvSpPr>
          <p:cNvPr id="10" name="Rectangle 9"/>
          <p:cNvSpPr>
            <a:spLocks noChangeArrowheads="1"/>
          </p:cNvSpPr>
          <p:nvPr/>
        </p:nvSpPr>
        <p:spPr bwMode="auto">
          <a:xfrm>
            <a:off x="5969000" y="1582029"/>
            <a:ext cx="596900" cy="215900"/>
          </a:xfrm>
          <a:prstGeom prst="rect">
            <a:avLst/>
          </a:prstGeom>
          <a:noFill/>
          <a:ln w="12700">
            <a:solidFill>
              <a:schemeClr val="accent3"/>
            </a:solidFill>
            <a:miter lim="800000"/>
            <a:headEnd type="none" w="sm" len="sm"/>
            <a:tailEnd type="none" w="med" len="lg"/>
          </a:ln>
        </p:spPr>
        <p:txBody>
          <a:bodyPr wrap="none" anchor="ctr"/>
          <a:lstStyle/>
          <a:p>
            <a:pPr algn="ctr">
              <a:defRPr/>
            </a:pPr>
            <a:endParaRPr lang="en-GB" sz="1000"/>
          </a:p>
        </p:txBody>
      </p:sp>
      <p:sp>
        <p:nvSpPr>
          <p:cNvPr id="780298" name="Text Box 10"/>
          <p:cNvSpPr txBox="1">
            <a:spLocks noChangeArrowheads="1"/>
          </p:cNvSpPr>
          <p:nvPr/>
        </p:nvSpPr>
        <p:spPr bwMode="auto">
          <a:xfrm>
            <a:off x="830263" y="2101142"/>
            <a:ext cx="468312" cy="277812"/>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12" name="Rectangle 11"/>
          <p:cNvSpPr>
            <a:spLocks noChangeArrowheads="1"/>
          </p:cNvSpPr>
          <p:nvPr/>
        </p:nvSpPr>
        <p:spPr bwMode="auto">
          <a:xfrm>
            <a:off x="1581150" y="2131304"/>
            <a:ext cx="598488" cy="215900"/>
          </a:xfrm>
          <a:prstGeom prst="rect">
            <a:avLst/>
          </a:prstGeom>
          <a:noFill/>
          <a:ln w="12700">
            <a:solidFill>
              <a:schemeClr val="accent3"/>
            </a:solidFill>
            <a:miter lim="800000"/>
            <a:headEnd type="none" w="sm" len="sm"/>
            <a:tailEnd type="none" w="med" len="lg"/>
          </a:ln>
        </p:spPr>
        <p:txBody>
          <a:bodyPr wrap="none" anchor="ctr"/>
          <a:lstStyle/>
          <a:p>
            <a:pPr algn="ctr">
              <a:defRPr/>
            </a:pPr>
            <a:endParaRPr lang="en-GB" sz="1000"/>
          </a:p>
        </p:txBody>
      </p:sp>
      <p:sp>
        <p:nvSpPr>
          <p:cNvPr id="13" name="Rectangle 12"/>
          <p:cNvSpPr>
            <a:spLocks noChangeArrowheads="1"/>
          </p:cNvSpPr>
          <p:nvPr/>
        </p:nvSpPr>
        <p:spPr bwMode="auto">
          <a:xfrm>
            <a:off x="2457450" y="2131304"/>
            <a:ext cx="598488"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solidFill>
                <a:schemeClr val="tx2"/>
              </a:solidFill>
            </a:endParaRPr>
          </a:p>
        </p:txBody>
      </p:sp>
      <p:sp>
        <p:nvSpPr>
          <p:cNvPr id="780301" name="Rectangle 13"/>
          <p:cNvSpPr>
            <a:spLocks noChangeArrowheads="1"/>
          </p:cNvSpPr>
          <p:nvPr/>
        </p:nvSpPr>
        <p:spPr bwMode="auto">
          <a:xfrm>
            <a:off x="3335338" y="2131304"/>
            <a:ext cx="598487" cy="215900"/>
          </a:xfrm>
          <a:prstGeom prst="rect">
            <a:avLst/>
          </a:prstGeom>
          <a:solidFill>
            <a:schemeClr val="accent2"/>
          </a:solidFill>
          <a:ln w="12700" algn="ctr">
            <a:solidFill>
              <a:schemeClr val="bg1"/>
            </a:solidFill>
            <a:miter lim="800000"/>
            <a:headEnd type="none" w="sm" len="sm"/>
            <a:tailEnd type="none" w="med" len="lg"/>
          </a:ln>
        </p:spPr>
        <p:txBody>
          <a:bodyPr wrap="none" anchor="ctr"/>
          <a:lstStyle/>
          <a:p>
            <a:pPr algn="ctr"/>
            <a:endParaRPr lang="en-GB" sz="1000">
              <a:solidFill>
                <a:schemeClr val="tx2"/>
              </a:solidFill>
            </a:endParaRPr>
          </a:p>
        </p:txBody>
      </p:sp>
      <p:sp>
        <p:nvSpPr>
          <p:cNvPr id="15" name="Rectangle 14"/>
          <p:cNvSpPr>
            <a:spLocks noChangeArrowheads="1"/>
          </p:cNvSpPr>
          <p:nvPr/>
        </p:nvSpPr>
        <p:spPr bwMode="auto">
          <a:xfrm>
            <a:off x="4213225" y="2131304"/>
            <a:ext cx="596900"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solidFill>
                <a:schemeClr val="tx2"/>
              </a:solidFill>
            </a:endParaRPr>
          </a:p>
        </p:txBody>
      </p:sp>
      <p:sp>
        <p:nvSpPr>
          <p:cNvPr id="16" name="Rectangle 15"/>
          <p:cNvSpPr>
            <a:spLocks noChangeArrowheads="1"/>
          </p:cNvSpPr>
          <p:nvPr/>
        </p:nvSpPr>
        <p:spPr bwMode="auto">
          <a:xfrm>
            <a:off x="5091113" y="2131304"/>
            <a:ext cx="596900"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solidFill>
                <a:schemeClr val="tx2"/>
              </a:solidFill>
            </a:endParaRPr>
          </a:p>
        </p:txBody>
      </p:sp>
      <p:sp>
        <p:nvSpPr>
          <p:cNvPr id="17" name="Rectangle 16"/>
          <p:cNvSpPr>
            <a:spLocks noChangeArrowheads="1"/>
          </p:cNvSpPr>
          <p:nvPr/>
        </p:nvSpPr>
        <p:spPr bwMode="auto">
          <a:xfrm>
            <a:off x="5969000" y="2131304"/>
            <a:ext cx="596900"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p>
        </p:txBody>
      </p:sp>
      <p:sp>
        <p:nvSpPr>
          <p:cNvPr id="780305" name="Text Box 17"/>
          <p:cNvSpPr txBox="1">
            <a:spLocks noChangeArrowheads="1"/>
          </p:cNvSpPr>
          <p:nvPr/>
        </p:nvSpPr>
        <p:spPr bwMode="auto">
          <a:xfrm>
            <a:off x="830263" y="2650417"/>
            <a:ext cx="468312" cy="277812"/>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19" name="Rectangle 18"/>
          <p:cNvSpPr>
            <a:spLocks noChangeArrowheads="1"/>
          </p:cNvSpPr>
          <p:nvPr/>
        </p:nvSpPr>
        <p:spPr bwMode="auto">
          <a:xfrm>
            <a:off x="1581150" y="2680579"/>
            <a:ext cx="598488" cy="215900"/>
          </a:xfrm>
          <a:prstGeom prst="rect">
            <a:avLst/>
          </a:prstGeom>
          <a:noFill/>
          <a:ln w="12700">
            <a:solidFill>
              <a:schemeClr val="accent3"/>
            </a:solidFill>
            <a:miter lim="800000"/>
            <a:headEnd type="none" w="sm" len="sm"/>
            <a:tailEnd type="none" w="med" len="lg"/>
          </a:ln>
        </p:spPr>
        <p:txBody>
          <a:bodyPr wrap="none" anchor="ctr"/>
          <a:lstStyle/>
          <a:p>
            <a:pPr algn="ctr">
              <a:defRPr/>
            </a:pPr>
            <a:endParaRPr lang="en-GB" sz="1000"/>
          </a:p>
        </p:txBody>
      </p:sp>
      <p:sp>
        <p:nvSpPr>
          <p:cNvPr id="780307" name="Rectangle 19"/>
          <p:cNvSpPr>
            <a:spLocks noChangeArrowheads="1"/>
          </p:cNvSpPr>
          <p:nvPr/>
        </p:nvSpPr>
        <p:spPr bwMode="auto">
          <a:xfrm>
            <a:off x="2457450" y="2680579"/>
            <a:ext cx="598488" cy="215900"/>
          </a:xfrm>
          <a:prstGeom prst="rect">
            <a:avLst/>
          </a:prstGeom>
          <a:solidFill>
            <a:schemeClr val="accent2"/>
          </a:solidFill>
          <a:ln w="12700" algn="ctr">
            <a:solidFill>
              <a:schemeClr val="bg1"/>
            </a:solidFill>
            <a:miter lim="800000"/>
            <a:headEnd type="none" w="sm" len="sm"/>
            <a:tailEnd type="none" w="med" len="lg"/>
          </a:ln>
        </p:spPr>
        <p:txBody>
          <a:bodyPr wrap="none" anchor="ctr"/>
          <a:lstStyle/>
          <a:p>
            <a:pPr algn="ctr"/>
            <a:endParaRPr lang="en-GB" sz="1000">
              <a:solidFill>
                <a:schemeClr val="tx2"/>
              </a:solidFill>
            </a:endParaRPr>
          </a:p>
        </p:txBody>
      </p:sp>
      <p:sp>
        <p:nvSpPr>
          <p:cNvPr id="780308" name="Rectangle 20"/>
          <p:cNvSpPr>
            <a:spLocks noChangeArrowheads="1"/>
          </p:cNvSpPr>
          <p:nvPr/>
        </p:nvSpPr>
        <p:spPr bwMode="auto">
          <a:xfrm>
            <a:off x="3335338" y="2680579"/>
            <a:ext cx="598487" cy="215900"/>
          </a:xfrm>
          <a:prstGeom prst="rect">
            <a:avLst/>
          </a:prstGeom>
          <a:solidFill>
            <a:schemeClr val="accent2"/>
          </a:solidFill>
          <a:ln w="12700">
            <a:solidFill>
              <a:schemeClr val="bg1"/>
            </a:solidFill>
            <a:miter lim="800000"/>
            <a:headEnd type="none" w="sm" len="sm"/>
            <a:tailEnd type="none" w="med" len="lg"/>
          </a:ln>
        </p:spPr>
        <p:txBody>
          <a:bodyPr wrap="none" anchor="ctr"/>
          <a:lstStyle/>
          <a:p>
            <a:pPr algn="ctr"/>
            <a:endParaRPr lang="en-GB" sz="1000">
              <a:solidFill>
                <a:schemeClr val="tx2"/>
              </a:solidFill>
            </a:endParaRPr>
          </a:p>
        </p:txBody>
      </p:sp>
      <p:sp>
        <p:nvSpPr>
          <p:cNvPr id="780309" name="Rectangle 21"/>
          <p:cNvSpPr>
            <a:spLocks noChangeArrowheads="1"/>
          </p:cNvSpPr>
          <p:nvPr/>
        </p:nvSpPr>
        <p:spPr bwMode="auto">
          <a:xfrm>
            <a:off x="4213225" y="2680579"/>
            <a:ext cx="596900" cy="215900"/>
          </a:xfrm>
          <a:prstGeom prst="rect">
            <a:avLst/>
          </a:prstGeom>
          <a:solidFill>
            <a:schemeClr val="accent2"/>
          </a:solidFill>
          <a:ln w="12700" algn="ctr">
            <a:solidFill>
              <a:schemeClr val="bg1"/>
            </a:solidFill>
            <a:miter lim="800000"/>
            <a:headEnd type="none" w="sm" len="sm"/>
            <a:tailEnd type="none" w="med" len="lg"/>
          </a:ln>
        </p:spPr>
        <p:txBody>
          <a:bodyPr wrap="none" anchor="ctr"/>
          <a:lstStyle/>
          <a:p>
            <a:pPr algn="ctr"/>
            <a:endParaRPr lang="en-GB" sz="1000">
              <a:solidFill>
                <a:schemeClr val="tx2"/>
              </a:solidFill>
            </a:endParaRPr>
          </a:p>
        </p:txBody>
      </p:sp>
      <p:sp>
        <p:nvSpPr>
          <p:cNvPr id="780310" name="Rectangle 22"/>
          <p:cNvSpPr>
            <a:spLocks noChangeArrowheads="1"/>
          </p:cNvSpPr>
          <p:nvPr/>
        </p:nvSpPr>
        <p:spPr bwMode="auto">
          <a:xfrm>
            <a:off x="5091113" y="2680579"/>
            <a:ext cx="596900" cy="215900"/>
          </a:xfrm>
          <a:prstGeom prst="rect">
            <a:avLst/>
          </a:prstGeom>
          <a:solidFill>
            <a:schemeClr val="accent2"/>
          </a:solidFill>
          <a:ln w="12700" algn="ctr">
            <a:solidFill>
              <a:schemeClr val="bg1"/>
            </a:solidFill>
            <a:miter lim="800000"/>
            <a:headEnd type="none" w="sm" len="sm"/>
            <a:tailEnd type="none" w="med" len="lg"/>
          </a:ln>
        </p:spPr>
        <p:txBody>
          <a:bodyPr wrap="none" anchor="ctr"/>
          <a:lstStyle/>
          <a:p>
            <a:pPr algn="ctr"/>
            <a:endParaRPr lang="en-GB" sz="1000">
              <a:solidFill>
                <a:schemeClr val="tx2"/>
              </a:solidFill>
            </a:endParaRPr>
          </a:p>
        </p:txBody>
      </p:sp>
      <p:sp>
        <p:nvSpPr>
          <p:cNvPr id="24" name="Rectangle 23"/>
          <p:cNvSpPr>
            <a:spLocks noChangeArrowheads="1"/>
          </p:cNvSpPr>
          <p:nvPr/>
        </p:nvSpPr>
        <p:spPr bwMode="auto">
          <a:xfrm>
            <a:off x="5969000" y="2680579"/>
            <a:ext cx="596900"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p>
        </p:txBody>
      </p:sp>
      <p:sp>
        <p:nvSpPr>
          <p:cNvPr id="780312" name="Text Box 24"/>
          <p:cNvSpPr txBox="1">
            <a:spLocks noChangeArrowheads="1"/>
          </p:cNvSpPr>
          <p:nvPr/>
        </p:nvSpPr>
        <p:spPr bwMode="auto">
          <a:xfrm>
            <a:off x="830263" y="3199692"/>
            <a:ext cx="468312" cy="277812"/>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26" name="Rectangle 25"/>
          <p:cNvSpPr>
            <a:spLocks noChangeArrowheads="1"/>
          </p:cNvSpPr>
          <p:nvPr/>
        </p:nvSpPr>
        <p:spPr bwMode="auto">
          <a:xfrm>
            <a:off x="1581150" y="3229854"/>
            <a:ext cx="598488"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p>
        </p:txBody>
      </p:sp>
      <p:sp>
        <p:nvSpPr>
          <p:cNvPr id="27" name="Rectangle 26"/>
          <p:cNvSpPr>
            <a:spLocks noChangeArrowheads="1"/>
          </p:cNvSpPr>
          <p:nvPr/>
        </p:nvSpPr>
        <p:spPr bwMode="auto">
          <a:xfrm>
            <a:off x="2457450" y="3229854"/>
            <a:ext cx="598488" cy="215900"/>
          </a:xfrm>
          <a:prstGeom prst="rect">
            <a:avLst/>
          </a:prstGeom>
          <a:solidFill>
            <a:schemeClr val="accent3"/>
          </a:solidFill>
          <a:ln w="12700" algn="ctr">
            <a:solidFill>
              <a:schemeClr val="bg1"/>
            </a:solidFill>
            <a:miter lim="800000"/>
            <a:headEnd type="none" w="sm" len="sm"/>
            <a:tailEnd type="none" w="med" len="lg"/>
          </a:ln>
        </p:spPr>
        <p:txBody>
          <a:bodyPr wrap="none" anchor="ctr"/>
          <a:lstStyle/>
          <a:p>
            <a:pPr algn="ctr">
              <a:defRPr/>
            </a:pPr>
            <a:endParaRPr lang="en-GB" sz="1000">
              <a:solidFill>
                <a:schemeClr val="tx2"/>
              </a:solidFill>
            </a:endParaRPr>
          </a:p>
        </p:txBody>
      </p:sp>
      <p:sp>
        <p:nvSpPr>
          <p:cNvPr id="28" name="Rectangle 27"/>
          <p:cNvSpPr>
            <a:spLocks noChangeArrowheads="1"/>
          </p:cNvSpPr>
          <p:nvPr/>
        </p:nvSpPr>
        <p:spPr bwMode="auto">
          <a:xfrm>
            <a:off x="3335338" y="3229854"/>
            <a:ext cx="598487"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solidFill>
                <a:schemeClr val="tx2"/>
              </a:solidFill>
            </a:endParaRPr>
          </a:p>
        </p:txBody>
      </p:sp>
      <p:sp>
        <p:nvSpPr>
          <p:cNvPr id="780316" name="Rectangle 28"/>
          <p:cNvSpPr>
            <a:spLocks noChangeArrowheads="1"/>
          </p:cNvSpPr>
          <p:nvPr/>
        </p:nvSpPr>
        <p:spPr bwMode="auto">
          <a:xfrm>
            <a:off x="4213225" y="3229854"/>
            <a:ext cx="596900" cy="215900"/>
          </a:xfrm>
          <a:prstGeom prst="rect">
            <a:avLst/>
          </a:prstGeom>
          <a:solidFill>
            <a:schemeClr val="accent2"/>
          </a:solidFill>
          <a:ln w="12700" algn="ctr">
            <a:solidFill>
              <a:schemeClr val="bg1"/>
            </a:solidFill>
            <a:miter lim="800000"/>
            <a:headEnd type="none" w="sm" len="sm"/>
            <a:tailEnd type="none" w="med" len="lg"/>
          </a:ln>
        </p:spPr>
        <p:txBody>
          <a:bodyPr wrap="none" anchor="ctr"/>
          <a:lstStyle/>
          <a:p>
            <a:pPr algn="ctr"/>
            <a:endParaRPr lang="en-GB" sz="1000">
              <a:solidFill>
                <a:schemeClr val="tx2"/>
              </a:solidFill>
            </a:endParaRPr>
          </a:p>
        </p:txBody>
      </p:sp>
      <p:sp>
        <p:nvSpPr>
          <p:cNvPr id="30" name="Rectangle 29"/>
          <p:cNvSpPr>
            <a:spLocks noChangeArrowheads="1"/>
          </p:cNvSpPr>
          <p:nvPr/>
        </p:nvSpPr>
        <p:spPr bwMode="auto">
          <a:xfrm>
            <a:off x="5091113" y="3229854"/>
            <a:ext cx="596900"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solidFill>
                <a:schemeClr val="tx2"/>
              </a:solidFill>
            </a:endParaRPr>
          </a:p>
        </p:txBody>
      </p:sp>
      <p:sp>
        <p:nvSpPr>
          <p:cNvPr id="31" name="Rectangle 30"/>
          <p:cNvSpPr>
            <a:spLocks noChangeArrowheads="1"/>
          </p:cNvSpPr>
          <p:nvPr/>
        </p:nvSpPr>
        <p:spPr bwMode="auto">
          <a:xfrm>
            <a:off x="5969000" y="3229854"/>
            <a:ext cx="596900"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p>
        </p:txBody>
      </p:sp>
      <p:sp>
        <p:nvSpPr>
          <p:cNvPr id="780319" name="Text Box 31"/>
          <p:cNvSpPr txBox="1">
            <a:spLocks noChangeArrowheads="1"/>
          </p:cNvSpPr>
          <p:nvPr/>
        </p:nvSpPr>
        <p:spPr bwMode="auto">
          <a:xfrm>
            <a:off x="830263" y="3748967"/>
            <a:ext cx="468312" cy="277812"/>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33" name="Rectangle 32"/>
          <p:cNvSpPr>
            <a:spLocks noChangeArrowheads="1"/>
          </p:cNvSpPr>
          <p:nvPr/>
        </p:nvSpPr>
        <p:spPr bwMode="auto">
          <a:xfrm>
            <a:off x="1581150" y="3779129"/>
            <a:ext cx="598488" cy="215900"/>
          </a:xfrm>
          <a:prstGeom prst="rect">
            <a:avLst/>
          </a:prstGeom>
          <a:noFill/>
          <a:ln w="12700">
            <a:solidFill>
              <a:schemeClr val="accent3"/>
            </a:solidFill>
            <a:miter lim="800000"/>
            <a:headEnd type="none" w="sm" len="sm"/>
            <a:tailEnd type="none" w="med" len="lg"/>
          </a:ln>
        </p:spPr>
        <p:txBody>
          <a:bodyPr wrap="none" anchor="ctr"/>
          <a:lstStyle/>
          <a:p>
            <a:pPr algn="ctr">
              <a:defRPr/>
            </a:pPr>
            <a:endParaRPr lang="en-GB" sz="1000"/>
          </a:p>
        </p:txBody>
      </p:sp>
      <p:sp>
        <p:nvSpPr>
          <p:cNvPr id="34" name="Rectangle 33"/>
          <p:cNvSpPr>
            <a:spLocks noChangeArrowheads="1"/>
          </p:cNvSpPr>
          <p:nvPr/>
        </p:nvSpPr>
        <p:spPr bwMode="auto">
          <a:xfrm>
            <a:off x="2457450" y="3779129"/>
            <a:ext cx="598488" cy="215900"/>
          </a:xfrm>
          <a:prstGeom prst="rect">
            <a:avLst/>
          </a:prstGeom>
          <a:noFill/>
          <a:ln w="12700">
            <a:solidFill>
              <a:schemeClr val="accent3"/>
            </a:solidFill>
            <a:miter lim="800000"/>
            <a:headEnd type="none" w="sm" len="sm"/>
            <a:tailEnd type="none" w="med" len="lg"/>
          </a:ln>
        </p:spPr>
        <p:txBody>
          <a:bodyPr wrap="none" anchor="ctr"/>
          <a:lstStyle/>
          <a:p>
            <a:pPr algn="ctr">
              <a:defRPr/>
            </a:pPr>
            <a:endParaRPr lang="en-GB" sz="1000">
              <a:solidFill>
                <a:schemeClr val="tx2"/>
              </a:solidFill>
            </a:endParaRPr>
          </a:p>
        </p:txBody>
      </p:sp>
      <p:sp>
        <p:nvSpPr>
          <p:cNvPr id="35" name="Rectangle 34"/>
          <p:cNvSpPr>
            <a:spLocks noChangeArrowheads="1"/>
          </p:cNvSpPr>
          <p:nvPr/>
        </p:nvSpPr>
        <p:spPr bwMode="auto">
          <a:xfrm>
            <a:off x="3335338" y="3779129"/>
            <a:ext cx="598487"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solidFill>
                <a:schemeClr val="tx2"/>
              </a:solidFill>
            </a:endParaRPr>
          </a:p>
        </p:txBody>
      </p:sp>
      <p:sp>
        <p:nvSpPr>
          <p:cNvPr id="780323" name="Rectangle 35"/>
          <p:cNvSpPr>
            <a:spLocks noChangeArrowheads="1"/>
          </p:cNvSpPr>
          <p:nvPr/>
        </p:nvSpPr>
        <p:spPr bwMode="auto">
          <a:xfrm>
            <a:off x="4213225" y="3779129"/>
            <a:ext cx="596900" cy="215900"/>
          </a:xfrm>
          <a:prstGeom prst="rect">
            <a:avLst/>
          </a:prstGeom>
          <a:solidFill>
            <a:schemeClr val="accent2"/>
          </a:solidFill>
          <a:ln w="12700" algn="ctr">
            <a:solidFill>
              <a:schemeClr val="bg1"/>
            </a:solidFill>
            <a:miter lim="800000"/>
            <a:headEnd type="none" w="sm" len="sm"/>
            <a:tailEnd type="none" w="med" len="lg"/>
          </a:ln>
        </p:spPr>
        <p:txBody>
          <a:bodyPr wrap="none" anchor="ctr"/>
          <a:lstStyle/>
          <a:p>
            <a:pPr algn="ctr"/>
            <a:endParaRPr lang="en-GB" sz="1000">
              <a:solidFill>
                <a:schemeClr val="tx2"/>
              </a:solidFill>
            </a:endParaRPr>
          </a:p>
        </p:txBody>
      </p:sp>
      <p:sp>
        <p:nvSpPr>
          <p:cNvPr id="780324" name="Rectangle 36"/>
          <p:cNvSpPr>
            <a:spLocks noChangeArrowheads="1"/>
          </p:cNvSpPr>
          <p:nvPr/>
        </p:nvSpPr>
        <p:spPr bwMode="auto">
          <a:xfrm>
            <a:off x="5091113" y="3779129"/>
            <a:ext cx="596900" cy="215900"/>
          </a:xfrm>
          <a:prstGeom prst="rect">
            <a:avLst/>
          </a:prstGeom>
          <a:solidFill>
            <a:schemeClr val="accent2"/>
          </a:solidFill>
          <a:ln w="12700" algn="ctr">
            <a:solidFill>
              <a:schemeClr val="bg1"/>
            </a:solidFill>
            <a:miter lim="800000"/>
            <a:headEnd type="none" w="sm" len="sm"/>
            <a:tailEnd type="none" w="med" len="lg"/>
          </a:ln>
        </p:spPr>
        <p:txBody>
          <a:bodyPr wrap="none" anchor="ctr"/>
          <a:lstStyle/>
          <a:p>
            <a:pPr algn="ctr"/>
            <a:endParaRPr lang="en-GB" sz="1000">
              <a:solidFill>
                <a:schemeClr val="tx2"/>
              </a:solidFill>
            </a:endParaRPr>
          </a:p>
        </p:txBody>
      </p:sp>
      <p:sp>
        <p:nvSpPr>
          <p:cNvPr id="38" name="Rectangle 37"/>
          <p:cNvSpPr>
            <a:spLocks noChangeArrowheads="1"/>
          </p:cNvSpPr>
          <p:nvPr/>
        </p:nvSpPr>
        <p:spPr bwMode="auto">
          <a:xfrm>
            <a:off x="5969000" y="3779129"/>
            <a:ext cx="596900"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p>
        </p:txBody>
      </p:sp>
      <p:sp>
        <p:nvSpPr>
          <p:cNvPr id="780326" name="Text Box 38"/>
          <p:cNvSpPr txBox="1">
            <a:spLocks noChangeArrowheads="1"/>
          </p:cNvSpPr>
          <p:nvPr/>
        </p:nvSpPr>
        <p:spPr bwMode="auto">
          <a:xfrm>
            <a:off x="830263" y="4298242"/>
            <a:ext cx="468312" cy="277812"/>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40" name="Rectangle 39"/>
          <p:cNvSpPr>
            <a:spLocks noChangeArrowheads="1"/>
          </p:cNvSpPr>
          <p:nvPr/>
        </p:nvSpPr>
        <p:spPr bwMode="auto">
          <a:xfrm>
            <a:off x="1581150" y="4328404"/>
            <a:ext cx="598488"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p>
        </p:txBody>
      </p:sp>
      <p:sp>
        <p:nvSpPr>
          <p:cNvPr id="41" name="Rectangle 40"/>
          <p:cNvSpPr>
            <a:spLocks noChangeArrowheads="1"/>
          </p:cNvSpPr>
          <p:nvPr/>
        </p:nvSpPr>
        <p:spPr bwMode="auto">
          <a:xfrm>
            <a:off x="2457450" y="4328404"/>
            <a:ext cx="598488"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solidFill>
                <a:schemeClr val="tx2"/>
              </a:solidFill>
            </a:endParaRPr>
          </a:p>
        </p:txBody>
      </p:sp>
      <p:sp>
        <p:nvSpPr>
          <p:cNvPr id="42" name="Rectangle 41"/>
          <p:cNvSpPr>
            <a:spLocks noChangeArrowheads="1"/>
          </p:cNvSpPr>
          <p:nvPr/>
        </p:nvSpPr>
        <p:spPr bwMode="auto">
          <a:xfrm>
            <a:off x="3335338" y="4328404"/>
            <a:ext cx="598487"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solidFill>
                <a:schemeClr val="tx2"/>
              </a:solidFill>
            </a:endParaRPr>
          </a:p>
        </p:txBody>
      </p:sp>
      <p:sp>
        <p:nvSpPr>
          <p:cNvPr id="780330" name="Rectangle 42"/>
          <p:cNvSpPr>
            <a:spLocks noChangeArrowheads="1"/>
          </p:cNvSpPr>
          <p:nvPr/>
        </p:nvSpPr>
        <p:spPr bwMode="auto">
          <a:xfrm>
            <a:off x="4213225" y="4328404"/>
            <a:ext cx="596900" cy="215900"/>
          </a:xfrm>
          <a:prstGeom prst="rect">
            <a:avLst/>
          </a:prstGeom>
          <a:solidFill>
            <a:schemeClr val="accent2"/>
          </a:solidFill>
          <a:ln w="12700" algn="ctr">
            <a:solidFill>
              <a:schemeClr val="bg1"/>
            </a:solidFill>
            <a:miter lim="800000"/>
            <a:headEnd type="none" w="sm" len="sm"/>
            <a:tailEnd type="none" w="med" len="lg"/>
          </a:ln>
        </p:spPr>
        <p:txBody>
          <a:bodyPr wrap="none" anchor="ctr"/>
          <a:lstStyle/>
          <a:p>
            <a:pPr algn="ctr"/>
            <a:endParaRPr lang="en-GB" sz="1000">
              <a:solidFill>
                <a:schemeClr val="tx2"/>
              </a:solidFill>
            </a:endParaRPr>
          </a:p>
        </p:txBody>
      </p:sp>
      <p:sp>
        <p:nvSpPr>
          <p:cNvPr id="44" name="Rectangle 43"/>
          <p:cNvSpPr>
            <a:spLocks noChangeArrowheads="1"/>
          </p:cNvSpPr>
          <p:nvPr/>
        </p:nvSpPr>
        <p:spPr bwMode="auto">
          <a:xfrm>
            <a:off x="5091113" y="4328404"/>
            <a:ext cx="596900"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solidFill>
                <a:schemeClr val="tx2"/>
              </a:solidFill>
            </a:endParaRPr>
          </a:p>
        </p:txBody>
      </p:sp>
      <p:sp>
        <p:nvSpPr>
          <p:cNvPr id="45" name="Rectangle 44"/>
          <p:cNvSpPr>
            <a:spLocks noChangeArrowheads="1"/>
          </p:cNvSpPr>
          <p:nvPr/>
        </p:nvSpPr>
        <p:spPr bwMode="auto">
          <a:xfrm>
            <a:off x="5969000" y="4328404"/>
            <a:ext cx="596900"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p>
        </p:txBody>
      </p:sp>
      <p:sp>
        <p:nvSpPr>
          <p:cNvPr id="780333" name="Text Box 45"/>
          <p:cNvSpPr txBox="1">
            <a:spLocks noChangeArrowheads="1"/>
          </p:cNvSpPr>
          <p:nvPr/>
        </p:nvSpPr>
        <p:spPr bwMode="auto">
          <a:xfrm>
            <a:off x="830263" y="4849104"/>
            <a:ext cx="468312" cy="277813"/>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47" name="Rectangle 46"/>
          <p:cNvSpPr>
            <a:spLocks noChangeArrowheads="1"/>
          </p:cNvSpPr>
          <p:nvPr/>
        </p:nvSpPr>
        <p:spPr bwMode="auto">
          <a:xfrm>
            <a:off x="1581150" y="4879267"/>
            <a:ext cx="598488"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p>
        </p:txBody>
      </p:sp>
      <p:sp>
        <p:nvSpPr>
          <p:cNvPr id="48" name="Rectangle 47"/>
          <p:cNvSpPr>
            <a:spLocks noChangeArrowheads="1"/>
          </p:cNvSpPr>
          <p:nvPr/>
        </p:nvSpPr>
        <p:spPr bwMode="auto">
          <a:xfrm>
            <a:off x="2457450" y="4879267"/>
            <a:ext cx="598488"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solidFill>
                <a:schemeClr val="tx2"/>
              </a:solidFill>
            </a:endParaRPr>
          </a:p>
        </p:txBody>
      </p:sp>
      <p:sp>
        <p:nvSpPr>
          <p:cNvPr id="780336" name="Rectangle 48"/>
          <p:cNvSpPr>
            <a:spLocks noChangeArrowheads="1"/>
          </p:cNvSpPr>
          <p:nvPr/>
        </p:nvSpPr>
        <p:spPr bwMode="auto">
          <a:xfrm>
            <a:off x="3335338" y="4879267"/>
            <a:ext cx="598487" cy="215900"/>
          </a:xfrm>
          <a:prstGeom prst="rect">
            <a:avLst/>
          </a:prstGeom>
          <a:solidFill>
            <a:schemeClr val="accent2"/>
          </a:solidFill>
          <a:ln w="12700" algn="ctr">
            <a:solidFill>
              <a:schemeClr val="bg1"/>
            </a:solidFill>
            <a:miter lim="800000"/>
            <a:headEnd type="none" w="sm" len="sm"/>
            <a:tailEnd type="none" w="med" len="lg"/>
          </a:ln>
        </p:spPr>
        <p:txBody>
          <a:bodyPr wrap="none" anchor="ctr"/>
          <a:lstStyle/>
          <a:p>
            <a:pPr algn="ctr"/>
            <a:endParaRPr lang="en-GB" sz="1000">
              <a:solidFill>
                <a:schemeClr val="tx2"/>
              </a:solidFill>
            </a:endParaRPr>
          </a:p>
        </p:txBody>
      </p:sp>
      <p:sp>
        <p:nvSpPr>
          <p:cNvPr id="780337" name="Rectangle 49"/>
          <p:cNvSpPr>
            <a:spLocks noChangeArrowheads="1"/>
          </p:cNvSpPr>
          <p:nvPr/>
        </p:nvSpPr>
        <p:spPr bwMode="auto">
          <a:xfrm>
            <a:off x="4213225" y="4879267"/>
            <a:ext cx="596900" cy="215900"/>
          </a:xfrm>
          <a:prstGeom prst="rect">
            <a:avLst/>
          </a:prstGeom>
          <a:solidFill>
            <a:schemeClr val="accent2"/>
          </a:solidFill>
          <a:ln w="12700" algn="ctr">
            <a:solidFill>
              <a:schemeClr val="bg1"/>
            </a:solidFill>
            <a:miter lim="800000"/>
            <a:headEnd type="none" w="sm" len="sm"/>
            <a:tailEnd type="none" w="med" len="lg"/>
          </a:ln>
        </p:spPr>
        <p:txBody>
          <a:bodyPr wrap="none" anchor="ctr"/>
          <a:lstStyle/>
          <a:p>
            <a:pPr algn="ctr"/>
            <a:endParaRPr lang="en-GB" sz="1000">
              <a:solidFill>
                <a:schemeClr val="tx2"/>
              </a:solidFill>
            </a:endParaRPr>
          </a:p>
        </p:txBody>
      </p:sp>
      <p:sp>
        <p:nvSpPr>
          <p:cNvPr id="51" name="Rectangle 50"/>
          <p:cNvSpPr>
            <a:spLocks noChangeArrowheads="1"/>
          </p:cNvSpPr>
          <p:nvPr/>
        </p:nvSpPr>
        <p:spPr bwMode="auto">
          <a:xfrm>
            <a:off x="5091113" y="4879267"/>
            <a:ext cx="596900"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solidFill>
                <a:schemeClr val="tx2"/>
              </a:solidFill>
            </a:endParaRPr>
          </a:p>
        </p:txBody>
      </p:sp>
      <p:sp>
        <p:nvSpPr>
          <p:cNvPr id="52" name="Rectangle 51"/>
          <p:cNvSpPr>
            <a:spLocks noChangeArrowheads="1"/>
          </p:cNvSpPr>
          <p:nvPr/>
        </p:nvSpPr>
        <p:spPr bwMode="auto">
          <a:xfrm>
            <a:off x="5969000" y="4879267"/>
            <a:ext cx="596900" cy="215900"/>
          </a:xfrm>
          <a:prstGeom prst="rect">
            <a:avLst/>
          </a:prstGeom>
          <a:solidFill>
            <a:schemeClr val="accent3"/>
          </a:solidFill>
          <a:ln w="12700">
            <a:solidFill>
              <a:schemeClr val="bg1"/>
            </a:solidFill>
            <a:miter lim="800000"/>
            <a:headEnd type="none" w="sm" len="sm"/>
            <a:tailEnd type="none" w="med" len="lg"/>
          </a:ln>
        </p:spPr>
        <p:txBody>
          <a:bodyPr wrap="none" anchor="ctr"/>
          <a:lstStyle/>
          <a:p>
            <a:pPr algn="ctr">
              <a:defRPr/>
            </a:pPr>
            <a:endParaRPr lang="en-GB" sz="1000"/>
          </a:p>
        </p:txBody>
      </p:sp>
      <p:sp>
        <p:nvSpPr>
          <p:cNvPr id="780340" name="Rectangle 52"/>
          <p:cNvSpPr>
            <a:spLocks noChangeArrowheads="1"/>
          </p:cNvSpPr>
          <p:nvPr/>
        </p:nvSpPr>
        <p:spPr bwMode="auto">
          <a:xfrm>
            <a:off x="7064375" y="1588953"/>
            <a:ext cx="503238" cy="204788"/>
          </a:xfrm>
          <a:prstGeom prst="rect">
            <a:avLst/>
          </a:prstGeom>
          <a:solidFill>
            <a:schemeClr val="accent2"/>
          </a:solidFill>
          <a:ln w="12700">
            <a:solidFill>
              <a:schemeClr val="bg1"/>
            </a:solidFill>
            <a:miter lim="800000"/>
            <a:headEnd/>
            <a:tailEnd/>
          </a:ln>
        </p:spPr>
        <p:txBody>
          <a:bodyPr wrap="none" anchor="ctr"/>
          <a:lstStyle/>
          <a:p>
            <a:pPr algn="ctr"/>
            <a:endParaRPr lang="en-GB" sz="1000"/>
          </a:p>
        </p:txBody>
      </p:sp>
      <p:sp>
        <p:nvSpPr>
          <p:cNvPr id="54" name="Rectangle 53"/>
          <p:cNvSpPr>
            <a:spLocks noChangeArrowheads="1"/>
          </p:cNvSpPr>
          <p:nvPr/>
        </p:nvSpPr>
        <p:spPr bwMode="auto">
          <a:xfrm>
            <a:off x="7064375" y="1949316"/>
            <a:ext cx="503238" cy="204787"/>
          </a:xfrm>
          <a:prstGeom prst="rect">
            <a:avLst/>
          </a:prstGeom>
          <a:solidFill>
            <a:schemeClr val="accent3"/>
          </a:solidFill>
          <a:ln w="12700" algn="ctr">
            <a:solidFill>
              <a:schemeClr val="bg1"/>
            </a:solidFill>
            <a:miter lim="800000"/>
            <a:headEnd/>
            <a:tailEnd/>
          </a:ln>
        </p:spPr>
        <p:txBody>
          <a:bodyPr wrap="none" anchor="ctr"/>
          <a:lstStyle/>
          <a:p>
            <a:pPr algn="ctr">
              <a:defRPr/>
            </a:pPr>
            <a:endParaRPr lang="en-GB" sz="1000"/>
          </a:p>
        </p:txBody>
      </p:sp>
      <p:sp>
        <p:nvSpPr>
          <p:cNvPr id="780342" name="Text Box 54"/>
          <p:cNvSpPr txBox="1">
            <a:spLocks noChangeArrowheads="1"/>
          </p:cNvSpPr>
          <p:nvPr/>
        </p:nvSpPr>
        <p:spPr bwMode="auto">
          <a:xfrm>
            <a:off x="7594600" y="1554028"/>
            <a:ext cx="863600" cy="246063"/>
          </a:xfrm>
          <a:prstGeom prst="rect">
            <a:avLst/>
          </a:prstGeom>
          <a:noFill/>
          <a:ln w="9525" algn="ctr">
            <a:noFill/>
            <a:miter lim="800000"/>
            <a:headEnd/>
            <a:tailEnd/>
          </a:ln>
        </p:spPr>
        <p:txBody>
          <a:bodyPr wrap="none">
            <a:spAutoFit/>
          </a:bodyPr>
          <a:lstStyle/>
          <a:p>
            <a:r>
              <a:rPr lang="en-GB" altLang="ja-JP" sz="1000">
                <a:ea typeface="ＭＳ Ｐゴシック" charset="-128"/>
              </a:rPr>
              <a:t>Advantaged</a:t>
            </a:r>
          </a:p>
        </p:txBody>
      </p:sp>
      <p:sp>
        <p:nvSpPr>
          <p:cNvPr id="780343" name="Text Box 55"/>
          <p:cNvSpPr txBox="1">
            <a:spLocks noChangeArrowheads="1"/>
          </p:cNvSpPr>
          <p:nvPr/>
        </p:nvSpPr>
        <p:spPr bwMode="auto">
          <a:xfrm>
            <a:off x="7594600" y="1914391"/>
            <a:ext cx="596900" cy="246062"/>
          </a:xfrm>
          <a:prstGeom prst="rect">
            <a:avLst/>
          </a:prstGeom>
          <a:noFill/>
          <a:ln w="9525" algn="ctr">
            <a:noFill/>
            <a:miter lim="800000"/>
            <a:headEnd/>
            <a:tailEnd/>
          </a:ln>
        </p:spPr>
        <p:txBody>
          <a:bodyPr wrap="none">
            <a:spAutoFit/>
          </a:bodyPr>
          <a:lstStyle/>
          <a:p>
            <a:r>
              <a:rPr lang="en-GB" altLang="ja-JP" sz="1000">
                <a:ea typeface="ＭＳ Ｐゴシック" charset="-128"/>
              </a:rPr>
              <a:t>Neutral</a:t>
            </a:r>
          </a:p>
        </p:txBody>
      </p:sp>
      <p:sp>
        <p:nvSpPr>
          <p:cNvPr id="57" name="Rectangle 56"/>
          <p:cNvSpPr>
            <a:spLocks noChangeArrowheads="1"/>
          </p:cNvSpPr>
          <p:nvPr/>
        </p:nvSpPr>
        <p:spPr bwMode="auto">
          <a:xfrm>
            <a:off x="7064375" y="2309678"/>
            <a:ext cx="503238" cy="204788"/>
          </a:xfrm>
          <a:prstGeom prst="rect">
            <a:avLst/>
          </a:prstGeom>
          <a:noFill/>
          <a:ln w="12700">
            <a:solidFill>
              <a:schemeClr val="accent3"/>
            </a:solidFill>
            <a:miter lim="800000"/>
            <a:headEnd/>
            <a:tailEnd/>
          </a:ln>
        </p:spPr>
        <p:txBody>
          <a:bodyPr wrap="none" anchor="ctr"/>
          <a:lstStyle/>
          <a:p>
            <a:pPr algn="ctr">
              <a:defRPr/>
            </a:pPr>
            <a:endParaRPr lang="en-GB" sz="1000"/>
          </a:p>
        </p:txBody>
      </p:sp>
      <p:sp>
        <p:nvSpPr>
          <p:cNvPr id="780345" name="Text Box 57"/>
          <p:cNvSpPr txBox="1">
            <a:spLocks noChangeArrowheads="1"/>
          </p:cNvSpPr>
          <p:nvPr/>
        </p:nvSpPr>
        <p:spPr bwMode="auto">
          <a:xfrm>
            <a:off x="7594600" y="2274753"/>
            <a:ext cx="1035050" cy="246063"/>
          </a:xfrm>
          <a:prstGeom prst="rect">
            <a:avLst/>
          </a:prstGeom>
          <a:noFill/>
          <a:ln w="9525" algn="ctr">
            <a:noFill/>
            <a:miter lim="800000"/>
            <a:headEnd/>
            <a:tailEnd/>
          </a:ln>
        </p:spPr>
        <p:txBody>
          <a:bodyPr wrap="none">
            <a:spAutoFit/>
          </a:bodyPr>
          <a:lstStyle/>
          <a:p>
            <a:r>
              <a:rPr lang="en-GB" altLang="ja-JP" sz="1000">
                <a:ea typeface="ＭＳ Ｐゴシック" charset="-128"/>
              </a:rPr>
              <a:t>Disadvantaged</a:t>
            </a:r>
          </a:p>
        </p:txBody>
      </p:sp>
      <p:sp>
        <p:nvSpPr>
          <p:cNvPr id="780346" name="Text Box 58"/>
          <p:cNvSpPr txBox="1">
            <a:spLocks noChangeArrowheads="1"/>
          </p:cNvSpPr>
          <p:nvPr/>
        </p:nvSpPr>
        <p:spPr bwMode="auto">
          <a:xfrm>
            <a:off x="1714500" y="1809042"/>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47" name="Text Box 59"/>
          <p:cNvSpPr txBox="1">
            <a:spLocks noChangeArrowheads="1"/>
          </p:cNvSpPr>
          <p:nvPr/>
        </p:nvSpPr>
        <p:spPr bwMode="auto">
          <a:xfrm>
            <a:off x="1714500" y="2342442"/>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48" name="Text Box 60"/>
          <p:cNvSpPr txBox="1">
            <a:spLocks noChangeArrowheads="1"/>
          </p:cNvSpPr>
          <p:nvPr/>
        </p:nvSpPr>
        <p:spPr bwMode="auto">
          <a:xfrm>
            <a:off x="1714500" y="2898067"/>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49" name="Text Box 61"/>
          <p:cNvSpPr txBox="1">
            <a:spLocks noChangeArrowheads="1"/>
          </p:cNvSpPr>
          <p:nvPr/>
        </p:nvSpPr>
        <p:spPr bwMode="auto">
          <a:xfrm>
            <a:off x="1714500" y="3455279"/>
            <a:ext cx="285750" cy="153988"/>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50" name="Text Box 62"/>
          <p:cNvSpPr txBox="1">
            <a:spLocks noChangeArrowheads="1"/>
          </p:cNvSpPr>
          <p:nvPr/>
        </p:nvSpPr>
        <p:spPr bwMode="auto">
          <a:xfrm>
            <a:off x="1714500" y="4010904"/>
            <a:ext cx="285750" cy="153988"/>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51" name="Text Box 63"/>
          <p:cNvSpPr txBox="1">
            <a:spLocks noChangeArrowheads="1"/>
          </p:cNvSpPr>
          <p:nvPr/>
        </p:nvSpPr>
        <p:spPr bwMode="auto">
          <a:xfrm>
            <a:off x="1714500" y="4566529"/>
            <a:ext cx="285750" cy="153988"/>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52" name="Text Box 64"/>
          <p:cNvSpPr txBox="1">
            <a:spLocks noChangeArrowheads="1"/>
          </p:cNvSpPr>
          <p:nvPr/>
        </p:nvSpPr>
        <p:spPr bwMode="auto">
          <a:xfrm>
            <a:off x="1714500" y="5123742"/>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53" name="Text Box 65"/>
          <p:cNvSpPr txBox="1">
            <a:spLocks noChangeArrowheads="1"/>
          </p:cNvSpPr>
          <p:nvPr/>
        </p:nvSpPr>
        <p:spPr bwMode="auto">
          <a:xfrm>
            <a:off x="2590800" y="1809042"/>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54" name="Text Box 66"/>
          <p:cNvSpPr txBox="1">
            <a:spLocks noChangeArrowheads="1"/>
          </p:cNvSpPr>
          <p:nvPr/>
        </p:nvSpPr>
        <p:spPr bwMode="auto">
          <a:xfrm>
            <a:off x="2590800" y="2342442"/>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55" name="Text Box 67"/>
          <p:cNvSpPr txBox="1">
            <a:spLocks noChangeArrowheads="1"/>
          </p:cNvSpPr>
          <p:nvPr/>
        </p:nvSpPr>
        <p:spPr bwMode="auto">
          <a:xfrm>
            <a:off x="2590800" y="2898067"/>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56" name="Text Box 68"/>
          <p:cNvSpPr txBox="1">
            <a:spLocks noChangeArrowheads="1"/>
          </p:cNvSpPr>
          <p:nvPr/>
        </p:nvSpPr>
        <p:spPr bwMode="auto">
          <a:xfrm>
            <a:off x="2590800" y="3455279"/>
            <a:ext cx="285750" cy="153988"/>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57" name="Text Box 69"/>
          <p:cNvSpPr txBox="1">
            <a:spLocks noChangeArrowheads="1"/>
          </p:cNvSpPr>
          <p:nvPr/>
        </p:nvSpPr>
        <p:spPr bwMode="auto">
          <a:xfrm>
            <a:off x="2590800" y="4010904"/>
            <a:ext cx="285750" cy="153988"/>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58" name="Text Box 70"/>
          <p:cNvSpPr txBox="1">
            <a:spLocks noChangeArrowheads="1"/>
          </p:cNvSpPr>
          <p:nvPr/>
        </p:nvSpPr>
        <p:spPr bwMode="auto">
          <a:xfrm>
            <a:off x="2590800" y="4566529"/>
            <a:ext cx="285750" cy="153988"/>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59" name="Text Box 71"/>
          <p:cNvSpPr txBox="1">
            <a:spLocks noChangeArrowheads="1"/>
          </p:cNvSpPr>
          <p:nvPr/>
        </p:nvSpPr>
        <p:spPr bwMode="auto">
          <a:xfrm>
            <a:off x="2590800" y="5123742"/>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60" name="Text Box 72"/>
          <p:cNvSpPr txBox="1">
            <a:spLocks noChangeArrowheads="1"/>
          </p:cNvSpPr>
          <p:nvPr/>
        </p:nvSpPr>
        <p:spPr bwMode="auto">
          <a:xfrm>
            <a:off x="3468688" y="1809042"/>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61" name="Text Box 73"/>
          <p:cNvSpPr txBox="1">
            <a:spLocks noChangeArrowheads="1"/>
          </p:cNvSpPr>
          <p:nvPr/>
        </p:nvSpPr>
        <p:spPr bwMode="auto">
          <a:xfrm>
            <a:off x="3468688" y="2342442"/>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62" name="Text Box 74"/>
          <p:cNvSpPr txBox="1">
            <a:spLocks noChangeArrowheads="1"/>
          </p:cNvSpPr>
          <p:nvPr/>
        </p:nvSpPr>
        <p:spPr bwMode="auto">
          <a:xfrm>
            <a:off x="3468688" y="2898067"/>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63" name="Text Box 75"/>
          <p:cNvSpPr txBox="1">
            <a:spLocks noChangeArrowheads="1"/>
          </p:cNvSpPr>
          <p:nvPr/>
        </p:nvSpPr>
        <p:spPr bwMode="auto">
          <a:xfrm>
            <a:off x="3468688" y="3455279"/>
            <a:ext cx="285750" cy="153988"/>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64" name="Text Box 76"/>
          <p:cNvSpPr txBox="1">
            <a:spLocks noChangeArrowheads="1"/>
          </p:cNvSpPr>
          <p:nvPr/>
        </p:nvSpPr>
        <p:spPr bwMode="auto">
          <a:xfrm>
            <a:off x="3468688" y="4010904"/>
            <a:ext cx="285750" cy="153988"/>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65" name="Text Box 77"/>
          <p:cNvSpPr txBox="1">
            <a:spLocks noChangeArrowheads="1"/>
          </p:cNvSpPr>
          <p:nvPr/>
        </p:nvSpPr>
        <p:spPr bwMode="auto">
          <a:xfrm>
            <a:off x="3468688" y="4566529"/>
            <a:ext cx="285750" cy="153988"/>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66" name="Text Box 78"/>
          <p:cNvSpPr txBox="1">
            <a:spLocks noChangeArrowheads="1"/>
          </p:cNvSpPr>
          <p:nvPr/>
        </p:nvSpPr>
        <p:spPr bwMode="auto">
          <a:xfrm>
            <a:off x="3468688" y="5123742"/>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67" name="Text Box 79"/>
          <p:cNvSpPr txBox="1">
            <a:spLocks noChangeArrowheads="1"/>
          </p:cNvSpPr>
          <p:nvPr/>
        </p:nvSpPr>
        <p:spPr bwMode="auto">
          <a:xfrm>
            <a:off x="4346575" y="1809042"/>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68" name="Text Box 80"/>
          <p:cNvSpPr txBox="1">
            <a:spLocks noChangeArrowheads="1"/>
          </p:cNvSpPr>
          <p:nvPr/>
        </p:nvSpPr>
        <p:spPr bwMode="auto">
          <a:xfrm>
            <a:off x="4346575" y="2342442"/>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69" name="Text Box 81"/>
          <p:cNvSpPr txBox="1">
            <a:spLocks noChangeArrowheads="1"/>
          </p:cNvSpPr>
          <p:nvPr/>
        </p:nvSpPr>
        <p:spPr bwMode="auto">
          <a:xfrm>
            <a:off x="4346575" y="2898067"/>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70" name="Text Box 82"/>
          <p:cNvSpPr txBox="1">
            <a:spLocks noChangeArrowheads="1"/>
          </p:cNvSpPr>
          <p:nvPr/>
        </p:nvSpPr>
        <p:spPr bwMode="auto">
          <a:xfrm>
            <a:off x="4346575" y="3455279"/>
            <a:ext cx="285750" cy="153988"/>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71" name="Text Box 83"/>
          <p:cNvSpPr txBox="1">
            <a:spLocks noChangeArrowheads="1"/>
          </p:cNvSpPr>
          <p:nvPr/>
        </p:nvSpPr>
        <p:spPr bwMode="auto">
          <a:xfrm>
            <a:off x="4346575" y="4010904"/>
            <a:ext cx="285750" cy="153988"/>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72" name="Text Box 84"/>
          <p:cNvSpPr txBox="1">
            <a:spLocks noChangeArrowheads="1"/>
          </p:cNvSpPr>
          <p:nvPr/>
        </p:nvSpPr>
        <p:spPr bwMode="auto">
          <a:xfrm>
            <a:off x="4346575" y="4566529"/>
            <a:ext cx="285750" cy="153988"/>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73" name="Text Box 85"/>
          <p:cNvSpPr txBox="1">
            <a:spLocks noChangeArrowheads="1"/>
          </p:cNvSpPr>
          <p:nvPr/>
        </p:nvSpPr>
        <p:spPr bwMode="auto">
          <a:xfrm>
            <a:off x="4346575" y="5123742"/>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74" name="Text Box 86"/>
          <p:cNvSpPr txBox="1">
            <a:spLocks noChangeArrowheads="1"/>
          </p:cNvSpPr>
          <p:nvPr/>
        </p:nvSpPr>
        <p:spPr bwMode="auto">
          <a:xfrm>
            <a:off x="5224463" y="1809042"/>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75" name="Text Box 87"/>
          <p:cNvSpPr txBox="1">
            <a:spLocks noChangeArrowheads="1"/>
          </p:cNvSpPr>
          <p:nvPr/>
        </p:nvSpPr>
        <p:spPr bwMode="auto">
          <a:xfrm>
            <a:off x="5224463" y="2342442"/>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76" name="Text Box 88"/>
          <p:cNvSpPr txBox="1">
            <a:spLocks noChangeArrowheads="1"/>
          </p:cNvSpPr>
          <p:nvPr/>
        </p:nvSpPr>
        <p:spPr bwMode="auto">
          <a:xfrm>
            <a:off x="5224463" y="2898067"/>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77" name="Text Box 89"/>
          <p:cNvSpPr txBox="1">
            <a:spLocks noChangeArrowheads="1"/>
          </p:cNvSpPr>
          <p:nvPr/>
        </p:nvSpPr>
        <p:spPr bwMode="auto">
          <a:xfrm>
            <a:off x="5224463" y="3455279"/>
            <a:ext cx="285750" cy="153988"/>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78" name="Text Box 90"/>
          <p:cNvSpPr txBox="1">
            <a:spLocks noChangeArrowheads="1"/>
          </p:cNvSpPr>
          <p:nvPr/>
        </p:nvSpPr>
        <p:spPr bwMode="auto">
          <a:xfrm>
            <a:off x="5224463" y="4010904"/>
            <a:ext cx="285750" cy="153988"/>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79" name="Text Box 91"/>
          <p:cNvSpPr txBox="1">
            <a:spLocks noChangeArrowheads="1"/>
          </p:cNvSpPr>
          <p:nvPr/>
        </p:nvSpPr>
        <p:spPr bwMode="auto">
          <a:xfrm>
            <a:off x="5224463" y="4566529"/>
            <a:ext cx="285750" cy="153988"/>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80" name="Text Box 92"/>
          <p:cNvSpPr txBox="1">
            <a:spLocks noChangeArrowheads="1"/>
          </p:cNvSpPr>
          <p:nvPr/>
        </p:nvSpPr>
        <p:spPr bwMode="auto">
          <a:xfrm>
            <a:off x="5224463" y="5123742"/>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81" name="Text Box 93"/>
          <p:cNvSpPr txBox="1">
            <a:spLocks noChangeArrowheads="1"/>
          </p:cNvSpPr>
          <p:nvPr/>
        </p:nvSpPr>
        <p:spPr bwMode="auto">
          <a:xfrm>
            <a:off x="6102350" y="1809042"/>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82" name="Text Box 94"/>
          <p:cNvSpPr txBox="1">
            <a:spLocks noChangeArrowheads="1"/>
          </p:cNvSpPr>
          <p:nvPr/>
        </p:nvSpPr>
        <p:spPr bwMode="auto">
          <a:xfrm>
            <a:off x="6102350" y="2342442"/>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83" name="Text Box 95"/>
          <p:cNvSpPr txBox="1">
            <a:spLocks noChangeArrowheads="1"/>
          </p:cNvSpPr>
          <p:nvPr/>
        </p:nvSpPr>
        <p:spPr bwMode="auto">
          <a:xfrm>
            <a:off x="6102350" y="2898067"/>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84" name="Text Box 96"/>
          <p:cNvSpPr txBox="1">
            <a:spLocks noChangeArrowheads="1"/>
          </p:cNvSpPr>
          <p:nvPr/>
        </p:nvSpPr>
        <p:spPr bwMode="auto">
          <a:xfrm>
            <a:off x="6102350" y="3455279"/>
            <a:ext cx="285750" cy="153988"/>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85" name="Text Box 97"/>
          <p:cNvSpPr txBox="1">
            <a:spLocks noChangeArrowheads="1"/>
          </p:cNvSpPr>
          <p:nvPr/>
        </p:nvSpPr>
        <p:spPr bwMode="auto">
          <a:xfrm>
            <a:off x="6102350" y="4010904"/>
            <a:ext cx="285750" cy="153988"/>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86" name="Text Box 98"/>
          <p:cNvSpPr txBox="1">
            <a:spLocks noChangeArrowheads="1"/>
          </p:cNvSpPr>
          <p:nvPr/>
        </p:nvSpPr>
        <p:spPr bwMode="auto">
          <a:xfrm>
            <a:off x="6102350" y="4566529"/>
            <a:ext cx="285750" cy="153988"/>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780387" name="Text Box 99"/>
          <p:cNvSpPr txBox="1">
            <a:spLocks noChangeArrowheads="1"/>
          </p:cNvSpPr>
          <p:nvPr/>
        </p:nvSpPr>
        <p:spPr bwMode="auto">
          <a:xfrm>
            <a:off x="6102350" y="5123742"/>
            <a:ext cx="285750" cy="153987"/>
          </a:xfrm>
          <a:prstGeom prst="rect">
            <a:avLst/>
          </a:prstGeom>
          <a:noFill/>
          <a:ln w="9525">
            <a:noFill/>
            <a:miter lim="800000"/>
            <a:headEnd type="none" w="sm" len="sm"/>
            <a:tailEnd type="none" w="med" len="lg"/>
          </a:ln>
        </p:spPr>
        <p:txBody>
          <a:bodyPr wrap="none" lIns="18000" tIns="0" rIns="18000" bIns="0">
            <a:spAutoFit/>
          </a:bodyPr>
          <a:lstStyle/>
          <a:p>
            <a:pPr algn="ctr"/>
            <a:r>
              <a:rPr lang="en-GB" altLang="ja-JP" sz="1000">
                <a:solidFill>
                  <a:schemeClr val="tx2"/>
                </a:solidFill>
                <a:ea typeface="ＭＳ Ｐゴシック" charset="-128"/>
              </a:rPr>
              <a:t>Text</a:t>
            </a:r>
          </a:p>
        </p:txBody>
      </p:sp>
      <p:sp>
        <p:nvSpPr>
          <p:cNvPr id="10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0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2882"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8915" name="think-cell Slide" r:id="rId242" imgW="0" imgH="0" progId="">
                  <p:embed/>
                </p:oleObj>
              </mc:Choice>
              <mc:Fallback>
                <p:oleObj name="think-cell Slide" r:id="rId24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2883" name="Rectangle 125"/>
          <p:cNvSpPr>
            <a:spLocks noChangeArrowheads="1"/>
          </p:cNvSpPr>
          <p:nvPr>
            <p:custDataLst>
              <p:tags r:id="rId3"/>
            </p:custDataLst>
          </p:nvPr>
        </p:nvSpPr>
        <p:spPr bwMode="auto">
          <a:xfrm>
            <a:off x="6883400" y="1368140"/>
            <a:ext cx="600075" cy="323850"/>
          </a:xfrm>
          <a:prstGeom prst="rect">
            <a:avLst/>
          </a:prstGeom>
          <a:noFill/>
          <a:ln w="9525">
            <a:noFill/>
            <a:miter lim="800000"/>
            <a:headEnd/>
            <a:tailEnd/>
          </a:ln>
        </p:spPr>
        <p:txBody>
          <a:bodyPr lIns="92075" tIns="46038" rIns="92075" bIns="46038">
            <a:spAutoFit/>
          </a:bodyPr>
          <a:lstStyle/>
          <a:p>
            <a:pPr algn="ctr"/>
            <a:r>
              <a:rPr lang="en-GB" altLang="ja-JP" sz="500" b="0" dirty="0">
                <a:solidFill>
                  <a:schemeClr val="tx2"/>
                </a:solidFill>
                <a:ea typeface="ＭＳ Ｐゴシック" charset="-128"/>
              </a:rPr>
              <a:t>Thermal </a:t>
            </a:r>
            <a:r>
              <a:rPr lang="en-GB" altLang="ja-JP" sz="500" b="0" dirty="0" smtClean="0">
                <a:solidFill>
                  <a:schemeClr val="tx2"/>
                </a:solidFill>
                <a:ea typeface="ＭＳ Ｐゴシック" charset="-128"/>
              </a:rPr>
              <a:t>and </a:t>
            </a:r>
            <a:r>
              <a:rPr lang="en-GB" altLang="ja-JP" sz="500" b="0" dirty="0">
                <a:solidFill>
                  <a:schemeClr val="tx2"/>
                </a:solidFill>
                <a:ea typeface="ＭＳ Ｐゴシック" charset="-128"/>
              </a:rPr>
              <a:t>energy technology </a:t>
            </a:r>
          </a:p>
        </p:txBody>
      </p:sp>
      <p:sp>
        <p:nvSpPr>
          <p:cNvPr id="762884" name="Title 1"/>
          <p:cNvSpPr>
            <a:spLocks noGrp="1"/>
          </p:cNvSpPr>
          <p:nvPr>
            <p:ph type="title"/>
            <p:custDataLst>
              <p:tags r:id="rId4"/>
            </p:custDataLst>
          </p:nvPr>
        </p:nvSpPr>
        <p:spPr>
          <a:xfrm>
            <a:off x="414338" y="446038"/>
            <a:ext cx="8330184" cy="333425"/>
          </a:xfrm>
        </p:spPr>
        <p:txBody>
          <a:bodyPr/>
          <a:lstStyle/>
          <a:p>
            <a:r>
              <a:rPr lang="en-GB" altLang="ja-JP"/>
              <a:t>Activity map </a:t>
            </a:r>
            <a:r>
              <a:rPr lang="en-US"/>
              <a:t>—</a:t>
            </a:r>
            <a:r>
              <a:rPr lang="en-GB" altLang="ja-JP" smtClean="0"/>
              <a:t> </a:t>
            </a:r>
            <a:r>
              <a:rPr lang="en-GB" altLang="ja-JP"/>
              <a:t>very detailed</a:t>
            </a:r>
            <a:endParaRPr lang="nl-NL"/>
          </a:p>
        </p:txBody>
      </p:sp>
      <p:sp>
        <p:nvSpPr>
          <p:cNvPr id="762886" name="Rectangle 3"/>
          <p:cNvSpPr>
            <a:spLocks noChangeArrowheads="1"/>
          </p:cNvSpPr>
          <p:nvPr>
            <p:custDataLst>
              <p:tags r:id="rId5"/>
            </p:custDataLst>
          </p:nvPr>
        </p:nvSpPr>
        <p:spPr bwMode="auto">
          <a:xfrm>
            <a:off x="146051" y="5909978"/>
            <a:ext cx="1227138" cy="461962"/>
          </a:xfrm>
          <a:prstGeom prst="rect">
            <a:avLst/>
          </a:prstGeom>
          <a:noFill/>
          <a:ln w="9525">
            <a:noFill/>
            <a:miter lim="800000"/>
            <a:headEnd/>
            <a:tailEnd/>
          </a:ln>
        </p:spPr>
        <p:txBody>
          <a:bodyPr wrap="square" lIns="92075" tIns="46038" rIns="92075" bIns="46038">
            <a:spAutoFit/>
          </a:bodyPr>
          <a:lstStyle/>
          <a:p>
            <a:pPr algn="r"/>
            <a:r>
              <a:rPr lang="en-GB" altLang="ja-JP" sz="1200" dirty="0">
                <a:solidFill>
                  <a:schemeClr val="tx2"/>
                </a:solidFill>
                <a:ea typeface="ＭＳ Ｐゴシック" charset="-128"/>
              </a:rPr>
              <a:t>Geographic markets </a:t>
            </a:r>
          </a:p>
        </p:txBody>
      </p:sp>
      <p:sp>
        <p:nvSpPr>
          <p:cNvPr id="762887" name="Rectangle 4"/>
          <p:cNvSpPr>
            <a:spLocks noChangeArrowheads="1"/>
          </p:cNvSpPr>
          <p:nvPr>
            <p:custDataLst>
              <p:tags r:id="rId6"/>
            </p:custDataLst>
          </p:nvPr>
        </p:nvSpPr>
        <p:spPr bwMode="auto">
          <a:xfrm>
            <a:off x="346075" y="5141628"/>
            <a:ext cx="1044575" cy="461962"/>
          </a:xfrm>
          <a:prstGeom prst="rect">
            <a:avLst/>
          </a:prstGeom>
          <a:noFill/>
          <a:ln w="9525">
            <a:noFill/>
            <a:miter lim="800000"/>
            <a:headEnd/>
            <a:tailEnd/>
          </a:ln>
        </p:spPr>
        <p:txBody>
          <a:bodyPr wrap="square" lIns="92075" tIns="46038" rIns="92075" bIns="46038">
            <a:spAutoFit/>
          </a:bodyPr>
          <a:lstStyle/>
          <a:p>
            <a:pPr algn="r"/>
            <a:r>
              <a:rPr lang="en-GB" altLang="ja-JP" sz="1200" dirty="0">
                <a:solidFill>
                  <a:schemeClr val="tx2"/>
                </a:solidFill>
                <a:ea typeface="ＭＳ Ｐゴシック" charset="-128"/>
              </a:rPr>
              <a:t>Distribution channel </a:t>
            </a:r>
          </a:p>
        </p:txBody>
      </p:sp>
      <p:sp>
        <p:nvSpPr>
          <p:cNvPr id="762888" name="Rectangle 5"/>
          <p:cNvSpPr>
            <a:spLocks noChangeArrowheads="1"/>
          </p:cNvSpPr>
          <p:nvPr>
            <p:custDataLst>
              <p:tags r:id="rId7"/>
            </p:custDataLst>
          </p:nvPr>
        </p:nvSpPr>
        <p:spPr bwMode="auto">
          <a:xfrm>
            <a:off x="411163" y="5617878"/>
            <a:ext cx="979487" cy="277812"/>
          </a:xfrm>
          <a:prstGeom prst="rect">
            <a:avLst/>
          </a:prstGeom>
          <a:noFill/>
          <a:ln w="9525">
            <a:noFill/>
            <a:miter lim="800000"/>
            <a:headEnd/>
            <a:tailEnd/>
          </a:ln>
        </p:spPr>
        <p:txBody>
          <a:bodyPr wrap="square" lIns="92075" tIns="46038" rIns="92075" bIns="46038">
            <a:spAutoFit/>
          </a:bodyPr>
          <a:lstStyle/>
          <a:p>
            <a:pPr algn="r"/>
            <a:r>
              <a:rPr lang="en-GB" altLang="ja-JP" sz="1200" dirty="0">
                <a:solidFill>
                  <a:schemeClr val="tx2"/>
                </a:solidFill>
                <a:ea typeface="ＭＳ Ｐゴシック" charset="-128"/>
              </a:rPr>
              <a:t>Customer </a:t>
            </a:r>
          </a:p>
        </p:txBody>
      </p:sp>
      <p:sp>
        <p:nvSpPr>
          <p:cNvPr id="762889" name="Rectangle 6"/>
          <p:cNvSpPr>
            <a:spLocks noChangeArrowheads="1"/>
          </p:cNvSpPr>
          <p:nvPr>
            <p:custDataLst>
              <p:tags r:id="rId8"/>
            </p:custDataLst>
          </p:nvPr>
        </p:nvSpPr>
        <p:spPr bwMode="auto">
          <a:xfrm>
            <a:off x="346075" y="4600290"/>
            <a:ext cx="1044575" cy="277813"/>
          </a:xfrm>
          <a:prstGeom prst="rect">
            <a:avLst/>
          </a:prstGeom>
          <a:noFill/>
          <a:ln w="9525">
            <a:noFill/>
            <a:miter lim="800000"/>
            <a:headEnd/>
            <a:tailEnd/>
          </a:ln>
        </p:spPr>
        <p:txBody>
          <a:bodyPr wrap="square" lIns="92075" tIns="46038" rIns="92075" bIns="46038">
            <a:spAutoFit/>
          </a:bodyPr>
          <a:lstStyle/>
          <a:p>
            <a:pPr algn="r"/>
            <a:r>
              <a:rPr lang="en-GB" altLang="ja-JP" sz="1200" dirty="0">
                <a:solidFill>
                  <a:schemeClr val="tx2"/>
                </a:solidFill>
                <a:ea typeface="ＭＳ Ｐゴシック" charset="-128"/>
              </a:rPr>
              <a:t>End use </a:t>
            </a:r>
          </a:p>
        </p:txBody>
      </p:sp>
      <p:sp>
        <p:nvSpPr>
          <p:cNvPr id="762890" name="Rectangle 7"/>
          <p:cNvSpPr>
            <a:spLocks noChangeArrowheads="1"/>
          </p:cNvSpPr>
          <p:nvPr>
            <p:custDataLst>
              <p:tags r:id="rId9"/>
            </p:custDataLst>
          </p:nvPr>
        </p:nvSpPr>
        <p:spPr bwMode="auto">
          <a:xfrm>
            <a:off x="411163" y="4814603"/>
            <a:ext cx="962025" cy="277812"/>
          </a:xfrm>
          <a:prstGeom prst="rect">
            <a:avLst/>
          </a:prstGeom>
          <a:noFill/>
          <a:ln w="9525">
            <a:noFill/>
            <a:miter lim="800000"/>
            <a:headEnd/>
            <a:tailEnd/>
          </a:ln>
        </p:spPr>
        <p:txBody>
          <a:bodyPr wrap="square" lIns="92075" tIns="46038" rIns="92075" bIns="46038">
            <a:spAutoFit/>
          </a:bodyPr>
          <a:lstStyle/>
          <a:p>
            <a:pPr algn="r"/>
            <a:r>
              <a:rPr lang="en-GB" altLang="ja-JP" sz="1200" dirty="0">
                <a:solidFill>
                  <a:schemeClr val="tx2"/>
                </a:solidFill>
                <a:ea typeface="ＭＳ Ｐゴシック" charset="-128"/>
              </a:rPr>
              <a:t>Industry </a:t>
            </a:r>
          </a:p>
        </p:txBody>
      </p:sp>
      <p:sp>
        <p:nvSpPr>
          <p:cNvPr id="762891" name="Rectangle 8"/>
          <p:cNvSpPr>
            <a:spLocks noChangeArrowheads="1"/>
          </p:cNvSpPr>
          <p:nvPr>
            <p:custDataLst>
              <p:tags r:id="rId10"/>
            </p:custDataLst>
          </p:nvPr>
        </p:nvSpPr>
        <p:spPr bwMode="auto">
          <a:xfrm>
            <a:off x="0" y="2903253"/>
            <a:ext cx="1390650" cy="646973"/>
          </a:xfrm>
          <a:prstGeom prst="rect">
            <a:avLst/>
          </a:prstGeom>
          <a:noFill/>
          <a:ln w="9525">
            <a:noFill/>
            <a:miter lim="800000"/>
            <a:headEnd/>
            <a:tailEnd/>
          </a:ln>
        </p:spPr>
        <p:txBody>
          <a:bodyPr wrap="square" lIns="92075" tIns="46038" rIns="92075" bIns="46038">
            <a:spAutoFit/>
          </a:bodyPr>
          <a:lstStyle/>
          <a:p>
            <a:pPr algn="r"/>
            <a:r>
              <a:rPr lang="en-GB" altLang="ja-JP" sz="1200" dirty="0">
                <a:solidFill>
                  <a:schemeClr val="tx2"/>
                </a:solidFill>
                <a:ea typeface="ＭＳ Ｐゴシック" charset="-128"/>
              </a:rPr>
              <a:t>System design </a:t>
            </a:r>
            <a:r>
              <a:rPr lang="en-GB" altLang="ja-JP" sz="1200" dirty="0" smtClean="0">
                <a:solidFill>
                  <a:schemeClr val="tx2"/>
                </a:solidFill>
                <a:ea typeface="ＭＳ Ｐゴシック" charset="-128"/>
              </a:rPr>
              <a:t>/application </a:t>
            </a:r>
            <a:r>
              <a:rPr lang="en-GB" altLang="ja-JP" sz="1200" dirty="0">
                <a:solidFill>
                  <a:schemeClr val="tx2"/>
                </a:solidFill>
                <a:ea typeface="ＭＳ Ｐゴシック" charset="-128"/>
              </a:rPr>
              <a:t>engineering</a:t>
            </a:r>
          </a:p>
        </p:txBody>
      </p:sp>
      <p:sp>
        <p:nvSpPr>
          <p:cNvPr id="762892" name="Rectangle 9"/>
          <p:cNvSpPr>
            <a:spLocks noChangeArrowheads="1"/>
          </p:cNvSpPr>
          <p:nvPr>
            <p:custDataLst>
              <p:tags r:id="rId11"/>
            </p:custDataLst>
          </p:nvPr>
        </p:nvSpPr>
        <p:spPr bwMode="auto">
          <a:xfrm>
            <a:off x="346075" y="3673190"/>
            <a:ext cx="1027113" cy="277813"/>
          </a:xfrm>
          <a:prstGeom prst="rect">
            <a:avLst/>
          </a:prstGeom>
          <a:noFill/>
          <a:ln w="9525">
            <a:noFill/>
            <a:miter lim="800000"/>
            <a:headEnd/>
            <a:tailEnd/>
          </a:ln>
        </p:spPr>
        <p:txBody>
          <a:bodyPr wrap="square" lIns="92075" tIns="46038" rIns="92075" bIns="46038">
            <a:spAutoFit/>
          </a:bodyPr>
          <a:lstStyle/>
          <a:p>
            <a:pPr algn="r"/>
            <a:r>
              <a:rPr lang="en-GB" altLang="ja-JP" sz="1200" dirty="0">
                <a:solidFill>
                  <a:schemeClr val="tx2"/>
                </a:solidFill>
                <a:ea typeface="ＭＳ Ｐゴシック" charset="-128"/>
              </a:rPr>
              <a:t>Installation </a:t>
            </a:r>
          </a:p>
        </p:txBody>
      </p:sp>
      <p:sp>
        <p:nvSpPr>
          <p:cNvPr id="762893" name="Rectangle 10"/>
          <p:cNvSpPr>
            <a:spLocks noChangeArrowheads="1"/>
          </p:cNvSpPr>
          <p:nvPr>
            <p:custDataLst>
              <p:tags r:id="rId12"/>
            </p:custDataLst>
          </p:nvPr>
        </p:nvSpPr>
        <p:spPr bwMode="auto">
          <a:xfrm>
            <a:off x="346075" y="4054190"/>
            <a:ext cx="1044575" cy="277813"/>
          </a:xfrm>
          <a:prstGeom prst="rect">
            <a:avLst/>
          </a:prstGeom>
          <a:noFill/>
          <a:ln w="9525">
            <a:noFill/>
            <a:miter lim="800000"/>
            <a:headEnd/>
            <a:tailEnd/>
          </a:ln>
        </p:spPr>
        <p:txBody>
          <a:bodyPr wrap="square" lIns="92075" tIns="46038" rIns="92075" bIns="46038">
            <a:spAutoFit/>
          </a:bodyPr>
          <a:lstStyle/>
          <a:p>
            <a:pPr algn="r"/>
            <a:r>
              <a:rPr lang="en-GB" altLang="ja-JP" sz="1200" dirty="0">
                <a:solidFill>
                  <a:schemeClr val="tx2"/>
                </a:solidFill>
                <a:ea typeface="ＭＳ Ｐゴシック" charset="-128"/>
              </a:rPr>
              <a:t>Service </a:t>
            </a:r>
          </a:p>
        </p:txBody>
      </p:sp>
      <p:sp>
        <p:nvSpPr>
          <p:cNvPr id="762894" name="Rectangle 11"/>
          <p:cNvSpPr>
            <a:spLocks noChangeArrowheads="1"/>
          </p:cNvSpPr>
          <p:nvPr>
            <p:custDataLst>
              <p:tags r:id="rId13"/>
            </p:custDataLst>
          </p:nvPr>
        </p:nvSpPr>
        <p:spPr bwMode="auto">
          <a:xfrm>
            <a:off x="3008313" y="6130640"/>
            <a:ext cx="596900" cy="247650"/>
          </a:xfrm>
          <a:prstGeom prst="rect">
            <a:avLst/>
          </a:prstGeom>
          <a:noFill/>
          <a:ln w="9525">
            <a:noFill/>
            <a:miter lim="800000"/>
            <a:headEnd/>
            <a:tailEnd/>
          </a:ln>
        </p:spPr>
        <p:txBody>
          <a:bodyPr lIns="92075" tIns="46038" rIns="92075" bIns="46038">
            <a:spAutoFit/>
          </a:bodyPr>
          <a:lstStyle/>
          <a:p>
            <a:pPr algn="ctr"/>
            <a:r>
              <a:rPr lang="en-GB" altLang="ja-JP" sz="500" b="0" dirty="0">
                <a:solidFill>
                  <a:schemeClr val="tx2"/>
                </a:solidFill>
                <a:ea typeface="ＭＳ Ｐゴシック" charset="-128"/>
              </a:rPr>
              <a:t>Middle East   </a:t>
            </a:r>
            <a:r>
              <a:rPr lang="en-GB" altLang="ja-JP" sz="500" b="0" dirty="0" smtClean="0">
                <a:solidFill>
                  <a:schemeClr val="tx2"/>
                </a:solidFill>
                <a:ea typeface="ＭＳ Ｐゴシック" charset="-128"/>
              </a:rPr>
              <a:t>and </a:t>
            </a:r>
            <a:r>
              <a:rPr lang="en-GB" altLang="ja-JP" sz="500" b="0" dirty="0">
                <a:solidFill>
                  <a:schemeClr val="tx2"/>
                </a:solidFill>
                <a:ea typeface="ＭＳ Ｐゴシック" charset="-128"/>
              </a:rPr>
              <a:t>Africa</a:t>
            </a:r>
          </a:p>
        </p:txBody>
      </p:sp>
      <p:sp>
        <p:nvSpPr>
          <p:cNvPr id="762895" name="Rectangle 12"/>
          <p:cNvSpPr>
            <a:spLocks noChangeArrowheads="1"/>
          </p:cNvSpPr>
          <p:nvPr>
            <p:custDataLst>
              <p:tags r:id="rId14"/>
            </p:custDataLst>
          </p:nvPr>
        </p:nvSpPr>
        <p:spPr bwMode="auto">
          <a:xfrm>
            <a:off x="387350" y="1272890"/>
            <a:ext cx="985838" cy="647700"/>
          </a:xfrm>
          <a:prstGeom prst="rect">
            <a:avLst/>
          </a:prstGeom>
          <a:noFill/>
          <a:ln w="9525">
            <a:noFill/>
            <a:miter lim="800000"/>
            <a:headEnd/>
            <a:tailEnd/>
          </a:ln>
        </p:spPr>
        <p:txBody>
          <a:bodyPr wrap="square" lIns="92075" tIns="46038" rIns="92075" bIns="46038">
            <a:spAutoFit/>
          </a:bodyPr>
          <a:lstStyle/>
          <a:p>
            <a:pPr algn="r"/>
            <a:r>
              <a:rPr lang="en-GB" altLang="ja-JP" sz="1200" dirty="0">
                <a:solidFill>
                  <a:schemeClr val="tx2"/>
                </a:solidFill>
                <a:ea typeface="ＭＳ Ｐゴシック" charset="-128"/>
              </a:rPr>
              <a:t>New business strengths</a:t>
            </a:r>
          </a:p>
        </p:txBody>
      </p:sp>
      <p:sp>
        <p:nvSpPr>
          <p:cNvPr id="762896" name="Rectangle 13"/>
          <p:cNvSpPr>
            <a:spLocks noChangeArrowheads="1"/>
          </p:cNvSpPr>
          <p:nvPr>
            <p:custDataLst>
              <p:tags r:id="rId15"/>
            </p:custDataLst>
          </p:nvPr>
        </p:nvSpPr>
        <p:spPr bwMode="auto">
          <a:xfrm>
            <a:off x="387350" y="2136490"/>
            <a:ext cx="1003300" cy="647700"/>
          </a:xfrm>
          <a:prstGeom prst="rect">
            <a:avLst/>
          </a:prstGeom>
          <a:noFill/>
          <a:ln w="9525">
            <a:noFill/>
            <a:miter lim="800000"/>
            <a:headEnd/>
            <a:tailEnd/>
          </a:ln>
        </p:spPr>
        <p:txBody>
          <a:bodyPr wrap="square" lIns="92075" tIns="46038" rIns="92075" bIns="46038">
            <a:spAutoFit/>
          </a:bodyPr>
          <a:lstStyle/>
          <a:p>
            <a:pPr algn="r"/>
            <a:r>
              <a:rPr lang="en-GB" altLang="ja-JP" sz="1200" dirty="0">
                <a:solidFill>
                  <a:schemeClr val="tx2"/>
                </a:solidFill>
                <a:ea typeface="ＭＳ Ｐゴシック" charset="-128"/>
              </a:rPr>
              <a:t>Installed base strengths</a:t>
            </a:r>
          </a:p>
        </p:txBody>
      </p:sp>
      <p:sp>
        <p:nvSpPr>
          <p:cNvPr id="15" name="Line 15"/>
          <p:cNvSpPr>
            <a:spLocks noChangeShapeType="1"/>
          </p:cNvSpPr>
          <p:nvPr>
            <p:custDataLst>
              <p:tags r:id="rId16"/>
            </p:custDataLst>
          </p:nvPr>
        </p:nvSpPr>
        <p:spPr bwMode="auto">
          <a:xfrm>
            <a:off x="7435850" y="1025240"/>
            <a:ext cx="0" cy="239713"/>
          </a:xfrm>
          <a:prstGeom prst="line">
            <a:avLst/>
          </a:prstGeom>
          <a:noFill/>
          <a:ln w="12700">
            <a:solidFill>
              <a:schemeClr val="accent1"/>
            </a:solidFill>
            <a:round/>
            <a:headEnd type="none" w="sm" len="sm"/>
            <a:tailEnd type="none" w="sm" len="sm"/>
          </a:ln>
        </p:spPr>
        <p:txBody>
          <a:bodyPr wrap="none" anchor="ctr"/>
          <a:lstStyle/>
          <a:p>
            <a:pPr>
              <a:defRPr/>
            </a:pPr>
            <a:endParaRPr lang="en-GB" b="0">
              <a:solidFill>
                <a:schemeClr val="tx2"/>
              </a:solidFill>
            </a:endParaRPr>
          </a:p>
        </p:txBody>
      </p:sp>
      <p:sp>
        <p:nvSpPr>
          <p:cNvPr id="762898" name="Rectangle 16"/>
          <p:cNvSpPr>
            <a:spLocks noChangeArrowheads="1"/>
          </p:cNvSpPr>
          <p:nvPr>
            <p:custDataLst>
              <p:tags r:id="rId17"/>
            </p:custDataLst>
          </p:nvPr>
        </p:nvSpPr>
        <p:spPr bwMode="auto">
          <a:xfrm>
            <a:off x="7845431" y="1253840"/>
            <a:ext cx="277812" cy="125413"/>
          </a:xfrm>
          <a:prstGeom prst="rect">
            <a:avLst/>
          </a:prstGeom>
          <a:solidFill>
            <a:schemeClr val="accent2"/>
          </a:solidFill>
          <a:ln w="12700">
            <a:solidFill>
              <a:schemeClr val="bg1"/>
            </a:solidFill>
            <a:miter lim="800000"/>
            <a:headEnd/>
            <a:tailEnd/>
          </a:ln>
        </p:spPr>
        <p:txBody>
          <a:bodyPr wrap="none" anchor="ctr"/>
          <a:lstStyle/>
          <a:p>
            <a:pPr algn="ctr"/>
            <a:endParaRPr lang="en-GB" b="0">
              <a:solidFill>
                <a:schemeClr val="tx2"/>
              </a:solidFill>
            </a:endParaRPr>
          </a:p>
        </p:txBody>
      </p:sp>
      <p:sp>
        <p:nvSpPr>
          <p:cNvPr id="17" name="Line 17"/>
          <p:cNvSpPr>
            <a:spLocks noChangeShapeType="1"/>
          </p:cNvSpPr>
          <p:nvPr>
            <p:custDataLst>
              <p:tags r:id="rId18"/>
            </p:custDataLst>
          </p:nvPr>
        </p:nvSpPr>
        <p:spPr bwMode="auto">
          <a:xfrm>
            <a:off x="7435850" y="1423703"/>
            <a:ext cx="0" cy="238125"/>
          </a:xfrm>
          <a:prstGeom prst="line">
            <a:avLst/>
          </a:prstGeom>
          <a:noFill/>
          <a:ln w="12700">
            <a:solidFill>
              <a:schemeClr val="accent1"/>
            </a:solidFill>
            <a:round/>
            <a:headEnd type="none" w="sm" len="sm"/>
            <a:tailEnd type="none" w="sm" len="sm"/>
          </a:ln>
        </p:spPr>
        <p:txBody>
          <a:bodyPr wrap="none" anchor="ctr"/>
          <a:lstStyle/>
          <a:p>
            <a:pPr>
              <a:defRPr/>
            </a:pPr>
            <a:endParaRPr lang="en-GB" b="0">
              <a:solidFill>
                <a:schemeClr val="tx2"/>
              </a:solidFill>
            </a:endParaRPr>
          </a:p>
        </p:txBody>
      </p:sp>
      <p:sp>
        <p:nvSpPr>
          <p:cNvPr id="762900" name="Rectangle 18"/>
          <p:cNvSpPr>
            <a:spLocks noChangeArrowheads="1"/>
          </p:cNvSpPr>
          <p:nvPr>
            <p:custDataLst>
              <p:tags r:id="rId19"/>
            </p:custDataLst>
          </p:nvPr>
        </p:nvSpPr>
        <p:spPr bwMode="auto">
          <a:xfrm>
            <a:off x="7369175" y="1418940"/>
            <a:ext cx="596900"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Customised </a:t>
            </a:r>
          </a:p>
        </p:txBody>
      </p:sp>
      <p:sp>
        <p:nvSpPr>
          <p:cNvPr id="762901" name="Rectangle 19"/>
          <p:cNvSpPr>
            <a:spLocks noChangeArrowheads="1"/>
          </p:cNvSpPr>
          <p:nvPr>
            <p:custDataLst>
              <p:tags r:id="rId20"/>
            </p:custDataLst>
          </p:nvPr>
        </p:nvSpPr>
        <p:spPr bwMode="auto">
          <a:xfrm>
            <a:off x="7753350" y="1418940"/>
            <a:ext cx="463550"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Standard</a:t>
            </a:r>
          </a:p>
        </p:txBody>
      </p:sp>
      <p:sp>
        <p:nvSpPr>
          <p:cNvPr id="762902" name="Rectangle 20"/>
          <p:cNvSpPr>
            <a:spLocks noChangeArrowheads="1"/>
          </p:cNvSpPr>
          <p:nvPr>
            <p:custDataLst>
              <p:tags r:id="rId21"/>
            </p:custDataLst>
          </p:nvPr>
        </p:nvSpPr>
        <p:spPr bwMode="auto">
          <a:xfrm>
            <a:off x="1703388" y="3438243"/>
            <a:ext cx="598487" cy="169863"/>
          </a:xfrm>
          <a:prstGeom prst="rect">
            <a:avLst/>
          </a:prstGeom>
          <a:noFill/>
          <a:ln w="9525">
            <a:noFill/>
            <a:miter lim="800000"/>
            <a:headEnd/>
            <a:tailEnd/>
          </a:ln>
        </p:spPr>
        <p:txBody>
          <a:bodyPr lIns="92075" tIns="46038" rIns="92075" bIns="46038">
            <a:spAutoFit/>
          </a:bodyPr>
          <a:lstStyle/>
          <a:p>
            <a:pPr algn="ctr"/>
            <a:r>
              <a:rPr lang="en-GB" altLang="ja-JP" sz="500" b="0" dirty="0">
                <a:solidFill>
                  <a:schemeClr val="tx2"/>
                </a:solidFill>
                <a:ea typeface="ＭＳ Ｐゴシック" charset="-128"/>
              </a:rPr>
              <a:t>Sub-systems </a:t>
            </a:r>
          </a:p>
        </p:txBody>
      </p:sp>
      <p:sp>
        <p:nvSpPr>
          <p:cNvPr id="762903" name="Rectangle 21"/>
          <p:cNvSpPr>
            <a:spLocks noChangeArrowheads="1"/>
          </p:cNvSpPr>
          <p:nvPr>
            <p:custDataLst>
              <p:tags r:id="rId22"/>
            </p:custDataLst>
          </p:nvPr>
        </p:nvSpPr>
        <p:spPr bwMode="auto">
          <a:xfrm>
            <a:off x="1495425" y="6003640"/>
            <a:ext cx="304800" cy="120650"/>
          </a:xfrm>
          <a:prstGeom prst="rect">
            <a:avLst/>
          </a:prstGeom>
          <a:solidFill>
            <a:schemeClr val="accent1"/>
          </a:solidFill>
          <a:ln w="12700">
            <a:solidFill>
              <a:schemeClr val="tx2"/>
            </a:solidFill>
            <a:miter lim="800000"/>
            <a:headEnd/>
            <a:tailEnd/>
          </a:ln>
        </p:spPr>
        <p:txBody>
          <a:bodyPr wrap="none" anchor="ctr"/>
          <a:lstStyle/>
          <a:p>
            <a:pPr algn="ctr"/>
            <a:endParaRPr lang="en-GB" b="0">
              <a:solidFill>
                <a:schemeClr val="tx2"/>
              </a:solidFill>
            </a:endParaRPr>
          </a:p>
        </p:txBody>
      </p:sp>
      <p:sp>
        <p:nvSpPr>
          <p:cNvPr id="762904" name="Rectangle 23"/>
          <p:cNvSpPr>
            <a:spLocks noChangeArrowheads="1"/>
          </p:cNvSpPr>
          <p:nvPr>
            <p:custDataLst>
              <p:tags r:id="rId23"/>
            </p:custDataLst>
          </p:nvPr>
        </p:nvSpPr>
        <p:spPr bwMode="auto">
          <a:xfrm>
            <a:off x="2257425" y="6003640"/>
            <a:ext cx="303213" cy="120650"/>
          </a:xfrm>
          <a:prstGeom prst="rect">
            <a:avLst/>
          </a:prstGeom>
          <a:solidFill>
            <a:schemeClr val="accent1"/>
          </a:solidFill>
          <a:ln w="12700">
            <a:solidFill>
              <a:schemeClr val="tx2"/>
            </a:solidFill>
            <a:miter lim="800000"/>
            <a:headEnd/>
            <a:tailEnd/>
          </a:ln>
        </p:spPr>
        <p:txBody>
          <a:bodyPr wrap="none" anchor="ctr"/>
          <a:lstStyle/>
          <a:p>
            <a:pPr algn="ctr"/>
            <a:endParaRPr lang="en-GB" b="0">
              <a:solidFill>
                <a:schemeClr val="tx2"/>
              </a:solidFill>
            </a:endParaRPr>
          </a:p>
        </p:txBody>
      </p:sp>
      <p:sp>
        <p:nvSpPr>
          <p:cNvPr id="762905" name="Rectangle 24"/>
          <p:cNvSpPr>
            <a:spLocks noChangeArrowheads="1"/>
          </p:cNvSpPr>
          <p:nvPr>
            <p:custDataLst>
              <p:tags r:id="rId24"/>
            </p:custDataLst>
          </p:nvPr>
        </p:nvSpPr>
        <p:spPr bwMode="auto">
          <a:xfrm>
            <a:off x="2611438" y="6003640"/>
            <a:ext cx="304800"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25" name="Rectangle 25"/>
          <p:cNvSpPr>
            <a:spLocks noChangeArrowheads="1"/>
          </p:cNvSpPr>
          <p:nvPr>
            <p:custDataLst>
              <p:tags r:id="rId25"/>
            </p:custDataLst>
          </p:nvPr>
        </p:nvSpPr>
        <p:spPr bwMode="auto">
          <a:xfrm>
            <a:off x="3152775" y="6003640"/>
            <a:ext cx="304800" cy="120650"/>
          </a:xfrm>
          <a:prstGeom prst="rect">
            <a:avLst/>
          </a:prstGeom>
          <a:solidFill>
            <a:schemeClr val="bg2"/>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26" name="Rectangle 26"/>
          <p:cNvSpPr>
            <a:spLocks noChangeArrowheads="1"/>
          </p:cNvSpPr>
          <p:nvPr>
            <p:custDataLst>
              <p:tags r:id="rId26"/>
            </p:custDataLst>
          </p:nvPr>
        </p:nvSpPr>
        <p:spPr bwMode="auto">
          <a:xfrm>
            <a:off x="3556000" y="6003640"/>
            <a:ext cx="304800" cy="120650"/>
          </a:xfrm>
          <a:prstGeom prst="rect">
            <a:avLst/>
          </a:prstGeom>
          <a:solidFill>
            <a:schemeClr val="bg2"/>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27" name="Rectangle 27"/>
          <p:cNvSpPr>
            <a:spLocks noChangeArrowheads="1"/>
          </p:cNvSpPr>
          <p:nvPr>
            <p:custDataLst>
              <p:tags r:id="rId27"/>
            </p:custDataLst>
          </p:nvPr>
        </p:nvSpPr>
        <p:spPr bwMode="auto">
          <a:xfrm>
            <a:off x="3959225" y="6003640"/>
            <a:ext cx="301625" cy="120650"/>
          </a:xfrm>
          <a:prstGeom prst="rect">
            <a:avLst/>
          </a:prstGeom>
          <a:solidFill>
            <a:schemeClr val="accent3"/>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2909" name="Rectangle 28"/>
          <p:cNvSpPr>
            <a:spLocks noChangeArrowheads="1"/>
          </p:cNvSpPr>
          <p:nvPr>
            <p:custDataLst>
              <p:tags r:id="rId28"/>
            </p:custDataLst>
          </p:nvPr>
        </p:nvSpPr>
        <p:spPr bwMode="auto">
          <a:xfrm>
            <a:off x="5186364" y="929990"/>
            <a:ext cx="1419224" cy="216086"/>
          </a:xfrm>
          <a:prstGeom prst="rect">
            <a:avLst/>
          </a:prstGeom>
          <a:noFill/>
          <a:ln w="9525">
            <a:noFill/>
            <a:miter lim="800000"/>
            <a:headEnd/>
            <a:tailEnd/>
          </a:ln>
        </p:spPr>
        <p:txBody>
          <a:bodyPr wrap="square" lIns="92075" tIns="46038" rIns="92075" bIns="46038">
            <a:spAutoFit/>
          </a:bodyPr>
          <a:lstStyle/>
          <a:p>
            <a:r>
              <a:rPr lang="en-GB" altLang="ja-JP" sz="800" dirty="0">
                <a:solidFill>
                  <a:schemeClr val="tx2"/>
                </a:solidFill>
                <a:ea typeface="ＭＳ Ｐゴシック" charset="-128"/>
              </a:rPr>
              <a:t>Food packaging</a:t>
            </a:r>
          </a:p>
        </p:txBody>
      </p:sp>
      <p:sp>
        <p:nvSpPr>
          <p:cNvPr id="29" name="Line 29"/>
          <p:cNvSpPr>
            <a:spLocks noChangeShapeType="1"/>
          </p:cNvSpPr>
          <p:nvPr>
            <p:custDataLst>
              <p:tags r:id="rId29"/>
            </p:custDataLst>
          </p:nvPr>
        </p:nvSpPr>
        <p:spPr bwMode="auto">
          <a:xfrm>
            <a:off x="5164138" y="1177640"/>
            <a:ext cx="1427162" cy="0"/>
          </a:xfrm>
          <a:prstGeom prst="line">
            <a:avLst/>
          </a:prstGeom>
          <a:noFill/>
          <a:ln w="12700">
            <a:solidFill>
              <a:schemeClr val="accent1"/>
            </a:solidFill>
            <a:round/>
            <a:headEnd type="none" w="sm" len="sm"/>
            <a:tailEnd type="none" w="sm" len="sm"/>
          </a:ln>
        </p:spPr>
        <p:txBody>
          <a:bodyPr wrap="none" anchor="ctr"/>
          <a:lstStyle/>
          <a:p>
            <a:pPr>
              <a:defRPr/>
            </a:pPr>
            <a:endParaRPr lang="en-GB" b="0">
              <a:solidFill>
                <a:schemeClr val="tx2"/>
              </a:solidFill>
            </a:endParaRPr>
          </a:p>
        </p:txBody>
      </p:sp>
      <p:sp>
        <p:nvSpPr>
          <p:cNvPr id="30" name="Rectangle 30"/>
          <p:cNvSpPr>
            <a:spLocks noChangeArrowheads="1"/>
          </p:cNvSpPr>
          <p:nvPr>
            <p:custDataLst>
              <p:tags r:id="rId30"/>
            </p:custDataLst>
          </p:nvPr>
        </p:nvSpPr>
        <p:spPr bwMode="auto">
          <a:xfrm>
            <a:off x="5216525" y="1272890"/>
            <a:ext cx="266700" cy="117475"/>
          </a:xfrm>
          <a:prstGeom prst="rect">
            <a:avLst/>
          </a:prstGeom>
          <a:no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31" name="Rectangle 31"/>
          <p:cNvSpPr>
            <a:spLocks noChangeArrowheads="1"/>
          </p:cNvSpPr>
          <p:nvPr>
            <p:custDataLst>
              <p:tags r:id="rId31"/>
            </p:custDataLst>
          </p:nvPr>
        </p:nvSpPr>
        <p:spPr bwMode="auto">
          <a:xfrm>
            <a:off x="5573713" y="1266540"/>
            <a:ext cx="268287" cy="117475"/>
          </a:xfrm>
          <a:prstGeom prst="rect">
            <a:avLst/>
          </a:prstGeom>
          <a:no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2913" name="Rectangle 32"/>
          <p:cNvSpPr>
            <a:spLocks noChangeArrowheads="1"/>
          </p:cNvSpPr>
          <p:nvPr>
            <p:custDataLst>
              <p:tags r:id="rId32"/>
            </p:custDataLst>
          </p:nvPr>
        </p:nvSpPr>
        <p:spPr bwMode="auto">
          <a:xfrm>
            <a:off x="5929313" y="1260190"/>
            <a:ext cx="266700" cy="117475"/>
          </a:xfrm>
          <a:prstGeom prst="rect">
            <a:avLst/>
          </a:prstGeom>
          <a:solidFill>
            <a:schemeClr val="accent2"/>
          </a:solidFill>
          <a:ln w="12700">
            <a:solidFill>
              <a:schemeClr val="bg1"/>
            </a:solidFill>
            <a:miter lim="800000"/>
            <a:headEnd/>
            <a:tailEnd/>
          </a:ln>
        </p:spPr>
        <p:txBody>
          <a:bodyPr wrap="none" anchor="ctr"/>
          <a:lstStyle/>
          <a:p>
            <a:pPr algn="ctr"/>
            <a:endParaRPr lang="en-GB" sz="500" b="0">
              <a:solidFill>
                <a:schemeClr val="tx2"/>
              </a:solidFill>
              <a:ea typeface="ＭＳ Ｐゴシック" charset="-128"/>
            </a:endParaRPr>
          </a:p>
        </p:txBody>
      </p:sp>
      <p:sp>
        <p:nvSpPr>
          <p:cNvPr id="762914" name="Rectangle 33"/>
          <p:cNvSpPr>
            <a:spLocks noChangeArrowheads="1"/>
          </p:cNvSpPr>
          <p:nvPr>
            <p:custDataLst>
              <p:tags r:id="rId33"/>
            </p:custDataLst>
          </p:nvPr>
        </p:nvSpPr>
        <p:spPr bwMode="auto">
          <a:xfrm>
            <a:off x="5127625" y="1395128"/>
            <a:ext cx="490538" cy="163512"/>
          </a:xfrm>
          <a:prstGeom prst="rect">
            <a:avLst/>
          </a:prstGeom>
          <a:noFill/>
          <a:ln w="9525">
            <a:noFill/>
            <a:miter lim="800000"/>
            <a:headEnd/>
            <a:tailEnd/>
          </a:ln>
        </p:spPr>
        <p:txBody>
          <a:bodyPr wrap="none" anchor="ctr"/>
          <a:lstStyle/>
          <a:p>
            <a:pPr algn="ctr"/>
            <a:endParaRPr lang="en-GB" b="0">
              <a:solidFill>
                <a:schemeClr val="tx2"/>
              </a:solidFill>
            </a:endParaRPr>
          </a:p>
        </p:txBody>
      </p:sp>
      <p:sp>
        <p:nvSpPr>
          <p:cNvPr id="762915" name="Rectangle 34"/>
          <p:cNvSpPr>
            <a:spLocks noChangeArrowheads="1"/>
          </p:cNvSpPr>
          <p:nvPr>
            <p:custDataLst>
              <p:tags r:id="rId34"/>
            </p:custDataLst>
          </p:nvPr>
        </p:nvSpPr>
        <p:spPr bwMode="auto">
          <a:xfrm>
            <a:off x="5538788" y="1374490"/>
            <a:ext cx="427037" cy="169863"/>
          </a:xfrm>
          <a:prstGeom prst="rect">
            <a:avLst/>
          </a:prstGeom>
          <a:noFill/>
          <a:ln w="9525">
            <a:noFill/>
            <a:miter lim="800000"/>
            <a:headEnd/>
            <a:tailEnd/>
          </a:ln>
        </p:spPr>
        <p:txBody>
          <a:bodyPr lIns="92075" tIns="46038" rIns="92075" bIns="46038">
            <a:spAutoFit/>
          </a:bodyPr>
          <a:lstStyle/>
          <a:p>
            <a:r>
              <a:rPr lang="en-GB" altLang="ja-JP" sz="500" b="0">
                <a:solidFill>
                  <a:schemeClr val="tx2"/>
                </a:solidFill>
                <a:ea typeface="ＭＳ Ｐゴシック" charset="-128"/>
              </a:rPr>
              <a:t>Canning </a:t>
            </a:r>
          </a:p>
        </p:txBody>
      </p:sp>
      <p:sp>
        <p:nvSpPr>
          <p:cNvPr id="762916" name="Rectangle 35"/>
          <p:cNvSpPr>
            <a:spLocks noChangeArrowheads="1"/>
          </p:cNvSpPr>
          <p:nvPr>
            <p:custDataLst>
              <p:tags r:id="rId35"/>
            </p:custDataLst>
          </p:nvPr>
        </p:nvSpPr>
        <p:spPr bwMode="auto">
          <a:xfrm>
            <a:off x="5881688" y="1374490"/>
            <a:ext cx="401637" cy="169863"/>
          </a:xfrm>
          <a:prstGeom prst="rect">
            <a:avLst/>
          </a:prstGeom>
          <a:noFill/>
          <a:ln w="9525">
            <a:noFill/>
            <a:miter lim="800000"/>
            <a:headEnd/>
            <a:tailEnd/>
          </a:ln>
        </p:spPr>
        <p:txBody>
          <a:bodyPr lIns="92075" tIns="46038" rIns="92075" bIns="46038">
            <a:spAutoFit/>
          </a:bodyPr>
          <a:lstStyle/>
          <a:p>
            <a:r>
              <a:rPr lang="en-GB" altLang="ja-JP" sz="500" b="0">
                <a:solidFill>
                  <a:schemeClr val="tx2"/>
                </a:solidFill>
                <a:ea typeface="ＭＳ Ｐゴシック" charset="-128"/>
              </a:rPr>
              <a:t>Bottling </a:t>
            </a:r>
          </a:p>
        </p:txBody>
      </p:sp>
      <p:sp>
        <p:nvSpPr>
          <p:cNvPr id="762917" name="Rectangle 36"/>
          <p:cNvSpPr>
            <a:spLocks noChangeArrowheads="1"/>
          </p:cNvSpPr>
          <p:nvPr>
            <p:custDataLst>
              <p:tags r:id="rId36"/>
            </p:custDataLst>
          </p:nvPr>
        </p:nvSpPr>
        <p:spPr bwMode="auto">
          <a:xfrm>
            <a:off x="1495425" y="5317840"/>
            <a:ext cx="304800"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2918" name="Rectangle 37"/>
          <p:cNvSpPr>
            <a:spLocks noChangeArrowheads="1"/>
          </p:cNvSpPr>
          <p:nvPr>
            <p:custDataLst>
              <p:tags r:id="rId37"/>
            </p:custDataLst>
          </p:nvPr>
        </p:nvSpPr>
        <p:spPr bwMode="auto">
          <a:xfrm>
            <a:off x="1866900" y="5317840"/>
            <a:ext cx="304800"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2919" name="Rectangle 38"/>
          <p:cNvSpPr>
            <a:spLocks noChangeArrowheads="1"/>
          </p:cNvSpPr>
          <p:nvPr>
            <p:custDataLst>
              <p:tags r:id="rId38"/>
            </p:custDataLst>
          </p:nvPr>
        </p:nvSpPr>
        <p:spPr bwMode="auto">
          <a:xfrm>
            <a:off x="2255838" y="5317840"/>
            <a:ext cx="304800"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39" name="Rectangle 39"/>
          <p:cNvSpPr>
            <a:spLocks noChangeArrowheads="1"/>
          </p:cNvSpPr>
          <p:nvPr>
            <p:custDataLst>
              <p:tags r:id="rId39"/>
            </p:custDataLst>
          </p:nvPr>
        </p:nvSpPr>
        <p:spPr bwMode="auto">
          <a:xfrm>
            <a:off x="3138488" y="5317840"/>
            <a:ext cx="304800" cy="120650"/>
          </a:xfrm>
          <a:prstGeom prst="rect">
            <a:avLst/>
          </a:prstGeom>
          <a:no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40" name="Rectangle 40"/>
          <p:cNvSpPr>
            <a:spLocks noChangeArrowheads="1"/>
          </p:cNvSpPr>
          <p:nvPr>
            <p:custDataLst>
              <p:tags r:id="rId40"/>
            </p:custDataLst>
          </p:nvPr>
        </p:nvSpPr>
        <p:spPr bwMode="auto">
          <a:xfrm>
            <a:off x="3527425" y="5317840"/>
            <a:ext cx="304800" cy="120650"/>
          </a:xfrm>
          <a:prstGeom prst="rect">
            <a:avLst/>
          </a:prstGeom>
          <a:no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2922" name="Rectangle 41"/>
          <p:cNvSpPr>
            <a:spLocks noChangeArrowheads="1"/>
          </p:cNvSpPr>
          <p:nvPr>
            <p:custDataLst>
              <p:tags r:id="rId41"/>
            </p:custDataLst>
          </p:nvPr>
        </p:nvSpPr>
        <p:spPr bwMode="auto">
          <a:xfrm>
            <a:off x="1390650" y="5444840"/>
            <a:ext cx="533400"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System</a:t>
            </a:r>
          </a:p>
        </p:txBody>
      </p:sp>
      <p:sp>
        <p:nvSpPr>
          <p:cNvPr id="762923" name="Rectangle 42"/>
          <p:cNvSpPr>
            <a:spLocks noChangeArrowheads="1"/>
          </p:cNvSpPr>
          <p:nvPr>
            <p:custDataLst>
              <p:tags r:id="rId42"/>
            </p:custDataLst>
          </p:nvPr>
        </p:nvSpPr>
        <p:spPr bwMode="auto">
          <a:xfrm>
            <a:off x="1749422" y="5444840"/>
            <a:ext cx="531812" cy="169863"/>
          </a:xfrm>
          <a:prstGeom prst="rect">
            <a:avLst/>
          </a:prstGeom>
          <a:noFill/>
          <a:ln w="9525">
            <a:noFill/>
            <a:miter lim="800000"/>
            <a:headEnd/>
            <a:tailEnd/>
          </a:ln>
        </p:spPr>
        <p:txBody>
          <a:bodyPr lIns="92075" tIns="46038" rIns="92075" bIns="46038">
            <a:spAutoFit/>
          </a:bodyPr>
          <a:lstStyle/>
          <a:p>
            <a:pPr algn="ctr"/>
            <a:r>
              <a:rPr lang="en-GB" altLang="ja-JP" sz="500" b="0" dirty="0">
                <a:solidFill>
                  <a:schemeClr val="tx2"/>
                </a:solidFill>
                <a:ea typeface="ＭＳ Ｐゴシック" charset="-128"/>
              </a:rPr>
              <a:t>Sales force</a:t>
            </a:r>
          </a:p>
        </p:txBody>
      </p:sp>
      <p:sp>
        <p:nvSpPr>
          <p:cNvPr id="762924" name="Rectangle 43"/>
          <p:cNvSpPr>
            <a:spLocks noChangeArrowheads="1"/>
          </p:cNvSpPr>
          <p:nvPr>
            <p:custDataLst>
              <p:tags r:id="rId43"/>
            </p:custDataLst>
          </p:nvPr>
        </p:nvSpPr>
        <p:spPr bwMode="auto">
          <a:xfrm>
            <a:off x="2143125" y="5444840"/>
            <a:ext cx="531813"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OEM</a:t>
            </a:r>
          </a:p>
        </p:txBody>
      </p:sp>
      <p:sp>
        <p:nvSpPr>
          <p:cNvPr id="762925" name="Rectangle 44"/>
          <p:cNvSpPr>
            <a:spLocks noChangeArrowheads="1"/>
          </p:cNvSpPr>
          <p:nvPr>
            <p:custDataLst>
              <p:tags r:id="rId44"/>
            </p:custDataLst>
          </p:nvPr>
        </p:nvSpPr>
        <p:spPr bwMode="auto">
          <a:xfrm>
            <a:off x="2497138" y="5444840"/>
            <a:ext cx="531812"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Direct</a:t>
            </a:r>
          </a:p>
        </p:txBody>
      </p:sp>
      <p:sp>
        <p:nvSpPr>
          <p:cNvPr id="762926" name="Rectangle 45"/>
          <p:cNvSpPr>
            <a:spLocks noChangeArrowheads="1"/>
          </p:cNvSpPr>
          <p:nvPr>
            <p:custDataLst>
              <p:tags r:id="rId45"/>
            </p:custDataLst>
          </p:nvPr>
        </p:nvSpPr>
        <p:spPr bwMode="auto">
          <a:xfrm>
            <a:off x="3028950" y="5444840"/>
            <a:ext cx="533400"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Independent</a:t>
            </a:r>
          </a:p>
        </p:txBody>
      </p:sp>
      <p:sp>
        <p:nvSpPr>
          <p:cNvPr id="762927" name="Rectangle 46"/>
          <p:cNvSpPr>
            <a:spLocks noChangeArrowheads="1"/>
          </p:cNvSpPr>
          <p:nvPr>
            <p:custDataLst>
              <p:tags r:id="rId46"/>
            </p:custDataLst>
          </p:nvPr>
        </p:nvSpPr>
        <p:spPr bwMode="auto">
          <a:xfrm>
            <a:off x="3417888" y="5444840"/>
            <a:ext cx="533400"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Agent</a:t>
            </a:r>
          </a:p>
        </p:txBody>
      </p:sp>
      <p:sp>
        <p:nvSpPr>
          <p:cNvPr id="762928" name="Rectangle 47"/>
          <p:cNvSpPr>
            <a:spLocks noChangeArrowheads="1"/>
          </p:cNvSpPr>
          <p:nvPr>
            <p:custDataLst>
              <p:tags r:id="rId47"/>
            </p:custDataLst>
          </p:nvPr>
        </p:nvSpPr>
        <p:spPr bwMode="auto">
          <a:xfrm>
            <a:off x="1495425" y="5698840"/>
            <a:ext cx="304800" cy="120650"/>
          </a:xfrm>
          <a:prstGeom prst="rect">
            <a:avLst/>
          </a:prstGeom>
          <a:solidFill>
            <a:schemeClr val="accent1"/>
          </a:solidFill>
          <a:ln w="12700">
            <a:solidFill>
              <a:srgbClr val="003399"/>
            </a:solidFill>
            <a:miter lim="800000"/>
            <a:headEnd/>
            <a:tailEnd/>
          </a:ln>
        </p:spPr>
        <p:txBody>
          <a:bodyPr wrap="none" anchor="ctr"/>
          <a:lstStyle/>
          <a:p>
            <a:pPr algn="ctr"/>
            <a:endParaRPr lang="en-GB" b="0">
              <a:solidFill>
                <a:schemeClr val="tx2"/>
              </a:solidFill>
            </a:endParaRPr>
          </a:p>
        </p:txBody>
      </p:sp>
      <p:sp>
        <p:nvSpPr>
          <p:cNvPr id="762929" name="Rectangle 48"/>
          <p:cNvSpPr>
            <a:spLocks noChangeArrowheads="1"/>
          </p:cNvSpPr>
          <p:nvPr>
            <p:custDataLst>
              <p:tags r:id="rId48"/>
            </p:custDataLst>
          </p:nvPr>
        </p:nvSpPr>
        <p:spPr bwMode="auto">
          <a:xfrm>
            <a:off x="1866900" y="5698840"/>
            <a:ext cx="304800"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2930" name="Rectangle 49"/>
          <p:cNvSpPr>
            <a:spLocks noChangeArrowheads="1"/>
          </p:cNvSpPr>
          <p:nvPr>
            <p:custDataLst>
              <p:tags r:id="rId49"/>
            </p:custDataLst>
          </p:nvPr>
        </p:nvSpPr>
        <p:spPr bwMode="auto">
          <a:xfrm>
            <a:off x="2255838" y="5698840"/>
            <a:ext cx="304800"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2931" name="Rectangle 50"/>
          <p:cNvSpPr>
            <a:spLocks noChangeArrowheads="1"/>
          </p:cNvSpPr>
          <p:nvPr>
            <p:custDataLst>
              <p:tags r:id="rId50"/>
            </p:custDataLst>
          </p:nvPr>
        </p:nvSpPr>
        <p:spPr bwMode="auto">
          <a:xfrm>
            <a:off x="1390650" y="5825840"/>
            <a:ext cx="533400"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MNC</a:t>
            </a:r>
          </a:p>
        </p:txBody>
      </p:sp>
      <p:sp>
        <p:nvSpPr>
          <p:cNvPr id="762932" name="Rectangle 51"/>
          <p:cNvSpPr>
            <a:spLocks noChangeArrowheads="1"/>
          </p:cNvSpPr>
          <p:nvPr>
            <p:custDataLst>
              <p:tags r:id="rId51"/>
            </p:custDataLst>
          </p:nvPr>
        </p:nvSpPr>
        <p:spPr bwMode="auto">
          <a:xfrm>
            <a:off x="1782763" y="5825840"/>
            <a:ext cx="531812"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Regional</a:t>
            </a:r>
          </a:p>
        </p:txBody>
      </p:sp>
      <p:sp>
        <p:nvSpPr>
          <p:cNvPr id="762933" name="Rectangle 52"/>
          <p:cNvSpPr>
            <a:spLocks noChangeArrowheads="1"/>
          </p:cNvSpPr>
          <p:nvPr>
            <p:custDataLst>
              <p:tags r:id="rId52"/>
            </p:custDataLst>
          </p:nvPr>
        </p:nvSpPr>
        <p:spPr bwMode="auto">
          <a:xfrm>
            <a:off x="2143125" y="5825840"/>
            <a:ext cx="531813"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National</a:t>
            </a:r>
          </a:p>
        </p:txBody>
      </p:sp>
      <p:sp>
        <p:nvSpPr>
          <p:cNvPr id="762934" name="Rectangle 53"/>
          <p:cNvSpPr>
            <a:spLocks noChangeArrowheads="1"/>
          </p:cNvSpPr>
          <p:nvPr>
            <p:custDataLst>
              <p:tags r:id="rId53"/>
            </p:custDataLst>
          </p:nvPr>
        </p:nvSpPr>
        <p:spPr bwMode="auto">
          <a:xfrm>
            <a:off x="1390650" y="6130640"/>
            <a:ext cx="533400"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N.America</a:t>
            </a:r>
          </a:p>
        </p:txBody>
      </p:sp>
      <p:sp>
        <p:nvSpPr>
          <p:cNvPr id="762935" name="Rectangle 54"/>
          <p:cNvSpPr>
            <a:spLocks noChangeArrowheads="1"/>
          </p:cNvSpPr>
          <p:nvPr>
            <p:custDataLst>
              <p:tags r:id="rId54"/>
            </p:custDataLst>
          </p:nvPr>
        </p:nvSpPr>
        <p:spPr bwMode="auto">
          <a:xfrm>
            <a:off x="1782763" y="6130640"/>
            <a:ext cx="531812"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L.America</a:t>
            </a:r>
          </a:p>
        </p:txBody>
      </p:sp>
      <p:sp>
        <p:nvSpPr>
          <p:cNvPr id="762936" name="Rectangle 55"/>
          <p:cNvSpPr>
            <a:spLocks noChangeArrowheads="1"/>
          </p:cNvSpPr>
          <p:nvPr>
            <p:custDataLst>
              <p:tags r:id="rId55"/>
            </p:custDataLst>
          </p:nvPr>
        </p:nvSpPr>
        <p:spPr bwMode="auto">
          <a:xfrm>
            <a:off x="2143125" y="6130640"/>
            <a:ext cx="531813"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W.Europe</a:t>
            </a:r>
          </a:p>
        </p:txBody>
      </p:sp>
      <p:sp>
        <p:nvSpPr>
          <p:cNvPr id="762937" name="Rectangle 56"/>
          <p:cNvSpPr>
            <a:spLocks noChangeArrowheads="1"/>
          </p:cNvSpPr>
          <p:nvPr>
            <p:custDataLst>
              <p:tags r:id="rId56"/>
            </p:custDataLst>
          </p:nvPr>
        </p:nvSpPr>
        <p:spPr bwMode="auto">
          <a:xfrm>
            <a:off x="2497138" y="6130640"/>
            <a:ext cx="531812"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E.Europe</a:t>
            </a:r>
          </a:p>
        </p:txBody>
      </p:sp>
      <p:sp>
        <p:nvSpPr>
          <p:cNvPr id="762938" name="Rectangle 57"/>
          <p:cNvSpPr>
            <a:spLocks noChangeArrowheads="1"/>
          </p:cNvSpPr>
          <p:nvPr>
            <p:custDataLst>
              <p:tags r:id="rId57"/>
            </p:custDataLst>
          </p:nvPr>
        </p:nvSpPr>
        <p:spPr bwMode="auto">
          <a:xfrm>
            <a:off x="3443288" y="6130640"/>
            <a:ext cx="468312" cy="169863"/>
          </a:xfrm>
          <a:prstGeom prst="rect">
            <a:avLst/>
          </a:prstGeom>
          <a:noFill/>
          <a:ln w="9525">
            <a:noFill/>
            <a:miter lim="800000"/>
            <a:headEnd/>
            <a:tailEnd/>
          </a:ln>
        </p:spPr>
        <p:txBody>
          <a:bodyPr lIns="92075" tIns="46038" rIns="92075" bIns="46038">
            <a:spAutoFit/>
          </a:bodyPr>
          <a:lstStyle/>
          <a:p>
            <a:pPr algn="ctr"/>
            <a:r>
              <a:rPr lang="en-GB" altLang="ja-JP" sz="500" b="0" dirty="0">
                <a:solidFill>
                  <a:schemeClr val="tx2"/>
                </a:solidFill>
                <a:ea typeface="ＭＳ Ｐゴシック" charset="-128"/>
              </a:rPr>
              <a:t>Asia</a:t>
            </a:r>
          </a:p>
        </p:txBody>
      </p:sp>
      <p:sp>
        <p:nvSpPr>
          <p:cNvPr id="762939" name="Rectangle 58"/>
          <p:cNvSpPr>
            <a:spLocks noChangeArrowheads="1"/>
          </p:cNvSpPr>
          <p:nvPr>
            <p:custDataLst>
              <p:tags r:id="rId58"/>
            </p:custDataLst>
          </p:nvPr>
        </p:nvSpPr>
        <p:spPr bwMode="auto">
          <a:xfrm>
            <a:off x="3833813" y="6130640"/>
            <a:ext cx="531812"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Japan</a:t>
            </a:r>
          </a:p>
        </p:txBody>
      </p:sp>
      <p:sp>
        <p:nvSpPr>
          <p:cNvPr id="762940" name="Rectangle 59"/>
          <p:cNvSpPr>
            <a:spLocks noChangeArrowheads="1"/>
          </p:cNvSpPr>
          <p:nvPr>
            <p:custDataLst>
              <p:tags r:id="rId59"/>
            </p:custDataLst>
          </p:nvPr>
        </p:nvSpPr>
        <p:spPr bwMode="auto">
          <a:xfrm>
            <a:off x="4340225" y="6130640"/>
            <a:ext cx="533400"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Australasia</a:t>
            </a:r>
          </a:p>
        </p:txBody>
      </p:sp>
      <p:sp>
        <p:nvSpPr>
          <p:cNvPr id="60" name="Line 60"/>
          <p:cNvSpPr>
            <a:spLocks noChangeShapeType="1"/>
          </p:cNvSpPr>
          <p:nvPr>
            <p:custDataLst>
              <p:tags r:id="rId60"/>
            </p:custDataLst>
          </p:nvPr>
        </p:nvSpPr>
        <p:spPr bwMode="auto">
          <a:xfrm>
            <a:off x="1463675" y="4835240"/>
            <a:ext cx="1492250" cy="0"/>
          </a:xfrm>
          <a:prstGeom prst="line">
            <a:avLst/>
          </a:prstGeom>
          <a:noFill/>
          <a:ln w="12700">
            <a:solidFill>
              <a:schemeClr val="accent1"/>
            </a:solidFill>
            <a:round/>
            <a:headEnd type="none" w="sm" len="sm"/>
            <a:tailEnd type="none" w="sm" len="sm"/>
          </a:ln>
        </p:spPr>
        <p:txBody>
          <a:bodyPr wrap="none" anchor="ctr"/>
          <a:lstStyle/>
          <a:p>
            <a:pPr>
              <a:defRPr/>
            </a:pPr>
            <a:endParaRPr lang="en-GB" b="0">
              <a:solidFill>
                <a:schemeClr val="tx2"/>
              </a:solidFill>
            </a:endParaRPr>
          </a:p>
        </p:txBody>
      </p:sp>
      <p:sp>
        <p:nvSpPr>
          <p:cNvPr id="61" name="Line 61"/>
          <p:cNvSpPr>
            <a:spLocks noChangeShapeType="1"/>
          </p:cNvSpPr>
          <p:nvPr>
            <p:custDataLst>
              <p:tags r:id="rId61"/>
            </p:custDataLst>
          </p:nvPr>
        </p:nvSpPr>
        <p:spPr bwMode="auto">
          <a:xfrm>
            <a:off x="3086100" y="4835240"/>
            <a:ext cx="1168400" cy="0"/>
          </a:xfrm>
          <a:prstGeom prst="line">
            <a:avLst/>
          </a:prstGeom>
          <a:noFill/>
          <a:ln w="12700">
            <a:solidFill>
              <a:schemeClr val="accent1"/>
            </a:solidFill>
            <a:round/>
            <a:headEnd type="none" w="sm" len="sm"/>
            <a:tailEnd type="none" w="sm" len="sm"/>
          </a:ln>
        </p:spPr>
        <p:txBody>
          <a:bodyPr wrap="none" anchor="ctr"/>
          <a:lstStyle/>
          <a:p>
            <a:pPr>
              <a:defRPr/>
            </a:pPr>
            <a:endParaRPr lang="en-GB" b="0">
              <a:solidFill>
                <a:schemeClr val="tx2"/>
              </a:solidFill>
            </a:endParaRPr>
          </a:p>
        </p:txBody>
      </p:sp>
      <p:sp>
        <p:nvSpPr>
          <p:cNvPr id="762944" name="Rectangle 63"/>
          <p:cNvSpPr>
            <a:spLocks noChangeArrowheads="1"/>
          </p:cNvSpPr>
          <p:nvPr>
            <p:custDataLst>
              <p:tags r:id="rId62"/>
            </p:custDataLst>
          </p:nvPr>
        </p:nvSpPr>
        <p:spPr bwMode="auto">
          <a:xfrm>
            <a:off x="1462087" y="4623418"/>
            <a:ext cx="1493837" cy="231475"/>
          </a:xfrm>
          <a:prstGeom prst="rect">
            <a:avLst/>
          </a:prstGeom>
          <a:noFill/>
          <a:ln w="9525">
            <a:noFill/>
            <a:miter lim="800000"/>
            <a:headEnd/>
            <a:tailEnd/>
          </a:ln>
        </p:spPr>
        <p:txBody>
          <a:bodyPr wrap="square" lIns="92075" tIns="46038" rIns="92075" bIns="46038">
            <a:spAutoFit/>
          </a:bodyPr>
          <a:lstStyle/>
          <a:p>
            <a:r>
              <a:rPr lang="en-GB" altLang="ja-JP" sz="900" dirty="0">
                <a:solidFill>
                  <a:schemeClr val="tx2"/>
                </a:solidFill>
                <a:ea typeface="ＭＳ Ｐゴシック" charset="-128"/>
              </a:rPr>
              <a:t>Liquid</a:t>
            </a:r>
          </a:p>
        </p:txBody>
      </p:sp>
      <p:sp>
        <p:nvSpPr>
          <p:cNvPr id="762945" name="Rectangle 64"/>
          <p:cNvSpPr>
            <a:spLocks noChangeArrowheads="1"/>
          </p:cNvSpPr>
          <p:nvPr>
            <p:custDataLst>
              <p:tags r:id="rId63"/>
            </p:custDataLst>
          </p:nvPr>
        </p:nvSpPr>
        <p:spPr bwMode="auto">
          <a:xfrm>
            <a:off x="3086100" y="4615029"/>
            <a:ext cx="1160463" cy="231475"/>
          </a:xfrm>
          <a:prstGeom prst="rect">
            <a:avLst/>
          </a:prstGeom>
          <a:noFill/>
          <a:ln w="9525">
            <a:noFill/>
            <a:miter lim="800000"/>
            <a:headEnd/>
            <a:tailEnd/>
          </a:ln>
        </p:spPr>
        <p:txBody>
          <a:bodyPr wrap="square" lIns="92075" tIns="46038" rIns="92075" bIns="46038">
            <a:spAutoFit/>
          </a:bodyPr>
          <a:lstStyle/>
          <a:p>
            <a:r>
              <a:rPr lang="en-GB" altLang="ja-JP" sz="900" dirty="0">
                <a:solidFill>
                  <a:schemeClr val="tx2"/>
                </a:solidFill>
                <a:ea typeface="ＭＳ Ｐゴシック" charset="-128"/>
              </a:rPr>
              <a:t>Hybrid</a:t>
            </a:r>
          </a:p>
        </p:txBody>
      </p:sp>
      <p:sp>
        <p:nvSpPr>
          <p:cNvPr id="762946" name="Rectangle 65"/>
          <p:cNvSpPr>
            <a:spLocks noChangeArrowheads="1"/>
          </p:cNvSpPr>
          <p:nvPr>
            <p:custDataLst>
              <p:tags r:id="rId64"/>
            </p:custDataLst>
          </p:nvPr>
        </p:nvSpPr>
        <p:spPr bwMode="auto">
          <a:xfrm>
            <a:off x="4384675" y="4598251"/>
            <a:ext cx="1111250" cy="231475"/>
          </a:xfrm>
          <a:prstGeom prst="rect">
            <a:avLst/>
          </a:prstGeom>
          <a:noFill/>
          <a:ln w="9525">
            <a:noFill/>
            <a:miter lim="800000"/>
            <a:headEnd/>
            <a:tailEnd/>
          </a:ln>
        </p:spPr>
        <p:txBody>
          <a:bodyPr wrap="square" lIns="92075" tIns="46038" rIns="92075" bIns="46038">
            <a:spAutoFit/>
          </a:bodyPr>
          <a:lstStyle/>
          <a:p>
            <a:r>
              <a:rPr lang="en-GB" altLang="ja-JP" sz="900" dirty="0">
                <a:solidFill>
                  <a:schemeClr val="tx2"/>
                </a:solidFill>
                <a:ea typeface="ＭＳ Ｐゴシック" charset="-128"/>
              </a:rPr>
              <a:t>Dry</a:t>
            </a:r>
          </a:p>
        </p:txBody>
      </p:sp>
      <p:sp>
        <p:nvSpPr>
          <p:cNvPr id="762947" name="Rectangle 66"/>
          <p:cNvSpPr>
            <a:spLocks noChangeArrowheads="1"/>
          </p:cNvSpPr>
          <p:nvPr>
            <p:custDataLst>
              <p:tags r:id="rId65"/>
            </p:custDataLst>
          </p:nvPr>
        </p:nvSpPr>
        <p:spPr bwMode="auto">
          <a:xfrm>
            <a:off x="5749925" y="4605053"/>
            <a:ext cx="1284288" cy="231475"/>
          </a:xfrm>
          <a:prstGeom prst="rect">
            <a:avLst/>
          </a:prstGeom>
          <a:noFill/>
          <a:ln w="9525">
            <a:noFill/>
            <a:miter lim="800000"/>
            <a:headEnd/>
            <a:tailEnd/>
          </a:ln>
        </p:spPr>
        <p:txBody>
          <a:bodyPr wrap="square" lIns="92075" tIns="46038" rIns="92075" bIns="46038">
            <a:spAutoFit/>
          </a:bodyPr>
          <a:lstStyle/>
          <a:p>
            <a:r>
              <a:rPr lang="en-GB" altLang="ja-JP" sz="900" dirty="0">
                <a:solidFill>
                  <a:schemeClr val="tx2"/>
                </a:solidFill>
                <a:ea typeface="ＭＳ Ｐゴシック" charset="-128"/>
              </a:rPr>
              <a:t>Processed</a:t>
            </a:r>
          </a:p>
        </p:txBody>
      </p:sp>
      <p:sp>
        <p:nvSpPr>
          <p:cNvPr id="762948" name="Rectangle 67"/>
          <p:cNvSpPr>
            <a:spLocks noChangeArrowheads="1"/>
          </p:cNvSpPr>
          <p:nvPr>
            <p:custDataLst>
              <p:tags r:id="rId66"/>
            </p:custDataLst>
          </p:nvPr>
        </p:nvSpPr>
        <p:spPr bwMode="auto">
          <a:xfrm>
            <a:off x="1446213" y="1398303"/>
            <a:ext cx="403225" cy="169862"/>
          </a:xfrm>
          <a:prstGeom prst="rect">
            <a:avLst/>
          </a:prstGeom>
          <a:noFill/>
          <a:ln w="9525">
            <a:noFill/>
            <a:miter lim="800000"/>
            <a:headEnd/>
            <a:tailEnd/>
          </a:ln>
        </p:spPr>
        <p:txBody>
          <a:bodyPr lIns="92075" tIns="46038" rIns="92075" bIns="46038">
            <a:spAutoFit/>
          </a:bodyPr>
          <a:lstStyle/>
          <a:p>
            <a:r>
              <a:rPr lang="en-GB" altLang="ja-JP" sz="500" b="0" dirty="0">
                <a:solidFill>
                  <a:schemeClr val="tx2"/>
                </a:solidFill>
                <a:ea typeface="ＭＳ Ｐゴシック" charset="-128"/>
              </a:rPr>
              <a:t>Pumps </a:t>
            </a:r>
          </a:p>
        </p:txBody>
      </p:sp>
      <p:sp>
        <p:nvSpPr>
          <p:cNvPr id="762949" name="Rectangle 68"/>
          <p:cNvSpPr>
            <a:spLocks noChangeArrowheads="1"/>
          </p:cNvSpPr>
          <p:nvPr>
            <p:custDataLst>
              <p:tags r:id="rId67"/>
            </p:custDataLst>
          </p:nvPr>
        </p:nvSpPr>
        <p:spPr bwMode="auto">
          <a:xfrm>
            <a:off x="1817688" y="1398303"/>
            <a:ext cx="403225" cy="169862"/>
          </a:xfrm>
          <a:prstGeom prst="rect">
            <a:avLst/>
          </a:prstGeom>
          <a:noFill/>
          <a:ln w="9525">
            <a:noFill/>
            <a:miter lim="800000"/>
            <a:headEnd/>
            <a:tailEnd/>
          </a:ln>
        </p:spPr>
        <p:txBody>
          <a:bodyPr lIns="92075" tIns="46038" rIns="92075" bIns="46038">
            <a:spAutoFit/>
          </a:bodyPr>
          <a:lstStyle/>
          <a:p>
            <a:r>
              <a:rPr lang="en-GB" altLang="ja-JP" sz="500" b="0">
                <a:solidFill>
                  <a:schemeClr val="tx2"/>
                </a:solidFill>
                <a:ea typeface="ＭＳ Ｐゴシック" charset="-128"/>
              </a:rPr>
              <a:t>Valves </a:t>
            </a:r>
          </a:p>
        </p:txBody>
      </p:sp>
      <p:sp>
        <p:nvSpPr>
          <p:cNvPr id="762950" name="Rectangle 69"/>
          <p:cNvSpPr>
            <a:spLocks noChangeArrowheads="1"/>
          </p:cNvSpPr>
          <p:nvPr>
            <p:custDataLst>
              <p:tags r:id="rId68"/>
            </p:custDataLst>
          </p:nvPr>
        </p:nvSpPr>
        <p:spPr bwMode="auto">
          <a:xfrm>
            <a:off x="4497388" y="1411003"/>
            <a:ext cx="644525" cy="169862"/>
          </a:xfrm>
          <a:prstGeom prst="rect">
            <a:avLst/>
          </a:prstGeom>
          <a:noFill/>
          <a:ln w="9525">
            <a:noFill/>
            <a:miter lim="800000"/>
            <a:headEnd/>
            <a:tailEnd/>
          </a:ln>
        </p:spPr>
        <p:txBody>
          <a:bodyPr lIns="92075" tIns="46038" rIns="92075" bIns="46038">
            <a:spAutoFit/>
          </a:bodyPr>
          <a:lstStyle/>
          <a:p>
            <a:r>
              <a:rPr lang="en-GB" altLang="ja-JP" sz="500" b="0">
                <a:solidFill>
                  <a:schemeClr val="tx2"/>
                </a:solidFill>
                <a:ea typeface="ＭＳ Ｐゴシック" charset="-128"/>
              </a:rPr>
              <a:t>Homogenisers </a:t>
            </a:r>
          </a:p>
        </p:txBody>
      </p:sp>
      <p:sp>
        <p:nvSpPr>
          <p:cNvPr id="762951" name="Rectangle 70"/>
          <p:cNvSpPr>
            <a:spLocks noChangeArrowheads="1"/>
          </p:cNvSpPr>
          <p:nvPr>
            <p:custDataLst>
              <p:tags r:id="rId69"/>
            </p:custDataLst>
          </p:nvPr>
        </p:nvSpPr>
        <p:spPr bwMode="auto">
          <a:xfrm>
            <a:off x="2487613" y="1398303"/>
            <a:ext cx="550862" cy="262252"/>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Tubular heat</a:t>
            </a:r>
          </a:p>
          <a:p>
            <a:pPr algn="ctr"/>
            <a:r>
              <a:rPr lang="en-GB" altLang="ja-JP" sz="500" b="0">
                <a:solidFill>
                  <a:schemeClr val="tx2"/>
                </a:solidFill>
                <a:ea typeface="ＭＳ Ｐゴシック" charset="-128"/>
              </a:rPr>
              <a:t>exchangers </a:t>
            </a:r>
          </a:p>
        </p:txBody>
      </p:sp>
      <p:sp>
        <p:nvSpPr>
          <p:cNvPr id="762952" name="Rectangle 71"/>
          <p:cNvSpPr>
            <a:spLocks noChangeArrowheads="1"/>
          </p:cNvSpPr>
          <p:nvPr>
            <p:custDataLst>
              <p:tags r:id="rId70"/>
            </p:custDataLst>
          </p:nvPr>
        </p:nvSpPr>
        <p:spPr bwMode="auto">
          <a:xfrm>
            <a:off x="1462087" y="961554"/>
            <a:ext cx="3571875" cy="216086"/>
          </a:xfrm>
          <a:prstGeom prst="rect">
            <a:avLst/>
          </a:prstGeom>
          <a:noFill/>
          <a:ln w="9525">
            <a:noFill/>
            <a:miter lim="800000"/>
            <a:headEnd/>
            <a:tailEnd/>
          </a:ln>
        </p:spPr>
        <p:txBody>
          <a:bodyPr wrap="square" lIns="92075" tIns="46038" rIns="92075" bIns="46038">
            <a:spAutoFit/>
          </a:bodyPr>
          <a:lstStyle/>
          <a:p>
            <a:r>
              <a:rPr lang="en-GB" altLang="ja-JP" sz="800" dirty="0">
                <a:solidFill>
                  <a:schemeClr val="tx2"/>
                </a:solidFill>
                <a:ea typeface="ＭＳ Ｐゴシック" charset="-128"/>
              </a:rPr>
              <a:t>Food Processing</a:t>
            </a:r>
          </a:p>
        </p:txBody>
      </p:sp>
      <p:sp>
        <p:nvSpPr>
          <p:cNvPr id="72" name="Line 72"/>
          <p:cNvSpPr>
            <a:spLocks noChangeShapeType="1"/>
          </p:cNvSpPr>
          <p:nvPr>
            <p:custDataLst>
              <p:tags r:id="rId71"/>
            </p:custDataLst>
          </p:nvPr>
        </p:nvSpPr>
        <p:spPr bwMode="auto">
          <a:xfrm>
            <a:off x="1463675" y="1177640"/>
            <a:ext cx="3554413" cy="0"/>
          </a:xfrm>
          <a:prstGeom prst="line">
            <a:avLst/>
          </a:prstGeom>
          <a:noFill/>
          <a:ln w="12700">
            <a:solidFill>
              <a:schemeClr val="accent1"/>
            </a:solidFill>
            <a:round/>
            <a:headEnd type="none" w="sm" len="sm"/>
            <a:tailEnd type="none" w="sm" len="sm"/>
          </a:ln>
        </p:spPr>
        <p:txBody>
          <a:bodyPr wrap="none" anchor="ctr"/>
          <a:lstStyle/>
          <a:p>
            <a:pPr>
              <a:defRPr/>
            </a:pPr>
            <a:endParaRPr lang="en-GB" b="0">
              <a:solidFill>
                <a:schemeClr val="tx2"/>
              </a:solidFill>
            </a:endParaRPr>
          </a:p>
        </p:txBody>
      </p:sp>
      <p:sp>
        <p:nvSpPr>
          <p:cNvPr id="74" name="Rectangle 77"/>
          <p:cNvSpPr>
            <a:spLocks noChangeArrowheads="1"/>
          </p:cNvSpPr>
          <p:nvPr>
            <p:custDataLst>
              <p:tags r:id="rId72"/>
            </p:custDataLst>
          </p:nvPr>
        </p:nvSpPr>
        <p:spPr bwMode="auto">
          <a:xfrm>
            <a:off x="2976563" y="1279240"/>
            <a:ext cx="277812" cy="120650"/>
          </a:xfrm>
          <a:prstGeom prst="rect">
            <a:avLst/>
          </a:prstGeom>
          <a:solidFill>
            <a:srgbClr val="FFFFFF"/>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 name="Rectangle 79"/>
          <p:cNvSpPr>
            <a:spLocks noChangeArrowheads="1"/>
          </p:cNvSpPr>
          <p:nvPr>
            <p:custDataLst>
              <p:tags r:id="rId73"/>
            </p:custDataLst>
          </p:nvPr>
        </p:nvSpPr>
        <p:spPr bwMode="auto">
          <a:xfrm>
            <a:off x="4310063" y="1279240"/>
            <a:ext cx="274637" cy="120650"/>
          </a:xfrm>
          <a:prstGeom prst="rect">
            <a:avLst/>
          </a:prstGeom>
          <a:solidFill>
            <a:srgbClr val="FFFFFF"/>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7" name="Rectangle 80"/>
          <p:cNvSpPr>
            <a:spLocks noChangeArrowheads="1"/>
          </p:cNvSpPr>
          <p:nvPr>
            <p:custDataLst>
              <p:tags r:id="rId74"/>
            </p:custDataLst>
          </p:nvPr>
        </p:nvSpPr>
        <p:spPr bwMode="auto">
          <a:xfrm>
            <a:off x="4679950" y="1279240"/>
            <a:ext cx="277813" cy="120650"/>
          </a:xfrm>
          <a:prstGeom prst="rect">
            <a:avLst/>
          </a:prstGeom>
          <a:solidFill>
            <a:srgbClr val="FFFFFF"/>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2957" name="Rectangle 81"/>
          <p:cNvSpPr>
            <a:spLocks noChangeArrowheads="1"/>
          </p:cNvSpPr>
          <p:nvPr>
            <p:custDataLst>
              <p:tags r:id="rId75"/>
            </p:custDataLst>
          </p:nvPr>
        </p:nvSpPr>
        <p:spPr bwMode="auto">
          <a:xfrm>
            <a:off x="3805238" y="1404653"/>
            <a:ext cx="577850" cy="169919"/>
          </a:xfrm>
          <a:prstGeom prst="rect">
            <a:avLst/>
          </a:prstGeom>
          <a:noFill/>
          <a:ln w="9525">
            <a:noFill/>
            <a:miter lim="800000"/>
            <a:headEnd/>
            <a:tailEnd/>
          </a:ln>
        </p:spPr>
        <p:txBody>
          <a:bodyPr wrap="square" lIns="92075" tIns="46038" rIns="92075" bIns="46038">
            <a:spAutoFit/>
          </a:bodyPr>
          <a:lstStyle/>
          <a:p>
            <a:r>
              <a:rPr lang="en-GB" altLang="ja-JP" sz="500" b="0" dirty="0">
                <a:solidFill>
                  <a:schemeClr val="tx2"/>
                </a:solidFill>
                <a:ea typeface="ＭＳ Ｐゴシック" charset="-128"/>
              </a:rPr>
              <a:t>Evaporators </a:t>
            </a:r>
          </a:p>
        </p:txBody>
      </p:sp>
      <p:sp>
        <p:nvSpPr>
          <p:cNvPr id="762958" name="Rectangle 82"/>
          <p:cNvSpPr>
            <a:spLocks noChangeArrowheads="1"/>
          </p:cNvSpPr>
          <p:nvPr>
            <p:custDataLst>
              <p:tags r:id="rId76"/>
            </p:custDataLst>
          </p:nvPr>
        </p:nvSpPr>
        <p:spPr bwMode="auto">
          <a:xfrm>
            <a:off x="4246563" y="1411003"/>
            <a:ext cx="401637" cy="169862"/>
          </a:xfrm>
          <a:prstGeom prst="rect">
            <a:avLst/>
          </a:prstGeom>
          <a:noFill/>
          <a:ln w="9525">
            <a:noFill/>
            <a:miter lim="800000"/>
            <a:headEnd/>
            <a:tailEnd/>
          </a:ln>
        </p:spPr>
        <p:txBody>
          <a:bodyPr lIns="92075" tIns="46038" rIns="92075" bIns="46038">
            <a:spAutoFit/>
          </a:bodyPr>
          <a:lstStyle/>
          <a:p>
            <a:r>
              <a:rPr lang="en-GB" altLang="ja-JP" sz="500" b="0">
                <a:solidFill>
                  <a:schemeClr val="tx2"/>
                </a:solidFill>
                <a:ea typeface="ＭＳ Ｐゴシック" charset="-128"/>
              </a:rPr>
              <a:t>Tanks </a:t>
            </a:r>
          </a:p>
        </p:txBody>
      </p:sp>
      <p:sp>
        <p:nvSpPr>
          <p:cNvPr id="762959" name="Rectangle 83"/>
          <p:cNvSpPr>
            <a:spLocks noChangeArrowheads="1"/>
          </p:cNvSpPr>
          <p:nvPr>
            <p:custDataLst>
              <p:tags r:id="rId77"/>
            </p:custDataLst>
          </p:nvPr>
        </p:nvSpPr>
        <p:spPr bwMode="auto">
          <a:xfrm>
            <a:off x="6592888" y="1436403"/>
            <a:ext cx="520700" cy="184150"/>
          </a:xfrm>
          <a:prstGeom prst="rect">
            <a:avLst/>
          </a:prstGeom>
          <a:noFill/>
          <a:ln w="9525">
            <a:noFill/>
            <a:miter lim="800000"/>
            <a:headEnd/>
            <a:tailEnd/>
          </a:ln>
        </p:spPr>
        <p:txBody>
          <a:bodyPr wrap="none" anchor="ctr"/>
          <a:lstStyle/>
          <a:p>
            <a:pPr algn="ctr"/>
            <a:endParaRPr lang="en-GB" b="0">
              <a:solidFill>
                <a:schemeClr val="tx2"/>
              </a:solidFill>
            </a:endParaRPr>
          </a:p>
        </p:txBody>
      </p:sp>
      <p:sp>
        <p:nvSpPr>
          <p:cNvPr id="762960" name="Rectangle 84"/>
          <p:cNvSpPr>
            <a:spLocks noChangeArrowheads="1"/>
          </p:cNvSpPr>
          <p:nvPr>
            <p:custDataLst>
              <p:tags r:id="rId78"/>
            </p:custDataLst>
          </p:nvPr>
        </p:nvSpPr>
        <p:spPr bwMode="auto">
          <a:xfrm>
            <a:off x="6870700" y="1360203"/>
            <a:ext cx="581025" cy="184150"/>
          </a:xfrm>
          <a:prstGeom prst="rect">
            <a:avLst/>
          </a:prstGeom>
          <a:noFill/>
          <a:ln w="9525">
            <a:noFill/>
            <a:miter lim="800000"/>
            <a:headEnd/>
            <a:tailEnd/>
          </a:ln>
        </p:spPr>
        <p:txBody>
          <a:bodyPr wrap="none" anchor="ctr"/>
          <a:lstStyle/>
          <a:p>
            <a:pPr algn="ctr"/>
            <a:endParaRPr lang="en-GB" b="0">
              <a:solidFill>
                <a:schemeClr val="tx2"/>
              </a:solidFill>
            </a:endParaRPr>
          </a:p>
        </p:txBody>
      </p:sp>
      <p:sp>
        <p:nvSpPr>
          <p:cNvPr id="762961" name="Rectangle 85"/>
          <p:cNvSpPr>
            <a:spLocks noChangeArrowheads="1"/>
          </p:cNvSpPr>
          <p:nvPr>
            <p:custDataLst>
              <p:tags r:id="rId79"/>
            </p:custDataLst>
          </p:nvPr>
        </p:nvSpPr>
        <p:spPr bwMode="auto">
          <a:xfrm>
            <a:off x="7008813" y="1379253"/>
            <a:ext cx="388937" cy="184150"/>
          </a:xfrm>
          <a:prstGeom prst="rect">
            <a:avLst/>
          </a:prstGeom>
          <a:noFill/>
          <a:ln w="9525">
            <a:noFill/>
            <a:miter lim="800000"/>
            <a:headEnd/>
            <a:tailEnd/>
          </a:ln>
        </p:spPr>
        <p:txBody>
          <a:bodyPr wrap="none" anchor="ctr"/>
          <a:lstStyle/>
          <a:p>
            <a:pPr algn="ctr"/>
            <a:endParaRPr lang="en-GB" b="0">
              <a:solidFill>
                <a:schemeClr val="tx2"/>
              </a:solidFill>
            </a:endParaRPr>
          </a:p>
        </p:txBody>
      </p:sp>
      <p:sp>
        <p:nvSpPr>
          <p:cNvPr id="83" name="Rectangle 86"/>
          <p:cNvSpPr>
            <a:spLocks noChangeArrowheads="1"/>
          </p:cNvSpPr>
          <p:nvPr>
            <p:custDataLst>
              <p:tags r:id="rId80"/>
            </p:custDataLst>
          </p:nvPr>
        </p:nvSpPr>
        <p:spPr bwMode="auto">
          <a:xfrm>
            <a:off x="6704013" y="1253840"/>
            <a:ext cx="247650" cy="115888"/>
          </a:xfrm>
          <a:prstGeom prst="rect">
            <a:avLst/>
          </a:prstGeom>
          <a:no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2963" name="Rectangle 87"/>
          <p:cNvSpPr>
            <a:spLocks noChangeArrowheads="1"/>
          </p:cNvSpPr>
          <p:nvPr>
            <p:custDataLst>
              <p:tags r:id="rId81"/>
            </p:custDataLst>
          </p:nvPr>
        </p:nvSpPr>
        <p:spPr bwMode="auto">
          <a:xfrm>
            <a:off x="6665913" y="947453"/>
            <a:ext cx="665162" cy="216086"/>
          </a:xfrm>
          <a:prstGeom prst="rect">
            <a:avLst/>
          </a:prstGeom>
          <a:noFill/>
          <a:ln w="9525">
            <a:noFill/>
            <a:miter lim="800000"/>
            <a:headEnd/>
            <a:tailEnd/>
          </a:ln>
        </p:spPr>
        <p:txBody>
          <a:bodyPr wrap="square" lIns="92075" tIns="46038" rIns="92075" bIns="46038">
            <a:spAutoFit/>
          </a:bodyPr>
          <a:lstStyle/>
          <a:p>
            <a:r>
              <a:rPr lang="en-GB" altLang="ja-JP" sz="800" dirty="0">
                <a:solidFill>
                  <a:schemeClr val="tx2"/>
                </a:solidFill>
                <a:ea typeface="ＭＳ Ｐゴシック" charset="-128"/>
              </a:rPr>
              <a:t>Other</a:t>
            </a:r>
          </a:p>
        </p:txBody>
      </p:sp>
      <p:sp>
        <p:nvSpPr>
          <p:cNvPr id="85" name="Line 88"/>
          <p:cNvSpPr>
            <a:spLocks noChangeShapeType="1"/>
          </p:cNvSpPr>
          <p:nvPr>
            <p:custDataLst>
              <p:tags r:id="rId82"/>
            </p:custDataLst>
          </p:nvPr>
        </p:nvSpPr>
        <p:spPr bwMode="auto">
          <a:xfrm>
            <a:off x="6665913" y="1176053"/>
            <a:ext cx="681037" cy="0"/>
          </a:xfrm>
          <a:prstGeom prst="line">
            <a:avLst/>
          </a:prstGeom>
          <a:noFill/>
          <a:ln w="12700">
            <a:solidFill>
              <a:schemeClr val="accent1"/>
            </a:solidFill>
            <a:round/>
            <a:headEnd type="none" w="sm" len="sm"/>
            <a:tailEnd type="none" w="sm" len="sm"/>
          </a:ln>
        </p:spPr>
        <p:txBody>
          <a:bodyPr wrap="none" anchor="ctr"/>
          <a:lstStyle/>
          <a:p>
            <a:pPr>
              <a:defRPr/>
            </a:pPr>
            <a:endParaRPr lang="en-GB" b="0">
              <a:solidFill>
                <a:schemeClr val="tx2"/>
              </a:solidFill>
            </a:endParaRPr>
          </a:p>
        </p:txBody>
      </p:sp>
      <p:sp>
        <p:nvSpPr>
          <p:cNvPr id="762965" name="Rectangle 89"/>
          <p:cNvSpPr>
            <a:spLocks noChangeArrowheads="1"/>
          </p:cNvSpPr>
          <p:nvPr>
            <p:custDataLst>
              <p:tags r:id="rId83"/>
            </p:custDataLst>
          </p:nvPr>
        </p:nvSpPr>
        <p:spPr bwMode="auto">
          <a:xfrm>
            <a:off x="2849563" y="1398303"/>
            <a:ext cx="533400" cy="339196"/>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Ohmic heaters</a:t>
            </a:r>
          </a:p>
          <a:p>
            <a:pPr algn="ctr"/>
            <a:endParaRPr lang="ja-JP" altLang="en-GB" sz="500" b="0">
              <a:solidFill>
                <a:schemeClr val="tx2"/>
              </a:solidFill>
              <a:ea typeface="ＭＳ Ｐゴシック" charset="-128"/>
            </a:endParaRPr>
          </a:p>
        </p:txBody>
      </p:sp>
      <p:sp>
        <p:nvSpPr>
          <p:cNvPr id="762966" name="Rectangle 90"/>
          <p:cNvSpPr>
            <a:spLocks noChangeArrowheads="1"/>
          </p:cNvSpPr>
          <p:nvPr>
            <p:custDataLst>
              <p:tags r:id="rId84"/>
            </p:custDataLst>
          </p:nvPr>
        </p:nvSpPr>
        <p:spPr bwMode="auto">
          <a:xfrm>
            <a:off x="1325563" y="1785653"/>
            <a:ext cx="625475" cy="246863"/>
          </a:xfrm>
          <a:prstGeom prst="rect">
            <a:avLst/>
          </a:prstGeom>
          <a:noFill/>
          <a:ln w="9525">
            <a:noFill/>
            <a:miter lim="800000"/>
            <a:headEnd/>
            <a:tailEnd/>
          </a:ln>
        </p:spPr>
        <p:txBody>
          <a:bodyPr lIns="92075" tIns="46038" rIns="92075" bIns="46038">
            <a:spAutoFit/>
          </a:bodyPr>
          <a:lstStyle/>
          <a:p>
            <a:pPr algn="ctr"/>
            <a:r>
              <a:rPr lang="en-GB" altLang="ja-JP" sz="500" b="0" dirty="0">
                <a:solidFill>
                  <a:schemeClr val="tx2"/>
                </a:solidFill>
                <a:ea typeface="ＭＳ Ｐゴシック" charset="-128"/>
              </a:rPr>
              <a:t>Freezers </a:t>
            </a:r>
            <a:r>
              <a:rPr lang="en-GB" altLang="ja-JP" sz="500" b="0" dirty="0" smtClean="0">
                <a:solidFill>
                  <a:schemeClr val="tx2"/>
                </a:solidFill>
                <a:ea typeface="ＭＳ Ｐゴシック" charset="-128"/>
              </a:rPr>
              <a:t>and refrigerators </a:t>
            </a:r>
            <a:endParaRPr lang="en-GB" altLang="ja-JP" sz="500" b="0" dirty="0">
              <a:solidFill>
                <a:schemeClr val="tx2"/>
              </a:solidFill>
              <a:ea typeface="ＭＳ Ｐゴシック" charset="-128"/>
            </a:endParaRPr>
          </a:p>
        </p:txBody>
      </p:sp>
      <p:sp>
        <p:nvSpPr>
          <p:cNvPr id="762967" name="Rectangle 91"/>
          <p:cNvSpPr>
            <a:spLocks noChangeArrowheads="1"/>
          </p:cNvSpPr>
          <p:nvPr>
            <p:custDataLst>
              <p:tags r:id="rId85"/>
            </p:custDataLst>
          </p:nvPr>
        </p:nvSpPr>
        <p:spPr bwMode="auto">
          <a:xfrm>
            <a:off x="2128838" y="1398303"/>
            <a:ext cx="531812" cy="262252"/>
          </a:xfrm>
          <a:prstGeom prst="rect">
            <a:avLst/>
          </a:prstGeom>
          <a:noFill/>
          <a:ln w="9525">
            <a:noFill/>
            <a:miter lim="800000"/>
            <a:headEnd/>
            <a:tailEnd/>
          </a:ln>
        </p:spPr>
        <p:txBody>
          <a:bodyPr lIns="92075" tIns="46038" rIns="92075" bIns="46038">
            <a:spAutoFit/>
          </a:bodyPr>
          <a:lstStyle/>
          <a:p>
            <a:pPr algn="ctr"/>
            <a:r>
              <a:rPr lang="en-GB" altLang="ja-JP" sz="500" b="0" dirty="0">
                <a:solidFill>
                  <a:schemeClr val="tx2"/>
                </a:solidFill>
                <a:ea typeface="ＭＳ Ｐゴシック" charset="-128"/>
              </a:rPr>
              <a:t>Plate heat</a:t>
            </a:r>
          </a:p>
          <a:p>
            <a:pPr algn="ctr"/>
            <a:r>
              <a:rPr lang="en-GB" altLang="ja-JP" sz="500" b="0" dirty="0">
                <a:solidFill>
                  <a:schemeClr val="tx2"/>
                </a:solidFill>
                <a:ea typeface="ＭＳ Ｐゴシック" charset="-128"/>
              </a:rPr>
              <a:t>exchangers </a:t>
            </a:r>
          </a:p>
        </p:txBody>
      </p:sp>
      <p:sp>
        <p:nvSpPr>
          <p:cNvPr id="762968" name="Rectangle 92"/>
          <p:cNvSpPr>
            <a:spLocks noChangeArrowheads="1"/>
          </p:cNvSpPr>
          <p:nvPr>
            <p:custDataLst>
              <p:tags r:id="rId86"/>
            </p:custDataLst>
          </p:nvPr>
        </p:nvSpPr>
        <p:spPr bwMode="auto">
          <a:xfrm>
            <a:off x="3333750" y="1279240"/>
            <a:ext cx="247650" cy="120650"/>
          </a:xfrm>
          <a:prstGeom prst="rect">
            <a:avLst/>
          </a:prstGeom>
          <a:solidFill>
            <a:schemeClr val="accent2"/>
          </a:solidFill>
          <a:ln w="12700">
            <a:solidFill>
              <a:schemeClr val="bg1"/>
            </a:solidFill>
            <a:miter lim="800000"/>
            <a:headEnd/>
            <a:tailEnd/>
          </a:ln>
        </p:spPr>
        <p:txBody>
          <a:bodyPr wrap="none" anchor="ctr"/>
          <a:lstStyle/>
          <a:p>
            <a:pPr algn="ctr"/>
            <a:endParaRPr lang="en-GB" b="0">
              <a:solidFill>
                <a:schemeClr val="tx2"/>
              </a:solidFill>
            </a:endParaRPr>
          </a:p>
        </p:txBody>
      </p:sp>
      <p:sp>
        <p:nvSpPr>
          <p:cNvPr id="762969" name="Rectangle 93"/>
          <p:cNvSpPr>
            <a:spLocks noChangeArrowheads="1"/>
          </p:cNvSpPr>
          <p:nvPr>
            <p:custDataLst>
              <p:tags r:id="rId87"/>
            </p:custDataLst>
          </p:nvPr>
        </p:nvSpPr>
        <p:spPr bwMode="auto">
          <a:xfrm>
            <a:off x="3192463" y="1398303"/>
            <a:ext cx="531812" cy="262252"/>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Separators</a:t>
            </a:r>
          </a:p>
          <a:p>
            <a:pPr algn="ctr"/>
            <a:endParaRPr lang="ja-JP" altLang="en-GB" sz="500" b="0">
              <a:solidFill>
                <a:schemeClr val="tx2"/>
              </a:solidFill>
              <a:ea typeface="ＭＳ Ｐゴシック" charset="-128"/>
            </a:endParaRPr>
          </a:p>
        </p:txBody>
      </p:sp>
      <p:sp>
        <p:nvSpPr>
          <p:cNvPr id="91" name="Rectangle 94"/>
          <p:cNvSpPr>
            <a:spLocks noChangeArrowheads="1"/>
          </p:cNvSpPr>
          <p:nvPr>
            <p:custDataLst>
              <p:tags r:id="rId88"/>
            </p:custDataLst>
          </p:nvPr>
        </p:nvSpPr>
        <p:spPr bwMode="auto">
          <a:xfrm>
            <a:off x="6254750" y="1260190"/>
            <a:ext cx="265113" cy="117475"/>
          </a:xfrm>
          <a:prstGeom prst="rect">
            <a:avLst/>
          </a:prstGeom>
          <a:no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2971" name="Rectangle 95"/>
          <p:cNvSpPr>
            <a:spLocks noChangeArrowheads="1"/>
          </p:cNvSpPr>
          <p:nvPr>
            <p:custDataLst>
              <p:tags r:id="rId89"/>
            </p:custDataLst>
          </p:nvPr>
        </p:nvSpPr>
        <p:spPr bwMode="auto">
          <a:xfrm>
            <a:off x="6569075" y="1368140"/>
            <a:ext cx="533400" cy="247650"/>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Air treatment </a:t>
            </a:r>
          </a:p>
        </p:txBody>
      </p:sp>
      <p:sp>
        <p:nvSpPr>
          <p:cNvPr id="762972" name="Rectangle 96"/>
          <p:cNvSpPr>
            <a:spLocks noChangeArrowheads="1"/>
          </p:cNvSpPr>
          <p:nvPr>
            <p:custDataLst>
              <p:tags r:id="rId90"/>
            </p:custDataLst>
          </p:nvPr>
        </p:nvSpPr>
        <p:spPr bwMode="auto">
          <a:xfrm>
            <a:off x="3159125" y="1793590"/>
            <a:ext cx="598488"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Automation</a:t>
            </a:r>
          </a:p>
        </p:txBody>
      </p:sp>
      <p:sp>
        <p:nvSpPr>
          <p:cNvPr id="762973" name="Rectangle 100"/>
          <p:cNvSpPr>
            <a:spLocks noChangeArrowheads="1"/>
          </p:cNvSpPr>
          <p:nvPr>
            <p:custDataLst>
              <p:tags r:id="rId91"/>
            </p:custDataLst>
          </p:nvPr>
        </p:nvSpPr>
        <p:spPr bwMode="auto">
          <a:xfrm>
            <a:off x="5824538" y="1736440"/>
            <a:ext cx="481012" cy="169863"/>
          </a:xfrm>
          <a:prstGeom prst="rect">
            <a:avLst/>
          </a:prstGeom>
          <a:noFill/>
          <a:ln w="9525">
            <a:noFill/>
            <a:miter lim="800000"/>
            <a:headEnd/>
            <a:tailEnd/>
          </a:ln>
        </p:spPr>
        <p:txBody>
          <a:bodyPr lIns="92075" tIns="46038" rIns="92075" bIns="46038">
            <a:spAutoFit/>
          </a:bodyPr>
          <a:lstStyle/>
          <a:p>
            <a:r>
              <a:rPr lang="en-GB" altLang="ja-JP" sz="500" b="0">
                <a:solidFill>
                  <a:schemeClr val="tx2"/>
                </a:solidFill>
                <a:ea typeface="ＭＳ Ｐゴシック" charset="-128"/>
              </a:rPr>
              <a:t>Wrapping </a:t>
            </a:r>
          </a:p>
        </p:txBody>
      </p:sp>
      <p:sp>
        <p:nvSpPr>
          <p:cNvPr id="762975" name="Rectangle 102"/>
          <p:cNvSpPr>
            <a:spLocks noChangeArrowheads="1"/>
          </p:cNvSpPr>
          <p:nvPr>
            <p:custDataLst>
              <p:tags r:id="rId92"/>
            </p:custDataLst>
          </p:nvPr>
        </p:nvSpPr>
        <p:spPr bwMode="auto">
          <a:xfrm>
            <a:off x="3495675" y="1398303"/>
            <a:ext cx="533400" cy="169862"/>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Dryers</a:t>
            </a:r>
          </a:p>
        </p:txBody>
      </p:sp>
      <p:sp>
        <p:nvSpPr>
          <p:cNvPr id="762976" name="Rectangle 103"/>
          <p:cNvSpPr>
            <a:spLocks noChangeArrowheads="1"/>
          </p:cNvSpPr>
          <p:nvPr>
            <p:custDataLst>
              <p:tags r:id="rId93"/>
            </p:custDataLst>
          </p:nvPr>
        </p:nvSpPr>
        <p:spPr bwMode="auto">
          <a:xfrm>
            <a:off x="5159375" y="1374490"/>
            <a:ext cx="481013" cy="169863"/>
          </a:xfrm>
          <a:prstGeom prst="rect">
            <a:avLst/>
          </a:prstGeom>
          <a:noFill/>
          <a:ln w="9525">
            <a:noFill/>
            <a:miter lim="800000"/>
            <a:headEnd/>
            <a:tailEnd/>
          </a:ln>
        </p:spPr>
        <p:txBody>
          <a:bodyPr lIns="92075" tIns="46038" rIns="92075" bIns="46038">
            <a:spAutoFit/>
          </a:bodyPr>
          <a:lstStyle/>
          <a:p>
            <a:r>
              <a:rPr lang="en-GB" altLang="ja-JP" sz="500" b="0">
                <a:solidFill>
                  <a:schemeClr val="tx2"/>
                </a:solidFill>
                <a:ea typeface="ＭＳ Ｐゴシック" charset="-128"/>
              </a:rPr>
              <a:t>Cartoning </a:t>
            </a:r>
          </a:p>
        </p:txBody>
      </p:sp>
      <p:sp>
        <p:nvSpPr>
          <p:cNvPr id="762977" name="Rectangle 104"/>
          <p:cNvSpPr>
            <a:spLocks noChangeArrowheads="1"/>
          </p:cNvSpPr>
          <p:nvPr>
            <p:custDataLst>
              <p:tags r:id="rId94"/>
            </p:custDataLst>
          </p:nvPr>
        </p:nvSpPr>
        <p:spPr bwMode="auto">
          <a:xfrm>
            <a:off x="1350963" y="3428715"/>
            <a:ext cx="596900"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Systems </a:t>
            </a:r>
          </a:p>
        </p:txBody>
      </p:sp>
      <p:sp>
        <p:nvSpPr>
          <p:cNvPr id="762978" name="Rectangle 105"/>
          <p:cNvSpPr>
            <a:spLocks noChangeArrowheads="1"/>
          </p:cNvSpPr>
          <p:nvPr>
            <p:custDataLst>
              <p:tags r:id="rId95"/>
            </p:custDataLst>
          </p:nvPr>
        </p:nvSpPr>
        <p:spPr bwMode="auto">
          <a:xfrm>
            <a:off x="1506538" y="3701765"/>
            <a:ext cx="284162"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102" name="Rectangle 106"/>
          <p:cNvSpPr>
            <a:spLocks noChangeArrowheads="1"/>
          </p:cNvSpPr>
          <p:nvPr>
            <p:custDataLst>
              <p:tags r:id="rId96"/>
            </p:custDataLst>
          </p:nvPr>
        </p:nvSpPr>
        <p:spPr bwMode="auto">
          <a:xfrm>
            <a:off x="1506538" y="4157378"/>
            <a:ext cx="284162" cy="120650"/>
          </a:xfrm>
          <a:prstGeom prst="rect">
            <a:avLst/>
          </a:prstGeom>
          <a:solidFill>
            <a:schemeClr val="accent3"/>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2980" name="Rectangle 107"/>
          <p:cNvSpPr>
            <a:spLocks noChangeArrowheads="1"/>
          </p:cNvSpPr>
          <p:nvPr>
            <p:custDataLst>
              <p:tags r:id="rId97"/>
            </p:custDataLst>
          </p:nvPr>
        </p:nvSpPr>
        <p:spPr bwMode="auto">
          <a:xfrm>
            <a:off x="1876425" y="3701765"/>
            <a:ext cx="285750"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104" name="Rectangle 108"/>
          <p:cNvSpPr>
            <a:spLocks noChangeArrowheads="1"/>
          </p:cNvSpPr>
          <p:nvPr>
            <p:custDataLst>
              <p:tags r:id="rId98"/>
            </p:custDataLst>
          </p:nvPr>
        </p:nvSpPr>
        <p:spPr bwMode="auto">
          <a:xfrm>
            <a:off x="1876425" y="4157378"/>
            <a:ext cx="285750" cy="120650"/>
          </a:xfrm>
          <a:prstGeom prst="rect">
            <a:avLst/>
          </a:prstGeom>
          <a:no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105" name="Rectangle 109"/>
          <p:cNvSpPr>
            <a:spLocks noChangeArrowheads="1"/>
          </p:cNvSpPr>
          <p:nvPr>
            <p:custDataLst>
              <p:tags r:id="rId99"/>
            </p:custDataLst>
          </p:nvPr>
        </p:nvSpPr>
        <p:spPr bwMode="auto">
          <a:xfrm>
            <a:off x="2620963" y="4157378"/>
            <a:ext cx="285750" cy="120650"/>
          </a:xfrm>
          <a:prstGeom prst="rect">
            <a:avLst/>
          </a:prstGeom>
          <a:solidFill>
            <a:schemeClr val="accent3"/>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106" name="Rectangle 110"/>
          <p:cNvSpPr>
            <a:spLocks noChangeArrowheads="1"/>
          </p:cNvSpPr>
          <p:nvPr>
            <p:custDataLst>
              <p:tags r:id="rId100"/>
            </p:custDataLst>
          </p:nvPr>
        </p:nvSpPr>
        <p:spPr bwMode="auto">
          <a:xfrm>
            <a:off x="3109913" y="4168490"/>
            <a:ext cx="284162" cy="120650"/>
          </a:xfrm>
          <a:prstGeom prst="rect">
            <a:avLst/>
          </a:prstGeom>
          <a:solidFill>
            <a:schemeClr val="accent3"/>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2984" name="Rectangle 111"/>
          <p:cNvSpPr>
            <a:spLocks noChangeArrowheads="1"/>
          </p:cNvSpPr>
          <p:nvPr>
            <p:custDataLst>
              <p:tags r:id="rId101"/>
            </p:custDataLst>
          </p:nvPr>
        </p:nvSpPr>
        <p:spPr bwMode="auto">
          <a:xfrm>
            <a:off x="1738313" y="3827178"/>
            <a:ext cx="596900" cy="247650"/>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Subcontractor management</a:t>
            </a:r>
          </a:p>
        </p:txBody>
      </p:sp>
      <p:sp>
        <p:nvSpPr>
          <p:cNvPr id="762985" name="Rectangle 112"/>
          <p:cNvSpPr>
            <a:spLocks noChangeArrowheads="1"/>
          </p:cNvSpPr>
          <p:nvPr>
            <p:custDataLst>
              <p:tags r:id="rId102"/>
            </p:custDataLst>
          </p:nvPr>
        </p:nvSpPr>
        <p:spPr bwMode="auto">
          <a:xfrm>
            <a:off x="1738313" y="4284378"/>
            <a:ext cx="596900" cy="247650"/>
          </a:xfrm>
          <a:prstGeom prst="rect">
            <a:avLst/>
          </a:prstGeom>
          <a:noFill/>
          <a:ln w="9525">
            <a:noFill/>
            <a:miter lim="800000"/>
            <a:headEnd/>
            <a:tailEnd/>
          </a:ln>
        </p:spPr>
        <p:txBody>
          <a:bodyPr lIns="92075" tIns="46038" rIns="92075" bIns="46038">
            <a:spAutoFit/>
          </a:bodyPr>
          <a:lstStyle/>
          <a:p>
            <a:pPr algn="ctr"/>
            <a:r>
              <a:rPr lang="en-GB" altLang="ja-JP" sz="500" b="0" dirty="0" smtClean="0">
                <a:solidFill>
                  <a:schemeClr val="tx2"/>
                </a:solidFill>
                <a:ea typeface="ＭＳ Ｐゴシック" charset="-128"/>
              </a:rPr>
              <a:t>Third party </a:t>
            </a:r>
            <a:r>
              <a:rPr lang="en-GB" altLang="ja-JP" sz="500" b="0" dirty="0">
                <a:solidFill>
                  <a:schemeClr val="tx2"/>
                </a:solidFill>
                <a:ea typeface="ＭＳ Ｐゴシック" charset="-128"/>
              </a:rPr>
              <a:t>maintenance</a:t>
            </a:r>
          </a:p>
        </p:txBody>
      </p:sp>
      <p:sp>
        <p:nvSpPr>
          <p:cNvPr id="762986" name="Rectangle 113"/>
          <p:cNvSpPr>
            <a:spLocks noChangeArrowheads="1"/>
          </p:cNvSpPr>
          <p:nvPr>
            <p:custDataLst>
              <p:tags r:id="rId103"/>
            </p:custDataLst>
          </p:nvPr>
        </p:nvSpPr>
        <p:spPr bwMode="auto">
          <a:xfrm>
            <a:off x="2463800" y="4284378"/>
            <a:ext cx="598488" cy="247650"/>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Upgrades/ modifications</a:t>
            </a:r>
          </a:p>
        </p:txBody>
      </p:sp>
      <p:sp>
        <p:nvSpPr>
          <p:cNvPr id="762987" name="Rectangle 114"/>
          <p:cNvSpPr>
            <a:spLocks noChangeArrowheads="1"/>
          </p:cNvSpPr>
          <p:nvPr>
            <p:custDataLst>
              <p:tags r:id="rId104"/>
            </p:custDataLst>
          </p:nvPr>
        </p:nvSpPr>
        <p:spPr bwMode="auto">
          <a:xfrm>
            <a:off x="2992438" y="4295490"/>
            <a:ext cx="531812"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Contract </a:t>
            </a:r>
          </a:p>
        </p:txBody>
      </p:sp>
      <p:sp>
        <p:nvSpPr>
          <p:cNvPr id="762988" name="Rectangle 115"/>
          <p:cNvSpPr>
            <a:spLocks noChangeArrowheads="1"/>
          </p:cNvSpPr>
          <p:nvPr>
            <p:custDataLst>
              <p:tags r:id="rId105"/>
            </p:custDataLst>
          </p:nvPr>
        </p:nvSpPr>
        <p:spPr bwMode="auto">
          <a:xfrm>
            <a:off x="3536950" y="4168490"/>
            <a:ext cx="285750"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2989" name="Rectangle 116"/>
          <p:cNvSpPr>
            <a:spLocks noChangeArrowheads="1"/>
          </p:cNvSpPr>
          <p:nvPr>
            <p:custDataLst>
              <p:tags r:id="rId106"/>
            </p:custDataLst>
          </p:nvPr>
        </p:nvSpPr>
        <p:spPr bwMode="auto">
          <a:xfrm>
            <a:off x="3397248" y="4295490"/>
            <a:ext cx="576262" cy="169919"/>
          </a:xfrm>
          <a:prstGeom prst="rect">
            <a:avLst/>
          </a:prstGeom>
          <a:noFill/>
          <a:ln w="9525">
            <a:noFill/>
            <a:miter lim="800000"/>
            <a:headEnd/>
            <a:tailEnd/>
          </a:ln>
        </p:spPr>
        <p:txBody>
          <a:bodyPr wrap="square" lIns="92075" tIns="46038" rIns="92075" bIns="46038">
            <a:spAutoFit/>
          </a:bodyPr>
          <a:lstStyle/>
          <a:p>
            <a:pPr algn="ctr"/>
            <a:r>
              <a:rPr lang="en-GB" altLang="ja-JP" sz="500" b="0" dirty="0">
                <a:solidFill>
                  <a:schemeClr val="tx2"/>
                </a:solidFill>
                <a:ea typeface="ＭＳ Ｐゴシック" charset="-128"/>
              </a:rPr>
              <a:t>Time/material </a:t>
            </a:r>
          </a:p>
        </p:txBody>
      </p:sp>
      <p:sp>
        <p:nvSpPr>
          <p:cNvPr id="762990" name="Rectangle 117"/>
          <p:cNvSpPr>
            <a:spLocks noChangeArrowheads="1"/>
          </p:cNvSpPr>
          <p:nvPr>
            <p:custDataLst>
              <p:tags r:id="rId107"/>
            </p:custDataLst>
          </p:nvPr>
        </p:nvSpPr>
        <p:spPr bwMode="auto">
          <a:xfrm>
            <a:off x="1322388" y="4284378"/>
            <a:ext cx="598487" cy="247650"/>
          </a:xfrm>
          <a:prstGeom prst="rect">
            <a:avLst/>
          </a:prstGeom>
          <a:noFill/>
          <a:ln w="9525">
            <a:noFill/>
            <a:miter lim="800000"/>
            <a:headEnd/>
            <a:tailEnd/>
          </a:ln>
        </p:spPr>
        <p:txBody>
          <a:bodyPr lIns="92075" tIns="46038" rIns="92075" bIns="46038">
            <a:spAutoFit/>
          </a:bodyPr>
          <a:lstStyle/>
          <a:p>
            <a:pPr algn="ctr"/>
            <a:r>
              <a:rPr lang="ja-JP" altLang="en-GB" sz="500" b="0">
                <a:solidFill>
                  <a:schemeClr val="tx2"/>
                </a:solidFill>
                <a:ea typeface="ＭＳ Ｐゴシック" charset="-128"/>
              </a:rPr>
              <a:t> </a:t>
            </a:r>
            <a:r>
              <a:rPr lang="en-GB" altLang="ja-JP" sz="500" b="0">
                <a:solidFill>
                  <a:schemeClr val="tx2"/>
                </a:solidFill>
                <a:ea typeface="ＭＳ Ｐゴシック" charset="-128"/>
              </a:rPr>
              <a:t>Own maintenance</a:t>
            </a:r>
          </a:p>
        </p:txBody>
      </p:sp>
      <p:sp>
        <p:nvSpPr>
          <p:cNvPr id="762991" name="Rectangle 118"/>
          <p:cNvSpPr>
            <a:spLocks noChangeArrowheads="1"/>
          </p:cNvSpPr>
          <p:nvPr>
            <p:custDataLst>
              <p:tags r:id="rId108"/>
            </p:custDataLst>
          </p:nvPr>
        </p:nvSpPr>
        <p:spPr bwMode="auto">
          <a:xfrm>
            <a:off x="2792413" y="1785653"/>
            <a:ext cx="646112" cy="247650"/>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Conveyer systems </a:t>
            </a:r>
          </a:p>
        </p:txBody>
      </p:sp>
      <p:sp>
        <p:nvSpPr>
          <p:cNvPr id="762992" name="Rectangle 119"/>
          <p:cNvSpPr>
            <a:spLocks noChangeArrowheads="1"/>
          </p:cNvSpPr>
          <p:nvPr>
            <p:custDataLst>
              <p:tags r:id="rId109"/>
            </p:custDataLst>
          </p:nvPr>
        </p:nvSpPr>
        <p:spPr bwMode="auto">
          <a:xfrm>
            <a:off x="1749425" y="1785653"/>
            <a:ext cx="522288" cy="323850"/>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Aseptic processing systems </a:t>
            </a:r>
          </a:p>
        </p:txBody>
      </p:sp>
      <p:sp>
        <p:nvSpPr>
          <p:cNvPr id="762993" name="Rectangle 120"/>
          <p:cNvSpPr>
            <a:spLocks noChangeArrowheads="1"/>
          </p:cNvSpPr>
          <p:nvPr>
            <p:custDataLst>
              <p:tags r:id="rId110"/>
            </p:custDataLst>
          </p:nvPr>
        </p:nvSpPr>
        <p:spPr bwMode="auto">
          <a:xfrm>
            <a:off x="2497138" y="1785653"/>
            <a:ext cx="533400" cy="323850"/>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Blow moulding equipment</a:t>
            </a:r>
          </a:p>
        </p:txBody>
      </p:sp>
      <p:sp>
        <p:nvSpPr>
          <p:cNvPr id="762994" name="Rectangle 121"/>
          <p:cNvSpPr>
            <a:spLocks noChangeArrowheads="1"/>
          </p:cNvSpPr>
          <p:nvPr>
            <p:custDataLst>
              <p:tags r:id="rId111"/>
            </p:custDataLst>
          </p:nvPr>
        </p:nvSpPr>
        <p:spPr bwMode="auto">
          <a:xfrm>
            <a:off x="2554288" y="1772953"/>
            <a:ext cx="419100" cy="184150"/>
          </a:xfrm>
          <a:prstGeom prst="rect">
            <a:avLst/>
          </a:prstGeom>
          <a:noFill/>
          <a:ln w="9525">
            <a:noFill/>
            <a:miter lim="800000"/>
            <a:headEnd/>
            <a:tailEnd/>
          </a:ln>
        </p:spPr>
        <p:txBody>
          <a:bodyPr wrap="none" anchor="ctr"/>
          <a:lstStyle/>
          <a:p>
            <a:pPr algn="ctr"/>
            <a:endParaRPr lang="en-GB" b="0">
              <a:solidFill>
                <a:schemeClr val="tx2"/>
              </a:solidFill>
            </a:endParaRPr>
          </a:p>
        </p:txBody>
      </p:sp>
      <p:sp>
        <p:nvSpPr>
          <p:cNvPr id="762995" name="Rectangle 122"/>
          <p:cNvSpPr>
            <a:spLocks noChangeArrowheads="1"/>
          </p:cNvSpPr>
          <p:nvPr>
            <p:custDataLst>
              <p:tags r:id="rId112"/>
            </p:custDataLst>
          </p:nvPr>
        </p:nvSpPr>
        <p:spPr bwMode="auto">
          <a:xfrm>
            <a:off x="2139950" y="1785653"/>
            <a:ext cx="523875" cy="247650"/>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Filtration equipment </a:t>
            </a:r>
          </a:p>
        </p:txBody>
      </p:sp>
      <p:sp>
        <p:nvSpPr>
          <p:cNvPr id="762996" name="Rectangle 123"/>
          <p:cNvSpPr>
            <a:spLocks noChangeArrowheads="1"/>
          </p:cNvSpPr>
          <p:nvPr>
            <p:custDataLst>
              <p:tags r:id="rId113"/>
            </p:custDataLst>
          </p:nvPr>
        </p:nvSpPr>
        <p:spPr bwMode="auto">
          <a:xfrm>
            <a:off x="6659563" y="1531653"/>
            <a:ext cx="581025" cy="184150"/>
          </a:xfrm>
          <a:prstGeom prst="rect">
            <a:avLst/>
          </a:prstGeom>
          <a:noFill/>
          <a:ln w="9525">
            <a:noFill/>
            <a:miter lim="800000"/>
            <a:headEnd/>
            <a:tailEnd/>
          </a:ln>
        </p:spPr>
        <p:txBody>
          <a:bodyPr wrap="none" anchor="ctr"/>
          <a:lstStyle/>
          <a:p>
            <a:pPr algn="ctr"/>
            <a:endParaRPr lang="en-GB" b="0">
              <a:solidFill>
                <a:schemeClr val="tx2"/>
              </a:solidFill>
            </a:endParaRPr>
          </a:p>
        </p:txBody>
      </p:sp>
      <p:sp>
        <p:nvSpPr>
          <p:cNvPr id="120" name="Rectangle 124"/>
          <p:cNvSpPr>
            <a:spLocks noChangeArrowheads="1"/>
          </p:cNvSpPr>
          <p:nvPr>
            <p:custDataLst>
              <p:tags r:id="rId114"/>
            </p:custDataLst>
          </p:nvPr>
        </p:nvSpPr>
        <p:spPr bwMode="auto">
          <a:xfrm>
            <a:off x="7034213" y="1253840"/>
            <a:ext cx="244475" cy="115888"/>
          </a:xfrm>
          <a:prstGeom prst="rect">
            <a:avLst/>
          </a:prstGeom>
          <a:no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2998" name="Rectangle 126"/>
          <p:cNvSpPr>
            <a:spLocks noChangeArrowheads="1"/>
          </p:cNvSpPr>
          <p:nvPr>
            <p:custDataLst>
              <p:tags r:id="rId115"/>
            </p:custDataLst>
          </p:nvPr>
        </p:nvSpPr>
        <p:spPr bwMode="auto">
          <a:xfrm>
            <a:off x="3513093" y="1787240"/>
            <a:ext cx="533400" cy="247650"/>
          </a:xfrm>
          <a:prstGeom prst="rect">
            <a:avLst/>
          </a:prstGeom>
          <a:noFill/>
          <a:ln w="9525">
            <a:noFill/>
            <a:miter lim="800000"/>
            <a:headEnd/>
            <a:tailEnd/>
          </a:ln>
        </p:spPr>
        <p:txBody>
          <a:bodyPr lIns="92075" tIns="46038" rIns="92075" bIns="46038">
            <a:spAutoFit/>
          </a:bodyPr>
          <a:lstStyle/>
          <a:p>
            <a:pPr algn="ctr"/>
            <a:r>
              <a:rPr lang="en-GB" altLang="ja-JP" sz="500" b="0" dirty="0">
                <a:solidFill>
                  <a:schemeClr val="tx2"/>
                </a:solidFill>
                <a:ea typeface="ＭＳ Ｐゴシック" charset="-128"/>
              </a:rPr>
              <a:t>Control systems </a:t>
            </a:r>
          </a:p>
        </p:txBody>
      </p:sp>
      <p:sp>
        <p:nvSpPr>
          <p:cNvPr id="763000" name="Rectangle 128"/>
          <p:cNvSpPr>
            <a:spLocks noChangeArrowheads="1"/>
          </p:cNvSpPr>
          <p:nvPr>
            <p:custDataLst>
              <p:tags r:id="rId116"/>
            </p:custDataLst>
          </p:nvPr>
        </p:nvSpPr>
        <p:spPr bwMode="auto">
          <a:xfrm>
            <a:off x="5500688" y="1736440"/>
            <a:ext cx="481012" cy="169863"/>
          </a:xfrm>
          <a:prstGeom prst="rect">
            <a:avLst/>
          </a:prstGeom>
          <a:noFill/>
          <a:ln w="9525">
            <a:noFill/>
            <a:miter lim="800000"/>
            <a:headEnd/>
            <a:tailEnd/>
          </a:ln>
        </p:spPr>
        <p:txBody>
          <a:bodyPr lIns="92075" tIns="46038" rIns="92075" bIns="46038">
            <a:spAutoFit/>
          </a:bodyPr>
          <a:lstStyle/>
          <a:p>
            <a:r>
              <a:rPr lang="en-GB" altLang="ja-JP" sz="500" b="0">
                <a:solidFill>
                  <a:schemeClr val="tx2"/>
                </a:solidFill>
                <a:ea typeface="ＭＳ Ｐゴシック" charset="-128"/>
              </a:rPr>
              <a:t>Sealing </a:t>
            </a:r>
          </a:p>
        </p:txBody>
      </p:sp>
      <p:sp>
        <p:nvSpPr>
          <p:cNvPr id="763001" name="Rectangle 129"/>
          <p:cNvSpPr>
            <a:spLocks noChangeArrowheads="1"/>
          </p:cNvSpPr>
          <p:nvPr>
            <p:custDataLst>
              <p:tags r:id="rId117"/>
            </p:custDataLst>
          </p:nvPr>
        </p:nvSpPr>
        <p:spPr bwMode="auto">
          <a:xfrm>
            <a:off x="6157914" y="1374490"/>
            <a:ext cx="447674" cy="169919"/>
          </a:xfrm>
          <a:prstGeom prst="rect">
            <a:avLst/>
          </a:prstGeom>
          <a:noFill/>
          <a:ln w="9525">
            <a:noFill/>
            <a:miter lim="800000"/>
            <a:headEnd/>
            <a:tailEnd/>
          </a:ln>
        </p:spPr>
        <p:txBody>
          <a:bodyPr wrap="square" lIns="92075" tIns="46038" rIns="92075" bIns="46038">
            <a:spAutoFit/>
          </a:bodyPr>
          <a:lstStyle/>
          <a:p>
            <a:r>
              <a:rPr lang="en-GB" altLang="ja-JP" sz="500" b="0" dirty="0">
                <a:solidFill>
                  <a:schemeClr val="tx2"/>
                </a:solidFill>
                <a:ea typeface="ＭＳ Ｐゴシック" charset="-128"/>
              </a:rPr>
              <a:t>Labelling </a:t>
            </a:r>
          </a:p>
        </p:txBody>
      </p:sp>
      <p:sp>
        <p:nvSpPr>
          <p:cNvPr id="763002" name="Rectangle 130"/>
          <p:cNvSpPr>
            <a:spLocks noChangeArrowheads="1"/>
          </p:cNvSpPr>
          <p:nvPr>
            <p:custDataLst>
              <p:tags r:id="rId118"/>
            </p:custDataLst>
          </p:nvPr>
        </p:nvSpPr>
        <p:spPr bwMode="auto">
          <a:xfrm>
            <a:off x="8080375" y="1418940"/>
            <a:ext cx="463550" cy="247650"/>
          </a:xfrm>
          <a:prstGeom prst="rect">
            <a:avLst/>
          </a:prstGeom>
          <a:noFill/>
          <a:ln w="9525">
            <a:noFill/>
            <a:miter lim="800000"/>
            <a:headEnd/>
            <a:tailEnd/>
          </a:ln>
        </p:spPr>
        <p:txBody>
          <a:bodyPr lIns="92075" tIns="46038" rIns="92075" bIns="46038">
            <a:spAutoFit/>
          </a:bodyPr>
          <a:lstStyle/>
          <a:p>
            <a:pPr algn="ctr"/>
            <a:r>
              <a:rPr lang="en-GB" altLang="ja-JP" sz="500" b="0" dirty="0">
                <a:solidFill>
                  <a:schemeClr val="tx2"/>
                </a:solidFill>
                <a:ea typeface="ＭＳ Ｐゴシック" charset="-128"/>
              </a:rPr>
              <a:t>Global </a:t>
            </a:r>
            <a:r>
              <a:rPr lang="en-GB" altLang="ja-JP" sz="500" b="0" dirty="0" smtClean="0">
                <a:solidFill>
                  <a:schemeClr val="tx2"/>
                </a:solidFill>
                <a:ea typeface="ＭＳ Ｐゴシック" charset="-128"/>
              </a:rPr>
              <a:t>standard</a:t>
            </a:r>
            <a:endParaRPr lang="en-GB" altLang="ja-JP" sz="500" b="0" dirty="0">
              <a:solidFill>
                <a:schemeClr val="tx2"/>
              </a:solidFill>
              <a:ea typeface="ＭＳ Ｐゴシック" charset="-128"/>
            </a:endParaRPr>
          </a:p>
        </p:txBody>
      </p:sp>
      <p:sp>
        <p:nvSpPr>
          <p:cNvPr id="763004" name="Rectangle 132"/>
          <p:cNvSpPr>
            <a:spLocks noChangeArrowheads="1"/>
          </p:cNvSpPr>
          <p:nvPr>
            <p:custDataLst>
              <p:tags r:id="rId119"/>
            </p:custDataLst>
          </p:nvPr>
        </p:nvSpPr>
        <p:spPr bwMode="auto">
          <a:xfrm>
            <a:off x="1876425" y="4936840"/>
            <a:ext cx="285750"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3005" name="Rectangle 133"/>
          <p:cNvSpPr>
            <a:spLocks noChangeArrowheads="1"/>
          </p:cNvSpPr>
          <p:nvPr>
            <p:custDataLst>
              <p:tags r:id="rId120"/>
            </p:custDataLst>
          </p:nvPr>
        </p:nvSpPr>
        <p:spPr bwMode="auto">
          <a:xfrm>
            <a:off x="2266950" y="4936840"/>
            <a:ext cx="284163"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3006" name="Rectangle 134"/>
          <p:cNvSpPr>
            <a:spLocks noChangeArrowheads="1"/>
          </p:cNvSpPr>
          <p:nvPr>
            <p:custDataLst>
              <p:tags r:id="rId121"/>
            </p:custDataLst>
          </p:nvPr>
        </p:nvSpPr>
        <p:spPr bwMode="auto">
          <a:xfrm>
            <a:off x="2620963" y="4936840"/>
            <a:ext cx="284162"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131" name="Rectangle 135"/>
          <p:cNvSpPr>
            <a:spLocks noChangeArrowheads="1"/>
          </p:cNvSpPr>
          <p:nvPr>
            <p:custDataLst>
              <p:tags r:id="rId122"/>
            </p:custDataLst>
          </p:nvPr>
        </p:nvSpPr>
        <p:spPr bwMode="auto">
          <a:xfrm>
            <a:off x="3140075" y="4936840"/>
            <a:ext cx="285750" cy="120650"/>
          </a:xfrm>
          <a:prstGeom prst="rect">
            <a:avLst/>
          </a:prstGeom>
          <a:solidFill>
            <a:schemeClr val="accent3"/>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3008" name="Rectangle 136"/>
          <p:cNvSpPr>
            <a:spLocks noChangeArrowheads="1"/>
          </p:cNvSpPr>
          <p:nvPr>
            <p:custDataLst>
              <p:tags r:id="rId123"/>
            </p:custDataLst>
          </p:nvPr>
        </p:nvSpPr>
        <p:spPr bwMode="auto">
          <a:xfrm>
            <a:off x="4443413" y="4936840"/>
            <a:ext cx="287337" cy="120650"/>
          </a:xfrm>
          <a:prstGeom prst="rect">
            <a:avLst/>
          </a:prstGeom>
          <a:solidFill>
            <a:schemeClr val="accent1"/>
          </a:solidFill>
          <a:ln w="12700">
            <a:solidFill>
              <a:schemeClr val="accent1"/>
            </a:solidFill>
            <a:miter lim="800000"/>
            <a:headEnd/>
            <a:tailEnd/>
          </a:ln>
        </p:spPr>
        <p:txBody>
          <a:bodyPr wrap="none" anchor="ctr"/>
          <a:lstStyle/>
          <a:p>
            <a:pPr algn="ctr"/>
            <a:endParaRPr lang="en-GB" b="0">
              <a:solidFill>
                <a:schemeClr val="tx2"/>
              </a:solidFill>
            </a:endParaRPr>
          </a:p>
        </p:txBody>
      </p:sp>
      <p:sp>
        <p:nvSpPr>
          <p:cNvPr id="133" name="Rectangle 137"/>
          <p:cNvSpPr>
            <a:spLocks noChangeArrowheads="1"/>
          </p:cNvSpPr>
          <p:nvPr>
            <p:custDataLst>
              <p:tags r:id="rId124"/>
            </p:custDataLst>
          </p:nvPr>
        </p:nvSpPr>
        <p:spPr bwMode="auto">
          <a:xfrm>
            <a:off x="4810125" y="4936840"/>
            <a:ext cx="285750" cy="120650"/>
          </a:xfrm>
          <a:prstGeom prst="rect">
            <a:avLst/>
          </a:prstGeom>
          <a:solidFill>
            <a:schemeClr val="accent3"/>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3010" name="Rectangle 138"/>
          <p:cNvSpPr>
            <a:spLocks noChangeArrowheads="1"/>
          </p:cNvSpPr>
          <p:nvPr>
            <p:custDataLst>
              <p:tags r:id="rId125"/>
            </p:custDataLst>
          </p:nvPr>
        </p:nvSpPr>
        <p:spPr bwMode="auto">
          <a:xfrm>
            <a:off x="5856288" y="4936840"/>
            <a:ext cx="285750"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3011" name="Rectangle 139"/>
          <p:cNvSpPr>
            <a:spLocks noChangeArrowheads="1"/>
          </p:cNvSpPr>
          <p:nvPr>
            <p:custDataLst>
              <p:tags r:id="rId126"/>
            </p:custDataLst>
          </p:nvPr>
        </p:nvSpPr>
        <p:spPr bwMode="auto">
          <a:xfrm>
            <a:off x="6224588" y="4936840"/>
            <a:ext cx="284162"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3012" name="Rectangle 140"/>
          <p:cNvSpPr>
            <a:spLocks noChangeArrowheads="1"/>
          </p:cNvSpPr>
          <p:nvPr>
            <p:custDataLst>
              <p:tags r:id="rId127"/>
            </p:custDataLst>
          </p:nvPr>
        </p:nvSpPr>
        <p:spPr bwMode="auto">
          <a:xfrm>
            <a:off x="6588125" y="4936840"/>
            <a:ext cx="285750"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3013" name="Rectangle 141"/>
          <p:cNvSpPr>
            <a:spLocks noChangeArrowheads="1"/>
          </p:cNvSpPr>
          <p:nvPr>
            <p:custDataLst>
              <p:tags r:id="rId128"/>
            </p:custDataLst>
          </p:nvPr>
        </p:nvSpPr>
        <p:spPr bwMode="auto">
          <a:xfrm>
            <a:off x="1373188" y="5063840"/>
            <a:ext cx="533400"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Dairy</a:t>
            </a:r>
          </a:p>
        </p:txBody>
      </p:sp>
      <p:sp>
        <p:nvSpPr>
          <p:cNvPr id="763014" name="Rectangle 142"/>
          <p:cNvSpPr>
            <a:spLocks noChangeArrowheads="1"/>
          </p:cNvSpPr>
          <p:nvPr>
            <p:custDataLst>
              <p:tags r:id="rId129"/>
            </p:custDataLst>
          </p:nvPr>
        </p:nvSpPr>
        <p:spPr bwMode="auto">
          <a:xfrm>
            <a:off x="1738313" y="5063840"/>
            <a:ext cx="531812"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Brewing</a:t>
            </a:r>
          </a:p>
        </p:txBody>
      </p:sp>
      <p:sp>
        <p:nvSpPr>
          <p:cNvPr id="763015" name="Rectangle 143"/>
          <p:cNvSpPr>
            <a:spLocks noChangeArrowheads="1"/>
          </p:cNvSpPr>
          <p:nvPr>
            <p:custDataLst>
              <p:tags r:id="rId130"/>
            </p:custDataLst>
          </p:nvPr>
        </p:nvSpPr>
        <p:spPr bwMode="auto">
          <a:xfrm>
            <a:off x="2154238" y="5063840"/>
            <a:ext cx="531812"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Soft drinks</a:t>
            </a:r>
          </a:p>
        </p:txBody>
      </p:sp>
      <p:sp>
        <p:nvSpPr>
          <p:cNvPr id="763016" name="Rectangle 144"/>
          <p:cNvSpPr>
            <a:spLocks noChangeArrowheads="1"/>
          </p:cNvSpPr>
          <p:nvPr>
            <p:custDataLst>
              <p:tags r:id="rId131"/>
            </p:custDataLst>
          </p:nvPr>
        </p:nvSpPr>
        <p:spPr bwMode="auto">
          <a:xfrm>
            <a:off x="2497138" y="5063840"/>
            <a:ext cx="531812"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Juices </a:t>
            </a:r>
          </a:p>
        </p:txBody>
      </p:sp>
      <p:sp>
        <p:nvSpPr>
          <p:cNvPr id="763017" name="Rectangle 145"/>
          <p:cNvSpPr>
            <a:spLocks noChangeArrowheads="1"/>
          </p:cNvSpPr>
          <p:nvPr>
            <p:custDataLst>
              <p:tags r:id="rId132"/>
            </p:custDataLst>
          </p:nvPr>
        </p:nvSpPr>
        <p:spPr bwMode="auto">
          <a:xfrm>
            <a:off x="3021013" y="5063840"/>
            <a:ext cx="531812"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Cheese </a:t>
            </a:r>
          </a:p>
        </p:txBody>
      </p:sp>
      <p:sp>
        <p:nvSpPr>
          <p:cNvPr id="763018" name="Rectangle 146"/>
          <p:cNvSpPr>
            <a:spLocks noChangeArrowheads="1"/>
          </p:cNvSpPr>
          <p:nvPr>
            <p:custDataLst>
              <p:tags r:id="rId133"/>
            </p:custDataLst>
          </p:nvPr>
        </p:nvSpPr>
        <p:spPr bwMode="auto">
          <a:xfrm>
            <a:off x="3417888" y="5063840"/>
            <a:ext cx="531812"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Ice Cream </a:t>
            </a:r>
          </a:p>
        </p:txBody>
      </p:sp>
      <p:sp>
        <p:nvSpPr>
          <p:cNvPr id="763019" name="Rectangle 147"/>
          <p:cNvSpPr>
            <a:spLocks noChangeArrowheads="1"/>
          </p:cNvSpPr>
          <p:nvPr>
            <p:custDataLst>
              <p:tags r:id="rId134"/>
            </p:custDataLst>
          </p:nvPr>
        </p:nvSpPr>
        <p:spPr bwMode="auto">
          <a:xfrm>
            <a:off x="4322763" y="5063840"/>
            <a:ext cx="533400"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Baked</a:t>
            </a:r>
          </a:p>
        </p:txBody>
      </p:sp>
      <p:sp>
        <p:nvSpPr>
          <p:cNvPr id="763020" name="Rectangle 148"/>
          <p:cNvSpPr>
            <a:spLocks noChangeArrowheads="1"/>
          </p:cNvSpPr>
          <p:nvPr>
            <p:custDataLst>
              <p:tags r:id="rId135"/>
            </p:custDataLst>
          </p:nvPr>
        </p:nvSpPr>
        <p:spPr bwMode="auto">
          <a:xfrm>
            <a:off x="4659313" y="5051140"/>
            <a:ext cx="619125" cy="247650"/>
          </a:xfrm>
          <a:prstGeom prst="rect">
            <a:avLst/>
          </a:prstGeom>
          <a:noFill/>
          <a:ln w="9525">
            <a:noFill/>
            <a:miter lim="800000"/>
            <a:headEnd/>
            <a:tailEnd/>
          </a:ln>
        </p:spPr>
        <p:txBody>
          <a:bodyPr lIns="92075" tIns="46038" rIns="92075" bIns="46038">
            <a:spAutoFit/>
          </a:bodyPr>
          <a:lstStyle/>
          <a:p>
            <a:pPr algn="ctr"/>
            <a:r>
              <a:rPr lang="en-GB" altLang="ja-JP" sz="500" b="0" dirty="0">
                <a:solidFill>
                  <a:schemeClr val="tx2"/>
                </a:solidFill>
                <a:ea typeface="ＭＳ Ｐゴシック" charset="-128"/>
              </a:rPr>
              <a:t>Snacks/ </a:t>
            </a:r>
            <a:r>
              <a:rPr lang="en-GB" altLang="ja-JP" sz="500" b="0" dirty="0" smtClean="0">
                <a:solidFill>
                  <a:schemeClr val="tx2"/>
                </a:solidFill>
                <a:ea typeface="ＭＳ Ｐゴシック" charset="-128"/>
              </a:rPr>
              <a:t>confectionery</a:t>
            </a:r>
            <a:endParaRPr lang="en-GB" altLang="ja-JP" sz="500" b="0" dirty="0">
              <a:solidFill>
                <a:schemeClr val="tx2"/>
              </a:solidFill>
              <a:ea typeface="ＭＳ Ｐゴシック" charset="-128"/>
            </a:endParaRPr>
          </a:p>
        </p:txBody>
      </p:sp>
      <p:sp>
        <p:nvSpPr>
          <p:cNvPr id="145" name="Rectangle 149"/>
          <p:cNvSpPr>
            <a:spLocks noChangeArrowheads="1"/>
          </p:cNvSpPr>
          <p:nvPr>
            <p:custDataLst>
              <p:tags r:id="rId136"/>
            </p:custDataLst>
          </p:nvPr>
        </p:nvSpPr>
        <p:spPr bwMode="auto">
          <a:xfrm>
            <a:off x="5186363" y="4936840"/>
            <a:ext cx="287337" cy="120650"/>
          </a:xfrm>
          <a:prstGeom prst="rect">
            <a:avLst/>
          </a:prstGeom>
          <a:solidFill>
            <a:schemeClr val="accent3"/>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3022" name="Rectangle 150"/>
          <p:cNvSpPr>
            <a:spLocks noChangeArrowheads="1"/>
          </p:cNvSpPr>
          <p:nvPr>
            <p:custDataLst>
              <p:tags r:id="rId137"/>
            </p:custDataLst>
          </p:nvPr>
        </p:nvSpPr>
        <p:spPr bwMode="auto">
          <a:xfrm>
            <a:off x="5065713" y="5063840"/>
            <a:ext cx="533400"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Cereals</a:t>
            </a:r>
          </a:p>
        </p:txBody>
      </p:sp>
      <p:sp>
        <p:nvSpPr>
          <p:cNvPr id="763023" name="Rectangle 151"/>
          <p:cNvSpPr>
            <a:spLocks noChangeArrowheads="1"/>
          </p:cNvSpPr>
          <p:nvPr>
            <p:custDataLst>
              <p:tags r:id="rId138"/>
            </p:custDataLst>
          </p:nvPr>
        </p:nvSpPr>
        <p:spPr bwMode="auto">
          <a:xfrm>
            <a:off x="3922713" y="4930490"/>
            <a:ext cx="301625" cy="12700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3024" name="Rectangle 152"/>
          <p:cNvSpPr>
            <a:spLocks noChangeArrowheads="1"/>
          </p:cNvSpPr>
          <p:nvPr>
            <p:custDataLst>
              <p:tags r:id="rId139"/>
            </p:custDataLst>
          </p:nvPr>
        </p:nvSpPr>
        <p:spPr bwMode="auto">
          <a:xfrm>
            <a:off x="3738556" y="5063840"/>
            <a:ext cx="668337" cy="169863"/>
          </a:xfrm>
          <a:prstGeom prst="rect">
            <a:avLst/>
          </a:prstGeom>
          <a:noFill/>
          <a:ln w="9525">
            <a:noFill/>
            <a:miter lim="800000"/>
            <a:headEnd/>
            <a:tailEnd/>
          </a:ln>
        </p:spPr>
        <p:txBody>
          <a:bodyPr lIns="92075" tIns="46038" rIns="92075" bIns="46038">
            <a:spAutoFit/>
          </a:bodyPr>
          <a:lstStyle/>
          <a:p>
            <a:pPr algn="ctr"/>
            <a:r>
              <a:rPr lang="en-GB" altLang="ja-JP" sz="500" b="0" dirty="0">
                <a:solidFill>
                  <a:schemeClr val="tx2"/>
                </a:solidFill>
                <a:ea typeface="ＭＳ Ｐゴシック" charset="-128"/>
              </a:rPr>
              <a:t>Soups/sauces </a:t>
            </a:r>
          </a:p>
        </p:txBody>
      </p:sp>
      <p:sp>
        <p:nvSpPr>
          <p:cNvPr id="149" name="Line 153"/>
          <p:cNvSpPr>
            <a:spLocks noChangeShapeType="1"/>
          </p:cNvSpPr>
          <p:nvPr>
            <p:custDataLst>
              <p:tags r:id="rId140"/>
            </p:custDataLst>
          </p:nvPr>
        </p:nvSpPr>
        <p:spPr bwMode="auto">
          <a:xfrm>
            <a:off x="5749925" y="4835240"/>
            <a:ext cx="1295400" cy="0"/>
          </a:xfrm>
          <a:prstGeom prst="line">
            <a:avLst/>
          </a:prstGeom>
          <a:noFill/>
          <a:ln w="12700">
            <a:solidFill>
              <a:schemeClr val="accent1"/>
            </a:solidFill>
            <a:round/>
            <a:headEnd type="none" w="sm" len="sm"/>
            <a:tailEnd type="none" w="sm" len="sm"/>
          </a:ln>
        </p:spPr>
        <p:txBody>
          <a:bodyPr wrap="none" anchor="ctr"/>
          <a:lstStyle/>
          <a:p>
            <a:pPr>
              <a:defRPr/>
            </a:pPr>
            <a:endParaRPr lang="en-GB" b="0">
              <a:solidFill>
                <a:schemeClr val="tx2"/>
              </a:solidFill>
            </a:endParaRPr>
          </a:p>
        </p:txBody>
      </p:sp>
      <p:sp>
        <p:nvSpPr>
          <p:cNvPr id="763026" name="Rectangle 154"/>
          <p:cNvSpPr>
            <a:spLocks noChangeArrowheads="1"/>
          </p:cNvSpPr>
          <p:nvPr>
            <p:custDataLst>
              <p:tags r:id="rId141"/>
            </p:custDataLst>
          </p:nvPr>
        </p:nvSpPr>
        <p:spPr bwMode="auto">
          <a:xfrm>
            <a:off x="5715000" y="5063840"/>
            <a:ext cx="533400" cy="169863"/>
          </a:xfrm>
          <a:prstGeom prst="rect">
            <a:avLst/>
          </a:prstGeom>
          <a:noFill/>
          <a:ln w="9525">
            <a:noFill/>
            <a:miter lim="800000"/>
            <a:headEnd/>
            <a:tailEnd/>
          </a:ln>
        </p:spPr>
        <p:txBody>
          <a:bodyPr lIns="92075" tIns="46038" rIns="92075" bIns="46038">
            <a:spAutoFit/>
          </a:bodyPr>
          <a:lstStyle/>
          <a:p>
            <a:pPr algn="ctr"/>
            <a:r>
              <a:rPr lang="en-GB" altLang="ja-JP" sz="500" b="0" dirty="0">
                <a:solidFill>
                  <a:schemeClr val="tx2"/>
                </a:solidFill>
                <a:ea typeface="ＭＳ Ｐゴシック" charset="-128"/>
              </a:rPr>
              <a:t>Baby </a:t>
            </a:r>
            <a:r>
              <a:rPr lang="en-GB" altLang="ja-JP" sz="500" b="0" dirty="0" smtClean="0">
                <a:solidFill>
                  <a:schemeClr val="tx2"/>
                </a:solidFill>
                <a:ea typeface="ＭＳ Ｐゴシック" charset="-128"/>
              </a:rPr>
              <a:t>food</a:t>
            </a:r>
            <a:endParaRPr lang="en-GB" altLang="ja-JP" sz="500" b="0" dirty="0">
              <a:solidFill>
                <a:schemeClr val="tx2"/>
              </a:solidFill>
              <a:ea typeface="ＭＳ Ｐゴシック" charset="-128"/>
            </a:endParaRPr>
          </a:p>
        </p:txBody>
      </p:sp>
      <p:sp>
        <p:nvSpPr>
          <p:cNvPr id="763027" name="Rectangle 155"/>
          <p:cNvSpPr>
            <a:spLocks noChangeArrowheads="1"/>
          </p:cNvSpPr>
          <p:nvPr>
            <p:custDataLst>
              <p:tags r:id="rId142"/>
            </p:custDataLst>
          </p:nvPr>
        </p:nvSpPr>
        <p:spPr bwMode="auto">
          <a:xfrm>
            <a:off x="6105525" y="5063840"/>
            <a:ext cx="533400" cy="247650"/>
          </a:xfrm>
          <a:prstGeom prst="rect">
            <a:avLst/>
          </a:prstGeom>
          <a:noFill/>
          <a:ln w="9525">
            <a:noFill/>
            <a:miter lim="800000"/>
            <a:headEnd/>
            <a:tailEnd/>
          </a:ln>
        </p:spPr>
        <p:txBody>
          <a:bodyPr lIns="92075" tIns="46038" rIns="92075" bIns="46038">
            <a:spAutoFit/>
          </a:bodyPr>
          <a:lstStyle/>
          <a:p>
            <a:pPr algn="ctr"/>
            <a:r>
              <a:rPr lang="en-GB" altLang="ja-JP" sz="500" b="0" dirty="0">
                <a:solidFill>
                  <a:schemeClr val="tx2"/>
                </a:solidFill>
                <a:ea typeface="ＭＳ Ｐゴシック" charset="-128"/>
              </a:rPr>
              <a:t>Oil/fats</a:t>
            </a:r>
            <a:r>
              <a:rPr lang="en-GB" altLang="ja-JP" sz="500" b="0" dirty="0" smtClean="0">
                <a:solidFill>
                  <a:schemeClr val="tx2"/>
                </a:solidFill>
                <a:ea typeface="ＭＳ Ｐゴシック" charset="-128"/>
              </a:rPr>
              <a:t>/</a:t>
            </a:r>
            <a:br>
              <a:rPr lang="en-GB" altLang="ja-JP" sz="500" b="0" dirty="0" smtClean="0">
                <a:solidFill>
                  <a:schemeClr val="tx2"/>
                </a:solidFill>
                <a:ea typeface="ＭＳ Ｐゴシック" charset="-128"/>
              </a:rPr>
            </a:br>
            <a:r>
              <a:rPr lang="en-GB" altLang="ja-JP" sz="500" b="0" dirty="0" smtClean="0">
                <a:solidFill>
                  <a:schemeClr val="tx2"/>
                </a:solidFill>
                <a:ea typeface="ＭＳ Ｐゴシック" charset="-128"/>
              </a:rPr>
              <a:t>margarines</a:t>
            </a:r>
            <a:endParaRPr lang="en-GB" altLang="ja-JP" sz="500" b="0" dirty="0">
              <a:solidFill>
                <a:schemeClr val="tx2"/>
              </a:solidFill>
              <a:ea typeface="ＭＳ Ｐゴシック" charset="-128"/>
            </a:endParaRPr>
          </a:p>
        </p:txBody>
      </p:sp>
      <p:sp>
        <p:nvSpPr>
          <p:cNvPr id="763028" name="Rectangle 156"/>
          <p:cNvSpPr>
            <a:spLocks noChangeArrowheads="1"/>
          </p:cNvSpPr>
          <p:nvPr>
            <p:custDataLst>
              <p:tags r:id="rId143"/>
            </p:custDataLst>
          </p:nvPr>
        </p:nvSpPr>
        <p:spPr bwMode="auto">
          <a:xfrm>
            <a:off x="1349375" y="3827178"/>
            <a:ext cx="596900" cy="247650"/>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Project management</a:t>
            </a:r>
          </a:p>
        </p:txBody>
      </p:sp>
      <p:sp>
        <p:nvSpPr>
          <p:cNvPr id="763029" name="Rectangle 158"/>
          <p:cNvSpPr>
            <a:spLocks noChangeArrowheads="1"/>
          </p:cNvSpPr>
          <p:nvPr>
            <p:custDataLst>
              <p:tags r:id="rId144"/>
            </p:custDataLst>
          </p:nvPr>
        </p:nvSpPr>
        <p:spPr bwMode="auto">
          <a:xfrm>
            <a:off x="5124450" y="1755490"/>
            <a:ext cx="484188" cy="247650"/>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Filling lines</a:t>
            </a:r>
          </a:p>
        </p:txBody>
      </p:sp>
      <p:sp>
        <p:nvSpPr>
          <p:cNvPr id="155" name="Rectangle 159"/>
          <p:cNvSpPr>
            <a:spLocks noChangeArrowheads="1"/>
          </p:cNvSpPr>
          <p:nvPr>
            <p:custDataLst>
              <p:tags r:id="rId145"/>
            </p:custDataLst>
          </p:nvPr>
        </p:nvSpPr>
        <p:spPr bwMode="auto">
          <a:xfrm>
            <a:off x="5216525" y="2187290"/>
            <a:ext cx="266700" cy="117475"/>
          </a:xfrm>
          <a:prstGeom prst="rect">
            <a:avLst/>
          </a:prstGeom>
          <a:no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156" name="Rectangle 160"/>
          <p:cNvSpPr>
            <a:spLocks noChangeArrowheads="1"/>
          </p:cNvSpPr>
          <p:nvPr>
            <p:custDataLst>
              <p:tags r:id="rId146"/>
            </p:custDataLst>
          </p:nvPr>
        </p:nvSpPr>
        <p:spPr bwMode="auto">
          <a:xfrm>
            <a:off x="5573713" y="2180940"/>
            <a:ext cx="268287" cy="117475"/>
          </a:xfrm>
          <a:prstGeom prst="rect">
            <a:avLst/>
          </a:prstGeom>
          <a:no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3032" name="Rectangle 161"/>
          <p:cNvSpPr>
            <a:spLocks noChangeArrowheads="1"/>
          </p:cNvSpPr>
          <p:nvPr>
            <p:custDataLst>
              <p:tags r:id="rId147"/>
            </p:custDataLst>
          </p:nvPr>
        </p:nvSpPr>
        <p:spPr bwMode="auto">
          <a:xfrm>
            <a:off x="5929313" y="2174590"/>
            <a:ext cx="266700" cy="117475"/>
          </a:xfrm>
          <a:prstGeom prst="rect">
            <a:avLst/>
          </a:prstGeom>
          <a:solidFill>
            <a:schemeClr val="accent2"/>
          </a:solidFill>
          <a:ln w="12700">
            <a:solidFill>
              <a:schemeClr val="bg1"/>
            </a:solidFill>
            <a:miter lim="800000"/>
            <a:headEnd/>
            <a:tailEnd/>
          </a:ln>
        </p:spPr>
        <p:txBody>
          <a:bodyPr wrap="none" anchor="ctr"/>
          <a:lstStyle/>
          <a:p>
            <a:pPr algn="ctr"/>
            <a:endParaRPr lang="en-GB" b="0">
              <a:solidFill>
                <a:schemeClr val="tx2"/>
              </a:solidFill>
            </a:endParaRPr>
          </a:p>
        </p:txBody>
      </p:sp>
      <p:sp>
        <p:nvSpPr>
          <p:cNvPr id="763033" name="Rectangle 162"/>
          <p:cNvSpPr>
            <a:spLocks noChangeArrowheads="1"/>
          </p:cNvSpPr>
          <p:nvPr>
            <p:custDataLst>
              <p:tags r:id="rId148"/>
            </p:custDataLst>
          </p:nvPr>
        </p:nvSpPr>
        <p:spPr bwMode="auto">
          <a:xfrm>
            <a:off x="5127625" y="2309528"/>
            <a:ext cx="490538" cy="163512"/>
          </a:xfrm>
          <a:prstGeom prst="rect">
            <a:avLst/>
          </a:prstGeom>
          <a:noFill/>
          <a:ln w="9525">
            <a:noFill/>
            <a:miter lim="800000"/>
            <a:headEnd/>
            <a:tailEnd/>
          </a:ln>
        </p:spPr>
        <p:txBody>
          <a:bodyPr wrap="none" anchor="ctr"/>
          <a:lstStyle/>
          <a:p>
            <a:pPr algn="ctr"/>
            <a:endParaRPr lang="en-GB" b="0">
              <a:solidFill>
                <a:schemeClr val="tx2"/>
              </a:solidFill>
            </a:endParaRPr>
          </a:p>
        </p:txBody>
      </p:sp>
      <p:sp>
        <p:nvSpPr>
          <p:cNvPr id="763034" name="Rectangle 163"/>
          <p:cNvSpPr>
            <a:spLocks noChangeArrowheads="1"/>
          </p:cNvSpPr>
          <p:nvPr>
            <p:custDataLst>
              <p:tags r:id="rId149"/>
            </p:custDataLst>
          </p:nvPr>
        </p:nvSpPr>
        <p:spPr bwMode="auto">
          <a:xfrm>
            <a:off x="5538788" y="2288890"/>
            <a:ext cx="427037" cy="169863"/>
          </a:xfrm>
          <a:prstGeom prst="rect">
            <a:avLst/>
          </a:prstGeom>
          <a:noFill/>
          <a:ln w="9525">
            <a:noFill/>
            <a:miter lim="800000"/>
            <a:headEnd/>
            <a:tailEnd/>
          </a:ln>
        </p:spPr>
        <p:txBody>
          <a:bodyPr lIns="92075" tIns="46038" rIns="92075" bIns="46038">
            <a:spAutoFit/>
          </a:bodyPr>
          <a:lstStyle/>
          <a:p>
            <a:r>
              <a:rPr lang="en-GB" altLang="ja-JP" sz="500" b="0">
                <a:solidFill>
                  <a:schemeClr val="tx2"/>
                </a:solidFill>
                <a:ea typeface="ＭＳ Ｐゴシック" charset="-128"/>
              </a:rPr>
              <a:t>Canning </a:t>
            </a:r>
          </a:p>
        </p:txBody>
      </p:sp>
      <p:sp>
        <p:nvSpPr>
          <p:cNvPr id="763035" name="Rectangle 164"/>
          <p:cNvSpPr>
            <a:spLocks noChangeArrowheads="1"/>
          </p:cNvSpPr>
          <p:nvPr>
            <p:custDataLst>
              <p:tags r:id="rId150"/>
            </p:custDataLst>
          </p:nvPr>
        </p:nvSpPr>
        <p:spPr bwMode="auto">
          <a:xfrm>
            <a:off x="5881688" y="2288890"/>
            <a:ext cx="401637" cy="169863"/>
          </a:xfrm>
          <a:prstGeom prst="rect">
            <a:avLst/>
          </a:prstGeom>
          <a:noFill/>
          <a:ln w="9525">
            <a:noFill/>
            <a:miter lim="800000"/>
            <a:headEnd/>
            <a:tailEnd/>
          </a:ln>
        </p:spPr>
        <p:txBody>
          <a:bodyPr lIns="92075" tIns="46038" rIns="92075" bIns="46038">
            <a:spAutoFit/>
          </a:bodyPr>
          <a:lstStyle/>
          <a:p>
            <a:r>
              <a:rPr lang="en-GB" altLang="ja-JP" sz="500" b="0">
                <a:solidFill>
                  <a:schemeClr val="tx2"/>
                </a:solidFill>
                <a:ea typeface="ＭＳ Ｐゴシック" charset="-128"/>
              </a:rPr>
              <a:t>Bottling </a:t>
            </a:r>
          </a:p>
        </p:txBody>
      </p:sp>
      <p:sp>
        <p:nvSpPr>
          <p:cNvPr id="763036" name="Rectangle 165"/>
          <p:cNvSpPr>
            <a:spLocks noChangeArrowheads="1"/>
          </p:cNvSpPr>
          <p:nvPr>
            <p:custDataLst>
              <p:tags r:id="rId151"/>
            </p:custDataLst>
          </p:nvPr>
        </p:nvSpPr>
        <p:spPr bwMode="auto">
          <a:xfrm>
            <a:off x="1446213" y="2312703"/>
            <a:ext cx="403225" cy="169862"/>
          </a:xfrm>
          <a:prstGeom prst="rect">
            <a:avLst/>
          </a:prstGeom>
          <a:noFill/>
          <a:ln w="9525">
            <a:noFill/>
            <a:miter lim="800000"/>
            <a:headEnd/>
            <a:tailEnd/>
          </a:ln>
        </p:spPr>
        <p:txBody>
          <a:bodyPr lIns="92075" tIns="46038" rIns="92075" bIns="46038">
            <a:spAutoFit/>
          </a:bodyPr>
          <a:lstStyle/>
          <a:p>
            <a:r>
              <a:rPr lang="en-GB" altLang="ja-JP" sz="500" b="0">
                <a:solidFill>
                  <a:schemeClr val="tx2"/>
                </a:solidFill>
                <a:ea typeface="ＭＳ Ｐゴシック" charset="-128"/>
              </a:rPr>
              <a:t>Pumps </a:t>
            </a:r>
          </a:p>
        </p:txBody>
      </p:sp>
      <p:sp>
        <p:nvSpPr>
          <p:cNvPr id="763037" name="Rectangle 166"/>
          <p:cNvSpPr>
            <a:spLocks noChangeArrowheads="1"/>
          </p:cNvSpPr>
          <p:nvPr>
            <p:custDataLst>
              <p:tags r:id="rId152"/>
            </p:custDataLst>
          </p:nvPr>
        </p:nvSpPr>
        <p:spPr bwMode="auto">
          <a:xfrm>
            <a:off x="1817688" y="2312703"/>
            <a:ext cx="403225" cy="169862"/>
          </a:xfrm>
          <a:prstGeom prst="rect">
            <a:avLst/>
          </a:prstGeom>
          <a:noFill/>
          <a:ln w="9525">
            <a:noFill/>
            <a:miter lim="800000"/>
            <a:headEnd/>
            <a:tailEnd/>
          </a:ln>
        </p:spPr>
        <p:txBody>
          <a:bodyPr lIns="92075" tIns="46038" rIns="92075" bIns="46038">
            <a:spAutoFit/>
          </a:bodyPr>
          <a:lstStyle/>
          <a:p>
            <a:r>
              <a:rPr lang="en-GB" altLang="ja-JP" sz="500" b="0">
                <a:solidFill>
                  <a:schemeClr val="tx2"/>
                </a:solidFill>
                <a:ea typeface="ＭＳ Ｐゴシック" charset="-128"/>
              </a:rPr>
              <a:t>Valves </a:t>
            </a:r>
          </a:p>
        </p:txBody>
      </p:sp>
      <p:sp>
        <p:nvSpPr>
          <p:cNvPr id="763038" name="Rectangle 167"/>
          <p:cNvSpPr>
            <a:spLocks noChangeArrowheads="1"/>
          </p:cNvSpPr>
          <p:nvPr>
            <p:custDataLst>
              <p:tags r:id="rId153"/>
            </p:custDataLst>
          </p:nvPr>
        </p:nvSpPr>
        <p:spPr bwMode="auto">
          <a:xfrm>
            <a:off x="4497388" y="2325403"/>
            <a:ext cx="644525" cy="169862"/>
          </a:xfrm>
          <a:prstGeom prst="rect">
            <a:avLst/>
          </a:prstGeom>
          <a:noFill/>
          <a:ln w="9525">
            <a:noFill/>
            <a:miter lim="800000"/>
            <a:headEnd/>
            <a:tailEnd/>
          </a:ln>
        </p:spPr>
        <p:txBody>
          <a:bodyPr lIns="92075" tIns="46038" rIns="92075" bIns="46038">
            <a:spAutoFit/>
          </a:bodyPr>
          <a:lstStyle/>
          <a:p>
            <a:r>
              <a:rPr lang="en-GB" altLang="ja-JP" sz="500" b="0">
                <a:solidFill>
                  <a:schemeClr val="tx2"/>
                </a:solidFill>
                <a:ea typeface="ＭＳ Ｐゴシック" charset="-128"/>
              </a:rPr>
              <a:t>Homogenisers </a:t>
            </a:r>
          </a:p>
        </p:txBody>
      </p:sp>
      <p:sp>
        <p:nvSpPr>
          <p:cNvPr id="763039" name="Rectangle 168"/>
          <p:cNvSpPr>
            <a:spLocks noChangeArrowheads="1"/>
          </p:cNvSpPr>
          <p:nvPr>
            <p:custDataLst>
              <p:tags r:id="rId154"/>
            </p:custDataLst>
          </p:nvPr>
        </p:nvSpPr>
        <p:spPr bwMode="auto">
          <a:xfrm>
            <a:off x="2487613" y="2312703"/>
            <a:ext cx="550862" cy="262252"/>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Tubular heat</a:t>
            </a:r>
          </a:p>
          <a:p>
            <a:pPr algn="ctr"/>
            <a:r>
              <a:rPr lang="en-GB" altLang="ja-JP" sz="500" b="0">
                <a:solidFill>
                  <a:schemeClr val="tx2"/>
                </a:solidFill>
                <a:ea typeface="ＭＳ Ｐゴシック" charset="-128"/>
              </a:rPr>
              <a:t>exchangers </a:t>
            </a:r>
          </a:p>
        </p:txBody>
      </p:sp>
      <p:sp>
        <p:nvSpPr>
          <p:cNvPr id="165" name="Rectangle 169"/>
          <p:cNvSpPr>
            <a:spLocks noChangeArrowheads="1"/>
          </p:cNvSpPr>
          <p:nvPr>
            <p:custDataLst>
              <p:tags r:id="rId155"/>
            </p:custDataLst>
          </p:nvPr>
        </p:nvSpPr>
        <p:spPr bwMode="auto">
          <a:xfrm>
            <a:off x="1511300" y="2193640"/>
            <a:ext cx="274638" cy="120650"/>
          </a:xfrm>
          <a:prstGeom prst="rect">
            <a:avLst/>
          </a:prstGeom>
          <a:solidFill>
            <a:srgbClr val="FFFFFF"/>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166" name="Rectangle 170"/>
          <p:cNvSpPr>
            <a:spLocks noChangeArrowheads="1"/>
          </p:cNvSpPr>
          <p:nvPr>
            <p:custDataLst>
              <p:tags r:id="rId156"/>
            </p:custDataLst>
          </p:nvPr>
        </p:nvSpPr>
        <p:spPr bwMode="auto">
          <a:xfrm>
            <a:off x="1881188" y="2193640"/>
            <a:ext cx="276225" cy="120650"/>
          </a:xfrm>
          <a:prstGeom prst="rect">
            <a:avLst/>
          </a:prstGeom>
          <a:solidFill>
            <a:srgbClr val="FFFFFF"/>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167" name="Rectangle 171"/>
          <p:cNvSpPr>
            <a:spLocks noChangeArrowheads="1"/>
          </p:cNvSpPr>
          <p:nvPr>
            <p:custDataLst>
              <p:tags r:id="rId157"/>
            </p:custDataLst>
          </p:nvPr>
        </p:nvSpPr>
        <p:spPr bwMode="auto">
          <a:xfrm>
            <a:off x="2270125" y="2193640"/>
            <a:ext cx="277813" cy="120650"/>
          </a:xfrm>
          <a:prstGeom prst="rect">
            <a:avLst/>
          </a:prstGeom>
          <a:solidFill>
            <a:srgbClr val="FFFFFF"/>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3043" name="Rectangle 173"/>
          <p:cNvSpPr>
            <a:spLocks noChangeArrowheads="1"/>
          </p:cNvSpPr>
          <p:nvPr>
            <p:custDataLst>
              <p:tags r:id="rId158"/>
            </p:custDataLst>
          </p:nvPr>
        </p:nvSpPr>
        <p:spPr bwMode="auto">
          <a:xfrm>
            <a:off x="2976563" y="2193640"/>
            <a:ext cx="277812"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3044" name="Rectangle 175"/>
          <p:cNvSpPr>
            <a:spLocks noChangeArrowheads="1"/>
          </p:cNvSpPr>
          <p:nvPr>
            <p:custDataLst>
              <p:tags r:id="rId159"/>
            </p:custDataLst>
          </p:nvPr>
        </p:nvSpPr>
        <p:spPr bwMode="auto">
          <a:xfrm>
            <a:off x="4310063" y="2193640"/>
            <a:ext cx="274637"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3045" name="Rectangle 176"/>
          <p:cNvSpPr>
            <a:spLocks noChangeArrowheads="1"/>
          </p:cNvSpPr>
          <p:nvPr>
            <p:custDataLst>
              <p:tags r:id="rId160"/>
            </p:custDataLst>
          </p:nvPr>
        </p:nvSpPr>
        <p:spPr bwMode="auto">
          <a:xfrm>
            <a:off x="4679950" y="2193640"/>
            <a:ext cx="277813"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3046" name="Rectangle 177"/>
          <p:cNvSpPr>
            <a:spLocks noChangeArrowheads="1"/>
          </p:cNvSpPr>
          <p:nvPr>
            <p:custDataLst>
              <p:tags r:id="rId161"/>
            </p:custDataLst>
          </p:nvPr>
        </p:nvSpPr>
        <p:spPr bwMode="auto">
          <a:xfrm>
            <a:off x="3813169" y="2319053"/>
            <a:ext cx="587375" cy="169919"/>
          </a:xfrm>
          <a:prstGeom prst="rect">
            <a:avLst/>
          </a:prstGeom>
          <a:noFill/>
          <a:ln w="9525">
            <a:noFill/>
            <a:miter lim="800000"/>
            <a:headEnd/>
            <a:tailEnd/>
          </a:ln>
        </p:spPr>
        <p:txBody>
          <a:bodyPr wrap="square" lIns="92075" tIns="46038" rIns="92075" bIns="46038">
            <a:spAutoFit/>
          </a:bodyPr>
          <a:lstStyle/>
          <a:p>
            <a:r>
              <a:rPr lang="en-GB" altLang="ja-JP" sz="500" b="0" dirty="0">
                <a:solidFill>
                  <a:schemeClr val="tx2"/>
                </a:solidFill>
                <a:ea typeface="ＭＳ Ｐゴシック" charset="-128"/>
              </a:rPr>
              <a:t>Evaporators </a:t>
            </a:r>
          </a:p>
        </p:txBody>
      </p:sp>
      <p:sp>
        <p:nvSpPr>
          <p:cNvPr id="763047" name="Rectangle 178"/>
          <p:cNvSpPr>
            <a:spLocks noChangeArrowheads="1"/>
          </p:cNvSpPr>
          <p:nvPr>
            <p:custDataLst>
              <p:tags r:id="rId162"/>
            </p:custDataLst>
          </p:nvPr>
        </p:nvSpPr>
        <p:spPr bwMode="auto">
          <a:xfrm>
            <a:off x="4246563" y="2325403"/>
            <a:ext cx="401637" cy="169862"/>
          </a:xfrm>
          <a:prstGeom prst="rect">
            <a:avLst/>
          </a:prstGeom>
          <a:noFill/>
          <a:ln w="9525">
            <a:noFill/>
            <a:miter lim="800000"/>
            <a:headEnd/>
            <a:tailEnd/>
          </a:ln>
        </p:spPr>
        <p:txBody>
          <a:bodyPr lIns="92075" tIns="46038" rIns="92075" bIns="46038">
            <a:spAutoFit/>
          </a:bodyPr>
          <a:lstStyle/>
          <a:p>
            <a:r>
              <a:rPr lang="en-GB" altLang="ja-JP" sz="500" b="0">
                <a:solidFill>
                  <a:schemeClr val="tx2"/>
                </a:solidFill>
                <a:ea typeface="ＭＳ Ｐゴシック" charset="-128"/>
              </a:rPr>
              <a:t>Tanks </a:t>
            </a:r>
          </a:p>
        </p:txBody>
      </p:sp>
      <p:sp>
        <p:nvSpPr>
          <p:cNvPr id="763048" name="Rectangle 179"/>
          <p:cNvSpPr>
            <a:spLocks noChangeArrowheads="1"/>
          </p:cNvSpPr>
          <p:nvPr>
            <p:custDataLst>
              <p:tags r:id="rId163"/>
            </p:custDataLst>
          </p:nvPr>
        </p:nvSpPr>
        <p:spPr bwMode="auto">
          <a:xfrm>
            <a:off x="2849563" y="2312703"/>
            <a:ext cx="533400" cy="339196"/>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Ohmic heaters</a:t>
            </a:r>
          </a:p>
          <a:p>
            <a:pPr algn="ctr"/>
            <a:endParaRPr lang="ja-JP" altLang="en-GB" sz="500" b="0">
              <a:solidFill>
                <a:schemeClr val="tx2"/>
              </a:solidFill>
              <a:ea typeface="ＭＳ Ｐゴシック" charset="-128"/>
            </a:endParaRPr>
          </a:p>
        </p:txBody>
      </p:sp>
      <p:sp>
        <p:nvSpPr>
          <p:cNvPr id="763049" name="Rectangle 180"/>
          <p:cNvSpPr>
            <a:spLocks noChangeArrowheads="1"/>
          </p:cNvSpPr>
          <p:nvPr>
            <p:custDataLst>
              <p:tags r:id="rId164"/>
            </p:custDataLst>
          </p:nvPr>
        </p:nvSpPr>
        <p:spPr bwMode="auto">
          <a:xfrm>
            <a:off x="2159000" y="2312703"/>
            <a:ext cx="531813" cy="262252"/>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Plate heat</a:t>
            </a:r>
          </a:p>
          <a:p>
            <a:pPr algn="ctr"/>
            <a:r>
              <a:rPr lang="en-GB" altLang="ja-JP" sz="500" b="0">
                <a:solidFill>
                  <a:schemeClr val="tx2"/>
                </a:solidFill>
                <a:ea typeface="ＭＳ Ｐゴシック" charset="-128"/>
              </a:rPr>
              <a:t>exchangers </a:t>
            </a:r>
          </a:p>
        </p:txBody>
      </p:sp>
      <p:sp>
        <p:nvSpPr>
          <p:cNvPr id="177" name="Rectangle 181"/>
          <p:cNvSpPr>
            <a:spLocks noChangeArrowheads="1"/>
          </p:cNvSpPr>
          <p:nvPr>
            <p:custDataLst>
              <p:tags r:id="rId165"/>
            </p:custDataLst>
          </p:nvPr>
        </p:nvSpPr>
        <p:spPr bwMode="auto">
          <a:xfrm>
            <a:off x="3333750" y="2193640"/>
            <a:ext cx="247650" cy="120650"/>
          </a:xfrm>
          <a:prstGeom prst="rect">
            <a:avLst/>
          </a:prstGeom>
          <a:no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3051" name="Rectangle 182"/>
          <p:cNvSpPr>
            <a:spLocks noChangeArrowheads="1"/>
          </p:cNvSpPr>
          <p:nvPr>
            <p:custDataLst>
              <p:tags r:id="rId166"/>
            </p:custDataLst>
          </p:nvPr>
        </p:nvSpPr>
        <p:spPr bwMode="auto">
          <a:xfrm>
            <a:off x="3192463" y="2312703"/>
            <a:ext cx="531812" cy="262252"/>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Separators</a:t>
            </a:r>
          </a:p>
          <a:p>
            <a:pPr algn="ctr"/>
            <a:endParaRPr lang="ja-JP" altLang="en-GB" sz="500" b="0">
              <a:solidFill>
                <a:schemeClr val="tx2"/>
              </a:solidFill>
              <a:ea typeface="ＭＳ Ｐゴシック" charset="-128"/>
            </a:endParaRPr>
          </a:p>
        </p:txBody>
      </p:sp>
      <p:sp>
        <p:nvSpPr>
          <p:cNvPr id="763053" name="Rectangle 187"/>
          <p:cNvSpPr>
            <a:spLocks noChangeArrowheads="1"/>
          </p:cNvSpPr>
          <p:nvPr>
            <p:custDataLst>
              <p:tags r:id="rId167"/>
            </p:custDataLst>
          </p:nvPr>
        </p:nvSpPr>
        <p:spPr bwMode="auto">
          <a:xfrm>
            <a:off x="5824538" y="2650840"/>
            <a:ext cx="481012" cy="169863"/>
          </a:xfrm>
          <a:prstGeom prst="rect">
            <a:avLst/>
          </a:prstGeom>
          <a:noFill/>
          <a:ln w="9525">
            <a:noFill/>
            <a:miter lim="800000"/>
            <a:headEnd/>
            <a:tailEnd/>
          </a:ln>
        </p:spPr>
        <p:txBody>
          <a:bodyPr lIns="92075" tIns="46038" rIns="92075" bIns="46038">
            <a:spAutoFit/>
          </a:bodyPr>
          <a:lstStyle/>
          <a:p>
            <a:r>
              <a:rPr lang="en-GB" altLang="ja-JP" sz="500" b="0">
                <a:solidFill>
                  <a:schemeClr val="tx2"/>
                </a:solidFill>
                <a:ea typeface="ＭＳ Ｐゴシック" charset="-128"/>
              </a:rPr>
              <a:t>Wrapping </a:t>
            </a:r>
          </a:p>
        </p:txBody>
      </p:sp>
      <p:sp>
        <p:nvSpPr>
          <p:cNvPr id="763054" name="Rectangle 188"/>
          <p:cNvSpPr>
            <a:spLocks noChangeArrowheads="1"/>
          </p:cNvSpPr>
          <p:nvPr>
            <p:custDataLst>
              <p:tags r:id="rId168"/>
            </p:custDataLst>
          </p:nvPr>
        </p:nvSpPr>
        <p:spPr bwMode="auto">
          <a:xfrm>
            <a:off x="6223000" y="2650840"/>
            <a:ext cx="401638" cy="169863"/>
          </a:xfrm>
          <a:prstGeom prst="rect">
            <a:avLst/>
          </a:prstGeom>
          <a:noFill/>
          <a:ln w="9525">
            <a:noFill/>
            <a:miter lim="800000"/>
            <a:headEnd/>
            <a:tailEnd/>
          </a:ln>
        </p:spPr>
        <p:txBody>
          <a:bodyPr lIns="92075" tIns="46038" rIns="92075" bIns="46038">
            <a:spAutoFit/>
          </a:bodyPr>
          <a:lstStyle/>
          <a:p>
            <a:r>
              <a:rPr lang="ja-JP" altLang="en-GB" sz="500" b="0">
                <a:solidFill>
                  <a:schemeClr val="tx2"/>
                </a:solidFill>
                <a:ea typeface="ＭＳ Ｐゴシック" charset="-128"/>
              </a:rPr>
              <a:t> </a:t>
            </a:r>
          </a:p>
        </p:txBody>
      </p:sp>
      <p:sp>
        <p:nvSpPr>
          <p:cNvPr id="763055" name="Rectangle 189"/>
          <p:cNvSpPr>
            <a:spLocks noChangeArrowheads="1"/>
          </p:cNvSpPr>
          <p:nvPr>
            <p:custDataLst>
              <p:tags r:id="rId169"/>
            </p:custDataLst>
          </p:nvPr>
        </p:nvSpPr>
        <p:spPr bwMode="auto">
          <a:xfrm>
            <a:off x="3495675" y="2312703"/>
            <a:ext cx="533400" cy="169862"/>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Dryers</a:t>
            </a:r>
          </a:p>
        </p:txBody>
      </p:sp>
      <p:sp>
        <p:nvSpPr>
          <p:cNvPr id="763056" name="Rectangle 190"/>
          <p:cNvSpPr>
            <a:spLocks noChangeArrowheads="1"/>
          </p:cNvSpPr>
          <p:nvPr>
            <p:custDataLst>
              <p:tags r:id="rId170"/>
            </p:custDataLst>
          </p:nvPr>
        </p:nvSpPr>
        <p:spPr bwMode="auto">
          <a:xfrm>
            <a:off x="5159375" y="2288890"/>
            <a:ext cx="481013" cy="169863"/>
          </a:xfrm>
          <a:prstGeom prst="rect">
            <a:avLst/>
          </a:prstGeom>
          <a:noFill/>
          <a:ln w="9525">
            <a:noFill/>
            <a:miter lim="800000"/>
            <a:headEnd/>
            <a:tailEnd/>
          </a:ln>
        </p:spPr>
        <p:txBody>
          <a:bodyPr lIns="92075" tIns="46038" rIns="92075" bIns="46038">
            <a:spAutoFit/>
          </a:bodyPr>
          <a:lstStyle/>
          <a:p>
            <a:r>
              <a:rPr lang="en-GB" altLang="ja-JP" sz="500" b="0">
                <a:solidFill>
                  <a:schemeClr val="tx2"/>
                </a:solidFill>
                <a:ea typeface="ＭＳ Ｐゴシック" charset="-128"/>
              </a:rPr>
              <a:t>Cartoning </a:t>
            </a:r>
          </a:p>
        </p:txBody>
      </p:sp>
      <p:sp>
        <p:nvSpPr>
          <p:cNvPr id="763057" name="Rectangle 191"/>
          <p:cNvSpPr>
            <a:spLocks noChangeArrowheads="1"/>
          </p:cNvSpPr>
          <p:nvPr>
            <p:custDataLst>
              <p:tags r:id="rId171"/>
            </p:custDataLst>
          </p:nvPr>
        </p:nvSpPr>
        <p:spPr bwMode="auto">
          <a:xfrm>
            <a:off x="5500688" y="2650840"/>
            <a:ext cx="481012" cy="169863"/>
          </a:xfrm>
          <a:prstGeom prst="rect">
            <a:avLst/>
          </a:prstGeom>
          <a:noFill/>
          <a:ln w="9525">
            <a:noFill/>
            <a:miter lim="800000"/>
            <a:headEnd/>
            <a:tailEnd/>
          </a:ln>
        </p:spPr>
        <p:txBody>
          <a:bodyPr lIns="92075" tIns="46038" rIns="92075" bIns="46038">
            <a:spAutoFit/>
          </a:bodyPr>
          <a:lstStyle/>
          <a:p>
            <a:r>
              <a:rPr lang="en-GB" altLang="ja-JP" sz="500" b="0">
                <a:solidFill>
                  <a:schemeClr val="tx2"/>
                </a:solidFill>
                <a:ea typeface="ＭＳ Ｐゴシック" charset="-128"/>
              </a:rPr>
              <a:t>Sealing </a:t>
            </a:r>
          </a:p>
        </p:txBody>
      </p:sp>
      <p:sp>
        <p:nvSpPr>
          <p:cNvPr id="763059" name="Rectangle 194"/>
          <p:cNvSpPr>
            <a:spLocks noChangeArrowheads="1"/>
          </p:cNvSpPr>
          <p:nvPr>
            <p:custDataLst>
              <p:tags r:id="rId172"/>
            </p:custDataLst>
          </p:nvPr>
        </p:nvSpPr>
        <p:spPr bwMode="auto">
          <a:xfrm>
            <a:off x="5124450" y="2669890"/>
            <a:ext cx="484188" cy="247650"/>
          </a:xfrm>
          <a:prstGeom prst="rect">
            <a:avLst/>
          </a:prstGeom>
          <a:noFill/>
          <a:ln w="9525">
            <a:noFill/>
            <a:miter lim="800000"/>
            <a:headEnd/>
            <a:tailEnd/>
          </a:ln>
        </p:spPr>
        <p:txBody>
          <a:bodyPr lIns="92075" tIns="46038" rIns="92075" bIns="46038">
            <a:spAutoFit/>
          </a:bodyPr>
          <a:lstStyle/>
          <a:p>
            <a:pPr algn="ctr"/>
            <a:r>
              <a:rPr lang="en-GB" altLang="ja-JP" sz="500" b="0" dirty="0">
                <a:solidFill>
                  <a:schemeClr val="tx2"/>
                </a:solidFill>
                <a:ea typeface="ＭＳ Ｐゴシック" charset="-128"/>
              </a:rPr>
              <a:t>Filling lines</a:t>
            </a:r>
          </a:p>
        </p:txBody>
      </p:sp>
      <p:sp>
        <p:nvSpPr>
          <p:cNvPr id="763060" name="Rectangle 195"/>
          <p:cNvSpPr>
            <a:spLocks noChangeArrowheads="1"/>
          </p:cNvSpPr>
          <p:nvPr>
            <p:custDataLst>
              <p:tags r:id="rId173"/>
            </p:custDataLst>
          </p:nvPr>
        </p:nvSpPr>
        <p:spPr bwMode="auto">
          <a:xfrm>
            <a:off x="6467461" y="5063840"/>
            <a:ext cx="517525" cy="276225"/>
          </a:xfrm>
          <a:prstGeom prst="rect">
            <a:avLst/>
          </a:prstGeom>
          <a:noFill/>
          <a:ln w="9525">
            <a:noFill/>
            <a:miter lim="800000"/>
            <a:headEnd/>
            <a:tailEnd/>
          </a:ln>
        </p:spPr>
        <p:txBody>
          <a:bodyPr lIns="0" tIns="46038" rIns="0" bIns="46038"/>
          <a:lstStyle/>
          <a:p>
            <a:pPr algn="ctr"/>
            <a:r>
              <a:rPr lang="en-GB" altLang="ja-JP" sz="500" b="0" dirty="0" smtClean="0">
                <a:solidFill>
                  <a:schemeClr val="tx2"/>
                </a:solidFill>
                <a:ea typeface="ＭＳ Ｐゴシック" charset="-128"/>
              </a:rPr>
              <a:t>Convenience</a:t>
            </a:r>
            <a:br>
              <a:rPr lang="en-GB" altLang="ja-JP" sz="500" b="0" dirty="0" smtClean="0">
                <a:solidFill>
                  <a:schemeClr val="tx2"/>
                </a:solidFill>
                <a:ea typeface="ＭＳ Ｐゴシック" charset="-128"/>
              </a:rPr>
            </a:br>
            <a:r>
              <a:rPr lang="en-GB" altLang="ja-JP" sz="500" b="0" dirty="0" smtClean="0">
                <a:solidFill>
                  <a:schemeClr val="tx2"/>
                </a:solidFill>
                <a:ea typeface="ＭＳ Ｐゴシック" charset="-128"/>
              </a:rPr>
              <a:t>food</a:t>
            </a:r>
            <a:endParaRPr lang="en-GB" altLang="ja-JP" sz="500" b="0" dirty="0">
              <a:solidFill>
                <a:schemeClr val="tx2"/>
              </a:solidFill>
              <a:ea typeface="ＭＳ Ｐゴシック" charset="-128"/>
            </a:endParaRPr>
          </a:p>
        </p:txBody>
      </p:sp>
      <p:sp>
        <p:nvSpPr>
          <p:cNvPr id="192" name="Rectangle 196"/>
          <p:cNvSpPr>
            <a:spLocks noChangeArrowheads="1"/>
          </p:cNvSpPr>
          <p:nvPr>
            <p:custDataLst>
              <p:tags r:id="rId174"/>
            </p:custDataLst>
          </p:nvPr>
        </p:nvSpPr>
        <p:spPr bwMode="auto">
          <a:xfrm>
            <a:off x="2265363" y="4157378"/>
            <a:ext cx="285750" cy="120650"/>
          </a:xfrm>
          <a:prstGeom prst="rect">
            <a:avLst/>
          </a:prstGeom>
          <a:no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3062" name="Rectangle 197"/>
          <p:cNvSpPr>
            <a:spLocks noChangeArrowheads="1"/>
          </p:cNvSpPr>
          <p:nvPr>
            <p:custDataLst>
              <p:tags r:id="rId175"/>
            </p:custDataLst>
          </p:nvPr>
        </p:nvSpPr>
        <p:spPr bwMode="auto">
          <a:xfrm>
            <a:off x="2125663" y="4284378"/>
            <a:ext cx="596900" cy="247650"/>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Customer </a:t>
            </a:r>
            <a:br>
              <a:rPr lang="en-GB" altLang="ja-JP" sz="500" b="0">
                <a:solidFill>
                  <a:schemeClr val="tx2"/>
                </a:solidFill>
                <a:ea typeface="ＭＳ Ｐゴシック" charset="-128"/>
              </a:rPr>
            </a:br>
            <a:r>
              <a:rPr lang="en-GB" altLang="ja-JP" sz="500" b="0">
                <a:solidFill>
                  <a:schemeClr val="tx2"/>
                </a:solidFill>
                <a:ea typeface="ＭＳ Ｐゴシック" charset="-128"/>
              </a:rPr>
              <a:t>DIY</a:t>
            </a:r>
          </a:p>
        </p:txBody>
      </p:sp>
      <p:sp>
        <p:nvSpPr>
          <p:cNvPr id="763063" name="Rectangle 198"/>
          <p:cNvSpPr>
            <a:spLocks noChangeArrowheads="1"/>
          </p:cNvSpPr>
          <p:nvPr>
            <p:custDataLst>
              <p:tags r:id="rId176"/>
            </p:custDataLst>
          </p:nvPr>
        </p:nvSpPr>
        <p:spPr bwMode="auto">
          <a:xfrm>
            <a:off x="3989388" y="4168490"/>
            <a:ext cx="285750"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3064" name="Rectangle 199"/>
          <p:cNvSpPr>
            <a:spLocks noChangeArrowheads="1"/>
          </p:cNvSpPr>
          <p:nvPr>
            <p:custDataLst>
              <p:tags r:id="rId177"/>
            </p:custDataLst>
          </p:nvPr>
        </p:nvSpPr>
        <p:spPr bwMode="auto">
          <a:xfrm>
            <a:off x="3871913" y="4295490"/>
            <a:ext cx="531812" cy="2460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Spare</a:t>
            </a:r>
            <a:br>
              <a:rPr lang="en-GB" altLang="ja-JP" sz="500" b="0">
                <a:solidFill>
                  <a:schemeClr val="tx2"/>
                </a:solidFill>
                <a:ea typeface="ＭＳ Ｐゴシック" charset="-128"/>
              </a:rPr>
            </a:br>
            <a:r>
              <a:rPr lang="en-GB" altLang="ja-JP" sz="500" b="0">
                <a:solidFill>
                  <a:schemeClr val="tx2"/>
                </a:solidFill>
                <a:ea typeface="ＭＳ Ｐゴシック" charset="-128"/>
              </a:rPr>
              <a:t>parts </a:t>
            </a:r>
          </a:p>
        </p:txBody>
      </p:sp>
      <p:sp>
        <p:nvSpPr>
          <p:cNvPr id="763065" name="Rectangle 203"/>
          <p:cNvSpPr>
            <a:spLocks noChangeArrowheads="1"/>
          </p:cNvSpPr>
          <p:nvPr>
            <p:custDataLst>
              <p:tags r:id="rId178"/>
            </p:custDataLst>
          </p:nvPr>
        </p:nvSpPr>
        <p:spPr bwMode="auto">
          <a:xfrm>
            <a:off x="2625725" y="1666590"/>
            <a:ext cx="274638" cy="120650"/>
          </a:xfrm>
          <a:prstGeom prst="rect">
            <a:avLst/>
          </a:prstGeom>
          <a:solidFill>
            <a:schemeClr val="accent2"/>
          </a:solidFill>
          <a:ln w="12700">
            <a:solidFill>
              <a:schemeClr val="bg1"/>
            </a:solidFill>
            <a:miter lim="800000"/>
            <a:headEnd/>
            <a:tailEnd/>
          </a:ln>
        </p:spPr>
        <p:txBody>
          <a:bodyPr wrap="none" anchor="ctr"/>
          <a:lstStyle/>
          <a:p>
            <a:pPr algn="ctr"/>
            <a:endParaRPr lang="en-GB" b="0">
              <a:solidFill>
                <a:schemeClr val="tx2"/>
              </a:solidFill>
            </a:endParaRPr>
          </a:p>
        </p:txBody>
      </p:sp>
      <p:sp>
        <p:nvSpPr>
          <p:cNvPr id="763066" name="Rectangle 204"/>
          <p:cNvSpPr>
            <a:spLocks noChangeArrowheads="1"/>
          </p:cNvSpPr>
          <p:nvPr>
            <p:custDataLst>
              <p:tags r:id="rId179"/>
            </p:custDataLst>
          </p:nvPr>
        </p:nvSpPr>
        <p:spPr bwMode="auto">
          <a:xfrm>
            <a:off x="2976563" y="1666590"/>
            <a:ext cx="277812" cy="120650"/>
          </a:xfrm>
          <a:prstGeom prst="rect">
            <a:avLst/>
          </a:prstGeom>
          <a:solidFill>
            <a:schemeClr val="accent2"/>
          </a:solidFill>
          <a:ln w="12700">
            <a:solidFill>
              <a:schemeClr val="bg1"/>
            </a:solidFill>
            <a:miter lim="800000"/>
            <a:headEnd/>
            <a:tailEnd/>
          </a:ln>
        </p:spPr>
        <p:txBody>
          <a:bodyPr wrap="none" anchor="ctr"/>
          <a:lstStyle/>
          <a:p>
            <a:pPr algn="ctr"/>
            <a:endParaRPr lang="en-GB" b="0">
              <a:solidFill>
                <a:schemeClr val="tx2"/>
              </a:solidFill>
            </a:endParaRPr>
          </a:p>
        </p:txBody>
      </p:sp>
      <p:sp>
        <p:nvSpPr>
          <p:cNvPr id="763067" name="Rectangle 205"/>
          <p:cNvSpPr>
            <a:spLocks noChangeArrowheads="1"/>
          </p:cNvSpPr>
          <p:nvPr>
            <p:custDataLst>
              <p:tags r:id="rId180"/>
            </p:custDataLst>
          </p:nvPr>
        </p:nvSpPr>
        <p:spPr bwMode="auto">
          <a:xfrm>
            <a:off x="3333750" y="1666590"/>
            <a:ext cx="247650"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3068" name="Rectangle 206"/>
          <p:cNvSpPr>
            <a:spLocks noChangeArrowheads="1"/>
          </p:cNvSpPr>
          <p:nvPr>
            <p:custDataLst>
              <p:tags r:id="rId181"/>
            </p:custDataLst>
          </p:nvPr>
        </p:nvSpPr>
        <p:spPr bwMode="auto">
          <a:xfrm>
            <a:off x="3333750" y="1666590"/>
            <a:ext cx="247650" cy="120650"/>
          </a:xfrm>
          <a:prstGeom prst="rect">
            <a:avLst/>
          </a:prstGeom>
          <a:solidFill>
            <a:schemeClr val="accent2"/>
          </a:solidFill>
          <a:ln w="12700">
            <a:noFill/>
            <a:miter lim="800000"/>
            <a:headEnd/>
            <a:tailEnd/>
          </a:ln>
        </p:spPr>
        <p:txBody>
          <a:bodyPr wrap="none" anchor="ctr"/>
          <a:lstStyle/>
          <a:p>
            <a:pPr algn="ctr"/>
            <a:endParaRPr lang="en-GB" b="0">
              <a:solidFill>
                <a:schemeClr val="tx2"/>
              </a:solidFill>
            </a:endParaRPr>
          </a:p>
        </p:txBody>
      </p:sp>
      <p:sp>
        <p:nvSpPr>
          <p:cNvPr id="763069" name="Rectangle 207"/>
          <p:cNvSpPr>
            <a:spLocks noChangeArrowheads="1"/>
          </p:cNvSpPr>
          <p:nvPr>
            <p:custDataLst>
              <p:tags r:id="rId182"/>
            </p:custDataLst>
          </p:nvPr>
        </p:nvSpPr>
        <p:spPr bwMode="auto">
          <a:xfrm>
            <a:off x="1325563" y="2731803"/>
            <a:ext cx="625475" cy="247650"/>
          </a:xfrm>
          <a:prstGeom prst="rect">
            <a:avLst/>
          </a:prstGeom>
          <a:noFill/>
          <a:ln w="9525">
            <a:noFill/>
            <a:miter lim="800000"/>
            <a:headEnd/>
            <a:tailEnd/>
          </a:ln>
        </p:spPr>
        <p:txBody>
          <a:bodyPr lIns="92075" tIns="46038" rIns="92075" bIns="46038">
            <a:spAutoFit/>
          </a:bodyPr>
          <a:lstStyle/>
          <a:p>
            <a:r>
              <a:rPr lang="en-GB" altLang="ja-JP" sz="500" b="0" dirty="0" smtClean="0">
                <a:solidFill>
                  <a:schemeClr val="tx2"/>
                </a:solidFill>
                <a:ea typeface="ＭＳ Ｐゴシック" charset="-128"/>
              </a:rPr>
              <a:t>Freezers and refrigerators </a:t>
            </a:r>
            <a:endParaRPr lang="en-GB" altLang="ja-JP" sz="500" b="0" dirty="0">
              <a:solidFill>
                <a:schemeClr val="tx2"/>
              </a:solidFill>
              <a:ea typeface="ＭＳ Ｐゴシック" charset="-128"/>
            </a:endParaRPr>
          </a:p>
        </p:txBody>
      </p:sp>
      <p:sp>
        <p:nvSpPr>
          <p:cNvPr id="763070" name="Rectangle 208"/>
          <p:cNvSpPr>
            <a:spLocks noChangeArrowheads="1"/>
          </p:cNvSpPr>
          <p:nvPr>
            <p:custDataLst>
              <p:tags r:id="rId183"/>
            </p:custDataLst>
          </p:nvPr>
        </p:nvSpPr>
        <p:spPr bwMode="auto">
          <a:xfrm>
            <a:off x="3159125" y="2739740"/>
            <a:ext cx="598488" cy="169863"/>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Automation</a:t>
            </a:r>
          </a:p>
        </p:txBody>
      </p:sp>
      <p:sp>
        <p:nvSpPr>
          <p:cNvPr id="763071" name="Rectangle 209"/>
          <p:cNvSpPr>
            <a:spLocks noChangeArrowheads="1"/>
          </p:cNvSpPr>
          <p:nvPr>
            <p:custDataLst>
              <p:tags r:id="rId184"/>
            </p:custDataLst>
          </p:nvPr>
        </p:nvSpPr>
        <p:spPr bwMode="auto">
          <a:xfrm>
            <a:off x="2792413" y="2731803"/>
            <a:ext cx="646112" cy="247650"/>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Conveyer systems </a:t>
            </a:r>
          </a:p>
        </p:txBody>
      </p:sp>
      <p:sp>
        <p:nvSpPr>
          <p:cNvPr id="763072" name="Rectangle 210"/>
          <p:cNvSpPr>
            <a:spLocks noChangeArrowheads="1"/>
          </p:cNvSpPr>
          <p:nvPr>
            <p:custDataLst>
              <p:tags r:id="rId185"/>
            </p:custDataLst>
          </p:nvPr>
        </p:nvSpPr>
        <p:spPr bwMode="auto">
          <a:xfrm>
            <a:off x="1749425" y="2731803"/>
            <a:ext cx="522288" cy="323850"/>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Aseptic processing systems </a:t>
            </a:r>
          </a:p>
        </p:txBody>
      </p:sp>
      <p:sp>
        <p:nvSpPr>
          <p:cNvPr id="763073" name="Rectangle 211"/>
          <p:cNvSpPr>
            <a:spLocks noChangeArrowheads="1"/>
          </p:cNvSpPr>
          <p:nvPr>
            <p:custDataLst>
              <p:tags r:id="rId186"/>
            </p:custDataLst>
          </p:nvPr>
        </p:nvSpPr>
        <p:spPr bwMode="auto">
          <a:xfrm>
            <a:off x="2497138" y="2731803"/>
            <a:ext cx="533400" cy="323850"/>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Blow moulding equipment</a:t>
            </a:r>
          </a:p>
        </p:txBody>
      </p:sp>
      <p:sp>
        <p:nvSpPr>
          <p:cNvPr id="763074" name="Rectangle 212"/>
          <p:cNvSpPr>
            <a:spLocks noChangeArrowheads="1"/>
          </p:cNvSpPr>
          <p:nvPr>
            <p:custDataLst>
              <p:tags r:id="rId187"/>
            </p:custDataLst>
          </p:nvPr>
        </p:nvSpPr>
        <p:spPr bwMode="auto">
          <a:xfrm>
            <a:off x="2554288" y="2719103"/>
            <a:ext cx="419100" cy="184150"/>
          </a:xfrm>
          <a:prstGeom prst="rect">
            <a:avLst/>
          </a:prstGeom>
          <a:noFill/>
          <a:ln w="9525">
            <a:noFill/>
            <a:miter lim="800000"/>
            <a:headEnd/>
            <a:tailEnd/>
          </a:ln>
        </p:spPr>
        <p:txBody>
          <a:bodyPr wrap="none" anchor="ctr"/>
          <a:lstStyle/>
          <a:p>
            <a:pPr algn="ctr"/>
            <a:endParaRPr lang="en-GB" b="0">
              <a:solidFill>
                <a:schemeClr val="tx2"/>
              </a:solidFill>
            </a:endParaRPr>
          </a:p>
        </p:txBody>
      </p:sp>
      <p:sp>
        <p:nvSpPr>
          <p:cNvPr id="763075" name="Rectangle 213"/>
          <p:cNvSpPr>
            <a:spLocks noChangeArrowheads="1"/>
          </p:cNvSpPr>
          <p:nvPr>
            <p:custDataLst>
              <p:tags r:id="rId188"/>
            </p:custDataLst>
          </p:nvPr>
        </p:nvSpPr>
        <p:spPr bwMode="auto">
          <a:xfrm>
            <a:off x="2149475" y="2731803"/>
            <a:ext cx="523875" cy="247650"/>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Filtration equipment </a:t>
            </a:r>
          </a:p>
        </p:txBody>
      </p:sp>
      <p:sp>
        <p:nvSpPr>
          <p:cNvPr id="763076" name="Rectangle 214"/>
          <p:cNvSpPr>
            <a:spLocks noChangeArrowheads="1"/>
          </p:cNvSpPr>
          <p:nvPr>
            <p:custDataLst>
              <p:tags r:id="rId189"/>
            </p:custDataLst>
          </p:nvPr>
        </p:nvSpPr>
        <p:spPr bwMode="auto">
          <a:xfrm>
            <a:off x="3495675" y="2733390"/>
            <a:ext cx="533400" cy="247650"/>
          </a:xfrm>
          <a:prstGeom prst="rect">
            <a:avLst/>
          </a:prstGeom>
          <a:noFill/>
          <a:ln w="9525">
            <a:noFill/>
            <a:miter lim="800000"/>
            <a:headEnd/>
            <a:tailEnd/>
          </a:ln>
        </p:spPr>
        <p:txBody>
          <a:bodyPr lIns="92075" tIns="46038" rIns="92075" bIns="46038">
            <a:spAutoFit/>
          </a:bodyPr>
          <a:lstStyle/>
          <a:p>
            <a:pPr algn="ctr"/>
            <a:r>
              <a:rPr lang="en-GB" altLang="ja-JP" sz="500" b="0">
                <a:solidFill>
                  <a:schemeClr val="tx2"/>
                </a:solidFill>
                <a:ea typeface="ＭＳ Ｐゴシック" charset="-128"/>
              </a:rPr>
              <a:t>Control systems </a:t>
            </a:r>
          </a:p>
        </p:txBody>
      </p:sp>
      <p:sp>
        <p:nvSpPr>
          <p:cNvPr id="211" name="Rectangle 215"/>
          <p:cNvSpPr>
            <a:spLocks noChangeArrowheads="1"/>
          </p:cNvSpPr>
          <p:nvPr>
            <p:custDataLst>
              <p:tags r:id="rId190"/>
            </p:custDataLst>
          </p:nvPr>
        </p:nvSpPr>
        <p:spPr bwMode="auto">
          <a:xfrm>
            <a:off x="1511300" y="2612740"/>
            <a:ext cx="274638" cy="120650"/>
          </a:xfrm>
          <a:prstGeom prst="rect">
            <a:avLst/>
          </a:prstGeom>
          <a:solidFill>
            <a:srgbClr val="FFFFFF"/>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212" name="Rectangle 216"/>
          <p:cNvSpPr>
            <a:spLocks noChangeArrowheads="1"/>
          </p:cNvSpPr>
          <p:nvPr>
            <p:custDataLst>
              <p:tags r:id="rId191"/>
            </p:custDataLst>
          </p:nvPr>
        </p:nvSpPr>
        <p:spPr bwMode="auto">
          <a:xfrm>
            <a:off x="1881188" y="2612740"/>
            <a:ext cx="276225" cy="120650"/>
          </a:xfrm>
          <a:prstGeom prst="rect">
            <a:avLst/>
          </a:prstGeom>
          <a:solidFill>
            <a:schemeClr val="accent3"/>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213" name="Rectangle 217"/>
          <p:cNvSpPr>
            <a:spLocks noChangeArrowheads="1"/>
          </p:cNvSpPr>
          <p:nvPr>
            <p:custDataLst>
              <p:tags r:id="rId192"/>
            </p:custDataLst>
          </p:nvPr>
        </p:nvSpPr>
        <p:spPr bwMode="auto">
          <a:xfrm>
            <a:off x="2270125" y="2612740"/>
            <a:ext cx="277813" cy="120650"/>
          </a:xfrm>
          <a:prstGeom prst="rect">
            <a:avLst/>
          </a:prstGeom>
          <a:solidFill>
            <a:srgbClr val="FFFFFF"/>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3080" name="Rectangle 218"/>
          <p:cNvSpPr>
            <a:spLocks noChangeArrowheads="1"/>
          </p:cNvSpPr>
          <p:nvPr>
            <p:custDataLst>
              <p:tags r:id="rId193"/>
            </p:custDataLst>
          </p:nvPr>
        </p:nvSpPr>
        <p:spPr bwMode="auto">
          <a:xfrm>
            <a:off x="2625725" y="2612740"/>
            <a:ext cx="274638"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3081" name="Rectangle 219"/>
          <p:cNvSpPr>
            <a:spLocks noChangeArrowheads="1"/>
          </p:cNvSpPr>
          <p:nvPr>
            <p:custDataLst>
              <p:tags r:id="rId194"/>
            </p:custDataLst>
          </p:nvPr>
        </p:nvSpPr>
        <p:spPr bwMode="auto">
          <a:xfrm>
            <a:off x="2976563" y="2612740"/>
            <a:ext cx="277812"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3082" name="Rectangle 220"/>
          <p:cNvSpPr>
            <a:spLocks noChangeArrowheads="1"/>
          </p:cNvSpPr>
          <p:nvPr>
            <p:custDataLst>
              <p:tags r:id="rId195"/>
            </p:custDataLst>
          </p:nvPr>
        </p:nvSpPr>
        <p:spPr bwMode="auto">
          <a:xfrm>
            <a:off x="3333750" y="2612740"/>
            <a:ext cx="247650"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231" name="Rectangle 237"/>
          <p:cNvSpPr>
            <a:spLocks noChangeArrowheads="1"/>
          </p:cNvSpPr>
          <p:nvPr>
            <p:custDataLst>
              <p:tags r:id="rId196"/>
            </p:custDataLst>
          </p:nvPr>
        </p:nvSpPr>
        <p:spPr bwMode="auto">
          <a:xfrm>
            <a:off x="7646536" y="5079715"/>
            <a:ext cx="1057274" cy="1022350"/>
          </a:xfrm>
          <a:prstGeom prst="rect">
            <a:avLst/>
          </a:prstGeom>
          <a:solidFill>
            <a:srgbClr val="FFFFFF"/>
          </a:solidFill>
          <a:ln w="12700">
            <a:solidFill>
              <a:schemeClr val="accent1"/>
            </a:solidFill>
            <a:miter lim="800000"/>
            <a:headEnd/>
            <a:tailEnd/>
          </a:ln>
          <a:effectLst/>
        </p:spPr>
        <p:txBody>
          <a:bodyPr wrap="none" anchor="ctr"/>
          <a:lstStyle/>
          <a:p>
            <a:pPr algn="ctr">
              <a:defRPr/>
            </a:pPr>
            <a:endParaRPr lang="en-GB" b="0">
              <a:solidFill>
                <a:schemeClr val="tx2"/>
              </a:solidFill>
            </a:endParaRPr>
          </a:p>
        </p:txBody>
      </p:sp>
      <p:sp>
        <p:nvSpPr>
          <p:cNvPr id="763084" name="Rectangle 238"/>
          <p:cNvSpPr>
            <a:spLocks noChangeArrowheads="1"/>
          </p:cNvSpPr>
          <p:nvPr>
            <p:custDataLst>
              <p:tags r:id="rId197"/>
            </p:custDataLst>
          </p:nvPr>
        </p:nvSpPr>
        <p:spPr bwMode="auto">
          <a:xfrm>
            <a:off x="7756073" y="5173378"/>
            <a:ext cx="317500" cy="120650"/>
          </a:xfrm>
          <a:prstGeom prst="rect">
            <a:avLst/>
          </a:prstGeom>
          <a:solidFill>
            <a:schemeClr val="accent2"/>
          </a:solidFill>
          <a:ln w="12700">
            <a:solidFill>
              <a:schemeClr val="bg1"/>
            </a:solidFill>
            <a:miter lim="800000"/>
            <a:headEnd/>
            <a:tailEnd/>
          </a:ln>
        </p:spPr>
        <p:txBody>
          <a:bodyPr wrap="none" anchor="ctr"/>
          <a:lstStyle/>
          <a:p>
            <a:pPr algn="ctr"/>
            <a:endParaRPr lang="en-GB" b="0">
              <a:solidFill>
                <a:schemeClr val="tx2"/>
              </a:solidFill>
            </a:endParaRPr>
          </a:p>
        </p:txBody>
      </p:sp>
      <p:sp>
        <p:nvSpPr>
          <p:cNvPr id="763085" name="Rectangle 239"/>
          <p:cNvSpPr>
            <a:spLocks noChangeArrowheads="1"/>
          </p:cNvSpPr>
          <p:nvPr>
            <p:custDataLst>
              <p:tags r:id="rId198"/>
            </p:custDataLst>
          </p:nvPr>
        </p:nvSpPr>
        <p:spPr bwMode="auto">
          <a:xfrm>
            <a:off x="7756073" y="5421028"/>
            <a:ext cx="317500" cy="120650"/>
          </a:xfrm>
          <a:prstGeom prst="rect">
            <a:avLst/>
          </a:prstGeom>
          <a:solidFill>
            <a:schemeClr val="accent1"/>
          </a:solidFill>
          <a:ln w="12700">
            <a:solidFill>
              <a:schemeClr val="bg1"/>
            </a:solidFill>
            <a:miter lim="800000"/>
            <a:headEnd/>
            <a:tailEnd/>
          </a:ln>
        </p:spPr>
        <p:txBody>
          <a:bodyPr wrap="none" anchor="ctr"/>
          <a:lstStyle/>
          <a:p>
            <a:pPr algn="ctr"/>
            <a:endParaRPr lang="en-GB" b="0">
              <a:solidFill>
                <a:schemeClr val="tx2"/>
              </a:solidFill>
            </a:endParaRPr>
          </a:p>
        </p:txBody>
      </p:sp>
      <p:sp>
        <p:nvSpPr>
          <p:cNvPr id="234" name="Rectangle 240"/>
          <p:cNvSpPr>
            <a:spLocks noChangeArrowheads="1"/>
          </p:cNvSpPr>
          <p:nvPr>
            <p:custDataLst>
              <p:tags r:id="rId199"/>
            </p:custDataLst>
          </p:nvPr>
        </p:nvSpPr>
        <p:spPr bwMode="auto">
          <a:xfrm>
            <a:off x="7756073" y="5649628"/>
            <a:ext cx="317500" cy="120650"/>
          </a:xfrm>
          <a:prstGeom prst="rect">
            <a:avLst/>
          </a:prstGeom>
          <a:solidFill>
            <a:schemeClr val="accent3"/>
          </a:solidFill>
          <a:ln w="12700">
            <a:solidFill>
              <a:schemeClr val="bg1"/>
            </a:solidFill>
            <a:miter lim="800000"/>
            <a:headEnd/>
            <a:tailEnd/>
          </a:ln>
        </p:spPr>
        <p:txBody>
          <a:bodyPr wrap="none" anchor="ctr"/>
          <a:lstStyle/>
          <a:p>
            <a:pPr algn="ctr">
              <a:defRPr/>
            </a:pPr>
            <a:endParaRPr lang="en-GB" b="0">
              <a:solidFill>
                <a:schemeClr val="tx2"/>
              </a:solidFill>
            </a:endParaRPr>
          </a:p>
        </p:txBody>
      </p:sp>
      <p:sp>
        <p:nvSpPr>
          <p:cNvPr id="235" name="Rectangle 241"/>
          <p:cNvSpPr>
            <a:spLocks noChangeArrowheads="1"/>
          </p:cNvSpPr>
          <p:nvPr>
            <p:custDataLst>
              <p:tags r:id="rId200"/>
            </p:custDataLst>
          </p:nvPr>
        </p:nvSpPr>
        <p:spPr bwMode="auto">
          <a:xfrm>
            <a:off x="7756073" y="5878228"/>
            <a:ext cx="317500" cy="120650"/>
          </a:xfrm>
          <a:prstGeom prst="rect">
            <a:avLst/>
          </a:prstGeom>
          <a:solidFill>
            <a:schemeClr val="bg1"/>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3088" name="Rectangle 242"/>
          <p:cNvSpPr>
            <a:spLocks noChangeArrowheads="1"/>
          </p:cNvSpPr>
          <p:nvPr>
            <p:custDataLst>
              <p:tags r:id="rId201"/>
            </p:custDataLst>
          </p:nvPr>
        </p:nvSpPr>
        <p:spPr bwMode="auto">
          <a:xfrm>
            <a:off x="8133446" y="5198545"/>
            <a:ext cx="565602" cy="76944"/>
          </a:xfrm>
          <a:prstGeom prst="rect">
            <a:avLst/>
          </a:prstGeom>
          <a:noFill/>
          <a:ln w="9525">
            <a:noFill/>
            <a:miter lim="800000"/>
            <a:headEnd/>
            <a:tailEnd/>
          </a:ln>
        </p:spPr>
        <p:txBody>
          <a:bodyPr wrap="square" lIns="0" tIns="0" rIns="0" bIns="0">
            <a:spAutoFit/>
          </a:bodyPr>
          <a:lstStyle/>
          <a:p>
            <a:pPr algn="l"/>
            <a:r>
              <a:rPr lang="en-GB" altLang="ja-JP" sz="500" dirty="0">
                <a:solidFill>
                  <a:schemeClr val="tx2"/>
                </a:solidFill>
                <a:ea typeface="ＭＳ Ｐゴシック" charset="-128"/>
              </a:rPr>
              <a:t>Strong position</a:t>
            </a:r>
          </a:p>
        </p:txBody>
      </p:sp>
      <p:sp>
        <p:nvSpPr>
          <p:cNvPr id="763089" name="Rectangle 243"/>
          <p:cNvSpPr>
            <a:spLocks noChangeArrowheads="1"/>
          </p:cNvSpPr>
          <p:nvPr>
            <p:custDataLst>
              <p:tags r:id="rId202"/>
            </p:custDataLst>
          </p:nvPr>
        </p:nvSpPr>
        <p:spPr bwMode="auto">
          <a:xfrm>
            <a:off x="8133446" y="5451394"/>
            <a:ext cx="565602" cy="76944"/>
          </a:xfrm>
          <a:prstGeom prst="rect">
            <a:avLst/>
          </a:prstGeom>
          <a:noFill/>
          <a:ln w="9525">
            <a:noFill/>
            <a:miter lim="800000"/>
            <a:headEnd/>
            <a:tailEnd/>
          </a:ln>
        </p:spPr>
        <p:txBody>
          <a:bodyPr wrap="square" lIns="0" tIns="0" rIns="0" bIns="0">
            <a:spAutoFit/>
          </a:bodyPr>
          <a:lstStyle/>
          <a:p>
            <a:pPr algn="l"/>
            <a:r>
              <a:rPr lang="en-GB" altLang="ja-JP" sz="500" dirty="0">
                <a:solidFill>
                  <a:schemeClr val="tx2"/>
                </a:solidFill>
                <a:ea typeface="ＭＳ Ｐゴシック" charset="-128"/>
              </a:rPr>
              <a:t>Average</a:t>
            </a:r>
          </a:p>
        </p:txBody>
      </p:sp>
      <p:sp>
        <p:nvSpPr>
          <p:cNvPr id="763090" name="Rectangle 244"/>
          <p:cNvSpPr>
            <a:spLocks noChangeArrowheads="1"/>
          </p:cNvSpPr>
          <p:nvPr>
            <p:custDataLst>
              <p:tags r:id="rId203"/>
            </p:custDataLst>
          </p:nvPr>
        </p:nvSpPr>
        <p:spPr bwMode="auto">
          <a:xfrm>
            <a:off x="8133446" y="5679994"/>
            <a:ext cx="565602" cy="76944"/>
          </a:xfrm>
          <a:prstGeom prst="rect">
            <a:avLst/>
          </a:prstGeom>
          <a:noFill/>
          <a:ln w="9525">
            <a:noFill/>
            <a:miter lim="800000"/>
            <a:headEnd/>
            <a:tailEnd/>
          </a:ln>
        </p:spPr>
        <p:txBody>
          <a:bodyPr wrap="square" lIns="0" tIns="0" rIns="0" bIns="0">
            <a:spAutoFit/>
          </a:bodyPr>
          <a:lstStyle/>
          <a:p>
            <a:pPr algn="l"/>
            <a:r>
              <a:rPr lang="en-GB" altLang="ja-JP" sz="500" dirty="0">
                <a:solidFill>
                  <a:schemeClr val="tx2"/>
                </a:solidFill>
                <a:ea typeface="ＭＳ Ｐゴシック" charset="-128"/>
              </a:rPr>
              <a:t>Weak position</a:t>
            </a:r>
          </a:p>
        </p:txBody>
      </p:sp>
      <p:sp>
        <p:nvSpPr>
          <p:cNvPr id="763091" name="Rectangle 245"/>
          <p:cNvSpPr>
            <a:spLocks noChangeArrowheads="1"/>
          </p:cNvSpPr>
          <p:nvPr>
            <p:custDataLst>
              <p:tags r:id="rId204"/>
            </p:custDataLst>
          </p:nvPr>
        </p:nvSpPr>
        <p:spPr bwMode="auto">
          <a:xfrm>
            <a:off x="8133446" y="5908594"/>
            <a:ext cx="565602" cy="76944"/>
          </a:xfrm>
          <a:prstGeom prst="rect">
            <a:avLst/>
          </a:prstGeom>
          <a:noFill/>
          <a:ln w="9525">
            <a:noFill/>
            <a:miter lim="800000"/>
            <a:headEnd/>
            <a:tailEnd/>
          </a:ln>
        </p:spPr>
        <p:txBody>
          <a:bodyPr wrap="square" lIns="0" tIns="0" rIns="0" bIns="0">
            <a:spAutoFit/>
          </a:bodyPr>
          <a:lstStyle/>
          <a:p>
            <a:pPr algn="l"/>
            <a:r>
              <a:rPr lang="en-GB" altLang="ja-JP" sz="500" dirty="0">
                <a:solidFill>
                  <a:schemeClr val="tx2"/>
                </a:solidFill>
                <a:ea typeface="ＭＳ Ｐゴシック" charset="-128"/>
              </a:rPr>
              <a:t>No position</a:t>
            </a:r>
          </a:p>
        </p:txBody>
      </p:sp>
      <p:sp>
        <p:nvSpPr>
          <p:cNvPr id="258" name="Rectangle 266"/>
          <p:cNvSpPr>
            <a:spLocks noChangeArrowheads="1"/>
          </p:cNvSpPr>
          <p:nvPr>
            <p:custDataLst>
              <p:tags r:id="rId205"/>
            </p:custDataLst>
          </p:nvPr>
        </p:nvSpPr>
        <p:spPr bwMode="auto">
          <a:xfrm>
            <a:off x="4465638" y="6003640"/>
            <a:ext cx="303212" cy="120650"/>
          </a:xfrm>
          <a:prstGeom prst="rect">
            <a:avLst/>
          </a:prstGeom>
          <a:solidFill>
            <a:schemeClr val="accent3"/>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763094" name="Rectangle 272"/>
          <p:cNvSpPr>
            <a:spLocks noChangeArrowheads="1"/>
          </p:cNvSpPr>
          <p:nvPr>
            <p:custDataLst>
              <p:tags r:id="rId206"/>
            </p:custDataLst>
          </p:nvPr>
        </p:nvSpPr>
        <p:spPr bwMode="auto">
          <a:xfrm>
            <a:off x="3533775" y="4930490"/>
            <a:ext cx="301625" cy="12700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3095" name="Rectangle 273"/>
          <p:cNvSpPr>
            <a:spLocks noChangeArrowheads="1"/>
          </p:cNvSpPr>
          <p:nvPr>
            <p:custDataLst>
              <p:tags r:id="rId207"/>
            </p:custDataLst>
          </p:nvPr>
        </p:nvSpPr>
        <p:spPr bwMode="auto">
          <a:xfrm>
            <a:off x="3659188" y="2612740"/>
            <a:ext cx="247650"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763096" name="Rectangle 73"/>
          <p:cNvSpPr>
            <a:spLocks noChangeArrowheads="1"/>
          </p:cNvSpPr>
          <p:nvPr>
            <p:custDataLst>
              <p:tags r:id="rId208"/>
            </p:custDataLst>
          </p:nvPr>
        </p:nvSpPr>
        <p:spPr bwMode="auto">
          <a:xfrm>
            <a:off x="1494522" y="1279240"/>
            <a:ext cx="274638" cy="120650"/>
          </a:xfrm>
          <a:prstGeom prst="rect">
            <a:avLst/>
          </a:prstGeom>
          <a:solidFill>
            <a:schemeClr val="accent2"/>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763097" name="AutoShape 246"/>
          <p:cNvSpPr>
            <a:spLocks noChangeArrowheads="1"/>
          </p:cNvSpPr>
          <p:nvPr>
            <p:custDataLst>
              <p:tags r:id="rId209"/>
            </p:custDataLst>
          </p:nvPr>
        </p:nvSpPr>
        <p:spPr bwMode="auto">
          <a:xfrm rot="-5400000">
            <a:off x="1590675" y="1212566"/>
            <a:ext cx="115887" cy="258762"/>
          </a:xfrm>
          <a:prstGeom prst="rtTriangle">
            <a:avLst/>
          </a:prstGeom>
          <a:solidFill>
            <a:schemeClr val="tx2"/>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763098" name="Rectangle 73"/>
          <p:cNvSpPr>
            <a:spLocks noChangeArrowheads="1"/>
          </p:cNvSpPr>
          <p:nvPr>
            <p:custDataLst>
              <p:tags r:id="rId210"/>
            </p:custDataLst>
          </p:nvPr>
        </p:nvSpPr>
        <p:spPr bwMode="auto">
          <a:xfrm>
            <a:off x="1864410" y="1279240"/>
            <a:ext cx="276225" cy="120650"/>
          </a:xfrm>
          <a:prstGeom prst="rect">
            <a:avLst/>
          </a:prstGeom>
          <a:solidFill>
            <a:schemeClr val="accent2"/>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763099" name="AutoShape 246"/>
          <p:cNvSpPr>
            <a:spLocks noChangeArrowheads="1"/>
          </p:cNvSpPr>
          <p:nvPr>
            <p:custDataLst>
              <p:tags r:id="rId211"/>
            </p:custDataLst>
          </p:nvPr>
        </p:nvSpPr>
        <p:spPr bwMode="auto">
          <a:xfrm rot="-5400000">
            <a:off x="1961356" y="1211772"/>
            <a:ext cx="115887" cy="260350"/>
          </a:xfrm>
          <a:prstGeom prst="rtTriangle">
            <a:avLst/>
          </a:prstGeom>
          <a:solidFill>
            <a:schemeClr val="tx2"/>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763100" name="Rectangle 73"/>
          <p:cNvSpPr>
            <a:spLocks noChangeArrowheads="1"/>
          </p:cNvSpPr>
          <p:nvPr>
            <p:custDataLst>
              <p:tags r:id="rId212"/>
            </p:custDataLst>
          </p:nvPr>
        </p:nvSpPr>
        <p:spPr bwMode="auto">
          <a:xfrm>
            <a:off x="2271713" y="1279240"/>
            <a:ext cx="274637" cy="120650"/>
          </a:xfrm>
          <a:prstGeom prst="rect">
            <a:avLst/>
          </a:prstGeom>
          <a:solidFill>
            <a:schemeClr val="accent2"/>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763101" name="AutoShape 246"/>
          <p:cNvSpPr>
            <a:spLocks noChangeArrowheads="1"/>
          </p:cNvSpPr>
          <p:nvPr>
            <p:custDataLst>
              <p:tags r:id="rId213"/>
            </p:custDataLst>
          </p:nvPr>
        </p:nvSpPr>
        <p:spPr bwMode="auto">
          <a:xfrm rot="-5400000">
            <a:off x="2351088" y="1212565"/>
            <a:ext cx="115887" cy="258763"/>
          </a:xfrm>
          <a:prstGeom prst="rtTriangle">
            <a:avLst/>
          </a:prstGeom>
          <a:solidFill>
            <a:schemeClr val="tx2"/>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763102" name="Rectangle 73"/>
          <p:cNvSpPr>
            <a:spLocks noChangeArrowheads="1"/>
          </p:cNvSpPr>
          <p:nvPr>
            <p:custDataLst>
              <p:tags r:id="rId214"/>
            </p:custDataLst>
          </p:nvPr>
        </p:nvSpPr>
        <p:spPr bwMode="auto">
          <a:xfrm>
            <a:off x="2625725" y="1279240"/>
            <a:ext cx="274638" cy="120650"/>
          </a:xfrm>
          <a:prstGeom prst="rect">
            <a:avLst/>
          </a:prstGeom>
          <a:solidFill>
            <a:schemeClr val="accent2"/>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763103" name="AutoShape 246"/>
          <p:cNvSpPr>
            <a:spLocks noChangeArrowheads="1"/>
          </p:cNvSpPr>
          <p:nvPr>
            <p:custDataLst>
              <p:tags r:id="rId215"/>
            </p:custDataLst>
          </p:nvPr>
        </p:nvSpPr>
        <p:spPr bwMode="auto">
          <a:xfrm rot="-5400000">
            <a:off x="2705100" y="1212566"/>
            <a:ext cx="115887" cy="258762"/>
          </a:xfrm>
          <a:prstGeom prst="rtTriangle">
            <a:avLst/>
          </a:prstGeom>
          <a:solidFill>
            <a:schemeClr val="tx2"/>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763104" name="Rectangle 21"/>
          <p:cNvSpPr>
            <a:spLocks noChangeArrowheads="1"/>
          </p:cNvSpPr>
          <p:nvPr>
            <p:custDataLst>
              <p:tags r:id="rId216"/>
            </p:custDataLst>
          </p:nvPr>
        </p:nvSpPr>
        <p:spPr bwMode="auto">
          <a:xfrm>
            <a:off x="1866900" y="6003640"/>
            <a:ext cx="304800" cy="120650"/>
          </a:xfrm>
          <a:prstGeom prst="rect">
            <a:avLst/>
          </a:prstGeom>
          <a:solidFill>
            <a:schemeClr val="accent1"/>
          </a:solidFill>
          <a:ln w="12700">
            <a:solidFill>
              <a:schemeClr val="tx2"/>
            </a:solidFill>
            <a:miter lim="800000"/>
            <a:headEnd/>
            <a:tailEnd/>
          </a:ln>
        </p:spPr>
        <p:txBody>
          <a:bodyPr wrap="none" anchor="ctr"/>
          <a:lstStyle/>
          <a:p>
            <a:pPr algn="ctr"/>
            <a:endParaRPr lang="en-GB" b="0">
              <a:solidFill>
                <a:schemeClr val="tx2"/>
              </a:solidFill>
            </a:endParaRPr>
          </a:p>
        </p:txBody>
      </p:sp>
      <p:sp>
        <p:nvSpPr>
          <p:cNvPr id="763105" name="Rectangle 73"/>
          <p:cNvSpPr>
            <a:spLocks noChangeArrowheads="1"/>
          </p:cNvSpPr>
          <p:nvPr>
            <p:custDataLst>
              <p:tags r:id="rId217"/>
            </p:custDataLst>
          </p:nvPr>
        </p:nvSpPr>
        <p:spPr bwMode="auto">
          <a:xfrm>
            <a:off x="3948113" y="1279240"/>
            <a:ext cx="276225" cy="120650"/>
          </a:xfrm>
          <a:prstGeom prst="rect">
            <a:avLst/>
          </a:prstGeom>
          <a:solidFill>
            <a:schemeClr val="accent1"/>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291" name="AutoShape 246"/>
          <p:cNvSpPr>
            <a:spLocks noChangeArrowheads="1"/>
          </p:cNvSpPr>
          <p:nvPr>
            <p:custDataLst>
              <p:tags r:id="rId218"/>
            </p:custDataLst>
          </p:nvPr>
        </p:nvSpPr>
        <p:spPr bwMode="auto">
          <a:xfrm rot="-5400000">
            <a:off x="4037013" y="1212565"/>
            <a:ext cx="115887" cy="258763"/>
          </a:xfrm>
          <a:prstGeom prst="rtTriangle">
            <a:avLst/>
          </a:prstGeom>
          <a:solidFill>
            <a:schemeClr val="accent3"/>
          </a:solidFill>
          <a:ln w="12700">
            <a:solidFill>
              <a:schemeClr val="bg2"/>
            </a:solidFill>
            <a:miter lim="800000"/>
            <a:headEnd/>
            <a:tailEnd/>
          </a:ln>
        </p:spPr>
        <p:txBody>
          <a:bodyPr wrap="none" anchor="ctr"/>
          <a:lstStyle/>
          <a:p>
            <a:pPr algn="ctr">
              <a:defRPr/>
            </a:pPr>
            <a:endParaRPr lang="en-GB" b="0">
              <a:solidFill>
                <a:schemeClr val="tx2"/>
              </a:solidFill>
            </a:endParaRPr>
          </a:p>
        </p:txBody>
      </p:sp>
      <p:grpSp>
        <p:nvGrpSpPr>
          <p:cNvPr id="281" name="Group 280"/>
          <p:cNvGrpSpPr/>
          <p:nvPr/>
        </p:nvGrpSpPr>
        <p:grpSpPr>
          <a:xfrm>
            <a:off x="7532688" y="1249077"/>
            <a:ext cx="274638" cy="125413"/>
            <a:chOff x="7532688" y="1341437"/>
            <a:chExt cx="274638" cy="125413"/>
          </a:xfrm>
        </p:grpSpPr>
        <p:sp>
          <p:nvSpPr>
            <p:cNvPr id="763153" name="Rectangle 73"/>
            <p:cNvSpPr>
              <a:spLocks noChangeArrowheads="1"/>
            </p:cNvSpPr>
            <p:nvPr/>
          </p:nvSpPr>
          <p:spPr bwMode="auto">
            <a:xfrm>
              <a:off x="7532688" y="1341437"/>
              <a:ext cx="274638" cy="120650"/>
            </a:xfrm>
            <a:prstGeom prst="rect">
              <a:avLst/>
            </a:prstGeom>
            <a:solidFill>
              <a:schemeClr val="accent1"/>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293" name="AutoShape 246"/>
            <p:cNvSpPr>
              <a:spLocks noChangeArrowheads="1"/>
            </p:cNvSpPr>
            <p:nvPr/>
          </p:nvSpPr>
          <p:spPr bwMode="auto">
            <a:xfrm rot="16200000">
              <a:off x="7615238" y="1279525"/>
              <a:ext cx="115887" cy="258763"/>
            </a:xfrm>
            <a:prstGeom prst="rtTriangle">
              <a:avLst/>
            </a:prstGeom>
            <a:solidFill>
              <a:schemeClr val="accent3"/>
            </a:solidFill>
            <a:ln w="12700">
              <a:solidFill>
                <a:schemeClr val="bg2"/>
              </a:solidFill>
              <a:miter lim="800000"/>
              <a:headEnd/>
              <a:tailEnd/>
            </a:ln>
          </p:spPr>
          <p:txBody>
            <a:bodyPr wrap="none" anchor="ctr"/>
            <a:lstStyle/>
            <a:p>
              <a:pPr algn="ctr">
                <a:defRPr/>
              </a:pPr>
              <a:endParaRPr lang="en-GB" b="0">
                <a:solidFill>
                  <a:schemeClr val="tx2"/>
                </a:solidFill>
              </a:endParaRPr>
            </a:p>
          </p:txBody>
        </p:sp>
      </p:grpSp>
      <p:grpSp>
        <p:nvGrpSpPr>
          <p:cNvPr id="3" name="Group 294"/>
          <p:cNvGrpSpPr>
            <a:grpSpLocks/>
          </p:cNvGrpSpPr>
          <p:nvPr>
            <p:custDataLst>
              <p:tags r:id="rId219"/>
            </p:custDataLst>
          </p:nvPr>
        </p:nvGrpSpPr>
        <p:grpSpPr bwMode="auto">
          <a:xfrm>
            <a:off x="1511300" y="1666590"/>
            <a:ext cx="274638" cy="120650"/>
            <a:chOff x="7921085" y="1385888"/>
            <a:chExt cx="298450" cy="120650"/>
          </a:xfrm>
        </p:grpSpPr>
        <p:sp>
          <p:nvSpPr>
            <p:cNvPr id="763151" name="Rectangle 73"/>
            <p:cNvSpPr>
              <a:spLocks noChangeArrowheads="1"/>
            </p:cNvSpPr>
            <p:nvPr/>
          </p:nvSpPr>
          <p:spPr bwMode="auto">
            <a:xfrm>
              <a:off x="7921085" y="1385888"/>
              <a:ext cx="298450" cy="120650"/>
            </a:xfrm>
            <a:prstGeom prst="rect">
              <a:avLst/>
            </a:prstGeom>
            <a:solidFill>
              <a:schemeClr val="accent1"/>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297" name="AutoShape 246"/>
            <p:cNvSpPr>
              <a:spLocks noChangeArrowheads="1"/>
            </p:cNvSpPr>
            <p:nvPr/>
          </p:nvSpPr>
          <p:spPr bwMode="auto">
            <a:xfrm rot="-5400000">
              <a:off x="8020992" y="1307995"/>
              <a:ext cx="115887" cy="281199"/>
            </a:xfrm>
            <a:prstGeom prst="rtTriangle">
              <a:avLst/>
            </a:prstGeom>
            <a:solidFill>
              <a:schemeClr val="accent3"/>
            </a:solidFill>
            <a:ln w="12700">
              <a:solidFill>
                <a:schemeClr val="bg2"/>
              </a:solidFill>
              <a:miter lim="800000"/>
              <a:headEnd/>
              <a:tailEnd/>
            </a:ln>
          </p:spPr>
          <p:txBody>
            <a:bodyPr wrap="none" anchor="ctr"/>
            <a:lstStyle/>
            <a:p>
              <a:pPr algn="ctr">
                <a:defRPr/>
              </a:pPr>
              <a:endParaRPr lang="en-GB" b="0">
                <a:solidFill>
                  <a:schemeClr val="tx2"/>
                </a:solidFill>
              </a:endParaRPr>
            </a:p>
          </p:txBody>
        </p:sp>
      </p:grpSp>
      <p:grpSp>
        <p:nvGrpSpPr>
          <p:cNvPr id="4" name="Group 297"/>
          <p:cNvGrpSpPr>
            <a:grpSpLocks/>
          </p:cNvGrpSpPr>
          <p:nvPr>
            <p:custDataLst>
              <p:tags r:id="rId220"/>
            </p:custDataLst>
          </p:nvPr>
        </p:nvGrpSpPr>
        <p:grpSpPr bwMode="auto">
          <a:xfrm>
            <a:off x="1881188" y="1666590"/>
            <a:ext cx="276225" cy="120650"/>
            <a:chOff x="7921085" y="1385888"/>
            <a:chExt cx="298450" cy="120650"/>
          </a:xfrm>
        </p:grpSpPr>
        <p:sp>
          <p:nvSpPr>
            <p:cNvPr id="763149" name="Rectangle 73"/>
            <p:cNvSpPr>
              <a:spLocks noChangeArrowheads="1"/>
            </p:cNvSpPr>
            <p:nvPr/>
          </p:nvSpPr>
          <p:spPr bwMode="auto">
            <a:xfrm>
              <a:off x="7921085" y="1385888"/>
              <a:ext cx="298450" cy="120650"/>
            </a:xfrm>
            <a:prstGeom prst="rect">
              <a:avLst/>
            </a:prstGeom>
            <a:solidFill>
              <a:schemeClr val="accent1"/>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300" name="AutoShape 246"/>
            <p:cNvSpPr>
              <a:spLocks noChangeArrowheads="1"/>
            </p:cNvSpPr>
            <p:nvPr/>
          </p:nvSpPr>
          <p:spPr bwMode="auto">
            <a:xfrm rot="-5400000">
              <a:off x="8020942" y="1307946"/>
              <a:ext cx="115887" cy="281298"/>
            </a:xfrm>
            <a:prstGeom prst="rtTriangle">
              <a:avLst/>
            </a:prstGeom>
            <a:solidFill>
              <a:schemeClr val="accent3"/>
            </a:solidFill>
            <a:ln w="12700">
              <a:solidFill>
                <a:schemeClr val="bg2"/>
              </a:solidFill>
              <a:miter lim="800000"/>
              <a:headEnd/>
              <a:tailEnd/>
            </a:ln>
          </p:spPr>
          <p:txBody>
            <a:bodyPr wrap="none" anchor="ctr"/>
            <a:lstStyle/>
            <a:p>
              <a:pPr algn="ctr">
                <a:defRPr/>
              </a:pPr>
              <a:endParaRPr lang="en-GB" b="0">
                <a:solidFill>
                  <a:schemeClr val="tx2"/>
                </a:solidFill>
              </a:endParaRPr>
            </a:p>
          </p:txBody>
        </p:sp>
      </p:grpSp>
      <p:grpSp>
        <p:nvGrpSpPr>
          <p:cNvPr id="5" name="Group 300"/>
          <p:cNvGrpSpPr>
            <a:grpSpLocks/>
          </p:cNvGrpSpPr>
          <p:nvPr>
            <p:custDataLst>
              <p:tags r:id="rId221"/>
            </p:custDataLst>
          </p:nvPr>
        </p:nvGrpSpPr>
        <p:grpSpPr bwMode="auto">
          <a:xfrm>
            <a:off x="2271713" y="1666590"/>
            <a:ext cx="274637" cy="120650"/>
            <a:chOff x="7921085" y="1385888"/>
            <a:chExt cx="298450" cy="120650"/>
          </a:xfrm>
        </p:grpSpPr>
        <p:sp>
          <p:nvSpPr>
            <p:cNvPr id="763147" name="Rectangle 73"/>
            <p:cNvSpPr>
              <a:spLocks noChangeArrowheads="1"/>
            </p:cNvSpPr>
            <p:nvPr/>
          </p:nvSpPr>
          <p:spPr bwMode="auto">
            <a:xfrm>
              <a:off x="7921085" y="1385888"/>
              <a:ext cx="298450" cy="120650"/>
            </a:xfrm>
            <a:prstGeom prst="rect">
              <a:avLst/>
            </a:prstGeom>
            <a:solidFill>
              <a:schemeClr val="accent1"/>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303" name="AutoShape 246"/>
            <p:cNvSpPr>
              <a:spLocks noChangeArrowheads="1"/>
            </p:cNvSpPr>
            <p:nvPr/>
          </p:nvSpPr>
          <p:spPr bwMode="auto">
            <a:xfrm rot="-5400000">
              <a:off x="8020992" y="1307996"/>
              <a:ext cx="115887" cy="281199"/>
            </a:xfrm>
            <a:prstGeom prst="rtTriangle">
              <a:avLst/>
            </a:prstGeom>
            <a:solidFill>
              <a:schemeClr val="accent3"/>
            </a:solidFill>
            <a:ln w="12700">
              <a:solidFill>
                <a:schemeClr val="bg2"/>
              </a:solidFill>
              <a:miter lim="800000"/>
              <a:headEnd/>
              <a:tailEnd/>
            </a:ln>
          </p:spPr>
          <p:txBody>
            <a:bodyPr wrap="none" anchor="ctr"/>
            <a:lstStyle/>
            <a:p>
              <a:pPr algn="ctr">
                <a:defRPr/>
              </a:pPr>
              <a:endParaRPr lang="en-GB" b="0">
                <a:solidFill>
                  <a:schemeClr val="tx2"/>
                </a:solidFill>
              </a:endParaRPr>
            </a:p>
          </p:txBody>
        </p:sp>
      </p:grpSp>
      <p:grpSp>
        <p:nvGrpSpPr>
          <p:cNvPr id="6" name="Group 303"/>
          <p:cNvGrpSpPr>
            <a:grpSpLocks/>
          </p:cNvGrpSpPr>
          <p:nvPr>
            <p:custDataLst>
              <p:tags r:id="rId222"/>
            </p:custDataLst>
          </p:nvPr>
        </p:nvGrpSpPr>
        <p:grpSpPr bwMode="auto">
          <a:xfrm>
            <a:off x="2625725" y="2192053"/>
            <a:ext cx="274638" cy="120650"/>
            <a:chOff x="7921085" y="1385888"/>
            <a:chExt cx="298450" cy="120650"/>
          </a:xfrm>
        </p:grpSpPr>
        <p:sp>
          <p:nvSpPr>
            <p:cNvPr id="763145" name="Rectangle 73"/>
            <p:cNvSpPr>
              <a:spLocks noChangeArrowheads="1"/>
            </p:cNvSpPr>
            <p:nvPr/>
          </p:nvSpPr>
          <p:spPr bwMode="auto">
            <a:xfrm>
              <a:off x="7921085" y="1385888"/>
              <a:ext cx="298450" cy="120650"/>
            </a:xfrm>
            <a:prstGeom prst="rect">
              <a:avLst/>
            </a:prstGeom>
            <a:solidFill>
              <a:schemeClr val="accent1"/>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306" name="AutoShape 246"/>
            <p:cNvSpPr>
              <a:spLocks noChangeArrowheads="1"/>
            </p:cNvSpPr>
            <p:nvPr/>
          </p:nvSpPr>
          <p:spPr bwMode="auto">
            <a:xfrm rot="-5400000">
              <a:off x="8020992" y="1307994"/>
              <a:ext cx="115888" cy="281199"/>
            </a:xfrm>
            <a:prstGeom prst="rtTriangle">
              <a:avLst/>
            </a:prstGeom>
            <a:solidFill>
              <a:schemeClr val="accent3"/>
            </a:solidFill>
            <a:ln w="12700">
              <a:solidFill>
                <a:schemeClr val="bg2"/>
              </a:solidFill>
              <a:miter lim="800000"/>
              <a:headEnd/>
              <a:tailEnd/>
            </a:ln>
          </p:spPr>
          <p:txBody>
            <a:bodyPr wrap="none" anchor="ctr"/>
            <a:lstStyle/>
            <a:p>
              <a:pPr algn="ctr">
                <a:defRPr/>
              </a:pPr>
              <a:endParaRPr lang="en-GB" b="0">
                <a:solidFill>
                  <a:schemeClr val="tx2"/>
                </a:solidFill>
              </a:endParaRPr>
            </a:p>
          </p:txBody>
        </p:sp>
      </p:grpSp>
      <p:grpSp>
        <p:nvGrpSpPr>
          <p:cNvPr id="7" name="Group 306"/>
          <p:cNvGrpSpPr>
            <a:grpSpLocks/>
          </p:cNvGrpSpPr>
          <p:nvPr>
            <p:custDataLst>
              <p:tags r:id="rId223"/>
            </p:custDataLst>
          </p:nvPr>
        </p:nvGrpSpPr>
        <p:grpSpPr bwMode="auto">
          <a:xfrm>
            <a:off x="3640138" y="2193640"/>
            <a:ext cx="276225" cy="120650"/>
            <a:chOff x="7921085" y="1385888"/>
            <a:chExt cx="298450" cy="120650"/>
          </a:xfrm>
        </p:grpSpPr>
        <p:sp>
          <p:nvSpPr>
            <p:cNvPr id="763143" name="Rectangle 73"/>
            <p:cNvSpPr>
              <a:spLocks noChangeArrowheads="1"/>
            </p:cNvSpPr>
            <p:nvPr/>
          </p:nvSpPr>
          <p:spPr bwMode="auto">
            <a:xfrm>
              <a:off x="7921085" y="1385888"/>
              <a:ext cx="298450" cy="120650"/>
            </a:xfrm>
            <a:prstGeom prst="rect">
              <a:avLst/>
            </a:prstGeom>
            <a:solidFill>
              <a:schemeClr val="accent1"/>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309" name="AutoShape 246"/>
            <p:cNvSpPr>
              <a:spLocks noChangeArrowheads="1"/>
            </p:cNvSpPr>
            <p:nvPr/>
          </p:nvSpPr>
          <p:spPr bwMode="auto">
            <a:xfrm rot="-5400000">
              <a:off x="8020942" y="1307946"/>
              <a:ext cx="115887" cy="281298"/>
            </a:xfrm>
            <a:prstGeom prst="rtTriangle">
              <a:avLst/>
            </a:prstGeom>
            <a:solidFill>
              <a:schemeClr val="accent3"/>
            </a:solidFill>
            <a:ln w="12700">
              <a:solidFill>
                <a:schemeClr val="bg2"/>
              </a:solidFill>
              <a:miter lim="800000"/>
              <a:headEnd/>
              <a:tailEnd/>
            </a:ln>
          </p:spPr>
          <p:txBody>
            <a:bodyPr wrap="none" anchor="ctr"/>
            <a:lstStyle/>
            <a:p>
              <a:pPr algn="ctr">
                <a:defRPr/>
              </a:pPr>
              <a:endParaRPr lang="en-GB" b="0">
                <a:solidFill>
                  <a:schemeClr val="tx2"/>
                </a:solidFill>
              </a:endParaRPr>
            </a:p>
          </p:txBody>
        </p:sp>
      </p:grpSp>
      <p:grpSp>
        <p:nvGrpSpPr>
          <p:cNvPr id="8" name="Group 309"/>
          <p:cNvGrpSpPr>
            <a:grpSpLocks/>
          </p:cNvGrpSpPr>
          <p:nvPr>
            <p:custDataLst>
              <p:tags r:id="rId224"/>
            </p:custDataLst>
          </p:nvPr>
        </p:nvGrpSpPr>
        <p:grpSpPr bwMode="auto">
          <a:xfrm>
            <a:off x="3976688" y="2193640"/>
            <a:ext cx="276225" cy="120650"/>
            <a:chOff x="7921085" y="1385888"/>
            <a:chExt cx="298450" cy="120650"/>
          </a:xfrm>
        </p:grpSpPr>
        <p:sp>
          <p:nvSpPr>
            <p:cNvPr id="763141" name="Rectangle 73"/>
            <p:cNvSpPr>
              <a:spLocks noChangeArrowheads="1"/>
            </p:cNvSpPr>
            <p:nvPr/>
          </p:nvSpPr>
          <p:spPr bwMode="auto">
            <a:xfrm>
              <a:off x="7921085" y="1385888"/>
              <a:ext cx="298450" cy="120650"/>
            </a:xfrm>
            <a:prstGeom prst="rect">
              <a:avLst/>
            </a:prstGeom>
            <a:solidFill>
              <a:schemeClr val="accent1"/>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312" name="AutoShape 246"/>
            <p:cNvSpPr>
              <a:spLocks noChangeArrowheads="1"/>
            </p:cNvSpPr>
            <p:nvPr/>
          </p:nvSpPr>
          <p:spPr bwMode="auto">
            <a:xfrm rot="-5400000">
              <a:off x="8020942" y="1307946"/>
              <a:ext cx="115887" cy="281298"/>
            </a:xfrm>
            <a:prstGeom prst="rtTriangle">
              <a:avLst/>
            </a:prstGeom>
            <a:solidFill>
              <a:schemeClr val="accent3"/>
            </a:solidFill>
            <a:ln w="12700">
              <a:solidFill>
                <a:schemeClr val="bg2"/>
              </a:solidFill>
              <a:miter lim="800000"/>
              <a:headEnd/>
              <a:tailEnd/>
            </a:ln>
          </p:spPr>
          <p:txBody>
            <a:bodyPr wrap="none" anchor="ctr"/>
            <a:lstStyle/>
            <a:p>
              <a:pPr algn="ctr">
                <a:defRPr/>
              </a:pPr>
              <a:endParaRPr lang="en-GB" b="0">
                <a:solidFill>
                  <a:schemeClr val="tx2"/>
                </a:solidFill>
              </a:endParaRPr>
            </a:p>
          </p:txBody>
        </p:sp>
      </p:grpSp>
      <p:grpSp>
        <p:nvGrpSpPr>
          <p:cNvPr id="9" name="Group 312"/>
          <p:cNvGrpSpPr>
            <a:grpSpLocks/>
          </p:cNvGrpSpPr>
          <p:nvPr>
            <p:custDataLst>
              <p:tags r:id="rId225"/>
            </p:custDataLst>
          </p:nvPr>
        </p:nvGrpSpPr>
        <p:grpSpPr bwMode="auto">
          <a:xfrm>
            <a:off x="5227638" y="1638015"/>
            <a:ext cx="276225" cy="120650"/>
            <a:chOff x="7921085" y="1385888"/>
            <a:chExt cx="298450" cy="120650"/>
          </a:xfrm>
        </p:grpSpPr>
        <p:sp>
          <p:nvSpPr>
            <p:cNvPr id="763139" name="Rectangle 73"/>
            <p:cNvSpPr>
              <a:spLocks noChangeArrowheads="1"/>
            </p:cNvSpPr>
            <p:nvPr/>
          </p:nvSpPr>
          <p:spPr bwMode="auto">
            <a:xfrm>
              <a:off x="7921085" y="1385888"/>
              <a:ext cx="298450" cy="120650"/>
            </a:xfrm>
            <a:prstGeom prst="rect">
              <a:avLst/>
            </a:prstGeom>
            <a:solidFill>
              <a:schemeClr val="accent1"/>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315" name="AutoShape 246"/>
            <p:cNvSpPr>
              <a:spLocks noChangeArrowheads="1"/>
            </p:cNvSpPr>
            <p:nvPr/>
          </p:nvSpPr>
          <p:spPr bwMode="auto">
            <a:xfrm rot="-5400000">
              <a:off x="8020942" y="1307946"/>
              <a:ext cx="115887" cy="281298"/>
            </a:xfrm>
            <a:prstGeom prst="rtTriangle">
              <a:avLst/>
            </a:prstGeom>
            <a:solidFill>
              <a:schemeClr val="accent3"/>
            </a:solidFill>
            <a:ln w="12700">
              <a:solidFill>
                <a:schemeClr val="bg2"/>
              </a:solidFill>
              <a:miter lim="800000"/>
              <a:headEnd/>
              <a:tailEnd/>
            </a:ln>
          </p:spPr>
          <p:txBody>
            <a:bodyPr wrap="none" anchor="ctr"/>
            <a:lstStyle/>
            <a:p>
              <a:pPr algn="ctr">
                <a:defRPr/>
              </a:pPr>
              <a:endParaRPr lang="en-GB" b="0">
                <a:solidFill>
                  <a:schemeClr val="tx2"/>
                </a:solidFill>
              </a:endParaRPr>
            </a:p>
          </p:txBody>
        </p:sp>
      </p:grpSp>
      <p:grpSp>
        <p:nvGrpSpPr>
          <p:cNvPr id="10" name="Group 315"/>
          <p:cNvGrpSpPr>
            <a:grpSpLocks/>
          </p:cNvGrpSpPr>
          <p:nvPr>
            <p:custDataLst>
              <p:tags r:id="rId226"/>
            </p:custDataLst>
          </p:nvPr>
        </p:nvGrpSpPr>
        <p:grpSpPr bwMode="auto">
          <a:xfrm>
            <a:off x="5556250" y="1638015"/>
            <a:ext cx="276225" cy="120650"/>
            <a:chOff x="7921085" y="1385888"/>
            <a:chExt cx="298450" cy="120650"/>
          </a:xfrm>
        </p:grpSpPr>
        <p:sp>
          <p:nvSpPr>
            <p:cNvPr id="763137" name="Rectangle 73"/>
            <p:cNvSpPr>
              <a:spLocks noChangeArrowheads="1"/>
            </p:cNvSpPr>
            <p:nvPr/>
          </p:nvSpPr>
          <p:spPr bwMode="auto">
            <a:xfrm>
              <a:off x="7921085" y="1385888"/>
              <a:ext cx="298450" cy="120650"/>
            </a:xfrm>
            <a:prstGeom prst="rect">
              <a:avLst/>
            </a:prstGeom>
            <a:solidFill>
              <a:schemeClr val="accent1"/>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318" name="AutoShape 246"/>
            <p:cNvSpPr>
              <a:spLocks noChangeArrowheads="1"/>
            </p:cNvSpPr>
            <p:nvPr/>
          </p:nvSpPr>
          <p:spPr bwMode="auto">
            <a:xfrm rot="-5400000">
              <a:off x="8020942" y="1307946"/>
              <a:ext cx="115887" cy="281298"/>
            </a:xfrm>
            <a:prstGeom prst="rtTriangle">
              <a:avLst/>
            </a:prstGeom>
            <a:solidFill>
              <a:schemeClr val="accent3"/>
            </a:solidFill>
            <a:ln w="12700">
              <a:solidFill>
                <a:schemeClr val="bg2"/>
              </a:solidFill>
              <a:miter lim="800000"/>
              <a:headEnd/>
              <a:tailEnd/>
            </a:ln>
          </p:spPr>
          <p:txBody>
            <a:bodyPr wrap="none" anchor="ctr"/>
            <a:lstStyle/>
            <a:p>
              <a:pPr algn="ctr">
                <a:defRPr/>
              </a:pPr>
              <a:endParaRPr lang="en-GB" b="0">
                <a:solidFill>
                  <a:schemeClr val="tx2"/>
                </a:solidFill>
              </a:endParaRPr>
            </a:p>
          </p:txBody>
        </p:sp>
      </p:grpSp>
      <p:grpSp>
        <p:nvGrpSpPr>
          <p:cNvPr id="11" name="Group 318"/>
          <p:cNvGrpSpPr>
            <a:grpSpLocks/>
          </p:cNvGrpSpPr>
          <p:nvPr>
            <p:custDataLst>
              <p:tags r:id="rId227"/>
            </p:custDataLst>
          </p:nvPr>
        </p:nvGrpSpPr>
        <p:grpSpPr bwMode="auto">
          <a:xfrm>
            <a:off x="5888038" y="1638015"/>
            <a:ext cx="276225" cy="120650"/>
            <a:chOff x="7921085" y="1385888"/>
            <a:chExt cx="298450" cy="120650"/>
          </a:xfrm>
        </p:grpSpPr>
        <p:sp>
          <p:nvSpPr>
            <p:cNvPr id="763135" name="Rectangle 73"/>
            <p:cNvSpPr>
              <a:spLocks noChangeArrowheads="1"/>
            </p:cNvSpPr>
            <p:nvPr/>
          </p:nvSpPr>
          <p:spPr bwMode="auto">
            <a:xfrm>
              <a:off x="7921085" y="1385888"/>
              <a:ext cx="298450" cy="120650"/>
            </a:xfrm>
            <a:prstGeom prst="rect">
              <a:avLst/>
            </a:prstGeom>
            <a:solidFill>
              <a:schemeClr val="accent1"/>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321" name="AutoShape 246"/>
            <p:cNvSpPr>
              <a:spLocks noChangeArrowheads="1"/>
            </p:cNvSpPr>
            <p:nvPr/>
          </p:nvSpPr>
          <p:spPr bwMode="auto">
            <a:xfrm rot="-5400000">
              <a:off x="8020942" y="1307946"/>
              <a:ext cx="115887" cy="281298"/>
            </a:xfrm>
            <a:prstGeom prst="rtTriangle">
              <a:avLst/>
            </a:prstGeom>
            <a:solidFill>
              <a:schemeClr val="accent3"/>
            </a:solidFill>
            <a:ln w="12700">
              <a:solidFill>
                <a:schemeClr val="bg2"/>
              </a:solidFill>
              <a:miter lim="800000"/>
              <a:headEnd/>
              <a:tailEnd/>
            </a:ln>
          </p:spPr>
          <p:txBody>
            <a:bodyPr wrap="none" anchor="ctr"/>
            <a:lstStyle/>
            <a:p>
              <a:pPr algn="ctr">
                <a:defRPr/>
              </a:pPr>
              <a:endParaRPr lang="en-GB" b="0">
                <a:solidFill>
                  <a:schemeClr val="tx2"/>
                </a:solidFill>
              </a:endParaRPr>
            </a:p>
          </p:txBody>
        </p:sp>
      </p:grpSp>
      <p:grpSp>
        <p:nvGrpSpPr>
          <p:cNvPr id="12" name="Group 321"/>
          <p:cNvGrpSpPr>
            <a:grpSpLocks/>
          </p:cNvGrpSpPr>
          <p:nvPr>
            <p:custDataLst>
              <p:tags r:id="rId228"/>
            </p:custDataLst>
          </p:nvPr>
        </p:nvGrpSpPr>
        <p:grpSpPr bwMode="auto">
          <a:xfrm>
            <a:off x="5221288" y="2558765"/>
            <a:ext cx="274637" cy="120650"/>
            <a:chOff x="7921085" y="1385888"/>
            <a:chExt cx="298450" cy="120650"/>
          </a:xfrm>
        </p:grpSpPr>
        <p:sp>
          <p:nvSpPr>
            <p:cNvPr id="763133" name="Rectangle 73"/>
            <p:cNvSpPr>
              <a:spLocks noChangeArrowheads="1"/>
            </p:cNvSpPr>
            <p:nvPr/>
          </p:nvSpPr>
          <p:spPr bwMode="auto">
            <a:xfrm>
              <a:off x="7921085" y="1385888"/>
              <a:ext cx="298450" cy="120650"/>
            </a:xfrm>
            <a:prstGeom prst="rect">
              <a:avLst/>
            </a:prstGeom>
            <a:solidFill>
              <a:schemeClr val="accent1"/>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324" name="AutoShape 246"/>
            <p:cNvSpPr>
              <a:spLocks noChangeArrowheads="1"/>
            </p:cNvSpPr>
            <p:nvPr/>
          </p:nvSpPr>
          <p:spPr bwMode="auto">
            <a:xfrm rot="-5400000">
              <a:off x="8020992" y="1307996"/>
              <a:ext cx="115887" cy="281199"/>
            </a:xfrm>
            <a:prstGeom prst="rtTriangle">
              <a:avLst/>
            </a:prstGeom>
            <a:solidFill>
              <a:schemeClr val="accent3"/>
            </a:solidFill>
            <a:ln w="12700">
              <a:solidFill>
                <a:schemeClr val="bg2"/>
              </a:solidFill>
              <a:miter lim="800000"/>
              <a:headEnd/>
              <a:tailEnd/>
            </a:ln>
          </p:spPr>
          <p:txBody>
            <a:bodyPr wrap="none" anchor="ctr"/>
            <a:lstStyle/>
            <a:p>
              <a:pPr algn="ctr">
                <a:defRPr/>
              </a:pPr>
              <a:endParaRPr lang="en-GB" b="0">
                <a:solidFill>
                  <a:schemeClr val="tx2"/>
                </a:solidFill>
              </a:endParaRPr>
            </a:p>
          </p:txBody>
        </p:sp>
      </p:grpSp>
      <p:grpSp>
        <p:nvGrpSpPr>
          <p:cNvPr id="13" name="Group 324"/>
          <p:cNvGrpSpPr>
            <a:grpSpLocks/>
          </p:cNvGrpSpPr>
          <p:nvPr>
            <p:custDataLst>
              <p:tags r:id="rId229"/>
            </p:custDataLst>
          </p:nvPr>
        </p:nvGrpSpPr>
        <p:grpSpPr bwMode="auto">
          <a:xfrm>
            <a:off x="5559425" y="2558765"/>
            <a:ext cx="276225" cy="120650"/>
            <a:chOff x="7921085" y="1385888"/>
            <a:chExt cx="298450" cy="120650"/>
          </a:xfrm>
        </p:grpSpPr>
        <p:sp>
          <p:nvSpPr>
            <p:cNvPr id="763131" name="Rectangle 73"/>
            <p:cNvSpPr>
              <a:spLocks noChangeArrowheads="1"/>
            </p:cNvSpPr>
            <p:nvPr/>
          </p:nvSpPr>
          <p:spPr bwMode="auto">
            <a:xfrm>
              <a:off x="7921085" y="1385888"/>
              <a:ext cx="298450" cy="120650"/>
            </a:xfrm>
            <a:prstGeom prst="rect">
              <a:avLst/>
            </a:prstGeom>
            <a:solidFill>
              <a:schemeClr val="accent1"/>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327" name="AutoShape 246"/>
            <p:cNvSpPr>
              <a:spLocks noChangeArrowheads="1"/>
            </p:cNvSpPr>
            <p:nvPr/>
          </p:nvSpPr>
          <p:spPr bwMode="auto">
            <a:xfrm rot="-5400000">
              <a:off x="8020942" y="1307946"/>
              <a:ext cx="115887" cy="281298"/>
            </a:xfrm>
            <a:prstGeom prst="rtTriangle">
              <a:avLst/>
            </a:prstGeom>
            <a:solidFill>
              <a:schemeClr val="accent3"/>
            </a:solidFill>
            <a:ln w="12700">
              <a:solidFill>
                <a:schemeClr val="bg2"/>
              </a:solidFill>
              <a:miter lim="800000"/>
              <a:headEnd/>
              <a:tailEnd/>
            </a:ln>
          </p:spPr>
          <p:txBody>
            <a:bodyPr wrap="none" anchor="ctr"/>
            <a:lstStyle/>
            <a:p>
              <a:pPr algn="ctr">
                <a:defRPr/>
              </a:pPr>
              <a:endParaRPr lang="en-GB" b="0">
                <a:solidFill>
                  <a:schemeClr val="tx2"/>
                </a:solidFill>
              </a:endParaRPr>
            </a:p>
          </p:txBody>
        </p:sp>
      </p:grpSp>
      <p:grpSp>
        <p:nvGrpSpPr>
          <p:cNvPr id="14" name="Group 327"/>
          <p:cNvGrpSpPr>
            <a:grpSpLocks/>
          </p:cNvGrpSpPr>
          <p:nvPr>
            <p:custDataLst>
              <p:tags r:id="rId230"/>
            </p:custDataLst>
          </p:nvPr>
        </p:nvGrpSpPr>
        <p:grpSpPr bwMode="auto">
          <a:xfrm>
            <a:off x="5881688" y="2558765"/>
            <a:ext cx="276225" cy="120650"/>
            <a:chOff x="7921085" y="1385888"/>
            <a:chExt cx="298450" cy="120650"/>
          </a:xfrm>
        </p:grpSpPr>
        <p:sp>
          <p:nvSpPr>
            <p:cNvPr id="763129" name="Rectangle 73"/>
            <p:cNvSpPr>
              <a:spLocks noChangeArrowheads="1"/>
            </p:cNvSpPr>
            <p:nvPr/>
          </p:nvSpPr>
          <p:spPr bwMode="auto">
            <a:xfrm>
              <a:off x="7921085" y="1385888"/>
              <a:ext cx="298450" cy="120650"/>
            </a:xfrm>
            <a:prstGeom prst="rect">
              <a:avLst/>
            </a:prstGeom>
            <a:solidFill>
              <a:schemeClr val="accent1"/>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330" name="AutoShape 246"/>
            <p:cNvSpPr>
              <a:spLocks noChangeArrowheads="1"/>
            </p:cNvSpPr>
            <p:nvPr/>
          </p:nvSpPr>
          <p:spPr bwMode="auto">
            <a:xfrm rot="-5400000">
              <a:off x="8020942" y="1307946"/>
              <a:ext cx="115887" cy="281298"/>
            </a:xfrm>
            <a:prstGeom prst="rtTriangle">
              <a:avLst/>
            </a:prstGeom>
            <a:solidFill>
              <a:schemeClr val="accent3"/>
            </a:solidFill>
            <a:ln w="12700">
              <a:solidFill>
                <a:schemeClr val="bg2"/>
              </a:solidFill>
              <a:miter lim="800000"/>
              <a:headEnd/>
              <a:tailEnd/>
            </a:ln>
          </p:spPr>
          <p:txBody>
            <a:bodyPr wrap="none" anchor="ctr"/>
            <a:lstStyle/>
            <a:p>
              <a:pPr algn="ctr">
                <a:defRPr/>
              </a:pPr>
              <a:endParaRPr lang="en-GB" b="0">
                <a:solidFill>
                  <a:schemeClr val="tx2"/>
                </a:solidFill>
              </a:endParaRPr>
            </a:p>
          </p:txBody>
        </p:sp>
      </p:grpSp>
      <p:grpSp>
        <p:nvGrpSpPr>
          <p:cNvPr id="16" name="Group 330"/>
          <p:cNvGrpSpPr>
            <a:grpSpLocks/>
          </p:cNvGrpSpPr>
          <p:nvPr>
            <p:custDataLst>
              <p:tags r:id="rId231"/>
            </p:custDataLst>
          </p:nvPr>
        </p:nvGrpSpPr>
        <p:grpSpPr bwMode="auto">
          <a:xfrm>
            <a:off x="2625725" y="5317840"/>
            <a:ext cx="274638" cy="120650"/>
            <a:chOff x="7921085" y="1385888"/>
            <a:chExt cx="298450" cy="120650"/>
          </a:xfrm>
        </p:grpSpPr>
        <p:sp>
          <p:nvSpPr>
            <p:cNvPr id="763127" name="Rectangle 73"/>
            <p:cNvSpPr>
              <a:spLocks noChangeArrowheads="1"/>
            </p:cNvSpPr>
            <p:nvPr/>
          </p:nvSpPr>
          <p:spPr bwMode="auto">
            <a:xfrm>
              <a:off x="7921085" y="1385888"/>
              <a:ext cx="298450" cy="120650"/>
            </a:xfrm>
            <a:prstGeom prst="rect">
              <a:avLst/>
            </a:prstGeom>
            <a:solidFill>
              <a:schemeClr val="accent1"/>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333" name="AutoShape 246"/>
            <p:cNvSpPr>
              <a:spLocks noChangeArrowheads="1"/>
            </p:cNvSpPr>
            <p:nvPr/>
          </p:nvSpPr>
          <p:spPr bwMode="auto">
            <a:xfrm rot="-5400000">
              <a:off x="8020992" y="1307995"/>
              <a:ext cx="115887" cy="281199"/>
            </a:xfrm>
            <a:prstGeom prst="rtTriangle">
              <a:avLst/>
            </a:prstGeom>
            <a:solidFill>
              <a:schemeClr val="accent3"/>
            </a:solidFill>
            <a:ln w="12700">
              <a:solidFill>
                <a:schemeClr val="bg2"/>
              </a:solidFill>
              <a:miter lim="800000"/>
              <a:headEnd/>
              <a:tailEnd/>
            </a:ln>
          </p:spPr>
          <p:txBody>
            <a:bodyPr wrap="none" anchor="ctr"/>
            <a:lstStyle/>
            <a:p>
              <a:pPr algn="ctr">
                <a:defRPr/>
              </a:pPr>
              <a:endParaRPr lang="en-GB" b="0">
                <a:solidFill>
                  <a:schemeClr val="tx2"/>
                </a:solidFill>
              </a:endParaRPr>
            </a:p>
          </p:txBody>
        </p:sp>
      </p:grpSp>
      <p:grpSp>
        <p:nvGrpSpPr>
          <p:cNvPr id="18" name="Group 333"/>
          <p:cNvGrpSpPr>
            <a:grpSpLocks/>
          </p:cNvGrpSpPr>
          <p:nvPr>
            <p:custDataLst>
              <p:tags r:id="rId232"/>
            </p:custDataLst>
          </p:nvPr>
        </p:nvGrpSpPr>
        <p:grpSpPr bwMode="auto">
          <a:xfrm>
            <a:off x="1881188" y="3338228"/>
            <a:ext cx="276225" cy="120650"/>
            <a:chOff x="7921085" y="1385888"/>
            <a:chExt cx="298450" cy="120650"/>
          </a:xfrm>
        </p:grpSpPr>
        <p:sp>
          <p:nvSpPr>
            <p:cNvPr id="763125" name="Rectangle 73"/>
            <p:cNvSpPr>
              <a:spLocks noChangeArrowheads="1"/>
            </p:cNvSpPr>
            <p:nvPr/>
          </p:nvSpPr>
          <p:spPr bwMode="auto">
            <a:xfrm>
              <a:off x="7921085" y="1385888"/>
              <a:ext cx="298450" cy="120650"/>
            </a:xfrm>
            <a:prstGeom prst="rect">
              <a:avLst/>
            </a:prstGeom>
            <a:solidFill>
              <a:schemeClr val="accent1"/>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336" name="AutoShape 246"/>
            <p:cNvSpPr>
              <a:spLocks noChangeArrowheads="1"/>
            </p:cNvSpPr>
            <p:nvPr/>
          </p:nvSpPr>
          <p:spPr bwMode="auto">
            <a:xfrm rot="-5400000">
              <a:off x="8020942" y="1307945"/>
              <a:ext cx="115888" cy="281298"/>
            </a:xfrm>
            <a:prstGeom prst="rtTriangle">
              <a:avLst/>
            </a:prstGeom>
            <a:solidFill>
              <a:schemeClr val="accent3"/>
            </a:solidFill>
            <a:ln w="12700">
              <a:solidFill>
                <a:schemeClr val="bg2"/>
              </a:solidFill>
              <a:miter lim="800000"/>
              <a:headEnd/>
              <a:tailEnd/>
            </a:ln>
          </p:spPr>
          <p:txBody>
            <a:bodyPr wrap="none" anchor="ctr"/>
            <a:lstStyle/>
            <a:p>
              <a:pPr algn="ctr">
                <a:defRPr/>
              </a:pPr>
              <a:endParaRPr lang="en-GB" b="0">
                <a:solidFill>
                  <a:schemeClr val="tx2"/>
                </a:solidFill>
              </a:endParaRPr>
            </a:p>
          </p:txBody>
        </p:sp>
      </p:grpSp>
      <p:grpSp>
        <p:nvGrpSpPr>
          <p:cNvPr id="19" name="Group 336"/>
          <p:cNvGrpSpPr>
            <a:grpSpLocks/>
          </p:cNvGrpSpPr>
          <p:nvPr>
            <p:custDataLst>
              <p:tags r:id="rId233"/>
            </p:custDataLst>
          </p:nvPr>
        </p:nvGrpSpPr>
        <p:grpSpPr bwMode="auto">
          <a:xfrm>
            <a:off x="1511300" y="3338228"/>
            <a:ext cx="274638" cy="120650"/>
            <a:chOff x="7921085" y="1385888"/>
            <a:chExt cx="298450" cy="120650"/>
          </a:xfrm>
        </p:grpSpPr>
        <p:sp>
          <p:nvSpPr>
            <p:cNvPr id="763123" name="Rectangle 73"/>
            <p:cNvSpPr>
              <a:spLocks noChangeArrowheads="1"/>
            </p:cNvSpPr>
            <p:nvPr/>
          </p:nvSpPr>
          <p:spPr bwMode="auto">
            <a:xfrm>
              <a:off x="7921085" y="1385888"/>
              <a:ext cx="298450" cy="120650"/>
            </a:xfrm>
            <a:prstGeom prst="rect">
              <a:avLst/>
            </a:prstGeom>
            <a:solidFill>
              <a:schemeClr val="accent1"/>
            </a:solidFill>
            <a:ln w="12700">
              <a:solidFill>
                <a:schemeClr val="bg2"/>
              </a:solidFill>
              <a:miter lim="800000"/>
              <a:headEnd/>
              <a:tailEnd/>
            </a:ln>
          </p:spPr>
          <p:txBody>
            <a:bodyPr wrap="none" anchor="ctr"/>
            <a:lstStyle/>
            <a:p>
              <a:pPr algn="ctr"/>
              <a:endParaRPr lang="en-GB" b="0">
                <a:solidFill>
                  <a:schemeClr val="tx2"/>
                </a:solidFill>
              </a:endParaRPr>
            </a:p>
          </p:txBody>
        </p:sp>
        <p:sp>
          <p:nvSpPr>
            <p:cNvPr id="339" name="AutoShape 246"/>
            <p:cNvSpPr>
              <a:spLocks noChangeArrowheads="1"/>
            </p:cNvSpPr>
            <p:nvPr/>
          </p:nvSpPr>
          <p:spPr bwMode="auto">
            <a:xfrm rot="-5400000">
              <a:off x="8020992" y="1307994"/>
              <a:ext cx="115888" cy="281199"/>
            </a:xfrm>
            <a:prstGeom prst="rtTriangle">
              <a:avLst/>
            </a:prstGeom>
            <a:solidFill>
              <a:schemeClr val="accent3"/>
            </a:solidFill>
            <a:ln w="12700">
              <a:solidFill>
                <a:schemeClr val="bg2"/>
              </a:solidFill>
              <a:miter lim="800000"/>
              <a:headEnd/>
              <a:tailEnd/>
            </a:ln>
          </p:spPr>
          <p:txBody>
            <a:bodyPr wrap="none" anchor="ctr"/>
            <a:lstStyle/>
            <a:p>
              <a:pPr algn="ctr">
                <a:defRPr/>
              </a:pPr>
              <a:endParaRPr lang="en-GB" b="0">
                <a:solidFill>
                  <a:schemeClr val="tx2"/>
                </a:solidFill>
              </a:endParaRPr>
            </a:p>
          </p:txBody>
        </p:sp>
      </p:grpSp>
      <p:sp>
        <p:nvSpPr>
          <p:cNvPr id="275" name="Rectangle 132"/>
          <p:cNvSpPr>
            <a:spLocks noChangeArrowheads="1"/>
          </p:cNvSpPr>
          <p:nvPr>
            <p:custDataLst>
              <p:tags r:id="rId234"/>
            </p:custDataLst>
          </p:nvPr>
        </p:nvSpPr>
        <p:spPr bwMode="auto">
          <a:xfrm>
            <a:off x="1495425" y="4930490"/>
            <a:ext cx="285750" cy="120650"/>
          </a:xfrm>
          <a:prstGeom prst="rect">
            <a:avLst/>
          </a:prstGeom>
          <a:solidFill>
            <a:schemeClr val="accent2"/>
          </a:solidFill>
          <a:ln w="12700">
            <a:solidFill>
              <a:schemeClr val="accent2"/>
            </a:solidFill>
            <a:miter lim="800000"/>
            <a:headEnd/>
            <a:tailEnd/>
          </a:ln>
        </p:spPr>
        <p:txBody>
          <a:bodyPr wrap="none" anchor="ctr"/>
          <a:lstStyle/>
          <a:p>
            <a:pPr algn="ctr"/>
            <a:endParaRPr lang="en-GB" b="0">
              <a:solidFill>
                <a:schemeClr val="tx2"/>
              </a:solidFill>
            </a:endParaRPr>
          </a:p>
        </p:txBody>
      </p:sp>
      <p:sp>
        <p:nvSpPr>
          <p:cNvPr id="278" name="Line 153"/>
          <p:cNvSpPr>
            <a:spLocks noChangeShapeType="1"/>
          </p:cNvSpPr>
          <p:nvPr>
            <p:custDataLst>
              <p:tags r:id="rId235"/>
            </p:custDataLst>
          </p:nvPr>
        </p:nvSpPr>
        <p:spPr bwMode="auto">
          <a:xfrm>
            <a:off x="4448175" y="4814603"/>
            <a:ext cx="1025525" cy="0"/>
          </a:xfrm>
          <a:prstGeom prst="line">
            <a:avLst/>
          </a:prstGeom>
          <a:noFill/>
          <a:ln w="12700">
            <a:solidFill>
              <a:schemeClr val="accent1"/>
            </a:solidFill>
            <a:round/>
            <a:headEnd type="none" w="sm" len="sm"/>
            <a:tailEnd type="none" w="sm" len="sm"/>
          </a:ln>
        </p:spPr>
        <p:txBody>
          <a:bodyPr wrap="none" anchor="ctr"/>
          <a:lstStyle/>
          <a:p>
            <a:pPr>
              <a:defRPr/>
            </a:pPr>
            <a:endParaRPr lang="en-GB" b="0">
              <a:solidFill>
                <a:schemeClr val="tx2"/>
              </a:solidFill>
            </a:endParaRPr>
          </a:p>
        </p:txBody>
      </p:sp>
      <p:sp>
        <p:nvSpPr>
          <p:cNvPr id="279" name="Text Placeholder 36"/>
          <p:cNvSpPr txBox="1">
            <a:spLocks/>
          </p:cNvSpPr>
          <p:nvPr/>
        </p:nvSpPr>
        <p:spPr bwMode="gray">
          <a:xfrm>
            <a:off x="411479" y="6470650"/>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74" name="Rectangle 77"/>
          <p:cNvSpPr>
            <a:spLocks noChangeArrowheads="1"/>
          </p:cNvSpPr>
          <p:nvPr>
            <p:custDataLst>
              <p:tags r:id="rId236"/>
            </p:custDataLst>
          </p:nvPr>
        </p:nvSpPr>
        <p:spPr bwMode="auto">
          <a:xfrm>
            <a:off x="3629026" y="1272890"/>
            <a:ext cx="277812" cy="120650"/>
          </a:xfrm>
          <a:prstGeom prst="rect">
            <a:avLst/>
          </a:prstGeom>
          <a:solidFill>
            <a:srgbClr val="FFFFFF"/>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276" name="Rectangle 94"/>
          <p:cNvSpPr>
            <a:spLocks noChangeArrowheads="1"/>
          </p:cNvSpPr>
          <p:nvPr>
            <p:custDataLst>
              <p:tags r:id="rId237"/>
            </p:custDataLst>
          </p:nvPr>
        </p:nvSpPr>
        <p:spPr bwMode="auto">
          <a:xfrm>
            <a:off x="6254749" y="2171415"/>
            <a:ext cx="265113" cy="117475"/>
          </a:xfrm>
          <a:prstGeom prst="rect">
            <a:avLst/>
          </a:prstGeom>
          <a:no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277" name="Rectangle 129"/>
          <p:cNvSpPr>
            <a:spLocks noChangeArrowheads="1"/>
          </p:cNvSpPr>
          <p:nvPr>
            <p:custDataLst>
              <p:tags r:id="rId238"/>
            </p:custDataLst>
          </p:nvPr>
        </p:nvSpPr>
        <p:spPr bwMode="auto">
          <a:xfrm>
            <a:off x="6157913" y="2285715"/>
            <a:ext cx="447674" cy="169919"/>
          </a:xfrm>
          <a:prstGeom prst="rect">
            <a:avLst/>
          </a:prstGeom>
          <a:noFill/>
          <a:ln w="9525">
            <a:noFill/>
            <a:miter lim="800000"/>
            <a:headEnd/>
            <a:tailEnd/>
          </a:ln>
        </p:spPr>
        <p:txBody>
          <a:bodyPr wrap="square" lIns="92075" tIns="46038" rIns="92075" bIns="46038">
            <a:spAutoFit/>
          </a:bodyPr>
          <a:lstStyle/>
          <a:p>
            <a:r>
              <a:rPr lang="en-GB" altLang="ja-JP" sz="500" b="0" dirty="0">
                <a:solidFill>
                  <a:schemeClr val="tx2"/>
                </a:solidFill>
                <a:ea typeface="ＭＳ Ｐゴシック" charset="-128"/>
              </a:rPr>
              <a:t>Labelling </a:t>
            </a:r>
          </a:p>
        </p:txBody>
      </p:sp>
      <p:sp>
        <p:nvSpPr>
          <p:cNvPr id="280" name="Rectangle 124"/>
          <p:cNvSpPr>
            <a:spLocks noChangeArrowheads="1"/>
          </p:cNvSpPr>
          <p:nvPr>
            <p:custDataLst>
              <p:tags r:id="rId239"/>
            </p:custDataLst>
          </p:nvPr>
        </p:nvSpPr>
        <p:spPr bwMode="auto">
          <a:xfrm>
            <a:off x="8188322" y="1253840"/>
            <a:ext cx="244475" cy="115888"/>
          </a:xfrm>
          <a:prstGeom prst="rect">
            <a:avLst/>
          </a:prstGeom>
          <a:noFill/>
          <a:ln w="12700">
            <a:solidFill>
              <a:schemeClr val="accent3"/>
            </a:solidFill>
            <a:miter lim="800000"/>
            <a:headEnd/>
            <a:tailEnd/>
          </a:ln>
        </p:spPr>
        <p:txBody>
          <a:bodyPr wrap="none" anchor="ctr"/>
          <a:lstStyle/>
          <a:p>
            <a:pPr algn="ctr">
              <a:defRPr/>
            </a:pPr>
            <a:endParaRPr lang="en-GB" b="0">
              <a:solidFill>
                <a:schemeClr val="tx2"/>
              </a:solidFill>
            </a:endParaRPr>
          </a:p>
        </p:txBody>
      </p:sp>
      <p:sp>
        <p:nvSpPr>
          <p:cNvPr id="282" name="Rectangle 77"/>
          <p:cNvSpPr>
            <a:spLocks noChangeArrowheads="1"/>
          </p:cNvSpPr>
          <p:nvPr>
            <p:custDataLst>
              <p:tags r:id="rId240"/>
            </p:custDataLst>
          </p:nvPr>
        </p:nvSpPr>
        <p:spPr bwMode="auto">
          <a:xfrm>
            <a:off x="3640138" y="1662643"/>
            <a:ext cx="277812" cy="120650"/>
          </a:xfrm>
          <a:prstGeom prst="rect">
            <a:avLst/>
          </a:prstGeom>
          <a:solidFill>
            <a:srgbClr val="FFFFFF"/>
          </a:solidFill>
          <a:ln w="12700">
            <a:solidFill>
              <a:schemeClr val="accent3"/>
            </a:solidFill>
            <a:miter lim="800000"/>
            <a:headEnd/>
            <a:tailEnd/>
          </a:ln>
        </p:spPr>
        <p:txBody>
          <a:bodyPr wrap="none" anchor="ctr"/>
          <a:lstStyle/>
          <a:p>
            <a:pPr algn="ctr">
              <a:defRPr/>
            </a:pPr>
            <a:endParaRPr lang="en-GB" b="0">
              <a:solidFill>
                <a:schemeClr val="tx2"/>
              </a:solidFill>
            </a:endParaRPr>
          </a:p>
        </p:txBody>
      </p:sp>
    </p:spTree>
  </p:cSld>
  <p:clrMapOvr>
    <a:masterClrMapping/>
  </p:clrMapOvr>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3361" name="Title 1"/>
          <p:cNvSpPr>
            <a:spLocks noGrp="1"/>
          </p:cNvSpPr>
          <p:nvPr>
            <p:ph type="title"/>
          </p:nvPr>
        </p:nvSpPr>
        <p:spPr>
          <a:xfrm>
            <a:off x="414338" y="446038"/>
            <a:ext cx="8330184" cy="333425"/>
          </a:xfrm>
        </p:spPr>
        <p:txBody>
          <a:bodyPr/>
          <a:lstStyle/>
          <a:p>
            <a:r>
              <a:rPr lang="en-GB" altLang="ja-JP"/>
              <a:t>Activity map </a:t>
            </a:r>
            <a:r>
              <a:rPr lang="en-US"/>
              <a:t>—</a:t>
            </a:r>
            <a:r>
              <a:rPr lang="en-GB" altLang="ja-JP" smtClean="0"/>
              <a:t> </a:t>
            </a:r>
            <a:r>
              <a:rPr lang="en-GB" altLang="ja-JP"/>
              <a:t>competitor overview</a:t>
            </a:r>
            <a:endParaRPr lang="nl-NL"/>
          </a:p>
        </p:txBody>
      </p:sp>
      <p:sp>
        <p:nvSpPr>
          <p:cNvPr id="783363" name="Text Box 3"/>
          <p:cNvSpPr txBox="1">
            <a:spLocks noChangeArrowheads="1"/>
          </p:cNvSpPr>
          <p:nvPr/>
        </p:nvSpPr>
        <p:spPr bwMode="auto">
          <a:xfrm>
            <a:off x="945841" y="1899375"/>
            <a:ext cx="468313" cy="295275"/>
          </a:xfrm>
          <a:prstGeom prst="rect">
            <a:avLst/>
          </a:prstGeom>
          <a:noFill/>
          <a:ln w="9525" algn="ctr">
            <a:noFill/>
            <a:miter lim="800000"/>
            <a:headEnd type="none" w="sm" len="sm"/>
            <a:tailEnd type="none" w="sm" len="sm"/>
          </a:ln>
        </p:spPr>
        <p:txBody>
          <a:bodyPr wrap="none">
            <a:spAutoFit/>
          </a:bodyPr>
          <a:lstStyle/>
          <a:p>
            <a:pPr marL="184150" indent="-184150">
              <a:lnSpc>
                <a:spcPct val="110000"/>
              </a:lnSpc>
            </a:pPr>
            <a:r>
              <a:rPr lang="en-GB" altLang="ja-JP" sz="1200">
                <a:solidFill>
                  <a:schemeClr val="tx2"/>
                </a:solidFill>
                <a:ea typeface="ＭＳ Ｐゴシック" charset="-128"/>
              </a:rPr>
              <a:t>Text</a:t>
            </a:r>
          </a:p>
        </p:txBody>
      </p:sp>
      <p:sp>
        <p:nvSpPr>
          <p:cNvPr id="783369" name="Text Box 9"/>
          <p:cNvSpPr txBox="1">
            <a:spLocks noChangeArrowheads="1"/>
          </p:cNvSpPr>
          <p:nvPr/>
        </p:nvSpPr>
        <p:spPr bwMode="auto">
          <a:xfrm>
            <a:off x="945841" y="2783612"/>
            <a:ext cx="468313" cy="295275"/>
          </a:xfrm>
          <a:prstGeom prst="rect">
            <a:avLst/>
          </a:prstGeom>
          <a:noFill/>
          <a:ln w="9525" algn="ctr">
            <a:noFill/>
            <a:miter lim="800000"/>
            <a:headEnd type="none" w="sm" len="sm"/>
            <a:tailEnd type="none" w="sm" len="sm"/>
          </a:ln>
        </p:spPr>
        <p:txBody>
          <a:bodyPr wrap="none">
            <a:spAutoFit/>
          </a:bodyPr>
          <a:lstStyle/>
          <a:p>
            <a:pPr marL="184150" indent="-184150">
              <a:lnSpc>
                <a:spcPct val="110000"/>
              </a:lnSpc>
            </a:pPr>
            <a:r>
              <a:rPr lang="en-GB" altLang="ja-JP" sz="1200">
                <a:solidFill>
                  <a:schemeClr val="tx2"/>
                </a:solidFill>
                <a:ea typeface="ＭＳ Ｐゴシック" charset="-128"/>
              </a:rPr>
              <a:t>Text</a:t>
            </a:r>
          </a:p>
        </p:txBody>
      </p:sp>
      <p:sp>
        <p:nvSpPr>
          <p:cNvPr id="783370" name="Text Box 10"/>
          <p:cNvSpPr txBox="1">
            <a:spLocks noChangeArrowheads="1"/>
          </p:cNvSpPr>
          <p:nvPr/>
        </p:nvSpPr>
        <p:spPr bwMode="auto">
          <a:xfrm>
            <a:off x="945841" y="3226525"/>
            <a:ext cx="468313" cy="295275"/>
          </a:xfrm>
          <a:prstGeom prst="rect">
            <a:avLst/>
          </a:prstGeom>
          <a:noFill/>
          <a:ln w="9525" algn="ctr">
            <a:noFill/>
            <a:miter lim="800000"/>
            <a:headEnd type="none" w="sm" len="sm"/>
            <a:tailEnd type="none" w="sm" len="sm"/>
          </a:ln>
        </p:spPr>
        <p:txBody>
          <a:bodyPr wrap="none">
            <a:spAutoFit/>
          </a:bodyPr>
          <a:lstStyle/>
          <a:p>
            <a:pPr marL="184150" indent="-184150">
              <a:lnSpc>
                <a:spcPct val="110000"/>
              </a:lnSpc>
            </a:pPr>
            <a:r>
              <a:rPr lang="en-GB" altLang="ja-JP" sz="1200">
                <a:solidFill>
                  <a:schemeClr val="tx2"/>
                </a:solidFill>
                <a:ea typeface="ＭＳ Ｐゴシック" charset="-128"/>
              </a:rPr>
              <a:t>Text</a:t>
            </a:r>
          </a:p>
        </p:txBody>
      </p:sp>
      <p:sp>
        <p:nvSpPr>
          <p:cNvPr id="783371" name="Text Box 11"/>
          <p:cNvSpPr txBox="1">
            <a:spLocks noChangeArrowheads="1"/>
          </p:cNvSpPr>
          <p:nvPr/>
        </p:nvSpPr>
        <p:spPr bwMode="auto">
          <a:xfrm>
            <a:off x="945841" y="3667850"/>
            <a:ext cx="468313" cy="295275"/>
          </a:xfrm>
          <a:prstGeom prst="rect">
            <a:avLst/>
          </a:prstGeom>
          <a:noFill/>
          <a:ln w="9525" algn="ctr">
            <a:noFill/>
            <a:miter lim="800000"/>
            <a:headEnd type="none" w="sm" len="sm"/>
            <a:tailEnd type="none" w="sm" len="sm"/>
          </a:ln>
        </p:spPr>
        <p:txBody>
          <a:bodyPr wrap="none">
            <a:spAutoFit/>
          </a:bodyPr>
          <a:lstStyle/>
          <a:p>
            <a:pPr marL="184150" indent="-184150">
              <a:lnSpc>
                <a:spcPct val="110000"/>
              </a:lnSpc>
            </a:pPr>
            <a:r>
              <a:rPr lang="en-GB" altLang="ja-JP" sz="1200">
                <a:solidFill>
                  <a:schemeClr val="tx2"/>
                </a:solidFill>
                <a:ea typeface="ＭＳ Ｐゴシック" charset="-128"/>
              </a:rPr>
              <a:t>Text</a:t>
            </a:r>
          </a:p>
        </p:txBody>
      </p:sp>
      <p:sp>
        <p:nvSpPr>
          <p:cNvPr id="783372" name="Text Box 12"/>
          <p:cNvSpPr txBox="1">
            <a:spLocks noChangeArrowheads="1"/>
          </p:cNvSpPr>
          <p:nvPr/>
        </p:nvSpPr>
        <p:spPr bwMode="auto">
          <a:xfrm>
            <a:off x="945841" y="4110762"/>
            <a:ext cx="468313" cy="295275"/>
          </a:xfrm>
          <a:prstGeom prst="rect">
            <a:avLst/>
          </a:prstGeom>
          <a:noFill/>
          <a:ln w="9525" algn="ctr">
            <a:noFill/>
            <a:miter lim="800000"/>
            <a:headEnd type="none" w="sm" len="sm"/>
            <a:tailEnd type="none" w="sm" len="sm"/>
          </a:ln>
        </p:spPr>
        <p:txBody>
          <a:bodyPr wrap="none">
            <a:spAutoFit/>
          </a:bodyPr>
          <a:lstStyle/>
          <a:p>
            <a:pPr marL="184150" indent="-184150">
              <a:lnSpc>
                <a:spcPct val="110000"/>
              </a:lnSpc>
            </a:pPr>
            <a:r>
              <a:rPr lang="en-GB" altLang="ja-JP" sz="1200">
                <a:solidFill>
                  <a:schemeClr val="tx2"/>
                </a:solidFill>
                <a:ea typeface="ＭＳ Ｐゴシック" charset="-128"/>
              </a:rPr>
              <a:t>Text</a:t>
            </a:r>
          </a:p>
        </p:txBody>
      </p:sp>
      <p:sp>
        <p:nvSpPr>
          <p:cNvPr id="783373" name="Text Box 13"/>
          <p:cNvSpPr txBox="1">
            <a:spLocks noChangeArrowheads="1"/>
          </p:cNvSpPr>
          <p:nvPr/>
        </p:nvSpPr>
        <p:spPr bwMode="auto">
          <a:xfrm>
            <a:off x="945841" y="4553675"/>
            <a:ext cx="468313" cy="295275"/>
          </a:xfrm>
          <a:prstGeom prst="rect">
            <a:avLst/>
          </a:prstGeom>
          <a:noFill/>
          <a:ln w="9525" algn="ctr">
            <a:noFill/>
            <a:miter lim="800000"/>
            <a:headEnd type="none" w="sm" len="sm"/>
            <a:tailEnd type="none" w="sm" len="sm"/>
          </a:ln>
        </p:spPr>
        <p:txBody>
          <a:bodyPr wrap="none">
            <a:spAutoFit/>
          </a:bodyPr>
          <a:lstStyle/>
          <a:p>
            <a:pPr marL="184150" indent="-184150">
              <a:lnSpc>
                <a:spcPct val="110000"/>
              </a:lnSpc>
            </a:pPr>
            <a:r>
              <a:rPr lang="en-GB" altLang="ja-JP" sz="1200">
                <a:solidFill>
                  <a:schemeClr val="tx2"/>
                </a:solidFill>
                <a:ea typeface="ＭＳ Ｐゴシック" charset="-128"/>
              </a:rPr>
              <a:t>Text</a:t>
            </a:r>
          </a:p>
        </p:txBody>
      </p:sp>
      <p:sp>
        <p:nvSpPr>
          <p:cNvPr id="783374" name="Text Box 14"/>
          <p:cNvSpPr txBox="1">
            <a:spLocks noChangeArrowheads="1"/>
          </p:cNvSpPr>
          <p:nvPr/>
        </p:nvSpPr>
        <p:spPr bwMode="auto">
          <a:xfrm>
            <a:off x="945841" y="4996587"/>
            <a:ext cx="468313" cy="295275"/>
          </a:xfrm>
          <a:prstGeom prst="rect">
            <a:avLst/>
          </a:prstGeom>
          <a:noFill/>
          <a:ln w="9525" algn="ctr">
            <a:noFill/>
            <a:miter lim="800000"/>
            <a:headEnd type="none" w="sm" len="sm"/>
            <a:tailEnd type="none" w="sm" len="sm"/>
          </a:ln>
        </p:spPr>
        <p:txBody>
          <a:bodyPr wrap="none">
            <a:spAutoFit/>
          </a:bodyPr>
          <a:lstStyle/>
          <a:p>
            <a:pPr marL="184150" indent="-184150">
              <a:lnSpc>
                <a:spcPct val="110000"/>
              </a:lnSpc>
            </a:pPr>
            <a:r>
              <a:rPr lang="en-GB" altLang="ja-JP" sz="1200">
                <a:solidFill>
                  <a:schemeClr val="tx2"/>
                </a:solidFill>
                <a:ea typeface="ＭＳ Ｐゴシック" charset="-128"/>
              </a:rPr>
              <a:t>Text</a:t>
            </a:r>
          </a:p>
        </p:txBody>
      </p:sp>
      <p:sp>
        <p:nvSpPr>
          <p:cNvPr id="783375" name="Text Box 15"/>
          <p:cNvSpPr txBox="1">
            <a:spLocks noChangeArrowheads="1"/>
          </p:cNvSpPr>
          <p:nvPr/>
        </p:nvSpPr>
        <p:spPr bwMode="auto">
          <a:xfrm>
            <a:off x="3341379" y="1512025"/>
            <a:ext cx="468312" cy="276225"/>
          </a:xfrm>
          <a:prstGeom prst="rect">
            <a:avLst/>
          </a:prstGeom>
          <a:noFill/>
          <a:ln w="9525">
            <a:noFill/>
            <a:miter lim="800000"/>
            <a:headEnd type="none" w="sm" len="sm"/>
            <a:tailEnd type="none" w="sm" len="sm"/>
          </a:ln>
        </p:spPr>
        <p:txBody>
          <a:bodyPr wrap="none">
            <a:spAutoFit/>
          </a:bodyPr>
          <a:lstStyle/>
          <a:p>
            <a:pPr algn="ctr"/>
            <a:r>
              <a:rPr lang="en-GB" altLang="ja-JP" sz="1200">
                <a:solidFill>
                  <a:schemeClr val="tx2"/>
                </a:solidFill>
                <a:ea typeface="ＭＳ Ｐゴシック" charset="-128"/>
              </a:rPr>
              <a:t>Text</a:t>
            </a:r>
          </a:p>
        </p:txBody>
      </p:sp>
      <p:sp>
        <p:nvSpPr>
          <p:cNvPr id="783376" name="Text Box 16"/>
          <p:cNvSpPr txBox="1">
            <a:spLocks noChangeArrowheads="1"/>
          </p:cNvSpPr>
          <p:nvPr/>
        </p:nvSpPr>
        <p:spPr bwMode="auto">
          <a:xfrm>
            <a:off x="5511491" y="1512025"/>
            <a:ext cx="468313" cy="276225"/>
          </a:xfrm>
          <a:prstGeom prst="rect">
            <a:avLst/>
          </a:prstGeom>
          <a:noFill/>
          <a:ln w="9525">
            <a:noFill/>
            <a:miter lim="800000"/>
            <a:headEnd type="none" w="sm" len="sm"/>
            <a:tailEnd type="none" w="sm" len="sm"/>
          </a:ln>
        </p:spPr>
        <p:txBody>
          <a:bodyPr wrap="none">
            <a:spAutoFit/>
          </a:bodyPr>
          <a:lstStyle/>
          <a:p>
            <a:pPr algn="ctr"/>
            <a:r>
              <a:rPr lang="en-GB" altLang="ja-JP" sz="1200">
                <a:solidFill>
                  <a:schemeClr val="tx2"/>
                </a:solidFill>
                <a:ea typeface="ＭＳ Ｐゴシック" charset="-128"/>
              </a:rPr>
              <a:t>Text</a:t>
            </a:r>
          </a:p>
        </p:txBody>
      </p:sp>
      <p:sp>
        <p:nvSpPr>
          <p:cNvPr id="783377" name="Text Box 17"/>
          <p:cNvSpPr txBox="1">
            <a:spLocks noChangeArrowheads="1"/>
          </p:cNvSpPr>
          <p:nvPr/>
        </p:nvSpPr>
        <p:spPr bwMode="auto">
          <a:xfrm>
            <a:off x="4392304" y="1512025"/>
            <a:ext cx="466725" cy="276225"/>
          </a:xfrm>
          <a:prstGeom prst="rect">
            <a:avLst/>
          </a:prstGeom>
          <a:noFill/>
          <a:ln w="9525">
            <a:noFill/>
            <a:miter lim="800000"/>
            <a:headEnd type="none" w="sm" len="sm"/>
            <a:tailEnd type="none" w="sm" len="sm"/>
          </a:ln>
        </p:spPr>
        <p:txBody>
          <a:bodyPr wrap="none">
            <a:spAutoFit/>
          </a:bodyPr>
          <a:lstStyle/>
          <a:p>
            <a:pPr algn="ctr"/>
            <a:r>
              <a:rPr lang="en-GB" altLang="ja-JP" sz="1200">
                <a:solidFill>
                  <a:schemeClr val="tx2"/>
                </a:solidFill>
                <a:ea typeface="ＭＳ Ｐゴシック" charset="-128"/>
              </a:rPr>
              <a:t>Text</a:t>
            </a:r>
          </a:p>
        </p:txBody>
      </p:sp>
      <p:sp>
        <p:nvSpPr>
          <p:cNvPr id="783378" name="Text Box 18"/>
          <p:cNvSpPr txBox="1">
            <a:spLocks noChangeArrowheads="1"/>
          </p:cNvSpPr>
          <p:nvPr/>
        </p:nvSpPr>
        <p:spPr bwMode="auto">
          <a:xfrm>
            <a:off x="6624329" y="1512025"/>
            <a:ext cx="468312" cy="276225"/>
          </a:xfrm>
          <a:prstGeom prst="rect">
            <a:avLst/>
          </a:prstGeom>
          <a:noFill/>
          <a:ln w="9525">
            <a:noFill/>
            <a:miter lim="800000"/>
            <a:headEnd type="none" w="sm" len="sm"/>
            <a:tailEnd type="none" w="sm" len="sm"/>
          </a:ln>
        </p:spPr>
        <p:txBody>
          <a:bodyPr wrap="none">
            <a:spAutoFit/>
          </a:bodyPr>
          <a:lstStyle/>
          <a:p>
            <a:pPr algn="ctr"/>
            <a:r>
              <a:rPr lang="en-GB" altLang="ja-JP" sz="1200">
                <a:solidFill>
                  <a:schemeClr val="tx2"/>
                </a:solidFill>
                <a:ea typeface="ＭＳ Ｐゴシック" charset="-128"/>
              </a:rPr>
              <a:t>Text</a:t>
            </a:r>
          </a:p>
        </p:txBody>
      </p:sp>
      <p:sp>
        <p:nvSpPr>
          <p:cNvPr id="20" name="Rectangle 19"/>
          <p:cNvSpPr>
            <a:spLocks noChangeArrowheads="1"/>
          </p:cNvSpPr>
          <p:nvPr/>
        </p:nvSpPr>
        <p:spPr bwMode="auto">
          <a:xfrm>
            <a:off x="3325504" y="1961287"/>
            <a:ext cx="500062" cy="204788"/>
          </a:xfrm>
          <a:prstGeom prst="rect">
            <a:avLst/>
          </a:prstGeom>
          <a:solidFill>
            <a:schemeClr val="accent3"/>
          </a:solidFill>
          <a:ln w="12700" algn="ctr">
            <a:solidFill>
              <a:schemeClr val="bg1"/>
            </a:solidFill>
            <a:miter lim="800000"/>
            <a:headEnd/>
            <a:tailEnd/>
          </a:ln>
        </p:spPr>
        <p:txBody>
          <a:bodyPr wrap="none" anchor="ctr"/>
          <a:lstStyle/>
          <a:p>
            <a:pPr algn="ctr">
              <a:defRPr/>
            </a:pPr>
            <a:endParaRPr lang="en-GB" sz="1200">
              <a:solidFill>
                <a:schemeClr val="tx2"/>
              </a:solidFill>
            </a:endParaRPr>
          </a:p>
        </p:txBody>
      </p:sp>
      <p:sp>
        <p:nvSpPr>
          <p:cNvPr id="21" name="Rectangle 20"/>
          <p:cNvSpPr>
            <a:spLocks noChangeArrowheads="1"/>
          </p:cNvSpPr>
          <p:nvPr/>
        </p:nvSpPr>
        <p:spPr bwMode="auto">
          <a:xfrm>
            <a:off x="3325504" y="3678962"/>
            <a:ext cx="500062" cy="204788"/>
          </a:xfrm>
          <a:prstGeom prst="rect">
            <a:avLst/>
          </a:prstGeom>
          <a:solidFill>
            <a:srgbClr val="FFFFFF"/>
          </a:solidFill>
          <a:ln w="12700" algn="ctr">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783381" name="Rectangle 21"/>
          <p:cNvSpPr>
            <a:spLocks noChangeArrowheads="1"/>
          </p:cNvSpPr>
          <p:nvPr/>
        </p:nvSpPr>
        <p:spPr bwMode="auto">
          <a:xfrm>
            <a:off x="3325504" y="4152037"/>
            <a:ext cx="500062" cy="204788"/>
          </a:xfrm>
          <a:prstGeom prst="rect">
            <a:avLst/>
          </a:prstGeom>
          <a:solidFill>
            <a:schemeClr val="accent2"/>
          </a:solidFill>
          <a:ln w="12700" algn="ctr">
            <a:solidFill>
              <a:schemeClr val="bg1"/>
            </a:solidFill>
            <a:miter lim="800000"/>
            <a:headEnd/>
            <a:tailEnd/>
          </a:ln>
        </p:spPr>
        <p:txBody>
          <a:bodyPr wrap="none" anchor="ctr"/>
          <a:lstStyle/>
          <a:p>
            <a:pPr algn="ctr"/>
            <a:endParaRPr lang="en-GB" sz="1200">
              <a:solidFill>
                <a:schemeClr val="tx2"/>
              </a:solidFill>
            </a:endParaRPr>
          </a:p>
        </p:txBody>
      </p:sp>
      <p:sp>
        <p:nvSpPr>
          <p:cNvPr id="783382" name="Rectangle 22"/>
          <p:cNvSpPr>
            <a:spLocks noChangeArrowheads="1"/>
          </p:cNvSpPr>
          <p:nvPr/>
        </p:nvSpPr>
        <p:spPr bwMode="auto">
          <a:xfrm>
            <a:off x="3325504" y="4626700"/>
            <a:ext cx="500062" cy="204787"/>
          </a:xfrm>
          <a:prstGeom prst="rect">
            <a:avLst/>
          </a:prstGeom>
          <a:solidFill>
            <a:schemeClr val="accent2"/>
          </a:solidFill>
          <a:ln w="12700" algn="ctr">
            <a:solidFill>
              <a:schemeClr val="bg1"/>
            </a:solidFill>
            <a:miter lim="800000"/>
            <a:headEnd/>
            <a:tailEnd/>
          </a:ln>
        </p:spPr>
        <p:txBody>
          <a:bodyPr wrap="none" anchor="ctr"/>
          <a:lstStyle/>
          <a:p>
            <a:pPr algn="ctr"/>
            <a:endParaRPr lang="en-GB" sz="1200">
              <a:solidFill>
                <a:schemeClr val="tx2"/>
              </a:solidFill>
            </a:endParaRPr>
          </a:p>
        </p:txBody>
      </p:sp>
      <p:sp>
        <p:nvSpPr>
          <p:cNvPr id="24" name="Rectangle 23"/>
          <p:cNvSpPr>
            <a:spLocks noChangeArrowheads="1"/>
          </p:cNvSpPr>
          <p:nvPr/>
        </p:nvSpPr>
        <p:spPr bwMode="auto">
          <a:xfrm>
            <a:off x="3325504" y="5080725"/>
            <a:ext cx="500062" cy="204787"/>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25" name="Rectangle 24"/>
          <p:cNvSpPr>
            <a:spLocks noChangeArrowheads="1"/>
          </p:cNvSpPr>
          <p:nvPr/>
        </p:nvSpPr>
        <p:spPr bwMode="auto">
          <a:xfrm>
            <a:off x="3325504" y="2388325"/>
            <a:ext cx="500062" cy="204787"/>
          </a:xfrm>
          <a:prstGeom prst="rect">
            <a:avLst/>
          </a:prstGeom>
          <a:solidFill>
            <a:srgbClr val="FFFFFF"/>
          </a:solidFill>
          <a:ln w="12700" algn="ctr">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26" name="Rectangle 25"/>
          <p:cNvSpPr>
            <a:spLocks noChangeArrowheads="1"/>
          </p:cNvSpPr>
          <p:nvPr/>
        </p:nvSpPr>
        <p:spPr bwMode="auto">
          <a:xfrm>
            <a:off x="3325504" y="2815362"/>
            <a:ext cx="500062" cy="204788"/>
          </a:xfrm>
          <a:prstGeom prst="rect">
            <a:avLst/>
          </a:prstGeom>
          <a:solidFill>
            <a:srgbClr val="FFFFFF"/>
          </a:solidFill>
          <a:ln w="12700" algn="ctr">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27" name="Rectangle 26"/>
          <p:cNvSpPr>
            <a:spLocks noChangeArrowheads="1"/>
          </p:cNvSpPr>
          <p:nvPr/>
        </p:nvSpPr>
        <p:spPr bwMode="auto">
          <a:xfrm>
            <a:off x="3325504" y="3242400"/>
            <a:ext cx="500062" cy="204787"/>
          </a:xfrm>
          <a:prstGeom prst="rect">
            <a:avLst/>
          </a:prstGeom>
          <a:solidFill>
            <a:srgbClr val="FFFFFF"/>
          </a:solidFill>
          <a:ln w="12700" algn="ctr">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783387" name="Text Box 27"/>
          <p:cNvSpPr txBox="1">
            <a:spLocks noChangeArrowheads="1"/>
          </p:cNvSpPr>
          <p:nvPr/>
        </p:nvSpPr>
        <p:spPr bwMode="auto">
          <a:xfrm>
            <a:off x="2249179" y="1512025"/>
            <a:ext cx="466725" cy="276225"/>
          </a:xfrm>
          <a:prstGeom prst="rect">
            <a:avLst/>
          </a:prstGeom>
          <a:noFill/>
          <a:ln w="9525">
            <a:noFill/>
            <a:miter lim="800000"/>
            <a:headEnd type="none" w="sm" len="sm"/>
            <a:tailEnd type="none" w="sm" len="sm"/>
          </a:ln>
        </p:spPr>
        <p:txBody>
          <a:bodyPr wrap="none">
            <a:spAutoFit/>
          </a:bodyPr>
          <a:lstStyle/>
          <a:p>
            <a:pPr algn="ctr"/>
            <a:r>
              <a:rPr lang="en-GB" altLang="ja-JP" sz="1200">
                <a:solidFill>
                  <a:schemeClr val="tx2"/>
                </a:solidFill>
                <a:ea typeface="ＭＳ Ｐゴシック" charset="-128"/>
              </a:rPr>
              <a:t>Text</a:t>
            </a:r>
          </a:p>
        </p:txBody>
      </p:sp>
      <p:sp>
        <p:nvSpPr>
          <p:cNvPr id="29" name="Rectangle 28"/>
          <p:cNvSpPr>
            <a:spLocks noChangeArrowheads="1"/>
          </p:cNvSpPr>
          <p:nvPr/>
        </p:nvSpPr>
        <p:spPr bwMode="auto">
          <a:xfrm>
            <a:off x="2230129" y="1961287"/>
            <a:ext cx="504825" cy="204788"/>
          </a:xfrm>
          <a:prstGeom prst="rect">
            <a:avLst/>
          </a:prstGeom>
          <a:solidFill>
            <a:srgbClr val="FFFFFF"/>
          </a:solidFill>
          <a:ln w="12700" algn="ctr">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30" name="Rectangle 29"/>
          <p:cNvSpPr>
            <a:spLocks noChangeArrowheads="1"/>
          </p:cNvSpPr>
          <p:nvPr/>
        </p:nvSpPr>
        <p:spPr bwMode="auto">
          <a:xfrm>
            <a:off x="2230129" y="2388325"/>
            <a:ext cx="504825" cy="204787"/>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31" name="Rectangle 30"/>
          <p:cNvSpPr>
            <a:spLocks noChangeArrowheads="1"/>
          </p:cNvSpPr>
          <p:nvPr/>
        </p:nvSpPr>
        <p:spPr bwMode="auto">
          <a:xfrm>
            <a:off x="2230129" y="2815362"/>
            <a:ext cx="504825" cy="204788"/>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32" name="Rectangle 31"/>
          <p:cNvSpPr>
            <a:spLocks noChangeArrowheads="1"/>
          </p:cNvSpPr>
          <p:nvPr/>
        </p:nvSpPr>
        <p:spPr bwMode="auto">
          <a:xfrm>
            <a:off x="2230129" y="3242400"/>
            <a:ext cx="504825" cy="204787"/>
          </a:xfrm>
          <a:prstGeom prst="rect">
            <a:avLst/>
          </a:prstGeom>
          <a:solidFill>
            <a:schemeClr val="accent3"/>
          </a:solidFill>
          <a:ln w="12700" algn="ctr">
            <a:solidFill>
              <a:schemeClr val="bg1"/>
            </a:solidFill>
            <a:miter lim="800000"/>
            <a:headEnd/>
            <a:tailEnd/>
          </a:ln>
        </p:spPr>
        <p:txBody>
          <a:bodyPr wrap="none" anchor="ctr"/>
          <a:lstStyle/>
          <a:p>
            <a:pPr algn="ctr">
              <a:defRPr/>
            </a:pPr>
            <a:endParaRPr lang="en-GB" sz="1200">
              <a:solidFill>
                <a:schemeClr val="tx2"/>
              </a:solidFill>
            </a:endParaRPr>
          </a:p>
        </p:txBody>
      </p:sp>
      <p:sp>
        <p:nvSpPr>
          <p:cNvPr id="783392" name="Rectangle 32"/>
          <p:cNvSpPr>
            <a:spLocks noChangeArrowheads="1"/>
          </p:cNvSpPr>
          <p:nvPr/>
        </p:nvSpPr>
        <p:spPr bwMode="auto">
          <a:xfrm>
            <a:off x="2230129" y="3678962"/>
            <a:ext cx="504825" cy="204788"/>
          </a:xfrm>
          <a:prstGeom prst="rect">
            <a:avLst/>
          </a:prstGeom>
          <a:solidFill>
            <a:schemeClr val="accent2"/>
          </a:solidFill>
          <a:ln w="12700" algn="ctr">
            <a:solidFill>
              <a:schemeClr val="bg1"/>
            </a:solidFill>
            <a:miter lim="800000"/>
            <a:headEnd/>
            <a:tailEnd/>
          </a:ln>
        </p:spPr>
        <p:txBody>
          <a:bodyPr wrap="none" anchor="ctr"/>
          <a:lstStyle/>
          <a:p>
            <a:pPr algn="ctr"/>
            <a:endParaRPr lang="en-GB" sz="1200">
              <a:solidFill>
                <a:schemeClr val="tx2"/>
              </a:solidFill>
            </a:endParaRPr>
          </a:p>
        </p:txBody>
      </p:sp>
      <p:sp>
        <p:nvSpPr>
          <p:cNvPr id="783393" name="Text Box 33"/>
          <p:cNvSpPr txBox="1">
            <a:spLocks noChangeArrowheads="1"/>
          </p:cNvSpPr>
          <p:nvPr/>
        </p:nvSpPr>
        <p:spPr bwMode="auto">
          <a:xfrm>
            <a:off x="7708591" y="1512025"/>
            <a:ext cx="466725" cy="276225"/>
          </a:xfrm>
          <a:prstGeom prst="rect">
            <a:avLst/>
          </a:prstGeom>
          <a:noFill/>
          <a:ln w="9525">
            <a:noFill/>
            <a:miter lim="800000"/>
            <a:headEnd type="none" w="sm" len="sm"/>
            <a:tailEnd type="none" w="sm" len="sm"/>
          </a:ln>
        </p:spPr>
        <p:txBody>
          <a:bodyPr wrap="none">
            <a:spAutoFit/>
          </a:bodyPr>
          <a:lstStyle/>
          <a:p>
            <a:pPr algn="ctr"/>
            <a:r>
              <a:rPr lang="en-GB" altLang="ja-JP" sz="1200">
                <a:solidFill>
                  <a:schemeClr val="tx2"/>
                </a:solidFill>
                <a:ea typeface="ＭＳ Ｐゴシック" charset="-128"/>
              </a:rPr>
              <a:t>Text</a:t>
            </a:r>
          </a:p>
        </p:txBody>
      </p:sp>
      <p:sp>
        <p:nvSpPr>
          <p:cNvPr id="35" name="Rectangle 34"/>
          <p:cNvSpPr>
            <a:spLocks noChangeArrowheads="1"/>
          </p:cNvSpPr>
          <p:nvPr/>
        </p:nvSpPr>
        <p:spPr bwMode="auto">
          <a:xfrm>
            <a:off x="2230129" y="4152037"/>
            <a:ext cx="504825" cy="204788"/>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36" name="Rectangle 35"/>
          <p:cNvSpPr>
            <a:spLocks noChangeArrowheads="1"/>
          </p:cNvSpPr>
          <p:nvPr/>
        </p:nvSpPr>
        <p:spPr bwMode="auto">
          <a:xfrm>
            <a:off x="2230129" y="4626700"/>
            <a:ext cx="504825" cy="204787"/>
          </a:xfrm>
          <a:prstGeom prst="rect">
            <a:avLst/>
          </a:prstGeom>
          <a:solidFill>
            <a:schemeClr val="accent3"/>
          </a:solidFill>
          <a:ln w="12700" algn="ctr">
            <a:solidFill>
              <a:schemeClr val="bg1"/>
            </a:solidFill>
            <a:miter lim="800000"/>
            <a:headEnd/>
            <a:tailEnd/>
          </a:ln>
        </p:spPr>
        <p:txBody>
          <a:bodyPr wrap="none" anchor="ctr"/>
          <a:lstStyle/>
          <a:p>
            <a:pPr algn="ctr">
              <a:defRPr/>
            </a:pPr>
            <a:endParaRPr lang="en-GB" sz="1200">
              <a:solidFill>
                <a:schemeClr val="tx2"/>
              </a:solidFill>
            </a:endParaRPr>
          </a:p>
        </p:txBody>
      </p:sp>
      <p:sp>
        <p:nvSpPr>
          <p:cNvPr id="37" name="Rectangle 36"/>
          <p:cNvSpPr>
            <a:spLocks noChangeArrowheads="1"/>
          </p:cNvSpPr>
          <p:nvPr/>
        </p:nvSpPr>
        <p:spPr bwMode="auto">
          <a:xfrm>
            <a:off x="2230129" y="5080725"/>
            <a:ext cx="504825" cy="204787"/>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38" name="Rectangle 37"/>
          <p:cNvSpPr>
            <a:spLocks noChangeArrowheads="1"/>
          </p:cNvSpPr>
          <p:nvPr/>
        </p:nvSpPr>
        <p:spPr bwMode="auto">
          <a:xfrm>
            <a:off x="5494029" y="1961287"/>
            <a:ext cx="503237" cy="204788"/>
          </a:xfrm>
          <a:prstGeom prst="rect">
            <a:avLst/>
          </a:prstGeom>
          <a:solidFill>
            <a:schemeClr val="bg1"/>
          </a:solidFill>
          <a:ln w="12700" algn="ctr">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39" name="Rectangle 38"/>
          <p:cNvSpPr>
            <a:spLocks noChangeArrowheads="1"/>
          </p:cNvSpPr>
          <p:nvPr/>
        </p:nvSpPr>
        <p:spPr bwMode="auto">
          <a:xfrm>
            <a:off x="5494029" y="3678962"/>
            <a:ext cx="503237" cy="204788"/>
          </a:xfrm>
          <a:prstGeom prst="rect">
            <a:avLst/>
          </a:prstGeom>
          <a:solidFill>
            <a:srgbClr val="FFFFFF"/>
          </a:solidFill>
          <a:ln w="12700" algn="ctr">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40" name="Rectangle 39"/>
          <p:cNvSpPr>
            <a:spLocks noChangeArrowheads="1"/>
          </p:cNvSpPr>
          <p:nvPr/>
        </p:nvSpPr>
        <p:spPr bwMode="auto">
          <a:xfrm>
            <a:off x="5494029" y="4152037"/>
            <a:ext cx="503237" cy="204788"/>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783400" name="Rectangle 40"/>
          <p:cNvSpPr>
            <a:spLocks noChangeArrowheads="1"/>
          </p:cNvSpPr>
          <p:nvPr/>
        </p:nvSpPr>
        <p:spPr bwMode="auto">
          <a:xfrm>
            <a:off x="5494029" y="4626700"/>
            <a:ext cx="503237" cy="204787"/>
          </a:xfrm>
          <a:prstGeom prst="rect">
            <a:avLst/>
          </a:prstGeom>
          <a:solidFill>
            <a:schemeClr val="accent2"/>
          </a:solidFill>
          <a:ln w="12700" algn="ctr">
            <a:solidFill>
              <a:schemeClr val="bg1"/>
            </a:solidFill>
            <a:miter lim="800000"/>
            <a:headEnd/>
            <a:tailEnd/>
          </a:ln>
        </p:spPr>
        <p:txBody>
          <a:bodyPr wrap="none" anchor="ctr"/>
          <a:lstStyle/>
          <a:p>
            <a:pPr algn="ctr"/>
            <a:endParaRPr lang="en-GB" sz="1200">
              <a:solidFill>
                <a:schemeClr val="tx2"/>
              </a:solidFill>
            </a:endParaRPr>
          </a:p>
        </p:txBody>
      </p:sp>
      <p:sp>
        <p:nvSpPr>
          <p:cNvPr id="42" name="Rectangle 41"/>
          <p:cNvSpPr>
            <a:spLocks noChangeArrowheads="1"/>
          </p:cNvSpPr>
          <p:nvPr/>
        </p:nvSpPr>
        <p:spPr bwMode="auto">
          <a:xfrm>
            <a:off x="5494029" y="2388325"/>
            <a:ext cx="503237" cy="204787"/>
          </a:xfrm>
          <a:prstGeom prst="rect">
            <a:avLst/>
          </a:prstGeom>
          <a:solidFill>
            <a:srgbClr val="FFFFFF"/>
          </a:solidFill>
          <a:ln w="12700" algn="ctr">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43" name="Rectangle 42"/>
          <p:cNvSpPr>
            <a:spLocks noChangeArrowheads="1"/>
          </p:cNvSpPr>
          <p:nvPr/>
        </p:nvSpPr>
        <p:spPr bwMode="auto">
          <a:xfrm>
            <a:off x="5494029" y="2815362"/>
            <a:ext cx="503237" cy="204788"/>
          </a:xfrm>
          <a:prstGeom prst="rect">
            <a:avLst/>
          </a:prstGeom>
          <a:solidFill>
            <a:srgbClr val="FFFFFF"/>
          </a:solidFill>
          <a:ln w="12700" algn="ctr">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44" name="Rectangle 43"/>
          <p:cNvSpPr>
            <a:spLocks noChangeArrowheads="1"/>
          </p:cNvSpPr>
          <p:nvPr/>
        </p:nvSpPr>
        <p:spPr bwMode="auto">
          <a:xfrm>
            <a:off x="5494029" y="3242400"/>
            <a:ext cx="503237" cy="204787"/>
          </a:xfrm>
          <a:prstGeom prst="rect">
            <a:avLst/>
          </a:prstGeom>
          <a:solidFill>
            <a:srgbClr val="FFFFFF"/>
          </a:solidFill>
          <a:ln w="12700" algn="ctr">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45" name="Rectangle 44"/>
          <p:cNvSpPr>
            <a:spLocks noChangeArrowheads="1"/>
          </p:cNvSpPr>
          <p:nvPr/>
        </p:nvSpPr>
        <p:spPr bwMode="auto">
          <a:xfrm>
            <a:off x="4373254" y="1961287"/>
            <a:ext cx="504825" cy="204788"/>
          </a:xfrm>
          <a:prstGeom prst="rect">
            <a:avLst/>
          </a:prstGeom>
          <a:solidFill>
            <a:srgbClr val="FFFFFF"/>
          </a:solidFill>
          <a:ln w="12700" algn="ctr">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46" name="Rectangle 45"/>
          <p:cNvSpPr>
            <a:spLocks noChangeArrowheads="1"/>
          </p:cNvSpPr>
          <p:nvPr/>
        </p:nvSpPr>
        <p:spPr bwMode="auto">
          <a:xfrm>
            <a:off x="4373254" y="2388325"/>
            <a:ext cx="504825" cy="204787"/>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47" name="Rectangle 46"/>
          <p:cNvSpPr>
            <a:spLocks noChangeArrowheads="1"/>
          </p:cNvSpPr>
          <p:nvPr/>
        </p:nvSpPr>
        <p:spPr bwMode="auto">
          <a:xfrm>
            <a:off x="4373254" y="2815362"/>
            <a:ext cx="504825" cy="204788"/>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48" name="Rectangle 47"/>
          <p:cNvSpPr>
            <a:spLocks noChangeArrowheads="1"/>
          </p:cNvSpPr>
          <p:nvPr/>
        </p:nvSpPr>
        <p:spPr bwMode="auto">
          <a:xfrm>
            <a:off x="4373254" y="3242400"/>
            <a:ext cx="504825" cy="204787"/>
          </a:xfrm>
          <a:prstGeom prst="rect">
            <a:avLst/>
          </a:prstGeom>
          <a:solidFill>
            <a:schemeClr val="accent3"/>
          </a:solidFill>
          <a:ln w="12700" algn="ctr">
            <a:solidFill>
              <a:schemeClr val="bg1"/>
            </a:solidFill>
            <a:miter lim="800000"/>
            <a:headEnd/>
            <a:tailEnd/>
          </a:ln>
        </p:spPr>
        <p:txBody>
          <a:bodyPr wrap="none" anchor="ctr"/>
          <a:lstStyle/>
          <a:p>
            <a:pPr algn="ctr">
              <a:defRPr/>
            </a:pPr>
            <a:endParaRPr lang="en-GB" sz="1200">
              <a:solidFill>
                <a:schemeClr val="tx2"/>
              </a:solidFill>
            </a:endParaRPr>
          </a:p>
        </p:txBody>
      </p:sp>
      <p:sp>
        <p:nvSpPr>
          <p:cNvPr id="783408" name="Rectangle 48"/>
          <p:cNvSpPr>
            <a:spLocks noChangeArrowheads="1"/>
          </p:cNvSpPr>
          <p:nvPr/>
        </p:nvSpPr>
        <p:spPr bwMode="auto">
          <a:xfrm>
            <a:off x="4373254" y="3678962"/>
            <a:ext cx="504825" cy="204788"/>
          </a:xfrm>
          <a:prstGeom prst="rect">
            <a:avLst/>
          </a:prstGeom>
          <a:solidFill>
            <a:schemeClr val="accent2"/>
          </a:solidFill>
          <a:ln w="12700" algn="ctr">
            <a:solidFill>
              <a:schemeClr val="bg1"/>
            </a:solidFill>
            <a:miter lim="800000"/>
            <a:headEnd/>
            <a:tailEnd/>
          </a:ln>
        </p:spPr>
        <p:txBody>
          <a:bodyPr wrap="none" anchor="ctr"/>
          <a:lstStyle/>
          <a:p>
            <a:pPr algn="ctr"/>
            <a:endParaRPr lang="en-GB" sz="1200">
              <a:solidFill>
                <a:schemeClr val="tx2"/>
              </a:solidFill>
            </a:endParaRPr>
          </a:p>
        </p:txBody>
      </p:sp>
      <p:sp>
        <p:nvSpPr>
          <p:cNvPr id="50" name="Rectangle 49"/>
          <p:cNvSpPr>
            <a:spLocks noChangeArrowheads="1"/>
          </p:cNvSpPr>
          <p:nvPr/>
        </p:nvSpPr>
        <p:spPr bwMode="auto">
          <a:xfrm>
            <a:off x="4373254" y="4152037"/>
            <a:ext cx="504825" cy="204788"/>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51" name="Rectangle 50"/>
          <p:cNvSpPr>
            <a:spLocks noChangeArrowheads="1"/>
          </p:cNvSpPr>
          <p:nvPr/>
        </p:nvSpPr>
        <p:spPr bwMode="auto">
          <a:xfrm>
            <a:off x="4373254" y="4626700"/>
            <a:ext cx="504825" cy="204787"/>
          </a:xfrm>
          <a:prstGeom prst="rect">
            <a:avLst/>
          </a:prstGeom>
          <a:solidFill>
            <a:schemeClr val="accent3"/>
          </a:solidFill>
          <a:ln w="12700" algn="ctr">
            <a:solidFill>
              <a:schemeClr val="bg1"/>
            </a:solidFill>
            <a:miter lim="800000"/>
            <a:headEnd/>
            <a:tailEnd/>
          </a:ln>
        </p:spPr>
        <p:txBody>
          <a:bodyPr wrap="none" anchor="ctr"/>
          <a:lstStyle/>
          <a:p>
            <a:pPr algn="ctr">
              <a:defRPr/>
            </a:pPr>
            <a:endParaRPr lang="en-GB" sz="1200">
              <a:solidFill>
                <a:schemeClr val="tx2"/>
              </a:solidFill>
            </a:endParaRPr>
          </a:p>
        </p:txBody>
      </p:sp>
      <p:sp>
        <p:nvSpPr>
          <p:cNvPr id="52" name="Rectangle 51"/>
          <p:cNvSpPr>
            <a:spLocks noChangeArrowheads="1"/>
          </p:cNvSpPr>
          <p:nvPr/>
        </p:nvSpPr>
        <p:spPr bwMode="auto">
          <a:xfrm>
            <a:off x="7691129" y="1961287"/>
            <a:ext cx="501650" cy="204788"/>
          </a:xfrm>
          <a:prstGeom prst="rect">
            <a:avLst/>
          </a:prstGeom>
          <a:solidFill>
            <a:schemeClr val="accent3"/>
          </a:solidFill>
          <a:ln w="12700" algn="ctr">
            <a:solidFill>
              <a:schemeClr val="bg1"/>
            </a:solidFill>
            <a:miter lim="800000"/>
            <a:headEnd/>
            <a:tailEnd/>
          </a:ln>
        </p:spPr>
        <p:txBody>
          <a:bodyPr wrap="none" anchor="ctr"/>
          <a:lstStyle/>
          <a:p>
            <a:pPr algn="ctr">
              <a:defRPr/>
            </a:pPr>
            <a:endParaRPr lang="en-GB" sz="1200">
              <a:solidFill>
                <a:schemeClr val="tx2"/>
              </a:solidFill>
            </a:endParaRPr>
          </a:p>
        </p:txBody>
      </p:sp>
      <p:sp>
        <p:nvSpPr>
          <p:cNvPr id="53" name="Rectangle 52"/>
          <p:cNvSpPr>
            <a:spLocks noChangeArrowheads="1"/>
          </p:cNvSpPr>
          <p:nvPr/>
        </p:nvSpPr>
        <p:spPr bwMode="auto">
          <a:xfrm>
            <a:off x="7691129" y="3678962"/>
            <a:ext cx="501650" cy="204788"/>
          </a:xfrm>
          <a:prstGeom prst="rect">
            <a:avLst/>
          </a:prstGeom>
          <a:solidFill>
            <a:srgbClr val="FFFFFF"/>
          </a:solidFill>
          <a:ln w="12700" algn="ctr">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54" name="Rectangle 53"/>
          <p:cNvSpPr>
            <a:spLocks noChangeArrowheads="1"/>
          </p:cNvSpPr>
          <p:nvPr/>
        </p:nvSpPr>
        <p:spPr bwMode="auto">
          <a:xfrm>
            <a:off x="7691129" y="4152037"/>
            <a:ext cx="501650" cy="204788"/>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55" name="Rectangle 54"/>
          <p:cNvSpPr>
            <a:spLocks noChangeArrowheads="1"/>
          </p:cNvSpPr>
          <p:nvPr/>
        </p:nvSpPr>
        <p:spPr bwMode="auto">
          <a:xfrm>
            <a:off x="7691129" y="4626700"/>
            <a:ext cx="501650" cy="204787"/>
          </a:xfrm>
          <a:prstGeom prst="rect">
            <a:avLst/>
          </a:prstGeom>
          <a:solidFill>
            <a:schemeClr val="accent3"/>
          </a:solidFill>
          <a:ln w="12700" algn="ctr">
            <a:solidFill>
              <a:schemeClr val="bg1"/>
            </a:solidFill>
            <a:miter lim="800000"/>
            <a:headEnd/>
            <a:tailEnd/>
          </a:ln>
        </p:spPr>
        <p:txBody>
          <a:bodyPr wrap="none" anchor="ctr"/>
          <a:lstStyle/>
          <a:p>
            <a:pPr algn="ctr">
              <a:defRPr/>
            </a:pPr>
            <a:endParaRPr lang="en-GB" sz="1200">
              <a:solidFill>
                <a:schemeClr val="tx2"/>
              </a:solidFill>
            </a:endParaRPr>
          </a:p>
        </p:txBody>
      </p:sp>
      <p:sp>
        <p:nvSpPr>
          <p:cNvPr id="56" name="Rectangle 55"/>
          <p:cNvSpPr>
            <a:spLocks noChangeArrowheads="1"/>
          </p:cNvSpPr>
          <p:nvPr/>
        </p:nvSpPr>
        <p:spPr bwMode="auto">
          <a:xfrm>
            <a:off x="7691129" y="2388325"/>
            <a:ext cx="501650" cy="204787"/>
          </a:xfrm>
          <a:prstGeom prst="rect">
            <a:avLst/>
          </a:prstGeom>
          <a:solidFill>
            <a:srgbClr val="FFFFFF"/>
          </a:solidFill>
          <a:ln w="12700" algn="ctr">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57" name="Rectangle 56"/>
          <p:cNvSpPr>
            <a:spLocks noChangeArrowheads="1"/>
          </p:cNvSpPr>
          <p:nvPr/>
        </p:nvSpPr>
        <p:spPr bwMode="auto">
          <a:xfrm>
            <a:off x="7691129" y="2815362"/>
            <a:ext cx="501650" cy="204788"/>
          </a:xfrm>
          <a:prstGeom prst="rect">
            <a:avLst/>
          </a:prstGeom>
          <a:solidFill>
            <a:srgbClr val="FFFFFF"/>
          </a:solidFill>
          <a:ln w="12700" algn="ctr">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58" name="Rectangle 57"/>
          <p:cNvSpPr>
            <a:spLocks noChangeArrowheads="1"/>
          </p:cNvSpPr>
          <p:nvPr/>
        </p:nvSpPr>
        <p:spPr bwMode="auto">
          <a:xfrm>
            <a:off x="7691129" y="3242400"/>
            <a:ext cx="501650" cy="204787"/>
          </a:xfrm>
          <a:prstGeom prst="rect">
            <a:avLst/>
          </a:prstGeom>
          <a:solidFill>
            <a:srgbClr val="FFFFFF"/>
          </a:solidFill>
          <a:ln w="12700" algn="ctr">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59" name="Rectangle 58"/>
          <p:cNvSpPr>
            <a:spLocks noChangeArrowheads="1"/>
          </p:cNvSpPr>
          <p:nvPr/>
        </p:nvSpPr>
        <p:spPr bwMode="auto">
          <a:xfrm>
            <a:off x="6606866" y="1961287"/>
            <a:ext cx="503238" cy="204788"/>
          </a:xfrm>
          <a:prstGeom prst="rect">
            <a:avLst/>
          </a:prstGeom>
          <a:solidFill>
            <a:srgbClr val="FFFFFF"/>
          </a:solidFill>
          <a:ln w="12700" algn="ctr">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60" name="Rectangle 59"/>
          <p:cNvSpPr>
            <a:spLocks noChangeArrowheads="1"/>
          </p:cNvSpPr>
          <p:nvPr/>
        </p:nvSpPr>
        <p:spPr bwMode="auto">
          <a:xfrm>
            <a:off x="6606866" y="2388325"/>
            <a:ext cx="503238" cy="204787"/>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61" name="Rectangle 60"/>
          <p:cNvSpPr>
            <a:spLocks noChangeArrowheads="1"/>
          </p:cNvSpPr>
          <p:nvPr/>
        </p:nvSpPr>
        <p:spPr bwMode="auto">
          <a:xfrm>
            <a:off x="6606866" y="2815362"/>
            <a:ext cx="503238" cy="204788"/>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62" name="Rectangle 61"/>
          <p:cNvSpPr>
            <a:spLocks noChangeArrowheads="1"/>
          </p:cNvSpPr>
          <p:nvPr/>
        </p:nvSpPr>
        <p:spPr bwMode="auto">
          <a:xfrm>
            <a:off x="6606866" y="3242400"/>
            <a:ext cx="503238" cy="204787"/>
          </a:xfrm>
          <a:prstGeom prst="rect">
            <a:avLst/>
          </a:prstGeom>
          <a:solidFill>
            <a:schemeClr val="accent3"/>
          </a:solidFill>
          <a:ln w="12700" algn="ctr">
            <a:solidFill>
              <a:schemeClr val="bg1"/>
            </a:solidFill>
            <a:miter lim="800000"/>
            <a:headEnd/>
            <a:tailEnd/>
          </a:ln>
        </p:spPr>
        <p:txBody>
          <a:bodyPr wrap="none" anchor="ctr"/>
          <a:lstStyle/>
          <a:p>
            <a:pPr algn="ctr">
              <a:defRPr/>
            </a:pPr>
            <a:endParaRPr lang="en-GB" sz="1200">
              <a:solidFill>
                <a:schemeClr val="tx2"/>
              </a:solidFill>
            </a:endParaRPr>
          </a:p>
        </p:txBody>
      </p:sp>
      <p:sp>
        <p:nvSpPr>
          <p:cNvPr id="783422" name="Rectangle 62"/>
          <p:cNvSpPr>
            <a:spLocks noChangeArrowheads="1"/>
          </p:cNvSpPr>
          <p:nvPr/>
        </p:nvSpPr>
        <p:spPr bwMode="auto">
          <a:xfrm>
            <a:off x="6606866" y="3678962"/>
            <a:ext cx="503238" cy="204788"/>
          </a:xfrm>
          <a:prstGeom prst="rect">
            <a:avLst/>
          </a:prstGeom>
          <a:solidFill>
            <a:schemeClr val="accent2"/>
          </a:solidFill>
          <a:ln w="12700" algn="ctr">
            <a:solidFill>
              <a:schemeClr val="bg1"/>
            </a:solidFill>
            <a:miter lim="800000"/>
            <a:headEnd/>
            <a:tailEnd/>
          </a:ln>
        </p:spPr>
        <p:txBody>
          <a:bodyPr wrap="none" anchor="ctr"/>
          <a:lstStyle/>
          <a:p>
            <a:pPr algn="ctr"/>
            <a:endParaRPr lang="en-GB" sz="1200">
              <a:solidFill>
                <a:schemeClr val="tx2"/>
              </a:solidFill>
            </a:endParaRPr>
          </a:p>
        </p:txBody>
      </p:sp>
      <p:sp>
        <p:nvSpPr>
          <p:cNvPr id="64" name="Rectangle 63"/>
          <p:cNvSpPr>
            <a:spLocks noChangeArrowheads="1"/>
          </p:cNvSpPr>
          <p:nvPr/>
        </p:nvSpPr>
        <p:spPr bwMode="auto">
          <a:xfrm>
            <a:off x="6606866" y="4152037"/>
            <a:ext cx="503238" cy="204788"/>
          </a:xfrm>
          <a:prstGeom prst="rect">
            <a:avLst/>
          </a:prstGeom>
          <a:solidFill>
            <a:schemeClr val="accent3"/>
          </a:solidFill>
          <a:ln w="12700">
            <a:solidFill>
              <a:schemeClr val="bg1"/>
            </a:solidFill>
            <a:miter lim="800000"/>
            <a:headEnd/>
            <a:tailEnd/>
          </a:ln>
        </p:spPr>
        <p:txBody>
          <a:bodyPr wrap="none" anchor="ctr"/>
          <a:lstStyle/>
          <a:p>
            <a:pPr algn="ctr">
              <a:defRPr/>
            </a:pPr>
            <a:endParaRPr lang="en-GB" sz="1200">
              <a:solidFill>
                <a:schemeClr val="tx2"/>
              </a:solidFill>
            </a:endParaRPr>
          </a:p>
        </p:txBody>
      </p:sp>
      <p:sp>
        <p:nvSpPr>
          <p:cNvPr id="65" name="Rectangle 64"/>
          <p:cNvSpPr>
            <a:spLocks noChangeArrowheads="1"/>
          </p:cNvSpPr>
          <p:nvPr/>
        </p:nvSpPr>
        <p:spPr bwMode="auto">
          <a:xfrm>
            <a:off x="6606866" y="4626700"/>
            <a:ext cx="503238" cy="204787"/>
          </a:xfrm>
          <a:prstGeom prst="rect">
            <a:avLst/>
          </a:prstGeom>
          <a:solidFill>
            <a:schemeClr val="accent3"/>
          </a:solidFill>
          <a:ln w="12700" algn="ctr">
            <a:solidFill>
              <a:schemeClr val="bg1"/>
            </a:solidFill>
            <a:miter lim="800000"/>
            <a:headEnd/>
            <a:tailEnd/>
          </a:ln>
        </p:spPr>
        <p:txBody>
          <a:bodyPr wrap="none" anchor="ctr"/>
          <a:lstStyle/>
          <a:p>
            <a:pPr algn="ctr">
              <a:defRPr/>
            </a:pPr>
            <a:endParaRPr lang="en-GB" sz="1200">
              <a:solidFill>
                <a:schemeClr val="tx2"/>
              </a:solidFill>
            </a:endParaRPr>
          </a:p>
        </p:txBody>
      </p:sp>
      <p:sp>
        <p:nvSpPr>
          <p:cNvPr id="66" name="Rectangle 65"/>
          <p:cNvSpPr>
            <a:spLocks noChangeArrowheads="1"/>
          </p:cNvSpPr>
          <p:nvPr/>
        </p:nvSpPr>
        <p:spPr bwMode="auto">
          <a:xfrm>
            <a:off x="5494029" y="5080725"/>
            <a:ext cx="503237" cy="204787"/>
          </a:xfrm>
          <a:prstGeom prst="rect">
            <a:avLst/>
          </a:prstGeom>
          <a:solidFill>
            <a:schemeClr val="accent3"/>
          </a:solidFill>
          <a:ln w="12700" algn="ctr">
            <a:solidFill>
              <a:schemeClr val="bg1"/>
            </a:solidFill>
            <a:miter lim="800000"/>
            <a:headEnd/>
            <a:tailEnd/>
          </a:ln>
        </p:spPr>
        <p:txBody>
          <a:bodyPr wrap="none" anchor="ctr"/>
          <a:lstStyle/>
          <a:p>
            <a:pPr algn="ctr">
              <a:defRPr/>
            </a:pPr>
            <a:endParaRPr lang="en-GB" sz="1200">
              <a:solidFill>
                <a:schemeClr val="tx2"/>
              </a:solidFill>
            </a:endParaRPr>
          </a:p>
        </p:txBody>
      </p:sp>
      <p:sp>
        <p:nvSpPr>
          <p:cNvPr id="67" name="Rectangle 66"/>
          <p:cNvSpPr>
            <a:spLocks noChangeArrowheads="1"/>
          </p:cNvSpPr>
          <p:nvPr/>
        </p:nvSpPr>
        <p:spPr bwMode="auto">
          <a:xfrm>
            <a:off x="4373254" y="5080725"/>
            <a:ext cx="504825" cy="204787"/>
          </a:xfrm>
          <a:prstGeom prst="rect">
            <a:avLst/>
          </a:prstGeom>
          <a:solidFill>
            <a:schemeClr val="accent3"/>
          </a:solidFill>
          <a:ln w="12700" algn="ctr">
            <a:solidFill>
              <a:schemeClr val="bg1"/>
            </a:solidFill>
            <a:miter lim="800000"/>
            <a:headEnd/>
            <a:tailEnd/>
          </a:ln>
        </p:spPr>
        <p:txBody>
          <a:bodyPr wrap="none" anchor="ctr"/>
          <a:lstStyle/>
          <a:p>
            <a:pPr algn="ctr">
              <a:defRPr/>
            </a:pPr>
            <a:endParaRPr lang="en-GB" sz="1200">
              <a:solidFill>
                <a:schemeClr val="tx2"/>
              </a:solidFill>
            </a:endParaRPr>
          </a:p>
        </p:txBody>
      </p:sp>
      <p:sp>
        <p:nvSpPr>
          <p:cNvPr id="68" name="Rectangle 67"/>
          <p:cNvSpPr>
            <a:spLocks noChangeArrowheads="1"/>
          </p:cNvSpPr>
          <p:nvPr/>
        </p:nvSpPr>
        <p:spPr bwMode="auto">
          <a:xfrm>
            <a:off x="7691129" y="5080725"/>
            <a:ext cx="501650" cy="204787"/>
          </a:xfrm>
          <a:prstGeom prst="rect">
            <a:avLst/>
          </a:prstGeom>
          <a:solidFill>
            <a:schemeClr val="accent3"/>
          </a:solidFill>
          <a:ln w="12700" algn="ctr">
            <a:solidFill>
              <a:schemeClr val="bg1"/>
            </a:solidFill>
            <a:miter lim="800000"/>
            <a:headEnd/>
            <a:tailEnd/>
          </a:ln>
        </p:spPr>
        <p:txBody>
          <a:bodyPr wrap="none" anchor="ctr"/>
          <a:lstStyle/>
          <a:p>
            <a:pPr algn="ctr">
              <a:defRPr/>
            </a:pPr>
            <a:endParaRPr lang="en-GB" sz="1200">
              <a:solidFill>
                <a:schemeClr val="tx2"/>
              </a:solidFill>
            </a:endParaRPr>
          </a:p>
        </p:txBody>
      </p:sp>
      <p:sp>
        <p:nvSpPr>
          <p:cNvPr id="783428" name="Rectangle 68"/>
          <p:cNvSpPr>
            <a:spLocks noChangeArrowheads="1"/>
          </p:cNvSpPr>
          <p:nvPr/>
        </p:nvSpPr>
        <p:spPr bwMode="auto">
          <a:xfrm>
            <a:off x="6606866" y="5080725"/>
            <a:ext cx="503238" cy="204787"/>
          </a:xfrm>
          <a:prstGeom prst="rect">
            <a:avLst/>
          </a:prstGeom>
          <a:solidFill>
            <a:schemeClr val="accent2"/>
          </a:solidFill>
          <a:ln w="12700" algn="ctr">
            <a:solidFill>
              <a:schemeClr val="bg1"/>
            </a:solidFill>
            <a:miter lim="800000"/>
            <a:headEnd/>
            <a:tailEnd/>
          </a:ln>
        </p:spPr>
        <p:txBody>
          <a:bodyPr wrap="none" anchor="ctr"/>
          <a:lstStyle/>
          <a:p>
            <a:pPr algn="ctr"/>
            <a:endParaRPr lang="en-GB" sz="1200">
              <a:solidFill>
                <a:schemeClr val="tx2"/>
              </a:solidFill>
            </a:endParaRPr>
          </a:p>
        </p:txBody>
      </p:sp>
      <p:sp>
        <p:nvSpPr>
          <p:cNvPr id="783429" name="Text Box 69"/>
          <p:cNvSpPr txBox="1">
            <a:spLocks noChangeArrowheads="1"/>
          </p:cNvSpPr>
          <p:nvPr/>
        </p:nvSpPr>
        <p:spPr bwMode="auto">
          <a:xfrm>
            <a:off x="945841" y="2340700"/>
            <a:ext cx="468313" cy="295275"/>
          </a:xfrm>
          <a:prstGeom prst="rect">
            <a:avLst/>
          </a:prstGeom>
          <a:noFill/>
          <a:ln w="9525" algn="ctr">
            <a:noFill/>
            <a:miter lim="800000"/>
            <a:headEnd type="none" w="sm" len="sm"/>
            <a:tailEnd type="none" w="sm" len="sm"/>
          </a:ln>
        </p:spPr>
        <p:txBody>
          <a:bodyPr wrap="none">
            <a:spAutoFit/>
          </a:bodyPr>
          <a:lstStyle/>
          <a:p>
            <a:pPr marL="184150" indent="-184150">
              <a:lnSpc>
                <a:spcPct val="110000"/>
              </a:lnSpc>
            </a:pPr>
            <a:r>
              <a:rPr lang="en-GB" altLang="ja-JP" sz="1200">
                <a:solidFill>
                  <a:schemeClr val="tx2"/>
                </a:solidFill>
                <a:ea typeface="ＭＳ Ｐゴシック" charset="-128"/>
              </a:rPr>
              <a:t>Text</a:t>
            </a:r>
          </a:p>
        </p:txBody>
      </p:sp>
      <p:grpSp>
        <p:nvGrpSpPr>
          <p:cNvPr id="77" name="Group 76"/>
          <p:cNvGrpSpPr/>
          <p:nvPr/>
        </p:nvGrpSpPr>
        <p:grpSpPr>
          <a:xfrm>
            <a:off x="2336943" y="5645629"/>
            <a:ext cx="4621206" cy="276999"/>
            <a:chOff x="2336943" y="5645629"/>
            <a:chExt cx="4621206" cy="276999"/>
          </a:xfrm>
        </p:grpSpPr>
        <p:sp>
          <p:nvSpPr>
            <p:cNvPr id="783364" name="Rectangle 4"/>
            <p:cNvSpPr>
              <a:spLocks noChangeArrowheads="1"/>
            </p:cNvSpPr>
            <p:nvPr/>
          </p:nvSpPr>
          <p:spPr bwMode="auto">
            <a:xfrm>
              <a:off x="2391064" y="5682965"/>
              <a:ext cx="503238" cy="204788"/>
            </a:xfrm>
            <a:prstGeom prst="rect">
              <a:avLst/>
            </a:prstGeom>
            <a:solidFill>
              <a:schemeClr val="accent2"/>
            </a:solidFill>
            <a:ln w="12700">
              <a:solidFill>
                <a:schemeClr val="bg1"/>
              </a:solidFill>
              <a:miter lim="800000"/>
              <a:headEnd/>
              <a:tailEnd/>
            </a:ln>
          </p:spPr>
          <p:txBody>
            <a:bodyPr wrap="none" anchor="ctr"/>
            <a:lstStyle/>
            <a:p>
              <a:pPr algn="ctr"/>
              <a:endParaRPr lang="en-GB" sz="1200">
                <a:solidFill>
                  <a:schemeClr val="tx2"/>
                </a:solidFill>
              </a:endParaRPr>
            </a:p>
          </p:txBody>
        </p:sp>
        <p:sp>
          <p:nvSpPr>
            <p:cNvPr id="6" name="Rectangle 5"/>
            <p:cNvSpPr>
              <a:spLocks noChangeArrowheads="1"/>
            </p:cNvSpPr>
            <p:nvPr/>
          </p:nvSpPr>
          <p:spPr bwMode="auto">
            <a:xfrm>
              <a:off x="4022792" y="5682965"/>
              <a:ext cx="503237" cy="204788"/>
            </a:xfrm>
            <a:prstGeom prst="rect">
              <a:avLst/>
            </a:prstGeom>
            <a:solidFill>
              <a:schemeClr val="accent3"/>
            </a:solidFill>
            <a:ln w="12700" algn="ctr">
              <a:solidFill>
                <a:schemeClr val="bg1"/>
              </a:solidFill>
              <a:miter lim="800000"/>
              <a:headEnd/>
              <a:tailEnd/>
            </a:ln>
          </p:spPr>
          <p:txBody>
            <a:bodyPr wrap="none" anchor="ctr"/>
            <a:lstStyle/>
            <a:p>
              <a:pPr algn="ctr">
                <a:defRPr/>
              </a:pPr>
              <a:endParaRPr lang="en-GB" sz="1200">
                <a:solidFill>
                  <a:schemeClr val="tx2"/>
                </a:solidFill>
              </a:endParaRPr>
            </a:p>
          </p:txBody>
        </p:sp>
        <p:sp>
          <p:nvSpPr>
            <p:cNvPr id="783366" name="Text Box 6"/>
            <p:cNvSpPr txBox="1">
              <a:spLocks noChangeArrowheads="1"/>
            </p:cNvSpPr>
            <p:nvPr/>
          </p:nvSpPr>
          <p:spPr bwMode="auto">
            <a:xfrm>
              <a:off x="2854485" y="5665458"/>
              <a:ext cx="917238" cy="246221"/>
            </a:xfrm>
            <a:prstGeom prst="rect">
              <a:avLst/>
            </a:prstGeom>
            <a:noFill/>
            <a:ln w="9525" algn="ctr">
              <a:noFill/>
              <a:miter lim="800000"/>
              <a:headEnd/>
              <a:tailEnd/>
            </a:ln>
          </p:spPr>
          <p:txBody>
            <a:bodyPr wrap="none">
              <a:spAutoFit/>
            </a:bodyPr>
            <a:lstStyle/>
            <a:p>
              <a:pPr algn="l"/>
              <a:r>
                <a:rPr lang="en-GB" altLang="ja-JP" sz="1000" dirty="0">
                  <a:solidFill>
                    <a:schemeClr val="tx2"/>
                  </a:solidFill>
                  <a:ea typeface="ＭＳ Ｐゴシック" charset="-128"/>
                </a:rPr>
                <a:t>Advantaged</a:t>
              </a:r>
            </a:p>
          </p:txBody>
        </p:sp>
        <p:sp>
          <p:nvSpPr>
            <p:cNvPr id="783367" name="Text Box 7"/>
            <p:cNvSpPr txBox="1">
              <a:spLocks noChangeArrowheads="1"/>
            </p:cNvSpPr>
            <p:nvPr/>
          </p:nvSpPr>
          <p:spPr bwMode="auto">
            <a:xfrm>
              <a:off x="4507802" y="5665458"/>
              <a:ext cx="625492" cy="246221"/>
            </a:xfrm>
            <a:prstGeom prst="rect">
              <a:avLst/>
            </a:prstGeom>
            <a:noFill/>
            <a:ln w="9525" algn="ctr">
              <a:noFill/>
              <a:miter lim="800000"/>
              <a:headEnd/>
              <a:tailEnd/>
            </a:ln>
          </p:spPr>
          <p:txBody>
            <a:bodyPr wrap="none">
              <a:spAutoFit/>
            </a:bodyPr>
            <a:lstStyle/>
            <a:p>
              <a:pPr algn="l"/>
              <a:r>
                <a:rPr lang="en-GB" altLang="ja-JP" sz="1000" dirty="0">
                  <a:solidFill>
                    <a:schemeClr val="tx2"/>
                  </a:solidFill>
                  <a:ea typeface="ＭＳ Ｐゴシック" charset="-128"/>
                </a:rPr>
                <a:t>Neutral</a:t>
              </a:r>
            </a:p>
          </p:txBody>
        </p:sp>
        <p:sp>
          <p:nvSpPr>
            <p:cNvPr id="9" name="Rectangle 8"/>
            <p:cNvSpPr>
              <a:spLocks noChangeArrowheads="1"/>
            </p:cNvSpPr>
            <p:nvPr/>
          </p:nvSpPr>
          <p:spPr bwMode="auto">
            <a:xfrm>
              <a:off x="2336943" y="5645629"/>
              <a:ext cx="4621206" cy="276999"/>
            </a:xfrm>
            <a:prstGeom prst="rect">
              <a:avLst/>
            </a:prstGeom>
            <a:noFill/>
            <a:ln w="12700" algn="ctr">
              <a:solidFill>
                <a:schemeClr val="accent1"/>
              </a:solidFill>
              <a:miter lim="800000"/>
              <a:headEnd/>
              <a:tailEnd/>
            </a:ln>
          </p:spPr>
          <p:txBody>
            <a:bodyPr wrap="square" anchor="ctr">
              <a:spAutoFit/>
            </a:bodyPr>
            <a:lstStyle/>
            <a:p>
              <a:pPr algn="ctr">
                <a:defRPr/>
              </a:pPr>
              <a:endParaRPr lang="en-GB" sz="1200">
                <a:solidFill>
                  <a:schemeClr val="tx2"/>
                </a:solidFill>
              </a:endParaRPr>
            </a:p>
          </p:txBody>
        </p:sp>
        <p:sp>
          <p:nvSpPr>
            <p:cNvPr id="71" name="Rectangle 70"/>
            <p:cNvSpPr>
              <a:spLocks noChangeArrowheads="1"/>
            </p:cNvSpPr>
            <p:nvPr/>
          </p:nvSpPr>
          <p:spPr bwMode="auto">
            <a:xfrm>
              <a:off x="5359015" y="5682965"/>
              <a:ext cx="503238" cy="204788"/>
            </a:xfrm>
            <a:prstGeom prst="rect">
              <a:avLst/>
            </a:prstGeom>
            <a:noFill/>
            <a:ln w="12700">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783431" name="Text Box 71"/>
            <p:cNvSpPr txBox="1">
              <a:spLocks noChangeArrowheads="1"/>
            </p:cNvSpPr>
            <p:nvPr/>
          </p:nvSpPr>
          <p:spPr bwMode="auto">
            <a:xfrm>
              <a:off x="5828188" y="5665458"/>
              <a:ext cx="1093569" cy="246221"/>
            </a:xfrm>
            <a:prstGeom prst="rect">
              <a:avLst/>
            </a:prstGeom>
            <a:noFill/>
            <a:ln w="9525" algn="ctr">
              <a:noFill/>
              <a:miter lim="800000"/>
              <a:headEnd/>
              <a:tailEnd/>
            </a:ln>
          </p:spPr>
          <p:txBody>
            <a:bodyPr wrap="none">
              <a:spAutoFit/>
            </a:bodyPr>
            <a:lstStyle/>
            <a:p>
              <a:pPr algn="l"/>
              <a:r>
                <a:rPr lang="en-GB" altLang="ja-JP" sz="1000" dirty="0">
                  <a:solidFill>
                    <a:schemeClr val="tx2"/>
                  </a:solidFill>
                  <a:ea typeface="ＭＳ Ｐゴシック" charset="-128"/>
                </a:rPr>
                <a:t>Disadvantaged</a:t>
              </a:r>
            </a:p>
          </p:txBody>
        </p:sp>
      </p:grpSp>
      <p:sp>
        <p:nvSpPr>
          <p:cNvPr id="75"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76"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4385" name="Title 1"/>
          <p:cNvSpPr>
            <a:spLocks noGrp="1"/>
          </p:cNvSpPr>
          <p:nvPr>
            <p:ph type="title"/>
          </p:nvPr>
        </p:nvSpPr>
        <p:spPr>
          <a:xfrm>
            <a:off x="414338" y="446038"/>
            <a:ext cx="8330184" cy="333425"/>
          </a:xfrm>
        </p:spPr>
        <p:txBody>
          <a:bodyPr/>
          <a:lstStyle/>
          <a:p>
            <a:r>
              <a:rPr lang="en-GB" altLang="ja-JP"/>
              <a:t>Activity map </a:t>
            </a:r>
            <a:r>
              <a:rPr lang="en-US"/>
              <a:t>—</a:t>
            </a:r>
            <a:r>
              <a:rPr lang="en-GB" altLang="ja-JP" smtClean="0"/>
              <a:t> </a:t>
            </a:r>
            <a:r>
              <a:rPr lang="en-GB" altLang="ja-JP"/>
              <a:t>synergy analysis</a:t>
            </a:r>
            <a:endParaRPr lang="nl-NL"/>
          </a:p>
        </p:txBody>
      </p:sp>
      <p:sp>
        <p:nvSpPr>
          <p:cNvPr id="784390" name="Text Box 6"/>
          <p:cNvSpPr txBox="1">
            <a:spLocks noChangeArrowheads="1"/>
          </p:cNvSpPr>
          <p:nvPr/>
        </p:nvSpPr>
        <p:spPr bwMode="auto">
          <a:xfrm>
            <a:off x="7220960" y="1708435"/>
            <a:ext cx="1064715" cy="276999"/>
          </a:xfrm>
          <a:prstGeom prst="rect">
            <a:avLst/>
          </a:prstGeom>
          <a:noFill/>
          <a:ln w="9525">
            <a:noFill/>
            <a:miter lim="800000"/>
            <a:headEnd type="none" w="sm" len="sm"/>
            <a:tailEnd type="none" w="med" len="lg"/>
          </a:ln>
        </p:spPr>
        <p:txBody>
          <a:bodyPr wrap="none">
            <a:spAutoFit/>
          </a:bodyPr>
          <a:lstStyle/>
          <a:p>
            <a:pPr algn="l"/>
            <a:r>
              <a:rPr lang="en-GB" altLang="ja-JP" sz="1200">
                <a:solidFill>
                  <a:schemeClr val="tx2"/>
                </a:solidFill>
                <a:ea typeface="ＭＳ Ｐゴシック" charset="-128"/>
              </a:rPr>
              <a:t>Advantaged</a:t>
            </a:r>
          </a:p>
        </p:txBody>
      </p:sp>
      <p:sp>
        <p:nvSpPr>
          <p:cNvPr id="784391" name="Text Box 7"/>
          <p:cNvSpPr txBox="1">
            <a:spLocks noChangeArrowheads="1"/>
          </p:cNvSpPr>
          <p:nvPr/>
        </p:nvSpPr>
        <p:spPr bwMode="auto">
          <a:xfrm>
            <a:off x="7220960" y="2276760"/>
            <a:ext cx="1277914" cy="276999"/>
          </a:xfrm>
          <a:prstGeom prst="rect">
            <a:avLst/>
          </a:prstGeom>
          <a:noFill/>
          <a:ln w="9525">
            <a:noFill/>
            <a:miter lim="800000"/>
            <a:headEnd type="none" w="sm" len="sm"/>
            <a:tailEnd type="none" w="med" len="lg"/>
          </a:ln>
        </p:spPr>
        <p:txBody>
          <a:bodyPr wrap="none">
            <a:spAutoFit/>
          </a:bodyPr>
          <a:lstStyle/>
          <a:p>
            <a:pPr algn="l"/>
            <a:r>
              <a:rPr lang="en-GB" altLang="ja-JP" sz="1200" dirty="0">
                <a:solidFill>
                  <a:schemeClr val="tx2"/>
                </a:solidFill>
                <a:ea typeface="ＭＳ Ｐゴシック" charset="-128"/>
              </a:rPr>
              <a:t>Disadvantaged</a:t>
            </a:r>
          </a:p>
        </p:txBody>
      </p:sp>
      <p:sp>
        <p:nvSpPr>
          <p:cNvPr id="97" name="Rectangle 96"/>
          <p:cNvSpPr>
            <a:spLocks noChangeArrowheads="1"/>
          </p:cNvSpPr>
          <p:nvPr/>
        </p:nvSpPr>
        <p:spPr bwMode="auto">
          <a:xfrm>
            <a:off x="6939972" y="1738598"/>
            <a:ext cx="263525"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98" name="Rectangle 97"/>
          <p:cNvSpPr>
            <a:spLocks noChangeArrowheads="1"/>
          </p:cNvSpPr>
          <p:nvPr/>
        </p:nvSpPr>
        <p:spPr bwMode="auto">
          <a:xfrm>
            <a:off x="6939972" y="2308510"/>
            <a:ext cx="263525" cy="215900"/>
          </a:xfrm>
          <a:prstGeom prst="rect">
            <a:avLst/>
          </a:prstGeom>
          <a:solidFill>
            <a:srgbClr val="FFFFFF"/>
          </a:solidFill>
          <a:ln w="12700">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84482" name="Text Box 98"/>
          <p:cNvSpPr txBox="1">
            <a:spLocks noChangeArrowheads="1"/>
          </p:cNvSpPr>
          <p:nvPr/>
        </p:nvSpPr>
        <p:spPr bwMode="auto">
          <a:xfrm>
            <a:off x="7335260" y="1700498"/>
            <a:ext cx="184150" cy="276225"/>
          </a:xfrm>
          <a:prstGeom prst="rect">
            <a:avLst/>
          </a:prstGeom>
          <a:noFill/>
          <a:ln w="9525">
            <a:noFill/>
            <a:miter lim="800000"/>
            <a:headEnd type="none" w="sm" len="sm"/>
            <a:tailEnd type="none" w="med" len="lg"/>
          </a:ln>
        </p:spPr>
        <p:txBody>
          <a:bodyPr wrap="none">
            <a:spAutoFit/>
          </a:bodyPr>
          <a:lstStyle/>
          <a:p>
            <a:endParaRPr lang="en-GB" sz="1200">
              <a:solidFill>
                <a:schemeClr val="tx2"/>
              </a:solidFill>
              <a:ea typeface="ＭＳ Ｐゴシック" charset="-128"/>
            </a:endParaRPr>
          </a:p>
        </p:txBody>
      </p:sp>
      <p:sp>
        <p:nvSpPr>
          <p:cNvPr id="100" name="Rectangle 99"/>
          <p:cNvSpPr>
            <a:spLocks noChangeArrowheads="1"/>
          </p:cNvSpPr>
          <p:nvPr/>
        </p:nvSpPr>
        <p:spPr bwMode="auto">
          <a:xfrm>
            <a:off x="6939972" y="2602198"/>
            <a:ext cx="263525" cy="215900"/>
          </a:xfrm>
          <a:prstGeom prst="rect">
            <a:avLst/>
          </a:prstGeom>
          <a:solidFill>
            <a:srgbClr val="FFFFFF"/>
          </a:solidFill>
          <a:ln w="12700">
            <a:solidFill>
              <a:schemeClr val="accent3"/>
            </a:solidFill>
            <a:prstDash val="dash"/>
            <a:miter lim="800000"/>
            <a:headEnd type="none" w="sm" len="sm"/>
            <a:tailEnd type="none" w="sm" len="sm"/>
          </a:ln>
        </p:spPr>
        <p:txBody>
          <a:bodyPr wrap="none" anchor="ctr"/>
          <a:lstStyle/>
          <a:p>
            <a:pPr algn="ctr">
              <a:defRPr/>
            </a:pPr>
            <a:endParaRPr lang="en-GB" sz="1200">
              <a:solidFill>
                <a:schemeClr val="tx2"/>
              </a:solidFill>
            </a:endParaRPr>
          </a:p>
        </p:txBody>
      </p:sp>
      <p:sp>
        <p:nvSpPr>
          <p:cNvPr id="784484" name="Text Box 100"/>
          <p:cNvSpPr txBox="1">
            <a:spLocks noChangeArrowheads="1"/>
          </p:cNvSpPr>
          <p:nvPr/>
        </p:nvSpPr>
        <p:spPr bwMode="auto">
          <a:xfrm>
            <a:off x="7220960" y="2570448"/>
            <a:ext cx="423862" cy="276225"/>
          </a:xfrm>
          <a:prstGeom prst="rect">
            <a:avLst/>
          </a:prstGeom>
          <a:noFill/>
          <a:ln w="9525">
            <a:noFill/>
            <a:miter lim="800000"/>
            <a:headEnd type="none" w="sm" len="sm"/>
            <a:tailEnd type="none" w="med" len="lg"/>
          </a:ln>
        </p:spPr>
        <p:txBody>
          <a:bodyPr wrap="none">
            <a:spAutoFit/>
          </a:bodyPr>
          <a:lstStyle/>
          <a:p>
            <a:pPr algn="l"/>
            <a:r>
              <a:rPr lang="en-GB" altLang="ja-JP" sz="1200" dirty="0">
                <a:solidFill>
                  <a:schemeClr val="tx2"/>
                </a:solidFill>
                <a:ea typeface="ＭＳ Ｐゴシック" charset="-128"/>
              </a:rPr>
              <a:t>NM</a:t>
            </a:r>
          </a:p>
        </p:txBody>
      </p:sp>
      <p:sp>
        <p:nvSpPr>
          <p:cNvPr id="102" name="Rectangle 101"/>
          <p:cNvSpPr>
            <a:spLocks noChangeArrowheads="1"/>
          </p:cNvSpPr>
          <p:nvPr/>
        </p:nvSpPr>
        <p:spPr bwMode="auto">
          <a:xfrm>
            <a:off x="6939972" y="2021173"/>
            <a:ext cx="263525" cy="215900"/>
          </a:xfrm>
          <a:prstGeom prst="rect">
            <a:avLst/>
          </a:prstGeom>
          <a:solidFill>
            <a:schemeClr val="accent3"/>
          </a:solidFill>
          <a:ln w="9525">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103" name="Rectangle 102"/>
          <p:cNvSpPr>
            <a:spLocks noChangeArrowheads="1"/>
          </p:cNvSpPr>
          <p:nvPr/>
        </p:nvSpPr>
        <p:spPr bwMode="auto">
          <a:xfrm>
            <a:off x="6673272" y="2308510"/>
            <a:ext cx="266700" cy="215900"/>
          </a:xfrm>
          <a:prstGeom prst="rect">
            <a:avLst/>
          </a:prstGeom>
          <a:solidFill>
            <a:srgbClr val="FFFFFF"/>
          </a:solidFill>
          <a:ln w="12700">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104" name="Rectangle 103"/>
          <p:cNvSpPr>
            <a:spLocks noChangeArrowheads="1"/>
          </p:cNvSpPr>
          <p:nvPr/>
        </p:nvSpPr>
        <p:spPr bwMode="auto">
          <a:xfrm>
            <a:off x="6673272" y="2602198"/>
            <a:ext cx="266700" cy="215900"/>
          </a:xfrm>
          <a:prstGeom prst="rect">
            <a:avLst/>
          </a:prstGeom>
          <a:solidFill>
            <a:srgbClr val="FFFFFF"/>
          </a:solidFill>
          <a:ln w="12700">
            <a:solidFill>
              <a:schemeClr val="accent3"/>
            </a:solidFill>
            <a:prstDash val="dash"/>
            <a:miter lim="800000"/>
            <a:headEnd type="none" w="sm" len="sm"/>
            <a:tailEnd type="none" w="sm" len="sm"/>
          </a:ln>
        </p:spPr>
        <p:txBody>
          <a:bodyPr wrap="none" anchor="ctr"/>
          <a:lstStyle/>
          <a:p>
            <a:pPr algn="ctr">
              <a:defRPr/>
            </a:pPr>
            <a:endParaRPr lang="en-GB" sz="1200">
              <a:solidFill>
                <a:schemeClr val="tx2"/>
              </a:solidFill>
            </a:endParaRPr>
          </a:p>
        </p:txBody>
      </p:sp>
      <p:sp>
        <p:nvSpPr>
          <p:cNvPr id="105" name="Rectangle 104"/>
          <p:cNvSpPr>
            <a:spLocks noChangeArrowheads="1"/>
          </p:cNvSpPr>
          <p:nvPr/>
        </p:nvSpPr>
        <p:spPr bwMode="auto">
          <a:xfrm>
            <a:off x="6673272" y="2021173"/>
            <a:ext cx="266700" cy="215900"/>
          </a:xfrm>
          <a:prstGeom prst="rect">
            <a:avLst/>
          </a:prstGeom>
          <a:solidFill>
            <a:schemeClr val="accent3"/>
          </a:solidFill>
          <a:ln w="9525">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84489" name="Rectangle 105"/>
          <p:cNvSpPr>
            <a:spLocks noChangeArrowheads="1"/>
          </p:cNvSpPr>
          <p:nvPr/>
        </p:nvSpPr>
        <p:spPr bwMode="auto">
          <a:xfrm>
            <a:off x="6664899" y="1498885"/>
            <a:ext cx="287338" cy="276225"/>
          </a:xfrm>
          <a:prstGeom prst="rect">
            <a:avLst/>
          </a:prstGeom>
          <a:noFill/>
          <a:ln w="9525">
            <a:noFill/>
            <a:miter lim="800000"/>
            <a:headEnd type="none" w="sm" len="sm"/>
            <a:tailEnd type="none" w="med" len="lg"/>
          </a:ln>
        </p:spPr>
        <p:txBody>
          <a:bodyPr wrap="none">
            <a:spAutoFit/>
          </a:bodyPr>
          <a:lstStyle/>
          <a:p>
            <a:pPr algn="r"/>
            <a:r>
              <a:rPr lang="en-GB" altLang="ja-JP" sz="1200" dirty="0">
                <a:solidFill>
                  <a:schemeClr val="tx2"/>
                </a:solidFill>
                <a:ea typeface="ＭＳ Ｐゴシック" charset="-128"/>
              </a:rPr>
              <a:t>A</a:t>
            </a:r>
          </a:p>
        </p:txBody>
      </p:sp>
      <p:sp>
        <p:nvSpPr>
          <p:cNvPr id="784490" name="Text Box 106"/>
          <p:cNvSpPr txBox="1">
            <a:spLocks noChangeArrowheads="1"/>
          </p:cNvSpPr>
          <p:nvPr/>
        </p:nvSpPr>
        <p:spPr bwMode="auto">
          <a:xfrm>
            <a:off x="7220960" y="1994185"/>
            <a:ext cx="783291" cy="276999"/>
          </a:xfrm>
          <a:prstGeom prst="rect">
            <a:avLst/>
          </a:prstGeom>
          <a:noFill/>
          <a:ln w="9525">
            <a:noFill/>
            <a:miter lim="800000"/>
            <a:headEnd type="none" w="sm" len="sm"/>
            <a:tailEnd type="none" w="med" len="lg"/>
          </a:ln>
        </p:spPr>
        <p:txBody>
          <a:bodyPr wrap="none">
            <a:spAutoFit/>
          </a:bodyPr>
          <a:lstStyle/>
          <a:p>
            <a:pPr algn="l"/>
            <a:r>
              <a:rPr lang="en-GB" altLang="ja-JP" sz="1200">
                <a:solidFill>
                  <a:schemeClr val="tx2"/>
                </a:solidFill>
                <a:ea typeface="ＭＳ Ｐゴシック" charset="-128"/>
              </a:rPr>
              <a:t>Average</a:t>
            </a:r>
          </a:p>
        </p:txBody>
      </p:sp>
      <p:sp>
        <p:nvSpPr>
          <p:cNvPr id="127" name="Rectangle 126"/>
          <p:cNvSpPr>
            <a:spLocks noChangeArrowheads="1"/>
          </p:cNvSpPr>
          <p:nvPr/>
        </p:nvSpPr>
        <p:spPr bwMode="auto">
          <a:xfrm>
            <a:off x="6673272" y="1738598"/>
            <a:ext cx="263525"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84511" name="Rectangle 127"/>
          <p:cNvSpPr>
            <a:spLocks noChangeArrowheads="1"/>
          </p:cNvSpPr>
          <p:nvPr/>
        </p:nvSpPr>
        <p:spPr bwMode="auto">
          <a:xfrm>
            <a:off x="6952672" y="1498885"/>
            <a:ext cx="287338" cy="276225"/>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B</a:t>
            </a:r>
          </a:p>
        </p:txBody>
      </p:sp>
      <p:sp>
        <p:nvSpPr>
          <p:cNvPr id="784387" name="Rectangle 3"/>
          <p:cNvSpPr>
            <a:spLocks noChangeArrowheads="1"/>
          </p:cNvSpPr>
          <p:nvPr/>
        </p:nvSpPr>
        <p:spPr bwMode="auto">
          <a:xfrm>
            <a:off x="1470797" y="5834258"/>
            <a:ext cx="769937" cy="239712"/>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784388" name="Rectangle 4"/>
          <p:cNvSpPr>
            <a:spLocks noChangeArrowheads="1"/>
          </p:cNvSpPr>
          <p:nvPr/>
        </p:nvSpPr>
        <p:spPr bwMode="auto">
          <a:xfrm>
            <a:off x="2387600" y="5842967"/>
            <a:ext cx="773113" cy="239712"/>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784389" name="Rectangle 5"/>
          <p:cNvSpPr>
            <a:spLocks noChangeArrowheads="1"/>
          </p:cNvSpPr>
          <p:nvPr/>
        </p:nvSpPr>
        <p:spPr bwMode="auto">
          <a:xfrm>
            <a:off x="3387859" y="5842967"/>
            <a:ext cx="773112" cy="239712"/>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9" name="Oval 8"/>
          <p:cNvSpPr>
            <a:spLocks noChangeArrowheads="1"/>
          </p:cNvSpPr>
          <p:nvPr/>
        </p:nvSpPr>
        <p:spPr bwMode="auto">
          <a:xfrm>
            <a:off x="1247340" y="4280051"/>
            <a:ext cx="1195387" cy="647700"/>
          </a:xfrm>
          <a:prstGeom prst="ellipse">
            <a:avLst/>
          </a:prstGeom>
          <a:noFill/>
          <a:ln w="12700" algn="ctr">
            <a:solidFill>
              <a:schemeClr val="accent3"/>
            </a:solidFill>
            <a:round/>
            <a:headEnd type="none" w="sm" len="sm"/>
            <a:tailEnd type="none" w="med" len="lg"/>
          </a:ln>
        </p:spPr>
        <p:txBody>
          <a:bodyPr wrap="none" anchor="ctr"/>
          <a:lstStyle/>
          <a:p>
            <a:pPr algn="ctr">
              <a:defRPr/>
            </a:pPr>
            <a:endParaRPr lang="en-GB" sz="1200">
              <a:solidFill>
                <a:schemeClr val="tx2"/>
              </a:solidFill>
            </a:endParaRPr>
          </a:p>
        </p:txBody>
      </p:sp>
      <p:sp>
        <p:nvSpPr>
          <p:cNvPr id="784393" name="Text Box 9"/>
          <p:cNvSpPr txBox="1">
            <a:spLocks noChangeArrowheads="1"/>
          </p:cNvSpPr>
          <p:nvPr/>
        </p:nvSpPr>
        <p:spPr bwMode="auto">
          <a:xfrm>
            <a:off x="582613" y="1594001"/>
            <a:ext cx="468312" cy="276225"/>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784394" name="Text Box 10"/>
          <p:cNvSpPr txBox="1">
            <a:spLocks noChangeArrowheads="1"/>
          </p:cNvSpPr>
          <p:nvPr/>
        </p:nvSpPr>
        <p:spPr bwMode="auto">
          <a:xfrm>
            <a:off x="582613" y="2162326"/>
            <a:ext cx="468312" cy="276225"/>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784395" name="Text Box 11"/>
          <p:cNvSpPr txBox="1">
            <a:spLocks noChangeArrowheads="1"/>
          </p:cNvSpPr>
          <p:nvPr/>
        </p:nvSpPr>
        <p:spPr bwMode="auto">
          <a:xfrm>
            <a:off x="582613" y="2730651"/>
            <a:ext cx="468312" cy="276225"/>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784396" name="Text Box 12"/>
          <p:cNvSpPr txBox="1">
            <a:spLocks noChangeArrowheads="1"/>
          </p:cNvSpPr>
          <p:nvPr/>
        </p:nvSpPr>
        <p:spPr bwMode="auto">
          <a:xfrm>
            <a:off x="582613" y="3298976"/>
            <a:ext cx="468312" cy="276225"/>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784397" name="Text Box 13"/>
          <p:cNvSpPr txBox="1">
            <a:spLocks noChangeArrowheads="1"/>
          </p:cNvSpPr>
          <p:nvPr/>
        </p:nvSpPr>
        <p:spPr bwMode="auto">
          <a:xfrm>
            <a:off x="582613" y="3867301"/>
            <a:ext cx="468312" cy="276225"/>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784398" name="Text Box 14"/>
          <p:cNvSpPr txBox="1">
            <a:spLocks noChangeArrowheads="1"/>
          </p:cNvSpPr>
          <p:nvPr/>
        </p:nvSpPr>
        <p:spPr bwMode="auto">
          <a:xfrm>
            <a:off x="582613" y="4435626"/>
            <a:ext cx="468312" cy="276225"/>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784399" name="Text Box 15"/>
          <p:cNvSpPr txBox="1">
            <a:spLocks noChangeArrowheads="1"/>
          </p:cNvSpPr>
          <p:nvPr/>
        </p:nvSpPr>
        <p:spPr bwMode="auto">
          <a:xfrm>
            <a:off x="582613" y="5003951"/>
            <a:ext cx="468312" cy="276225"/>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784400" name="Text Box 16"/>
          <p:cNvSpPr txBox="1">
            <a:spLocks noChangeArrowheads="1"/>
          </p:cNvSpPr>
          <p:nvPr/>
        </p:nvSpPr>
        <p:spPr bwMode="auto">
          <a:xfrm>
            <a:off x="582613" y="5572276"/>
            <a:ext cx="468312" cy="276225"/>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784401" name="Rectangle 17"/>
          <p:cNvSpPr>
            <a:spLocks noChangeArrowheads="1"/>
          </p:cNvSpPr>
          <p:nvPr/>
        </p:nvSpPr>
        <p:spPr bwMode="auto">
          <a:xfrm>
            <a:off x="2243138" y="4112592"/>
            <a:ext cx="1063625" cy="220662"/>
          </a:xfrm>
          <a:prstGeom prst="rect">
            <a:avLst/>
          </a:prstGeom>
          <a:noFill/>
          <a:ln w="9525">
            <a:noFill/>
            <a:miter lim="800000"/>
            <a:headEnd type="none" w="sm" len="sm"/>
            <a:tailEnd type="none" w="med" len="lg"/>
          </a:ln>
        </p:spPr>
        <p:txBody>
          <a:bodyPr anchor="ctr">
            <a:spAutoFit/>
          </a:bodyPr>
          <a:lstStyle/>
          <a:p>
            <a:pPr algn="ctr">
              <a:lnSpc>
                <a:spcPct val="70000"/>
              </a:lnSpc>
            </a:pPr>
            <a:r>
              <a:rPr lang="en-GB" altLang="ja-JP" sz="1200" dirty="0">
                <a:solidFill>
                  <a:schemeClr val="tx2"/>
                </a:solidFill>
                <a:ea typeface="ＭＳ Ｐゴシック" charset="-128"/>
              </a:rPr>
              <a:t>Text</a:t>
            </a:r>
          </a:p>
        </p:txBody>
      </p:sp>
      <p:sp>
        <p:nvSpPr>
          <p:cNvPr id="784402" name="Rectangle 18"/>
          <p:cNvSpPr>
            <a:spLocks noChangeArrowheads="1"/>
          </p:cNvSpPr>
          <p:nvPr/>
        </p:nvSpPr>
        <p:spPr bwMode="auto">
          <a:xfrm>
            <a:off x="2389188" y="2908495"/>
            <a:ext cx="769937" cy="238125"/>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784403" name="Rectangle 19"/>
          <p:cNvSpPr>
            <a:spLocks noChangeArrowheads="1"/>
          </p:cNvSpPr>
          <p:nvPr/>
        </p:nvSpPr>
        <p:spPr bwMode="auto">
          <a:xfrm>
            <a:off x="1462088" y="5228604"/>
            <a:ext cx="769937" cy="239713"/>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784404" name="Rectangle 20"/>
          <p:cNvSpPr>
            <a:spLocks noChangeArrowheads="1"/>
          </p:cNvSpPr>
          <p:nvPr/>
        </p:nvSpPr>
        <p:spPr bwMode="auto">
          <a:xfrm>
            <a:off x="4324350" y="5228604"/>
            <a:ext cx="771525" cy="239713"/>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784405" name="Rectangle 21"/>
          <p:cNvSpPr>
            <a:spLocks noChangeArrowheads="1"/>
          </p:cNvSpPr>
          <p:nvPr/>
        </p:nvSpPr>
        <p:spPr bwMode="auto">
          <a:xfrm>
            <a:off x="3390900" y="2886226"/>
            <a:ext cx="773113" cy="239712"/>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784406" name="Rectangle 22"/>
          <p:cNvSpPr>
            <a:spLocks noChangeArrowheads="1"/>
          </p:cNvSpPr>
          <p:nvPr/>
        </p:nvSpPr>
        <p:spPr bwMode="auto">
          <a:xfrm>
            <a:off x="1462088" y="2906003"/>
            <a:ext cx="769937" cy="239712"/>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24" name="Rectangle 23"/>
          <p:cNvSpPr>
            <a:spLocks noChangeArrowheads="1"/>
          </p:cNvSpPr>
          <p:nvPr/>
        </p:nvSpPr>
        <p:spPr bwMode="auto">
          <a:xfrm>
            <a:off x="1582738" y="2679851"/>
            <a:ext cx="265112"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25" name="Rectangle 24"/>
          <p:cNvSpPr>
            <a:spLocks noChangeArrowheads="1"/>
          </p:cNvSpPr>
          <p:nvPr/>
        </p:nvSpPr>
        <p:spPr bwMode="auto">
          <a:xfrm>
            <a:off x="2513013" y="2679851"/>
            <a:ext cx="265112" cy="215900"/>
          </a:xfrm>
          <a:prstGeom prst="rect">
            <a:avLst/>
          </a:prstGeom>
          <a:solidFill>
            <a:schemeClr val="bg1"/>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26" name="Rectangle 25"/>
          <p:cNvSpPr>
            <a:spLocks noChangeArrowheads="1"/>
          </p:cNvSpPr>
          <p:nvPr/>
        </p:nvSpPr>
        <p:spPr bwMode="auto">
          <a:xfrm>
            <a:off x="1582738" y="5010301"/>
            <a:ext cx="265112"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84410" name="Rectangle 26"/>
          <p:cNvSpPr>
            <a:spLocks noChangeArrowheads="1"/>
          </p:cNvSpPr>
          <p:nvPr/>
        </p:nvSpPr>
        <p:spPr bwMode="auto">
          <a:xfrm>
            <a:off x="2459038" y="3546626"/>
            <a:ext cx="769937" cy="238125"/>
          </a:xfrm>
          <a:prstGeom prst="rect">
            <a:avLst/>
          </a:prstGeom>
          <a:noFill/>
          <a:ln w="9525">
            <a:noFill/>
            <a:miter lim="800000"/>
            <a:headEnd type="none" w="sm" len="sm"/>
            <a:tailEnd type="none" w="sm" len="sm"/>
          </a:ln>
        </p:spPr>
        <p:txBody>
          <a:bodyPr wrap="none" bIns="10800" anchor="ctr"/>
          <a:lstStyle/>
          <a:p>
            <a:pPr algn="ctr">
              <a:lnSpc>
                <a:spcPct val="70000"/>
              </a:lnSpc>
            </a:pPr>
            <a:endParaRPr lang="en-GB" sz="1200">
              <a:solidFill>
                <a:schemeClr val="tx2"/>
              </a:solidFill>
              <a:ea typeface="ＭＳ Ｐゴシック" charset="-128"/>
            </a:endParaRPr>
          </a:p>
        </p:txBody>
      </p:sp>
      <p:sp>
        <p:nvSpPr>
          <p:cNvPr id="784411" name="Rectangle 27"/>
          <p:cNvSpPr>
            <a:spLocks noChangeArrowheads="1"/>
          </p:cNvSpPr>
          <p:nvPr/>
        </p:nvSpPr>
        <p:spPr bwMode="auto">
          <a:xfrm>
            <a:off x="1462088" y="3537917"/>
            <a:ext cx="769937" cy="238125"/>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784412" name="Rectangle 28"/>
          <p:cNvSpPr>
            <a:spLocks noChangeArrowheads="1"/>
          </p:cNvSpPr>
          <p:nvPr/>
        </p:nvSpPr>
        <p:spPr bwMode="auto">
          <a:xfrm>
            <a:off x="2459038" y="4110188"/>
            <a:ext cx="769937" cy="238125"/>
          </a:xfrm>
          <a:prstGeom prst="rect">
            <a:avLst/>
          </a:prstGeom>
          <a:noFill/>
          <a:ln w="9525">
            <a:noFill/>
            <a:miter lim="800000"/>
            <a:headEnd type="none" w="sm" len="sm"/>
            <a:tailEnd type="none" w="sm" len="sm"/>
          </a:ln>
        </p:spPr>
        <p:txBody>
          <a:bodyPr wrap="none" bIns="10800" anchor="ctr"/>
          <a:lstStyle/>
          <a:p>
            <a:pPr algn="ctr">
              <a:lnSpc>
                <a:spcPct val="70000"/>
              </a:lnSpc>
            </a:pPr>
            <a:endParaRPr lang="en-GB" sz="1200">
              <a:solidFill>
                <a:schemeClr val="tx2"/>
              </a:solidFill>
              <a:ea typeface="ＭＳ Ｐゴシック" charset="-128"/>
            </a:endParaRPr>
          </a:p>
        </p:txBody>
      </p:sp>
      <p:sp>
        <p:nvSpPr>
          <p:cNvPr id="784413" name="Rectangle 29"/>
          <p:cNvSpPr>
            <a:spLocks noChangeArrowheads="1"/>
          </p:cNvSpPr>
          <p:nvPr/>
        </p:nvSpPr>
        <p:spPr bwMode="auto">
          <a:xfrm>
            <a:off x="2389188" y="3542635"/>
            <a:ext cx="769937" cy="238125"/>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784414" name="Rectangle 30"/>
          <p:cNvSpPr>
            <a:spLocks noChangeArrowheads="1"/>
          </p:cNvSpPr>
          <p:nvPr/>
        </p:nvSpPr>
        <p:spPr bwMode="auto">
          <a:xfrm>
            <a:off x="2396309" y="5228604"/>
            <a:ext cx="773113" cy="239713"/>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784415" name="Rectangle 31"/>
          <p:cNvSpPr>
            <a:spLocks noChangeArrowheads="1"/>
          </p:cNvSpPr>
          <p:nvPr/>
        </p:nvSpPr>
        <p:spPr bwMode="auto">
          <a:xfrm>
            <a:off x="3392443" y="5228604"/>
            <a:ext cx="773113" cy="239713"/>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33" name="Rectangle 32"/>
          <p:cNvSpPr>
            <a:spLocks noChangeArrowheads="1"/>
          </p:cNvSpPr>
          <p:nvPr/>
        </p:nvSpPr>
        <p:spPr bwMode="auto">
          <a:xfrm>
            <a:off x="1582738" y="3876826"/>
            <a:ext cx="265112" cy="215900"/>
          </a:xfrm>
          <a:prstGeom prst="rect">
            <a:avLst/>
          </a:prstGeom>
          <a:solidFill>
            <a:srgbClr val="FFFFFF"/>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84417" name="Rectangle 33"/>
          <p:cNvSpPr>
            <a:spLocks noChangeArrowheads="1"/>
          </p:cNvSpPr>
          <p:nvPr/>
        </p:nvSpPr>
        <p:spPr bwMode="auto">
          <a:xfrm>
            <a:off x="2459038" y="4087963"/>
            <a:ext cx="769937" cy="238125"/>
          </a:xfrm>
          <a:prstGeom prst="rect">
            <a:avLst/>
          </a:prstGeom>
          <a:noFill/>
          <a:ln w="9525">
            <a:noFill/>
            <a:miter lim="800000"/>
            <a:headEnd type="none" w="sm" len="sm"/>
            <a:tailEnd type="none" w="sm" len="sm"/>
          </a:ln>
        </p:spPr>
        <p:txBody>
          <a:bodyPr wrap="none" bIns="10800" anchor="ctr"/>
          <a:lstStyle/>
          <a:p>
            <a:pPr algn="ctr">
              <a:lnSpc>
                <a:spcPct val="70000"/>
              </a:lnSpc>
            </a:pPr>
            <a:endParaRPr lang="en-GB" sz="1200">
              <a:solidFill>
                <a:schemeClr val="tx2"/>
              </a:solidFill>
              <a:ea typeface="ＭＳ Ｐゴシック" charset="-128"/>
            </a:endParaRPr>
          </a:p>
        </p:txBody>
      </p:sp>
      <p:sp>
        <p:nvSpPr>
          <p:cNvPr id="784418" name="Rectangle 34"/>
          <p:cNvSpPr>
            <a:spLocks noChangeArrowheads="1"/>
          </p:cNvSpPr>
          <p:nvPr/>
        </p:nvSpPr>
        <p:spPr bwMode="auto">
          <a:xfrm>
            <a:off x="1462088" y="4096672"/>
            <a:ext cx="769937" cy="238125"/>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36" name="Rectangle 35"/>
          <p:cNvSpPr>
            <a:spLocks noChangeArrowheads="1"/>
          </p:cNvSpPr>
          <p:nvPr/>
        </p:nvSpPr>
        <p:spPr bwMode="auto">
          <a:xfrm>
            <a:off x="2513013" y="5623076"/>
            <a:ext cx="265112" cy="215900"/>
          </a:xfrm>
          <a:prstGeom prst="rect">
            <a:avLst/>
          </a:prstGeom>
          <a:solidFill>
            <a:srgbClr val="FFFFFF"/>
          </a:solidFill>
          <a:ln w="12700" algn="ctr">
            <a:solidFill>
              <a:schemeClr val="accent3"/>
            </a:solidFill>
            <a:prstDash val="dash"/>
            <a:miter lim="800000"/>
            <a:headEnd type="none" w="sm" len="sm"/>
            <a:tailEnd type="none" w="sm" len="sm"/>
          </a:ln>
        </p:spPr>
        <p:txBody>
          <a:bodyPr wrap="none" anchor="ctr"/>
          <a:lstStyle/>
          <a:p>
            <a:pPr algn="ctr">
              <a:defRPr/>
            </a:pPr>
            <a:endParaRPr lang="en-GB" sz="1200">
              <a:solidFill>
                <a:schemeClr val="tx2"/>
              </a:solidFill>
            </a:endParaRPr>
          </a:p>
        </p:txBody>
      </p:sp>
      <p:sp>
        <p:nvSpPr>
          <p:cNvPr id="37" name="Rectangle 36"/>
          <p:cNvSpPr>
            <a:spLocks noChangeArrowheads="1"/>
          </p:cNvSpPr>
          <p:nvPr/>
        </p:nvSpPr>
        <p:spPr bwMode="auto">
          <a:xfrm>
            <a:off x="3508375" y="2670326"/>
            <a:ext cx="265113" cy="215900"/>
          </a:xfrm>
          <a:prstGeom prst="rect">
            <a:avLst/>
          </a:prstGeom>
          <a:solidFill>
            <a:schemeClr val="accent2"/>
          </a:solidFill>
          <a:ln w="12700">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38" name="Rectangle 37"/>
          <p:cNvSpPr>
            <a:spLocks noChangeArrowheads="1"/>
          </p:cNvSpPr>
          <p:nvPr/>
        </p:nvSpPr>
        <p:spPr bwMode="auto">
          <a:xfrm>
            <a:off x="2513013" y="3318026"/>
            <a:ext cx="265112" cy="215900"/>
          </a:xfrm>
          <a:prstGeom prst="rect">
            <a:avLst/>
          </a:prstGeom>
          <a:solidFill>
            <a:srgbClr val="FFFFFF"/>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39" name="Rectangle 38"/>
          <p:cNvSpPr>
            <a:spLocks noChangeArrowheads="1"/>
          </p:cNvSpPr>
          <p:nvPr/>
        </p:nvSpPr>
        <p:spPr bwMode="auto">
          <a:xfrm>
            <a:off x="2513013" y="3894288"/>
            <a:ext cx="265112" cy="215900"/>
          </a:xfrm>
          <a:prstGeom prst="rect">
            <a:avLst/>
          </a:prstGeom>
          <a:solidFill>
            <a:srgbClr val="FFFFFF"/>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40" name="Rectangle 39"/>
          <p:cNvSpPr>
            <a:spLocks noChangeArrowheads="1"/>
          </p:cNvSpPr>
          <p:nvPr/>
        </p:nvSpPr>
        <p:spPr bwMode="auto">
          <a:xfrm>
            <a:off x="2513013" y="5010301"/>
            <a:ext cx="265112"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41" name="Rectangle 40"/>
          <p:cNvSpPr>
            <a:spLocks noChangeArrowheads="1"/>
          </p:cNvSpPr>
          <p:nvPr/>
        </p:nvSpPr>
        <p:spPr bwMode="auto">
          <a:xfrm>
            <a:off x="3508375" y="5010301"/>
            <a:ext cx="265113" cy="215900"/>
          </a:xfrm>
          <a:prstGeom prst="rect">
            <a:avLst/>
          </a:prstGeom>
          <a:solidFill>
            <a:schemeClr val="accent3"/>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42" name="Rectangle 41"/>
          <p:cNvSpPr>
            <a:spLocks noChangeArrowheads="1"/>
          </p:cNvSpPr>
          <p:nvPr/>
        </p:nvSpPr>
        <p:spPr bwMode="auto">
          <a:xfrm>
            <a:off x="4438650" y="5010301"/>
            <a:ext cx="265113" cy="215900"/>
          </a:xfrm>
          <a:prstGeom prst="rect">
            <a:avLst/>
          </a:prstGeom>
          <a:solidFill>
            <a:schemeClr val="accent3"/>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43" name="Rectangle 42"/>
          <p:cNvSpPr>
            <a:spLocks noChangeArrowheads="1"/>
          </p:cNvSpPr>
          <p:nvPr/>
        </p:nvSpPr>
        <p:spPr bwMode="auto">
          <a:xfrm>
            <a:off x="1582738" y="5623076"/>
            <a:ext cx="265112"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44" name="Rectangle 43"/>
          <p:cNvSpPr>
            <a:spLocks noChangeArrowheads="1"/>
          </p:cNvSpPr>
          <p:nvPr/>
        </p:nvSpPr>
        <p:spPr bwMode="auto">
          <a:xfrm>
            <a:off x="3508375" y="5623076"/>
            <a:ext cx="265113" cy="215900"/>
          </a:xfrm>
          <a:prstGeom prst="rect">
            <a:avLst/>
          </a:prstGeom>
          <a:solidFill>
            <a:srgbClr val="FFFFFF"/>
          </a:solidFill>
          <a:ln w="12700" algn="ctr">
            <a:solidFill>
              <a:schemeClr val="accent3"/>
            </a:solidFill>
            <a:prstDash val="dash"/>
            <a:miter lim="800000"/>
            <a:headEnd type="none" w="sm" len="sm"/>
            <a:tailEnd type="none" w="sm" len="sm"/>
          </a:ln>
        </p:spPr>
        <p:txBody>
          <a:bodyPr wrap="none" anchor="ctr"/>
          <a:lstStyle/>
          <a:p>
            <a:pPr algn="ctr">
              <a:defRPr/>
            </a:pPr>
            <a:endParaRPr lang="en-GB" sz="1200">
              <a:solidFill>
                <a:schemeClr val="tx2"/>
              </a:solidFill>
            </a:endParaRPr>
          </a:p>
        </p:txBody>
      </p:sp>
      <p:sp>
        <p:nvSpPr>
          <p:cNvPr id="45" name="Rectangle 44"/>
          <p:cNvSpPr>
            <a:spLocks noChangeArrowheads="1"/>
          </p:cNvSpPr>
          <p:nvPr/>
        </p:nvSpPr>
        <p:spPr bwMode="auto">
          <a:xfrm>
            <a:off x="1582738" y="3318026"/>
            <a:ext cx="265112" cy="215900"/>
          </a:xfrm>
          <a:prstGeom prst="rect">
            <a:avLst/>
          </a:prstGeom>
          <a:solidFill>
            <a:schemeClr val="accent3"/>
          </a:solidFill>
          <a:ln w="12700">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84429" name="Rectangle 45"/>
          <p:cNvSpPr>
            <a:spLocks noChangeArrowheads="1"/>
          </p:cNvSpPr>
          <p:nvPr/>
        </p:nvSpPr>
        <p:spPr bwMode="auto">
          <a:xfrm>
            <a:off x="1462088" y="1799649"/>
            <a:ext cx="769937" cy="238125"/>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47" name="Rectangle 46"/>
          <p:cNvSpPr>
            <a:spLocks noChangeArrowheads="1"/>
          </p:cNvSpPr>
          <p:nvPr/>
        </p:nvSpPr>
        <p:spPr bwMode="auto">
          <a:xfrm>
            <a:off x="1582738" y="1589238"/>
            <a:ext cx="265112" cy="215900"/>
          </a:xfrm>
          <a:prstGeom prst="rect">
            <a:avLst/>
          </a:prstGeom>
          <a:solidFill>
            <a:schemeClr val="accent3"/>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48" name="Rectangle 47"/>
          <p:cNvSpPr>
            <a:spLocks noChangeArrowheads="1"/>
          </p:cNvSpPr>
          <p:nvPr/>
        </p:nvSpPr>
        <p:spPr bwMode="auto">
          <a:xfrm>
            <a:off x="2513013" y="1589238"/>
            <a:ext cx="265112" cy="215900"/>
          </a:xfrm>
          <a:prstGeom prst="rect">
            <a:avLst/>
          </a:prstGeom>
          <a:solidFill>
            <a:srgbClr val="FFFFFF"/>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84432" name="Rectangle 48"/>
          <p:cNvSpPr>
            <a:spLocks noChangeArrowheads="1"/>
          </p:cNvSpPr>
          <p:nvPr/>
        </p:nvSpPr>
        <p:spPr bwMode="auto">
          <a:xfrm>
            <a:off x="2389188" y="1808358"/>
            <a:ext cx="769937" cy="238125"/>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784433" name="Rectangle 49"/>
          <p:cNvSpPr>
            <a:spLocks noChangeArrowheads="1"/>
          </p:cNvSpPr>
          <p:nvPr/>
        </p:nvSpPr>
        <p:spPr bwMode="auto">
          <a:xfrm>
            <a:off x="3384550" y="1808358"/>
            <a:ext cx="768350" cy="238125"/>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51" name="Rectangle 50"/>
          <p:cNvSpPr>
            <a:spLocks noChangeArrowheads="1"/>
          </p:cNvSpPr>
          <p:nvPr/>
        </p:nvSpPr>
        <p:spPr bwMode="auto">
          <a:xfrm>
            <a:off x="3509963" y="1589238"/>
            <a:ext cx="265112"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52" name="Rectangle 51"/>
          <p:cNvSpPr>
            <a:spLocks noChangeArrowheads="1"/>
          </p:cNvSpPr>
          <p:nvPr/>
        </p:nvSpPr>
        <p:spPr bwMode="auto">
          <a:xfrm>
            <a:off x="4440238" y="1589238"/>
            <a:ext cx="265112" cy="215900"/>
          </a:xfrm>
          <a:prstGeom prst="rect">
            <a:avLst/>
          </a:prstGeom>
          <a:solidFill>
            <a:schemeClr val="accent3"/>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84436" name="Rectangle 52"/>
          <p:cNvSpPr>
            <a:spLocks noChangeArrowheads="1"/>
          </p:cNvSpPr>
          <p:nvPr/>
        </p:nvSpPr>
        <p:spPr bwMode="auto">
          <a:xfrm>
            <a:off x="4310923" y="1799649"/>
            <a:ext cx="771525" cy="238125"/>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784437" name="Rectangle 53"/>
          <p:cNvSpPr>
            <a:spLocks noChangeArrowheads="1"/>
          </p:cNvSpPr>
          <p:nvPr/>
        </p:nvSpPr>
        <p:spPr bwMode="auto">
          <a:xfrm>
            <a:off x="1462088" y="2312367"/>
            <a:ext cx="769937" cy="238125"/>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55" name="Rectangle 54"/>
          <p:cNvSpPr>
            <a:spLocks noChangeArrowheads="1"/>
          </p:cNvSpPr>
          <p:nvPr/>
        </p:nvSpPr>
        <p:spPr bwMode="auto">
          <a:xfrm>
            <a:off x="1582738" y="2094063"/>
            <a:ext cx="265112" cy="215900"/>
          </a:xfrm>
          <a:prstGeom prst="rect">
            <a:avLst/>
          </a:prstGeom>
          <a:solidFill>
            <a:schemeClr val="accent3"/>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56" name="Rectangle 55"/>
          <p:cNvSpPr>
            <a:spLocks noChangeArrowheads="1"/>
          </p:cNvSpPr>
          <p:nvPr/>
        </p:nvSpPr>
        <p:spPr bwMode="auto">
          <a:xfrm>
            <a:off x="2513013" y="2094063"/>
            <a:ext cx="265112" cy="215900"/>
          </a:xfrm>
          <a:prstGeom prst="rect">
            <a:avLst/>
          </a:prstGeom>
          <a:solidFill>
            <a:srgbClr val="FFFFFF"/>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84440" name="Rectangle 56"/>
          <p:cNvSpPr>
            <a:spLocks noChangeArrowheads="1"/>
          </p:cNvSpPr>
          <p:nvPr/>
        </p:nvSpPr>
        <p:spPr bwMode="auto">
          <a:xfrm>
            <a:off x="2389188" y="2312367"/>
            <a:ext cx="769937" cy="238125"/>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784441" name="Rectangle 57"/>
          <p:cNvSpPr>
            <a:spLocks noChangeArrowheads="1"/>
          </p:cNvSpPr>
          <p:nvPr/>
        </p:nvSpPr>
        <p:spPr bwMode="auto">
          <a:xfrm>
            <a:off x="3402784" y="2303658"/>
            <a:ext cx="768350" cy="238125"/>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59" name="Rectangle 58"/>
          <p:cNvSpPr>
            <a:spLocks noChangeArrowheads="1"/>
          </p:cNvSpPr>
          <p:nvPr/>
        </p:nvSpPr>
        <p:spPr bwMode="auto">
          <a:xfrm>
            <a:off x="3509963" y="2094063"/>
            <a:ext cx="265112"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60" name="Rectangle 59"/>
          <p:cNvSpPr>
            <a:spLocks noChangeArrowheads="1"/>
          </p:cNvSpPr>
          <p:nvPr/>
        </p:nvSpPr>
        <p:spPr bwMode="auto">
          <a:xfrm>
            <a:off x="4440238" y="2094063"/>
            <a:ext cx="265112" cy="215900"/>
          </a:xfrm>
          <a:prstGeom prst="rect">
            <a:avLst/>
          </a:prstGeom>
          <a:solidFill>
            <a:schemeClr val="accent3"/>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61" name="Rectangle 60"/>
          <p:cNvSpPr>
            <a:spLocks noChangeArrowheads="1"/>
          </p:cNvSpPr>
          <p:nvPr/>
        </p:nvSpPr>
        <p:spPr bwMode="auto">
          <a:xfrm>
            <a:off x="1847850" y="2679851"/>
            <a:ext cx="265113"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62" name="Rectangle 61"/>
          <p:cNvSpPr>
            <a:spLocks noChangeArrowheads="1"/>
          </p:cNvSpPr>
          <p:nvPr/>
        </p:nvSpPr>
        <p:spPr bwMode="auto">
          <a:xfrm>
            <a:off x="2778125" y="2679851"/>
            <a:ext cx="265113" cy="215900"/>
          </a:xfrm>
          <a:prstGeom prst="rect">
            <a:avLst/>
          </a:prstGeom>
          <a:solidFill>
            <a:schemeClr val="accent3"/>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63" name="Rectangle 62"/>
          <p:cNvSpPr>
            <a:spLocks noChangeArrowheads="1"/>
          </p:cNvSpPr>
          <p:nvPr/>
        </p:nvSpPr>
        <p:spPr bwMode="auto">
          <a:xfrm>
            <a:off x="1847850" y="5010301"/>
            <a:ext cx="265113"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64" name="Rectangle 63"/>
          <p:cNvSpPr>
            <a:spLocks noChangeArrowheads="1"/>
          </p:cNvSpPr>
          <p:nvPr/>
        </p:nvSpPr>
        <p:spPr bwMode="auto">
          <a:xfrm>
            <a:off x="2778125" y="5623076"/>
            <a:ext cx="265113" cy="215900"/>
          </a:xfrm>
          <a:prstGeom prst="rect">
            <a:avLst/>
          </a:prstGeom>
          <a:solidFill>
            <a:schemeClr val="accent3"/>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65" name="Rectangle 64"/>
          <p:cNvSpPr>
            <a:spLocks noChangeArrowheads="1"/>
          </p:cNvSpPr>
          <p:nvPr/>
        </p:nvSpPr>
        <p:spPr bwMode="auto">
          <a:xfrm>
            <a:off x="3775075" y="2670326"/>
            <a:ext cx="265113" cy="215900"/>
          </a:xfrm>
          <a:prstGeom prst="rect">
            <a:avLst/>
          </a:prstGeom>
          <a:solidFill>
            <a:schemeClr val="accent3"/>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66" name="Rectangle 65"/>
          <p:cNvSpPr>
            <a:spLocks noChangeArrowheads="1"/>
          </p:cNvSpPr>
          <p:nvPr/>
        </p:nvSpPr>
        <p:spPr bwMode="auto">
          <a:xfrm>
            <a:off x="2778125" y="5010301"/>
            <a:ext cx="265113" cy="215900"/>
          </a:xfrm>
          <a:prstGeom prst="rect">
            <a:avLst/>
          </a:prstGeom>
          <a:solidFill>
            <a:schemeClr val="accent3"/>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67" name="Rectangle 66"/>
          <p:cNvSpPr>
            <a:spLocks noChangeArrowheads="1"/>
          </p:cNvSpPr>
          <p:nvPr/>
        </p:nvSpPr>
        <p:spPr bwMode="auto">
          <a:xfrm>
            <a:off x="3775075" y="5010301"/>
            <a:ext cx="265113" cy="215900"/>
          </a:xfrm>
          <a:prstGeom prst="rect">
            <a:avLst/>
          </a:prstGeom>
          <a:solidFill>
            <a:srgbClr val="FFFFFF"/>
          </a:solidFill>
          <a:ln w="12700">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68" name="Rectangle 67"/>
          <p:cNvSpPr>
            <a:spLocks noChangeArrowheads="1"/>
          </p:cNvSpPr>
          <p:nvPr/>
        </p:nvSpPr>
        <p:spPr bwMode="auto">
          <a:xfrm>
            <a:off x="4705350" y="5010301"/>
            <a:ext cx="265113" cy="215900"/>
          </a:xfrm>
          <a:prstGeom prst="rect">
            <a:avLst/>
          </a:prstGeom>
          <a:solidFill>
            <a:srgbClr val="FFFFFF"/>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69" name="Rectangle 68"/>
          <p:cNvSpPr>
            <a:spLocks noChangeArrowheads="1"/>
          </p:cNvSpPr>
          <p:nvPr/>
        </p:nvSpPr>
        <p:spPr bwMode="auto">
          <a:xfrm>
            <a:off x="1847850" y="5623076"/>
            <a:ext cx="265113"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0" name="Rectangle 69"/>
          <p:cNvSpPr>
            <a:spLocks noChangeArrowheads="1"/>
          </p:cNvSpPr>
          <p:nvPr/>
        </p:nvSpPr>
        <p:spPr bwMode="auto">
          <a:xfrm>
            <a:off x="3775075" y="5623076"/>
            <a:ext cx="265113" cy="215900"/>
          </a:xfrm>
          <a:prstGeom prst="rect">
            <a:avLst/>
          </a:prstGeom>
          <a:solidFill>
            <a:schemeClr val="accent3"/>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1" name="Rectangle 70"/>
          <p:cNvSpPr>
            <a:spLocks noChangeArrowheads="1"/>
          </p:cNvSpPr>
          <p:nvPr/>
        </p:nvSpPr>
        <p:spPr bwMode="auto">
          <a:xfrm>
            <a:off x="1847850" y="1589238"/>
            <a:ext cx="265113"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2" name="Rectangle 71"/>
          <p:cNvSpPr>
            <a:spLocks noChangeArrowheads="1"/>
          </p:cNvSpPr>
          <p:nvPr/>
        </p:nvSpPr>
        <p:spPr bwMode="auto">
          <a:xfrm>
            <a:off x="2778125" y="1589238"/>
            <a:ext cx="265113" cy="215900"/>
          </a:xfrm>
          <a:prstGeom prst="rect">
            <a:avLst/>
          </a:prstGeom>
          <a:solidFill>
            <a:schemeClr val="accent3"/>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3" name="Rectangle 72"/>
          <p:cNvSpPr>
            <a:spLocks noChangeArrowheads="1"/>
          </p:cNvSpPr>
          <p:nvPr/>
        </p:nvSpPr>
        <p:spPr bwMode="auto">
          <a:xfrm>
            <a:off x="3776663" y="1589238"/>
            <a:ext cx="265112"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4" name="Rectangle 73"/>
          <p:cNvSpPr>
            <a:spLocks noChangeArrowheads="1"/>
          </p:cNvSpPr>
          <p:nvPr/>
        </p:nvSpPr>
        <p:spPr bwMode="auto">
          <a:xfrm>
            <a:off x="4697702" y="1589238"/>
            <a:ext cx="265112"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5" name="Rectangle 74"/>
          <p:cNvSpPr>
            <a:spLocks noChangeArrowheads="1"/>
          </p:cNvSpPr>
          <p:nvPr/>
        </p:nvSpPr>
        <p:spPr bwMode="auto">
          <a:xfrm>
            <a:off x="1847850" y="2094063"/>
            <a:ext cx="265113"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6" name="Rectangle 75"/>
          <p:cNvSpPr>
            <a:spLocks noChangeArrowheads="1"/>
          </p:cNvSpPr>
          <p:nvPr/>
        </p:nvSpPr>
        <p:spPr bwMode="auto">
          <a:xfrm>
            <a:off x="2778125" y="2094063"/>
            <a:ext cx="265113" cy="215900"/>
          </a:xfrm>
          <a:prstGeom prst="rect">
            <a:avLst/>
          </a:prstGeom>
          <a:solidFill>
            <a:schemeClr val="accent3"/>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7" name="Rectangle 76"/>
          <p:cNvSpPr>
            <a:spLocks noChangeArrowheads="1"/>
          </p:cNvSpPr>
          <p:nvPr/>
        </p:nvSpPr>
        <p:spPr bwMode="auto">
          <a:xfrm>
            <a:off x="3776663" y="2094063"/>
            <a:ext cx="265112" cy="215900"/>
          </a:xfrm>
          <a:prstGeom prst="rect">
            <a:avLst/>
          </a:prstGeom>
          <a:solidFill>
            <a:schemeClr val="accent3"/>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8" name="Rectangle 77"/>
          <p:cNvSpPr>
            <a:spLocks noChangeArrowheads="1"/>
          </p:cNvSpPr>
          <p:nvPr/>
        </p:nvSpPr>
        <p:spPr bwMode="auto">
          <a:xfrm>
            <a:off x="4697702" y="2094063"/>
            <a:ext cx="265112"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84462" name="Rectangle 78"/>
          <p:cNvSpPr>
            <a:spLocks noChangeArrowheads="1"/>
          </p:cNvSpPr>
          <p:nvPr/>
        </p:nvSpPr>
        <p:spPr bwMode="auto">
          <a:xfrm>
            <a:off x="2389188" y="4679329"/>
            <a:ext cx="769937" cy="239713"/>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784463" name="Rectangle 79"/>
          <p:cNvSpPr>
            <a:spLocks noChangeArrowheads="1"/>
          </p:cNvSpPr>
          <p:nvPr/>
        </p:nvSpPr>
        <p:spPr bwMode="auto">
          <a:xfrm>
            <a:off x="3391034" y="4680917"/>
            <a:ext cx="768350" cy="238125"/>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784464" name="Rectangle 80"/>
          <p:cNvSpPr>
            <a:spLocks noChangeArrowheads="1"/>
          </p:cNvSpPr>
          <p:nvPr/>
        </p:nvSpPr>
        <p:spPr bwMode="auto">
          <a:xfrm>
            <a:off x="4315597" y="4680917"/>
            <a:ext cx="771525" cy="238125"/>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784465" name="Rectangle 81"/>
          <p:cNvSpPr>
            <a:spLocks noChangeArrowheads="1"/>
          </p:cNvSpPr>
          <p:nvPr/>
        </p:nvSpPr>
        <p:spPr bwMode="auto">
          <a:xfrm>
            <a:off x="1462088" y="4679329"/>
            <a:ext cx="769937" cy="239713"/>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784466" name="Rectangle 82"/>
          <p:cNvSpPr>
            <a:spLocks noChangeArrowheads="1"/>
          </p:cNvSpPr>
          <p:nvPr/>
        </p:nvSpPr>
        <p:spPr bwMode="auto">
          <a:xfrm>
            <a:off x="5321345" y="4697563"/>
            <a:ext cx="771525" cy="238125"/>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84" name="Rectangle 83"/>
          <p:cNvSpPr>
            <a:spLocks noChangeArrowheads="1"/>
          </p:cNvSpPr>
          <p:nvPr/>
        </p:nvSpPr>
        <p:spPr bwMode="auto">
          <a:xfrm>
            <a:off x="1582738" y="4459438"/>
            <a:ext cx="265112"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85" name="Rectangle 84"/>
          <p:cNvSpPr>
            <a:spLocks noChangeArrowheads="1"/>
          </p:cNvSpPr>
          <p:nvPr/>
        </p:nvSpPr>
        <p:spPr bwMode="auto">
          <a:xfrm>
            <a:off x="2513013" y="4459438"/>
            <a:ext cx="265112" cy="215900"/>
          </a:xfrm>
          <a:prstGeom prst="rect">
            <a:avLst/>
          </a:prstGeom>
          <a:solidFill>
            <a:srgbClr val="FFFFFF"/>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86" name="Rectangle 85"/>
          <p:cNvSpPr>
            <a:spLocks noChangeArrowheads="1"/>
          </p:cNvSpPr>
          <p:nvPr/>
        </p:nvSpPr>
        <p:spPr bwMode="auto">
          <a:xfrm>
            <a:off x="3508375" y="4459438"/>
            <a:ext cx="265113" cy="215900"/>
          </a:xfrm>
          <a:prstGeom prst="rect">
            <a:avLst/>
          </a:prstGeom>
          <a:solidFill>
            <a:srgbClr val="FFFFFF"/>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84470" name="Rectangle 86"/>
          <p:cNvSpPr>
            <a:spLocks noChangeArrowheads="1"/>
          </p:cNvSpPr>
          <p:nvPr/>
        </p:nvSpPr>
        <p:spPr bwMode="auto">
          <a:xfrm>
            <a:off x="6257243" y="4699922"/>
            <a:ext cx="769937" cy="239713"/>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88" name="Rectangle 87"/>
          <p:cNvSpPr>
            <a:spLocks noChangeArrowheads="1"/>
          </p:cNvSpPr>
          <p:nvPr/>
        </p:nvSpPr>
        <p:spPr bwMode="auto">
          <a:xfrm>
            <a:off x="4438650" y="4462613"/>
            <a:ext cx="265113" cy="215900"/>
          </a:xfrm>
          <a:prstGeom prst="rect">
            <a:avLst/>
          </a:prstGeom>
          <a:solidFill>
            <a:srgbClr val="FFFFFF"/>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89" name="Rectangle 88"/>
          <p:cNvSpPr>
            <a:spLocks noChangeArrowheads="1"/>
          </p:cNvSpPr>
          <p:nvPr/>
        </p:nvSpPr>
        <p:spPr bwMode="auto">
          <a:xfrm>
            <a:off x="5438775" y="4473726"/>
            <a:ext cx="266700" cy="215900"/>
          </a:xfrm>
          <a:prstGeom prst="rect">
            <a:avLst/>
          </a:prstGeom>
          <a:solidFill>
            <a:schemeClr val="accent3"/>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90" name="Rectangle 89"/>
          <p:cNvSpPr>
            <a:spLocks noChangeArrowheads="1"/>
          </p:cNvSpPr>
          <p:nvPr/>
        </p:nvSpPr>
        <p:spPr bwMode="auto">
          <a:xfrm>
            <a:off x="6369050" y="4473726"/>
            <a:ext cx="265113" cy="215900"/>
          </a:xfrm>
          <a:prstGeom prst="rect">
            <a:avLst/>
          </a:prstGeom>
          <a:solidFill>
            <a:srgbClr val="FFFFFF"/>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91" name="Rectangle 90"/>
          <p:cNvSpPr>
            <a:spLocks noChangeArrowheads="1"/>
          </p:cNvSpPr>
          <p:nvPr/>
        </p:nvSpPr>
        <p:spPr bwMode="auto">
          <a:xfrm>
            <a:off x="1847850" y="4459438"/>
            <a:ext cx="265113"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92" name="Rectangle 91"/>
          <p:cNvSpPr>
            <a:spLocks noChangeArrowheads="1"/>
          </p:cNvSpPr>
          <p:nvPr/>
        </p:nvSpPr>
        <p:spPr bwMode="auto">
          <a:xfrm>
            <a:off x="2778125" y="4459438"/>
            <a:ext cx="265113" cy="215900"/>
          </a:xfrm>
          <a:prstGeom prst="rect">
            <a:avLst/>
          </a:prstGeom>
          <a:solidFill>
            <a:schemeClr val="accent3"/>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93" name="Rectangle 92"/>
          <p:cNvSpPr>
            <a:spLocks noChangeArrowheads="1"/>
          </p:cNvSpPr>
          <p:nvPr/>
        </p:nvSpPr>
        <p:spPr bwMode="auto">
          <a:xfrm>
            <a:off x="3775075" y="4459438"/>
            <a:ext cx="265113" cy="215900"/>
          </a:xfrm>
          <a:prstGeom prst="rect">
            <a:avLst/>
          </a:prstGeom>
          <a:solidFill>
            <a:schemeClr val="accent3"/>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94" name="Rectangle 93"/>
          <p:cNvSpPr>
            <a:spLocks noChangeArrowheads="1"/>
          </p:cNvSpPr>
          <p:nvPr/>
        </p:nvSpPr>
        <p:spPr bwMode="auto">
          <a:xfrm>
            <a:off x="4705350" y="4462613"/>
            <a:ext cx="265113" cy="215900"/>
          </a:xfrm>
          <a:prstGeom prst="rect">
            <a:avLst/>
          </a:prstGeom>
          <a:solidFill>
            <a:schemeClr val="accent3"/>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95" name="Rectangle 94"/>
          <p:cNvSpPr>
            <a:spLocks noChangeArrowheads="1"/>
          </p:cNvSpPr>
          <p:nvPr/>
        </p:nvSpPr>
        <p:spPr bwMode="auto">
          <a:xfrm>
            <a:off x="5705475" y="4473726"/>
            <a:ext cx="263525"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96" name="Rectangle 95"/>
          <p:cNvSpPr>
            <a:spLocks noChangeArrowheads="1"/>
          </p:cNvSpPr>
          <p:nvPr/>
        </p:nvSpPr>
        <p:spPr bwMode="auto">
          <a:xfrm>
            <a:off x="6634163" y="4473726"/>
            <a:ext cx="265112" cy="215900"/>
          </a:xfrm>
          <a:prstGeom prst="rect">
            <a:avLst/>
          </a:prstGeom>
          <a:solidFill>
            <a:schemeClr val="accent3"/>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84491" name="Rectangle 107"/>
          <p:cNvSpPr>
            <a:spLocks noChangeArrowheads="1"/>
          </p:cNvSpPr>
          <p:nvPr/>
        </p:nvSpPr>
        <p:spPr bwMode="auto">
          <a:xfrm>
            <a:off x="5318852" y="5228604"/>
            <a:ext cx="773113" cy="239713"/>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109" name="Rectangle 108"/>
          <p:cNvSpPr>
            <a:spLocks noChangeArrowheads="1"/>
          </p:cNvSpPr>
          <p:nvPr/>
        </p:nvSpPr>
        <p:spPr bwMode="auto">
          <a:xfrm>
            <a:off x="5438775" y="5010301"/>
            <a:ext cx="266700"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110" name="Rectangle 109"/>
          <p:cNvSpPr>
            <a:spLocks noChangeArrowheads="1"/>
          </p:cNvSpPr>
          <p:nvPr/>
        </p:nvSpPr>
        <p:spPr bwMode="auto">
          <a:xfrm>
            <a:off x="5705475" y="5010301"/>
            <a:ext cx="266700"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84494" name="Rectangle 110"/>
          <p:cNvSpPr>
            <a:spLocks noChangeArrowheads="1"/>
          </p:cNvSpPr>
          <p:nvPr/>
        </p:nvSpPr>
        <p:spPr bwMode="auto">
          <a:xfrm>
            <a:off x="6251575" y="5228604"/>
            <a:ext cx="773113" cy="239713"/>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112" name="Rectangle 111"/>
          <p:cNvSpPr>
            <a:spLocks noChangeArrowheads="1"/>
          </p:cNvSpPr>
          <p:nvPr/>
        </p:nvSpPr>
        <p:spPr bwMode="auto">
          <a:xfrm>
            <a:off x="6367463" y="5010301"/>
            <a:ext cx="265112" cy="215900"/>
          </a:xfrm>
          <a:prstGeom prst="rect">
            <a:avLst/>
          </a:prstGeom>
          <a:solidFill>
            <a:schemeClr val="accent3"/>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113" name="Rectangle 112"/>
          <p:cNvSpPr>
            <a:spLocks noChangeArrowheads="1"/>
          </p:cNvSpPr>
          <p:nvPr/>
        </p:nvSpPr>
        <p:spPr bwMode="auto">
          <a:xfrm>
            <a:off x="6634163" y="5010301"/>
            <a:ext cx="265112"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114" name="Oval 113"/>
          <p:cNvSpPr>
            <a:spLocks noChangeArrowheads="1"/>
          </p:cNvSpPr>
          <p:nvPr/>
        </p:nvSpPr>
        <p:spPr bwMode="auto">
          <a:xfrm>
            <a:off x="5114925" y="4896001"/>
            <a:ext cx="1090613" cy="619125"/>
          </a:xfrm>
          <a:prstGeom prst="ellipse">
            <a:avLst/>
          </a:prstGeom>
          <a:noFill/>
          <a:ln w="12700" algn="ctr">
            <a:solidFill>
              <a:schemeClr val="accent3"/>
            </a:solidFill>
            <a:round/>
            <a:headEnd type="none" w="sm" len="sm"/>
            <a:tailEnd type="none" w="med" len="lg"/>
          </a:ln>
        </p:spPr>
        <p:txBody>
          <a:bodyPr wrap="none" anchor="ctr"/>
          <a:lstStyle/>
          <a:p>
            <a:pPr algn="ctr">
              <a:defRPr/>
            </a:pPr>
            <a:endParaRPr lang="en-GB" sz="1200">
              <a:solidFill>
                <a:schemeClr val="tx2"/>
              </a:solidFill>
            </a:endParaRPr>
          </a:p>
        </p:txBody>
      </p:sp>
      <p:sp>
        <p:nvSpPr>
          <p:cNvPr id="115" name="Rectangle 114"/>
          <p:cNvSpPr>
            <a:spLocks noChangeArrowheads="1"/>
          </p:cNvSpPr>
          <p:nvPr/>
        </p:nvSpPr>
        <p:spPr bwMode="auto">
          <a:xfrm>
            <a:off x="1847850" y="3876826"/>
            <a:ext cx="265113" cy="215900"/>
          </a:xfrm>
          <a:prstGeom prst="rect">
            <a:avLst/>
          </a:prstGeom>
          <a:solidFill>
            <a:schemeClr val="accent3"/>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116" name="Rectangle 115"/>
          <p:cNvSpPr>
            <a:spLocks noChangeArrowheads="1"/>
          </p:cNvSpPr>
          <p:nvPr/>
        </p:nvSpPr>
        <p:spPr bwMode="auto">
          <a:xfrm>
            <a:off x="1847850" y="3318026"/>
            <a:ext cx="265113" cy="215900"/>
          </a:xfrm>
          <a:prstGeom prst="rect">
            <a:avLst/>
          </a:prstGeom>
          <a:solidFill>
            <a:schemeClr val="accent2"/>
          </a:solidFill>
          <a:ln w="12700" algn="ctr">
            <a:solidFill>
              <a:schemeClr val="bg2"/>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117" name="Rectangle 116"/>
          <p:cNvSpPr>
            <a:spLocks noChangeArrowheads="1"/>
          </p:cNvSpPr>
          <p:nvPr/>
        </p:nvSpPr>
        <p:spPr bwMode="auto">
          <a:xfrm>
            <a:off x="2778125" y="3318026"/>
            <a:ext cx="265113" cy="215900"/>
          </a:xfrm>
          <a:prstGeom prst="rect">
            <a:avLst/>
          </a:prstGeom>
          <a:solidFill>
            <a:schemeClr val="accent3"/>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118" name="Rectangle 117"/>
          <p:cNvSpPr>
            <a:spLocks noChangeArrowheads="1"/>
          </p:cNvSpPr>
          <p:nvPr/>
        </p:nvSpPr>
        <p:spPr bwMode="auto">
          <a:xfrm>
            <a:off x="2778125" y="3894288"/>
            <a:ext cx="265113" cy="215900"/>
          </a:xfrm>
          <a:prstGeom prst="rect">
            <a:avLst/>
          </a:prstGeom>
          <a:solidFill>
            <a:schemeClr val="accent3"/>
          </a:solidFill>
          <a:ln w="12700" algn="ctr">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119" name="Oval 118"/>
          <p:cNvSpPr>
            <a:spLocks noChangeArrowheads="1"/>
          </p:cNvSpPr>
          <p:nvPr/>
        </p:nvSpPr>
        <p:spPr bwMode="auto">
          <a:xfrm>
            <a:off x="3176588" y="1976588"/>
            <a:ext cx="1196975" cy="622300"/>
          </a:xfrm>
          <a:prstGeom prst="ellipse">
            <a:avLst/>
          </a:prstGeom>
          <a:noFill/>
          <a:ln w="12700">
            <a:solidFill>
              <a:schemeClr val="accent3"/>
            </a:solidFill>
            <a:round/>
            <a:headEnd type="none" w="sm" len="sm"/>
            <a:tailEnd type="none" w="med" len="lg"/>
          </a:ln>
        </p:spPr>
        <p:txBody>
          <a:bodyPr wrap="none" anchor="ctr"/>
          <a:lstStyle/>
          <a:p>
            <a:pPr algn="ctr">
              <a:defRPr/>
            </a:pPr>
            <a:endParaRPr lang="en-GB" sz="1200">
              <a:solidFill>
                <a:schemeClr val="tx2"/>
              </a:solidFill>
            </a:endParaRPr>
          </a:p>
        </p:txBody>
      </p:sp>
      <p:sp>
        <p:nvSpPr>
          <p:cNvPr id="120" name="Oval 119"/>
          <p:cNvSpPr>
            <a:spLocks noChangeArrowheads="1"/>
          </p:cNvSpPr>
          <p:nvPr/>
        </p:nvSpPr>
        <p:spPr bwMode="auto">
          <a:xfrm>
            <a:off x="6102350" y="4259413"/>
            <a:ext cx="1195388" cy="647700"/>
          </a:xfrm>
          <a:prstGeom prst="ellipse">
            <a:avLst/>
          </a:prstGeom>
          <a:noFill/>
          <a:ln w="12700" algn="ctr">
            <a:solidFill>
              <a:schemeClr val="accent3"/>
            </a:solidFill>
            <a:round/>
            <a:headEnd type="none" w="sm" len="sm"/>
            <a:tailEnd type="none" w="med" len="lg"/>
          </a:ln>
        </p:spPr>
        <p:txBody>
          <a:bodyPr wrap="none" anchor="ctr"/>
          <a:lstStyle/>
          <a:p>
            <a:pPr algn="ctr">
              <a:defRPr/>
            </a:pPr>
            <a:endParaRPr lang="en-GB" sz="1200">
              <a:solidFill>
                <a:schemeClr val="tx2"/>
              </a:solidFill>
            </a:endParaRPr>
          </a:p>
        </p:txBody>
      </p:sp>
      <p:sp>
        <p:nvSpPr>
          <p:cNvPr id="121" name="Oval 120"/>
          <p:cNvSpPr>
            <a:spLocks noChangeArrowheads="1"/>
          </p:cNvSpPr>
          <p:nvPr/>
        </p:nvSpPr>
        <p:spPr bwMode="auto">
          <a:xfrm>
            <a:off x="5038725" y="4259413"/>
            <a:ext cx="1195388" cy="647700"/>
          </a:xfrm>
          <a:prstGeom prst="ellipse">
            <a:avLst/>
          </a:prstGeom>
          <a:noFill/>
          <a:ln w="12700" algn="ctr">
            <a:solidFill>
              <a:schemeClr val="accent3"/>
            </a:solidFill>
            <a:round/>
            <a:headEnd type="none" w="sm" len="sm"/>
            <a:tailEnd type="none" w="med" len="lg"/>
          </a:ln>
        </p:spPr>
        <p:txBody>
          <a:bodyPr wrap="none" anchor="ctr"/>
          <a:lstStyle/>
          <a:p>
            <a:pPr algn="ctr">
              <a:defRPr/>
            </a:pPr>
            <a:endParaRPr lang="en-GB" sz="1200">
              <a:solidFill>
                <a:schemeClr val="tx2"/>
              </a:solidFill>
            </a:endParaRPr>
          </a:p>
        </p:txBody>
      </p:sp>
      <p:sp>
        <p:nvSpPr>
          <p:cNvPr id="122" name="Oval 121"/>
          <p:cNvSpPr>
            <a:spLocks noChangeArrowheads="1"/>
          </p:cNvSpPr>
          <p:nvPr/>
        </p:nvSpPr>
        <p:spPr bwMode="auto">
          <a:xfrm>
            <a:off x="2181225" y="4916638"/>
            <a:ext cx="1223963" cy="576263"/>
          </a:xfrm>
          <a:prstGeom prst="ellipse">
            <a:avLst/>
          </a:prstGeom>
          <a:noFill/>
          <a:ln w="12700">
            <a:solidFill>
              <a:schemeClr val="accent3"/>
            </a:solidFill>
            <a:round/>
            <a:headEnd type="none" w="sm" len="sm"/>
            <a:tailEnd type="none" w="med" len="lg"/>
          </a:ln>
        </p:spPr>
        <p:txBody>
          <a:bodyPr wrap="none" anchor="ctr"/>
          <a:lstStyle/>
          <a:p>
            <a:pPr algn="ctr">
              <a:defRPr/>
            </a:pPr>
            <a:endParaRPr lang="en-GB" sz="1200">
              <a:solidFill>
                <a:schemeClr val="tx2"/>
              </a:solidFill>
            </a:endParaRPr>
          </a:p>
        </p:txBody>
      </p:sp>
      <p:sp>
        <p:nvSpPr>
          <p:cNvPr id="123" name="Oval 122"/>
          <p:cNvSpPr>
            <a:spLocks noChangeArrowheads="1"/>
          </p:cNvSpPr>
          <p:nvPr/>
        </p:nvSpPr>
        <p:spPr bwMode="auto">
          <a:xfrm>
            <a:off x="3216275" y="4916638"/>
            <a:ext cx="1195388" cy="576263"/>
          </a:xfrm>
          <a:prstGeom prst="ellipse">
            <a:avLst/>
          </a:prstGeom>
          <a:noFill/>
          <a:ln w="12700">
            <a:solidFill>
              <a:schemeClr val="accent3"/>
            </a:solidFill>
            <a:round/>
            <a:headEnd type="none" w="sm" len="sm"/>
            <a:tailEnd type="none" w="med" len="lg"/>
          </a:ln>
        </p:spPr>
        <p:txBody>
          <a:bodyPr wrap="none" anchor="ctr"/>
          <a:lstStyle/>
          <a:p>
            <a:pPr algn="ctr">
              <a:defRPr/>
            </a:pPr>
            <a:endParaRPr lang="en-GB" sz="1200">
              <a:solidFill>
                <a:schemeClr val="tx2"/>
              </a:solidFill>
            </a:endParaRPr>
          </a:p>
        </p:txBody>
      </p:sp>
      <p:sp>
        <p:nvSpPr>
          <p:cNvPr id="124" name="Oval 123"/>
          <p:cNvSpPr>
            <a:spLocks noChangeArrowheads="1"/>
          </p:cNvSpPr>
          <p:nvPr/>
        </p:nvSpPr>
        <p:spPr bwMode="auto">
          <a:xfrm>
            <a:off x="4117975" y="4916638"/>
            <a:ext cx="1177925" cy="576263"/>
          </a:xfrm>
          <a:prstGeom prst="ellipse">
            <a:avLst/>
          </a:prstGeom>
          <a:noFill/>
          <a:ln w="12700">
            <a:solidFill>
              <a:schemeClr val="accent3"/>
            </a:solidFill>
            <a:round/>
            <a:headEnd type="none" w="sm" len="sm"/>
            <a:tailEnd type="none" w="med" len="lg"/>
          </a:ln>
        </p:spPr>
        <p:txBody>
          <a:bodyPr wrap="none" anchor="ctr"/>
          <a:lstStyle/>
          <a:p>
            <a:pPr algn="ctr">
              <a:defRPr/>
            </a:pPr>
            <a:endParaRPr lang="en-GB" sz="1200">
              <a:solidFill>
                <a:schemeClr val="tx2"/>
              </a:solidFill>
            </a:endParaRPr>
          </a:p>
        </p:txBody>
      </p:sp>
      <p:sp>
        <p:nvSpPr>
          <p:cNvPr id="125" name="Oval 124"/>
          <p:cNvSpPr>
            <a:spLocks noChangeArrowheads="1"/>
          </p:cNvSpPr>
          <p:nvPr/>
        </p:nvSpPr>
        <p:spPr bwMode="auto">
          <a:xfrm>
            <a:off x="4106863" y="4259413"/>
            <a:ext cx="1198562" cy="647700"/>
          </a:xfrm>
          <a:prstGeom prst="ellipse">
            <a:avLst/>
          </a:prstGeom>
          <a:noFill/>
          <a:ln w="12700" algn="ctr">
            <a:solidFill>
              <a:schemeClr val="accent3"/>
            </a:solidFill>
            <a:round/>
            <a:headEnd type="none" w="sm" len="sm"/>
            <a:tailEnd type="none" w="med" len="lg"/>
          </a:ln>
        </p:spPr>
        <p:txBody>
          <a:bodyPr wrap="none" anchor="ctr"/>
          <a:lstStyle/>
          <a:p>
            <a:pPr algn="ctr">
              <a:defRPr/>
            </a:pPr>
            <a:endParaRPr lang="en-GB" sz="1200">
              <a:solidFill>
                <a:schemeClr val="tx2"/>
              </a:solidFill>
            </a:endParaRPr>
          </a:p>
        </p:txBody>
      </p:sp>
      <p:sp>
        <p:nvSpPr>
          <p:cNvPr id="126" name="Oval 125"/>
          <p:cNvSpPr>
            <a:spLocks noChangeArrowheads="1"/>
          </p:cNvSpPr>
          <p:nvPr/>
        </p:nvSpPr>
        <p:spPr bwMode="auto">
          <a:xfrm>
            <a:off x="2181225" y="4280051"/>
            <a:ext cx="1195388" cy="647700"/>
          </a:xfrm>
          <a:prstGeom prst="ellipse">
            <a:avLst/>
          </a:prstGeom>
          <a:noFill/>
          <a:ln w="12700" algn="ctr">
            <a:solidFill>
              <a:schemeClr val="accent3"/>
            </a:solidFill>
            <a:round/>
            <a:headEnd type="none" w="sm" len="sm"/>
            <a:tailEnd type="none" w="med" len="lg"/>
          </a:ln>
        </p:spPr>
        <p:txBody>
          <a:bodyPr wrap="none" anchor="ctr"/>
          <a:lstStyle/>
          <a:p>
            <a:pPr algn="ctr">
              <a:defRPr/>
            </a:pPr>
            <a:endParaRPr lang="en-GB" sz="1200">
              <a:solidFill>
                <a:schemeClr val="tx2"/>
              </a:solidFill>
            </a:endParaRPr>
          </a:p>
        </p:txBody>
      </p:sp>
      <p:sp>
        <p:nvSpPr>
          <p:cNvPr id="784512" name="Rectangle 130"/>
          <p:cNvSpPr>
            <a:spLocks noChangeArrowheads="1"/>
          </p:cNvSpPr>
          <p:nvPr/>
        </p:nvSpPr>
        <p:spPr bwMode="auto">
          <a:xfrm>
            <a:off x="4311739" y="2303658"/>
            <a:ext cx="768350" cy="238125"/>
          </a:xfrm>
          <a:prstGeom prst="rect">
            <a:avLst/>
          </a:prstGeom>
          <a:noFill/>
          <a:ln w="9525">
            <a:noFill/>
            <a:miter lim="800000"/>
            <a:headEnd type="none" w="sm" len="sm"/>
            <a:tailEnd type="none" w="sm" len="sm"/>
          </a:ln>
        </p:spPr>
        <p:txBody>
          <a:bodyPr wrap="none" bIns="10800" anchor="ctr"/>
          <a:lstStyle/>
          <a:p>
            <a:pPr algn="ctr">
              <a:lnSpc>
                <a:spcPct val="70000"/>
              </a:lnSpc>
            </a:pPr>
            <a:r>
              <a:rPr lang="en-GB" altLang="ja-JP" sz="1200" dirty="0">
                <a:solidFill>
                  <a:schemeClr val="tx2"/>
                </a:solidFill>
                <a:ea typeface="ＭＳ Ｐゴシック" charset="-128"/>
              </a:rPr>
              <a:t>Text</a:t>
            </a:r>
          </a:p>
        </p:txBody>
      </p:sp>
      <p:sp>
        <p:nvSpPr>
          <p:cNvPr id="132" name="Text Placeholder 36"/>
          <p:cNvSpPr txBox="1">
            <a:spLocks/>
          </p:cNvSpPr>
          <p:nvPr/>
        </p:nvSpPr>
        <p:spPr bwMode="gray">
          <a:xfrm>
            <a:off x="411479" y="6281928"/>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33"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1633" name="Title 1"/>
          <p:cNvSpPr>
            <a:spLocks noGrp="1"/>
          </p:cNvSpPr>
          <p:nvPr>
            <p:ph type="title"/>
          </p:nvPr>
        </p:nvSpPr>
        <p:spPr>
          <a:xfrm>
            <a:off x="414338" y="446038"/>
            <a:ext cx="8330184" cy="333425"/>
          </a:xfrm>
        </p:spPr>
        <p:txBody>
          <a:bodyPr/>
          <a:lstStyle/>
          <a:p>
            <a:r>
              <a:rPr lang="en-US"/>
              <a:t>Text boxes — four by two</a:t>
            </a:r>
            <a:endParaRPr lang="nl-NL"/>
          </a:p>
        </p:txBody>
      </p:sp>
      <p:grpSp>
        <p:nvGrpSpPr>
          <p:cNvPr id="2" name="Group 12"/>
          <p:cNvGrpSpPr>
            <a:grpSpLocks/>
          </p:cNvGrpSpPr>
          <p:nvPr/>
        </p:nvGrpSpPr>
        <p:grpSpPr bwMode="auto">
          <a:xfrm>
            <a:off x="396875" y="3838152"/>
            <a:ext cx="2043113" cy="2167044"/>
            <a:chOff x="300" y="872"/>
            <a:chExt cx="1847" cy="1935"/>
          </a:xfrm>
        </p:grpSpPr>
        <p:sp>
          <p:nvSpPr>
            <p:cNvPr id="581650" name="Text Box 10"/>
            <p:cNvSpPr txBox="1">
              <a:spLocks noChangeArrowheads="1"/>
            </p:cNvSpPr>
            <p:nvPr/>
          </p:nvSpPr>
          <p:spPr bwMode="auto">
            <a:xfrm>
              <a:off x="300" y="872"/>
              <a:ext cx="1847" cy="245"/>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en-US" sz="1400" dirty="0">
                  <a:solidFill>
                    <a:srgbClr val="FFFFFF"/>
                  </a:solidFill>
                </a:rPr>
                <a:t>Text</a:t>
              </a:r>
            </a:p>
          </p:txBody>
        </p:sp>
        <p:sp>
          <p:nvSpPr>
            <p:cNvPr id="18" name="Rectangle 17"/>
            <p:cNvSpPr>
              <a:spLocks noChangeArrowheads="1"/>
            </p:cNvSpPr>
            <p:nvPr/>
          </p:nvSpPr>
          <p:spPr bwMode="auto">
            <a:xfrm>
              <a:off x="300" y="1117"/>
              <a:ext cx="1847" cy="1690"/>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grpSp>
        <p:nvGrpSpPr>
          <p:cNvPr id="3" name="Group 12"/>
          <p:cNvGrpSpPr>
            <a:grpSpLocks/>
          </p:cNvGrpSpPr>
          <p:nvPr/>
        </p:nvGrpSpPr>
        <p:grpSpPr bwMode="auto">
          <a:xfrm>
            <a:off x="2499254" y="3838152"/>
            <a:ext cx="2043113" cy="2167044"/>
            <a:chOff x="300" y="872"/>
            <a:chExt cx="1847" cy="1935"/>
          </a:xfrm>
        </p:grpSpPr>
        <p:sp>
          <p:nvSpPr>
            <p:cNvPr id="31" name="Text Box 10"/>
            <p:cNvSpPr txBox="1">
              <a:spLocks noChangeArrowheads="1"/>
            </p:cNvSpPr>
            <p:nvPr/>
          </p:nvSpPr>
          <p:spPr bwMode="auto">
            <a:xfrm>
              <a:off x="300" y="872"/>
              <a:ext cx="1847" cy="245"/>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en-US" sz="1400" dirty="0">
                  <a:solidFill>
                    <a:srgbClr val="FFFFFF"/>
                  </a:solidFill>
                </a:rPr>
                <a:t>Text</a:t>
              </a:r>
            </a:p>
          </p:txBody>
        </p:sp>
        <p:sp>
          <p:nvSpPr>
            <p:cNvPr id="32" name="Rectangle 31"/>
            <p:cNvSpPr>
              <a:spLocks noChangeArrowheads="1"/>
            </p:cNvSpPr>
            <p:nvPr/>
          </p:nvSpPr>
          <p:spPr bwMode="auto">
            <a:xfrm>
              <a:off x="300" y="1117"/>
              <a:ext cx="1847" cy="1690"/>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grpSp>
        <p:nvGrpSpPr>
          <p:cNvPr id="4" name="Group 12"/>
          <p:cNvGrpSpPr>
            <a:grpSpLocks/>
          </p:cNvGrpSpPr>
          <p:nvPr/>
        </p:nvGrpSpPr>
        <p:grpSpPr bwMode="auto">
          <a:xfrm>
            <a:off x="4601633" y="3838152"/>
            <a:ext cx="2043113" cy="2167044"/>
            <a:chOff x="300" y="872"/>
            <a:chExt cx="1847" cy="1935"/>
          </a:xfrm>
        </p:grpSpPr>
        <p:sp>
          <p:nvSpPr>
            <p:cNvPr id="34" name="Text Box 10"/>
            <p:cNvSpPr txBox="1">
              <a:spLocks noChangeArrowheads="1"/>
            </p:cNvSpPr>
            <p:nvPr/>
          </p:nvSpPr>
          <p:spPr bwMode="auto">
            <a:xfrm>
              <a:off x="300" y="872"/>
              <a:ext cx="1847" cy="245"/>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en-US" sz="1400" dirty="0">
                  <a:solidFill>
                    <a:srgbClr val="FFFFFF"/>
                  </a:solidFill>
                </a:rPr>
                <a:t>Text</a:t>
              </a:r>
            </a:p>
          </p:txBody>
        </p:sp>
        <p:sp>
          <p:nvSpPr>
            <p:cNvPr id="35" name="Rectangle 34"/>
            <p:cNvSpPr>
              <a:spLocks noChangeArrowheads="1"/>
            </p:cNvSpPr>
            <p:nvPr/>
          </p:nvSpPr>
          <p:spPr bwMode="auto">
            <a:xfrm>
              <a:off x="300" y="1117"/>
              <a:ext cx="1847" cy="1690"/>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grpSp>
        <p:nvGrpSpPr>
          <p:cNvPr id="5" name="Group 12"/>
          <p:cNvGrpSpPr>
            <a:grpSpLocks/>
          </p:cNvGrpSpPr>
          <p:nvPr/>
        </p:nvGrpSpPr>
        <p:grpSpPr bwMode="auto">
          <a:xfrm>
            <a:off x="6704012" y="3838152"/>
            <a:ext cx="2043113" cy="2167044"/>
            <a:chOff x="300" y="872"/>
            <a:chExt cx="1847" cy="1935"/>
          </a:xfrm>
        </p:grpSpPr>
        <p:sp>
          <p:nvSpPr>
            <p:cNvPr id="37" name="Text Box 10"/>
            <p:cNvSpPr txBox="1">
              <a:spLocks noChangeArrowheads="1"/>
            </p:cNvSpPr>
            <p:nvPr/>
          </p:nvSpPr>
          <p:spPr bwMode="auto">
            <a:xfrm>
              <a:off x="300" y="872"/>
              <a:ext cx="1847" cy="245"/>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en-US" sz="1400" dirty="0">
                  <a:solidFill>
                    <a:srgbClr val="FFFFFF"/>
                  </a:solidFill>
                </a:rPr>
                <a:t>Text</a:t>
              </a:r>
            </a:p>
          </p:txBody>
        </p:sp>
        <p:sp>
          <p:nvSpPr>
            <p:cNvPr id="38" name="Rectangle 37"/>
            <p:cNvSpPr>
              <a:spLocks noChangeArrowheads="1"/>
            </p:cNvSpPr>
            <p:nvPr/>
          </p:nvSpPr>
          <p:spPr bwMode="auto">
            <a:xfrm>
              <a:off x="300" y="1117"/>
              <a:ext cx="1847" cy="1690"/>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grpSp>
        <p:nvGrpSpPr>
          <p:cNvPr id="6" name="Group 12"/>
          <p:cNvGrpSpPr>
            <a:grpSpLocks/>
          </p:cNvGrpSpPr>
          <p:nvPr/>
        </p:nvGrpSpPr>
        <p:grpSpPr bwMode="auto">
          <a:xfrm>
            <a:off x="396875" y="1590178"/>
            <a:ext cx="2043113" cy="2167044"/>
            <a:chOff x="300" y="872"/>
            <a:chExt cx="1847" cy="1935"/>
          </a:xfrm>
        </p:grpSpPr>
        <p:sp>
          <p:nvSpPr>
            <p:cNvPr id="40" name="Text Box 10"/>
            <p:cNvSpPr txBox="1">
              <a:spLocks noChangeArrowheads="1"/>
            </p:cNvSpPr>
            <p:nvPr/>
          </p:nvSpPr>
          <p:spPr bwMode="auto">
            <a:xfrm>
              <a:off x="300" y="872"/>
              <a:ext cx="1847" cy="245"/>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en-US" sz="1400" dirty="0">
                  <a:solidFill>
                    <a:srgbClr val="FFFFFF"/>
                  </a:solidFill>
                </a:rPr>
                <a:t>Text</a:t>
              </a:r>
            </a:p>
          </p:txBody>
        </p:sp>
        <p:sp>
          <p:nvSpPr>
            <p:cNvPr id="41" name="Rectangle 40"/>
            <p:cNvSpPr>
              <a:spLocks noChangeArrowheads="1"/>
            </p:cNvSpPr>
            <p:nvPr/>
          </p:nvSpPr>
          <p:spPr bwMode="auto">
            <a:xfrm>
              <a:off x="300" y="1117"/>
              <a:ext cx="1847" cy="1690"/>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grpSp>
        <p:nvGrpSpPr>
          <p:cNvPr id="7" name="Group 12"/>
          <p:cNvGrpSpPr>
            <a:grpSpLocks/>
          </p:cNvGrpSpPr>
          <p:nvPr/>
        </p:nvGrpSpPr>
        <p:grpSpPr bwMode="auto">
          <a:xfrm>
            <a:off x="2499254" y="1590178"/>
            <a:ext cx="2043113" cy="2167044"/>
            <a:chOff x="300" y="872"/>
            <a:chExt cx="1847" cy="1935"/>
          </a:xfrm>
        </p:grpSpPr>
        <p:sp>
          <p:nvSpPr>
            <p:cNvPr id="43" name="Text Box 10"/>
            <p:cNvSpPr txBox="1">
              <a:spLocks noChangeArrowheads="1"/>
            </p:cNvSpPr>
            <p:nvPr/>
          </p:nvSpPr>
          <p:spPr bwMode="auto">
            <a:xfrm>
              <a:off x="300" y="872"/>
              <a:ext cx="1847" cy="245"/>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en-US" sz="1400" dirty="0">
                  <a:solidFill>
                    <a:srgbClr val="FFFFFF"/>
                  </a:solidFill>
                </a:rPr>
                <a:t>Text</a:t>
              </a:r>
            </a:p>
          </p:txBody>
        </p:sp>
        <p:sp>
          <p:nvSpPr>
            <p:cNvPr id="44" name="Rectangle 43"/>
            <p:cNvSpPr>
              <a:spLocks noChangeArrowheads="1"/>
            </p:cNvSpPr>
            <p:nvPr/>
          </p:nvSpPr>
          <p:spPr bwMode="auto">
            <a:xfrm>
              <a:off x="300" y="1117"/>
              <a:ext cx="1847" cy="1690"/>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grpSp>
        <p:nvGrpSpPr>
          <p:cNvPr id="8" name="Group 12"/>
          <p:cNvGrpSpPr>
            <a:grpSpLocks/>
          </p:cNvGrpSpPr>
          <p:nvPr/>
        </p:nvGrpSpPr>
        <p:grpSpPr bwMode="auto">
          <a:xfrm>
            <a:off x="4601633" y="1590178"/>
            <a:ext cx="2043113" cy="2167044"/>
            <a:chOff x="300" y="872"/>
            <a:chExt cx="1847" cy="1935"/>
          </a:xfrm>
        </p:grpSpPr>
        <p:sp>
          <p:nvSpPr>
            <p:cNvPr id="46" name="Text Box 10"/>
            <p:cNvSpPr txBox="1">
              <a:spLocks noChangeArrowheads="1"/>
            </p:cNvSpPr>
            <p:nvPr/>
          </p:nvSpPr>
          <p:spPr bwMode="auto">
            <a:xfrm>
              <a:off x="300" y="872"/>
              <a:ext cx="1847" cy="245"/>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en-US" sz="1400" dirty="0">
                  <a:solidFill>
                    <a:srgbClr val="FFFFFF"/>
                  </a:solidFill>
                </a:rPr>
                <a:t>Text</a:t>
              </a:r>
            </a:p>
          </p:txBody>
        </p:sp>
        <p:sp>
          <p:nvSpPr>
            <p:cNvPr id="47" name="Rectangle 46"/>
            <p:cNvSpPr>
              <a:spLocks noChangeArrowheads="1"/>
            </p:cNvSpPr>
            <p:nvPr/>
          </p:nvSpPr>
          <p:spPr bwMode="auto">
            <a:xfrm>
              <a:off x="300" y="1117"/>
              <a:ext cx="1847" cy="1690"/>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grpSp>
        <p:nvGrpSpPr>
          <p:cNvPr id="9" name="Group 12"/>
          <p:cNvGrpSpPr>
            <a:grpSpLocks/>
          </p:cNvGrpSpPr>
          <p:nvPr/>
        </p:nvGrpSpPr>
        <p:grpSpPr bwMode="auto">
          <a:xfrm>
            <a:off x="6704012" y="1590178"/>
            <a:ext cx="2043113" cy="2167044"/>
            <a:chOff x="300" y="872"/>
            <a:chExt cx="1847" cy="1935"/>
          </a:xfrm>
        </p:grpSpPr>
        <p:sp>
          <p:nvSpPr>
            <p:cNvPr id="49" name="Text Box 10"/>
            <p:cNvSpPr txBox="1">
              <a:spLocks noChangeArrowheads="1"/>
            </p:cNvSpPr>
            <p:nvPr/>
          </p:nvSpPr>
          <p:spPr bwMode="auto">
            <a:xfrm>
              <a:off x="300" y="872"/>
              <a:ext cx="1847" cy="245"/>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en-US" sz="1400" dirty="0">
                  <a:solidFill>
                    <a:srgbClr val="FFFFFF"/>
                  </a:solidFill>
                </a:rPr>
                <a:t>Text</a:t>
              </a:r>
            </a:p>
          </p:txBody>
        </p:sp>
        <p:sp>
          <p:nvSpPr>
            <p:cNvPr id="50" name="Rectangle 49"/>
            <p:cNvSpPr>
              <a:spLocks noChangeArrowheads="1"/>
            </p:cNvSpPr>
            <p:nvPr/>
          </p:nvSpPr>
          <p:spPr bwMode="auto">
            <a:xfrm>
              <a:off x="300" y="1117"/>
              <a:ext cx="1847" cy="1690"/>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a:p>
              <a:pPr marL="359623" indent="-359623" algn="l" defTabSz="957998">
                <a:spcBef>
                  <a:spcPts val="400"/>
                </a:spcBef>
                <a:spcAft>
                  <a:spcPts val="0"/>
                </a:spcAft>
                <a:defRPr/>
              </a:pPr>
              <a:endParaRPr lang="nl-NL" sz="1400" b="0" dirty="0">
                <a:solidFill>
                  <a:srgbClr val="002776"/>
                </a:solidFill>
                <a:latin typeface="Arial"/>
              </a:endParaRPr>
            </a:p>
          </p:txBody>
        </p:sp>
      </p:grpSp>
      <p:sp>
        <p:nvSpPr>
          <p:cNvPr id="29"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3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5409" name="Title 1"/>
          <p:cNvSpPr>
            <a:spLocks noGrp="1"/>
          </p:cNvSpPr>
          <p:nvPr>
            <p:ph type="title"/>
          </p:nvPr>
        </p:nvSpPr>
        <p:spPr>
          <a:xfrm>
            <a:off x="414338" y="446038"/>
            <a:ext cx="8330184" cy="333425"/>
          </a:xfrm>
        </p:spPr>
        <p:txBody>
          <a:bodyPr/>
          <a:lstStyle/>
          <a:p>
            <a:r>
              <a:rPr lang="en-GB" altLang="ja-JP"/>
              <a:t>Activity map </a:t>
            </a:r>
            <a:r>
              <a:rPr lang="en-US"/>
              <a:t>—</a:t>
            </a:r>
            <a:r>
              <a:rPr lang="en-GB" altLang="ja-JP" smtClean="0"/>
              <a:t> </a:t>
            </a:r>
            <a:r>
              <a:rPr lang="en-GB" altLang="ja-JP"/>
              <a:t>synergy summary</a:t>
            </a:r>
            <a:endParaRPr lang="nl-NL"/>
          </a:p>
        </p:txBody>
      </p:sp>
      <p:sp>
        <p:nvSpPr>
          <p:cNvPr id="5" name="Rectangle 3"/>
          <p:cNvSpPr>
            <a:spLocks noChangeArrowheads="1"/>
          </p:cNvSpPr>
          <p:nvPr/>
        </p:nvSpPr>
        <p:spPr bwMode="auto">
          <a:xfrm>
            <a:off x="1782763" y="2022475"/>
            <a:ext cx="731837" cy="215900"/>
          </a:xfrm>
          <a:prstGeom prst="rect">
            <a:avLst/>
          </a:prstGeom>
          <a:solidFill>
            <a:schemeClr val="accent3"/>
          </a:solidFill>
          <a:ln w="12700" algn="ctr">
            <a:solidFill>
              <a:schemeClr val="bg1"/>
            </a:solidFill>
            <a:miter lim="800000"/>
            <a:headEnd/>
            <a:tailEnd/>
          </a:ln>
        </p:spPr>
        <p:txBody>
          <a:bodyPr wrap="none" anchor="ctr"/>
          <a:lstStyle/>
          <a:p>
            <a:pPr algn="ctr">
              <a:defRPr/>
            </a:pPr>
            <a:endParaRPr lang="en-GB" sz="1200">
              <a:solidFill>
                <a:schemeClr val="tx2"/>
              </a:solidFill>
            </a:endParaRPr>
          </a:p>
        </p:txBody>
      </p:sp>
      <p:sp>
        <p:nvSpPr>
          <p:cNvPr id="6" name="Rectangle 4"/>
          <p:cNvSpPr>
            <a:spLocks noChangeArrowheads="1"/>
          </p:cNvSpPr>
          <p:nvPr/>
        </p:nvSpPr>
        <p:spPr bwMode="auto">
          <a:xfrm>
            <a:off x="1781175" y="3714750"/>
            <a:ext cx="731838" cy="215900"/>
          </a:xfrm>
          <a:prstGeom prst="rect">
            <a:avLst/>
          </a:prstGeom>
          <a:noFill/>
          <a:ln w="12700">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7" name="Rectangle 5"/>
          <p:cNvSpPr>
            <a:spLocks noChangeArrowheads="1"/>
          </p:cNvSpPr>
          <p:nvPr/>
        </p:nvSpPr>
        <p:spPr bwMode="auto">
          <a:xfrm>
            <a:off x="1781175" y="4138613"/>
            <a:ext cx="731838" cy="215900"/>
          </a:xfrm>
          <a:prstGeom prst="rect">
            <a:avLst/>
          </a:prstGeom>
          <a:noFill/>
          <a:ln w="12700">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8" name="Rectangle 6"/>
          <p:cNvSpPr>
            <a:spLocks noChangeArrowheads="1"/>
          </p:cNvSpPr>
          <p:nvPr/>
        </p:nvSpPr>
        <p:spPr bwMode="auto">
          <a:xfrm>
            <a:off x="3294063" y="2022475"/>
            <a:ext cx="731837" cy="215900"/>
          </a:xfrm>
          <a:prstGeom prst="rect">
            <a:avLst/>
          </a:prstGeom>
          <a:solidFill>
            <a:schemeClr val="accent3"/>
          </a:solidFill>
          <a:ln w="12700" algn="ctr">
            <a:solidFill>
              <a:schemeClr val="bg1"/>
            </a:solidFill>
            <a:miter lim="800000"/>
            <a:headEnd/>
            <a:tailEnd/>
          </a:ln>
        </p:spPr>
        <p:txBody>
          <a:bodyPr wrap="none" anchor="ctr"/>
          <a:lstStyle/>
          <a:p>
            <a:pPr algn="ctr">
              <a:defRPr/>
            </a:pPr>
            <a:endParaRPr lang="ja-JP" altLang="en-US" sz="1200">
              <a:solidFill>
                <a:schemeClr val="tx2"/>
              </a:solidFill>
              <a:ea typeface="ＭＳ Ｐゴシック" pitchFamily="50" charset="-128"/>
            </a:endParaRPr>
          </a:p>
        </p:txBody>
      </p:sp>
      <p:sp>
        <p:nvSpPr>
          <p:cNvPr id="785415" name="Rectangle 7"/>
          <p:cNvSpPr>
            <a:spLocks noChangeArrowheads="1"/>
          </p:cNvSpPr>
          <p:nvPr/>
        </p:nvSpPr>
        <p:spPr bwMode="auto">
          <a:xfrm>
            <a:off x="3294063" y="3714750"/>
            <a:ext cx="731837" cy="215900"/>
          </a:xfrm>
          <a:prstGeom prst="rect">
            <a:avLst/>
          </a:prstGeom>
          <a:solidFill>
            <a:schemeClr val="accent2"/>
          </a:solidFill>
          <a:ln w="12700" algn="ctr">
            <a:solidFill>
              <a:schemeClr val="bg1"/>
            </a:solidFill>
            <a:miter lim="800000"/>
            <a:headEnd/>
            <a:tailEnd/>
          </a:ln>
        </p:spPr>
        <p:txBody>
          <a:bodyPr wrap="none" anchor="ctr"/>
          <a:lstStyle/>
          <a:p>
            <a:pPr algn="ctr"/>
            <a:endParaRPr lang="en-GB" sz="1200">
              <a:solidFill>
                <a:schemeClr val="tx2"/>
              </a:solidFill>
            </a:endParaRPr>
          </a:p>
        </p:txBody>
      </p:sp>
      <p:sp>
        <p:nvSpPr>
          <p:cNvPr id="10" name="Rectangle 8"/>
          <p:cNvSpPr>
            <a:spLocks noChangeArrowheads="1"/>
          </p:cNvSpPr>
          <p:nvPr/>
        </p:nvSpPr>
        <p:spPr bwMode="auto">
          <a:xfrm>
            <a:off x="3294063" y="4138613"/>
            <a:ext cx="731837" cy="215900"/>
          </a:xfrm>
          <a:prstGeom prst="rect">
            <a:avLst/>
          </a:prstGeom>
          <a:noFill/>
          <a:ln w="12700">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11" name="Rectangle 9"/>
          <p:cNvSpPr>
            <a:spLocks noChangeArrowheads="1"/>
          </p:cNvSpPr>
          <p:nvPr/>
        </p:nvSpPr>
        <p:spPr bwMode="auto">
          <a:xfrm>
            <a:off x="1782763" y="4560888"/>
            <a:ext cx="731837" cy="215900"/>
          </a:xfrm>
          <a:prstGeom prst="rect">
            <a:avLst/>
          </a:prstGeom>
          <a:noFill/>
          <a:ln w="12700">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12" name="Rectangle 10"/>
          <p:cNvSpPr>
            <a:spLocks noChangeArrowheads="1"/>
          </p:cNvSpPr>
          <p:nvPr/>
        </p:nvSpPr>
        <p:spPr bwMode="auto">
          <a:xfrm>
            <a:off x="1782763" y="4984750"/>
            <a:ext cx="731837" cy="215900"/>
          </a:xfrm>
          <a:prstGeom prst="rect">
            <a:avLst/>
          </a:prstGeom>
          <a:noFill/>
          <a:ln w="12700">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13" name="Rectangle 11"/>
          <p:cNvSpPr>
            <a:spLocks noChangeArrowheads="1"/>
          </p:cNvSpPr>
          <p:nvPr/>
        </p:nvSpPr>
        <p:spPr bwMode="auto">
          <a:xfrm>
            <a:off x="3294063" y="5407025"/>
            <a:ext cx="731837" cy="215900"/>
          </a:xfrm>
          <a:prstGeom prst="rect">
            <a:avLst/>
          </a:prstGeom>
          <a:solidFill>
            <a:schemeClr val="accent3"/>
          </a:solidFill>
          <a:ln w="12700" algn="ctr">
            <a:solidFill>
              <a:schemeClr val="bg1"/>
            </a:solidFill>
            <a:miter lim="800000"/>
            <a:headEnd/>
            <a:tailEnd/>
          </a:ln>
        </p:spPr>
        <p:txBody>
          <a:bodyPr wrap="none" anchor="ctr"/>
          <a:lstStyle/>
          <a:p>
            <a:pPr algn="ctr">
              <a:defRPr/>
            </a:pPr>
            <a:endParaRPr lang="en-GB" sz="1200">
              <a:solidFill>
                <a:schemeClr val="tx2"/>
              </a:solidFill>
            </a:endParaRPr>
          </a:p>
        </p:txBody>
      </p:sp>
      <p:sp>
        <p:nvSpPr>
          <p:cNvPr id="785420" name="Rectangle 12"/>
          <p:cNvSpPr>
            <a:spLocks noChangeArrowheads="1"/>
          </p:cNvSpPr>
          <p:nvPr/>
        </p:nvSpPr>
        <p:spPr bwMode="auto">
          <a:xfrm>
            <a:off x="5038725" y="2022475"/>
            <a:ext cx="730250" cy="215900"/>
          </a:xfrm>
          <a:prstGeom prst="rect">
            <a:avLst/>
          </a:prstGeom>
          <a:solidFill>
            <a:schemeClr val="accent2"/>
          </a:solidFill>
          <a:ln w="12700" algn="ctr">
            <a:solidFill>
              <a:schemeClr val="bg1"/>
            </a:solidFill>
            <a:miter lim="800000"/>
            <a:headEnd/>
            <a:tailEnd/>
          </a:ln>
        </p:spPr>
        <p:txBody>
          <a:bodyPr wrap="none" anchor="ctr"/>
          <a:lstStyle/>
          <a:p>
            <a:pPr algn="ctr"/>
            <a:endParaRPr lang="en-GB" sz="1200">
              <a:solidFill>
                <a:schemeClr val="tx2"/>
              </a:solidFill>
            </a:endParaRPr>
          </a:p>
        </p:txBody>
      </p:sp>
      <p:sp>
        <p:nvSpPr>
          <p:cNvPr id="15" name="Rectangle 13"/>
          <p:cNvSpPr>
            <a:spLocks noChangeArrowheads="1"/>
          </p:cNvSpPr>
          <p:nvPr/>
        </p:nvSpPr>
        <p:spPr bwMode="auto">
          <a:xfrm>
            <a:off x="5038725" y="2446338"/>
            <a:ext cx="730250" cy="215900"/>
          </a:xfrm>
          <a:prstGeom prst="rect">
            <a:avLst/>
          </a:prstGeom>
          <a:noFill/>
          <a:ln w="12700">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16" name="Rectangle 14"/>
          <p:cNvSpPr>
            <a:spLocks noChangeArrowheads="1"/>
          </p:cNvSpPr>
          <p:nvPr/>
        </p:nvSpPr>
        <p:spPr bwMode="auto">
          <a:xfrm>
            <a:off x="5038725" y="2868613"/>
            <a:ext cx="730250" cy="215900"/>
          </a:xfrm>
          <a:prstGeom prst="rect">
            <a:avLst/>
          </a:prstGeom>
          <a:noFill/>
          <a:ln w="12700">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785423" name="Rectangle 15"/>
          <p:cNvSpPr>
            <a:spLocks noChangeArrowheads="1"/>
          </p:cNvSpPr>
          <p:nvPr/>
        </p:nvSpPr>
        <p:spPr bwMode="auto">
          <a:xfrm>
            <a:off x="5038725" y="3292475"/>
            <a:ext cx="730250" cy="215900"/>
          </a:xfrm>
          <a:prstGeom prst="rect">
            <a:avLst/>
          </a:prstGeom>
          <a:solidFill>
            <a:schemeClr val="accent2"/>
          </a:solidFill>
          <a:ln w="12700" algn="ctr">
            <a:solidFill>
              <a:schemeClr val="bg1"/>
            </a:solidFill>
            <a:miter lim="800000"/>
            <a:headEnd/>
            <a:tailEnd/>
          </a:ln>
        </p:spPr>
        <p:txBody>
          <a:bodyPr wrap="none" anchor="ctr"/>
          <a:lstStyle/>
          <a:p>
            <a:pPr algn="ctr"/>
            <a:endParaRPr lang="en-GB" sz="1200">
              <a:solidFill>
                <a:schemeClr val="tx2"/>
              </a:solidFill>
            </a:endParaRPr>
          </a:p>
        </p:txBody>
      </p:sp>
      <p:sp>
        <p:nvSpPr>
          <p:cNvPr id="785424" name="Rectangle 16"/>
          <p:cNvSpPr>
            <a:spLocks noChangeArrowheads="1"/>
          </p:cNvSpPr>
          <p:nvPr/>
        </p:nvSpPr>
        <p:spPr bwMode="auto">
          <a:xfrm>
            <a:off x="5038725" y="3714750"/>
            <a:ext cx="730250" cy="215900"/>
          </a:xfrm>
          <a:prstGeom prst="rect">
            <a:avLst/>
          </a:prstGeom>
          <a:solidFill>
            <a:schemeClr val="accent2"/>
          </a:solidFill>
          <a:ln w="12700" algn="ctr">
            <a:solidFill>
              <a:schemeClr val="bg1"/>
            </a:solidFill>
            <a:miter lim="800000"/>
            <a:headEnd/>
            <a:tailEnd/>
          </a:ln>
        </p:spPr>
        <p:txBody>
          <a:bodyPr wrap="none" anchor="ctr"/>
          <a:lstStyle/>
          <a:p>
            <a:pPr algn="ctr"/>
            <a:endParaRPr lang="en-GB" sz="1200">
              <a:solidFill>
                <a:schemeClr val="tx2"/>
              </a:solidFill>
            </a:endParaRPr>
          </a:p>
        </p:txBody>
      </p:sp>
      <p:sp>
        <p:nvSpPr>
          <p:cNvPr id="785425" name="Rectangle 17"/>
          <p:cNvSpPr>
            <a:spLocks noChangeArrowheads="1"/>
          </p:cNvSpPr>
          <p:nvPr/>
        </p:nvSpPr>
        <p:spPr bwMode="auto">
          <a:xfrm>
            <a:off x="5038725" y="4138613"/>
            <a:ext cx="730250" cy="215900"/>
          </a:xfrm>
          <a:prstGeom prst="rect">
            <a:avLst/>
          </a:prstGeom>
          <a:solidFill>
            <a:schemeClr val="accent2"/>
          </a:solidFill>
          <a:ln w="12700" algn="ctr">
            <a:solidFill>
              <a:schemeClr val="bg1"/>
            </a:solidFill>
            <a:miter lim="800000"/>
            <a:headEnd/>
            <a:tailEnd/>
          </a:ln>
        </p:spPr>
        <p:txBody>
          <a:bodyPr wrap="none" anchor="ctr"/>
          <a:lstStyle/>
          <a:p>
            <a:pPr algn="ctr"/>
            <a:endParaRPr lang="en-GB" sz="1200">
              <a:solidFill>
                <a:schemeClr val="tx2"/>
              </a:solidFill>
            </a:endParaRPr>
          </a:p>
        </p:txBody>
      </p:sp>
      <p:sp>
        <p:nvSpPr>
          <p:cNvPr id="20" name="Rectangle 18"/>
          <p:cNvSpPr>
            <a:spLocks noChangeArrowheads="1"/>
          </p:cNvSpPr>
          <p:nvPr/>
        </p:nvSpPr>
        <p:spPr bwMode="auto">
          <a:xfrm>
            <a:off x="5038725" y="4560888"/>
            <a:ext cx="730250" cy="215900"/>
          </a:xfrm>
          <a:prstGeom prst="rect">
            <a:avLst/>
          </a:prstGeom>
          <a:noFill/>
          <a:ln w="12700">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21" name="Rectangle 19"/>
          <p:cNvSpPr>
            <a:spLocks noChangeArrowheads="1"/>
          </p:cNvSpPr>
          <p:nvPr/>
        </p:nvSpPr>
        <p:spPr bwMode="auto">
          <a:xfrm>
            <a:off x="5038725" y="4984750"/>
            <a:ext cx="730250" cy="215900"/>
          </a:xfrm>
          <a:prstGeom prst="rect">
            <a:avLst/>
          </a:prstGeom>
          <a:noFill/>
          <a:ln w="12700">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785428" name="Rectangle 20"/>
          <p:cNvSpPr>
            <a:spLocks noChangeArrowheads="1"/>
          </p:cNvSpPr>
          <p:nvPr/>
        </p:nvSpPr>
        <p:spPr bwMode="auto">
          <a:xfrm>
            <a:off x="5038725" y="5407025"/>
            <a:ext cx="730250" cy="215900"/>
          </a:xfrm>
          <a:prstGeom prst="rect">
            <a:avLst/>
          </a:prstGeom>
          <a:solidFill>
            <a:schemeClr val="accent2"/>
          </a:solidFill>
          <a:ln w="12700" algn="ctr">
            <a:solidFill>
              <a:schemeClr val="bg1"/>
            </a:solidFill>
            <a:miter lim="800000"/>
            <a:headEnd/>
            <a:tailEnd/>
          </a:ln>
        </p:spPr>
        <p:txBody>
          <a:bodyPr wrap="none" anchor="ctr"/>
          <a:lstStyle/>
          <a:p>
            <a:pPr algn="ctr"/>
            <a:endParaRPr lang="en-GB" sz="1200">
              <a:solidFill>
                <a:schemeClr val="tx2"/>
              </a:solidFill>
            </a:endParaRPr>
          </a:p>
        </p:txBody>
      </p:sp>
      <p:sp>
        <p:nvSpPr>
          <p:cNvPr id="785429" name="Text Box 21"/>
          <p:cNvSpPr txBox="1">
            <a:spLocks noChangeArrowheads="1"/>
          </p:cNvSpPr>
          <p:nvPr/>
        </p:nvSpPr>
        <p:spPr bwMode="auto">
          <a:xfrm>
            <a:off x="2006600" y="1639888"/>
            <a:ext cx="295275" cy="276225"/>
          </a:xfrm>
          <a:prstGeom prst="rect">
            <a:avLst/>
          </a:prstGeom>
          <a:noFill/>
          <a:ln w="9525">
            <a:noFill/>
            <a:miter lim="800000"/>
            <a:headEnd/>
            <a:tailEnd/>
          </a:ln>
        </p:spPr>
        <p:txBody>
          <a:bodyPr wrap="none">
            <a:spAutoFit/>
          </a:bodyPr>
          <a:lstStyle/>
          <a:p>
            <a:pPr algn="ctr"/>
            <a:r>
              <a:rPr lang="en-GB" altLang="ja-JP" sz="1200" b="1">
                <a:solidFill>
                  <a:schemeClr val="tx2"/>
                </a:solidFill>
                <a:ea typeface="ＭＳ Ｐゴシック" charset="-128"/>
              </a:rPr>
              <a:t>A</a:t>
            </a:r>
          </a:p>
        </p:txBody>
      </p:sp>
      <p:sp>
        <p:nvSpPr>
          <p:cNvPr id="785430" name="Text Box 22"/>
          <p:cNvSpPr txBox="1">
            <a:spLocks noChangeArrowheads="1"/>
          </p:cNvSpPr>
          <p:nvPr/>
        </p:nvSpPr>
        <p:spPr bwMode="auto">
          <a:xfrm>
            <a:off x="3516313" y="1641475"/>
            <a:ext cx="295275" cy="276225"/>
          </a:xfrm>
          <a:prstGeom prst="rect">
            <a:avLst/>
          </a:prstGeom>
          <a:noFill/>
          <a:ln w="9525">
            <a:noFill/>
            <a:miter lim="800000"/>
            <a:headEnd/>
            <a:tailEnd/>
          </a:ln>
        </p:spPr>
        <p:txBody>
          <a:bodyPr wrap="none">
            <a:spAutoFit/>
          </a:bodyPr>
          <a:lstStyle/>
          <a:p>
            <a:pPr algn="ctr"/>
            <a:r>
              <a:rPr lang="en-GB" altLang="ja-JP" sz="1200" b="1">
                <a:solidFill>
                  <a:schemeClr val="tx2"/>
                </a:solidFill>
                <a:ea typeface="ＭＳ Ｐゴシック" charset="-128"/>
              </a:rPr>
              <a:t>B</a:t>
            </a:r>
          </a:p>
        </p:txBody>
      </p:sp>
      <p:sp>
        <p:nvSpPr>
          <p:cNvPr id="785431" name="Text Box 23"/>
          <p:cNvSpPr txBox="1">
            <a:spLocks noChangeArrowheads="1"/>
          </p:cNvSpPr>
          <p:nvPr/>
        </p:nvSpPr>
        <p:spPr bwMode="auto">
          <a:xfrm>
            <a:off x="5043488" y="1641475"/>
            <a:ext cx="747712" cy="276225"/>
          </a:xfrm>
          <a:prstGeom prst="rect">
            <a:avLst/>
          </a:prstGeom>
          <a:noFill/>
          <a:ln w="9525">
            <a:noFill/>
            <a:miter lim="800000"/>
            <a:headEnd/>
            <a:tailEnd/>
          </a:ln>
        </p:spPr>
        <p:txBody>
          <a:bodyPr wrap="none">
            <a:spAutoFit/>
          </a:bodyPr>
          <a:lstStyle/>
          <a:p>
            <a:pPr algn="ctr"/>
            <a:r>
              <a:rPr lang="en-GB" altLang="ja-JP" sz="1200" b="1" dirty="0">
                <a:solidFill>
                  <a:schemeClr val="tx2"/>
                </a:solidFill>
                <a:ea typeface="ＭＳ Ｐゴシック" charset="-128"/>
              </a:rPr>
              <a:t>New </a:t>
            </a:r>
            <a:r>
              <a:rPr lang="en-GB" altLang="ja-JP" sz="1200" b="1" dirty="0" smtClean="0">
                <a:solidFill>
                  <a:schemeClr val="tx2"/>
                </a:solidFill>
                <a:ea typeface="ＭＳ Ｐゴシック" charset="-128"/>
              </a:rPr>
              <a:t>co</a:t>
            </a:r>
            <a:endParaRPr lang="en-GB" altLang="ja-JP" sz="1200" b="1" dirty="0">
              <a:solidFill>
                <a:schemeClr val="tx2"/>
              </a:solidFill>
              <a:ea typeface="ＭＳ Ｐゴシック" charset="-128"/>
            </a:endParaRPr>
          </a:p>
        </p:txBody>
      </p:sp>
      <p:sp>
        <p:nvSpPr>
          <p:cNvPr id="785432" name="Text Box 24"/>
          <p:cNvSpPr txBox="1">
            <a:spLocks noChangeArrowheads="1"/>
          </p:cNvSpPr>
          <p:nvPr/>
        </p:nvSpPr>
        <p:spPr bwMode="auto">
          <a:xfrm>
            <a:off x="2704338" y="3684588"/>
            <a:ext cx="288862" cy="307777"/>
          </a:xfrm>
          <a:prstGeom prst="rect">
            <a:avLst/>
          </a:prstGeom>
          <a:noFill/>
          <a:ln w="9525">
            <a:noFill/>
            <a:miter lim="800000"/>
            <a:headEnd/>
            <a:tailEnd/>
          </a:ln>
        </p:spPr>
        <p:txBody>
          <a:bodyPr wrap="none">
            <a:spAutoFit/>
          </a:bodyPr>
          <a:lstStyle/>
          <a:p>
            <a:r>
              <a:rPr lang="en-GB" altLang="ja-JP" sz="1400" b="1" dirty="0">
                <a:solidFill>
                  <a:schemeClr val="tx2"/>
                </a:solidFill>
                <a:ea typeface="ＭＳ Ｐゴシック" charset="-128"/>
              </a:rPr>
              <a:t>+</a:t>
            </a:r>
          </a:p>
        </p:txBody>
      </p:sp>
      <p:sp>
        <p:nvSpPr>
          <p:cNvPr id="785433" name="Text Box 25"/>
          <p:cNvSpPr txBox="1">
            <a:spLocks noChangeArrowheads="1"/>
          </p:cNvSpPr>
          <p:nvPr/>
        </p:nvSpPr>
        <p:spPr bwMode="auto">
          <a:xfrm>
            <a:off x="4377563" y="3684588"/>
            <a:ext cx="288862" cy="307777"/>
          </a:xfrm>
          <a:prstGeom prst="rect">
            <a:avLst/>
          </a:prstGeom>
          <a:noFill/>
          <a:ln w="9525">
            <a:noFill/>
            <a:miter lim="800000"/>
            <a:headEnd/>
            <a:tailEnd/>
          </a:ln>
        </p:spPr>
        <p:txBody>
          <a:bodyPr wrap="none">
            <a:spAutoFit/>
          </a:bodyPr>
          <a:lstStyle/>
          <a:p>
            <a:r>
              <a:rPr lang="en-GB" altLang="ja-JP" sz="1400" b="1" dirty="0">
                <a:solidFill>
                  <a:schemeClr val="tx2"/>
                </a:solidFill>
                <a:ea typeface="ＭＳ Ｐゴシック" charset="-128"/>
              </a:rPr>
              <a:t>=</a:t>
            </a:r>
          </a:p>
        </p:txBody>
      </p:sp>
      <p:sp>
        <p:nvSpPr>
          <p:cNvPr id="28" name="Rectangle 26"/>
          <p:cNvSpPr>
            <a:spLocks noChangeArrowheads="1"/>
          </p:cNvSpPr>
          <p:nvPr/>
        </p:nvSpPr>
        <p:spPr bwMode="auto">
          <a:xfrm>
            <a:off x="3295650" y="2446338"/>
            <a:ext cx="731838" cy="215900"/>
          </a:xfrm>
          <a:prstGeom prst="rect">
            <a:avLst/>
          </a:prstGeom>
          <a:noFill/>
          <a:ln w="12700">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29" name="Rectangle 27"/>
          <p:cNvSpPr>
            <a:spLocks noChangeArrowheads="1"/>
          </p:cNvSpPr>
          <p:nvPr/>
        </p:nvSpPr>
        <p:spPr bwMode="auto">
          <a:xfrm>
            <a:off x="3295650" y="2868613"/>
            <a:ext cx="731838" cy="215900"/>
          </a:xfrm>
          <a:prstGeom prst="rect">
            <a:avLst/>
          </a:prstGeom>
          <a:noFill/>
          <a:ln w="12700">
            <a:solidFill>
              <a:schemeClr val="accent3"/>
            </a:solidFill>
            <a:miter lim="800000"/>
            <a:headEnd/>
            <a:tailEnd/>
          </a:ln>
        </p:spPr>
        <p:txBody>
          <a:bodyPr wrap="none" anchor="ctr"/>
          <a:lstStyle/>
          <a:p>
            <a:pPr algn="ctr">
              <a:defRPr/>
            </a:pPr>
            <a:endParaRPr lang="en-GB" sz="1200">
              <a:solidFill>
                <a:schemeClr val="tx2"/>
              </a:solidFill>
            </a:endParaRPr>
          </a:p>
        </p:txBody>
      </p:sp>
      <p:sp>
        <p:nvSpPr>
          <p:cNvPr id="785436" name="Rectangle 28"/>
          <p:cNvSpPr>
            <a:spLocks noChangeArrowheads="1"/>
          </p:cNvSpPr>
          <p:nvPr/>
        </p:nvSpPr>
        <p:spPr bwMode="auto">
          <a:xfrm>
            <a:off x="3295650" y="3292475"/>
            <a:ext cx="731838" cy="215900"/>
          </a:xfrm>
          <a:prstGeom prst="rect">
            <a:avLst/>
          </a:prstGeom>
          <a:solidFill>
            <a:schemeClr val="accent2"/>
          </a:solidFill>
          <a:ln w="12700" algn="ctr">
            <a:solidFill>
              <a:schemeClr val="bg1"/>
            </a:solidFill>
            <a:miter lim="800000"/>
            <a:headEnd/>
            <a:tailEnd/>
          </a:ln>
        </p:spPr>
        <p:txBody>
          <a:bodyPr wrap="none" anchor="ctr"/>
          <a:lstStyle/>
          <a:p>
            <a:pPr algn="ctr"/>
            <a:endParaRPr lang="en-GB" sz="1200">
              <a:solidFill>
                <a:schemeClr val="tx2"/>
              </a:solidFill>
            </a:endParaRPr>
          </a:p>
        </p:txBody>
      </p:sp>
      <p:sp>
        <p:nvSpPr>
          <p:cNvPr id="31" name="Rectangle 29"/>
          <p:cNvSpPr>
            <a:spLocks noChangeArrowheads="1"/>
          </p:cNvSpPr>
          <p:nvPr/>
        </p:nvSpPr>
        <p:spPr bwMode="auto">
          <a:xfrm>
            <a:off x="1781175" y="5407025"/>
            <a:ext cx="730250" cy="215900"/>
          </a:xfrm>
          <a:prstGeom prst="rect">
            <a:avLst/>
          </a:prstGeom>
          <a:solidFill>
            <a:schemeClr val="accent3"/>
          </a:solidFill>
          <a:ln w="12700" algn="ctr">
            <a:solidFill>
              <a:schemeClr val="bg1"/>
            </a:solidFill>
            <a:miter lim="800000"/>
            <a:headEnd/>
            <a:tailEnd/>
          </a:ln>
        </p:spPr>
        <p:txBody>
          <a:bodyPr wrap="none" anchor="ctr"/>
          <a:lstStyle/>
          <a:p>
            <a:pPr algn="ctr">
              <a:defRPr/>
            </a:pPr>
            <a:endParaRPr lang="en-GB" sz="1200">
              <a:solidFill>
                <a:schemeClr val="tx2"/>
              </a:solidFill>
            </a:endParaRPr>
          </a:p>
        </p:txBody>
      </p:sp>
      <p:grpSp>
        <p:nvGrpSpPr>
          <p:cNvPr id="50" name="Group 49"/>
          <p:cNvGrpSpPr/>
          <p:nvPr/>
        </p:nvGrpSpPr>
        <p:grpSpPr>
          <a:xfrm>
            <a:off x="6654947" y="1546225"/>
            <a:ext cx="1847826" cy="1146175"/>
            <a:chOff x="7164388" y="1608138"/>
            <a:chExt cx="1847826" cy="1146175"/>
          </a:xfrm>
        </p:grpSpPr>
        <p:sp>
          <p:nvSpPr>
            <p:cNvPr id="785438" name="Rectangle 30"/>
            <p:cNvSpPr>
              <a:spLocks noChangeArrowheads="1"/>
            </p:cNvSpPr>
            <p:nvPr/>
          </p:nvSpPr>
          <p:spPr bwMode="auto">
            <a:xfrm>
              <a:off x="7164388" y="1646238"/>
              <a:ext cx="552450" cy="215900"/>
            </a:xfrm>
            <a:prstGeom prst="rect">
              <a:avLst/>
            </a:prstGeom>
            <a:solidFill>
              <a:schemeClr val="accent2"/>
            </a:solidFill>
            <a:ln w="12700" algn="ctr">
              <a:solidFill>
                <a:schemeClr val="bg1"/>
              </a:solidFill>
              <a:miter lim="800000"/>
              <a:headEnd type="none" w="sm" len="sm"/>
              <a:tailEnd type="none" w="sm" len="sm"/>
            </a:ln>
          </p:spPr>
          <p:txBody>
            <a:bodyPr wrap="none" anchor="ctr"/>
            <a:lstStyle/>
            <a:p>
              <a:pPr algn="ctr"/>
              <a:endParaRPr lang="en-GB" sz="1200">
                <a:solidFill>
                  <a:schemeClr val="tx2"/>
                </a:solidFill>
              </a:endParaRPr>
            </a:p>
          </p:txBody>
        </p:sp>
        <p:sp>
          <p:nvSpPr>
            <p:cNvPr id="33" name="Rectangle 31"/>
            <p:cNvSpPr>
              <a:spLocks noChangeArrowheads="1"/>
            </p:cNvSpPr>
            <p:nvPr/>
          </p:nvSpPr>
          <p:spPr bwMode="auto">
            <a:xfrm>
              <a:off x="7164388" y="2216150"/>
              <a:ext cx="552450" cy="215900"/>
            </a:xfrm>
            <a:prstGeom prst="rect">
              <a:avLst/>
            </a:prstGeom>
            <a:solidFill>
              <a:srgbClr val="FFFFFF"/>
            </a:solidFill>
            <a:ln w="12700">
              <a:solidFill>
                <a:schemeClr val="accent3"/>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85440" name="Text Box 32"/>
            <p:cNvSpPr txBox="1">
              <a:spLocks noChangeArrowheads="1"/>
            </p:cNvSpPr>
            <p:nvPr/>
          </p:nvSpPr>
          <p:spPr bwMode="auto">
            <a:xfrm>
              <a:off x="7848600" y="1608138"/>
              <a:ext cx="184150" cy="276225"/>
            </a:xfrm>
            <a:prstGeom prst="rect">
              <a:avLst/>
            </a:prstGeom>
            <a:noFill/>
            <a:ln w="9525">
              <a:noFill/>
              <a:miter lim="800000"/>
              <a:headEnd type="none" w="sm" len="sm"/>
              <a:tailEnd type="none" w="med" len="lg"/>
            </a:ln>
          </p:spPr>
          <p:txBody>
            <a:bodyPr wrap="none">
              <a:spAutoFit/>
            </a:bodyPr>
            <a:lstStyle/>
            <a:p>
              <a:endParaRPr lang="en-GB" sz="1200">
                <a:solidFill>
                  <a:schemeClr val="tx2"/>
                </a:solidFill>
                <a:ea typeface="ＭＳ Ｐゴシック" charset="-128"/>
              </a:endParaRPr>
            </a:p>
          </p:txBody>
        </p:sp>
        <p:sp>
          <p:nvSpPr>
            <p:cNvPr id="785441" name="Text Box 33"/>
            <p:cNvSpPr txBox="1">
              <a:spLocks noChangeArrowheads="1"/>
            </p:cNvSpPr>
            <p:nvPr/>
          </p:nvSpPr>
          <p:spPr bwMode="auto">
            <a:xfrm>
              <a:off x="7734300" y="1616075"/>
              <a:ext cx="1064715" cy="276999"/>
            </a:xfrm>
            <a:prstGeom prst="rect">
              <a:avLst/>
            </a:prstGeom>
            <a:noFill/>
            <a:ln w="9525">
              <a:noFill/>
              <a:miter lim="800000"/>
              <a:headEnd type="none" w="sm" len="sm"/>
              <a:tailEnd type="none" w="med" len="lg"/>
            </a:ln>
          </p:spPr>
          <p:txBody>
            <a:bodyPr wrap="none">
              <a:spAutoFit/>
            </a:bodyPr>
            <a:lstStyle/>
            <a:p>
              <a:pPr algn="l"/>
              <a:r>
                <a:rPr lang="en-GB" sz="1200" dirty="0">
                  <a:solidFill>
                    <a:schemeClr val="tx2"/>
                  </a:solidFill>
                  <a:ea typeface="ＭＳ Ｐゴシック" charset="-128"/>
                </a:rPr>
                <a:t>Advantaged</a:t>
              </a:r>
            </a:p>
          </p:txBody>
        </p:sp>
        <p:sp>
          <p:nvSpPr>
            <p:cNvPr id="785442" name="Text Box 34"/>
            <p:cNvSpPr txBox="1">
              <a:spLocks noChangeArrowheads="1"/>
            </p:cNvSpPr>
            <p:nvPr/>
          </p:nvSpPr>
          <p:spPr bwMode="auto">
            <a:xfrm>
              <a:off x="7734300" y="2184400"/>
              <a:ext cx="1277914" cy="276999"/>
            </a:xfrm>
            <a:prstGeom prst="rect">
              <a:avLst/>
            </a:prstGeom>
            <a:noFill/>
            <a:ln w="9525">
              <a:noFill/>
              <a:miter lim="800000"/>
              <a:headEnd type="none" w="sm" len="sm"/>
              <a:tailEnd type="none" w="med" len="lg"/>
            </a:ln>
          </p:spPr>
          <p:txBody>
            <a:bodyPr wrap="none">
              <a:spAutoFit/>
            </a:bodyPr>
            <a:lstStyle/>
            <a:p>
              <a:pPr algn="l"/>
              <a:r>
                <a:rPr lang="en-GB" sz="1200" dirty="0">
                  <a:solidFill>
                    <a:schemeClr val="tx2"/>
                  </a:solidFill>
                  <a:ea typeface="ＭＳ Ｐゴシック" charset="-128"/>
                </a:rPr>
                <a:t>Disadvantaged</a:t>
              </a:r>
            </a:p>
          </p:txBody>
        </p:sp>
        <p:sp>
          <p:nvSpPr>
            <p:cNvPr id="37" name="Rectangle 35"/>
            <p:cNvSpPr>
              <a:spLocks noChangeArrowheads="1"/>
            </p:cNvSpPr>
            <p:nvPr/>
          </p:nvSpPr>
          <p:spPr bwMode="auto">
            <a:xfrm>
              <a:off x="7164388" y="2509838"/>
              <a:ext cx="552450" cy="215900"/>
            </a:xfrm>
            <a:prstGeom prst="rect">
              <a:avLst/>
            </a:prstGeom>
            <a:solidFill>
              <a:srgbClr val="FFFFFF"/>
            </a:solidFill>
            <a:ln w="12700">
              <a:solidFill>
                <a:schemeClr val="accent3"/>
              </a:solidFill>
              <a:prstDash val="dash"/>
              <a:miter lim="800000"/>
              <a:headEnd type="none" w="sm" len="sm"/>
              <a:tailEnd type="none" w="sm" len="sm"/>
            </a:ln>
          </p:spPr>
          <p:txBody>
            <a:bodyPr wrap="none" anchor="ctr"/>
            <a:lstStyle/>
            <a:p>
              <a:pPr algn="ctr">
                <a:defRPr/>
              </a:pPr>
              <a:endParaRPr lang="en-GB" sz="1200">
                <a:solidFill>
                  <a:schemeClr val="tx2"/>
                </a:solidFill>
              </a:endParaRPr>
            </a:p>
          </p:txBody>
        </p:sp>
        <p:sp>
          <p:nvSpPr>
            <p:cNvPr id="785444" name="Text Box 36"/>
            <p:cNvSpPr txBox="1">
              <a:spLocks noChangeArrowheads="1"/>
            </p:cNvSpPr>
            <p:nvPr/>
          </p:nvSpPr>
          <p:spPr bwMode="auto">
            <a:xfrm>
              <a:off x="7734300" y="2478088"/>
              <a:ext cx="423863" cy="276225"/>
            </a:xfrm>
            <a:prstGeom prst="rect">
              <a:avLst/>
            </a:prstGeom>
            <a:noFill/>
            <a:ln w="9525">
              <a:noFill/>
              <a:miter lim="800000"/>
              <a:headEnd type="none" w="sm" len="sm"/>
              <a:tailEnd type="none" w="med" len="lg"/>
            </a:ln>
          </p:spPr>
          <p:txBody>
            <a:bodyPr wrap="none">
              <a:spAutoFit/>
            </a:bodyPr>
            <a:lstStyle/>
            <a:p>
              <a:pPr algn="l"/>
              <a:r>
                <a:rPr lang="en-GB" altLang="ja-JP" sz="1200">
                  <a:solidFill>
                    <a:schemeClr val="tx2"/>
                  </a:solidFill>
                  <a:ea typeface="ＭＳ Ｐゴシック" charset="-128"/>
                </a:rPr>
                <a:t>NM</a:t>
              </a:r>
            </a:p>
          </p:txBody>
        </p:sp>
        <p:sp>
          <p:nvSpPr>
            <p:cNvPr id="39" name="Rectangle 37"/>
            <p:cNvSpPr>
              <a:spLocks noChangeArrowheads="1"/>
            </p:cNvSpPr>
            <p:nvPr/>
          </p:nvSpPr>
          <p:spPr bwMode="auto">
            <a:xfrm>
              <a:off x="7164388" y="1928813"/>
              <a:ext cx="552450" cy="215900"/>
            </a:xfrm>
            <a:prstGeom prst="rect">
              <a:avLst/>
            </a:prstGeom>
            <a:solidFill>
              <a:schemeClr val="accent3"/>
            </a:solidFill>
            <a:ln w="12700">
              <a:solidFill>
                <a:schemeClr val="bg1"/>
              </a:solidFill>
              <a:miter lim="800000"/>
              <a:headEnd type="none" w="sm" len="sm"/>
              <a:tailEnd type="none" w="sm" len="sm"/>
            </a:ln>
          </p:spPr>
          <p:txBody>
            <a:bodyPr wrap="none" anchor="ctr"/>
            <a:lstStyle/>
            <a:p>
              <a:pPr algn="ctr">
                <a:defRPr/>
              </a:pPr>
              <a:endParaRPr lang="en-GB" sz="1200">
                <a:solidFill>
                  <a:schemeClr val="tx2"/>
                </a:solidFill>
              </a:endParaRPr>
            </a:p>
          </p:txBody>
        </p:sp>
        <p:sp>
          <p:nvSpPr>
            <p:cNvPr id="785446" name="Text Box 38"/>
            <p:cNvSpPr txBox="1">
              <a:spLocks noChangeArrowheads="1"/>
            </p:cNvSpPr>
            <p:nvPr/>
          </p:nvSpPr>
          <p:spPr bwMode="auto">
            <a:xfrm>
              <a:off x="7734300" y="1901825"/>
              <a:ext cx="783291" cy="276999"/>
            </a:xfrm>
            <a:prstGeom prst="rect">
              <a:avLst/>
            </a:prstGeom>
            <a:noFill/>
            <a:ln w="9525">
              <a:noFill/>
              <a:miter lim="800000"/>
              <a:headEnd type="none" w="sm" len="sm"/>
              <a:tailEnd type="none" w="med" len="lg"/>
            </a:ln>
          </p:spPr>
          <p:txBody>
            <a:bodyPr wrap="none">
              <a:spAutoFit/>
            </a:bodyPr>
            <a:lstStyle/>
            <a:p>
              <a:pPr algn="l"/>
              <a:r>
                <a:rPr lang="en-GB" altLang="ja-JP" sz="1200">
                  <a:solidFill>
                    <a:schemeClr val="tx2"/>
                  </a:solidFill>
                  <a:ea typeface="ＭＳ Ｐゴシック" charset="-128"/>
                </a:rPr>
                <a:t>Average</a:t>
              </a:r>
            </a:p>
          </p:txBody>
        </p:sp>
      </p:grpSp>
      <p:sp>
        <p:nvSpPr>
          <p:cNvPr id="785447" name="Text Box 39"/>
          <p:cNvSpPr txBox="1">
            <a:spLocks noChangeArrowheads="1"/>
          </p:cNvSpPr>
          <p:nvPr/>
        </p:nvSpPr>
        <p:spPr bwMode="auto">
          <a:xfrm>
            <a:off x="1049338" y="1992313"/>
            <a:ext cx="466725" cy="276225"/>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785448" name="Text Box 40"/>
          <p:cNvSpPr txBox="1">
            <a:spLocks noChangeArrowheads="1"/>
          </p:cNvSpPr>
          <p:nvPr/>
        </p:nvSpPr>
        <p:spPr bwMode="auto">
          <a:xfrm>
            <a:off x="1049338" y="2414588"/>
            <a:ext cx="466725" cy="277812"/>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785449" name="Text Box 41"/>
          <p:cNvSpPr txBox="1">
            <a:spLocks noChangeArrowheads="1"/>
          </p:cNvSpPr>
          <p:nvPr/>
        </p:nvSpPr>
        <p:spPr bwMode="auto">
          <a:xfrm>
            <a:off x="1049338" y="2838450"/>
            <a:ext cx="466725" cy="276225"/>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785450" name="Text Box 42"/>
          <p:cNvSpPr txBox="1">
            <a:spLocks noChangeArrowheads="1"/>
          </p:cNvSpPr>
          <p:nvPr/>
        </p:nvSpPr>
        <p:spPr bwMode="auto">
          <a:xfrm>
            <a:off x="1049338" y="3260725"/>
            <a:ext cx="466725" cy="277813"/>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785451" name="Text Box 43"/>
          <p:cNvSpPr txBox="1">
            <a:spLocks noChangeArrowheads="1"/>
          </p:cNvSpPr>
          <p:nvPr/>
        </p:nvSpPr>
        <p:spPr bwMode="auto">
          <a:xfrm>
            <a:off x="1049338" y="3684588"/>
            <a:ext cx="466725" cy="276225"/>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785452" name="Text Box 44"/>
          <p:cNvSpPr txBox="1">
            <a:spLocks noChangeArrowheads="1"/>
          </p:cNvSpPr>
          <p:nvPr/>
        </p:nvSpPr>
        <p:spPr bwMode="auto">
          <a:xfrm>
            <a:off x="1049338" y="4106863"/>
            <a:ext cx="466725" cy="277812"/>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785453" name="Text Box 45"/>
          <p:cNvSpPr txBox="1">
            <a:spLocks noChangeArrowheads="1"/>
          </p:cNvSpPr>
          <p:nvPr/>
        </p:nvSpPr>
        <p:spPr bwMode="auto">
          <a:xfrm>
            <a:off x="1049338" y="4530725"/>
            <a:ext cx="466725" cy="276225"/>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785454" name="Text Box 46"/>
          <p:cNvSpPr txBox="1">
            <a:spLocks noChangeArrowheads="1"/>
          </p:cNvSpPr>
          <p:nvPr/>
        </p:nvSpPr>
        <p:spPr bwMode="auto">
          <a:xfrm>
            <a:off x="1049338" y="4953000"/>
            <a:ext cx="466725" cy="277813"/>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785455" name="Text Box 47"/>
          <p:cNvSpPr txBox="1">
            <a:spLocks noChangeArrowheads="1"/>
          </p:cNvSpPr>
          <p:nvPr/>
        </p:nvSpPr>
        <p:spPr bwMode="auto">
          <a:xfrm>
            <a:off x="1049338" y="5376863"/>
            <a:ext cx="466725" cy="276225"/>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Text</a:t>
            </a:r>
          </a:p>
        </p:txBody>
      </p:sp>
      <p:sp>
        <p:nvSpPr>
          <p:cNvPr id="5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52"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6433" name="Title 1"/>
          <p:cNvSpPr>
            <a:spLocks noGrp="1"/>
          </p:cNvSpPr>
          <p:nvPr>
            <p:ph type="title"/>
          </p:nvPr>
        </p:nvSpPr>
        <p:spPr>
          <a:xfrm>
            <a:off x="414338" y="446038"/>
            <a:ext cx="8330184" cy="333425"/>
          </a:xfrm>
        </p:spPr>
        <p:txBody>
          <a:bodyPr/>
          <a:lstStyle/>
          <a:p>
            <a:r>
              <a:rPr lang="en-GB" altLang="ja-JP"/>
              <a:t>Activity map </a:t>
            </a:r>
            <a:r>
              <a:rPr lang="en-US"/>
              <a:t>—</a:t>
            </a:r>
            <a:r>
              <a:rPr lang="en-GB" altLang="ja-JP" smtClean="0"/>
              <a:t> </a:t>
            </a:r>
            <a:r>
              <a:rPr lang="en-GB" altLang="ja-JP"/>
              <a:t>competitive groups</a:t>
            </a:r>
            <a:endParaRPr lang="nl-NL"/>
          </a:p>
        </p:txBody>
      </p:sp>
      <p:sp>
        <p:nvSpPr>
          <p:cNvPr id="122" name="Text Placeholder 36"/>
          <p:cNvSpPr txBox="1">
            <a:spLocks/>
          </p:cNvSpPr>
          <p:nvPr/>
        </p:nvSpPr>
        <p:spPr bwMode="gray">
          <a:xfrm>
            <a:off x="411479" y="6409189"/>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23"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786437" name="Text Box 5"/>
          <p:cNvSpPr txBox="1">
            <a:spLocks noChangeArrowheads="1"/>
          </p:cNvSpPr>
          <p:nvPr/>
        </p:nvSpPr>
        <p:spPr bwMode="auto">
          <a:xfrm>
            <a:off x="476913" y="5753536"/>
            <a:ext cx="1061806" cy="463846"/>
          </a:xfrm>
          <a:prstGeom prst="rect">
            <a:avLst/>
          </a:prstGeom>
          <a:noFill/>
          <a:ln w="9525" algn="ctr">
            <a:noFill/>
            <a:miter lim="800000"/>
            <a:headEnd/>
            <a:tailEnd/>
          </a:ln>
        </p:spPr>
        <p:txBody>
          <a:bodyPr wrap="none" lIns="90000" tIns="46800" rIns="90000" bIns="46800">
            <a:spAutoFit/>
          </a:bodyPr>
          <a:lstStyle/>
          <a:p>
            <a:pPr algn="r"/>
            <a:r>
              <a:rPr lang="en-GB" altLang="ja-JP" sz="1200" dirty="0" smtClean="0">
                <a:solidFill>
                  <a:schemeClr val="tx2"/>
                </a:solidFill>
                <a:ea typeface="ＭＳ Ｐゴシック" charset="-128"/>
              </a:rPr>
              <a:t>Competitive</a:t>
            </a:r>
            <a:br>
              <a:rPr lang="en-GB" altLang="ja-JP" sz="1200" dirty="0" smtClean="0">
                <a:solidFill>
                  <a:schemeClr val="tx2"/>
                </a:solidFill>
                <a:ea typeface="ＭＳ Ｐゴシック" charset="-128"/>
              </a:rPr>
            </a:br>
            <a:r>
              <a:rPr lang="en-GB" altLang="ja-JP" sz="1200" dirty="0" smtClean="0">
                <a:solidFill>
                  <a:schemeClr val="tx2"/>
                </a:solidFill>
                <a:ea typeface="ＭＳ Ｐゴシック" charset="-128"/>
              </a:rPr>
              <a:t>advantage</a:t>
            </a:r>
            <a:endParaRPr lang="en-GB" altLang="ja-JP" sz="1200" dirty="0">
              <a:solidFill>
                <a:schemeClr val="tx2"/>
              </a:solidFill>
              <a:ea typeface="ＭＳ Ｐゴシック" charset="-128"/>
            </a:endParaRPr>
          </a:p>
        </p:txBody>
      </p:sp>
      <p:sp>
        <p:nvSpPr>
          <p:cNvPr id="71" name="Line 70"/>
          <p:cNvSpPr>
            <a:spLocks noChangeShapeType="1"/>
          </p:cNvSpPr>
          <p:nvPr/>
        </p:nvSpPr>
        <p:spPr bwMode="auto">
          <a:xfrm>
            <a:off x="1538719" y="6006237"/>
            <a:ext cx="444471" cy="0"/>
          </a:xfrm>
          <a:prstGeom prst="line">
            <a:avLst/>
          </a:prstGeom>
          <a:noFill/>
          <a:ln w="12700">
            <a:solidFill>
              <a:schemeClr val="accent3"/>
            </a:solidFill>
            <a:round/>
            <a:headEnd/>
            <a:tailEnd type="triangle" w="med" len="med"/>
          </a:ln>
        </p:spPr>
        <p:txBody>
          <a:bodyPr lIns="90000" tIns="46800" rIns="90000" bIns="46800" anchor="ctr"/>
          <a:lstStyle/>
          <a:p>
            <a:pPr>
              <a:defRPr/>
            </a:pPr>
            <a:endParaRPr lang="en-GB">
              <a:solidFill>
                <a:schemeClr val="tx2"/>
              </a:solidFill>
            </a:endParaRPr>
          </a:p>
        </p:txBody>
      </p:sp>
      <p:sp>
        <p:nvSpPr>
          <p:cNvPr id="786496" name="Rectangle 64"/>
          <p:cNvSpPr>
            <a:spLocks noChangeArrowheads="1"/>
          </p:cNvSpPr>
          <p:nvPr/>
        </p:nvSpPr>
        <p:spPr bwMode="auto">
          <a:xfrm>
            <a:off x="1793673" y="4731764"/>
            <a:ext cx="700045" cy="184666"/>
          </a:xfrm>
          <a:prstGeom prst="rect">
            <a:avLst/>
          </a:prstGeom>
          <a:noFill/>
          <a:ln w="9525">
            <a:noFill/>
            <a:miter lim="800000"/>
            <a:headEnd/>
            <a:tailEnd/>
          </a:ln>
        </p:spPr>
        <p:txBody>
          <a:bodyPr wrap="none" lIns="72000" tIns="0" rIns="72000" bIns="0">
            <a:spAutoFit/>
          </a:bodyPr>
          <a:lstStyle/>
          <a:p>
            <a:pPr algn="r"/>
            <a:r>
              <a:rPr lang="en-GB" altLang="ja-JP" sz="1200">
                <a:solidFill>
                  <a:schemeClr val="tx2"/>
                </a:solidFill>
                <a:ea typeface="ＭＳ Ｐゴシック" charset="-128"/>
              </a:rPr>
              <a:t>Activity</a:t>
            </a:r>
          </a:p>
        </p:txBody>
      </p:sp>
      <p:sp>
        <p:nvSpPr>
          <p:cNvPr id="66" name="Rectangle 65"/>
          <p:cNvSpPr>
            <a:spLocks noChangeArrowheads="1"/>
          </p:cNvSpPr>
          <p:nvPr/>
        </p:nvSpPr>
        <p:spPr bwMode="auto">
          <a:xfrm>
            <a:off x="2645345" y="4746051"/>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67" name="Rectangle 66"/>
          <p:cNvSpPr>
            <a:spLocks noChangeArrowheads="1"/>
          </p:cNvSpPr>
          <p:nvPr/>
        </p:nvSpPr>
        <p:spPr bwMode="auto">
          <a:xfrm>
            <a:off x="2645345" y="4990526"/>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68" name="Rectangle 67"/>
          <p:cNvSpPr>
            <a:spLocks noChangeArrowheads="1"/>
          </p:cNvSpPr>
          <p:nvPr/>
        </p:nvSpPr>
        <p:spPr bwMode="auto">
          <a:xfrm>
            <a:off x="2645345" y="5235001"/>
            <a:ext cx="292100" cy="157163"/>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786500" name="Text Box 68"/>
          <p:cNvSpPr txBox="1">
            <a:spLocks noChangeArrowheads="1"/>
          </p:cNvSpPr>
          <p:nvPr/>
        </p:nvSpPr>
        <p:spPr bwMode="auto">
          <a:xfrm>
            <a:off x="2434607" y="4011035"/>
            <a:ext cx="1659727" cy="463846"/>
          </a:xfrm>
          <a:prstGeom prst="rect">
            <a:avLst/>
          </a:prstGeom>
          <a:noFill/>
          <a:ln w="9525" algn="ctr">
            <a:noFill/>
            <a:miter lim="800000"/>
            <a:headEnd/>
            <a:tailEnd/>
          </a:ln>
        </p:spPr>
        <p:txBody>
          <a:bodyPr wrap="none" lIns="90000" tIns="46800" rIns="90000" bIns="46800">
            <a:spAutoFit/>
          </a:bodyPr>
          <a:lstStyle/>
          <a:p>
            <a:pPr algn="ctr">
              <a:spcBef>
                <a:spcPts val="0"/>
              </a:spcBef>
            </a:pPr>
            <a:r>
              <a:rPr lang="en-GB" altLang="ja-JP" sz="1200" b="1" dirty="0">
                <a:solidFill>
                  <a:schemeClr val="tx2"/>
                </a:solidFill>
                <a:ea typeface="ＭＳ Ｐゴシック" charset="-128"/>
              </a:rPr>
              <a:t>Competitive </a:t>
            </a:r>
            <a:r>
              <a:rPr lang="en-GB" altLang="ja-JP" sz="1200" b="1" dirty="0" smtClean="0">
                <a:solidFill>
                  <a:schemeClr val="tx2"/>
                </a:solidFill>
                <a:ea typeface="ＭＳ Ｐゴシック" charset="-128"/>
              </a:rPr>
              <a:t>group</a:t>
            </a:r>
            <a:endParaRPr lang="en-GB" altLang="ja-JP" sz="1200" b="1" dirty="0">
              <a:solidFill>
                <a:schemeClr val="tx2"/>
              </a:solidFill>
              <a:ea typeface="ＭＳ Ｐゴシック" charset="-128"/>
            </a:endParaRPr>
          </a:p>
          <a:p>
            <a:pPr algn="ctr">
              <a:spcBef>
                <a:spcPts val="0"/>
              </a:spcBef>
            </a:pPr>
            <a:r>
              <a:rPr lang="en-GB" altLang="ja-JP" sz="1200" b="1" dirty="0">
                <a:solidFill>
                  <a:schemeClr val="tx2"/>
                </a:solidFill>
                <a:ea typeface="ＭＳ Ｐゴシック" charset="-128"/>
              </a:rPr>
              <a:t>(sample companies)</a:t>
            </a:r>
          </a:p>
        </p:txBody>
      </p:sp>
      <p:sp>
        <p:nvSpPr>
          <p:cNvPr id="70" name="Rectangle 69"/>
          <p:cNvSpPr>
            <a:spLocks noChangeArrowheads="1"/>
          </p:cNvSpPr>
          <p:nvPr/>
        </p:nvSpPr>
        <p:spPr bwMode="auto">
          <a:xfrm>
            <a:off x="1638732" y="4034847"/>
            <a:ext cx="2921000" cy="1704975"/>
          </a:xfrm>
          <a:prstGeom prst="rect">
            <a:avLst/>
          </a:prstGeom>
          <a:noFill/>
          <a:ln w="12700"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a typeface="ＭＳ Ｐゴシック" pitchFamily="50" charset="-128"/>
            </a:endParaRPr>
          </a:p>
        </p:txBody>
      </p:sp>
      <p:sp>
        <p:nvSpPr>
          <p:cNvPr id="786503" name="Rectangle 71"/>
          <p:cNvSpPr>
            <a:spLocks noChangeArrowheads="1"/>
          </p:cNvSpPr>
          <p:nvPr/>
        </p:nvSpPr>
        <p:spPr bwMode="auto">
          <a:xfrm>
            <a:off x="1793673" y="4976239"/>
            <a:ext cx="700045" cy="184666"/>
          </a:xfrm>
          <a:prstGeom prst="rect">
            <a:avLst/>
          </a:prstGeom>
          <a:noFill/>
          <a:ln w="9525">
            <a:noFill/>
            <a:miter lim="800000"/>
            <a:headEnd/>
            <a:tailEnd/>
          </a:ln>
        </p:spPr>
        <p:txBody>
          <a:bodyPr wrap="none" lIns="72000" tIns="0" rIns="72000" bIns="0">
            <a:spAutoFit/>
          </a:bodyPr>
          <a:lstStyle/>
          <a:p>
            <a:pPr algn="r"/>
            <a:r>
              <a:rPr lang="en-GB" altLang="ja-JP" sz="1200">
                <a:solidFill>
                  <a:schemeClr val="tx2"/>
                </a:solidFill>
                <a:ea typeface="ＭＳ Ｐゴシック" charset="-128"/>
              </a:rPr>
              <a:t>Activity</a:t>
            </a:r>
          </a:p>
        </p:txBody>
      </p:sp>
      <p:sp>
        <p:nvSpPr>
          <p:cNvPr id="786504" name="Rectangle 72"/>
          <p:cNvSpPr>
            <a:spLocks noChangeArrowheads="1"/>
          </p:cNvSpPr>
          <p:nvPr/>
        </p:nvSpPr>
        <p:spPr bwMode="auto">
          <a:xfrm>
            <a:off x="1793673" y="5220714"/>
            <a:ext cx="700045" cy="184666"/>
          </a:xfrm>
          <a:prstGeom prst="rect">
            <a:avLst/>
          </a:prstGeom>
          <a:noFill/>
          <a:ln w="9525">
            <a:noFill/>
            <a:miter lim="800000"/>
            <a:headEnd/>
            <a:tailEnd/>
          </a:ln>
        </p:spPr>
        <p:txBody>
          <a:bodyPr wrap="none" lIns="72000" tIns="0" rIns="72000" bIns="0">
            <a:spAutoFit/>
          </a:bodyPr>
          <a:lstStyle/>
          <a:p>
            <a:pPr algn="r"/>
            <a:r>
              <a:rPr lang="en-GB" altLang="ja-JP" sz="1200">
                <a:solidFill>
                  <a:schemeClr val="tx2"/>
                </a:solidFill>
                <a:ea typeface="ＭＳ Ｐゴシック" charset="-128"/>
              </a:rPr>
              <a:t>Activity</a:t>
            </a:r>
          </a:p>
        </p:txBody>
      </p:sp>
      <p:sp>
        <p:nvSpPr>
          <p:cNvPr id="786505" name="Rectangle 73"/>
          <p:cNvSpPr>
            <a:spLocks noChangeArrowheads="1"/>
          </p:cNvSpPr>
          <p:nvPr/>
        </p:nvSpPr>
        <p:spPr bwMode="auto">
          <a:xfrm>
            <a:off x="1793673" y="5466776"/>
            <a:ext cx="700045" cy="184666"/>
          </a:xfrm>
          <a:prstGeom prst="rect">
            <a:avLst/>
          </a:prstGeom>
          <a:noFill/>
          <a:ln w="9525">
            <a:noFill/>
            <a:miter lim="800000"/>
            <a:headEnd/>
            <a:tailEnd/>
          </a:ln>
        </p:spPr>
        <p:txBody>
          <a:bodyPr wrap="none" lIns="72000" tIns="0" rIns="72000" bIns="0">
            <a:spAutoFit/>
          </a:bodyPr>
          <a:lstStyle/>
          <a:p>
            <a:pPr algn="r"/>
            <a:r>
              <a:rPr lang="en-GB" altLang="ja-JP" sz="1200">
                <a:solidFill>
                  <a:schemeClr val="tx2"/>
                </a:solidFill>
                <a:ea typeface="ＭＳ Ｐゴシック" charset="-128"/>
              </a:rPr>
              <a:t>Activity</a:t>
            </a:r>
          </a:p>
        </p:txBody>
      </p:sp>
      <p:sp>
        <p:nvSpPr>
          <p:cNvPr id="75" name="Rectangle 74"/>
          <p:cNvSpPr>
            <a:spLocks noChangeArrowheads="1"/>
          </p:cNvSpPr>
          <p:nvPr/>
        </p:nvSpPr>
        <p:spPr bwMode="auto">
          <a:xfrm>
            <a:off x="2645345" y="5481064"/>
            <a:ext cx="292100" cy="157162"/>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786507" name="Rectangle 75"/>
          <p:cNvSpPr>
            <a:spLocks noChangeArrowheads="1"/>
          </p:cNvSpPr>
          <p:nvPr/>
        </p:nvSpPr>
        <p:spPr bwMode="auto">
          <a:xfrm>
            <a:off x="1793673" y="4487289"/>
            <a:ext cx="700045" cy="184666"/>
          </a:xfrm>
          <a:prstGeom prst="rect">
            <a:avLst/>
          </a:prstGeom>
          <a:noFill/>
          <a:ln w="9525">
            <a:noFill/>
            <a:miter lim="800000"/>
            <a:headEnd/>
            <a:tailEnd/>
          </a:ln>
        </p:spPr>
        <p:txBody>
          <a:bodyPr wrap="none" lIns="72000" tIns="0" rIns="72000" bIns="0">
            <a:spAutoFit/>
          </a:bodyPr>
          <a:lstStyle/>
          <a:p>
            <a:pPr algn="r"/>
            <a:r>
              <a:rPr lang="en-GB" altLang="ja-JP" sz="1200" dirty="0">
                <a:solidFill>
                  <a:schemeClr val="tx2"/>
                </a:solidFill>
                <a:ea typeface="ＭＳ Ｐゴシック" charset="-128"/>
              </a:rPr>
              <a:t>Activity</a:t>
            </a:r>
          </a:p>
        </p:txBody>
      </p:sp>
      <p:sp>
        <p:nvSpPr>
          <p:cNvPr id="77" name="Rectangle 76"/>
          <p:cNvSpPr>
            <a:spLocks noChangeArrowheads="1"/>
          </p:cNvSpPr>
          <p:nvPr/>
        </p:nvSpPr>
        <p:spPr bwMode="auto">
          <a:xfrm>
            <a:off x="2645345" y="4501576"/>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78" name="Rectangle 77"/>
          <p:cNvSpPr>
            <a:spLocks noChangeArrowheads="1"/>
          </p:cNvSpPr>
          <p:nvPr/>
        </p:nvSpPr>
        <p:spPr bwMode="auto">
          <a:xfrm>
            <a:off x="3112070" y="4746051"/>
            <a:ext cx="290513"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79" name="Rectangle 78"/>
          <p:cNvSpPr>
            <a:spLocks noChangeArrowheads="1"/>
          </p:cNvSpPr>
          <p:nvPr/>
        </p:nvSpPr>
        <p:spPr bwMode="auto">
          <a:xfrm>
            <a:off x="3112070" y="4990526"/>
            <a:ext cx="290513"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80" name="Rectangle 79"/>
          <p:cNvSpPr>
            <a:spLocks noChangeArrowheads="1"/>
          </p:cNvSpPr>
          <p:nvPr/>
        </p:nvSpPr>
        <p:spPr bwMode="auto">
          <a:xfrm>
            <a:off x="3112070" y="5235001"/>
            <a:ext cx="290513" cy="157163"/>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81" name="Rectangle 80"/>
          <p:cNvSpPr>
            <a:spLocks noChangeArrowheads="1"/>
          </p:cNvSpPr>
          <p:nvPr/>
        </p:nvSpPr>
        <p:spPr bwMode="auto">
          <a:xfrm>
            <a:off x="3112070" y="5481064"/>
            <a:ext cx="290513" cy="157162"/>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82" name="Rectangle 81"/>
          <p:cNvSpPr>
            <a:spLocks noChangeArrowheads="1"/>
          </p:cNvSpPr>
          <p:nvPr/>
        </p:nvSpPr>
        <p:spPr bwMode="auto">
          <a:xfrm>
            <a:off x="3112070" y="4501576"/>
            <a:ext cx="290513"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83" name="Rectangle 82"/>
          <p:cNvSpPr>
            <a:spLocks noChangeArrowheads="1"/>
          </p:cNvSpPr>
          <p:nvPr/>
        </p:nvSpPr>
        <p:spPr bwMode="auto">
          <a:xfrm>
            <a:off x="3575620" y="4746051"/>
            <a:ext cx="293688"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84" name="Rectangle 83"/>
          <p:cNvSpPr>
            <a:spLocks noChangeArrowheads="1"/>
          </p:cNvSpPr>
          <p:nvPr/>
        </p:nvSpPr>
        <p:spPr bwMode="auto">
          <a:xfrm>
            <a:off x="3575620" y="4990526"/>
            <a:ext cx="293688"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85" name="Rectangle 84"/>
          <p:cNvSpPr>
            <a:spLocks noChangeArrowheads="1"/>
          </p:cNvSpPr>
          <p:nvPr/>
        </p:nvSpPr>
        <p:spPr bwMode="auto">
          <a:xfrm>
            <a:off x="3575620" y="5235001"/>
            <a:ext cx="293688" cy="157163"/>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86" name="Rectangle 85"/>
          <p:cNvSpPr>
            <a:spLocks noChangeArrowheads="1"/>
          </p:cNvSpPr>
          <p:nvPr/>
        </p:nvSpPr>
        <p:spPr bwMode="auto">
          <a:xfrm>
            <a:off x="3575620" y="5481064"/>
            <a:ext cx="293688" cy="157162"/>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87" name="Rectangle 86"/>
          <p:cNvSpPr>
            <a:spLocks noChangeArrowheads="1"/>
          </p:cNvSpPr>
          <p:nvPr/>
        </p:nvSpPr>
        <p:spPr bwMode="auto">
          <a:xfrm>
            <a:off x="3575620" y="4501576"/>
            <a:ext cx="293688"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88" name="Rectangle 87"/>
          <p:cNvSpPr>
            <a:spLocks noChangeArrowheads="1"/>
          </p:cNvSpPr>
          <p:nvPr/>
        </p:nvSpPr>
        <p:spPr bwMode="auto">
          <a:xfrm>
            <a:off x="4042345" y="4746051"/>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89" name="Rectangle 88"/>
          <p:cNvSpPr>
            <a:spLocks noChangeArrowheads="1"/>
          </p:cNvSpPr>
          <p:nvPr/>
        </p:nvSpPr>
        <p:spPr bwMode="auto">
          <a:xfrm>
            <a:off x="4042345" y="4990526"/>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90" name="Rectangle 89"/>
          <p:cNvSpPr>
            <a:spLocks noChangeArrowheads="1"/>
          </p:cNvSpPr>
          <p:nvPr/>
        </p:nvSpPr>
        <p:spPr bwMode="auto">
          <a:xfrm>
            <a:off x="4042345" y="5235001"/>
            <a:ext cx="292100" cy="157163"/>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91" name="Rectangle 90"/>
          <p:cNvSpPr>
            <a:spLocks noChangeArrowheads="1"/>
          </p:cNvSpPr>
          <p:nvPr/>
        </p:nvSpPr>
        <p:spPr bwMode="auto">
          <a:xfrm>
            <a:off x="4042345" y="5481064"/>
            <a:ext cx="292100" cy="157162"/>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92" name="Rectangle 91"/>
          <p:cNvSpPr>
            <a:spLocks noChangeArrowheads="1"/>
          </p:cNvSpPr>
          <p:nvPr/>
        </p:nvSpPr>
        <p:spPr bwMode="auto">
          <a:xfrm>
            <a:off x="4042345" y="4501576"/>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24" name="Text Box 13"/>
          <p:cNvSpPr txBox="1">
            <a:spLocks noChangeArrowheads="1"/>
          </p:cNvSpPr>
          <p:nvPr/>
        </p:nvSpPr>
        <p:spPr bwMode="auto">
          <a:xfrm>
            <a:off x="1983190" y="5753536"/>
            <a:ext cx="2576542" cy="500779"/>
          </a:xfrm>
          <a:prstGeom prst="rect">
            <a:avLst/>
          </a:prstGeom>
          <a:noFill/>
          <a:ln w="9525" algn="ctr">
            <a:noFill/>
            <a:miter lim="800000"/>
            <a:headEnd/>
            <a:tailEnd/>
          </a:ln>
        </p:spPr>
        <p:txBody>
          <a:bodyPr wrap="square" lIns="90000" tIns="46800" rIns="90000" bIns="46800">
            <a:spAutoFit/>
          </a:bodyPr>
          <a:lstStyle/>
          <a:p>
            <a:pPr marL="117475" indent="-117475" algn="l">
              <a:buFontTx/>
              <a:buChar char="•"/>
            </a:pPr>
            <a:r>
              <a:rPr lang="en-GB" altLang="ja-JP" sz="1200" b="0" dirty="0">
                <a:solidFill>
                  <a:schemeClr val="tx2"/>
                </a:solidFill>
                <a:ea typeface="ＭＳ Ｐゴシック" charset="-128"/>
              </a:rPr>
              <a:t>Text</a:t>
            </a:r>
          </a:p>
          <a:p>
            <a:pPr marL="117475" indent="-117475" algn="l">
              <a:buFontTx/>
              <a:buChar char="•"/>
            </a:pPr>
            <a:r>
              <a:rPr lang="en-GB" altLang="ja-JP" sz="1200" b="0" dirty="0">
                <a:solidFill>
                  <a:schemeClr val="tx2"/>
                </a:solidFill>
                <a:ea typeface="ＭＳ Ｐゴシック" charset="-128"/>
              </a:rPr>
              <a:t>Text</a:t>
            </a:r>
          </a:p>
        </p:txBody>
      </p:sp>
      <p:sp>
        <p:nvSpPr>
          <p:cNvPr id="129" name="Text Box 5"/>
          <p:cNvSpPr txBox="1">
            <a:spLocks noChangeArrowheads="1"/>
          </p:cNvSpPr>
          <p:nvPr/>
        </p:nvSpPr>
        <p:spPr bwMode="auto">
          <a:xfrm>
            <a:off x="476913" y="3310229"/>
            <a:ext cx="1061806" cy="463846"/>
          </a:xfrm>
          <a:prstGeom prst="rect">
            <a:avLst/>
          </a:prstGeom>
          <a:noFill/>
          <a:ln w="9525" algn="ctr">
            <a:noFill/>
            <a:miter lim="800000"/>
            <a:headEnd/>
            <a:tailEnd/>
          </a:ln>
        </p:spPr>
        <p:txBody>
          <a:bodyPr wrap="none" lIns="90000" tIns="46800" rIns="90000" bIns="46800">
            <a:spAutoFit/>
          </a:bodyPr>
          <a:lstStyle/>
          <a:p>
            <a:pPr algn="r"/>
            <a:r>
              <a:rPr lang="en-GB" altLang="ja-JP" sz="1200" dirty="0" smtClean="0">
                <a:solidFill>
                  <a:schemeClr val="tx2"/>
                </a:solidFill>
                <a:ea typeface="ＭＳ Ｐゴシック" charset="-128"/>
              </a:rPr>
              <a:t>Competitive</a:t>
            </a:r>
            <a:br>
              <a:rPr lang="en-GB" altLang="ja-JP" sz="1200" dirty="0" smtClean="0">
                <a:solidFill>
                  <a:schemeClr val="tx2"/>
                </a:solidFill>
                <a:ea typeface="ＭＳ Ｐゴシック" charset="-128"/>
              </a:rPr>
            </a:br>
            <a:r>
              <a:rPr lang="en-GB" altLang="ja-JP" sz="1200" dirty="0" smtClean="0">
                <a:solidFill>
                  <a:schemeClr val="tx2"/>
                </a:solidFill>
                <a:ea typeface="ＭＳ Ｐゴシック" charset="-128"/>
              </a:rPr>
              <a:t>advantage</a:t>
            </a:r>
            <a:endParaRPr lang="en-GB" altLang="ja-JP" sz="1200" dirty="0">
              <a:solidFill>
                <a:schemeClr val="tx2"/>
              </a:solidFill>
              <a:ea typeface="ＭＳ Ｐゴシック" charset="-128"/>
            </a:endParaRPr>
          </a:p>
        </p:txBody>
      </p:sp>
      <p:sp>
        <p:nvSpPr>
          <p:cNvPr id="130" name="Rectangle 64"/>
          <p:cNvSpPr>
            <a:spLocks noChangeArrowheads="1"/>
          </p:cNvSpPr>
          <p:nvPr/>
        </p:nvSpPr>
        <p:spPr bwMode="auto">
          <a:xfrm>
            <a:off x="1793673" y="2288457"/>
            <a:ext cx="700045" cy="184666"/>
          </a:xfrm>
          <a:prstGeom prst="rect">
            <a:avLst/>
          </a:prstGeom>
          <a:noFill/>
          <a:ln w="9525">
            <a:noFill/>
            <a:miter lim="800000"/>
            <a:headEnd/>
            <a:tailEnd/>
          </a:ln>
        </p:spPr>
        <p:txBody>
          <a:bodyPr wrap="none" lIns="72000" tIns="0" rIns="72000" bIns="0">
            <a:spAutoFit/>
          </a:bodyPr>
          <a:lstStyle/>
          <a:p>
            <a:pPr algn="r"/>
            <a:r>
              <a:rPr lang="en-GB" altLang="ja-JP" sz="1200">
                <a:solidFill>
                  <a:schemeClr val="tx2"/>
                </a:solidFill>
                <a:ea typeface="ＭＳ Ｐゴシック" charset="-128"/>
              </a:rPr>
              <a:t>Activity</a:t>
            </a:r>
          </a:p>
        </p:txBody>
      </p:sp>
      <p:sp>
        <p:nvSpPr>
          <p:cNvPr id="131" name="Rectangle 130"/>
          <p:cNvSpPr>
            <a:spLocks noChangeArrowheads="1"/>
          </p:cNvSpPr>
          <p:nvPr/>
        </p:nvSpPr>
        <p:spPr bwMode="auto">
          <a:xfrm>
            <a:off x="2645345" y="2302744"/>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32" name="Rectangle 131"/>
          <p:cNvSpPr>
            <a:spLocks noChangeArrowheads="1"/>
          </p:cNvSpPr>
          <p:nvPr/>
        </p:nvSpPr>
        <p:spPr bwMode="auto">
          <a:xfrm>
            <a:off x="2645345" y="2547219"/>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33" name="Rectangle 132"/>
          <p:cNvSpPr>
            <a:spLocks noChangeArrowheads="1"/>
          </p:cNvSpPr>
          <p:nvPr/>
        </p:nvSpPr>
        <p:spPr bwMode="auto">
          <a:xfrm>
            <a:off x="2645345" y="2791694"/>
            <a:ext cx="292100" cy="157163"/>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34" name="Text Box 68"/>
          <p:cNvSpPr txBox="1">
            <a:spLocks noChangeArrowheads="1"/>
          </p:cNvSpPr>
          <p:nvPr/>
        </p:nvSpPr>
        <p:spPr bwMode="auto">
          <a:xfrm>
            <a:off x="2434607" y="1567728"/>
            <a:ext cx="1659727" cy="463846"/>
          </a:xfrm>
          <a:prstGeom prst="rect">
            <a:avLst/>
          </a:prstGeom>
          <a:noFill/>
          <a:ln w="9525" algn="ctr">
            <a:noFill/>
            <a:miter lim="800000"/>
            <a:headEnd/>
            <a:tailEnd/>
          </a:ln>
        </p:spPr>
        <p:txBody>
          <a:bodyPr wrap="none" lIns="90000" tIns="46800" rIns="90000" bIns="46800">
            <a:spAutoFit/>
          </a:bodyPr>
          <a:lstStyle/>
          <a:p>
            <a:pPr algn="ctr">
              <a:spcBef>
                <a:spcPts val="0"/>
              </a:spcBef>
            </a:pPr>
            <a:r>
              <a:rPr lang="en-GB" altLang="ja-JP" sz="1200" b="1" dirty="0">
                <a:solidFill>
                  <a:schemeClr val="tx2"/>
                </a:solidFill>
                <a:ea typeface="ＭＳ Ｐゴシック" charset="-128"/>
              </a:rPr>
              <a:t>Competitive </a:t>
            </a:r>
            <a:r>
              <a:rPr lang="en-GB" altLang="ja-JP" sz="1200" b="1" dirty="0" smtClean="0">
                <a:solidFill>
                  <a:schemeClr val="tx2"/>
                </a:solidFill>
                <a:ea typeface="ＭＳ Ｐゴシック" charset="-128"/>
              </a:rPr>
              <a:t>group</a:t>
            </a:r>
            <a:endParaRPr lang="en-GB" altLang="ja-JP" sz="1200" b="1" dirty="0">
              <a:solidFill>
                <a:schemeClr val="tx2"/>
              </a:solidFill>
              <a:ea typeface="ＭＳ Ｐゴシック" charset="-128"/>
            </a:endParaRPr>
          </a:p>
          <a:p>
            <a:pPr algn="ctr">
              <a:spcBef>
                <a:spcPts val="0"/>
              </a:spcBef>
            </a:pPr>
            <a:r>
              <a:rPr lang="en-GB" altLang="ja-JP" sz="1200" b="1" dirty="0">
                <a:solidFill>
                  <a:schemeClr val="tx2"/>
                </a:solidFill>
                <a:ea typeface="ＭＳ Ｐゴシック" charset="-128"/>
              </a:rPr>
              <a:t>(sample companies)</a:t>
            </a:r>
          </a:p>
        </p:txBody>
      </p:sp>
      <p:sp>
        <p:nvSpPr>
          <p:cNvPr id="135" name="Rectangle 134"/>
          <p:cNvSpPr>
            <a:spLocks noChangeArrowheads="1"/>
          </p:cNvSpPr>
          <p:nvPr/>
        </p:nvSpPr>
        <p:spPr bwMode="auto">
          <a:xfrm>
            <a:off x="1638732" y="1591540"/>
            <a:ext cx="2921000" cy="1704975"/>
          </a:xfrm>
          <a:prstGeom prst="rect">
            <a:avLst/>
          </a:prstGeom>
          <a:noFill/>
          <a:ln w="12700"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a typeface="ＭＳ Ｐゴシック" pitchFamily="50" charset="-128"/>
            </a:endParaRPr>
          </a:p>
        </p:txBody>
      </p:sp>
      <p:sp>
        <p:nvSpPr>
          <p:cNvPr id="136" name="Line 70"/>
          <p:cNvSpPr>
            <a:spLocks noChangeShapeType="1"/>
          </p:cNvSpPr>
          <p:nvPr/>
        </p:nvSpPr>
        <p:spPr bwMode="auto">
          <a:xfrm>
            <a:off x="1571437" y="3544458"/>
            <a:ext cx="444471" cy="0"/>
          </a:xfrm>
          <a:prstGeom prst="line">
            <a:avLst/>
          </a:prstGeom>
          <a:noFill/>
          <a:ln w="12700">
            <a:solidFill>
              <a:schemeClr val="accent3"/>
            </a:solidFill>
            <a:round/>
            <a:headEnd/>
            <a:tailEnd type="triangle" w="med" len="med"/>
          </a:ln>
        </p:spPr>
        <p:txBody>
          <a:bodyPr lIns="90000" tIns="46800" rIns="90000" bIns="46800" anchor="ctr"/>
          <a:lstStyle/>
          <a:p>
            <a:pPr>
              <a:defRPr/>
            </a:pPr>
            <a:endParaRPr lang="en-GB">
              <a:solidFill>
                <a:schemeClr val="tx2"/>
              </a:solidFill>
            </a:endParaRPr>
          </a:p>
        </p:txBody>
      </p:sp>
      <p:sp>
        <p:nvSpPr>
          <p:cNvPr id="137" name="Rectangle 71"/>
          <p:cNvSpPr>
            <a:spLocks noChangeArrowheads="1"/>
          </p:cNvSpPr>
          <p:nvPr/>
        </p:nvSpPr>
        <p:spPr bwMode="auto">
          <a:xfrm>
            <a:off x="1793673" y="2532932"/>
            <a:ext cx="700045" cy="184666"/>
          </a:xfrm>
          <a:prstGeom prst="rect">
            <a:avLst/>
          </a:prstGeom>
          <a:noFill/>
          <a:ln w="9525">
            <a:noFill/>
            <a:miter lim="800000"/>
            <a:headEnd/>
            <a:tailEnd/>
          </a:ln>
        </p:spPr>
        <p:txBody>
          <a:bodyPr wrap="none" lIns="72000" tIns="0" rIns="72000" bIns="0">
            <a:spAutoFit/>
          </a:bodyPr>
          <a:lstStyle/>
          <a:p>
            <a:pPr algn="r"/>
            <a:r>
              <a:rPr lang="en-GB" altLang="ja-JP" sz="1200">
                <a:solidFill>
                  <a:schemeClr val="tx2"/>
                </a:solidFill>
                <a:ea typeface="ＭＳ Ｐゴシック" charset="-128"/>
              </a:rPr>
              <a:t>Activity</a:t>
            </a:r>
          </a:p>
        </p:txBody>
      </p:sp>
      <p:sp>
        <p:nvSpPr>
          <p:cNvPr id="138" name="Rectangle 72"/>
          <p:cNvSpPr>
            <a:spLocks noChangeArrowheads="1"/>
          </p:cNvSpPr>
          <p:nvPr/>
        </p:nvSpPr>
        <p:spPr bwMode="auto">
          <a:xfrm>
            <a:off x="1793673" y="2777407"/>
            <a:ext cx="700045" cy="184666"/>
          </a:xfrm>
          <a:prstGeom prst="rect">
            <a:avLst/>
          </a:prstGeom>
          <a:noFill/>
          <a:ln w="9525">
            <a:noFill/>
            <a:miter lim="800000"/>
            <a:headEnd/>
            <a:tailEnd/>
          </a:ln>
        </p:spPr>
        <p:txBody>
          <a:bodyPr wrap="none" lIns="72000" tIns="0" rIns="72000" bIns="0">
            <a:spAutoFit/>
          </a:bodyPr>
          <a:lstStyle/>
          <a:p>
            <a:pPr algn="r"/>
            <a:r>
              <a:rPr lang="en-GB" altLang="ja-JP" sz="1200">
                <a:solidFill>
                  <a:schemeClr val="tx2"/>
                </a:solidFill>
                <a:ea typeface="ＭＳ Ｐゴシック" charset="-128"/>
              </a:rPr>
              <a:t>Activity</a:t>
            </a:r>
          </a:p>
        </p:txBody>
      </p:sp>
      <p:sp>
        <p:nvSpPr>
          <p:cNvPr id="139" name="Rectangle 73"/>
          <p:cNvSpPr>
            <a:spLocks noChangeArrowheads="1"/>
          </p:cNvSpPr>
          <p:nvPr/>
        </p:nvSpPr>
        <p:spPr bwMode="auto">
          <a:xfrm>
            <a:off x="1793673" y="3023469"/>
            <a:ext cx="700045" cy="184666"/>
          </a:xfrm>
          <a:prstGeom prst="rect">
            <a:avLst/>
          </a:prstGeom>
          <a:noFill/>
          <a:ln w="9525">
            <a:noFill/>
            <a:miter lim="800000"/>
            <a:headEnd/>
            <a:tailEnd/>
          </a:ln>
        </p:spPr>
        <p:txBody>
          <a:bodyPr wrap="none" lIns="72000" tIns="0" rIns="72000" bIns="0">
            <a:spAutoFit/>
          </a:bodyPr>
          <a:lstStyle/>
          <a:p>
            <a:pPr algn="r"/>
            <a:r>
              <a:rPr lang="en-GB" altLang="ja-JP" sz="1200">
                <a:solidFill>
                  <a:schemeClr val="tx2"/>
                </a:solidFill>
                <a:ea typeface="ＭＳ Ｐゴシック" charset="-128"/>
              </a:rPr>
              <a:t>Activity</a:t>
            </a:r>
          </a:p>
        </p:txBody>
      </p:sp>
      <p:sp>
        <p:nvSpPr>
          <p:cNvPr id="140" name="Rectangle 139"/>
          <p:cNvSpPr>
            <a:spLocks noChangeArrowheads="1"/>
          </p:cNvSpPr>
          <p:nvPr/>
        </p:nvSpPr>
        <p:spPr bwMode="auto">
          <a:xfrm>
            <a:off x="2645345" y="3037757"/>
            <a:ext cx="292100" cy="157162"/>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41" name="Rectangle 75"/>
          <p:cNvSpPr>
            <a:spLocks noChangeArrowheads="1"/>
          </p:cNvSpPr>
          <p:nvPr/>
        </p:nvSpPr>
        <p:spPr bwMode="auto">
          <a:xfrm>
            <a:off x="1793673" y="2043982"/>
            <a:ext cx="700045" cy="184666"/>
          </a:xfrm>
          <a:prstGeom prst="rect">
            <a:avLst/>
          </a:prstGeom>
          <a:noFill/>
          <a:ln w="9525">
            <a:noFill/>
            <a:miter lim="800000"/>
            <a:headEnd/>
            <a:tailEnd/>
          </a:ln>
        </p:spPr>
        <p:txBody>
          <a:bodyPr wrap="none" lIns="72000" tIns="0" rIns="72000" bIns="0">
            <a:spAutoFit/>
          </a:bodyPr>
          <a:lstStyle/>
          <a:p>
            <a:pPr algn="r"/>
            <a:r>
              <a:rPr lang="en-GB" altLang="ja-JP" sz="1200">
                <a:solidFill>
                  <a:schemeClr val="tx2"/>
                </a:solidFill>
                <a:ea typeface="ＭＳ Ｐゴシック" charset="-128"/>
              </a:rPr>
              <a:t>Activity</a:t>
            </a:r>
          </a:p>
        </p:txBody>
      </p:sp>
      <p:sp>
        <p:nvSpPr>
          <p:cNvPr id="142" name="Rectangle 141"/>
          <p:cNvSpPr>
            <a:spLocks noChangeArrowheads="1"/>
          </p:cNvSpPr>
          <p:nvPr/>
        </p:nvSpPr>
        <p:spPr bwMode="auto">
          <a:xfrm>
            <a:off x="2645345" y="2058269"/>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43" name="Rectangle 142"/>
          <p:cNvSpPr>
            <a:spLocks noChangeArrowheads="1"/>
          </p:cNvSpPr>
          <p:nvPr/>
        </p:nvSpPr>
        <p:spPr bwMode="auto">
          <a:xfrm>
            <a:off x="3112070" y="2302744"/>
            <a:ext cx="290513"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44" name="Rectangle 143"/>
          <p:cNvSpPr>
            <a:spLocks noChangeArrowheads="1"/>
          </p:cNvSpPr>
          <p:nvPr/>
        </p:nvSpPr>
        <p:spPr bwMode="auto">
          <a:xfrm>
            <a:off x="3112070" y="2547219"/>
            <a:ext cx="290513"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45" name="Rectangle 144"/>
          <p:cNvSpPr>
            <a:spLocks noChangeArrowheads="1"/>
          </p:cNvSpPr>
          <p:nvPr/>
        </p:nvSpPr>
        <p:spPr bwMode="auto">
          <a:xfrm>
            <a:off x="3112070" y="2791694"/>
            <a:ext cx="290513" cy="157163"/>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46" name="Rectangle 145"/>
          <p:cNvSpPr>
            <a:spLocks noChangeArrowheads="1"/>
          </p:cNvSpPr>
          <p:nvPr/>
        </p:nvSpPr>
        <p:spPr bwMode="auto">
          <a:xfrm>
            <a:off x="3112070" y="3037757"/>
            <a:ext cx="290513" cy="157162"/>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47" name="Rectangle 146"/>
          <p:cNvSpPr>
            <a:spLocks noChangeArrowheads="1"/>
          </p:cNvSpPr>
          <p:nvPr/>
        </p:nvSpPr>
        <p:spPr bwMode="auto">
          <a:xfrm>
            <a:off x="3112070" y="2058269"/>
            <a:ext cx="290513"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48" name="Rectangle 147"/>
          <p:cNvSpPr>
            <a:spLocks noChangeArrowheads="1"/>
          </p:cNvSpPr>
          <p:nvPr/>
        </p:nvSpPr>
        <p:spPr bwMode="auto">
          <a:xfrm>
            <a:off x="3575620" y="2302744"/>
            <a:ext cx="293688"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49" name="Rectangle 148"/>
          <p:cNvSpPr>
            <a:spLocks noChangeArrowheads="1"/>
          </p:cNvSpPr>
          <p:nvPr/>
        </p:nvSpPr>
        <p:spPr bwMode="auto">
          <a:xfrm>
            <a:off x="3575620" y="2547219"/>
            <a:ext cx="293688"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50" name="Rectangle 149"/>
          <p:cNvSpPr>
            <a:spLocks noChangeArrowheads="1"/>
          </p:cNvSpPr>
          <p:nvPr/>
        </p:nvSpPr>
        <p:spPr bwMode="auto">
          <a:xfrm>
            <a:off x="3575620" y="2791694"/>
            <a:ext cx="293688" cy="157163"/>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51" name="Rectangle 150"/>
          <p:cNvSpPr>
            <a:spLocks noChangeArrowheads="1"/>
          </p:cNvSpPr>
          <p:nvPr/>
        </p:nvSpPr>
        <p:spPr bwMode="auto">
          <a:xfrm>
            <a:off x="3575620" y="3037757"/>
            <a:ext cx="293688" cy="157162"/>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52" name="Rectangle 151"/>
          <p:cNvSpPr>
            <a:spLocks noChangeArrowheads="1"/>
          </p:cNvSpPr>
          <p:nvPr/>
        </p:nvSpPr>
        <p:spPr bwMode="auto">
          <a:xfrm>
            <a:off x="3575620" y="2058269"/>
            <a:ext cx="293688"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53" name="Rectangle 152"/>
          <p:cNvSpPr>
            <a:spLocks noChangeArrowheads="1"/>
          </p:cNvSpPr>
          <p:nvPr/>
        </p:nvSpPr>
        <p:spPr bwMode="auto">
          <a:xfrm>
            <a:off x="4042345" y="2302744"/>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54" name="Rectangle 153"/>
          <p:cNvSpPr>
            <a:spLocks noChangeArrowheads="1"/>
          </p:cNvSpPr>
          <p:nvPr/>
        </p:nvSpPr>
        <p:spPr bwMode="auto">
          <a:xfrm>
            <a:off x="4042345" y="2547219"/>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55" name="Rectangle 154"/>
          <p:cNvSpPr>
            <a:spLocks noChangeArrowheads="1"/>
          </p:cNvSpPr>
          <p:nvPr/>
        </p:nvSpPr>
        <p:spPr bwMode="auto">
          <a:xfrm>
            <a:off x="4042345" y="2791694"/>
            <a:ext cx="292100" cy="157163"/>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56" name="Rectangle 155"/>
          <p:cNvSpPr>
            <a:spLocks noChangeArrowheads="1"/>
          </p:cNvSpPr>
          <p:nvPr/>
        </p:nvSpPr>
        <p:spPr bwMode="auto">
          <a:xfrm>
            <a:off x="4042345" y="3037757"/>
            <a:ext cx="292100" cy="157162"/>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57" name="Rectangle 156"/>
          <p:cNvSpPr>
            <a:spLocks noChangeArrowheads="1"/>
          </p:cNvSpPr>
          <p:nvPr/>
        </p:nvSpPr>
        <p:spPr bwMode="auto">
          <a:xfrm>
            <a:off x="4042345" y="2058269"/>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58" name="Text Box 13"/>
          <p:cNvSpPr txBox="1">
            <a:spLocks noChangeArrowheads="1"/>
          </p:cNvSpPr>
          <p:nvPr/>
        </p:nvSpPr>
        <p:spPr bwMode="auto">
          <a:xfrm>
            <a:off x="1983190" y="3310229"/>
            <a:ext cx="2576542" cy="500779"/>
          </a:xfrm>
          <a:prstGeom prst="rect">
            <a:avLst/>
          </a:prstGeom>
          <a:noFill/>
          <a:ln w="9525" algn="ctr">
            <a:noFill/>
            <a:miter lim="800000"/>
            <a:headEnd/>
            <a:tailEnd/>
          </a:ln>
        </p:spPr>
        <p:txBody>
          <a:bodyPr wrap="square" lIns="90000" tIns="46800" rIns="90000" bIns="46800">
            <a:spAutoFit/>
          </a:bodyPr>
          <a:lstStyle/>
          <a:p>
            <a:pPr marL="117475" indent="-117475" algn="l">
              <a:buFontTx/>
              <a:buChar char="•"/>
            </a:pPr>
            <a:r>
              <a:rPr lang="en-GB" altLang="ja-JP" sz="1200" b="0" dirty="0">
                <a:solidFill>
                  <a:schemeClr val="tx2"/>
                </a:solidFill>
                <a:ea typeface="ＭＳ Ｐゴシック" charset="-128"/>
              </a:rPr>
              <a:t>Text</a:t>
            </a:r>
          </a:p>
          <a:p>
            <a:pPr marL="117475" indent="-117475" algn="l">
              <a:buFontTx/>
              <a:buChar char="•"/>
            </a:pPr>
            <a:r>
              <a:rPr lang="en-GB" altLang="ja-JP" sz="1200" b="0" dirty="0">
                <a:solidFill>
                  <a:schemeClr val="tx2"/>
                </a:solidFill>
                <a:ea typeface="ＭＳ Ｐゴシック" charset="-128"/>
              </a:rPr>
              <a:t>Text</a:t>
            </a:r>
          </a:p>
        </p:txBody>
      </p:sp>
      <p:sp>
        <p:nvSpPr>
          <p:cNvPr id="161" name="Rectangle 64"/>
          <p:cNvSpPr>
            <a:spLocks noChangeArrowheads="1"/>
          </p:cNvSpPr>
          <p:nvPr/>
        </p:nvSpPr>
        <p:spPr bwMode="auto">
          <a:xfrm>
            <a:off x="5635713" y="4731764"/>
            <a:ext cx="700045" cy="184666"/>
          </a:xfrm>
          <a:prstGeom prst="rect">
            <a:avLst/>
          </a:prstGeom>
          <a:noFill/>
          <a:ln w="9525">
            <a:noFill/>
            <a:miter lim="800000"/>
            <a:headEnd/>
            <a:tailEnd/>
          </a:ln>
        </p:spPr>
        <p:txBody>
          <a:bodyPr wrap="none" lIns="72000" tIns="0" rIns="72000" bIns="0">
            <a:spAutoFit/>
          </a:bodyPr>
          <a:lstStyle/>
          <a:p>
            <a:pPr algn="r"/>
            <a:r>
              <a:rPr lang="en-GB" altLang="ja-JP" sz="1200">
                <a:solidFill>
                  <a:schemeClr val="tx2"/>
                </a:solidFill>
                <a:ea typeface="ＭＳ Ｐゴシック" charset="-128"/>
              </a:rPr>
              <a:t>Activity</a:t>
            </a:r>
          </a:p>
        </p:txBody>
      </p:sp>
      <p:sp>
        <p:nvSpPr>
          <p:cNvPr id="162" name="Rectangle 161"/>
          <p:cNvSpPr>
            <a:spLocks noChangeArrowheads="1"/>
          </p:cNvSpPr>
          <p:nvPr/>
        </p:nvSpPr>
        <p:spPr bwMode="auto">
          <a:xfrm>
            <a:off x="6487385" y="4746051"/>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63" name="Rectangle 162"/>
          <p:cNvSpPr>
            <a:spLocks noChangeArrowheads="1"/>
          </p:cNvSpPr>
          <p:nvPr/>
        </p:nvSpPr>
        <p:spPr bwMode="auto">
          <a:xfrm>
            <a:off x="6487385" y="4990526"/>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64" name="Rectangle 163"/>
          <p:cNvSpPr>
            <a:spLocks noChangeArrowheads="1"/>
          </p:cNvSpPr>
          <p:nvPr/>
        </p:nvSpPr>
        <p:spPr bwMode="auto">
          <a:xfrm>
            <a:off x="6487385" y="5235001"/>
            <a:ext cx="292100" cy="157163"/>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65" name="Text Box 68"/>
          <p:cNvSpPr txBox="1">
            <a:spLocks noChangeArrowheads="1"/>
          </p:cNvSpPr>
          <p:nvPr/>
        </p:nvSpPr>
        <p:spPr bwMode="auto">
          <a:xfrm>
            <a:off x="6276647" y="4011035"/>
            <a:ext cx="1659727" cy="463846"/>
          </a:xfrm>
          <a:prstGeom prst="rect">
            <a:avLst/>
          </a:prstGeom>
          <a:noFill/>
          <a:ln w="9525" algn="ctr">
            <a:noFill/>
            <a:miter lim="800000"/>
            <a:headEnd/>
            <a:tailEnd/>
          </a:ln>
        </p:spPr>
        <p:txBody>
          <a:bodyPr wrap="none" lIns="90000" tIns="46800" rIns="90000" bIns="46800">
            <a:spAutoFit/>
          </a:bodyPr>
          <a:lstStyle/>
          <a:p>
            <a:pPr algn="ctr">
              <a:spcBef>
                <a:spcPts val="0"/>
              </a:spcBef>
            </a:pPr>
            <a:r>
              <a:rPr lang="en-GB" altLang="ja-JP" sz="1200" b="1" dirty="0">
                <a:solidFill>
                  <a:schemeClr val="tx2"/>
                </a:solidFill>
                <a:ea typeface="ＭＳ Ｐゴシック" charset="-128"/>
              </a:rPr>
              <a:t>Competitive </a:t>
            </a:r>
            <a:r>
              <a:rPr lang="en-GB" altLang="ja-JP" sz="1200" b="1" dirty="0" smtClean="0">
                <a:solidFill>
                  <a:schemeClr val="tx2"/>
                </a:solidFill>
                <a:ea typeface="ＭＳ Ｐゴシック" charset="-128"/>
              </a:rPr>
              <a:t>group</a:t>
            </a:r>
            <a:endParaRPr lang="en-GB" altLang="ja-JP" sz="1200" b="1" dirty="0">
              <a:solidFill>
                <a:schemeClr val="tx2"/>
              </a:solidFill>
              <a:ea typeface="ＭＳ Ｐゴシック" charset="-128"/>
            </a:endParaRPr>
          </a:p>
          <a:p>
            <a:pPr algn="ctr">
              <a:spcBef>
                <a:spcPts val="0"/>
              </a:spcBef>
            </a:pPr>
            <a:r>
              <a:rPr lang="en-GB" altLang="ja-JP" sz="1200" b="1" dirty="0">
                <a:solidFill>
                  <a:schemeClr val="tx2"/>
                </a:solidFill>
                <a:ea typeface="ＭＳ Ｐゴシック" charset="-128"/>
              </a:rPr>
              <a:t>(sample companies)</a:t>
            </a:r>
          </a:p>
        </p:txBody>
      </p:sp>
      <p:sp>
        <p:nvSpPr>
          <p:cNvPr id="166" name="Rectangle 165"/>
          <p:cNvSpPr>
            <a:spLocks noChangeArrowheads="1"/>
          </p:cNvSpPr>
          <p:nvPr/>
        </p:nvSpPr>
        <p:spPr bwMode="auto">
          <a:xfrm>
            <a:off x="5480772" y="4034847"/>
            <a:ext cx="2921000" cy="1704975"/>
          </a:xfrm>
          <a:prstGeom prst="rect">
            <a:avLst/>
          </a:prstGeom>
          <a:noFill/>
          <a:ln w="12700"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a typeface="ＭＳ Ｐゴシック" pitchFamily="50" charset="-128"/>
            </a:endParaRPr>
          </a:p>
        </p:txBody>
      </p:sp>
      <p:sp>
        <p:nvSpPr>
          <p:cNvPr id="167" name="Rectangle 71"/>
          <p:cNvSpPr>
            <a:spLocks noChangeArrowheads="1"/>
          </p:cNvSpPr>
          <p:nvPr/>
        </p:nvSpPr>
        <p:spPr bwMode="auto">
          <a:xfrm>
            <a:off x="5635713" y="4976239"/>
            <a:ext cx="700045" cy="184666"/>
          </a:xfrm>
          <a:prstGeom prst="rect">
            <a:avLst/>
          </a:prstGeom>
          <a:noFill/>
          <a:ln w="9525">
            <a:noFill/>
            <a:miter lim="800000"/>
            <a:headEnd/>
            <a:tailEnd/>
          </a:ln>
        </p:spPr>
        <p:txBody>
          <a:bodyPr wrap="none" lIns="72000" tIns="0" rIns="72000" bIns="0">
            <a:spAutoFit/>
          </a:bodyPr>
          <a:lstStyle/>
          <a:p>
            <a:pPr algn="r"/>
            <a:r>
              <a:rPr lang="en-GB" altLang="ja-JP" sz="1200">
                <a:solidFill>
                  <a:schemeClr val="tx2"/>
                </a:solidFill>
                <a:ea typeface="ＭＳ Ｐゴシック" charset="-128"/>
              </a:rPr>
              <a:t>Activity</a:t>
            </a:r>
          </a:p>
        </p:txBody>
      </p:sp>
      <p:sp>
        <p:nvSpPr>
          <p:cNvPr id="168" name="Rectangle 72"/>
          <p:cNvSpPr>
            <a:spLocks noChangeArrowheads="1"/>
          </p:cNvSpPr>
          <p:nvPr/>
        </p:nvSpPr>
        <p:spPr bwMode="auto">
          <a:xfrm>
            <a:off x="5635713" y="5220714"/>
            <a:ext cx="700045" cy="184666"/>
          </a:xfrm>
          <a:prstGeom prst="rect">
            <a:avLst/>
          </a:prstGeom>
          <a:noFill/>
          <a:ln w="9525">
            <a:noFill/>
            <a:miter lim="800000"/>
            <a:headEnd/>
            <a:tailEnd/>
          </a:ln>
        </p:spPr>
        <p:txBody>
          <a:bodyPr wrap="none" lIns="72000" tIns="0" rIns="72000" bIns="0">
            <a:spAutoFit/>
          </a:bodyPr>
          <a:lstStyle/>
          <a:p>
            <a:pPr algn="r"/>
            <a:r>
              <a:rPr lang="en-GB" altLang="ja-JP" sz="1200">
                <a:solidFill>
                  <a:schemeClr val="tx2"/>
                </a:solidFill>
                <a:ea typeface="ＭＳ Ｐゴシック" charset="-128"/>
              </a:rPr>
              <a:t>Activity</a:t>
            </a:r>
          </a:p>
        </p:txBody>
      </p:sp>
      <p:sp>
        <p:nvSpPr>
          <p:cNvPr id="169" name="Rectangle 73"/>
          <p:cNvSpPr>
            <a:spLocks noChangeArrowheads="1"/>
          </p:cNvSpPr>
          <p:nvPr/>
        </p:nvSpPr>
        <p:spPr bwMode="auto">
          <a:xfrm>
            <a:off x="5635713" y="5466776"/>
            <a:ext cx="700045" cy="184666"/>
          </a:xfrm>
          <a:prstGeom prst="rect">
            <a:avLst/>
          </a:prstGeom>
          <a:noFill/>
          <a:ln w="9525">
            <a:noFill/>
            <a:miter lim="800000"/>
            <a:headEnd/>
            <a:tailEnd/>
          </a:ln>
        </p:spPr>
        <p:txBody>
          <a:bodyPr wrap="none" lIns="72000" tIns="0" rIns="72000" bIns="0">
            <a:spAutoFit/>
          </a:bodyPr>
          <a:lstStyle/>
          <a:p>
            <a:pPr algn="r"/>
            <a:r>
              <a:rPr lang="en-GB" altLang="ja-JP" sz="1200">
                <a:solidFill>
                  <a:schemeClr val="tx2"/>
                </a:solidFill>
                <a:ea typeface="ＭＳ Ｐゴシック" charset="-128"/>
              </a:rPr>
              <a:t>Activity</a:t>
            </a:r>
          </a:p>
        </p:txBody>
      </p:sp>
      <p:sp>
        <p:nvSpPr>
          <p:cNvPr id="170" name="Rectangle 169"/>
          <p:cNvSpPr>
            <a:spLocks noChangeArrowheads="1"/>
          </p:cNvSpPr>
          <p:nvPr/>
        </p:nvSpPr>
        <p:spPr bwMode="auto">
          <a:xfrm>
            <a:off x="6487385" y="5481064"/>
            <a:ext cx="292100" cy="157162"/>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71" name="Rectangle 75"/>
          <p:cNvSpPr>
            <a:spLocks noChangeArrowheads="1"/>
          </p:cNvSpPr>
          <p:nvPr/>
        </p:nvSpPr>
        <p:spPr bwMode="auto">
          <a:xfrm>
            <a:off x="5635713" y="4487289"/>
            <a:ext cx="700045" cy="184666"/>
          </a:xfrm>
          <a:prstGeom prst="rect">
            <a:avLst/>
          </a:prstGeom>
          <a:noFill/>
          <a:ln w="9525">
            <a:noFill/>
            <a:miter lim="800000"/>
            <a:headEnd/>
            <a:tailEnd/>
          </a:ln>
        </p:spPr>
        <p:txBody>
          <a:bodyPr wrap="none" lIns="72000" tIns="0" rIns="72000" bIns="0">
            <a:spAutoFit/>
          </a:bodyPr>
          <a:lstStyle/>
          <a:p>
            <a:pPr algn="r"/>
            <a:r>
              <a:rPr lang="en-GB" altLang="ja-JP" sz="1200" dirty="0">
                <a:solidFill>
                  <a:schemeClr val="tx2"/>
                </a:solidFill>
                <a:ea typeface="ＭＳ Ｐゴシック" charset="-128"/>
              </a:rPr>
              <a:t>Activity</a:t>
            </a:r>
          </a:p>
        </p:txBody>
      </p:sp>
      <p:sp>
        <p:nvSpPr>
          <p:cNvPr id="172" name="Rectangle 171"/>
          <p:cNvSpPr>
            <a:spLocks noChangeArrowheads="1"/>
          </p:cNvSpPr>
          <p:nvPr/>
        </p:nvSpPr>
        <p:spPr bwMode="auto">
          <a:xfrm>
            <a:off x="6487385" y="4501576"/>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73" name="Rectangle 172"/>
          <p:cNvSpPr>
            <a:spLocks noChangeArrowheads="1"/>
          </p:cNvSpPr>
          <p:nvPr/>
        </p:nvSpPr>
        <p:spPr bwMode="auto">
          <a:xfrm>
            <a:off x="6954110" y="4746051"/>
            <a:ext cx="290513"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74" name="Rectangle 173"/>
          <p:cNvSpPr>
            <a:spLocks noChangeArrowheads="1"/>
          </p:cNvSpPr>
          <p:nvPr/>
        </p:nvSpPr>
        <p:spPr bwMode="auto">
          <a:xfrm>
            <a:off x="6954110" y="4990526"/>
            <a:ext cx="290513"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75" name="Rectangle 174"/>
          <p:cNvSpPr>
            <a:spLocks noChangeArrowheads="1"/>
          </p:cNvSpPr>
          <p:nvPr/>
        </p:nvSpPr>
        <p:spPr bwMode="auto">
          <a:xfrm>
            <a:off x="6954110" y="5235001"/>
            <a:ext cx="290513" cy="157163"/>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76" name="Rectangle 175"/>
          <p:cNvSpPr>
            <a:spLocks noChangeArrowheads="1"/>
          </p:cNvSpPr>
          <p:nvPr/>
        </p:nvSpPr>
        <p:spPr bwMode="auto">
          <a:xfrm>
            <a:off x="6954110" y="5481064"/>
            <a:ext cx="290513" cy="157162"/>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77" name="Rectangle 176"/>
          <p:cNvSpPr>
            <a:spLocks noChangeArrowheads="1"/>
          </p:cNvSpPr>
          <p:nvPr/>
        </p:nvSpPr>
        <p:spPr bwMode="auto">
          <a:xfrm>
            <a:off x="6954110" y="4501576"/>
            <a:ext cx="290513"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78" name="Rectangle 177"/>
          <p:cNvSpPr>
            <a:spLocks noChangeArrowheads="1"/>
          </p:cNvSpPr>
          <p:nvPr/>
        </p:nvSpPr>
        <p:spPr bwMode="auto">
          <a:xfrm>
            <a:off x="7417660" y="4746051"/>
            <a:ext cx="293688"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79" name="Rectangle 178"/>
          <p:cNvSpPr>
            <a:spLocks noChangeArrowheads="1"/>
          </p:cNvSpPr>
          <p:nvPr/>
        </p:nvSpPr>
        <p:spPr bwMode="auto">
          <a:xfrm>
            <a:off x="7417660" y="4990526"/>
            <a:ext cx="293688"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80" name="Rectangle 179"/>
          <p:cNvSpPr>
            <a:spLocks noChangeArrowheads="1"/>
          </p:cNvSpPr>
          <p:nvPr/>
        </p:nvSpPr>
        <p:spPr bwMode="auto">
          <a:xfrm>
            <a:off x="7417660" y="5235001"/>
            <a:ext cx="293688" cy="157163"/>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81" name="Rectangle 180"/>
          <p:cNvSpPr>
            <a:spLocks noChangeArrowheads="1"/>
          </p:cNvSpPr>
          <p:nvPr/>
        </p:nvSpPr>
        <p:spPr bwMode="auto">
          <a:xfrm>
            <a:off x="7417660" y="5481064"/>
            <a:ext cx="293688" cy="157162"/>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82" name="Rectangle 181"/>
          <p:cNvSpPr>
            <a:spLocks noChangeArrowheads="1"/>
          </p:cNvSpPr>
          <p:nvPr/>
        </p:nvSpPr>
        <p:spPr bwMode="auto">
          <a:xfrm>
            <a:off x="7417660" y="4501576"/>
            <a:ext cx="293688"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83" name="Rectangle 182"/>
          <p:cNvSpPr>
            <a:spLocks noChangeArrowheads="1"/>
          </p:cNvSpPr>
          <p:nvPr/>
        </p:nvSpPr>
        <p:spPr bwMode="auto">
          <a:xfrm>
            <a:off x="7884385" y="4746051"/>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84" name="Rectangle 183"/>
          <p:cNvSpPr>
            <a:spLocks noChangeArrowheads="1"/>
          </p:cNvSpPr>
          <p:nvPr/>
        </p:nvSpPr>
        <p:spPr bwMode="auto">
          <a:xfrm>
            <a:off x="7884385" y="4990526"/>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85" name="Rectangle 184"/>
          <p:cNvSpPr>
            <a:spLocks noChangeArrowheads="1"/>
          </p:cNvSpPr>
          <p:nvPr/>
        </p:nvSpPr>
        <p:spPr bwMode="auto">
          <a:xfrm>
            <a:off x="7884385" y="5235001"/>
            <a:ext cx="292100" cy="157163"/>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86" name="Rectangle 185"/>
          <p:cNvSpPr>
            <a:spLocks noChangeArrowheads="1"/>
          </p:cNvSpPr>
          <p:nvPr/>
        </p:nvSpPr>
        <p:spPr bwMode="auto">
          <a:xfrm>
            <a:off x="7884385" y="5481064"/>
            <a:ext cx="292100" cy="157162"/>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87" name="Rectangle 186"/>
          <p:cNvSpPr>
            <a:spLocks noChangeArrowheads="1"/>
          </p:cNvSpPr>
          <p:nvPr/>
        </p:nvSpPr>
        <p:spPr bwMode="auto">
          <a:xfrm>
            <a:off x="7884385" y="4501576"/>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88" name="Text Box 13"/>
          <p:cNvSpPr txBox="1">
            <a:spLocks noChangeArrowheads="1"/>
          </p:cNvSpPr>
          <p:nvPr/>
        </p:nvSpPr>
        <p:spPr bwMode="auto">
          <a:xfrm>
            <a:off x="5825230" y="5753536"/>
            <a:ext cx="2576542" cy="500779"/>
          </a:xfrm>
          <a:prstGeom prst="rect">
            <a:avLst/>
          </a:prstGeom>
          <a:noFill/>
          <a:ln w="9525" algn="ctr">
            <a:noFill/>
            <a:miter lim="800000"/>
            <a:headEnd/>
            <a:tailEnd/>
          </a:ln>
        </p:spPr>
        <p:txBody>
          <a:bodyPr wrap="square" lIns="90000" tIns="46800" rIns="90000" bIns="46800">
            <a:spAutoFit/>
          </a:bodyPr>
          <a:lstStyle/>
          <a:p>
            <a:pPr marL="117475" indent="-117475" algn="l">
              <a:buFontTx/>
              <a:buChar char="•"/>
            </a:pPr>
            <a:r>
              <a:rPr lang="en-GB" altLang="ja-JP" sz="1200" b="0" dirty="0">
                <a:solidFill>
                  <a:schemeClr val="tx2"/>
                </a:solidFill>
                <a:ea typeface="ＭＳ Ｐゴシック" charset="-128"/>
              </a:rPr>
              <a:t>Text</a:t>
            </a:r>
          </a:p>
          <a:p>
            <a:pPr marL="117475" indent="-117475" algn="l">
              <a:buFontTx/>
              <a:buChar char="•"/>
            </a:pPr>
            <a:r>
              <a:rPr lang="en-GB" altLang="ja-JP" sz="1200" b="0" dirty="0">
                <a:solidFill>
                  <a:schemeClr val="tx2"/>
                </a:solidFill>
                <a:ea typeface="ＭＳ Ｐゴシック" charset="-128"/>
              </a:rPr>
              <a:t>Text</a:t>
            </a:r>
          </a:p>
        </p:txBody>
      </p:sp>
      <p:sp>
        <p:nvSpPr>
          <p:cNvPr id="190" name="Rectangle 64"/>
          <p:cNvSpPr>
            <a:spLocks noChangeArrowheads="1"/>
          </p:cNvSpPr>
          <p:nvPr/>
        </p:nvSpPr>
        <p:spPr bwMode="auto">
          <a:xfrm>
            <a:off x="5635713" y="2288457"/>
            <a:ext cx="700045" cy="184666"/>
          </a:xfrm>
          <a:prstGeom prst="rect">
            <a:avLst/>
          </a:prstGeom>
          <a:noFill/>
          <a:ln w="9525">
            <a:noFill/>
            <a:miter lim="800000"/>
            <a:headEnd/>
            <a:tailEnd/>
          </a:ln>
        </p:spPr>
        <p:txBody>
          <a:bodyPr wrap="none" lIns="72000" tIns="0" rIns="72000" bIns="0">
            <a:spAutoFit/>
          </a:bodyPr>
          <a:lstStyle/>
          <a:p>
            <a:pPr algn="r"/>
            <a:r>
              <a:rPr lang="en-GB" altLang="ja-JP" sz="1200">
                <a:solidFill>
                  <a:schemeClr val="tx2"/>
                </a:solidFill>
                <a:ea typeface="ＭＳ Ｐゴシック" charset="-128"/>
              </a:rPr>
              <a:t>Activity</a:t>
            </a:r>
          </a:p>
        </p:txBody>
      </p:sp>
      <p:sp>
        <p:nvSpPr>
          <p:cNvPr id="191" name="Rectangle 190"/>
          <p:cNvSpPr>
            <a:spLocks noChangeArrowheads="1"/>
          </p:cNvSpPr>
          <p:nvPr/>
        </p:nvSpPr>
        <p:spPr bwMode="auto">
          <a:xfrm>
            <a:off x="6487385" y="2302744"/>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92" name="Rectangle 191"/>
          <p:cNvSpPr>
            <a:spLocks noChangeArrowheads="1"/>
          </p:cNvSpPr>
          <p:nvPr/>
        </p:nvSpPr>
        <p:spPr bwMode="auto">
          <a:xfrm>
            <a:off x="6487385" y="2547219"/>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93" name="Rectangle 192"/>
          <p:cNvSpPr>
            <a:spLocks noChangeArrowheads="1"/>
          </p:cNvSpPr>
          <p:nvPr/>
        </p:nvSpPr>
        <p:spPr bwMode="auto">
          <a:xfrm>
            <a:off x="6487385" y="2791694"/>
            <a:ext cx="292100" cy="157163"/>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94" name="Text Box 68"/>
          <p:cNvSpPr txBox="1">
            <a:spLocks noChangeArrowheads="1"/>
          </p:cNvSpPr>
          <p:nvPr/>
        </p:nvSpPr>
        <p:spPr bwMode="auto">
          <a:xfrm>
            <a:off x="6276647" y="1567728"/>
            <a:ext cx="1659727" cy="463846"/>
          </a:xfrm>
          <a:prstGeom prst="rect">
            <a:avLst/>
          </a:prstGeom>
          <a:noFill/>
          <a:ln w="9525" algn="ctr">
            <a:noFill/>
            <a:miter lim="800000"/>
            <a:headEnd/>
            <a:tailEnd/>
          </a:ln>
        </p:spPr>
        <p:txBody>
          <a:bodyPr wrap="none" lIns="90000" tIns="46800" rIns="90000" bIns="46800">
            <a:spAutoFit/>
          </a:bodyPr>
          <a:lstStyle/>
          <a:p>
            <a:pPr algn="ctr">
              <a:spcBef>
                <a:spcPts val="0"/>
              </a:spcBef>
            </a:pPr>
            <a:r>
              <a:rPr lang="en-GB" altLang="ja-JP" sz="1200" b="1" dirty="0">
                <a:solidFill>
                  <a:schemeClr val="tx2"/>
                </a:solidFill>
                <a:ea typeface="ＭＳ Ｐゴシック" charset="-128"/>
              </a:rPr>
              <a:t>Competitive </a:t>
            </a:r>
            <a:r>
              <a:rPr lang="en-GB" altLang="ja-JP" sz="1200" b="1" dirty="0" smtClean="0">
                <a:solidFill>
                  <a:schemeClr val="tx2"/>
                </a:solidFill>
                <a:ea typeface="ＭＳ Ｐゴシック" charset="-128"/>
              </a:rPr>
              <a:t>group</a:t>
            </a:r>
            <a:endParaRPr lang="en-GB" altLang="ja-JP" sz="1200" b="1" dirty="0">
              <a:solidFill>
                <a:schemeClr val="tx2"/>
              </a:solidFill>
              <a:ea typeface="ＭＳ Ｐゴシック" charset="-128"/>
            </a:endParaRPr>
          </a:p>
          <a:p>
            <a:pPr algn="ctr">
              <a:spcBef>
                <a:spcPts val="0"/>
              </a:spcBef>
            </a:pPr>
            <a:r>
              <a:rPr lang="en-GB" altLang="ja-JP" sz="1200" b="1" dirty="0">
                <a:solidFill>
                  <a:schemeClr val="tx2"/>
                </a:solidFill>
                <a:ea typeface="ＭＳ Ｐゴシック" charset="-128"/>
              </a:rPr>
              <a:t>(sample companies)</a:t>
            </a:r>
          </a:p>
        </p:txBody>
      </p:sp>
      <p:sp>
        <p:nvSpPr>
          <p:cNvPr id="195" name="Rectangle 194"/>
          <p:cNvSpPr>
            <a:spLocks noChangeArrowheads="1"/>
          </p:cNvSpPr>
          <p:nvPr/>
        </p:nvSpPr>
        <p:spPr bwMode="auto">
          <a:xfrm>
            <a:off x="5480772" y="1591540"/>
            <a:ext cx="2921000" cy="1704975"/>
          </a:xfrm>
          <a:prstGeom prst="rect">
            <a:avLst/>
          </a:prstGeom>
          <a:noFill/>
          <a:ln w="12700"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a typeface="ＭＳ Ｐゴシック" pitchFamily="50" charset="-128"/>
            </a:endParaRPr>
          </a:p>
        </p:txBody>
      </p:sp>
      <p:sp>
        <p:nvSpPr>
          <p:cNvPr id="196" name="Rectangle 71"/>
          <p:cNvSpPr>
            <a:spLocks noChangeArrowheads="1"/>
          </p:cNvSpPr>
          <p:nvPr/>
        </p:nvSpPr>
        <p:spPr bwMode="auto">
          <a:xfrm>
            <a:off x="5635713" y="2532932"/>
            <a:ext cx="700045" cy="184666"/>
          </a:xfrm>
          <a:prstGeom prst="rect">
            <a:avLst/>
          </a:prstGeom>
          <a:noFill/>
          <a:ln w="9525">
            <a:noFill/>
            <a:miter lim="800000"/>
            <a:headEnd/>
            <a:tailEnd/>
          </a:ln>
        </p:spPr>
        <p:txBody>
          <a:bodyPr wrap="none" lIns="72000" tIns="0" rIns="72000" bIns="0">
            <a:spAutoFit/>
          </a:bodyPr>
          <a:lstStyle/>
          <a:p>
            <a:pPr algn="r"/>
            <a:r>
              <a:rPr lang="en-GB" altLang="ja-JP" sz="1200">
                <a:solidFill>
                  <a:schemeClr val="tx2"/>
                </a:solidFill>
                <a:ea typeface="ＭＳ Ｐゴシック" charset="-128"/>
              </a:rPr>
              <a:t>Activity</a:t>
            </a:r>
          </a:p>
        </p:txBody>
      </p:sp>
      <p:sp>
        <p:nvSpPr>
          <p:cNvPr id="197" name="Rectangle 72"/>
          <p:cNvSpPr>
            <a:spLocks noChangeArrowheads="1"/>
          </p:cNvSpPr>
          <p:nvPr/>
        </p:nvSpPr>
        <p:spPr bwMode="auto">
          <a:xfrm>
            <a:off x="5635713" y="2777407"/>
            <a:ext cx="700045" cy="184666"/>
          </a:xfrm>
          <a:prstGeom prst="rect">
            <a:avLst/>
          </a:prstGeom>
          <a:noFill/>
          <a:ln w="9525">
            <a:noFill/>
            <a:miter lim="800000"/>
            <a:headEnd/>
            <a:tailEnd/>
          </a:ln>
        </p:spPr>
        <p:txBody>
          <a:bodyPr wrap="none" lIns="72000" tIns="0" rIns="72000" bIns="0">
            <a:spAutoFit/>
          </a:bodyPr>
          <a:lstStyle/>
          <a:p>
            <a:pPr algn="r"/>
            <a:r>
              <a:rPr lang="en-GB" altLang="ja-JP" sz="1200">
                <a:solidFill>
                  <a:schemeClr val="tx2"/>
                </a:solidFill>
                <a:ea typeface="ＭＳ Ｐゴシック" charset="-128"/>
              </a:rPr>
              <a:t>Activity</a:t>
            </a:r>
          </a:p>
        </p:txBody>
      </p:sp>
      <p:sp>
        <p:nvSpPr>
          <p:cNvPr id="198" name="Rectangle 73"/>
          <p:cNvSpPr>
            <a:spLocks noChangeArrowheads="1"/>
          </p:cNvSpPr>
          <p:nvPr/>
        </p:nvSpPr>
        <p:spPr bwMode="auto">
          <a:xfrm>
            <a:off x="5635713" y="3023469"/>
            <a:ext cx="700045" cy="184666"/>
          </a:xfrm>
          <a:prstGeom prst="rect">
            <a:avLst/>
          </a:prstGeom>
          <a:noFill/>
          <a:ln w="9525">
            <a:noFill/>
            <a:miter lim="800000"/>
            <a:headEnd/>
            <a:tailEnd/>
          </a:ln>
        </p:spPr>
        <p:txBody>
          <a:bodyPr wrap="none" lIns="72000" tIns="0" rIns="72000" bIns="0">
            <a:spAutoFit/>
          </a:bodyPr>
          <a:lstStyle/>
          <a:p>
            <a:pPr algn="r"/>
            <a:r>
              <a:rPr lang="en-GB" altLang="ja-JP" sz="1200">
                <a:solidFill>
                  <a:schemeClr val="tx2"/>
                </a:solidFill>
                <a:ea typeface="ＭＳ Ｐゴシック" charset="-128"/>
              </a:rPr>
              <a:t>Activity</a:t>
            </a:r>
          </a:p>
        </p:txBody>
      </p:sp>
      <p:sp>
        <p:nvSpPr>
          <p:cNvPr id="199" name="Rectangle 198"/>
          <p:cNvSpPr>
            <a:spLocks noChangeArrowheads="1"/>
          </p:cNvSpPr>
          <p:nvPr/>
        </p:nvSpPr>
        <p:spPr bwMode="auto">
          <a:xfrm>
            <a:off x="6487385" y="3037757"/>
            <a:ext cx="292100" cy="157162"/>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200" name="Rectangle 75"/>
          <p:cNvSpPr>
            <a:spLocks noChangeArrowheads="1"/>
          </p:cNvSpPr>
          <p:nvPr/>
        </p:nvSpPr>
        <p:spPr bwMode="auto">
          <a:xfrm>
            <a:off x="5635713" y="2043982"/>
            <a:ext cx="700045" cy="184666"/>
          </a:xfrm>
          <a:prstGeom prst="rect">
            <a:avLst/>
          </a:prstGeom>
          <a:noFill/>
          <a:ln w="9525">
            <a:noFill/>
            <a:miter lim="800000"/>
            <a:headEnd/>
            <a:tailEnd/>
          </a:ln>
        </p:spPr>
        <p:txBody>
          <a:bodyPr wrap="none" lIns="72000" tIns="0" rIns="72000" bIns="0">
            <a:spAutoFit/>
          </a:bodyPr>
          <a:lstStyle/>
          <a:p>
            <a:pPr algn="r"/>
            <a:r>
              <a:rPr lang="en-GB" altLang="ja-JP" sz="1200" dirty="0">
                <a:solidFill>
                  <a:schemeClr val="tx2"/>
                </a:solidFill>
                <a:ea typeface="ＭＳ Ｐゴシック" charset="-128"/>
              </a:rPr>
              <a:t>Activity</a:t>
            </a:r>
          </a:p>
        </p:txBody>
      </p:sp>
      <p:sp>
        <p:nvSpPr>
          <p:cNvPr id="201" name="Rectangle 200"/>
          <p:cNvSpPr>
            <a:spLocks noChangeArrowheads="1"/>
          </p:cNvSpPr>
          <p:nvPr/>
        </p:nvSpPr>
        <p:spPr bwMode="auto">
          <a:xfrm>
            <a:off x="6487385" y="2058269"/>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202" name="Rectangle 201"/>
          <p:cNvSpPr>
            <a:spLocks noChangeArrowheads="1"/>
          </p:cNvSpPr>
          <p:nvPr/>
        </p:nvSpPr>
        <p:spPr bwMode="auto">
          <a:xfrm>
            <a:off x="6954110" y="2302744"/>
            <a:ext cx="290513"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203" name="Rectangle 202"/>
          <p:cNvSpPr>
            <a:spLocks noChangeArrowheads="1"/>
          </p:cNvSpPr>
          <p:nvPr/>
        </p:nvSpPr>
        <p:spPr bwMode="auto">
          <a:xfrm>
            <a:off x="6954110" y="2547219"/>
            <a:ext cx="290513"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204" name="Rectangle 203"/>
          <p:cNvSpPr>
            <a:spLocks noChangeArrowheads="1"/>
          </p:cNvSpPr>
          <p:nvPr/>
        </p:nvSpPr>
        <p:spPr bwMode="auto">
          <a:xfrm>
            <a:off x="6954110" y="2791694"/>
            <a:ext cx="290513" cy="157163"/>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205" name="Rectangle 204"/>
          <p:cNvSpPr>
            <a:spLocks noChangeArrowheads="1"/>
          </p:cNvSpPr>
          <p:nvPr/>
        </p:nvSpPr>
        <p:spPr bwMode="auto">
          <a:xfrm>
            <a:off x="6954110" y="3037757"/>
            <a:ext cx="290513" cy="157162"/>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206" name="Rectangle 205"/>
          <p:cNvSpPr>
            <a:spLocks noChangeArrowheads="1"/>
          </p:cNvSpPr>
          <p:nvPr/>
        </p:nvSpPr>
        <p:spPr bwMode="auto">
          <a:xfrm>
            <a:off x="6954110" y="2058269"/>
            <a:ext cx="290513"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207" name="Rectangle 206"/>
          <p:cNvSpPr>
            <a:spLocks noChangeArrowheads="1"/>
          </p:cNvSpPr>
          <p:nvPr/>
        </p:nvSpPr>
        <p:spPr bwMode="auto">
          <a:xfrm>
            <a:off x="7417660" y="2302744"/>
            <a:ext cx="293688"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208" name="Rectangle 207"/>
          <p:cNvSpPr>
            <a:spLocks noChangeArrowheads="1"/>
          </p:cNvSpPr>
          <p:nvPr/>
        </p:nvSpPr>
        <p:spPr bwMode="auto">
          <a:xfrm>
            <a:off x="7417660" y="2547219"/>
            <a:ext cx="293688"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209" name="Rectangle 208"/>
          <p:cNvSpPr>
            <a:spLocks noChangeArrowheads="1"/>
          </p:cNvSpPr>
          <p:nvPr/>
        </p:nvSpPr>
        <p:spPr bwMode="auto">
          <a:xfrm>
            <a:off x="7417660" y="2791694"/>
            <a:ext cx="293688" cy="157163"/>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210" name="Rectangle 209"/>
          <p:cNvSpPr>
            <a:spLocks noChangeArrowheads="1"/>
          </p:cNvSpPr>
          <p:nvPr/>
        </p:nvSpPr>
        <p:spPr bwMode="auto">
          <a:xfrm>
            <a:off x="7417660" y="3037757"/>
            <a:ext cx="293688" cy="157162"/>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211" name="Rectangle 210"/>
          <p:cNvSpPr>
            <a:spLocks noChangeArrowheads="1"/>
          </p:cNvSpPr>
          <p:nvPr/>
        </p:nvSpPr>
        <p:spPr bwMode="auto">
          <a:xfrm>
            <a:off x="7417660" y="2058269"/>
            <a:ext cx="293688"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212" name="Rectangle 211"/>
          <p:cNvSpPr>
            <a:spLocks noChangeArrowheads="1"/>
          </p:cNvSpPr>
          <p:nvPr/>
        </p:nvSpPr>
        <p:spPr bwMode="auto">
          <a:xfrm>
            <a:off x="7884385" y="2302744"/>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213" name="Rectangle 212"/>
          <p:cNvSpPr>
            <a:spLocks noChangeArrowheads="1"/>
          </p:cNvSpPr>
          <p:nvPr/>
        </p:nvSpPr>
        <p:spPr bwMode="auto">
          <a:xfrm>
            <a:off x="7884385" y="2547219"/>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214" name="Rectangle 213"/>
          <p:cNvSpPr>
            <a:spLocks noChangeArrowheads="1"/>
          </p:cNvSpPr>
          <p:nvPr/>
        </p:nvSpPr>
        <p:spPr bwMode="auto">
          <a:xfrm>
            <a:off x="7884385" y="2791694"/>
            <a:ext cx="292100" cy="157163"/>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215" name="Rectangle 214"/>
          <p:cNvSpPr>
            <a:spLocks noChangeArrowheads="1"/>
          </p:cNvSpPr>
          <p:nvPr/>
        </p:nvSpPr>
        <p:spPr bwMode="auto">
          <a:xfrm>
            <a:off x="7884385" y="3037757"/>
            <a:ext cx="292100" cy="157162"/>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216" name="Rectangle 215"/>
          <p:cNvSpPr>
            <a:spLocks noChangeArrowheads="1"/>
          </p:cNvSpPr>
          <p:nvPr/>
        </p:nvSpPr>
        <p:spPr bwMode="auto">
          <a:xfrm>
            <a:off x="7884385" y="2058269"/>
            <a:ext cx="292100" cy="155575"/>
          </a:xfrm>
          <a:prstGeom prst="rect">
            <a:avLst/>
          </a:prstGeom>
          <a:solidFill>
            <a:schemeClr val="bg1"/>
          </a:solidFill>
          <a:ln w="9525"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217" name="Text Box 13"/>
          <p:cNvSpPr txBox="1">
            <a:spLocks noChangeArrowheads="1"/>
          </p:cNvSpPr>
          <p:nvPr/>
        </p:nvSpPr>
        <p:spPr bwMode="auto">
          <a:xfrm>
            <a:off x="5825230" y="3310229"/>
            <a:ext cx="2576542" cy="500779"/>
          </a:xfrm>
          <a:prstGeom prst="rect">
            <a:avLst/>
          </a:prstGeom>
          <a:noFill/>
          <a:ln w="9525" algn="ctr">
            <a:noFill/>
            <a:miter lim="800000"/>
            <a:headEnd/>
            <a:tailEnd/>
          </a:ln>
        </p:spPr>
        <p:txBody>
          <a:bodyPr wrap="square" lIns="90000" tIns="46800" rIns="90000" bIns="46800">
            <a:spAutoFit/>
          </a:bodyPr>
          <a:lstStyle/>
          <a:p>
            <a:pPr marL="117475" indent="-117475" algn="l">
              <a:buFontTx/>
              <a:buChar char="•"/>
            </a:pPr>
            <a:r>
              <a:rPr lang="en-GB" altLang="ja-JP" sz="1200" b="0" dirty="0">
                <a:solidFill>
                  <a:schemeClr val="tx2"/>
                </a:solidFill>
                <a:ea typeface="ＭＳ Ｐゴシック" charset="-128"/>
              </a:rPr>
              <a:t>Text</a:t>
            </a:r>
          </a:p>
          <a:p>
            <a:pPr marL="117475" indent="-117475" algn="l">
              <a:buFontTx/>
              <a:buChar char="•"/>
            </a:pPr>
            <a:r>
              <a:rPr lang="en-GB" altLang="ja-JP" sz="1200" b="0" dirty="0">
                <a:solidFill>
                  <a:schemeClr val="tx2"/>
                </a:solidFill>
                <a:ea typeface="ＭＳ Ｐゴシック" charset="-128"/>
              </a:rPr>
              <a:t>Text</a:t>
            </a:r>
          </a:p>
        </p:txBody>
      </p:sp>
    </p:spTree>
  </p:cSld>
  <p:clrMapOvr>
    <a:masterClrMapping/>
  </p:clrMapOvr>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7457" name="Title 1"/>
          <p:cNvSpPr>
            <a:spLocks noGrp="1"/>
          </p:cNvSpPr>
          <p:nvPr>
            <p:ph type="title"/>
          </p:nvPr>
        </p:nvSpPr>
        <p:spPr>
          <a:xfrm>
            <a:off x="414338" y="446038"/>
            <a:ext cx="8330184" cy="333425"/>
          </a:xfrm>
        </p:spPr>
        <p:txBody>
          <a:bodyPr/>
          <a:lstStyle/>
          <a:p>
            <a:r>
              <a:rPr lang="en-GB" altLang="ja-JP"/>
              <a:t>Activity map </a:t>
            </a:r>
            <a:r>
              <a:rPr lang="en-US"/>
              <a:t>—</a:t>
            </a:r>
            <a:r>
              <a:rPr lang="en-GB" altLang="ja-JP" smtClean="0"/>
              <a:t> </a:t>
            </a:r>
            <a:r>
              <a:rPr lang="en-GB" altLang="ja-JP"/>
              <a:t>ranges of activities across value chain</a:t>
            </a:r>
            <a:endParaRPr lang="nl-NL"/>
          </a:p>
        </p:txBody>
      </p:sp>
      <p:sp>
        <p:nvSpPr>
          <p:cNvPr id="4" name="Rectangle 3"/>
          <p:cNvSpPr>
            <a:spLocks noChangeArrowheads="1"/>
          </p:cNvSpPr>
          <p:nvPr/>
        </p:nvSpPr>
        <p:spPr bwMode="auto">
          <a:xfrm>
            <a:off x="1381125" y="2965601"/>
            <a:ext cx="1728788" cy="420687"/>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5" name="Rectangle 4"/>
          <p:cNvSpPr>
            <a:spLocks noChangeArrowheads="1"/>
          </p:cNvSpPr>
          <p:nvPr/>
        </p:nvSpPr>
        <p:spPr bwMode="auto">
          <a:xfrm>
            <a:off x="3308350" y="2967188"/>
            <a:ext cx="1730375" cy="420688"/>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6" name="Rectangle 5"/>
          <p:cNvSpPr>
            <a:spLocks noChangeArrowheads="1"/>
          </p:cNvSpPr>
          <p:nvPr/>
        </p:nvSpPr>
        <p:spPr bwMode="auto">
          <a:xfrm>
            <a:off x="5237163" y="2967188"/>
            <a:ext cx="1727200" cy="420688"/>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7" name="Rectangle 6"/>
          <p:cNvSpPr>
            <a:spLocks noChangeArrowheads="1"/>
          </p:cNvSpPr>
          <p:nvPr/>
        </p:nvSpPr>
        <p:spPr bwMode="auto">
          <a:xfrm>
            <a:off x="7097713" y="2967188"/>
            <a:ext cx="1728787" cy="420688"/>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8" name="Rectangle 7"/>
          <p:cNvSpPr>
            <a:spLocks noChangeArrowheads="1"/>
          </p:cNvSpPr>
          <p:nvPr/>
        </p:nvSpPr>
        <p:spPr bwMode="auto">
          <a:xfrm>
            <a:off x="1381125" y="3641876"/>
            <a:ext cx="2325688" cy="420687"/>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9" name="Rectangle 8"/>
          <p:cNvSpPr>
            <a:spLocks noChangeArrowheads="1"/>
          </p:cNvSpPr>
          <p:nvPr/>
        </p:nvSpPr>
        <p:spPr bwMode="auto">
          <a:xfrm>
            <a:off x="3938588" y="3643463"/>
            <a:ext cx="2327275" cy="420688"/>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10" name="Rectangle 9"/>
          <p:cNvSpPr>
            <a:spLocks noChangeArrowheads="1"/>
          </p:cNvSpPr>
          <p:nvPr/>
        </p:nvSpPr>
        <p:spPr bwMode="auto">
          <a:xfrm>
            <a:off x="6499225" y="3643463"/>
            <a:ext cx="2327275" cy="420688"/>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11" name="Rectangle 10"/>
          <p:cNvSpPr>
            <a:spLocks noChangeArrowheads="1"/>
          </p:cNvSpPr>
          <p:nvPr/>
        </p:nvSpPr>
        <p:spPr bwMode="auto">
          <a:xfrm>
            <a:off x="5967413" y="2289326"/>
            <a:ext cx="1330325" cy="420687"/>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12" name="Rectangle 11"/>
          <p:cNvSpPr>
            <a:spLocks noChangeArrowheads="1"/>
          </p:cNvSpPr>
          <p:nvPr/>
        </p:nvSpPr>
        <p:spPr bwMode="auto">
          <a:xfrm>
            <a:off x="4438650" y="2289326"/>
            <a:ext cx="1330325" cy="420687"/>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13" name="Rectangle 12"/>
          <p:cNvSpPr>
            <a:spLocks noChangeArrowheads="1"/>
          </p:cNvSpPr>
          <p:nvPr/>
        </p:nvSpPr>
        <p:spPr bwMode="auto">
          <a:xfrm>
            <a:off x="2909888" y="2289326"/>
            <a:ext cx="1330325" cy="420687"/>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14" name="Rectangle 13"/>
          <p:cNvSpPr>
            <a:spLocks noChangeArrowheads="1"/>
          </p:cNvSpPr>
          <p:nvPr/>
        </p:nvSpPr>
        <p:spPr bwMode="auto">
          <a:xfrm>
            <a:off x="1381125" y="2289326"/>
            <a:ext cx="1331913" cy="420687"/>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15" name="Rectangle 14"/>
          <p:cNvSpPr>
            <a:spLocks noChangeArrowheads="1"/>
          </p:cNvSpPr>
          <p:nvPr/>
        </p:nvSpPr>
        <p:spPr bwMode="auto">
          <a:xfrm>
            <a:off x="7829550" y="1590826"/>
            <a:ext cx="996950" cy="420687"/>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16" name="Rectangle 15"/>
          <p:cNvSpPr>
            <a:spLocks noChangeArrowheads="1"/>
          </p:cNvSpPr>
          <p:nvPr/>
        </p:nvSpPr>
        <p:spPr bwMode="auto">
          <a:xfrm>
            <a:off x="6753225" y="1590826"/>
            <a:ext cx="996950" cy="420687"/>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17" name="Rectangle 16"/>
          <p:cNvSpPr>
            <a:spLocks noChangeArrowheads="1"/>
          </p:cNvSpPr>
          <p:nvPr/>
        </p:nvSpPr>
        <p:spPr bwMode="auto">
          <a:xfrm>
            <a:off x="2455863" y="1590826"/>
            <a:ext cx="996950" cy="420687"/>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18" name="Rectangle 17"/>
          <p:cNvSpPr>
            <a:spLocks noChangeArrowheads="1"/>
          </p:cNvSpPr>
          <p:nvPr/>
        </p:nvSpPr>
        <p:spPr bwMode="auto">
          <a:xfrm>
            <a:off x="1381125" y="1590826"/>
            <a:ext cx="996950" cy="420687"/>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19" name="Rectangle 18"/>
          <p:cNvSpPr>
            <a:spLocks noChangeArrowheads="1"/>
          </p:cNvSpPr>
          <p:nvPr/>
        </p:nvSpPr>
        <p:spPr bwMode="auto">
          <a:xfrm>
            <a:off x="5680075" y="1590826"/>
            <a:ext cx="996950" cy="420687"/>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20" name="Rectangle 19"/>
          <p:cNvSpPr>
            <a:spLocks noChangeArrowheads="1"/>
          </p:cNvSpPr>
          <p:nvPr/>
        </p:nvSpPr>
        <p:spPr bwMode="auto">
          <a:xfrm>
            <a:off x="1381125" y="4291163"/>
            <a:ext cx="3589338" cy="420688"/>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21" name="Rectangle 20"/>
          <p:cNvSpPr>
            <a:spLocks noChangeArrowheads="1"/>
          </p:cNvSpPr>
          <p:nvPr/>
        </p:nvSpPr>
        <p:spPr bwMode="auto">
          <a:xfrm>
            <a:off x="5237163" y="4291163"/>
            <a:ext cx="3589337" cy="420688"/>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787477" name="Text Box 21"/>
          <p:cNvSpPr txBox="1">
            <a:spLocks noChangeArrowheads="1"/>
          </p:cNvSpPr>
          <p:nvPr/>
        </p:nvSpPr>
        <p:spPr bwMode="auto">
          <a:xfrm>
            <a:off x="493019" y="1667026"/>
            <a:ext cx="603049" cy="276999"/>
          </a:xfrm>
          <a:prstGeom prst="rect">
            <a:avLst/>
          </a:prstGeom>
          <a:noFill/>
          <a:ln w="9525">
            <a:noFill/>
            <a:miter lim="800000"/>
            <a:headEnd type="none" w="sm" len="sm"/>
            <a:tailEnd type="none" w="med" len="lg"/>
          </a:ln>
        </p:spPr>
        <p:txBody>
          <a:bodyPr wrap="none">
            <a:spAutoFit/>
          </a:bodyPr>
          <a:lstStyle/>
          <a:p>
            <a:r>
              <a:rPr lang="en-GB" altLang="ja-JP" sz="1200" b="1" smtClean="0">
                <a:solidFill>
                  <a:schemeClr val="tx2"/>
                </a:solidFill>
                <a:ea typeface="ＭＳ Ｐゴシック" charset="-128"/>
              </a:rPr>
              <a:t>Stage</a:t>
            </a:r>
            <a:endParaRPr lang="en-GB" altLang="ja-JP" sz="1200" b="1">
              <a:solidFill>
                <a:schemeClr val="tx2"/>
              </a:solidFill>
              <a:ea typeface="ＭＳ Ｐゴシック" charset="-128"/>
            </a:endParaRPr>
          </a:p>
        </p:txBody>
      </p:sp>
      <p:sp>
        <p:nvSpPr>
          <p:cNvPr id="23" name="Line 22"/>
          <p:cNvSpPr>
            <a:spLocks noChangeShapeType="1"/>
          </p:cNvSpPr>
          <p:nvPr/>
        </p:nvSpPr>
        <p:spPr bwMode="auto">
          <a:xfrm>
            <a:off x="384175" y="2119463"/>
            <a:ext cx="8442325" cy="0"/>
          </a:xfrm>
          <a:prstGeom prst="line">
            <a:avLst/>
          </a:prstGeom>
          <a:noFill/>
          <a:ln w="12700">
            <a:solidFill>
              <a:schemeClr val="accent1"/>
            </a:solidFill>
            <a:prstDash val="dash"/>
            <a:round/>
            <a:headEnd type="none" w="sm" len="sm"/>
            <a:tailEnd type="none" w="med" len="lg"/>
          </a:ln>
        </p:spPr>
        <p:txBody>
          <a:bodyPr/>
          <a:lstStyle/>
          <a:p>
            <a:pPr>
              <a:defRPr/>
            </a:pPr>
            <a:endParaRPr lang="en-GB"/>
          </a:p>
        </p:txBody>
      </p:sp>
      <p:sp>
        <p:nvSpPr>
          <p:cNvPr id="24" name="Line 23"/>
          <p:cNvSpPr>
            <a:spLocks noChangeShapeType="1"/>
          </p:cNvSpPr>
          <p:nvPr/>
        </p:nvSpPr>
        <p:spPr bwMode="auto">
          <a:xfrm>
            <a:off x="384175" y="2810026"/>
            <a:ext cx="8442325" cy="0"/>
          </a:xfrm>
          <a:prstGeom prst="line">
            <a:avLst/>
          </a:prstGeom>
          <a:noFill/>
          <a:ln w="12700">
            <a:solidFill>
              <a:schemeClr val="accent1"/>
            </a:solidFill>
            <a:prstDash val="dash"/>
            <a:round/>
            <a:headEnd type="none" w="sm" len="sm"/>
            <a:tailEnd type="none" w="med" len="lg"/>
          </a:ln>
        </p:spPr>
        <p:txBody>
          <a:bodyPr/>
          <a:lstStyle/>
          <a:p>
            <a:pPr>
              <a:defRPr/>
            </a:pPr>
            <a:endParaRPr lang="en-GB"/>
          </a:p>
        </p:txBody>
      </p:sp>
      <p:sp>
        <p:nvSpPr>
          <p:cNvPr id="25" name="Line 24"/>
          <p:cNvSpPr>
            <a:spLocks noChangeShapeType="1"/>
          </p:cNvSpPr>
          <p:nvPr/>
        </p:nvSpPr>
        <p:spPr bwMode="auto">
          <a:xfrm>
            <a:off x="384175" y="3487888"/>
            <a:ext cx="8442325" cy="0"/>
          </a:xfrm>
          <a:prstGeom prst="line">
            <a:avLst/>
          </a:prstGeom>
          <a:noFill/>
          <a:ln w="12700">
            <a:solidFill>
              <a:schemeClr val="accent1"/>
            </a:solidFill>
            <a:prstDash val="dash"/>
            <a:round/>
            <a:headEnd type="none" w="sm" len="sm"/>
            <a:tailEnd type="none" w="med" len="lg"/>
          </a:ln>
        </p:spPr>
        <p:txBody>
          <a:bodyPr/>
          <a:lstStyle/>
          <a:p>
            <a:pPr>
              <a:defRPr/>
            </a:pPr>
            <a:endParaRPr lang="en-GB"/>
          </a:p>
        </p:txBody>
      </p:sp>
      <p:sp>
        <p:nvSpPr>
          <p:cNvPr id="26" name="Line 25"/>
          <p:cNvSpPr>
            <a:spLocks noChangeShapeType="1"/>
          </p:cNvSpPr>
          <p:nvPr/>
        </p:nvSpPr>
        <p:spPr bwMode="auto">
          <a:xfrm>
            <a:off x="384175" y="4207026"/>
            <a:ext cx="8442325" cy="0"/>
          </a:xfrm>
          <a:prstGeom prst="line">
            <a:avLst/>
          </a:prstGeom>
          <a:noFill/>
          <a:ln w="12700">
            <a:solidFill>
              <a:schemeClr val="accent1"/>
            </a:solidFill>
            <a:prstDash val="dash"/>
            <a:round/>
            <a:headEnd type="none" w="sm" len="sm"/>
            <a:tailEnd type="none" w="med" len="lg"/>
          </a:ln>
        </p:spPr>
        <p:txBody>
          <a:bodyPr/>
          <a:lstStyle/>
          <a:p>
            <a:pPr>
              <a:defRPr/>
            </a:pPr>
            <a:endParaRPr lang="en-GB"/>
          </a:p>
        </p:txBody>
      </p:sp>
      <p:sp>
        <p:nvSpPr>
          <p:cNvPr id="28" name="Rectangle 27"/>
          <p:cNvSpPr>
            <a:spLocks noChangeArrowheads="1"/>
          </p:cNvSpPr>
          <p:nvPr/>
        </p:nvSpPr>
        <p:spPr bwMode="auto">
          <a:xfrm>
            <a:off x="3308350" y="4999188"/>
            <a:ext cx="1730375" cy="420688"/>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29" name="Rectangle 28"/>
          <p:cNvSpPr>
            <a:spLocks noChangeArrowheads="1"/>
          </p:cNvSpPr>
          <p:nvPr/>
        </p:nvSpPr>
        <p:spPr bwMode="auto">
          <a:xfrm>
            <a:off x="5237163" y="4999188"/>
            <a:ext cx="1727200" cy="420688"/>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30" name="Rectangle 29"/>
          <p:cNvSpPr>
            <a:spLocks noChangeArrowheads="1"/>
          </p:cNvSpPr>
          <p:nvPr/>
        </p:nvSpPr>
        <p:spPr bwMode="auto">
          <a:xfrm>
            <a:off x="7097713" y="4999188"/>
            <a:ext cx="1728787" cy="420688"/>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31" name="Line 30"/>
          <p:cNvSpPr>
            <a:spLocks noChangeShapeType="1"/>
          </p:cNvSpPr>
          <p:nvPr/>
        </p:nvSpPr>
        <p:spPr bwMode="auto">
          <a:xfrm>
            <a:off x="384175" y="4842026"/>
            <a:ext cx="8442325" cy="0"/>
          </a:xfrm>
          <a:prstGeom prst="line">
            <a:avLst/>
          </a:prstGeom>
          <a:noFill/>
          <a:ln w="12700">
            <a:solidFill>
              <a:schemeClr val="accent1"/>
            </a:solidFill>
            <a:prstDash val="dash"/>
            <a:round/>
            <a:headEnd type="none" w="sm" len="sm"/>
            <a:tailEnd type="none" w="med" len="lg"/>
          </a:ln>
        </p:spPr>
        <p:txBody>
          <a:bodyPr/>
          <a:lstStyle/>
          <a:p>
            <a:pPr>
              <a:defRPr/>
            </a:pPr>
            <a:endParaRPr lang="en-GB"/>
          </a:p>
        </p:txBody>
      </p:sp>
      <p:sp>
        <p:nvSpPr>
          <p:cNvPr id="32" name="Rectangle 31"/>
          <p:cNvSpPr>
            <a:spLocks noChangeArrowheads="1"/>
          </p:cNvSpPr>
          <p:nvPr/>
        </p:nvSpPr>
        <p:spPr bwMode="auto">
          <a:xfrm>
            <a:off x="7496175" y="2289326"/>
            <a:ext cx="1330325" cy="420687"/>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787487" name="Text Box 32"/>
          <p:cNvSpPr txBox="1">
            <a:spLocks noChangeArrowheads="1"/>
          </p:cNvSpPr>
          <p:nvPr/>
        </p:nvSpPr>
        <p:spPr bwMode="auto">
          <a:xfrm>
            <a:off x="493019" y="2330601"/>
            <a:ext cx="603049" cy="276999"/>
          </a:xfrm>
          <a:prstGeom prst="rect">
            <a:avLst/>
          </a:prstGeom>
          <a:noFill/>
          <a:ln w="9525">
            <a:noFill/>
            <a:miter lim="800000"/>
            <a:headEnd type="none" w="sm" len="sm"/>
            <a:tailEnd type="none" w="med" len="lg"/>
          </a:ln>
        </p:spPr>
        <p:txBody>
          <a:bodyPr wrap="none">
            <a:spAutoFit/>
          </a:bodyPr>
          <a:lstStyle/>
          <a:p>
            <a:r>
              <a:rPr lang="en-GB" altLang="ja-JP" sz="1200" b="1" smtClean="0">
                <a:solidFill>
                  <a:schemeClr val="tx2"/>
                </a:solidFill>
                <a:ea typeface="ＭＳ Ｐゴシック" charset="-128"/>
              </a:rPr>
              <a:t>Stage</a:t>
            </a:r>
            <a:endParaRPr lang="en-GB" altLang="ja-JP" sz="1200" b="1">
              <a:solidFill>
                <a:schemeClr val="tx2"/>
              </a:solidFill>
              <a:ea typeface="ＭＳ Ｐゴシック" charset="-128"/>
            </a:endParaRPr>
          </a:p>
        </p:txBody>
      </p:sp>
      <p:sp>
        <p:nvSpPr>
          <p:cNvPr id="787488" name="Text Box 33"/>
          <p:cNvSpPr txBox="1">
            <a:spLocks noChangeArrowheads="1"/>
          </p:cNvSpPr>
          <p:nvPr/>
        </p:nvSpPr>
        <p:spPr bwMode="auto">
          <a:xfrm>
            <a:off x="493019" y="2979888"/>
            <a:ext cx="603049" cy="276999"/>
          </a:xfrm>
          <a:prstGeom prst="rect">
            <a:avLst/>
          </a:prstGeom>
          <a:noFill/>
          <a:ln w="9525">
            <a:noFill/>
            <a:miter lim="800000"/>
            <a:headEnd type="none" w="sm" len="sm"/>
            <a:tailEnd type="none" w="med" len="lg"/>
          </a:ln>
        </p:spPr>
        <p:txBody>
          <a:bodyPr wrap="none">
            <a:spAutoFit/>
          </a:bodyPr>
          <a:lstStyle/>
          <a:p>
            <a:r>
              <a:rPr lang="en-GB" altLang="ja-JP" sz="1200" b="1" smtClean="0">
                <a:solidFill>
                  <a:schemeClr val="tx2"/>
                </a:solidFill>
                <a:ea typeface="ＭＳ Ｐゴシック" charset="-128"/>
              </a:rPr>
              <a:t>Stage</a:t>
            </a:r>
            <a:endParaRPr lang="en-GB" altLang="ja-JP" sz="1200" b="1">
              <a:solidFill>
                <a:schemeClr val="tx2"/>
              </a:solidFill>
              <a:ea typeface="ＭＳ Ｐゴシック" charset="-128"/>
            </a:endParaRPr>
          </a:p>
        </p:txBody>
      </p:sp>
      <p:sp>
        <p:nvSpPr>
          <p:cNvPr id="787489" name="Text Box 34"/>
          <p:cNvSpPr txBox="1">
            <a:spLocks noChangeArrowheads="1"/>
          </p:cNvSpPr>
          <p:nvPr/>
        </p:nvSpPr>
        <p:spPr bwMode="auto">
          <a:xfrm>
            <a:off x="493019" y="3699026"/>
            <a:ext cx="603049" cy="276999"/>
          </a:xfrm>
          <a:prstGeom prst="rect">
            <a:avLst/>
          </a:prstGeom>
          <a:noFill/>
          <a:ln w="9525">
            <a:noFill/>
            <a:miter lim="800000"/>
            <a:headEnd type="none" w="sm" len="sm"/>
            <a:tailEnd type="none" w="med" len="lg"/>
          </a:ln>
        </p:spPr>
        <p:txBody>
          <a:bodyPr wrap="none">
            <a:spAutoFit/>
          </a:bodyPr>
          <a:lstStyle/>
          <a:p>
            <a:r>
              <a:rPr lang="en-GB" altLang="ja-JP" sz="1200" b="1" smtClean="0">
                <a:solidFill>
                  <a:schemeClr val="tx2"/>
                </a:solidFill>
                <a:ea typeface="ＭＳ Ｐゴシック" charset="-128"/>
              </a:rPr>
              <a:t>Stage</a:t>
            </a:r>
            <a:endParaRPr lang="en-GB" altLang="ja-JP" sz="1200" b="1">
              <a:solidFill>
                <a:schemeClr val="tx2"/>
              </a:solidFill>
              <a:ea typeface="ＭＳ Ｐゴシック" charset="-128"/>
            </a:endParaRPr>
          </a:p>
        </p:txBody>
      </p:sp>
      <p:sp>
        <p:nvSpPr>
          <p:cNvPr id="787490" name="Text Box 35"/>
          <p:cNvSpPr txBox="1">
            <a:spLocks noChangeArrowheads="1"/>
          </p:cNvSpPr>
          <p:nvPr/>
        </p:nvSpPr>
        <p:spPr bwMode="auto">
          <a:xfrm>
            <a:off x="493019" y="4346726"/>
            <a:ext cx="603049" cy="276999"/>
          </a:xfrm>
          <a:prstGeom prst="rect">
            <a:avLst/>
          </a:prstGeom>
          <a:noFill/>
          <a:ln w="9525">
            <a:noFill/>
            <a:miter lim="800000"/>
            <a:headEnd type="none" w="sm" len="sm"/>
            <a:tailEnd type="none" w="med" len="lg"/>
          </a:ln>
        </p:spPr>
        <p:txBody>
          <a:bodyPr wrap="none">
            <a:spAutoFit/>
          </a:bodyPr>
          <a:lstStyle/>
          <a:p>
            <a:r>
              <a:rPr lang="en-GB" altLang="ja-JP" sz="1200" b="1" smtClean="0">
                <a:solidFill>
                  <a:schemeClr val="tx2"/>
                </a:solidFill>
                <a:ea typeface="ＭＳ Ｐゴシック" charset="-128"/>
              </a:rPr>
              <a:t>Stage</a:t>
            </a:r>
            <a:endParaRPr lang="en-GB" altLang="ja-JP" sz="1200" b="1">
              <a:solidFill>
                <a:schemeClr val="tx2"/>
              </a:solidFill>
              <a:ea typeface="ＭＳ Ｐゴシック" charset="-128"/>
            </a:endParaRPr>
          </a:p>
        </p:txBody>
      </p:sp>
      <p:sp>
        <p:nvSpPr>
          <p:cNvPr id="787491" name="Text Box 36"/>
          <p:cNvSpPr txBox="1">
            <a:spLocks noChangeArrowheads="1"/>
          </p:cNvSpPr>
          <p:nvPr/>
        </p:nvSpPr>
        <p:spPr bwMode="auto">
          <a:xfrm>
            <a:off x="493019" y="4996013"/>
            <a:ext cx="603049" cy="276999"/>
          </a:xfrm>
          <a:prstGeom prst="rect">
            <a:avLst/>
          </a:prstGeom>
          <a:noFill/>
          <a:ln w="9525">
            <a:noFill/>
            <a:miter lim="800000"/>
            <a:headEnd type="none" w="sm" len="sm"/>
            <a:tailEnd type="none" w="med" len="lg"/>
          </a:ln>
        </p:spPr>
        <p:txBody>
          <a:bodyPr wrap="none">
            <a:spAutoFit/>
          </a:bodyPr>
          <a:lstStyle/>
          <a:p>
            <a:r>
              <a:rPr lang="en-GB" altLang="ja-JP" sz="1200" b="1" smtClean="0">
                <a:solidFill>
                  <a:schemeClr val="tx2"/>
                </a:solidFill>
                <a:ea typeface="ＭＳ Ｐゴシック" charset="-128"/>
              </a:rPr>
              <a:t>Stage</a:t>
            </a:r>
            <a:endParaRPr lang="en-GB" altLang="ja-JP" sz="1200" b="1">
              <a:solidFill>
                <a:schemeClr val="tx2"/>
              </a:solidFill>
              <a:ea typeface="ＭＳ Ｐゴシック" charset="-128"/>
            </a:endParaRPr>
          </a:p>
        </p:txBody>
      </p:sp>
      <p:sp>
        <p:nvSpPr>
          <p:cNvPr id="38" name="Rectangle 37"/>
          <p:cNvSpPr>
            <a:spLocks noChangeArrowheads="1"/>
          </p:cNvSpPr>
          <p:nvPr/>
        </p:nvSpPr>
        <p:spPr bwMode="auto">
          <a:xfrm>
            <a:off x="3530600" y="1590826"/>
            <a:ext cx="995363" cy="420687"/>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39" name="Rectangle 38"/>
          <p:cNvSpPr>
            <a:spLocks noChangeArrowheads="1"/>
          </p:cNvSpPr>
          <p:nvPr/>
        </p:nvSpPr>
        <p:spPr bwMode="auto">
          <a:xfrm>
            <a:off x="4605338" y="1590826"/>
            <a:ext cx="996950" cy="420687"/>
          </a:xfrm>
          <a:prstGeom prst="rect">
            <a:avLst/>
          </a:prstGeom>
          <a:solidFill>
            <a:schemeClr val="accent3"/>
          </a:solidFill>
          <a:ln w="6350" algn="ctr">
            <a:noFill/>
            <a:miter lim="800000"/>
            <a:headEnd type="none" w="sm" len="sm"/>
            <a:tailEnd type="none" w="med" len="lg"/>
          </a:ln>
        </p:spPr>
        <p:txBody>
          <a:bodyPr tIns="91440" bIns="91440" anchor="ctr"/>
          <a:lstStyle/>
          <a:p>
            <a:pPr marL="106363" indent="-106363" algn="ctr">
              <a:buClr>
                <a:schemeClr val="bg1"/>
              </a:buClr>
              <a:buSzPct val="100000"/>
              <a:buFontTx/>
              <a:buChar char=" "/>
              <a:defRPr/>
            </a:pPr>
            <a:r>
              <a:rPr lang="en-GB" altLang="ja-JP" sz="1200">
                <a:solidFill>
                  <a:schemeClr val="bg1"/>
                </a:solidFill>
                <a:ea typeface="ＭＳ Ｐゴシック" pitchFamily="50" charset="-128"/>
              </a:rPr>
              <a:t>Text</a:t>
            </a:r>
          </a:p>
        </p:txBody>
      </p:sp>
      <p:sp>
        <p:nvSpPr>
          <p:cNvPr id="4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4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81" name="Title 1"/>
          <p:cNvSpPr>
            <a:spLocks noGrp="1"/>
          </p:cNvSpPr>
          <p:nvPr>
            <p:ph type="title"/>
          </p:nvPr>
        </p:nvSpPr>
        <p:spPr/>
        <p:txBody>
          <a:bodyPr/>
          <a:lstStyle/>
          <a:p>
            <a:r>
              <a:rPr lang="en-GB"/>
              <a:t>Swimlanes</a:t>
            </a:r>
            <a:endParaRPr lang="nl-NL"/>
          </a:p>
        </p:txBody>
      </p:sp>
      <p:sp>
        <p:nvSpPr>
          <p:cNvPr id="4" name="Rectangle 2"/>
          <p:cNvSpPr>
            <a:spLocks noChangeArrowheads="1"/>
          </p:cNvSpPr>
          <p:nvPr/>
        </p:nvSpPr>
        <p:spPr bwMode="auto">
          <a:xfrm>
            <a:off x="384175" y="1597754"/>
            <a:ext cx="8375650" cy="863600"/>
          </a:xfrm>
          <a:prstGeom prst="rect">
            <a:avLst/>
          </a:prstGeom>
          <a:solidFill>
            <a:schemeClr val="accent3"/>
          </a:solidFill>
          <a:ln w="6350" algn="ctr">
            <a:noFill/>
            <a:miter lim="800000"/>
            <a:headEnd/>
            <a:tailEnd/>
          </a:ln>
        </p:spPr>
        <p:txBody>
          <a:bodyPr wrap="none" tIns="91440" bIns="91440" anchor="ctr"/>
          <a:lstStyle/>
          <a:p>
            <a:pPr algn="ctr">
              <a:defRPr/>
            </a:pPr>
            <a:endParaRPr lang="en-GB" sz="1200">
              <a:solidFill>
                <a:schemeClr val="bg1"/>
              </a:solidFill>
            </a:endParaRPr>
          </a:p>
        </p:txBody>
      </p:sp>
      <p:sp>
        <p:nvSpPr>
          <p:cNvPr id="5" name="Rectangle 3"/>
          <p:cNvSpPr>
            <a:spLocks noChangeArrowheads="1"/>
          </p:cNvSpPr>
          <p:nvPr/>
        </p:nvSpPr>
        <p:spPr bwMode="auto">
          <a:xfrm>
            <a:off x="384175" y="3290029"/>
            <a:ext cx="8375650" cy="863600"/>
          </a:xfrm>
          <a:prstGeom prst="rect">
            <a:avLst/>
          </a:prstGeom>
          <a:solidFill>
            <a:schemeClr val="accent3"/>
          </a:solidFill>
          <a:ln w="6350" algn="ctr">
            <a:noFill/>
            <a:miter lim="800000"/>
            <a:headEnd/>
            <a:tailEnd/>
          </a:ln>
        </p:spPr>
        <p:txBody>
          <a:bodyPr wrap="none" tIns="91440" bIns="91440" anchor="ctr"/>
          <a:lstStyle/>
          <a:p>
            <a:pPr algn="ctr">
              <a:defRPr/>
            </a:pPr>
            <a:endParaRPr lang="en-GB" sz="1200">
              <a:solidFill>
                <a:schemeClr val="bg1"/>
              </a:solidFill>
            </a:endParaRPr>
          </a:p>
        </p:txBody>
      </p:sp>
      <p:sp>
        <p:nvSpPr>
          <p:cNvPr id="6" name="Rectangle 4"/>
          <p:cNvSpPr>
            <a:spLocks noChangeArrowheads="1"/>
          </p:cNvSpPr>
          <p:nvPr/>
        </p:nvSpPr>
        <p:spPr bwMode="auto">
          <a:xfrm>
            <a:off x="384175" y="4982304"/>
            <a:ext cx="8375650" cy="863600"/>
          </a:xfrm>
          <a:prstGeom prst="rect">
            <a:avLst/>
          </a:prstGeom>
          <a:solidFill>
            <a:schemeClr val="accent3"/>
          </a:solidFill>
          <a:ln w="6350" algn="ctr">
            <a:noFill/>
            <a:miter lim="800000"/>
            <a:headEnd/>
            <a:tailEnd/>
          </a:ln>
        </p:spPr>
        <p:txBody>
          <a:bodyPr wrap="none" tIns="91440" bIns="91440" anchor="ctr"/>
          <a:lstStyle/>
          <a:p>
            <a:pPr algn="ctr">
              <a:defRPr/>
            </a:pPr>
            <a:endParaRPr lang="en-GB" sz="1200">
              <a:solidFill>
                <a:schemeClr val="bg1"/>
              </a:solidFill>
            </a:endParaRPr>
          </a:p>
        </p:txBody>
      </p:sp>
      <p:sp>
        <p:nvSpPr>
          <p:cNvPr id="788486" name="Text Box 6"/>
          <p:cNvSpPr txBox="1">
            <a:spLocks noChangeArrowheads="1"/>
          </p:cNvSpPr>
          <p:nvPr/>
        </p:nvSpPr>
        <p:spPr bwMode="auto">
          <a:xfrm>
            <a:off x="451098" y="1870804"/>
            <a:ext cx="1034555" cy="279180"/>
          </a:xfrm>
          <a:prstGeom prst="rect">
            <a:avLst/>
          </a:prstGeom>
          <a:noFill/>
          <a:ln w="9525" algn="ctr">
            <a:noFill/>
            <a:miter lim="800000"/>
            <a:headEnd/>
            <a:tailEnd/>
          </a:ln>
        </p:spPr>
        <p:txBody>
          <a:bodyPr wrap="none" lIns="90000" tIns="46800" rIns="90000" bIns="46800">
            <a:spAutoFit/>
          </a:bodyPr>
          <a:lstStyle/>
          <a:p>
            <a:r>
              <a:rPr lang="en-GB" sz="1200" b="1">
                <a:solidFill>
                  <a:schemeClr val="bg1"/>
                </a:solidFill>
                <a:ea typeface="ＭＳ Ｐゴシック" charset="-128"/>
              </a:rPr>
              <a:t>Department</a:t>
            </a:r>
          </a:p>
        </p:txBody>
      </p:sp>
      <p:sp>
        <p:nvSpPr>
          <p:cNvPr id="8" name="Rectangle 7"/>
          <p:cNvSpPr>
            <a:spLocks noChangeArrowheads="1"/>
          </p:cNvSpPr>
          <p:nvPr/>
        </p:nvSpPr>
        <p:spPr bwMode="auto">
          <a:xfrm>
            <a:off x="1814513" y="1778729"/>
            <a:ext cx="982662" cy="503237"/>
          </a:xfrm>
          <a:prstGeom prst="rect">
            <a:avLst/>
          </a:prstGeom>
          <a:solidFill>
            <a:srgbClr val="FFFFFF"/>
          </a:solidFill>
          <a:ln w="12700" algn="ctr">
            <a:solidFill>
              <a:schemeClr val="bg1"/>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9" name="Rectangle 8"/>
          <p:cNvSpPr>
            <a:spLocks noChangeArrowheads="1"/>
          </p:cNvSpPr>
          <p:nvPr/>
        </p:nvSpPr>
        <p:spPr bwMode="auto">
          <a:xfrm>
            <a:off x="2952750" y="1778729"/>
            <a:ext cx="982663" cy="503237"/>
          </a:xfrm>
          <a:prstGeom prst="rect">
            <a:avLst/>
          </a:prstGeom>
          <a:solidFill>
            <a:srgbClr val="FFFFFF"/>
          </a:solidFill>
          <a:ln w="12700" algn="ctr">
            <a:solidFill>
              <a:schemeClr val="bg1"/>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0" name="Rectangle 9"/>
          <p:cNvSpPr>
            <a:spLocks noChangeArrowheads="1"/>
          </p:cNvSpPr>
          <p:nvPr/>
        </p:nvSpPr>
        <p:spPr bwMode="auto">
          <a:xfrm>
            <a:off x="4090988" y="1778729"/>
            <a:ext cx="984250" cy="503237"/>
          </a:xfrm>
          <a:prstGeom prst="rect">
            <a:avLst/>
          </a:prstGeom>
          <a:solidFill>
            <a:srgbClr val="FFFFFF"/>
          </a:solidFill>
          <a:ln w="12700" algn="ctr">
            <a:solidFill>
              <a:schemeClr val="bg1"/>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1" name="Rectangle 10"/>
          <p:cNvSpPr>
            <a:spLocks noChangeArrowheads="1"/>
          </p:cNvSpPr>
          <p:nvPr/>
        </p:nvSpPr>
        <p:spPr bwMode="auto">
          <a:xfrm>
            <a:off x="5230813" y="1778729"/>
            <a:ext cx="984250" cy="503237"/>
          </a:xfrm>
          <a:prstGeom prst="rect">
            <a:avLst/>
          </a:prstGeom>
          <a:solidFill>
            <a:srgbClr val="FFFFFF"/>
          </a:solidFill>
          <a:ln w="12700" algn="ctr">
            <a:solidFill>
              <a:schemeClr val="bg1"/>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2" name="Rectangle 11"/>
          <p:cNvSpPr>
            <a:spLocks noChangeArrowheads="1"/>
          </p:cNvSpPr>
          <p:nvPr/>
        </p:nvSpPr>
        <p:spPr bwMode="auto">
          <a:xfrm>
            <a:off x="6370638" y="1778729"/>
            <a:ext cx="982662" cy="503237"/>
          </a:xfrm>
          <a:prstGeom prst="rect">
            <a:avLst/>
          </a:prstGeom>
          <a:solidFill>
            <a:srgbClr val="FFFFFF"/>
          </a:solidFill>
          <a:ln w="12700" algn="ctr">
            <a:solidFill>
              <a:schemeClr val="bg1"/>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3" name="Rectangle 12"/>
          <p:cNvSpPr>
            <a:spLocks noChangeArrowheads="1"/>
          </p:cNvSpPr>
          <p:nvPr/>
        </p:nvSpPr>
        <p:spPr bwMode="auto">
          <a:xfrm>
            <a:off x="7510463" y="1778729"/>
            <a:ext cx="982662" cy="503237"/>
          </a:xfrm>
          <a:prstGeom prst="rect">
            <a:avLst/>
          </a:prstGeom>
          <a:solidFill>
            <a:srgbClr val="FFFFFF"/>
          </a:solidFill>
          <a:ln w="12700" algn="ctr">
            <a:solidFill>
              <a:schemeClr val="bg1"/>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cxnSp>
        <p:nvCxnSpPr>
          <p:cNvPr id="14" name="AutoShape 13"/>
          <p:cNvCxnSpPr>
            <a:cxnSpLocks noChangeShapeType="1"/>
            <a:stCxn id="8" idx="3"/>
            <a:endCxn id="9" idx="1"/>
          </p:cNvCxnSpPr>
          <p:nvPr/>
        </p:nvCxnSpPr>
        <p:spPr bwMode="auto">
          <a:xfrm>
            <a:off x="2797175" y="2031141"/>
            <a:ext cx="155575" cy="1588"/>
          </a:xfrm>
          <a:prstGeom prst="straightConnector1">
            <a:avLst/>
          </a:prstGeom>
          <a:noFill/>
          <a:ln w="12700">
            <a:solidFill>
              <a:schemeClr val="accent1"/>
            </a:solidFill>
            <a:round/>
            <a:headEnd/>
            <a:tailEnd type="triangle" w="med" len="med"/>
          </a:ln>
        </p:spPr>
      </p:cxnSp>
      <p:cxnSp>
        <p:nvCxnSpPr>
          <p:cNvPr id="15" name="AutoShape 14"/>
          <p:cNvCxnSpPr>
            <a:cxnSpLocks noChangeShapeType="1"/>
            <a:stCxn id="9" idx="3"/>
            <a:endCxn id="10" idx="1"/>
          </p:cNvCxnSpPr>
          <p:nvPr/>
        </p:nvCxnSpPr>
        <p:spPr bwMode="auto">
          <a:xfrm>
            <a:off x="3935413" y="2031141"/>
            <a:ext cx="155575" cy="1588"/>
          </a:xfrm>
          <a:prstGeom prst="straightConnector1">
            <a:avLst/>
          </a:prstGeom>
          <a:noFill/>
          <a:ln w="12700">
            <a:solidFill>
              <a:schemeClr val="accent1"/>
            </a:solidFill>
            <a:round/>
            <a:headEnd/>
            <a:tailEnd type="triangle" w="med" len="med"/>
          </a:ln>
        </p:spPr>
      </p:cxnSp>
      <p:cxnSp>
        <p:nvCxnSpPr>
          <p:cNvPr id="16" name="AutoShape 15"/>
          <p:cNvCxnSpPr>
            <a:cxnSpLocks noChangeShapeType="1"/>
            <a:stCxn id="10" idx="3"/>
            <a:endCxn id="11" idx="1"/>
          </p:cNvCxnSpPr>
          <p:nvPr/>
        </p:nvCxnSpPr>
        <p:spPr bwMode="auto">
          <a:xfrm>
            <a:off x="5075238" y="2031141"/>
            <a:ext cx="155575" cy="1588"/>
          </a:xfrm>
          <a:prstGeom prst="straightConnector1">
            <a:avLst/>
          </a:prstGeom>
          <a:noFill/>
          <a:ln w="12700">
            <a:solidFill>
              <a:schemeClr val="accent1"/>
            </a:solidFill>
            <a:round/>
            <a:headEnd/>
            <a:tailEnd type="triangle" w="med" len="med"/>
          </a:ln>
        </p:spPr>
      </p:cxnSp>
      <p:cxnSp>
        <p:nvCxnSpPr>
          <p:cNvPr id="17" name="AutoShape 16"/>
          <p:cNvCxnSpPr>
            <a:cxnSpLocks noChangeShapeType="1"/>
            <a:stCxn id="11" idx="3"/>
            <a:endCxn id="12" idx="1"/>
          </p:cNvCxnSpPr>
          <p:nvPr/>
        </p:nvCxnSpPr>
        <p:spPr bwMode="auto">
          <a:xfrm>
            <a:off x="6215063" y="2031141"/>
            <a:ext cx="155575" cy="1588"/>
          </a:xfrm>
          <a:prstGeom prst="straightConnector1">
            <a:avLst/>
          </a:prstGeom>
          <a:noFill/>
          <a:ln w="12700">
            <a:solidFill>
              <a:schemeClr val="accent1"/>
            </a:solidFill>
            <a:round/>
            <a:headEnd/>
            <a:tailEnd type="triangle" w="med" len="med"/>
          </a:ln>
        </p:spPr>
      </p:cxnSp>
      <p:cxnSp>
        <p:nvCxnSpPr>
          <p:cNvPr id="18" name="AutoShape 17"/>
          <p:cNvCxnSpPr>
            <a:cxnSpLocks noChangeShapeType="1"/>
            <a:stCxn id="12" idx="3"/>
            <a:endCxn id="13" idx="1"/>
          </p:cNvCxnSpPr>
          <p:nvPr/>
        </p:nvCxnSpPr>
        <p:spPr bwMode="auto">
          <a:xfrm>
            <a:off x="7353300" y="2031141"/>
            <a:ext cx="157163" cy="1588"/>
          </a:xfrm>
          <a:prstGeom prst="straightConnector1">
            <a:avLst/>
          </a:prstGeom>
          <a:noFill/>
          <a:ln w="12700">
            <a:solidFill>
              <a:schemeClr val="accent1"/>
            </a:solidFill>
            <a:round/>
            <a:headEnd/>
            <a:tailEnd type="triangle" w="med" len="med"/>
          </a:ln>
        </p:spPr>
      </p:cxnSp>
      <p:sp>
        <p:nvSpPr>
          <p:cNvPr id="788498" name="Text Box 18"/>
          <p:cNvSpPr txBox="1">
            <a:spLocks noChangeArrowheads="1"/>
          </p:cNvSpPr>
          <p:nvPr/>
        </p:nvSpPr>
        <p:spPr bwMode="auto">
          <a:xfrm>
            <a:off x="451098" y="2716941"/>
            <a:ext cx="1034555" cy="279180"/>
          </a:xfrm>
          <a:prstGeom prst="rect">
            <a:avLst/>
          </a:prstGeom>
          <a:noFill/>
          <a:ln w="9525" algn="ctr">
            <a:noFill/>
            <a:miter lim="800000"/>
            <a:headEnd/>
            <a:tailEnd/>
          </a:ln>
        </p:spPr>
        <p:txBody>
          <a:bodyPr wrap="none" lIns="90000" tIns="46800" rIns="90000" bIns="46800">
            <a:spAutoFit/>
          </a:bodyPr>
          <a:lstStyle/>
          <a:p>
            <a:r>
              <a:rPr lang="en-GB" sz="1200" b="1">
                <a:solidFill>
                  <a:schemeClr val="tx2"/>
                </a:solidFill>
                <a:ea typeface="ＭＳ Ｐゴシック" charset="-128"/>
              </a:rPr>
              <a:t>Department</a:t>
            </a:r>
          </a:p>
        </p:txBody>
      </p:sp>
      <p:sp>
        <p:nvSpPr>
          <p:cNvPr id="20" name="Rectangle 19"/>
          <p:cNvSpPr>
            <a:spLocks noChangeArrowheads="1"/>
          </p:cNvSpPr>
          <p:nvPr/>
        </p:nvSpPr>
        <p:spPr bwMode="auto">
          <a:xfrm>
            <a:off x="1814513" y="2624866"/>
            <a:ext cx="982662" cy="503238"/>
          </a:xfrm>
          <a:prstGeom prst="rect">
            <a:avLst/>
          </a:prstGeom>
          <a:solidFill>
            <a:srgbClr val="FFFFFF"/>
          </a:solidFill>
          <a:ln w="12700" algn="ctr">
            <a:solidFill>
              <a:schemeClr val="accent3"/>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21" name="Rectangle 20"/>
          <p:cNvSpPr>
            <a:spLocks noChangeArrowheads="1"/>
          </p:cNvSpPr>
          <p:nvPr/>
        </p:nvSpPr>
        <p:spPr bwMode="auto">
          <a:xfrm>
            <a:off x="2952750" y="2624866"/>
            <a:ext cx="982663" cy="503238"/>
          </a:xfrm>
          <a:prstGeom prst="rect">
            <a:avLst/>
          </a:prstGeom>
          <a:solidFill>
            <a:srgbClr val="FFFFFF"/>
          </a:solidFill>
          <a:ln w="12700" algn="ctr">
            <a:solidFill>
              <a:schemeClr val="accent3"/>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22" name="Rectangle 21"/>
          <p:cNvSpPr>
            <a:spLocks noChangeArrowheads="1"/>
          </p:cNvSpPr>
          <p:nvPr/>
        </p:nvSpPr>
        <p:spPr bwMode="auto">
          <a:xfrm>
            <a:off x="4090988" y="2624866"/>
            <a:ext cx="984250" cy="503238"/>
          </a:xfrm>
          <a:prstGeom prst="rect">
            <a:avLst/>
          </a:prstGeom>
          <a:solidFill>
            <a:srgbClr val="FFFFFF"/>
          </a:solidFill>
          <a:ln w="12700" algn="ctr">
            <a:solidFill>
              <a:schemeClr val="accent3"/>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23" name="Rectangle 22"/>
          <p:cNvSpPr>
            <a:spLocks noChangeArrowheads="1"/>
          </p:cNvSpPr>
          <p:nvPr/>
        </p:nvSpPr>
        <p:spPr bwMode="auto">
          <a:xfrm>
            <a:off x="5230813" y="2624866"/>
            <a:ext cx="984250" cy="503238"/>
          </a:xfrm>
          <a:prstGeom prst="rect">
            <a:avLst/>
          </a:prstGeom>
          <a:solidFill>
            <a:srgbClr val="FFFFFF"/>
          </a:solidFill>
          <a:ln w="12700" algn="ctr">
            <a:solidFill>
              <a:schemeClr val="accent3"/>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24" name="Rectangle 23"/>
          <p:cNvSpPr>
            <a:spLocks noChangeArrowheads="1"/>
          </p:cNvSpPr>
          <p:nvPr/>
        </p:nvSpPr>
        <p:spPr bwMode="auto">
          <a:xfrm>
            <a:off x="6370638" y="2624866"/>
            <a:ext cx="982662" cy="503238"/>
          </a:xfrm>
          <a:prstGeom prst="rect">
            <a:avLst/>
          </a:prstGeom>
          <a:solidFill>
            <a:srgbClr val="FFFFFF"/>
          </a:solidFill>
          <a:ln w="12700" algn="ctr">
            <a:solidFill>
              <a:schemeClr val="accent3"/>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25" name="Rectangle 24"/>
          <p:cNvSpPr>
            <a:spLocks noChangeArrowheads="1"/>
          </p:cNvSpPr>
          <p:nvPr/>
        </p:nvSpPr>
        <p:spPr bwMode="auto">
          <a:xfrm>
            <a:off x="7510463" y="2624866"/>
            <a:ext cx="982662" cy="503238"/>
          </a:xfrm>
          <a:prstGeom prst="rect">
            <a:avLst/>
          </a:prstGeom>
          <a:solidFill>
            <a:srgbClr val="FFFFFF"/>
          </a:solidFill>
          <a:ln w="12700" algn="ctr">
            <a:solidFill>
              <a:schemeClr val="accent3"/>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cxnSp>
        <p:nvCxnSpPr>
          <p:cNvPr id="26" name="AutoShape 25"/>
          <p:cNvCxnSpPr>
            <a:cxnSpLocks noChangeShapeType="1"/>
            <a:stCxn id="20" idx="3"/>
            <a:endCxn id="21" idx="1"/>
          </p:cNvCxnSpPr>
          <p:nvPr/>
        </p:nvCxnSpPr>
        <p:spPr bwMode="auto">
          <a:xfrm>
            <a:off x="2797175" y="2877279"/>
            <a:ext cx="155575" cy="1587"/>
          </a:xfrm>
          <a:prstGeom prst="straightConnector1">
            <a:avLst/>
          </a:prstGeom>
          <a:noFill/>
          <a:ln w="12700">
            <a:solidFill>
              <a:schemeClr val="accent1"/>
            </a:solidFill>
            <a:round/>
            <a:headEnd/>
            <a:tailEnd type="triangle" w="med" len="med"/>
          </a:ln>
        </p:spPr>
      </p:cxnSp>
      <p:cxnSp>
        <p:nvCxnSpPr>
          <p:cNvPr id="27" name="AutoShape 26"/>
          <p:cNvCxnSpPr>
            <a:cxnSpLocks noChangeShapeType="1"/>
            <a:stCxn id="21" idx="3"/>
            <a:endCxn id="22" idx="1"/>
          </p:cNvCxnSpPr>
          <p:nvPr/>
        </p:nvCxnSpPr>
        <p:spPr bwMode="auto">
          <a:xfrm>
            <a:off x="3935413" y="2877279"/>
            <a:ext cx="155575" cy="1587"/>
          </a:xfrm>
          <a:prstGeom prst="straightConnector1">
            <a:avLst/>
          </a:prstGeom>
          <a:noFill/>
          <a:ln w="12700">
            <a:solidFill>
              <a:schemeClr val="accent1"/>
            </a:solidFill>
            <a:round/>
            <a:headEnd/>
            <a:tailEnd type="triangle" w="med" len="med"/>
          </a:ln>
        </p:spPr>
      </p:cxnSp>
      <p:cxnSp>
        <p:nvCxnSpPr>
          <p:cNvPr id="28" name="AutoShape 27"/>
          <p:cNvCxnSpPr>
            <a:cxnSpLocks noChangeShapeType="1"/>
            <a:stCxn id="22" idx="3"/>
            <a:endCxn id="23" idx="1"/>
          </p:cNvCxnSpPr>
          <p:nvPr/>
        </p:nvCxnSpPr>
        <p:spPr bwMode="auto">
          <a:xfrm>
            <a:off x="5075238" y="2877279"/>
            <a:ext cx="155575" cy="1587"/>
          </a:xfrm>
          <a:prstGeom prst="straightConnector1">
            <a:avLst/>
          </a:prstGeom>
          <a:noFill/>
          <a:ln w="12700">
            <a:solidFill>
              <a:schemeClr val="accent1"/>
            </a:solidFill>
            <a:round/>
            <a:headEnd/>
            <a:tailEnd type="triangle" w="med" len="med"/>
          </a:ln>
        </p:spPr>
      </p:cxnSp>
      <p:cxnSp>
        <p:nvCxnSpPr>
          <p:cNvPr id="29" name="AutoShape 28"/>
          <p:cNvCxnSpPr>
            <a:cxnSpLocks noChangeShapeType="1"/>
            <a:stCxn id="23" idx="3"/>
            <a:endCxn id="24" idx="1"/>
          </p:cNvCxnSpPr>
          <p:nvPr/>
        </p:nvCxnSpPr>
        <p:spPr bwMode="auto">
          <a:xfrm>
            <a:off x="6215063" y="2877279"/>
            <a:ext cx="155575" cy="1587"/>
          </a:xfrm>
          <a:prstGeom prst="straightConnector1">
            <a:avLst/>
          </a:prstGeom>
          <a:noFill/>
          <a:ln w="12700">
            <a:solidFill>
              <a:schemeClr val="accent1"/>
            </a:solidFill>
            <a:round/>
            <a:headEnd/>
            <a:tailEnd type="triangle" w="med" len="med"/>
          </a:ln>
        </p:spPr>
      </p:cxnSp>
      <p:cxnSp>
        <p:nvCxnSpPr>
          <p:cNvPr id="30" name="AutoShape 29"/>
          <p:cNvCxnSpPr>
            <a:cxnSpLocks noChangeShapeType="1"/>
            <a:stCxn id="24" idx="3"/>
            <a:endCxn id="25" idx="1"/>
          </p:cNvCxnSpPr>
          <p:nvPr/>
        </p:nvCxnSpPr>
        <p:spPr bwMode="auto">
          <a:xfrm>
            <a:off x="7353300" y="2877279"/>
            <a:ext cx="157163" cy="1587"/>
          </a:xfrm>
          <a:prstGeom prst="straightConnector1">
            <a:avLst/>
          </a:prstGeom>
          <a:noFill/>
          <a:ln w="12700">
            <a:solidFill>
              <a:schemeClr val="accent1"/>
            </a:solidFill>
            <a:round/>
            <a:headEnd/>
            <a:tailEnd type="triangle" w="med" len="med"/>
          </a:ln>
        </p:spPr>
      </p:cxnSp>
      <p:sp>
        <p:nvSpPr>
          <p:cNvPr id="788510" name="Text Box 30"/>
          <p:cNvSpPr txBox="1">
            <a:spLocks noChangeArrowheads="1"/>
          </p:cNvSpPr>
          <p:nvPr/>
        </p:nvSpPr>
        <p:spPr bwMode="auto">
          <a:xfrm>
            <a:off x="451098" y="3563079"/>
            <a:ext cx="1034555" cy="279180"/>
          </a:xfrm>
          <a:prstGeom prst="rect">
            <a:avLst/>
          </a:prstGeom>
          <a:noFill/>
          <a:ln w="9525" algn="ctr">
            <a:noFill/>
            <a:miter lim="800000"/>
            <a:headEnd/>
            <a:tailEnd/>
          </a:ln>
        </p:spPr>
        <p:txBody>
          <a:bodyPr wrap="none" lIns="90000" tIns="46800" rIns="90000" bIns="46800">
            <a:spAutoFit/>
          </a:bodyPr>
          <a:lstStyle/>
          <a:p>
            <a:r>
              <a:rPr lang="en-GB" sz="1200" b="1">
                <a:solidFill>
                  <a:schemeClr val="bg1"/>
                </a:solidFill>
                <a:ea typeface="ＭＳ Ｐゴシック" charset="-128"/>
              </a:rPr>
              <a:t>Department</a:t>
            </a:r>
          </a:p>
        </p:txBody>
      </p:sp>
      <p:sp>
        <p:nvSpPr>
          <p:cNvPr id="788511" name="Text Box 42"/>
          <p:cNvSpPr txBox="1">
            <a:spLocks noChangeArrowheads="1"/>
          </p:cNvSpPr>
          <p:nvPr/>
        </p:nvSpPr>
        <p:spPr bwMode="auto">
          <a:xfrm>
            <a:off x="451098" y="4409216"/>
            <a:ext cx="1034555" cy="279180"/>
          </a:xfrm>
          <a:prstGeom prst="rect">
            <a:avLst/>
          </a:prstGeom>
          <a:noFill/>
          <a:ln w="9525" algn="ctr">
            <a:noFill/>
            <a:miter lim="800000"/>
            <a:headEnd/>
            <a:tailEnd/>
          </a:ln>
        </p:spPr>
        <p:txBody>
          <a:bodyPr wrap="none" lIns="90000" tIns="46800" rIns="90000" bIns="46800">
            <a:spAutoFit/>
          </a:bodyPr>
          <a:lstStyle/>
          <a:p>
            <a:r>
              <a:rPr lang="en-GB" sz="1200" b="1">
                <a:solidFill>
                  <a:schemeClr val="tx2"/>
                </a:solidFill>
                <a:ea typeface="ＭＳ Ｐゴシック" charset="-128"/>
              </a:rPr>
              <a:t>Department</a:t>
            </a:r>
          </a:p>
        </p:txBody>
      </p:sp>
      <p:sp>
        <p:nvSpPr>
          <p:cNvPr id="788512" name="Text Box 54"/>
          <p:cNvSpPr txBox="1">
            <a:spLocks noChangeArrowheads="1"/>
          </p:cNvSpPr>
          <p:nvPr/>
        </p:nvSpPr>
        <p:spPr bwMode="auto">
          <a:xfrm>
            <a:off x="451098" y="5255354"/>
            <a:ext cx="1034555" cy="279180"/>
          </a:xfrm>
          <a:prstGeom prst="rect">
            <a:avLst/>
          </a:prstGeom>
          <a:noFill/>
          <a:ln w="9525" algn="ctr">
            <a:noFill/>
            <a:miter lim="800000"/>
            <a:headEnd/>
            <a:tailEnd/>
          </a:ln>
        </p:spPr>
        <p:txBody>
          <a:bodyPr wrap="none" lIns="90000" tIns="46800" rIns="90000" bIns="46800">
            <a:spAutoFit/>
          </a:bodyPr>
          <a:lstStyle/>
          <a:p>
            <a:r>
              <a:rPr lang="en-GB" sz="1200" b="1">
                <a:solidFill>
                  <a:schemeClr val="bg1"/>
                </a:solidFill>
                <a:ea typeface="ＭＳ Ｐゴシック" charset="-128"/>
              </a:rPr>
              <a:t>Department</a:t>
            </a:r>
          </a:p>
        </p:txBody>
      </p:sp>
      <p:cxnSp>
        <p:nvCxnSpPr>
          <p:cNvPr id="67" name="AutoShape 66"/>
          <p:cNvCxnSpPr>
            <a:cxnSpLocks noChangeShapeType="1"/>
            <a:stCxn id="8" idx="2"/>
            <a:endCxn id="21" idx="0"/>
          </p:cNvCxnSpPr>
          <p:nvPr/>
        </p:nvCxnSpPr>
        <p:spPr bwMode="auto">
          <a:xfrm rot="16200000" flipH="1">
            <a:off x="2703513" y="1883503"/>
            <a:ext cx="342900" cy="1139825"/>
          </a:xfrm>
          <a:prstGeom prst="bentConnector3">
            <a:avLst>
              <a:gd name="adj1" fmla="val 62403"/>
            </a:avLst>
          </a:prstGeom>
          <a:noFill/>
          <a:ln w="12700">
            <a:solidFill>
              <a:schemeClr val="accent1"/>
            </a:solidFill>
            <a:miter lim="800000"/>
            <a:headEnd/>
            <a:tailEnd type="triangle" w="med" len="med"/>
          </a:ln>
        </p:spPr>
      </p:cxnSp>
      <p:cxnSp>
        <p:nvCxnSpPr>
          <p:cNvPr id="68" name="AutoShape 67"/>
          <p:cNvCxnSpPr>
            <a:cxnSpLocks noChangeShapeType="1"/>
            <a:stCxn id="22" idx="0"/>
            <a:endCxn id="10" idx="2"/>
          </p:cNvCxnSpPr>
          <p:nvPr/>
        </p:nvCxnSpPr>
        <p:spPr bwMode="auto">
          <a:xfrm rot="5400000" flipH="1" flipV="1">
            <a:off x="4410869" y="2454210"/>
            <a:ext cx="342900" cy="1588"/>
          </a:xfrm>
          <a:prstGeom prst="straightConnector1">
            <a:avLst/>
          </a:prstGeom>
          <a:noFill/>
          <a:ln w="12700">
            <a:solidFill>
              <a:schemeClr val="accent1"/>
            </a:solidFill>
            <a:round/>
            <a:headEnd/>
            <a:tailEnd type="triangle" w="med" len="med"/>
          </a:ln>
        </p:spPr>
      </p:cxnSp>
      <p:cxnSp>
        <p:nvCxnSpPr>
          <p:cNvPr id="69" name="AutoShape 68"/>
          <p:cNvCxnSpPr>
            <a:cxnSpLocks noChangeShapeType="1"/>
            <a:stCxn id="23" idx="2"/>
            <a:endCxn id="106" idx="0"/>
          </p:cNvCxnSpPr>
          <p:nvPr/>
        </p:nvCxnSpPr>
        <p:spPr bwMode="auto">
          <a:xfrm rot="16200000" flipH="1">
            <a:off x="6692107" y="2158935"/>
            <a:ext cx="344487" cy="2282825"/>
          </a:xfrm>
          <a:prstGeom prst="bentConnector3">
            <a:avLst>
              <a:gd name="adj1" fmla="val 22242"/>
            </a:avLst>
          </a:prstGeom>
          <a:noFill/>
          <a:ln w="12700">
            <a:solidFill>
              <a:schemeClr val="accent1"/>
            </a:solidFill>
            <a:miter lim="800000"/>
            <a:headEnd/>
            <a:tailEnd type="triangle" w="med" len="med"/>
          </a:ln>
        </p:spPr>
      </p:cxnSp>
      <p:sp>
        <p:nvSpPr>
          <p:cNvPr id="101" name="Rectangle 100"/>
          <p:cNvSpPr>
            <a:spLocks noChangeArrowheads="1"/>
          </p:cNvSpPr>
          <p:nvPr/>
        </p:nvSpPr>
        <p:spPr bwMode="auto">
          <a:xfrm>
            <a:off x="1817688" y="3472591"/>
            <a:ext cx="982662" cy="503238"/>
          </a:xfrm>
          <a:prstGeom prst="rect">
            <a:avLst/>
          </a:prstGeom>
          <a:solidFill>
            <a:srgbClr val="FFFFFF"/>
          </a:solidFill>
          <a:ln w="12700" algn="ctr">
            <a:solidFill>
              <a:schemeClr val="bg1"/>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02" name="Rectangle 101"/>
          <p:cNvSpPr>
            <a:spLocks noChangeArrowheads="1"/>
          </p:cNvSpPr>
          <p:nvPr/>
        </p:nvSpPr>
        <p:spPr bwMode="auto">
          <a:xfrm>
            <a:off x="2955925" y="3472591"/>
            <a:ext cx="982663" cy="503238"/>
          </a:xfrm>
          <a:prstGeom prst="rect">
            <a:avLst/>
          </a:prstGeom>
          <a:solidFill>
            <a:srgbClr val="FFFFFF"/>
          </a:solidFill>
          <a:ln w="12700" algn="ctr">
            <a:solidFill>
              <a:schemeClr val="bg1"/>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03" name="Rectangle 102"/>
          <p:cNvSpPr>
            <a:spLocks noChangeArrowheads="1"/>
          </p:cNvSpPr>
          <p:nvPr/>
        </p:nvSpPr>
        <p:spPr bwMode="auto">
          <a:xfrm>
            <a:off x="4094163" y="3472591"/>
            <a:ext cx="984250" cy="503238"/>
          </a:xfrm>
          <a:prstGeom prst="rect">
            <a:avLst/>
          </a:prstGeom>
          <a:solidFill>
            <a:srgbClr val="FFFFFF"/>
          </a:solidFill>
          <a:ln w="12700" algn="ctr">
            <a:solidFill>
              <a:schemeClr val="bg1"/>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04" name="Rectangle 103"/>
          <p:cNvSpPr>
            <a:spLocks noChangeArrowheads="1"/>
          </p:cNvSpPr>
          <p:nvPr/>
        </p:nvSpPr>
        <p:spPr bwMode="auto">
          <a:xfrm>
            <a:off x="5233988" y="3472591"/>
            <a:ext cx="984250" cy="503238"/>
          </a:xfrm>
          <a:prstGeom prst="rect">
            <a:avLst/>
          </a:prstGeom>
          <a:solidFill>
            <a:srgbClr val="FFFFFF"/>
          </a:solidFill>
          <a:ln w="12700" algn="ctr">
            <a:solidFill>
              <a:schemeClr val="bg1"/>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05" name="Rectangle 104"/>
          <p:cNvSpPr>
            <a:spLocks noChangeArrowheads="1"/>
          </p:cNvSpPr>
          <p:nvPr/>
        </p:nvSpPr>
        <p:spPr bwMode="auto">
          <a:xfrm>
            <a:off x="6373813" y="3472591"/>
            <a:ext cx="982662" cy="503238"/>
          </a:xfrm>
          <a:prstGeom prst="rect">
            <a:avLst/>
          </a:prstGeom>
          <a:solidFill>
            <a:srgbClr val="FFFFFF"/>
          </a:solidFill>
          <a:ln w="12700" algn="ctr">
            <a:solidFill>
              <a:schemeClr val="bg1"/>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06" name="Rectangle 105"/>
          <p:cNvSpPr>
            <a:spLocks noChangeArrowheads="1"/>
          </p:cNvSpPr>
          <p:nvPr/>
        </p:nvSpPr>
        <p:spPr bwMode="auto">
          <a:xfrm>
            <a:off x="7513638" y="3472591"/>
            <a:ext cx="982662" cy="503238"/>
          </a:xfrm>
          <a:prstGeom prst="rect">
            <a:avLst/>
          </a:prstGeom>
          <a:solidFill>
            <a:srgbClr val="FFFFFF"/>
          </a:solidFill>
          <a:ln w="12700" algn="ctr">
            <a:solidFill>
              <a:schemeClr val="bg1"/>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cxnSp>
        <p:nvCxnSpPr>
          <p:cNvPr id="107" name="AutoShape 13"/>
          <p:cNvCxnSpPr>
            <a:cxnSpLocks noChangeShapeType="1"/>
            <a:stCxn id="101" idx="3"/>
            <a:endCxn id="102" idx="1"/>
          </p:cNvCxnSpPr>
          <p:nvPr/>
        </p:nvCxnSpPr>
        <p:spPr bwMode="auto">
          <a:xfrm>
            <a:off x="2800350" y="3725004"/>
            <a:ext cx="155575" cy="1587"/>
          </a:xfrm>
          <a:prstGeom prst="straightConnector1">
            <a:avLst/>
          </a:prstGeom>
          <a:noFill/>
          <a:ln w="12700">
            <a:solidFill>
              <a:schemeClr val="accent1"/>
            </a:solidFill>
            <a:round/>
            <a:headEnd/>
            <a:tailEnd type="triangle" w="med" len="med"/>
          </a:ln>
        </p:spPr>
      </p:cxnSp>
      <p:cxnSp>
        <p:nvCxnSpPr>
          <p:cNvPr id="108" name="AutoShape 14"/>
          <p:cNvCxnSpPr>
            <a:cxnSpLocks noChangeShapeType="1"/>
            <a:stCxn id="102" idx="3"/>
            <a:endCxn id="103" idx="1"/>
          </p:cNvCxnSpPr>
          <p:nvPr/>
        </p:nvCxnSpPr>
        <p:spPr bwMode="auto">
          <a:xfrm>
            <a:off x="3938588" y="3725004"/>
            <a:ext cx="155575" cy="1587"/>
          </a:xfrm>
          <a:prstGeom prst="straightConnector1">
            <a:avLst/>
          </a:prstGeom>
          <a:noFill/>
          <a:ln w="12700">
            <a:solidFill>
              <a:schemeClr val="accent1"/>
            </a:solidFill>
            <a:round/>
            <a:headEnd/>
            <a:tailEnd type="triangle" w="med" len="med"/>
          </a:ln>
        </p:spPr>
      </p:cxnSp>
      <p:cxnSp>
        <p:nvCxnSpPr>
          <p:cNvPr id="109" name="AutoShape 15"/>
          <p:cNvCxnSpPr>
            <a:cxnSpLocks noChangeShapeType="1"/>
            <a:stCxn id="103" idx="3"/>
            <a:endCxn id="104" idx="1"/>
          </p:cNvCxnSpPr>
          <p:nvPr/>
        </p:nvCxnSpPr>
        <p:spPr bwMode="auto">
          <a:xfrm>
            <a:off x="5078413" y="3725004"/>
            <a:ext cx="155575" cy="1587"/>
          </a:xfrm>
          <a:prstGeom prst="straightConnector1">
            <a:avLst/>
          </a:prstGeom>
          <a:noFill/>
          <a:ln w="12700">
            <a:solidFill>
              <a:schemeClr val="accent1"/>
            </a:solidFill>
            <a:round/>
            <a:headEnd/>
            <a:tailEnd type="triangle" w="med" len="med"/>
          </a:ln>
        </p:spPr>
      </p:cxnSp>
      <p:cxnSp>
        <p:nvCxnSpPr>
          <p:cNvPr id="110" name="AutoShape 16"/>
          <p:cNvCxnSpPr>
            <a:cxnSpLocks noChangeShapeType="1"/>
            <a:stCxn id="104" idx="3"/>
            <a:endCxn id="105" idx="1"/>
          </p:cNvCxnSpPr>
          <p:nvPr/>
        </p:nvCxnSpPr>
        <p:spPr bwMode="auto">
          <a:xfrm>
            <a:off x="6218238" y="3725004"/>
            <a:ext cx="155575" cy="1587"/>
          </a:xfrm>
          <a:prstGeom prst="straightConnector1">
            <a:avLst/>
          </a:prstGeom>
          <a:noFill/>
          <a:ln w="12700">
            <a:solidFill>
              <a:schemeClr val="accent1"/>
            </a:solidFill>
            <a:round/>
            <a:headEnd/>
            <a:tailEnd type="triangle" w="med" len="med"/>
          </a:ln>
        </p:spPr>
      </p:cxnSp>
      <p:cxnSp>
        <p:nvCxnSpPr>
          <p:cNvPr id="111" name="AutoShape 17"/>
          <p:cNvCxnSpPr>
            <a:cxnSpLocks noChangeShapeType="1"/>
            <a:stCxn id="105" idx="3"/>
            <a:endCxn id="106" idx="1"/>
          </p:cNvCxnSpPr>
          <p:nvPr/>
        </p:nvCxnSpPr>
        <p:spPr bwMode="auto">
          <a:xfrm>
            <a:off x="7356475" y="3725004"/>
            <a:ext cx="157163" cy="1587"/>
          </a:xfrm>
          <a:prstGeom prst="straightConnector1">
            <a:avLst/>
          </a:prstGeom>
          <a:noFill/>
          <a:ln w="12700">
            <a:solidFill>
              <a:schemeClr val="accent1"/>
            </a:solidFill>
            <a:round/>
            <a:headEnd/>
            <a:tailEnd type="triangle" w="med" len="med"/>
          </a:ln>
        </p:spPr>
      </p:cxnSp>
      <p:sp>
        <p:nvSpPr>
          <p:cNvPr id="115" name="Rectangle 114"/>
          <p:cNvSpPr>
            <a:spLocks noChangeArrowheads="1"/>
          </p:cNvSpPr>
          <p:nvPr/>
        </p:nvSpPr>
        <p:spPr bwMode="auto">
          <a:xfrm>
            <a:off x="1817688" y="4312379"/>
            <a:ext cx="982662" cy="503237"/>
          </a:xfrm>
          <a:prstGeom prst="rect">
            <a:avLst/>
          </a:prstGeom>
          <a:solidFill>
            <a:srgbClr val="FFFFFF"/>
          </a:solidFill>
          <a:ln w="12700" algn="ctr">
            <a:solidFill>
              <a:schemeClr val="accent3"/>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16" name="Rectangle 115"/>
          <p:cNvSpPr>
            <a:spLocks noChangeArrowheads="1"/>
          </p:cNvSpPr>
          <p:nvPr/>
        </p:nvSpPr>
        <p:spPr bwMode="auto">
          <a:xfrm>
            <a:off x="2955925" y="4312379"/>
            <a:ext cx="982663" cy="503237"/>
          </a:xfrm>
          <a:prstGeom prst="rect">
            <a:avLst/>
          </a:prstGeom>
          <a:solidFill>
            <a:srgbClr val="FFFFFF"/>
          </a:solidFill>
          <a:ln w="12700" algn="ctr">
            <a:solidFill>
              <a:schemeClr val="accent3"/>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17" name="Rectangle 116"/>
          <p:cNvSpPr>
            <a:spLocks noChangeArrowheads="1"/>
          </p:cNvSpPr>
          <p:nvPr/>
        </p:nvSpPr>
        <p:spPr bwMode="auto">
          <a:xfrm>
            <a:off x="4094163" y="4312379"/>
            <a:ext cx="984250" cy="503237"/>
          </a:xfrm>
          <a:prstGeom prst="rect">
            <a:avLst/>
          </a:prstGeom>
          <a:solidFill>
            <a:srgbClr val="FFFFFF"/>
          </a:solidFill>
          <a:ln w="12700" algn="ctr">
            <a:solidFill>
              <a:schemeClr val="accent3"/>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18" name="Rectangle 117"/>
          <p:cNvSpPr>
            <a:spLocks noChangeArrowheads="1"/>
          </p:cNvSpPr>
          <p:nvPr/>
        </p:nvSpPr>
        <p:spPr bwMode="auto">
          <a:xfrm>
            <a:off x="5233988" y="4312379"/>
            <a:ext cx="984250" cy="503237"/>
          </a:xfrm>
          <a:prstGeom prst="rect">
            <a:avLst/>
          </a:prstGeom>
          <a:solidFill>
            <a:srgbClr val="FFFFFF"/>
          </a:solidFill>
          <a:ln w="12700" algn="ctr">
            <a:solidFill>
              <a:schemeClr val="accent3"/>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19" name="Rectangle 118"/>
          <p:cNvSpPr>
            <a:spLocks noChangeArrowheads="1"/>
          </p:cNvSpPr>
          <p:nvPr/>
        </p:nvSpPr>
        <p:spPr bwMode="auto">
          <a:xfrm>
            <a:off x="6373813" y="4312379"/>
            <a:ext cx="982662" cy="503237"/>
          </a:xfrm>
          <a:prstGeom prst="rect">
            <a:avLst/>
          </a:prstGeom>
          <a:solidFill>
            <a:srgbClr val="FFFFFF"/>
          </a:solidFill>
          <a:ln w="12700" algn="ctr">
            <a:solidFill>
              <a:schemeClr val="accent3"/>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20" name="Rectangle 119"/>
          <p:cNvSpPr>
            <a:spLocks noChangeArrowheads="1"/>
          </p:cNvSpPr>
          <p:nvPr/>
        </p:nvSpPr>
        <p:spPr bwMode="auto">
          <a:xfrm>
            <a:off x="7513638" y="4312379"/>
            <a:ext cx="982662" cy="503237"/>
          </a:xfrm>
          <a:prstGeom prst="rect">
            <a:avLst/>
          </a:prstGeom>
          <a:solidFill>
            <a:srgbClr val="FFFFFF"/>
          </a:solidFill>
          <a:ln w="12700" algn="ctr">
            <a:solidFill>
              <a:schemeClr val="accent3"/>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cxnSp>
        <p:nvCxnSpPr>
          <p:cNvPr id="121" name="AutoShape 13"/>
          <p:cNvCxnSpPr>
            <a:cxnSpLocks noChangeShapeType="1"/>
            <a:stCxn id="115" idx="3"/>
            <a:endCxn id="116" idx="1"/>
          </p:cNvCxnSpPr>
          <p:nvPr/>
        </p:nvCxnSpPr>
        <p:spPr bwMode="auto">
          <a:xfrm>
            <a:off x="2800350" y="4564791"/>
            <a:ext cx="155575" cy="1588"/>
          </a:xfrm>
          <a:prstGeom prst="straightConnector1">
            <a:avLst/>
          </a:prstGeom>
          <a:noFill/>
          <a:ln w="12700">
            <a:solidFill>
              <a:schemeClr val="accent1"/>
            </a:solidFill>
            <a:round/>
            <a:headEnd/>
            <a:tailEnd type="triangle" w="med" len="med"/>
          </a:ln>
        </p:spPr>
      </p:cxnSp>
      <p:cxnSp>
        <p:nvCxnSpPr>
          <p:cNvPr id="122" name="AutoShape 14"/>
          <p:cNvCxnSpPr>
            <a:cxnSpLocks noChangeShapeType="1"/>
            <a:stCxn id="116" idx="3"/>
            <a:endCxn id="117" idx="1"/>
          </p:cNvCxnSpPr>
          <p:nvPr/>
        </p:nvCxnSpPr>
        <p:spPr bwMode="auto">
          <a:xfrm>
            <a:off x="3938588" y="4564791"/>
            <a:ext cx="155575" cy="1588"/>
          </a:xfrm>
          <a:prstGeom prst="straightConnector1">
            <a:avLst/>
          </a:prstGeom>
          <a:noFill/>
          <a:ln w="12700">
            <a:solidFill>
              <a:schemeClr val="accent1"/>
            </a:solidFill>
            <a:round/>
            <a:headEnd/>
            <a:tailEnd type="triangle" w="med" len="med"/>
          </a:ln>
        </p:spPr>
      </p:cxnSp>
      <p:cxnSp>
        <p:nvCxnSpPr>
          <p:cNvPr id="123" name="AutoShape 15"/>
          <p:cNvCxnSpPr>
            <a:cxnSpLocks noChangeShapeType="1"/>
            <a:stCxn id="117" idx="3"/>
            <a:endCxn id="118" idx="1"/>
          </p:cNvCxnSpPr>
          <p:nvPr/>
        </p:nvCxnSpPr>
        <p:spPr bwMode="auto">
          <a:xfrm>
            <a:off x="5078413" y="4564791"/>
            <a:ext cx="155575" cy="1588"/>
          </a:xfrm>
          <a:prstGeom prst="straightConnector1">
            <a:avLst/>
          </a:prstGeom>
          <a:noFill/>
          <a:ln w="12700">
            <a:solidFill>
              <a:schemeClr val="accent1"/>
            </a:solidFill>
            <a:round/>
            <a:headEnd/>
            <a:tailEnd type="triangle" w="med" len="med"/>
          </a:ln>
        </p:spPr>
      </p:cxnSp>
      <p:cxnSp>
        <p:nvCxnSpPr>
          <p:cNvPr id="124" name="AutoShape 16"/>
          <p:cNvCxnSpPr>
            <a:cxnSpLocks noChangeShapeType="1"/>
            <a:stCxn id="118" idx="3"/>
            <a:endCxn id="119" idx="1"/>
          </p:cNvCxnSpPr>
          <p:nvPr/>
        </p:nvCxnSpPr>
        <p:spPr bwMode="auto">
          <a:xfrm>
            <a:off x="6218238" y="4564791"/>
            <a:ext cx="155575" cy="1588"/>
          </a:xfrm>
          <a:prstGeom prst="straightConnector1">
            <a:avLst/>
          </a:prstGeom>
          <a:noFill/>
          <a:ln w="12700">
            <a:solidFill>
              <a:schemeClr val="accent1"/>
            </a:solidFill>
            <a:round/>
            <a:headEnd/>
            <a:tailEnd type="triangle" w="med" len="med"/>
          </a:ln>
        </p:spPr>
      </p:cxnSp>
      <p:cxnSp>
        <p:nvCxnSpPr>
          <p:cNvPr id="125" name="AutoShape 17"/>
          <p:cNvCxnSpPr>
            <a:cxnSpLocks noChangeShapeType="1"/>
            <a:stCxn id="119" idx="3"/>
            <a:endCxn id="120" idx="1"/>
          </p:cNvCxnSpPr>
          <p:nvPr/>
        </p:nvCxnSpPr>
        <p:spPr bwMode="auto">
          <a:xfrm>
            <a:off x="7356475" y="4564791"/>
            <a:ext cx="157163" cy="1588"/>
          </a:xfrm>
          <a:prstGeom prst="straightConnector1">
            <a:avLst/>
          </a:prstGeom>
          <a:noFill/>
          <a:ln w="12700">
            <a:solidFill>
              <a:schemeClr val="accent1"/>
            </a:solidFill>
            <a:round/>
            <a:headEnd/>
            <a:tailEnd type="triangle" w="med" len="med"/>
          </a:ln>
        </p:spPr>
      </p:cxnSp>
      <p:sp>
        <p:nvSpPr>
          <p:cNvPr id="126" name="Rectangle 125"/>
          <p:cNvSpPr>
            <a:spLocks noChangeArrowheads="1"/>
          </p:cNvSpPr>
          <p:nvPr/>
        </p:nvSpPr>
        <p:spPr bwMode="auto">
          <a:xfrm>
            <a:off x="1817688" y="5174391"/>
            <a:ext cx="982662" cy="503238"/>
          </a:xfrm>
          <a:prstGeom prst="rect">
            <a:avLst/>
          </a:prstGeom>
          <a:solidFill>
            <a:srgbClr val="FFFFFF"/>
          </a:solidFill>
          <a:ln w="12700" algn="ctr">
            <a:solidFill>
              <a:schemeClr val="bg1"/>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27" name="Rectangle 126"/>
          <p:cNvSpPr>
            <a:spLocks noChangeArrowheads="1"/>
          </p:cNvSpPr>
          <p:nvPr/>
        </p:nvSpPr>
        <p:spPr bwMode="auto">
          <a:xfrm>
            <a:off x="2955925" y="5174391"/>
            <a:ext cx="982663" cy="503238"/>
          </a:xfrm>
          <a:prstGeom prst="rect">
            <a:avLst/>
          </a:prstGeom>
          <a:solidFill>
            <a:srgbClr val="FFFFFF"/>
          </a:solidFill>
          <a:ln w="12700" algn="ctr">
            <a:solidFill>
              <a:schemeClr val="bg1"/>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28" name="Rectangle 127"/>
          <p:cNvSpPr>
            <a:spLocks noChangeArrowheads="1"/>
          </p:cNvSpPr>
          <p:nvPr/>
        </p:nvSpPr>
        <p:spPr bwMode="auto">
          <a:xfrm>
            <a:off x="4094163" y="5174391"/>
            <a:ext cx="984250" cy="503238"/>
          </a:xfrm>
          <a:prstGeom prst="rect">
            <a:avLst/>
          </a:prstGeom>
          <a:solidFill>
            <a:srgbClr val="FFFFFF"/>
          </a:solidFill>
          <a:ln w="12700" algn="ctr">
            <a:solidFill>
              <a:schemeClr val="bg1"/>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29" name="Rectangle 128"/>
          <p:cNvSpPr>
            <a:spLocks noChangeArrowheads="1"/>
          </p:cNvSpPr>
          <p:nvPr/>
        </p:nvSpPr>
        <p:spPr bwMode="auto">
          <a:xfrm>
            <a:off x="5233988" y="5174391"/>
            <a:ext cx="984250" cy="503238"/>
          </a:xfrm>
          <a:prstGeom prst="rect">
            <a:avLst/>
          </a:prstGeom>
          <a:solidFill>
            <a:srgbClr val="FFFFFF"/>
          </a:solidFill>
          <a:ln w="12700" algn="ctr">
            <a:solidFill>
              <a:schemeClr val="bg1"/>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30" name="Rectangle 129"/>
          <p:cNvSpPr>
            <a:spLocks noChangeArrowheads="1"/>
          </p:cNvSpPr>
          <p:nvPr/>
        </p:nvSpPr>
        <p:spPr bwMode="auto">
          <a:xfrm>
            <a:off x="6373813" y="5174391"/>
            <a:ext cx="982662" cy="503238"/>
          </a:xfrm>
          <a:prstGeom prst="rect">
            <a:avLst/>
          </a:prstGeom>
          <a:solidFill>
            <a:srgbClr val="FFFFFF"/>
          </a:solidFill>
          <a:ln w="12700" algn="ctr">
            <a:solidFill>
              <a:schemeClr val="bg1"/>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sp>
        <p:nvSpPr>
          <p:cNvPr id="131" name="Rectangle 130"/>
          <p:cNvSpPr>
            <a:spLocks noChangeArrowheads="1"/>
          </p:cNvSpPr>
          <p:nvPr/>
        </p:nvSpPr>
        <p:spPr bwMode="auto">
          <a:xfrm>
            <a:off x="7513638" y="5174391"/>
            <a:ext cx="982662" cy="503238"/>
          </a:xfrm>
          <a:prstGeom prst="rect">
            <a:avLst/>
          </a:prstGeom>
          <a:solidFill>
            <a:srgbClr val="FFFFFF"/>
          </a:solidFill>
          <a:ln w="12700" algn="ctr">
            <a:solidFill>
              <a:schemeClr val="bg1"/>
            </a:solidFill>
            <a:miter lim="800000"/>
            <a:headEnd/>
            <a:tailEnd/>
          </a:ln>
        </p:spPr>
        <p:txBody>
          <a:bodyPr lIns="90000" tIns="46800" rIns="90000" bIns="46800" anchor="ctr"/>
          <a:lstStyle/>
          <a:p>
            <a:pPr algn="ctr">
              <a:defRPr/>
            </a:pPr>
            <a:r>
              <a:rPr lang="en-GB" sz="1200">
                <a:solidFill>
                  <a:schemeClr val="tx2"/>
                </a:solidFill>
                <a:ea typeface="ＭＳ Ｐゴシック" pitchFamily="50" charset="-128"/>
              </a:rPr>
              <a:t>Activity</a:t>
            </a:r>
          </a:p>
        </p:txBody>
      </p:sp>
      <p:cxnSp>
        <p:nvCxnSpPr>
          <p:cNvPr id="132" name="AutoShape 13"/>
          <p:cNvCxnSpPr>
            <a:cxnSpLocks noChangeShapeType="1"/>
            <a:stCxn id="126" idx="3"/>
            <a:endCxn id="127" idx="1"/>
          </p:cNvCxnSpPr>
          <p:nvPr/>
        </p:nvCxnSpPr>
        <p:spPr bwMode="auto">
          <a:xfrm>
            <a:off x="2800350" y="5425216"/>
            <a:ext cx="155575" cy="1588"/>
          </a:xfrm>
          <a:prstGeom prst="straightConnector1">
            <a:avLst/>
          </a:prstGeom>
          <a:noFill/>
          <a:ln w="12700">
            <a:solidFill>
              <a:schemeClr val="accent1"/>
            </a:solidFill>
            <a:round/>
            <a:headEnd/>
            <a:tailEnd type="triangle" w="med" len="med"/>
          </a:ln>
        </p:spPr>
      </p:cxnSp>
      <p:cxnSp>
        <p:nvCxnSpPr>
          <p:cNvPr id="133" name="AutoShape 14"/>
          <p:cNvCxnSpPr>
            <a:cxnSpLocks noChangeShapeType="1"/>
            <a:stCxn id="127" idx="3"/>
            <a:endCxn id="128" idx="1"/>
          </p:cNvCxnSpPr>
          <p:nvPr/>
        </p:nvCxnSpPr>
        <p:spPr bwMode="auto">
          <a:xfrm>
            <a:off x="3938588" y="5425216"/>
            <a:ext cx="155575" cy="1588"/>
          </a:xfrm>
          <a:prstGeom prst="straightConnector1">
            <a:avLst/>
          </a:prstGeom>
          <a:noFill/>
          <a:ln w="12700">
            <a:solidFill>
              <a:schemeClr val="accent1"/>
            </a:solidFill>
            <a:round/>
            <a:headEnd/>
            <a:tailEnd type="triangle" w="med" len="med"/>
          </a:ln>
        </p:spPr>
      </p:cxnSp>
      <p:cxnSp>
        <p:nvCxnSpPr>
          <p:cNvPr id="134" name="AutoShape 15"/>
          <p:cNvCxnSpPr>
            <a:cxnSpLocks noChangeShapeType="1"/>
            <a:stCxn id="128" idx="3"/>
            <a:endCxn id="129" idx="1"/>
          </p:cNvCxnSpPr>
          <p:nvPr/>
        </p:nvCxnSpPr>
        <p:spPr bwMode="auto">
          <a:xfrm>
            <a:off x="5078413" y="5425216"/>
            <a:ext cx="155575" cy="1588"/>
          </a:xfrm>
          <a:prstGeom prst="straightConnector1">
            <a:avLst/>
          </a:prstGeom>
          <a:noFill/>
          <a:ln w="12700">
            <a:solidFill>
              <a:schemeClr val="accent1"/>
            </a:solidFill>
            <a:round/>
            <a:headEnd/>
            <a:tailEnd type="triangle" w="med" len="med"/>
          </a:ln>
        </p:spPr>
      </p:cxnSp>
      <p:cxnSp>
        <p:nvCxnSpPr>
          <p:cNvPr id="135" name="AutoShape 16"/>
          <p:cNvCxnSpPr>
            <a:cxnSpLocks noChangeShapeType="1"/>
            <a:stCxn id="129" idx="3"/>
            <a:endCxn id="130" idx="1"/>
          </p:cNvCxnSpPr>
          <p:nvPr/>
        </p:nvCxnSpPr>
        <p:spPr bwMode="auto">
          <a:xfrm>
            <a:off x="6218238" y="5425216"/>
            <a:ext cx="155575" cy="1588"/>
          </a:xfrm>
          <a:prstGeom prst="straightConnector1">
            <a:avLst/>
          </a:prstGeom>
          <a:noFill/>
          <a:ln w="12700">
            <a:solidFill>
              <a:schemeClr val="accent1"/>
            </a:solidFill>
            <a:round/>
            <a:headEnd/>
            <a:tailEnd type="triangle" w="med" len="med"/>
          </a:ln>
        </p:spPr>
      </p:cxnSp>
      <p:cxnSp>
        <p:nvCxnSpPr>
          <p:cNvPr id="136" name="AutoShape 17"/>
          <p:cNvCxnSpPr>
            <a:cxnSpLocks noChangeShapeType="1"/>
            <a:stCxn id="130" idx="3"/>
            <a:endCxn id="131" idx="1"/>
          </p:cNvCxnSpPr>
          <p:nvPr/>
        </p:nvCxnSpPr>
        <p:spPr bwMode="auto">
          <a:xfrm>
            <a:off x="7356475" y="5425216"/>
            <a:ext cx="157163" cy="1588"/>
          </a:xfrm>
          <a:prstGeom prst="straightConnector1">
            <a:avLst/>
          </a:prstGeom>
          <a:noFill/>
          <a:ln w="12700">
            <a:solidFill>
              <a:schemeClr val="accent1"/>
            </a:solidFill>
            <a:round/>
            <a:headEnd/>
            <a:tailEnd type="triangle" w="med" len="med"/>
          </a:ln>
        </p:spPr>
      </p:cxnSp>
      <p:sp>
        <p:nvSpPr>
          <p:cNvPr id="7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73"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9505" name="Title 1"/>
          <p:cNvSpPr>
            <a:spLocks noGrp="1"/>
          </p:cNvSpPr>
          <p:nvPr>
            <p:ph type="title"/>
          </p:nvPr>
        </p:nvSpPr>
        <p:spPr/>
        <p:txBody>
          <a:bodyPr/>
          <a:lstStyle/>
          <a:p>
            <a:r>
              <a:rPr lang="en-GB"/>
              <a:t>Process flow</a:t>
            </a:r>
            <a:endParaRPr lang="nl-NL"/>
          </a:p>
        </p:txBody>
      </p:sp>
      <p:sp>
        <p:nvSpPr>
          <p:cNvPr id="4" name="Rectangle 3"/>
          <p:cNvSpPr>
            <a:spLocks noChangeArrowheads="1"/>
          </p:cNvSpPr>
          <p:nvPr/>
        </p:nvSpPr>
        <p:spPr bwMode="auto">
          <a:xfrm>
            <a:off x="784225" y="1595010"/>
            <a:ext cx="827088" cy="485775"/>
          </a:xfrm>
          <a:prstGeom prst="rect">
            <a:avLst/>
          </a:prstGeom>
          <a:solidFill>
            <a:schemeClr val="accent3"/>
          </a:solidFill>
          <a:ln w="12700">
            <a:noFill/>
            <a:miter lim="800000"/>
            <a:headEnd/>
            <a:tailEnd/>
          </a:ln>
        </p:spPr>
        <p:txBody>
          <a:bodyPr lIns="45720" rIns="45720" anchor="ctr"/>
          <a:lstStyle/>
          <a:p>
            <a:pPr algn="ctr">
              <a:lnSpc>
                <a:spcPct val="95000"/>
              </a:lnSpc>
              <a:defRPr/>
            </a:pPr>
            <a:r>
              <a:rPr lang="en-GB" sz="1200" b="1">
                <a:solidFill>
                  <a:schemeClr val="bg1"/>
                </a:solidFill>
                <a:ea typeface="ＭＳ Ｐゴシック" pitchFamily="50" charset="-128"/>
              </a:rPr>
              <a:t>Process</a:t>
            </a:r>
          </a:p>
        </p:txBody>
      </p:sp>
      <p:sp>
        <p:nvSpPr>
          <p:cNvPr id="5" name="Rectangle 4"/>
          <p:cNvSpPr>
            <a:spLocks noChangeArrowheads="1"/>
          </p:cNvSpPr>
          <p:nvPr/>
        </p:nvSpPr>
        <p:spPr bwMode="auto">
          <a:xfrm>
            <a:off x="784225" y="2242710"/>
            <a:ext cx="827088" cy="485775"/>
          </a:xfrm>
          <a:prstGeom prst="rect">
            <a:avLst/>
          </a:prstGeom>
          <a:solidFill>
            <a:schemeClr val="accent3"/>
          </a:solidFill>
          <a:ln w="12700">
            <a:noFill/>
            <a:miter lim="800000"/>
            <a:headEnd/>
            <a:tailEnd/>
          </a:ln>
        </p:spPr>
        <p:txBody>
          <a:bodyPr lIns="45720" rIns="45720" anchor="ctr"/>
          <a:lstStyle/>
          <a:p>
            <a:pPr algn="ctr">
              <a:lnSpc>
                <a:spcPct val="95000"/>
              </a:lnSpc>
              <a:defRPr/>
            </a:pPr>
            <a:r>
              <a:rPr lang="en-GB" sz="1200" b="1">
                <a:solidFill>
                  <a:schemeClr val="bg1"/>
                </a:solidFill>
                <a:ea typeface="ＭＳ Ｐゴシック" pitchFamily="50" charset="-128"/>
              </a:rPr>
              <a:t>Process</a:t>
            </a:r>
          </a:p>
        </p:txBody>
      </p:sp>
      <p:sp>
        <p:nvSpPr>
          <p:cNvPr id="6" name="Rectangle 5"/>
          <p:cNvSpPr>
            <a:spLocks noChangeArrowheads="1"/>
          </p:cNvSpPr>
          <p:nvPr/>
        </p:nvSpPr>
        <p:spPr bwMode="auto">
          <a:xfrm>
            <a:off x="784225" y="2891998"/>
            <a:ext cx="827088" cy="485775"/>
          </a:xfrm>
          <a:prstGeom prst="rect">
            <a:avLst/>
          </a:prstGeom>
          <a:solidFill>
            <a:schemeClr val="accent3"/>
          </a:solidFill>
          <a:ln w="12700">
            <a:noFill/>
            <a:miter lim="800000"/>
            <a:headEnd/>
            <a:tailEnd/>
          </a:ln>
        </p:spPr>
        <p:txBody>
          <a:bodyPr lIns="45720" rIns="45720" anchor="ctr"/>
          <a:lstStyle/>
          <a:p>
            <a:pPr algn="ctr">
              <a:lnSpc>
                <a:spcPct val="95000"/>
              </a:lnSpc>
              <a:defRPr/>
            </a:pPr>
            <a:r>
              <a:rPr lang="en-GB" sz="1200" b="1">
                <a:solidFill>
                  <a:schemeClr val="bg1"/>
                </a:solidFill>
                <a:ea typeface="ＭＳ Ｐゴシック" pitchFamily="50" charset="-128"/>
              </a:rPr>
              <a:t>Process</a:t>
            </a:r>
          </a:p>
        </p:txBody>
      </p:sp>
      <p:sp>
        <p:nvSpPr>
          <p:cNvPr id="7" name="Rectangle 6"/>
          <p:cNvSpPr>
            <a:spLocks noChangeArrowheads="1"/>
          </p:cNvSpPr>
          <p:nvPr/>
        </p:nvSpPr>
        <p:spPr bwMode="auto">
          <a:xfrm>
            <a:off x="784225" y="3539698"/>
            <a:ext cx="827088" cy="485775"/>
          </a:xfrm>
          <a:prstGeom prst="rect">
            <a:avLst/>
          </a:prstGeom>
          <a:solidFill>
            <a:schemeClr val="accent3"/>
          </a:solidFill>
          <a:ln w="12700">
            <a:noFill/>
            <a:miter lim="800000"/>
            <a:headEnd/>
            <a:tailEnd/>
          </a:ln>
        </p:spPr>
        <p:txBody>
          <a:bodyPr lIns="45720" rIns="45720" anchor="ctr"/>
          <a:lstStyle/>
          <a:p>
            <a:pPr algn="ctr">
              <a:lnSpc>
                <a:spcPct val="95000"/>
              </a:lnSpc>
              <a:defRPr/>
            </a:pPr>
            <a:r>
              <a:rPr lang="en-GB" sz="1200" b="1">
                <a:solidFill>
                  <a:schemeClr val="bg1"/>
                </a:solidFill>
                <a:ea typeface="ＭＳ Ｐゴシック" pitchFamily="50" charset="-128"/>
              </a:rPr>
              <a:t>Process</a:t>
            </a:r>
          </a:p>
        </p:txBody>
      </p:sp>
      <p:sp>
        <p:nvSpPr>
          <p:cNvPr id="8" name="Rectangle 7"/>
          <p:cNvSpPr>
            <a:spLocks noChangeArrowheads="1"/>
          </p:cNvSpPr>
          <p:nvPr/>
        </p:nvSpPr>
        <p:spPr bwMode="auto">
          <a:xfrm>
            <a:off x="784225" y="4187398"/>
            <a:ext cx="827088" cy="485775"/>
          </a:xfrm>
          <a:prstGeom prst="rect">
            <a:avLst/>
          </a:prstGeom>
          <a:solidFill>
            <a:schemeClr val="accent3"/>
          </a:solidFill>
          <a:ln w="12700">
            <a:noFill/>
            <a:miter lim="800000"/>
            <a:headEnd/>
            <a:tailEnd/>
          </a:ln>
        </p:spPr>
        <p:txBody>
          <a:bodyPr lIns="45720" rIns="45720" anchor="ctr"/>
          <a:lstStyle/>
          <a:p>
            <a:pPr algn="ctr">
              <a:lnSpc>
                <a:spcPct val="95000"/>
              </a:lnSpc>
              <a:defRPr/>
            </a:pPr>
            <a:r>
              <a:rPr lang="en-GB" sz="1200" b="1">
                <a:solidFill>
                  <a:schemeClr val="bg1"/>
                </a:solidFill>
                <a:ea typeface="ＭＳ Ｐゴシック" pitchFamily="50" charset="-128"/>
              </a:rPr>
              <a:t>Process</a:t>
            </a:r>
          </a:p>
        </p:txBody>
      </p:sp>
      <p:sp>
        <p:nvSpPr>
          <p:cNvPr id="9" name="Rectangle 8"/>
          <p:cNvSpPr>
            <a:spLocks noChangeArrowheads="1"/>
          </p:cNvSpPr>
          <p:nvPr/>
        </p:nvSpPr>
        <p:spPr bwMode="auto">
          <a:xfrm>
            <a:off x="784225" y="4817635"/>
            <a:ext cx="827088" cy="485775"/>
          </a:xfrm>
          <a:prstGeom prst="rect">
            <a:avLst/>
          </a:prstGeom>
          <a:solidFill>
            <a:schemeClr val="accent3"/>
          </a:solidFill>
          <a:ln w="12700">
            <a:noFill/>
            <a:miter lim="800000"/>
            <a:headEnd/>
            <a:tailEnd/>
          </a:ln>
        </p:spPr>
        <p:txBody>
          <a:bodyPr lIns="45720" rIns="45720" anchor="ctr"/>
          <a:lstStyle/>
          <a:p>
            <a:pPr algn="ctr">
              <a:lnSpc>
                <a:spcPct val="95000"/>
              </a:lnSpc>
              <a:defRPr/>
            </a:pPr>
            <a:r>
              <a:rPr lang="en-GB" sz="1200" b="1">
                <a:solidFill>
                  <a:schemeClr val="bg1"/>
                </a:solidFill>
                <a:ea typeface="ＭＳ Ｐゴシック" pitchFamily="50" charset="-128"/>
              </a:rPr>
              <a:t>Process</a:t>
            </a:r>
          </a:p>
        </p:txBody>
      </p:sp>
      <p:sp>
        <p:nvSpPr>
          <p:cNvPr id="10" name="Rectangle 9"/>
          <p:cNvSpPr>
            <a:spLocks noChangeArrowheads="1"/>
          </p:cNvSpPr>
          <p:nvPr/>
        </p:nvSpPr>
        <p:spPr bwMode="auto">
          <a:xfrm>
            <a:off x="1862138" y="1595010"/>
            <a:ext cx="828675"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11" name="Rectangle 10"/>
          <p:cNvSpPr>
            <a:spLocks noChangeArrowheads="1"/>
          </p:cNvSpPr>
          <p:nvPr/>
        </p:nvSpPr>
        <p:spPr bwMode="auto">
          <a:xfrm>
            <a:off x="1862138" y="2242710"/>
            <a:ext cx="828675"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12" name="Rectangle 11"/>
          <p:cNvSpPr>
            <a:spLocks noChangeArrowheads="1"/>
          </p:cNvSpPr>
          <p:nvPr/>
        </p:nvSpPr>
        <p:spPr bwMode="auto">
          <a:xfrm>
            <a:off x="1862138" y="2891998"/>
            <a:ext cx="828675"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13" name="Rectangle 12"/>
          <p:cNvSpPr>
            <a:spLocks noChangeArrowheads="1"/>
          </p:cNvSpPr>
          <p:nvPr/>
        </p:nvSpPr>
        <p:spPr bwMode="auto">
          <a:xfrm>
            <a:off x="1862138" y="3539698"/>
            <a:ext cx="828675"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14" name="Rectangle 13"/>
          <p:cNvSpPr>
            <a:spLocks noChangeArrowheads="1"/>
          </p:cNvSpPr>
          <p:nvPr/>
        </p:nvSpPr>
        <p:spPr bwMode="auto">
          <a:xfrm>
            <a:off x="1862138" y="4187398"/>
            <a:ext cx="828675"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15" name="Rectangle 14"/>
          <p:cNvSpPr>
            <a:spLocks noChangeArrowheads="1"/>
          </p:cNvSpPr>
          <p:nvPr/>
        </p:nvSpPr>
        <p:spPr bwMode="auto">
          <a:xfrm>
            <a:off x="1862138" y="4817635"/>
            <a:ext cx="828675"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16" name="Rectangle 15"/>
          <p:cNvSpPr>
            <a:spLocks noChangeArrowheads="1"/>
          </p:cNvSpPr>
          <p:nvPr/>
        </p:nvSpPr>
        <p:spPr bwMode="auto">
          <a:xfrm>
            <a:off x="2943225" y="1595010"/>
            <a:ext cx="827088"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17" name="Rectangle 16"/>
          <p:cNvSpPr>
            <a:spLocks noChangeArrowheads="1"/>
          </p:cNvSpPr>
          <p:nvPr/>
        </p:nvSpPr>
        <p:spPr bwMode="auto">
          <a:xfrm>
            <a:off x="2943225" y="2242710"/>
            <a:ext cx="827088"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18" name="Rectangle 17"/>
          <p:cNvSpPr>
            <a:spLocks noChangeArrowheads="1"/>
          </p:cNvSpPr>
          <p:nvPr/>
        </p:nvSpPr>
        <p:spPr bwMode="auto">
          <a:xfrm>
            <a:off x="2943225" y="2891998"/>
            <a:ext cx="827088"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19" name="Rectangle 18"/>
          <p:cNvSpPr>
            <a:spLocks noChangeArrowheads="1"/>
          </p:cNvSpPr>
          <p:nvPr/>
        </p:nvSpPr>
        <p:spPr bwMode="auto">
          <a:xfrm>
            <a:off x="2943225" y="3539698"/>
            <a:ext cx="827088"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20" name="Rectangle 19"/>
          <p:cNvSpPr>
            <a:spLocks noChangeArrowheads="1"/>
          </p:cNvSpPr>
          <p:nvPr/>
        </p:nvSpPr>
        <p:spPr bwMode="auto">
          <a:xfrm>
            <a:off x="2943225" y="4187398"/>
            <a:ext cx="827088"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21" name="Rectangle 20"/>
          <p:cNvSpPr>
            <a:spLocks noChangeArrowheads="1"/>
          </p:cNvSpPr>
          <p:nvPr/>
        </p:nvSpPr>
        <p:spPr bwMode="auto">
          <a:xfrm>
            <a:off x="2943225" y="4817635"/>
            <a:ext cx="827088"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22" name="Rectangle 21"/>
          <p:cNvSpPr>
            <a:spLocks noChangeArrowheads="1"/>
          </p:cNvSpPr>
          <p:nvPr/>
        </p:nvSpPr>
        <p:spPr bwMode="auto">
          <a:xfrm>
            <a:off x="4022725" y="1595010"/>
            <a:ext cx="825500"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23" name="Rectangle 22"/>
          <p:cNvSpPr>
            <a:spLocks noChangeArrowheads="1"/>
          </p:cNvSpPr>
          <p:nvPr/>
        </p:nvSpPr>
        <p:spPr bwMode="auto">
          <a:xfrm>
            <a:off x="4022725" y="2242710"/>
            <a:ext cx="825500"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24" name="Rectangle 23"/>
          <p:cNvSpPr>
            <a:spLocks noChangeArrowheads="1"/>
          </p:cNvSpPr>
          <p:nvPr/>
        </p:nvSpPr>
        <p:spPr bwMode="auto">
          <a:xfrm>
            <a:off x="4022725" y="2891998"/>
            <a:ext cx="825500"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25" name="Rectangle 24"/>
          <p:cNvSpPr>
            <a:spLocks noChangeArrowheads="1"/>
          </p:cNvSpPr>
          <p:nvPr/>
        </p:nvSpPr>
        <p:spPr bwMode="auto">
          <a:xfrm>
            <a:off x="4022725" y="3539698"/>
            <a:ext cx="825500"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26" name="Rectangle 25"/>
          <p:cNvSpPr>
            <a:spLocks noChangeArrowheads="1"/>
          </p:cNvSpPr>
          <p:nvPr/>
        </p:nvSpPr>
        <p:spPr bwMode="auto">
          <a:xfrm>
            <a:off x="4022725" y="4187398"/>
            <a:ext cx="825500"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27" name="Rectangle 26"/>
          <p:cNvSpPr>
            <a:spLocks noChangeArrowheads="1"/>
          </p:cNvSpPr>
          <p:nvPr/>
        </p:nvSpPr>
        <p:spPr bwMode="auto">
          <a:xfrm>
            <a:off x="4022725" y="4817635"/>
            <a:ext cx="825500"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28" name="Rectangle 27"/>
          <p:cNvSpPr>
            <a:spLocks noChangeArrowheads="1"/>
          </p:cNvSpPr>
          <p:nvPr/>
        </p:nvSpPr>
        <p:spPr bwMode="auto">
          <a:xfrm>
            <a:off x="5100638" y="1595010"/>
            <a:ext cx="828675"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29" name="Rectangle 28"/>
          <p:cNvSpPr>
            <a:spLocks noChangeArrowheads="1"/>
          </p:cNvSpPr>
          <p:nvPr/>
        </p:nvSpPr>
        <p:spPr bwMode="auto">
          <a:xfrm>
            <a:off x="5100638" y="2242710"/>
            <a:ext cx="828675"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30" name="Rectangle 29"/>
          <p:cNvSpPr>
            <a:spLocks noChangeArrowheads="1"/>
          </p:cNvSpPr>
          <p:nvPr/>
        </p:nvSpPr>
        <p:spPr bwMode="auto">
          <a:xfrm>
            <a:off x="5100638" y="2891998"/>
            <a:ext cx="828675"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31" name="Rectangle 30"/>
          <p:cNvSpPr>
            <a:spLocks noChangeArrowheads="1"/>
          </p:cNvSpPr>
          <p:nvPr/>
        </p:nvSpPr>
        <p:spPr bwMode="auto">
          <a:xfrm>
            <a:off x="5100638" y="3539698"/>
            <a:ext cx="828675"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32" name="Rectangle 31"/>
          <p:cNvSpPr>
            <a:spLocks noChangeArrowheads="1"/>
          </p:cNvSpPr>
          <p:nvPr/>
        </p:nvSpPr>
        <p:spPr bwMode="auto">
          <a:xfrm>
            <a:off x="5100638" y="4187398"/>
            <a:ext cx="828675"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33" name="Rectangle 32"/>
          <p:cNvSpPr>
            <a:spLocks noChangeArrowheads="1"/>
          </p:cNvSpPr>
          <p:nvPr/>
        </p:nvSpPr>
        <p:spPr bwMode="auto">
          <a:xfrm>
            <a:off x="5100638" y="4817635"/>
            <a:ext cx="828675"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34" name="Rectangle 33"/>
          <p:cNvSpPr>
            <a:spLocks noChangeArrowheads="1"/>
          </p:cNvSpPr>
          <p:nvPr/>
        </p:nvSpPr>
        <p:spPr bwMode="auto">
          <a:xfrm>
            <a:off x="6181725" y="1595010"/>
            <a:ext cx="827088"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35" name="Rectangle 34"/>
          <p:cNvSpPr>
            <a:spLocks noChangeArrowheads="1"/>
          </p:cNvSpPr>
          <p:nvPr/>
        </p:nvSpPr>
        <p:spPr bwMode="auto">
          <a:xfrm>
            <a:off x="6181725" y="2242710"/>
            <a:ext cx="827088"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36" name="Rectangle 35"/>
          <p:cNvSpPr>
            <a:spLocks noChangeArrowheads="1"/>
          </p:cNvSpPr>
          <p:nvPr/>
        </p:nvSpPr>
        <p:spPr bwMode="auto">
          <a:xfrm>
            <a:off x="6181725" y="2891998"/>
            <a:ext cx="827088"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37" name="Rectangle 36"/>
          <p:cNvSpPr>
            <a:spLocks noChangeArrowheads="1"/>
          </p:cNvSpPr>
          <p:nvPr/>
        </p:nvSpPr>
        <p:spPr bwMode="auto">
          <a:xfrm>
            <a:off x="6181725" y="3539698"/>
            <a:ext cx="827088"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38" name="Rectangle 37"/>
          <p:cNvSpPr>
            <a:spLocks noChangeArrowheads="1"/>
          </p:cNvSpPr>
          <p:nvPr/>
        </p:nvSpPr>
        <p:spPr bwMode="auto">
          <a:xfrm>
            <a:off x="6181725" y="4187398"/>
            <a:ext cx="827088"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39" name="Rectangle 38"/>
          <p:cNvSpPr>
            <a:spLocks noChangeArrowheads="1"/>
          </p:cNvSpPr>
          <p:nvPr/>
        </p:nvSpPr>
        <p:spPr bwMode="auto">
          <a:xfrm>
            <a:off x="6181725" y="4817635"/>
            <a:ext cx="827088"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40" name="Rectangle 39"/>
          <p:cNvSpPr>
            <a:spLocks noChangeArrowheads="1"/>
          </p:cNvSpPr>
          <p:nvPr/>
        </p:nvSpPr>
        <p:spPr bwMode="auto">
          <a:xfrm>
            <a:off x="7259638" y="1595010"/>
            <a:ext cx="827087"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41" name="Rectangle 40"/>
          <p:cNvSpPr>
            <a:spLocks noChangeArrowheads="1"/>
          </p:cNvSpPr>
          <p:nvPr/>
        </p:nvSpPr>
        <p:spPr bwMode="auto">
          <a:xfrm>
            <a:off x="7259638" y="2242710"/>
            <a:ext cx="827087"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42" name="Rectangle 41"/>
          <p:cNvSpPr>
            <a:spLocks noChangeArrowheads="1"/>
          </p:cNvSpPr>
          <p:nvPr/>
        </p:nvSpPr>
        <p:spPr bwMode="auto">
          <a:xfrm>
            <a:off x="7259638" y="2891998"/>
            <a:ext cx="827087"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43" name="Rectangle 42"/>
          <p:cNvSpPr>
            <a:spLocks noChangeArrowheads="1"/>
          </p:cNvSpPr>
          <p:nvPr/>
        </p:nvSpPr>
        <p:spPr bwMode="auto">
          <a:xfrm>
            <a:off x="7259638" y="3539698"/>
            <a:ext cx="827087"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44" name="Rectangle 43"/>
          <p:cNvSpPr>
            <a:spLocks noChangeArrowheads="1"/>
          </p:cNvSpPr>
          <p:nvPr/>
        </p:nvSpPr>
        <p:spPr bwMode="auto">
          <a:xfrm>
            <a:off x="7259638" y="4187398"/>
            <a:ext cx="827087"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sp>
        <p:nvSpPr>
          <p:cNvPr id="45" name="Rectangle 44"/>
          <p:cNvSpPr>
            <a:spLocks noChangeArrowheads="1"/>
          </p:cNvSpPr>
          <p:nvPr/>
        </p:nvSpPr>
        <p:spPr bwMode="auto">
          <a:xfrm>
            <a:off x="7259638" y="4817635"/>
            <a:ext cx="827087" cy="485775"/>
          </a:xfrm>
          <a:prstGeom prst="rect">
            <a:avLst/>
          </a:prstGeom>
          <a:solidFill>
            <a:srgbClr val="FFFFFF"/>
          </a:solidFill>
          <a:ln w="12700">
            <a:solidFill>
              <a:schemeClr val="accent3"/>
            </a:solidFill>
            <a:miter lim="800000"/>
            <a:headEnd/>
            <a:tailEnd/>
          </a:ln>
        </p:spPr>
        <p:txBody>
          <a:bodyPr lIns="45720" rIns="45720" anchor="ctr"/>
          <a:lstStyle/>
          <a:p>
            <a:pPr algn="ctr">
              <a:lnSpc>
                <a:spcPct val="95000"/>
              </a:lnSpc>
              <a:defRPr/>
            </a:pPr>
            <a:r>
              <a:rPr lang="en-GB" sz="1200">
                <a:solidFill>
                  <a:schemeClr val="tx2"/>
                </a:solidFill>
                <a:ea typeface="ＭＳ Ｐゴシック" pitchFamily="50" charset="-128"/>
              </a:rPr>
              <a:t>Text</a:t>
            </a:r>
          </a:p>
        </p:txBody>
      </p:sp>
      <p:cxnSp>
        <p:nvCxnSpPr>
          <p:cNvPr id="46" name="AutoShape 45"/>
          <p:cNvCxnSpPr>
            <a:cxnSpLocks noChangeShapeType="1"/>
            <a:stCxn id="10" idx="3"/>
            <a:endCxn id="17" idx="1"/>
          </p:cNvCxnSpPr>
          <p:nvPr/>
        </p:nvCxnSpPr>
        <p:spPr bwMode="auto">
          <a:xfrm>
            <a:off x="2690813" y="1837898"/>
            <a:ext cx="252412" cy="647700"/>
          </a:xfrm>
          <a:prstGeom prst="bentConnector3">
            <a:avLst>
              <a:gd name="adj1" fmla="val 49713"/>
            </a:avLst>
          </a:prstGeom>
          <a:noFill/>
          <a:ln w="12700">
            <a:solidFill>
              <a:schemeClr val="accent1"/>
            </a:solidFill>
            <a:miter lim="800000"/>
            <a:headEnd/>
            <a:tailEnd type="triangle" w="med" len="sm"/>
          </a:ln>
        </p:spPr>
      </p:cxnSp>
      <p:cxnSp>
        <p:nvCxnSpPr>
          <p:cNvPr id="47" name="AutoShape 46"/>
          <p:cNvCxnSpPr>
            <a:cxnSpLocks noChangeShapeType="1"/>
            <a:stCxn id="12" idx="3"/>
            <a:endCxn id="21" idx="1"/>
          </p:cNvCxnSpPr>
          <p:nvPr/>
        </p:nvCxnSpPr>
        <p:spPr bwMode="auto">
          <a:xfrm>
            <a:off x="2690813" y="3134885"/>
            <a:ext cx="252412" cy="1925638"/>
          </a:xfrm>
          <a:prstGeom prst="bentConnector3">
            <a:avLst>
              <a:gd name="adj1" fmla="val 49713"/>
            </a:avLst>
          </a:prstGeom>
          <a:noFill/>
          <a:ln w="12700">
            <a:solidFill>
              <a:schemeClr val="accent1"/>
            </a:solidFill>
            <a:miter lim="800000"/>
            <a:headEnd/>
            <a:tailEnd type="triangle" w="med" len="sm"/>
          </a:ln>
        </p:spPr>
      </p:cxnSp>
      <p:cxnSp>
        <p:nvCxnSpPr>
          <p:cNvPr id="48" name="AutoShape 47"/>
          <p:cNvCxnSpPr>
            <a:cxnSpLocks noChangeShapeType="1"/>
            <a:stCxn id="16" idx="3"/>
            <a:endCxn id="24" idx="1"/>
          </p:cNvCxnSpPr>
          <p:nvPr/>
        </p:nvCxnSpPr>
        <p:spPr bwMode="auto">
          <a:xfrm>
            <a:off x="3770313" y="1837898"/>
            <a:ext cx="252412" cy="1296987"/>
          </a:xfrm>
          <a:prstGeom prst="bentConnector3">
            <a:avLst>
              <a:gd name="adj1" fmla="val 50000"/>
            </a:avLst>
          </a:prstGeom>
          <a:noFill/>
          <a:ln w="12700">
            <a:solidFill>
              <a:schemeClr val="accent1"/>
            </a:solidFill>
            <a:miter lim="800000"/>
            <a:headEnd/>
            <a:tailEnd type="triangle" w="med" len="sm"/>
          </a:ln>
        </p:spPr>
      </p:cxnSp>
      <p:cxnSp>
        <p:nvCxnSpPr>
          <p:cNvPr id="49" name="AutoShape 48"/>
          <p:cNvCxnSpPr>
            <a:cxnSpLocks noChangeShapeType="1"/>
            <a:stCxn id="22" idx="3"/>
            <a:endCxn id="31" idx="1"/>
          </p:cNvCxnSpPr>
          <p:nvPr/>
        </p:nvCxnSpPr>
        <p:spPr bwMode="auto">
          <a:xfrm>
            <a:off x="4848225" y="1837898"/>
            <a:ext cx="252413" cy="1944687"/>
          </a:xfrm>
          <a:prstGeom prst="bentConnector3">
            <a:avLst>
              <a:gd name="adj1" fmla="val 50000"/>
            </a:avLst>
          </a:prstGeom>
          <a:noFill/>
          <a:ln w="12700">
            <a:solidFill>
              <a:schemeClr val="accent1"/>
            </a:solidFill>
            <a:miter lim="800000"/>
            <a:headEnd/>
            <a:tailEnd type="triangle" w="med" len="sm"/>
          </a:ln>
        </p:spPr>
      </p:cxnSp>
      <p:cxnSp>
        <p:nvCxnSpPr>
          <p:cNvPr id="50" name="AutoShape 49"/>
          <p:cNvCxnSpPr>
            <a:cxnSpLocks noChangeShapeType="1"/>
            <a:stCxn id="28" idx="3"/>
            <a:endCxn id="38" idx="1"/>
          </p:cNvCxnSpPr>
          <p:nvPr/>
        </p:nvCxnSpPr>
        <p:spPr bwMode="auto">
          <a:xfrm>
            <a:off x="5929313" y="1837898"/>
            <a:ext cx="252412" cy="2592387"/>
          </a:xfrm>
          <a:prstGeom prst="bentConnector3">
            <a:avLst>
              <a:gd name="adj1" fmla="val 49713"/>
            </a:avLst>
          </a:prstGeom>
          <a:noFill/>
          <a:ln w="12700">
            <a:solidFill>
              <a:schemeClr val="accent1"/>
            </a:solidFill>
            <a:miter lim="800000"/>
            <a:headEnd/>
            <a:tailEnd type="triangle" w="med" len="sm"/>
          </a:ln>
        </p:spPr>
      </p:cxnSp>
      <p:cxnSp>
        <p:nvCxnSpPr>
          <p:cNvPr id="51" name="AutoShape 50"/>
          <p:cNvCxnSpPr>
            <a:cxnSpLocks noChangeShapeType="1"/>
            <a:stCxn id="34" idx="3"/>
            <a:endCxn id="45" idx="1"/>
          </p:cNvCxnSpPr>
          <p:nvPr/>
        </p:nvCxnSpPr>
        <p:spPr bwMode="auto">
          <a:xfrm>
            <a:off x="7008813" y="1837898"/>
            <a:ext cx="250825" cy="3222625"/>
          </a:xfrm>
          <a:prstGeom prst="bentConnector3">
            <a:avLst>
              <a:gd name="adj1" fmla="val 49708"/>
            </a:avLst>
          </a:prstGeom>
          <a:noFill/>
          <a:ln w="12700">
            <a:solidFill>
              <a:schemeClr val="accent1"/>
            </a:solidFill>
            <a:miter lim="800000"/>
            <a:headEnd/>
            <a:tailEnd type="triangle" w="med" len="sm"/>
          </a:ln>
        </p:spPr>
      </p:cxnSp>
      <p:sp>
        <p:nvSpPr>
          <p:cNvPr id="5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55"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Line 10"/>
          <p:cNvSpPr>
            <a:spLocks noChangeShapeType="1"/>
          </p:cNvSpPr>
          <p:nvPr/>
        </p:nvSpPr>
        <p:spPr bwMode="auto">
          <a:xfrm>
            <a:off x="784225" y="3823856"/>
            <a:ext cx="7443788" cy="0"/>
          </a:xfrm>
          <a:prstGeom prst="line">
            <a:avLst/>
          </a:prstGeom>
          <a:noFill/>
          <a:ln w="12700">
            <a:solidFill>
              <a:schemeClr val="accent3"/>
            </a:solidFill>
            <a:round/>
            <a:headEnd/>
            <a:tailEnd/>
          </a:ln>
        </p:spPr>
        <p:txBody>
          <a:bodyPr wrap="none" lIns="0" tIns="0" rIns="0" bIns="0" anchor="ctr"/>
          <a:lstStyle/>
          <a:p>
            <a:pPr>
              <a:defRPr/>
            </a:pPr>
            <a:endParaRPr lang="en-GB" sz="1100">
              <a:solidFill>
                <a:schemeClr val="tx2"/>
              </a:solidFill>
            </a:endParaRPr>
          </a:p>
        </p:txBody>
      </p:sp>
      <p:sp>
        <p:nvSpPr>
          <p:cNvPr id="5" name="Line 3"/>
          <p:cNvSpPr>
            <a:spLocks noChangeShapeType="1"/>
          </p:cNvSpPr>
          <p:nvPr/>
        </p:nvSpPr>
        <p:spPr bwMode="gray">
          <a:xfrm>
            <a:off x="3727450" y="3736544"/>
            <a:ext cx="0" cy="152400"/>
          </a:xfrm>
          <a:prstGeom prst="line">
            <a:avLst/>
          </a:prstGeom>
          <a:noFill/>
          <a:ln w="12700">
            <a:solidFill>
              <a:schemeClr val="tx2"/>
            </a:solidFill>
            <a:round/>
            <a:headEnd/>
            <a:tailEnd type="triangle" w="med" len="med"/>
          </a:ln>
        </p:spPr>
        <p:txBody>
          <a:bodyPr lIns="0" tIns="0" rIns="0" bIns="0"/>
          <a:lstStyle/>
          <a:p>
            <a:pPr>
              <a:defRPr/>
            </a:pPr>
            <a:endParaRPr lang="en-GB" sz="1100">
              <a:solidFill>
                <a:schemeClr val="tx2"/>
              </a:solidFill>
            </a:endParaRPr>
          </a:p>
        </p:txBody>
      </p:sp>
      <p:sp>
        <p:nvSpPr>
          <p:cNvPr id="35" name="Line 34"/>
          <p:cNvSpPr>
            <a:spLocks noChangeShapeType="1"/>
          </p:cNvSpPr>
          <p:nvPr/>
        </p:nvSpPr>
        <p:spPr bwMode="gray">
          <a:xfrm>
            <a:off x="4093165" y="1958544"/>
            <a:ext cx="140698" cy="0"/>
          </a:xfrm>
          <a:prstGeom prst="line">
            <a:avLst/>
          </a:prstGeom>
          <a:noFill/>
          <a:ln w="12700">
            <a:solidFill>
              <a:schemeClr val="tx2"/>
            </a:solidFill>
            <a:round/>
            <a:headEnd/>
            <a:tailEnd type="triangle" w="med" len="med"/>
          </a:ln>
        </p:spPr>
        <p:txBody>
          <a:bodyPr lIns="0" tIns="0" rIns="0" bIns="0"/>
          <a:lstStyle/>
          <a:p>
            <a:pPr>
              <a:defRPr/>
            </a:pPr>
            <a:endParaRPr lang="en-GB" sz="1100">
              <a:solidFill>
                <a:schemeClr val="tx2"/>
              </a:solidFill>
            </a:endParaRPr>
          </a:p>
        </p:txBody>
      </p:sp>
      <p:sp>
        <p:nvSpPr>
          <p:cNvPr id="36" name="Line 35"/>
          <p:cNvSpPr>
            <a:spLocks noChangeShapeType="1"/>
          </p:cNvSpPr>
          <p:nvPr/>
        </p:nvSpPr>
        <p:spPr bwMode="gray">
          <a:xfrm flipH="1">
            <a:off x="3248980" y="1956956"/>
            <a:ext cx="70349" cy="0"/>
          </a:xfrm>
          <a:prstGeom prst="line">
            <a:avLst/>
          </a:prstGeom>
          <a:noFill/>
          <a:ln w="12700">
            <a:solidFill>
              <a:schemeClr val="tx2"/>
            </a:solidFill>
            <a:round/>
            <a:headEnd/>
            <a:tailEnd/>
          </a:ln>
        </p:spPr>
        <p:txBody>
          <a:bodyPr lIns="0" tIns="0" rIns="0" bIns="0"/>
          <a:lstStyle/>
          <a:p>
            <a:pPr>
              <a:defRPr/>
            </a:pPr>
            <a:endParaRPr lang="en-GB" sz="1100">
              <a:solidFill>
                <a:schemeClr val="tx2"/>
              </a:solidFill>
            </a:endParaRPr>
          </a:p>
        </p:txBody>
      </p:sp>
      <p:sp>
        <p:nvSpPr>
          <p:cNvPr id="790529" name="Title 1"/>
          <p:cNvSpPr>
            <a:spLocks noGrp="1"/>
          </p:cNvSpPr>
          <p:nvPr>
            <p:ph type="title"/>
          </p:nvPr>
        </p:nvSpPr>
        <p:spPr/>
        <p:txBody>
          <a:bodyPr/>
          <a:lstStyle/>
          <a:p>
            <a:r>
              <a:rPr lang="en-GB"/>
              <a:t>Process map</a:t>
            </a:r>
            <a:endParaRPr lang="nl-NL"/>
          </a:p>
        </p:txBody>
      </p:sp>
      <p:sp>
        <p:nvSpPr>
          <p:cNvPr id="6" name="Line 4"/>
          <p:cNvSpPr>
            <a:spLocks noChangeShapeType="1"/>
          </p:cNvSpPr>
          <p:nvPr/>
        </p:nvSpPr>
        <p:spPr bwMode="gray">
          <a:xfrm>
            <a:off x="6470650" y="2706256"/>
            <a:ext cx="1336675" cy="0"/>
          </a:xfrm>
          <a:prstGeom prst="line">
            <a:avLst/>
          </a:prstGeom>
          <a:noFill/>
          <a:ln w="12700">
            <a:solidFill>
              <a:schemeClr val="accent1"/>
            </a:solidFill>
            <a:round/>
            <a:headEnd/>
            <a:tailEnd/>
          </a:ln>
        </p:spPr>
        <p:txBody>
          <a:bodyPr lIns="0" tIns="0" rIns="0" bIns="0"/>
          <a:lstStyle/>
          <a:p>
            <a:pPr>
              <a:defRPr/>
            </a:pPr>
            <a:endParaRPr lang="en-GB" sz="1100">
              <a:solidFill>
                <a:schemeClr val="tx2"/>
              </a:solidFill>
            </a:endParaRPr>
          </a:p>
        </p:txBody>
      </p:sp>
      <p:sp>
        <p:nvSpPr>
          <p:cNvPr id="9" name="Line 8"/>
          <p:cNvSpPr>
            <a:spLocks noChangeShapeType="1"/>
          </p:cNvSpPr>
          <p:nvPr/>
        </p:nvSpPr>
        <p:spPr bwMode="auto">
          <a:xfrm>
            <a:off x="784225" y="2312556"/>
            <a:ext cx="7443788" cy="0"/>
          </a:xfrm>
          <a:prstGeom prst="line">
            <a:avLst/>
          </a:prstGeom>
          <a:noFill/>
          <a:ln w="12700">
            <a:solidFill>
              <a:schemeClr val="accent3"/>
            </a:solidFill>
            <a:round/>
            <a:headEnd/>
            <a:tailEnd/>
          </a:ln>
        </p:spPr>
        <p:txBody>
          <a:bodyPr wrap="none" lIns="0" tIns="0" rIns="0" bIns="0" anchor="ctr"/>
          <a:lstStyle/>
          <a:p>
            <a:pPr>
              <a:defRPr/>
            </a:pPr>
            <a:endParaRPr lang="en-GB" sz="1100">
              <a:solidFill>
                <a:schemeClr val="tx2"/>
              </a:solidFill>
            </a:endParaRPr>
          </a:p>
        </p:txBody>
      </p:sp>
      <p:sp>
        <p:nvSpPr>
          <p:cNvPr id="10" name="Line 9"/>
          <p:cNvSpPr>
            <a:spLocks noChangeShapeType="1"/>
          </p:cNvSpPr>
          <p:nvPr/>
        </p:nvSpPr>
        <p:spPr bwMode="auto">
          <a:xfrm>
            <a:off x="784225" y="3076144"/>
            <a:ext cx="7443788" cy="0"/>
          </a:xfrm>
          <a:prstGeom prst="line">
            <a:avLst/>
          </a:prstGeom>
          <a:noFill/>
          <a:ln w="12700">
            <a:solidFill>
              <a:schemeClr val="accent3"/>
            </a:solidFill>
            <a:round/>
            <a:headEnd/>
            <a:tailEnd/>
          </a:ln>
        </p:spPr>
        <p:txBody>
          <a:bodyPr wrap="none" lIns="0" tIns="0" rIns="0" bIns="0" anchor="ctr"/>
          <a:lstStyle/>
          <a:p>
            <a:pPr>
              <a:defRPr/>
            </a:pPr>
            <a:endParaRPr lang="en-GB" sz="1100">
              <a:solidFill>
                <a:schemeClr val="tx2"/>
              </a:solidFill>
            </a:endParaRPr>
          </a:p>
        </p:txBody>
      </p:sp>
      <p:sp>
        <p:nvSpPr>
          <p:cNvPr id="12" name="Line 11"/>
          <p:cNvSpPr>
            <a:spLocks noChangeShapeType="1"/>
          </p:cNvSpPr>
          <p:nvPr/>
        </p:nvSpPr>
        <p:spPr bwMode="auto">
          <a:xfrm>
            <a:off x="784225" y="4573156"/>
            <a:ext cx="7443788" cy="0"/>
          </a:xfrm>
          <a:prstGeom prst="line">
            <a:avLst/>
          </a:prstGeom>
          <a:noFill/>
          <a:ln w="12700">
            <a:solidFill>
              <a:schemeClr val="accent3"/>
            </a:solidFill>
            <a:round/>
            <a:headEnd/>
            <a:tailEnd/>
          </a:ln>
        </p:spPr>
        <p:txBody>
          <a:bodyPr wrap="none" lIns="0" tIns="0" rIns="0" bIns="0" anchor="ctr"/>
          <a:lstStyle/>
          <a:p>
            <a:pPr>
              <a:defRPr/>
            </a:pPr>
            <a:endParaRPr lang="en-GB" sz="1100">
              <a:solidFill>
                <a:schemeClr val="tx2"/>
              </a:solidFill>
            </a:endParaRPr>
          </a:p>
        </p:txBody>
      </p:sp>
      <p:sp>
        <p:nvSpPr>
          <p:cNvPr id="13" name="Line 12"/>
          <p:cNvSpPr>
            <a:spLocks noChangeShapeType="1"/>
          </p:cNvSpPr>
          <p:nvPr/>
        </p:nvSpPr>
        <p:spPr bwMode="auto">
          <a:xfrm>
            <a:off x="784225" y="5336744"/>
            <a:ext cx="7443788" cy="0"/>
          </a:xfrm>
          <a:prstGeom prst="line">
            <a:avLst/>
          </a:prstGeom>
          <a:noFill/>
          <a:ln w="12700">
            <a:solidFill>
              <a:schemeClr val="accent3"/>
            </a:solidFill>
            <a:round/>
            <a:headEnd/>
            <a:tailEnd/>
          </a:ln>
        </p:spPr>
        <p:txBody>
          <a:bodyPr wrap="none" lIns="0" tIns="0" rIns="0" bIns="0" anchor="ctr"/>
          <a:lstStyle/>
          <a:p>
            <a:pPr>
              <a:defRPr/>
            </a:pPr>
            <a:endParaRPr lang="en-GB" sz="1100">
              <a:solidFill>
                <a:schemeClr val="tx2"/>
              </a:solidFill>
            </a:endParaRPr>
          </a:p>
        </p:txBody>
      </p:sp>
      <p:sp>
        <p:nvSpPr>
          <p:cNvPr id="790539" name="Line 13"/>
          <p:cNvSpPr>
            <a:spLocks noChangeShapeType="1"/>
          </p:cNvSpPr>
          <p:nvPr/>
        </p:nvSpPr>
        <p:spPr bwMode="auto">
          <a:xfrm>
            <a:off x="1647825" y="1412875"/>
            <a:ext cx="0" cy="4608513"/>
          </a:xfrm>
          <a:prstGeom prst="line">
            <a:avLst/>
          </a:prstGeom>
          <a:noFill/>
          <a:ln w="9525">
            <a:noFill/>
            <a:round/>
            <a:headEnd/>
            <a:tailEnd/>
          </a:ln>
        </p:spPr>
        <p:txBody>
          <a:bodyPr wrap="none" lIns="0" tIns="0" rIns="0" bIns="0" anchor="ctr"/>
          <a:lstStyle/>
          <a:p>
            <a:endParaRPr lang="en-US"/>
          </a:p>
        </p:txBody>
      </p:sp>
      <p:sp>
        <p:nvSpPr>
          <p:cNvPr id="15" name="Line 14"/>
          <p:cNvSpPr>
            <a:spLocks noChangeShapeType="1"/>
          </p:cNvSpPr>
          <p:nvPr/>
        </p:nvSpPr>
        <p:spPr bwMode="auto">
          <a:xfrm>
            <a:off x="1714500" y="1591831"/>
            <a:ext cx="0" cy="4537075"/>
          </a:xfrm>
          <a:prstGeom prst="line">
            <a:avLst/>
          </a:prstGeom>
          <a:noFill/>
          <a:ln w="12700">
            <a:solidFill>
              <a:schemeClr val="accent3"/>
            </a:solidFill>
            <a:round/>
            <a:headEnd/>
            <a:tailEnd/>
          </a:ln>
        </p:spPr>
        <p:txBody>
          <a:bodyPr wrap="none" lIns="0" tIns="0" rIns="0" bIns="0" anchor="ctr"/>
          <a:lstStyle/>
          <a:p>
            <a:pPr>
              <a:defRPr/>
            </a:pPr>
            <a:endParaRPr lang="en-GB" sz="1100">
              <a:solidFill>
                <a:schemeClr val="tx2"/>
              </a:solidFill>
            </a:endParaRPr>
          </a:p>
        </p:txBody>
      </p:sp>
      <p:sp>
        <p:nvSpPr>
          <p:cNvPr id="790541" name="Rectangle 15"/>
          <p:cNvSpPr>
            <a:spLocks noChangeArrowheads="1"/>
          </p:cNvSpPr>
          <p:nvPr/>
        </p:nvSpPr>
        <p:spPr bwMode="auto">
          <a:xfrm>
            <a:off x="868363" y="1918856"/>
            <a:ext cx="779462" cy="160338"/>
          </a:xfrm>
          <a:prstGeom prst="rect">
            <a:avLst/>
          </a:prstGeom>
          <a:noFill/>
          <a:ln w="12700" algn="ctr">
            <a:noFill/>
            <a:miter lim="800000"/>
            <a:headEnd/>
            <a:tailEnd/>
          </a:ln>
        </p:spPr>
        <p:txBody>
          <a:bodyPr lIns="0" tIns="0" rIns="0" bIns="0">
            <a:spAutoFit/>
          </a:bodyPr>
          <a:lstStyle/>
          <a:p>
            <a:pPr defTabSz="762000">
              <a:lnSpc>
                <a:spcPct val="95000"/>
              </a:lnSpc>
            </a:pPr>
            <a:r>
              <a:rPr lang="en-GB" sz="1100" b="1">
                <a:solidFill>
                  <a:schemeClr val="tx2"/>
                </a:solidFill>
                <a:ea typeface="ＭＳ Ｐゴシック" charset="-128"/>
              </a:rPr>
              <a:t>Participant</a:t>
            </a:r>
          </a:p>
        </p:txBody>
      </p:sp>
      <p:sp>
        <p:nvSpPr>
          <p:cNvPr id="790542" name="Rectangle 16"/>
          <p:cNvSpPr>
            <a:spLocks noChangeArrowheads="1"/>
          </p:cNvSpPr>
          <p:nvPr/>
        </p:nvSpPr>
        <p:spPr bwMode="auto">
          <a:xfrm>
            <a:off x="868363" y="2641169"/>
            <a:ext cx="779462" cy="160337"/>
          </a:xfrm>
          <a:prstGeom prst="rect">
            <a:avLst/>
          </a:prstGeom>
          <a:noFill/>
          <a:ln w="12700" algn="ctr">
            <a:noFill/>
            <a:miter lim="800000"/>
            <a:headEnd/>
            <a:tailEnd/>
          </a:ln>
        </p:spPr>
        <p:txBody>
          <a:bodyPr lIns="0" tIns="0" rIns="0" bIns="0">
            <a:spAutoFit/>
          </a:bodyPr>
          <a:lstStyle/>
          <a:p>
            <a:pPr defTabSz="762000">
              <a:lnSpc>
                <a:spcPct val="95000"/>
              </a:lnSpc>
            </a:pPr>
            <a:r>
              <a:rPr lang="en-GB" sz="1100" b="1">
                <a:solidFill>
                  <a:schemeClr val="tx2"/>
                </a:solidFill>
                <a:ea typeface="ＭＳ Ｐゴシック" charset="-128"/>
              </a:rPr>
              <a:t>Participant</a:t>
            </a:r>
          </a:p>
        </p:txBody>
      </p:sp>
      <p:sp>
        <p:nvSpPr>
          <p:cNvPr id="790543" name="Rectangle 17"/>
          <p:cNvSpPr>
            <a:spLocks noChangeArrowheads="1"/>
          </p:cNvSpPr>
          <p:nvPr/>
        </p:nvSpPr>
        <p:spPr bwMode="auto">
          <a:xfrm>
            <a:off x="868363" y="3433331"/>
            <a:ext cx="779462" cy="160338"/>
          </a:xfrm>
          <a:prstGeom prst="rect">
            <a:avLst/>
          </a:prstGeom>
          <a:noFill/>
          <a:ln w="12700" algn="ctr">
            <a:noFill/>
            <a:miter lim="800000"/>
            <a:headEnd/>
            <a:tailEnd/>
          </a:ln>
        </p:spPr>
        <p:txBody>
          <a:bodyPr lIns="0" tIns="0" rIns="0" bIns="0">
            <a:spAutoFit/>
          </a:bodyPr>
          <a:lstStyle/>
          <a:p>
            <a:pPr defTabSz="762000">
              <a:lnSpc>
                <a:spcPct val="95000"/>
              </a:lnSpc>
            </a:pPr>
            <a:r>
              <a:rPr lang="en-GB" sz="1100" b="1">
                <a:solidFill>
                  <a:schemeClr val="tx2"/>
                </a:solidFill>
                <a:ea typeface="ＭＳ Ｐゴシック" charset="-128"/>
              </a:rPr>
              <a:t>Participant</a:t>
            </a:r>
          </a:p>
        </p:txBody>
      </p:sp>
      <p:sp>
        <p:nvSpPr>
          <p:cNvPr id="790544" name="Rectangle 18"/>
          <p:cNvSpPr>
            <a:spLocks noChangeArrowheads="1"/>
          </p:cNvSpPr>
          <p:nvPr/>
        </p:nvSpPr>
        <p:spPr bwMode="auto">
          <a:xfrm>
            <a:off x="868363" y="4152469"/>
            <a:ext cx="779462" cy="160337"/>
          </a:xfrm>
          <a:prstGeom prst="rect">
            <a:avLst/>
          </a:prstGeom>
          <a:noFill/>
          <a:ln w="12700" algn="ctr">
            <a:noFill/>
            <a:miter lim="800000"/>
            <a:headEnd/>
            <a:tailEnd/>
          </a:ln>
        </p:spPr>
        <p:txBody>
          <a:bodyPr lIns="0" tIns="0" rIns="0" bIns="0">
            <a:spAutoFit/>
          </a:bodyPr>
          <a:lstStyle/>
          <a:p>
            <a:pPr defTabSz="762000">
              <a:lnSpc>
                <a:spcPct val="95000"/>
              </a:lnSpc>
            </a:pPr>
            <a:r>
              <a:rPr lang="en-GB" sz="1100" b="1">
                <a:solidFill>
                  <a:schemeClr val="tx2"/>
                </a:solidFill>
                <a:ea typeface="ＭＳ Ｐゴシック" charset="-128"/>
              </a:rPr>
              <a:t>Participant</a:t>
            </a:r>
          </a:p>
        </p:txBody>
      </p:sp>
      <p:sp>
        <p:nvSpPr>
          <p:cNvPr id="790545" name="Rectangle 19"/>
          <p:cNvSpPr>
            <a:spLocks noChangeArrowheads="1"/>
          </p:cNvSpPr>
          <p:nvPr/>
        </p:nvSpPr>
        <p:spPr bwMode="auto">
          <a:xfrm>
            <a:off x="868363" y="4944631"/>
            <a:ext cx="779462" cy="160338"/>
          </a:xfrm>
          <a:prstGeom prst="rect">
            <a:avLst/>
          </a:prstGeom>
          <a:noFill/>
          <a:ln w="12700" algn="ctr">
            <a:noFill/>
            <a:miter lim="800000"/>
            <a:headEnd/>
            <a:tailEnd/>
          </a:ln>
        </p:spPr>
        <p:txBody>
          <a:bodyPr lIns="0" tIns="0" rIns="0" bIns="0">
            <a:spAutoFit/>
          </a:bodyPr>
          <a:lstStyle/>
          <a:p>
            <a:pPr defTabSz="762000">
              <a:lnSpc>
                <a:spcPct val="95000"/>
              </a:lnSpc>
            </a:pPr>
            <a:r>
              <a:rPr lang="en-GB" sz="1100" b="1">
                <a:solidFill>
                  <a:schemeClr val="tx2"/>
                </a:solidFill>
                <a:ea typeface="ＭＳ Ｐゴシック" charset="-128"/>
              </a:rPr>
              <a:t>Participant</a:t>
            </a:r>
          </a:p>
        </p:txBody>
      </p:sp>
      <p:sp>
        <p:nvSpPr>
          <p:cNvPr id="790546" name="Rectangle 20"/>
          <p:cNvSpPr>
            <a:spLocks noChangeArrowheads="1"/>
          </p:cNvSpPr>
          <p:nvPr/>
        </p:nvSpPr>
        <p:spPr bwMode="auto">
          <a:xfrm>
            <a:off x="868363" y="5665356"/>
            <a:ext cx="779462" cy="160338"/>
          </a:xfrm>
          <a:prstGeom prst="rect">
            <a:avLst/>
          </a:prstGeom>
          <a:noFill/>
          <a:ln w="12700" algn="ctr">
            <a:noFill/>
            <a:miter lim="800000"/>
            <a:headEnd/>
            <a:tailEnd/>
          </a:ln>
        </p:spPr>
        <p:txBody>
          <a:bodyPr lIns="0" tIns="0" rIns="0" bIns="0">
            <a:spAutoFit/>
          </a:bodyPr>
          <a:lstStyle/>
          <a:p>
            <a:pPr defTabSz="762000">
              <a:lnSpc>
                <a:spcPct val="95000"/>
              </a:lnSpc>
            </a:pPr>
            <a:r>
              <a:rPr lang="en-GB" sz="1100" b="1">
                <a:solidFill>
                  <a:schemeClr val="tx2"/>
                </a:solidFill>
                <a:ea typeface="ＭＳ Ｐゴシック" charset="-128"/>
              </a:rPr>
              <a:t>Participant</a:t>
            </a:r>
          </a:p>
        </p:txBody>
      </p:sp>
      <p:sp>
        <p:nvSpPr>
          <p:cNvPr id="22" name="Rectangle 21"/>
          <p:cNvSpPr>
            <a:spLocks noChangeArrowheads="1"/>
          </p:cNvSpPr>
          <p:nvPr/>
        </p:nvSpPr>
        <p:spPr bwMode="auto">
          <a:xfrm>
            <a:off x="3397250" y="3130119"/>
            <a:ext cx="682625" cy="635000"/>
          </a:xfrm>
          <a:prstGeom prst="rect">
            <a:avLst/>
          </a:prstGeom>
          <a:solidFill>
            <a:srgbClr val="FFFFFF"/>
          </a:solidFill>
          <a:ln w="12700">
            <a:solidFill>
              <a:schemeClr val="accent3"/>
            </a:solidFill>
            <a:miter lim="800000"/>
            <a:headEnd/>
            <a:tailEnd/>
          </a:ln>
        </p:spPr>
        <p:txBody>
          <a:bodyPr lIns="18288" rIns="18288" anchor="ctr"/>
          <a:lstStyle/>
          <a:p>
            <a:pPr algn="ctr">
              <a:lnSpc>
                <a:spcPct val="95000"/>
              </a:lnSpc>
              <a:defRPr/>
            </a:pPr>
            <a:r>
              <a:rPr lang="en-GB" sz="1100">
                <a:solidFill>
                  <a:schemeClr val="tx2"/>
                </a:solidFill>
                <a:ea typeface="ＭＳ Ｐゴシック" pitchFamily="50" charset="-128"/>
              </a:rPr>
              <a:t>Activity</a:t>
            </a:r>
          </a:p>
        </p:txBody>
      </p:sp>
      <p:sp>
        <p:nvSpPr>
          <p:cNvPr id="23" name="Rectangle 22"/>
          <p:cNvSpPr>
            <a:spLocks noChangeArrowheads="1"/>
          </p:cNvSpPr>
          <p:nvPr/>
        </p:nvSpPr>
        <p:spPr bwMode="auto">
          <a:xfrm>
            <a:off x="3397250" y="3881006"/>
            <a:ext cx="682625" cy="635000"/>
          </a:xfrm>
          <a:prstGeom prst="rect">
            <a:avLst/>
          </a:prstGeom>
          <a:solidFill>
            <a:srgbClr val="FFFFFF"/>
          </a:solidFill>
          <a:ln w="12700">
            <a:solidFill>
              <a:schemeClr val="accent3"/>
            </a:solidFill>
            <a:miter lim="800000"/>
            <a:headEnd/>
            <a:tailEnd/>
          </a:ln>
        </p:spPr>
        <p:txBody>
          <a:bodyPr lIns="18288" rIns="18288" anchor="ctr"/>
          <a:lstStyle/>
          <a:p>
            <a:pPr algn="ctr">
              <a:lnSpc>
                <a:spcPct val="95000"/>
              </a:lnSpc>
              <a:defRPr/>
            </a:pPr>
            <a:r>
              <a:rPr lang="en-GB" sz="1100">
                <a:solidFill>
                  <a:schemeClr val="tx2"/>
                </a:solidFill>
                <a:ea typeface="ＭＳ Ｐゴシック" pitchFamily="50" charset="-128"/>
              </a:rPr>
              <a:t>Activity</a:t>
            </a:r>
          </a:p>
        </p:txBody>
      </p:sp>
      <p:sp>
        <p:nvSpPr>
          <p:cNvPr id="25" name="Rectangle 24"/>
          <p:cNvSpPr>
            <a:spLocks noChangeArrowheads="1"/>
          </p:cNvSpPr>
          <p:nvPr/>
        </p:nvSpPr>
        <p:spPr bwMode="auto">
          <a:xfrm>
            <a:off x="5908675" y="2401456"/>
            <a:ext cx="682625" cy="635000"/>
          </a:xfrm>
          <a:prstGeom prst="rect">
            <a:avLst/>
          </a:prstGeom>
          <a:solidFill>
            <a:srgbClr val="FFFFFF"/>
          </a:solidFill>
          <a:ln w="12700">
            <a:solidFill>
              <a:schemeClr val="accent3"/>
            </a:solidFill>
            <a:miter lim="800000"/>
            <a:headEnd/>
            <a:tailEnd/>
          </a:ln>
        </p:spPr>
        <p:txBody>
          <a:bodyPr lIns="18288" rIns="18288" anchor="ctr"/>
          <a:lstStyle/>
          <a:p>
            <a:pPr algn="ctr">
              <a:lnSpc>
                <a:spcPct val="95000"/>
              </a:lnSpc>
              <a:defRPr/>
            </a:pPr>
            <a:r>
              <a:rPr lang="en-GB" sz="1100">
                <a:solidFill>
                  <a:schemeClr val="tx2"/>
                </a:solidFill>
                <a:ea typeface="ＭＳ Ｐゴシック" pitchFamily="50" charset="-128"/>
              </a:rPr>
              <a:t>Activity</a:t>
            </a:r>
          </a:p>
        </p:txBody>
      </p:sp>
      <p:sp>
        <p:nvSpPr>
          <p:cNvPr id="26" name="Oval 25"/>
          <p:cNvSpPr>
            <a:spLocks noChangeArrowheads="1"/>
          </p:cNvSpPr>
          <p:nvPr/>
        </p:nvSpPr>
        <p:spPr bwMode="auto">
          <a:xfrm>
            <a:off x="1758950" y="1639456"/>
            <a:ext cx="666750" cy="630238"/>
          </a:xfrm>
          <a:prstGeom prst="ellipse">
            <a:avLst/>
          </a:prstGeom>
          <a:solidFill>
            <a:srgbClr val="FFFFFF"/>
          </a:solidFill>
          <a:ln w="12700">
            <a:solidFill>
              <a:schemeClr val="accent3"/>
            </a:solidFill>
            <a:round/>
            <a:headEnd/>
            <a:tailEnd/>
          </a:ln>
        </p:spPr>
        <p:txBody>
          <a:bodyPr lIns="0" rIns="0" anchor="ctr"/>
          <a:lstStyle/>
          <a:p>
            <a:pPr algn="ctr">
              <a:lnSpc>
                <a:spcPct val="95000"/>
              </a:lnSpc>
              <a:defRPr/>
            </a:pPr>
            <a:r>
              <a:rPr lang="en-GB" sz="1100">
                <a:solidFill>
                  <a:schemeClr val="tx2"/>
                </a:solidFill>
                <a:ea typeface="ＭＳ Ｐゴシック" pitchFamily="50" charset="-128"/>
              </a:rPr>
              <a:t>Start</a:t>
            </a:r>
          </a:p>
        </p:txBody>
      </p:sp>
      <p:sp>
        <p:nvSpPr>
          <p:cNvPr id="27" name="Rectangle 26"/>
          <p:cNvSpPr>
            <a:spLocks noChangeArrowheads="1"/>
          </p:cNvSpPr>
          <p:nvPr/>
        </p:nvSpPr>
        <p:spPr bwMode="auto">
          <a:xfrm>
            <a:off x="784225" y="1591831"/>
            <a:ext cx="7443788" cy="4537075"/>
          </a:xfrm>
          <a:prstGeom prst="rect">
            <a:avLst/>
          </a:prstGeom>
          <a:noFill/>
          <a:ln w="12700" algn="ctr">
            <a:solidFill>
              <a:schemeClr val="accent3"/>
            </a:solidFill>
            <a:miter lim="800000"/>
            <a:headEnd/>
            <a:tailEnd/>
          </a:ln>
        </p:spPr>
        <p:txBody>
          <a:bodyPr wrap="none" lIns="0" tIns="0" rIns="0" bIns="0" anchor="ctr"/>
          <a:lstStyle/>
          <a:p>
            <a:pPr algn="ctr">
              <a:defRPr/>
            </a:pPr>
            <a:endParaRPr lang="en-GB" sz="1100">
              <a:solidFill>
                <a:schemeClr val="tx2"/>
              </a:solidFill>
            </a:endParaRPr>
          </a:p>
        </p:txBody>
      </p:sp>
      <p:sp>
        <p:nvSpPr>
          <p:cNvPr id="28" name="Rectangle 27"/>
          <p:cNvSpPr>
            <a:spLocks noChangeArrowheads="1"/>
          </p:cNvSpPr>
          <p:nvPr/>
        </p:nvSpPr>
        <p:spPr bwMode="auto">
          <a:xfrm>
            <a:off x="4233863" y="1625169"/>
            <a:ext cx="682625" cy="1385887"/>
          </a:xfrm>
          <a:prstGeom prst="rect">
            <a:avLst/>
          </a:prstGeom>
          <a:solidFill>
            <a:srgbClr val="FFFFFF"/>
          </a:solidFill>
          <a:ln w="12700">
            <a:solidFill>
              <a:schemeClr val="accent3"/>
            </a:solidFill>
            <a:miter lim="800000"/>
            <a:headEnd/>
            <a:tailEnd/>
          </a:ln>
        </p:spPr>
        <p:txBody>
          <a:bodyPr lIns="18288" rIns="18288" anchor="ctr"/>
          <a:lstStyle/>
          <a:p>
            <a:pPr algn="ctr">
              <a:lnSpc>
                <a:spcPct val="95000"/>
              </a:lnSpc>
              <a:defRPr/>
            </a:pPr>
            <a:r>
              <a:rPr lang="en-GB" sz="1100">
                <a:solidFill>
                  <a:schemeClr val="tx2"/>
                </a:solidFill>
                <a:ea typeface="ＭＳ Ｐゴシック" pitchFamily="50" charset="-128"/>
              </a:rPr>
              <a:t>Activity</a:t>
            </a:r>
          </a:p>
        </p:txBody>
      </p:sp>
      <p:sp>
        <p:nvSpPr>
          <p:cNvPr id="29" name="Rectangle 28"/>
          <p:cNvSpPr>
            <a:spLocks noChangeArrowheads="1"/>
          </p:cNvSpPr>
          <p:nvPr/>
        </p:nvSpPr>
        <p:spPr bwMode="auto">
          <a:xfrm>
            <a:off x="6702425" y="5412944"/>
            <a:ext cx="682625" cy="646112"/>
          </a:xfrm>
          <a:prstGeom prst="rect">
            <a:avLst/>
          </a:prstGeom>
          <a:solidFill>
            <a:srgbClr val="FFFFFF"/>
          </a:solidFill>
          <a:ln w="12700">
            <a:solidFill>
              <a:schemeClr val="accent3"/>
            </a:solidFill>
            <a:miter lim="800000"/>
            <a:headEnd/>
            <a:tailEnd/>
          </a:ln>
        </p:spPr>
        <p:txBody>
          <a:bodyPr lIns="18288" rIns="18288" anchor="ctr"/>
          <a:lstStyle/>
          <a:p>
            <a:pPr algn="ctr">
              <a:lnSpc>
                <a:spcPct val="95000"/>
              </a:lnSpc>
              <a:defRPr/>
            </a:pPr>
            <a:r>
              <a:rPr lang="en-GB" sz="1100">
                <a:solidFill>
                  <a:schemeClr val="tx2"/>
                </a:solidFill>
                <a:ea typeface="ＭＳ Ｐゴシック" pitchFamily="50" charset="-128"/>
              </a:rPr>
              <a:t>Activity</a:t>
            </a:r>
          </a:p>
        </p:txBody>
      </p:sp>
      <p:sp>
        <p:nvSpPr>
          <p:cNvPr id="30" name="Rectangle 29"/>
          <p:cNvSpPr>
            <a:spLocks noChangeArrowheads="1"/>
          </p:cNvSpPr>
          <p:nvPr/>
        </p:nvSpPr>
        <p:spPr bwMode="auto">
          <a:xfrm>
            <a:off x="4233863" y="3879419"/>
            <a:ext cx="682625" cy="2138362"/>
          </a:xfrm>
          <a:prstGeom prst="rect">
            <a:avLst/>
          </a:prstGeom>
          <a:solidFill>
            <a:srgbClr val="FFFFFF"/>
          </a:solidFill>
          <a:ln w="12700">
            <a:solidFill>
              <a:schemeClr val="accent3"/>
            </a:solidFill>
            <a:miter lim="800000"/>
            <a:headEnd/>
            <a:tailEnd/>
          </a:ln>
        </p:spPr>
        <p:txBody>
          <a:bodyPr lIns="18288" rIns="18288" anchor="ctr"/>
          <a:lstStyle/>
          <a:p>
            <a:pPr algn="ctr">
              <a:lnSpc>
                <a:spcPct val="95000"/>
              </a:lnSpc>
              <a:defRPr/>
            </a:pPr>
            <a:r>
              <a:rPr lang="en-GB" sz="1100">
                <a:solidFill>
                  <a:schemeClr val="tx2"/>
                </a:solidFill>
                <a:ea typeface="ＭＳ Ｐゴシック" pitchFamily="50" charset="-128"/>
              </a:rPr>
              <a:t>Activity</a:t>
            </a:r>
          </a:p>
        </p:txBody>
      </p:sp>
      <p:sp>
        <p:nvSpPr>
          <p:cNvPr id="31" name="Line 30"/>
          <p:cNvSpPr>
            <a:spLocks noChangeShapeType="1"/>
          </p:cNvSpPr>
          <p:nvPr/>
        </p:nvSpPr>
        <p:spPr bwMode="gray">
          <a:xfrm>
            <a:off x="3705224" y="2282394"/>
            <a:ext cx="0" cy="838200"/>
          </a:xfrm>
          <a:prstGeom prst="line">
            <a:avLst/>
          </a:prstGeom>
          <a:noFill/>
          <a:ln w="12700">
            <a:solidFill>
              <a:schemeClr val="accent1"/>
            </a:solidFill>
            <a:round/>
            <a:headEnd/>
            <a:tailEnd type="triangle" w="med" len="med"/>
          </a:ln>
        </p:spPr>
        <p:txBody>
          <a:bodyPr lIns="0" tIns="0" rIns="0" bIns="0"/>
          <a:lstStyle/>
          <a:p>
            <a:pPr>
              <a:defRPr/>
            </a:pPr>
            <a:endParaRPr lang="en-GB" sz="1100">
              <a:solidFill>
                <a:schemeClr val="tx2"/>
              </a:solidFill>
            </a:endParaRPr>
          </a:p>
        </p:txBody>
      </p:sp>
      <p:sp>
        <p:nvSpPr>
          <p:cNvPr id="33" name="Rectangle 32"/>
          <p:cNvSpPr>
            <a:spLocks noChangeArrowheads="1"/>
          </p:cNvSpPr>
          <p:nvPr/>
        </p:nvSpPr>
        <p:spPr bwMode="auto">
          <a:xfrm>
            <a:off x="2573338" y="1625169"/>
            <a:ext cx="682970" cy="635000"/>
          </a:xfrm>
          <a:prstGeom prst="rect">
            <a:avLst/>
          </a:prstGeom>
          <a:solidFill>
            <a:srgbClr val="FFFFFF"/>
          </a:solidFill>
          <a:ln w="12700">
            <a:solidFill>
              <a:schemeClr val="accent3"/>
            </a:solidFill>
            <a:miter lim="800000"/>
            <a:headEnd/>
            <a:tailEnd/>
          </a:ln>
        </p:spPr>
        <p:txBody>
          <a:bodyPr lIns="18288" rIns="18288" anchor="ctr"/>
          <a:lstStyle/>
          <a:p>
            <a:pPr algn="ctr">
              <a:lnSpc>
                <a:spcPct val="95000"/>
              </a:lnSpc>
              <a:defRPr/>
            </a:pPr>
            <a:r>
              <a:rPr lang="en-GB" sz="1100">
                <a:solidFill>
                  <a:schemeClr val="tx2"/>
                </a:solidFill>
                <a:ea typeface="ＭＳ Ｐゴシック" pitchFamily="50" charset="-128"/>
              </a:rPr>
              <a:t>Activity</a:t>
            </a:r>
          </a:p>
        </p:txBody>
      </p:sp>
      <p:sp>
        <p:nvSpPr>
          <p:cNvPr id="34" name="AutoShape 33"/>
          <p:cNvSpPr>
            <a:spLocks noChangeArrowheads="1"/>
          </p:cNvSpPr>
          <p:nvPr/>
        </p:nvSpPr>
        <p:spPr bwMode="auto">
          <a:xfrm>
            <a:off x="3304672" y="1639456"/>
            <a:ext cx="803149" cy="635000"/>
          </a:xfrm>
          <a:prstGeom prst="diamond">
            <a:avLst/>
          </a:prstGeom>
          <a:solidFill>
            <a:srgbClr val="FFFFFF"/>
          </a:solidFill>
          <a:ln w="12700">
            <a:solidFill>
              <a:schemeClr val="accent3"/>
            </a:solidFill>
            <a:miter lim="800000"/>
            <a:headEnd/>
            <a:tailEnd/>
          </a:ln>
        </p:spPr>
        <p:txBody>
          <a:bodyPr wrap="none" lIns="18288" rIns="18288" anchor="ctr"/>
          <a:lstStyle/>
          <a:p>
            <a:pPr algn="ctr">
              <a:lnSpc>
                <a:spcPct val="95000"/>
              </a:lnSpc>
              <a:defRPr/>
            </a:pPr>
            <a:r>
              <a:rPr lang="en-GB" sz="1100">
                <a:solidFill>
                  <a:schemeClr val="tx2"/>
                </a:solidFill>
                <a:ea typeface="ＭＳ Ｐゴシック" pitchFamily="50" charset="-128"/>
              </a:rPr>
              <a:t>Decision</a:t>
            </a:r>
          </a:p>
        </p:txBody>
      </p:sp>
      <p:sp>
        <p:nvSpPr>
          <p:cNvPr id="37" name="Line 36"/>
          <p:cNvSpPr>
            <a:spLocks noChangeShapeType="1"/>
          </p:cNvSpPr>
          <p:nvPr/>
        </p:nvSpPr>
        <p:spPr bwMode="gray">
          <a:xfrm>
            <a:off x="4079875" y="4230256"/>
            <a:ext cx="158750" cy="0"/>
          </a:xfrm>
          <a:prstGeom prst="line">
            <a:avLst/>
          </a:prstGeom>
          <a:noFill/>
          <a:ln w="12700">
            <a:solidFill>
              <a:schemeClr val="accent1"/>
            </a:solidFill>
            <a:round/>
            <a:headEnd/>
            <a:tailEnd type="triangle" w="med" len="med"/>
          </a:ln>
        </p:spPr>
        <p:txBody>
          <a:bodyPr lIns="0" tIns="0" rIns="0" bIns="0"/>
          <a:lstStyle/>
          <a:p>
            <a:pPr>
              <a:defRPr/>
            </a:pPr>
            <a:endParaRPr lang="en-GB" sz="1100">
              <a:solidFill>
                <a:schemeClr val="tx2"/>
              </a:solidFill>
            </a:endParaRPr>
          </a:p>
        </p:txBody>
      </p:sp>
      <p:sp>
        <p:nvSpPr>
          <p:cNvPr id="38" name="Line 37"/>
          <p:cNvSpPr>
            <a:spLocks noChangeShapeType="1"/>
          </p:cNvSpPr>
          <p:nvPr/>
        </p:nvSpPr>
        <p:spPr bwMode="gray">
          <a:xfrm>
            <a:off x="4921250" y="5721924"/>
            <a:ext cx="1775685" cy="0"/>
          </a:xfrm>
          <a:prstGeom prst="line">
            <a:avLst/>
          </a:prstGeom>
          <a:noFill/>
          <a:ln w="12700">
            <a:solidFill>
              <a:schemeClr val="accent1"/>
            </a:solidFill>
            <a:round/>
            <a:headEnd/>
            <a:tailEnd type="triangle" w="med" len="med"/>
          </a:ln>
        </p:spPr>
        <p:txBody>
          <a:bodyPr lIns="0" tIns="0" rIns="0" bIns="0"/>
          <a:lstStyle/>
          <a:p>
            <a:pPr>
              <a:defRPr/>
            </a:pPr>
            <a:endParaRPr lang="en-GB" sz="1100">
              <a:solidFill>
                <a:schemeClr val="tx2"/>
              </a:solidFill>
            </a:endParaRPr>
          </a:p>
        </p:txBody>
      </p:sp>
      <p:sp>
        <p:nvSpPr>
          <p:cNvPr id="39" name="Line 38"/>
          <p:cNvSpPr>
            <a:spLocks noChangeShapeType="1"/>
          </p:cNvSpPr>
          <p:nvPr/>
        </p:nvSpPr>
        <p:spPr bwMode="gray">
          <a:xfrm>
            <a:off x="4921250" y="1944256"/>
            <a:ext cx="984250" cy="0"/>
          </a:xfrm>
          <a:prstGeom prst="line">
            <a:avLst/>
          </a:prstGeom>
          <a:noFill/>
          <a:ln w="12700">
            <a:solidFill>
              <a:schemeClr val="accent1"/>
            </a:solidFill>
            <a:round/>
            <a:headEnd/>
            <a:tailEnd type="triangle" w="med" len="med"/>
          </a:ln>
        </p:spPr>
        <p:txBody>
          <a:bodyPr lIns="0" tIns="0" rIns="0" bIns="0"/>
          <a:lstStyle/>
          <a:p>
            <a:pPr>
              <a:defRPr/>
            </a:pPr>
            <a:endParaRPr lang="en-GB" sz="1100">
              <a:solidFill>
                <a:schemeClr val="tx2"/>
              </a:solidFill>
            </a:endParaRPr>
          </a:p>
        </p:txBody>
      </p:sp>
      <p:sp>
        <p:nvSpPr>
          <p:cNvPr id="40" name="Line 39"/>
          <p:cNvSpPr>
            <a:spLocks noChangeShapeType="1"/>
          </p:cNvSpPr>
          <p:nvPr/>
        </p:nvSpPr>
        <p:spPr bwMode="gray">
          <a:xfrm>
            <a:off x="2428874" y="1944256"/>
            <a:ext cx="141288" cy="0"/>
          </a:xfrm>
          <a:prstGeom prst="line">
            <a:avLst/>
          </a:prstGeom>
          <a:noFill/>
          <a:ln w="12700">
            <a:solidFill>
              <a:schemeClr val="accent1"/>
            </a:solidFill>
            <a:round/>
            <a:headEnd/>
            <a:tailEnd type="triangle" w="med" len="med"/>
          </a:ln>
        </p:spPr>
        <p:txBody>
          <a:bodyPr lIns="0" tIns="0" rIns="0" bIns="0"/>
          <a:lstStyle/>
          <a:p>
            <a:pPr>
              <a:defRPr/>
            </a:pPr>
            <a:endParaRPr lang="en-GB" sz="1100">
              <a:solidFill>
                <a:schemeClr val="tx2"/>
              </a:solidFill>
            </a:endParaRPr>
          </a:p>
        </p:txBody>
      </p:sp>
      <p:sp>
        <p:nvSpPr>
          <p:cNvPr id="41" name="Oval 40"/>
          <p:cNvSpPr>
            <a:spLocks noChangeArrowheads="1"/>
          </p:cNvSpPr>
          <p:nvPr/>
        </p:nvSpPr>
        <p:spPr bwMode="auto">
          <a:xfrm>
            <a:off x="7526338" y="5352619"/>
            <a:ext cx="666750" cy="630237"/>
          </a:xfrm>
          <a:prstGeom prst="ellipse">
            <a:avLst/>
          </a:prstGeom>
          <a:solidFill>
            <a:srgbClr val="FFFFFF"/>
          </a:solidFill>
          <a:ln w="12700">
            <a:solidFill>
              <a:schemeClr val="accent3"/>
            </a:solidFill>
            <a:round/>
            <a:headEnd/>
            <a:tailEnd/>
          </a:ln>
        </p:spPr>
        <p:txBody>
          <a:bodyPr lIns="0" rIns="0" anchor="ctr"/>
          <a:lstStyle/>
          <a:p>
            <a:pPr algn="ctr">
              <a:lnSpc>
                <a:spcPct val="95000"/>
              </a:lnSpc>
              <a:defRPr/>
            </a:pPr>
            <a:r>
              <a:rPr lang="en-GB" sz="1100">
                <a:solidFill>
                  <a:schemeClr val="tx2"/>
                </a:solidFill>
                <a:ea typeface="ＭＳ Ｐゴシック" pitchFamily="50" charset="-128"/>
              </a:rPr>
              <a:t>End</a:t>
            </a:r>
          </a:p>
        </p:txBody>
      </p:sp>
      <p:sp>
        <p:nvSpPr>
          <p:cNvPr id="42" name="Line 41"/>
          <p:cNvSpPr>
            <a:spLocks noChangeShapeType="1"/>
          </p:cNvSpPr>
          <p:nvPr/>
        </p:nvSpPr>
        <p:spPr bwMode="gray">
          <a:xfrm>
            <a:off x="7392987" y="5718464"/>
            <a:ext cx="139700" cy="0"/>
          </a:xfrm>
          <a:prstGeom prst="line">
            <a:avLst/>
          </a:prstGeom>
          <a:noFill/>
          <a:ln w="12700">
            <a:solidFill>
              <a:schemeClr val="accent1"/>
            </a:solidFill>
            <a:round/>
            <a:headEnd/>
            <a:tailEnd type="triangle" w="med" len="med"/>
          </a:ln>
        </p:spPr>
        <p:txBody>
          <a:bodyPr lIns="0" tIns="0" rIns="0" bIns="0"/>
          <a:lstStyle/>
          <a:p>
            <a:pPr>
              <a:defRPr/>
            </a:pPr>
            <a:endParaRPr lang="en-GB" sz="1100">
              <a:solidFill>
                <a:schemeClr val="tx2"/>
              </a:solidFill>
            </a:endParaRPr>
          </a:p>
        </p:txBody>
      </p:sp>
      <p:sp>
        <p:nvSpPr>
          <p:cNvPr id="43" name="Line 42"/>
          <p:cNvSpPr>
            <a:spLocks noChangeShapeType="1"/>
          </p:cNvSpPr>
          <p:nvPr/>
        </p:nvSpPr>
        <p:spPr bwMode="gray">
          <a:xfrm>
            <a:off x="7807325" y="2706256"/>
            <a:ext cx="0" cy="2667000"/>
          </a:xfrm>
          <a:prstGeom prst="line">
            <a:avLst/>
          </a:prstGeom>
          <a:noFill/>
          <a:ln w="12700">
            <a:solidFill>
              <a:schemeClr val="accent1"/>
            </a:solidFill>
            <a:round/>
            <a:headEnd/>
            <a:tailEnd type="triangle" w="med" len="med"/>
          </a:ln>
        </p:spPr>
        <p:txBody>
          <a:bodyPr lIns="0" tIns="0" rIns="0" bIns="0"/>
          <a:lstStyle/>
          <a:p>
            <a:pPr>
              <a:defRPr/>
            </a:pPr>
            <a:endParaRPr lang="en-GB" sz="1100">
              <a:solidFill>
                <a:schemeClr val="tx2"/>
              </a:solidFill>
            </a:endParaRPr>
          </a:p>
        </p:txBody>
      </p:sp>
      <p:sp>
        <p:nvSpPr>
          <p:cNvPr id="45" name="Text Placeholder 36"/>
          <p:cNvSpPr txBox="1">
            <a:spLocks/>
          </p:cNvSpPr>
          <p:nvPr/>
        </p:nvSpPr>
        <p:spPr bwMode="gray">
          <a:xfrm>
            <a:off x="411479" y="6288136"/>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46" name="Text Placeholder 12"/>
          <p:cNvSpPr>
            <a:spLocks/>
          </p:cNvSpPr>
          <p:nvPr>
            <p:custDataLst>
              <p:tags r:id="rId1"/>
            </p:custDataLst>
          </p:nvPr>
        </p:nvSpPr>
        <p:spPr bwMode="auto">
          <a:xfrm>
            <a:off x="414338" y="1132339"/>
            <a:ext cx="3707770"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dirty="0" smtClean="0">
                <a:solidFill>
                  <a:schemeClr val="tx2"/>
                </a:solidFill>
              </a:rPr>
              <a:t>Participant activity</a:t>
            </a:r>
          </a:p>
        </p:txBody>
      </p:sp>
      <p:sp>
        <p:nvSpPr>
          <p:cNvPr id="4" name="Line 2"/>
          <p:cNvSpPr>
            <a:spLocks noChangeShapeType="1"/>
          </p:cNvSpPr>
          <p:nvPr/>
        </p:nvSpPr>
        <p:spPr bwMode="gray">
          <a:xfrm>
            <a:off x="6259513" y="2264931"/>
            <a:ext cx="0" cy="131762"/>
          </a:xfrm>
          <a:prstGeom prst="line">
            <a:avLst/>
          </a:prstGeom>
          <a:noFill/>
          <a:ln w="12700">
            <a:solidFill>
              <a:schemeClr val="accent1"/>
            </a:solidFill>
            <a:round/>
            <a:headEnd/>
            <a:tailEnd type="triangle" w="med" len="med"/>
          </a:ln>
        </p:spPr>
        <p:txBody>
          <a:bodyPr lIns="0" tIns="0" rIns="0" bIns="0"/>
          <a:lstStyle/>
          <a:p>
            <a:pPr>
              <a:defRPr/>
            </a:pPr>
            <a:endParaRPr lang="en-GB" sz="1100">
              <a:solidFill>
                <a:schemeClr val="tx2"/>
              </a:solidFill>
            </a:endParaRPr>
          </a:p>
        </p:txBody>
      </p:sp>
      <p:sp>
        <p:nvSpPr>
          <p:cNvPr id="24" name="Rectangle 23"/>
          <p:cNvSpPr>
            <a:spLocks noChangeArrowheads="1"/>
          </p:cNvSpPr>
          <p:nvPr/>
        </p:nvSpPr>
        <p:spPr bwMode="auto">
          <a:xfrm>
            <a:off x="5908675" y="1639456"/>
            <a:ext cx="682625" cy="635000"/>
          </a:xfrm>
          <a:prstGeom prst="rect">
            <a:avLst/>
          </a:prstGeom>
          <a:solidFill>
            <a:srgbClr val="FFFFFF"/>
          </a:solidFill>
          <a:ln w="12700">
            <a:solidFill>
              <a:schemeClr val="accent3"/>
            </a:solidFill>
            <a:miter lim="800000"/>
            <a:headEnd/>
            <a:tailEnd/>
          </a:ln>
        </p:spPr>
        <p:txBody>
          <a:bodyPr lIns="18288" rIns="18288" anchor="ctr"/>
          <a:lstStyle/>
          <a:p>
            <a:pPr algn="ctr">
              <a:lnSpc>
                <a:spcPct val="95000"/>
              </a:lnSpc>
              <a:defRPr/>
            </a:pPr>
            <a:r>
              <a:rPr lang="en-GB" sz="1100">
                <a:solidFill>
                  <a:schemeClr val="tx2"/>
                </a:solidFill>
                <a:ea typeface="ＭＳ Ｐゴシック" pitchFamily="50" charset="-128"/>
              </a:rPr>
              <a:t>Activity</a:t>
            </a:r>
          </a:p>
        </p:txBody>
      </p:sp>
    </p:spTree>
  </p:cSld>
  <p:clrMapOvr>
    <a:masterClrMapping/>
  </p:clrMapOvr>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443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9939"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4451" name="Rectangle 2"/>
          <p:cNvSpPr>
            <a:spLocks noGrp="1"/>
          </p:cNvSpPr>
          <p:nvPr>
            <p:ph type="title"/>
            <p:custDataLst>
              <p:tags r:id="rId3"/>
            </p:custDataLst>
          </p:nvPr>
        </p:nvSpPr>
        <p:spPr/>
        <p:txBody>
          <a:bodyPr/>
          <a:lstStyle/>
          <a:p>
            <a:r>
              <a:rPr lang="en-GB"/>
              <a:t>Agenda</a:t>
            </a:r>
            <a:endParaRPr lang="en-US"/>
          </a:p>
        </p:txBody>
      </p:sp>
      <p:graphicFrame>
        <p:nvGraphicFramePr>
          <p:cNvPr id="10" name="Table 9"/>
          <p:cNvGraphicFramePr>
            <a:graphicFrameLocks noGrp="1"/>
          </p:cNvGraphicFramePr>
          <p:nvPr>
            <p:custDataLst>
              <p:tags r:id="rId4"/>
            </p:custDataLst>
          </p:nvPr>
        </p:nvGraphicFramePr>
        <p:xfrm>
          <a:off x="396875" y="1123950"/>
          <a:ext cx="4787154" cy="4067290"/>
        </p:xfrm>
        <a:graphic>
          <a:graphicData uri="http://schemas.openxmlformats.org/drawingml/2006/table">
            <a:tbl>
              <a:tblPr firstRow="1" bandRow="1">
                <a:tableStyleId>{5C22544A-7EE6-4342-B048-85BDC9FD1C3A}</a:tableStyleId>
              </a:tblPr>
              <a:tblGrid>
                <a:gridCol w="4787154"/>
              </a:tblGrid>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Structured </a:t>
                      </a:r>
                      <a:r>
                        <a:rPr kumimoji="0" lang="en-US" sz="1400" b="0" i="0" u="none" strike="noStrike" cap="none" normalizeH="0" baseline="0" dirty="0" smtClean="0">
                          <a:ln>
                            <a:noFill/>
                          </a:ln>
                          <a:solidFill>
                            <a:schemeClr val="tx2"/>
                          </a:solidFill>
                          <a:effectLst/>
                          <a:latin typeface="Arial" charset="0"/>
                        </a:rPr>
                        <a:t>text</a:t>
                      </a:r>
                      <a:endParaRPr kumimoji="0" lang="en-US" sz="1400" b="0" i="0" u="none" strike="noStrike" cap="none" normalizeH="0" baseline="0" dirty="0">
                        <a:ln>
                          <a:noFill/>
                        </a:ln>
                        <a:solidFill>
                          <a:schemeClr val="tx2"/>
                        </a:solidFill>
                        <a:effectLst/>
                        <a:latin typeface="Arial" charset="0"/>
                      </a:endParaRPr>
                    </a:p>
                  </a:txBody>
                  <a:tcPr marL="49846" marR="49846" marT="54000" marB="54000"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r>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Trees</a:t>
                      </a:r>
                    </a:p>
                  </a:txBody>
                  <a:tcPr marL="49846" marR="49846" marT="54000" marB="54000" anchor="ctr" horzOverflow="overflow">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Graph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Shape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Map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Special </a:t>
                      </a:r>
                      <a:r>
                        <a:rPr kumimoji="0" lang="en-US" sz="1400" b="0" i="0" u="none" strike="noStrike" cap="none" normalizeH="0" baseline="0" dirty="0" smtClean="0">
                          <a:ln>
                            <a:noFill/>
                          </a:ln>
                          <a:solidFill>
                            <a:schemeClr val="tx2"/>
                          </a:solidFill>
                          <a:effectLst/>
                          <a:latin typeface="Arial" charset="0"/>
                        </a:rPr>
                        <a:t>graphics</a:t>
                      </a:r>
                      <a:endParaRPr kumimoji="0" lang="en-US" sz="1400" b="0" i="0" u="none" strike="noStrike" cap="none" normalizeH="0" baseline="0" dirty="0">
                        <a:ln>
                          <a:noFill/>
                        </a:ln>
                        <a:solidFill>
                          <a:schemeClr val="tx2"/>
                        </a:solidFill>
                        <a:effectLst/>
                        <a:latin typeface="Arial" charset="0"/>
                      </a:endParaRP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400" b="0" i="0" u="none" strike="noStrike" cap="none" normalizeH="0" baseline="0" dirty="0">
                          <a:ln>
                            <a:noFill/>
                          </a:ln>
                          <a:solidFill>
                            <a:schemeClr val="bg1"/>
                          </a:solidFill>
                          <a:effectLst/>
                          <a:latin typeface="Arial" charset="0"/>
                        </a:rPr>
                        <a:t>Conceptual </a:t>
                      </a:r>
                      <a:r>
                        <a:rPr kumimoji="0" lang="en-US" sz="1400" b="0" i="0" u="none" strike="noStrike" cap="none" normalizeH="0" baseline="0" dirty="0" smtClean="0">
                          <a:ln>
                            <a:noFill/>
                          </a:ln>
                          <a:solidFill>
                            <a:schemeClr val="bg1"/>
                          </a:solidFill>
                          <a:effectLst/>
                          <a:latin typeface="Arial" charset="0"/>
                        </a:rPr>
                        <a:t>charts</a:t>
                      </a:r>
                      <a:endParaRPr kumimoji="0" lang="en-US" sz="1400" b="0" i="0" u="none" strike="noStrike" cap="none" normalizeH="0" baseline="0" dirty="0">
                        <a:ln>
                          <a:noFill/>
                        </a:ln>
                        <a:solidFill>
                          <a:schemeClr val="bg1"/>
                        </a:solidFill>
                        <a:effectLst/>
                        <a:latin typeface="Arial" charset="0"/>
                      </a:endParaRP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r>
            </a:tbl>
          </a:graphicData>
        </a:graphic>
      </p:graphicFrame>
    </p:spTree>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8"/>
          <p:cNvGraphicFramePr>
            <a:graphicFrameLocks noGrp="1"/>
          </p:cNvGraphicFramePr>
          <p:nvPr>
            <p:custDataLst>
              <p:tags r:id="rId2"/>
            </p:custDataLst>
          </p:nvPr>
        </p:nvGraphicFramePr>
        <p:xfrm>
          <a:off x="366713" y="1575679"/>
          <a:ext cx="8425962" cy="3572568"/>
        </p:xfrm>
        <a:graphic>
          <a:graphicData uri="http://schemas.openxmlformats.org/drawingml/2006/table">
            <a:tbl>
              <a:tblPr/>
              <a:tblGrid>
                <a:gridCol w="1607527"/>
                <a:gridCol w="1135673"/>
                <a:gridCol w="1181100"/>
                <a:gridCol w="1082176"/>
                <a:gridCol w="1146675"/>
                <a:gridCol w="1137138"/>
                <a:gridCol w="1135673"/>
              </a:tblGrid>
              <a:tr h="49053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1" i="0" u="none" strike="noStrike" cap="none" normalizeH="0" baseline="0" dirty="0">
                        <a:ln>
                          <a:noFill/>
                        </a:ln>
                        <a:solidFill>
                          <a:schemeClr val="tx2"/>
                        </a:solidFill>
                        <a:effectLst/>
                        <a:latin typeface="Arial" charset="0"/>
                      </a:endParaRPr>
                    </a:p>
                  </a:txBody>
                  <a:tcPr marL="67525" marR="67525" marT="73152" marB="73152"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r>
              <a:tr h="61640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tx2"/>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61640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tx2"/>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61640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tx2"/>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61640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tx2"/>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61640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tx2"/>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r>
            </a:tbl>
          </a:graphicData>
        </a:graphic>
      </p:graphicFrame>
      <p:grpSp>
        <p:nvGrpSpPr>
          <p:cNvPr id="2" name="Group 100"/>
          <p:cNvGrpSpPr>
            <a:grpSpLocks/>
          </p:cNvGrpSpPr>
          <p:nvPr/>
        </p:nvGrpSpPr>
        <p:grpSpPr bwMode="auto">
          <a:xfrm>
            <a:off x="2415104" y="2161394"/>
            <a:ext cx="285785" cy="309600"/>
            <a:chOff x="635" y="2178"/>
            <a:chExt cx="218" cy="220"/>
          </a:xfrm>
          <a:solidFill>
            <a:schemeClr val="accent3"/>
          </a:solidFill>
        </p:grpSpPr>
        <p:sp>
          <p:nvSpPr>
            <p:cNvPr id="102" name="Oval 101"/>
            <p:cNvSpPr>
              <a:spLocks noChangeAspect="1" noChangeArrowheads="1"/>
            </p:cNvSpPr>
            <p:nvPr/>
          </p:nvSpPr>
          <p:spPr bwMode="gray">
            <a:xfrm>
              <a:off x="635" y="2178"/>
              <a:ext cx="218" cy="220"/>
            </a:xfrm>
            <a:prstGeom prst="ellipse">
              <a:avLst/>
            </a:prstGeom>
            <a:grpFill/>
            <a:ln w="12700">
              <a:solidFill>
                <a:schemeClr val="accent3"/>
              </a:solidFill>
              <a:round/>
              <a:headEnd/>
              <a:tailEnd/>
            </a:ln>
          </p:spPr>
          <p:txBody>
            <a:bodyPr wrap="none" anchor="ctr"/>
            <a:lstStyle/>
            <a:p>
              <a:pPr algn="ctr">
                <a:defRPr/>
              </a:pPr>
              <a:endParaRPr lang="en-GB" sz="1600"/>
            </a:p>
          </p:txBody>
        </p:sp>
        <p:sp>
          <p:nvSpPr>
            <p:cNvPr id="103" name="Oval 102"/>
            <p:cNvSpPr>
              <a:spLocks noChangeAspect="1" noChangeArrowheads="1"/>
            </p:cNvSpPr>
            <p:nvPr/>
          </p:nvSpPr>
          <p:spPr bwMode="gray">
            <a:xfrm>
              <a:off x="635" y="2178"/>
              <a:ext cx="218" cy="220"/>
            </a:xfrm>
            <a:prstGeom prst="ellipse">
              <a:avLst/>
            </a:prstGeom>
            <a:grpFill/>
            <a:ln w="12700">
              <a:solidFill>
                <a:schemeClr val="accent3"/>
              </a:solidFill>
              <a:round/>
              <a:headEnd/>
              <a:tailEnd/>
            </a:ln>
          </p:spPr>
          <p:txBody>
            <a:bodyPr wrap="none" anchor="ctr"/>
            <a:lstStyle/>
            <a:p>
              <a:pPr algn="ctr">
                <a:defRPr/>
              </a:pPr>
              <a:endParaRPr lang="en-GB" sz="1600"/>
            </a:p>
          </p:txBody>
        </p:sp>
      </p:grpSp>
      <p:sp>
        <p:nvSpPr>
          <p:cNvPr id="275516" name="Title 1"/>
          <p:cNvSpPr>
            <a:spLocks noGrp="1"/>
          </p:cNvSpPr>
          <p:nvPr>
            <p:ph type="title"/>
            <p:custDataLst>
              <p:tags r:id="rId3"/>
            </p:custDataLst>
          </p:nvPr>
        </p:nvSpPr>
        <p:spPr/>
        <p:txBody>
          <a:bodyPr/>
          <a:lstStyle/>
          <a:p>
            <a:r>
              <a:rPr lang="en-GB" altLang="ja-JP"/>
              <a:t>Table with moons</a:t>
            </a:r>
            <a:endParaRPr lang="nl-NL"/>
          </a:p>
        </p:txBody>
      </p:sp>
      <p:sp>
        <p:nvSpPr>
          <p:cNvPr id="4" name="Rectangle 7"/>
          <p:cNvSpPr>
            <a:spLocks noChangeArrowheads="1"/>
          </p:cNvSpPr>
          <p:nvPr>
            <p:custDataLst>
              <p:tags r:id="rId4"/>
            </p:custDataLst>
          </p:nvPr>
        </p:nvSpPr>
        <p:spPr bwMode="auto">
          <a:xfrm>
            <a:off x="5060302" y="450279"/>
            <a:ext cx="3684220" cy="600164"/>
          </a:xfrm>
          <a:prstGeom prst="rect">
            <a:avLst/>
          </a:prstGeom>
          <a:noFill/>
          <a:ln w="12700" algn="ctr">
            <a:solidFill>
              <a:schemeClr val="accent1"/>
            </a:solidFill>
            <a:miter lim="800000"/>
            <a:headEnd/>
            <a:tailEnd/>
          </a:ln>
        </p:spPr>
        <p:txBody>
          <a:bodyPr wrap="square" tIns="91440" bIns="91440">
            <a:spAutoFit/>
          </a:bodyPr>
          <a:lstStyle/>
          <a:p>
            <a:pPr algn="l">
              <a:defRPr/>
            </a:pPr>
            <a:r>
              <a:rPr lang="en-GB" altLang="ja-JP" sz="900" b="0">
                <a:solidFill>
                  <a:schemeClr val="tx2"/>
                </a:solidFill>
                <a:ea typeface="ＭＳ Ｐゴシック" pitchFamily="50" charset="-128"/>
              </a:rPr>
              <a:t>Tip! This is a table. Add or remove rows and columns as appropriate. Use </a:t>
            </a:r>
            <a:r>
              <a:rPr lang="en-GB" altLang="ja-JP" sz="900">
                <a:solidFill>
                  <a:schemeClr val="tx2"/>
                </a:solidFill>
                <a:ea typeface="ＭＳ Ｐゴシック" pitchFamily="50" charset="-128"/>
              </a:rPr>
              <a:t>Distribute Columns Evenly </a:t>
            </a:r>
            <a:r>
              <a:rPr lang="en-GB" altLang="ja-JP" sz="900" b="0">
                <a:solidFill>
                  <a:schemeClr val="tx2"/>
                </a:solidFill>
                <a:ea typeface="ＭＳ Ｐゴシック" pitchFamily="50" charset="-128"/>
              </a:rPr>
              <a:t>and </a:t>
            </a:r>
            <a:r>
              <a:rPr lang="en-GB" altLang="ja-JP" sz="900">
                <a:solidFill>
                  <a:schemeClr val="tx2"/>
                </a:solidFill>
                <a:ea typeface="ＭＳ Ｐゴシック" pitchFamily="50" charset="-128"/>
              </a:rPr>
              <a:t>Distribute Rows Evenly </a:t>
            </a:r>
            <a:r>
              <a:rPr lang="en-GB" altLang="ja-JP" sz="900" b="0">
                <a:solidFill>
                  <a:schemeClr val="tx2"/>
                </a:solidFill>
                <a:ea typeface="ＭＳ Ｐゴシック" pitchFamily="50" charset="-128"/>
              </a:rPr>
              <a:t>in </a:t>
            </a:r>
            <a:r>
              <a:rPr lang="en-GB" altLang="ja-JP" sz="900">
                <a:solidFill>
                  <a:schemeClr val="tx2"/>
                </a:solidFill>
                <a:ea typeface="ＭＳ Ｐゴシック" pitchFamily="50" charset="-128"/>
              </a:rPr>
              <a:t>Layout</a:t>
            </a:r>
            <a:r>
              <a:rPr lang="en-GB" altLang="ja-JP" sz="900" b="0">
                <a:solidFill>
                  <a:schemeClr val="tx2"/>
                </a:solidFill>
                <a:ea typeface="ＭＳ Ｐゴシック" pitchFamily="50" charset="-128"/>
              </a:rPr>
              <a:t> ribbon to keep equal column and row widths</a:t>
            </a:r>
            <a:endParaRPr lang="en-GB" sz="900" b="0">
              <a:solidFill>
                <a:schemeClr val="tx2"/>
              </a:solidFill>
              <a:ea typeface="ＭＳ Ｐゴシック" pitchFamily="50" charset="-128"/>
            </a:endParaRPr>
          </a:p>
        </p:txBody>
      </p:sp>
      <p:sp>
        <p:nvSpPr>
          <p:cNvPr id="91" name="Oval 90"/>
          <p:cNvSpPr>
            <a:spLocks noChangeAspect="1" noChangeArrowheads="1"/>
          </p:cNvSpPr>
          <p:nvPr>
            <p:custDataLst>
              <p:tags r:id="rId5"/>
            </p:custDataLst>
          </p:nvPr>
        </p:nvSpPr>
        <p:spPr bwMode="gray">
          <a:xfrm>
            <a:off x="2414588" y="4750679"/>
            <a:ext cx="311150" cy="309563"/>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grpSp>
        <p:nvGrpSpPr>
          <p:cNvPr id="3" name="Group 91"/>
          <p:cNvGrpSpPr>
            <a:grpSpLocks/>
          </p:cNvGrpSpPr>
          <p:nvPr>
            <p:custDataLst>
              <p:tags r:id="rId6"/>
            </p:custDataLst>
          </p:nvPr>
        </p:nvGrpSpPr>
        <p:grpSpPr bwMode="auto">
          <a:xfrm>
            <a:off x="2414588" y="4099804"/>
            <a:ext cx="285750" cy="309563"/>
            <a:chOff x="4801" y="2843"/>
            <a:chExt cx="237" cy="220"/>
          </a:xfrm>
        </p:grpSpPr>
        <p:sp>
          <p:nvSpPr>
            <p:cNvPr id="93" name="Oval 92"/>
            <p:cNvSpPr>
              <a:spLocks noChangeAspect="1" noChangeArrowheads="1"/>
            </p:cNvSpPr>
            <p:nvPr>
              <p:custDataLst>
                <p:tags r:id="rId66"/>
              </p:custDataLst>
            </p:nvPr>
          </p:nvSpPr>
          <p:spPr bwMode="gray">
            <a:xfrm>
              <a:off x="4801" y="2843"/>
              <a:ext cx="237" cy="220"/>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sp>
          <p:nvSpPr>
            <p:cNvPr id="94" name="Arc 23"/>
            <p:cNvSpPr>
              <a:spLocks noChangeAspect="1"/>
            </p:cNvSpPr>
            <p:nvPr>
              <p:custDataLst>
                <p:tags r:id="rId67"/>
              </p:custDataLst>
            </p:nvPr>
          </p:nvSpPr>
          <p:spPr bwMode="gray">
            <a:xfrm>
              <a:off x="4920" y="2843"/>
              <a:ext cx="118" cy="11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3"/>
            </a:solidFill>
            <a:ln w="12700">
              <a:solidFill>
                <a:schemeClr val="accent3"/>
              </a:solidFill>
              <a:round/>
              <a:headEnd/>
              <a:tailEnd/>
            </a:ln>
          </p:spPr>
          <p:txBody>
            <a:bodyPr wrap="none" anchor="ctr"/>
            <a:lstStyle/>
            <a:p>
              <a:pPr algn="ctr">
                <a:defRPr/>
              </a:pPr>
              <a:endParaRPr lang="en-GB" sz="1600"/>
            </a:p>
          </p:txBody>
        </p:sp>
      </p:grpSp>
      <p:grpSp>
        <p:nvGrpSpPr>
          <p:cNvPr id="5" name="Group 94"/>
          <p:cNvGrpSpPr>
            <a:grpSpLocks/>
          </p:cNvGrpSpPr>
          <p:nvPr>
            <p:custDataLst>
              <p:tags r:id="rId7"/>
            </p:custDataLst>
          </p:nvPr>
        </p:nvGrpSpPr>
        <p:grpSpPr bwMode="auto">
          <a:xfrm>
            <a:off x="2414588" y="3456867"/>
            <a:ext cx="285750" cy="309562"/>
            <a:chOff x="4801" y="3144"/>
            <a:chExt cx="237" cy="218"/>
          </a:xfrm>
        </p:grpSpPr>
        <p:sp>
          <p:nvSpPr>
            <p:cNvPr id="96" name="Oval 95"/>
            <p:cNvSpPr>
              <a:spLocks noChangeAspect="1" noChangeArrowheads="1"/>
            </p:cNvSpPr>
            <p:nvPr>
              <p:custDataLst>
                <p:tags r:id="rId64"/>
              </p:custDataLst>
            </p:nvPr>
          </p:nvSpPr>
          <p:spPr bwMode="gray">
            <a:xfrm>
              <a:off x="4801" y="3144"/>
              <a:ext cx="237" cy="217"/>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sp>
          <p:nvSpPr>
            <p:cNvPr id="97" name="Arc 26"/>
            <p:cNvSpPr>
              <a:spLocks noChangeAspect="1"/>
            </p:cNvSpPr>
            <p:nvPr>
              <p:custDataLst>
                <p:tags r:id="rId65"/>
              </p:custDataLst>
            </p:nvPr>
          </p:nvSpPr>
          <p:spPr bwMode="gray">
            <a:xfrm>
              <a:off x="4920" y="3145"/>
              <a:ext cx="118" cy="2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3"/>
            </a:solidFill>
            <a:ln w="12700">
              <a:noFill/>
              <a:round/>
              <a:headEnd/>
              <a:tailEnd/>
            </a:ln>
          </p:spPr>
          <p:txBody>
            <a:bodyPr wrap="none" anchor="ctr"/>
            <a:lstStyle/>
            <a:p>
              <a:pPr algn="ctr">
                <a:defRPr/>
              </a:pPr>
              <a:endParaRPr lang="en-GB" sz="1600"/>
            </a:p>
          </p:txBody>
        </p:sp>
      </p:grpSp>
      <p:grpSp>
        <p:nvGrpSpPr>
          <p:cNvPr id="6" name="Group 97"/>
          <p:cNvGrpSpPr>
            <a:grpSpLocks/>
          </p:cNvGrpSpPr>
          <p:nvPr>
            <p:custDataLst>
              <p:tags r:id="rId8"/>
            </p:custDataLst>
          </p:nvPr>
        </p:nvGrpSpPr>
        <p:grpSpPr bwMode="auto">
          <a:xfrm>
            <a:off x="2414588" y="2804404"/>
            <a:ext cx="285750" cy="309563"/>
            <a:chOff x="4801" y="3442"/>
            <a:chExt cx="239" cy="220"/>
          </a:xfrm>
        </p:grpSpPr>
        <p:sp>
          <p:nvSpPr>
            <p:cNvPr id="99" name="Oval 98"/>
            <p:cNvSpPr>
              <a:spLocks noChangeAspect="1" noChangeArrowheads="1"/>
            </p:cNvSpPr>
            <p:nvPr>
              <p:custDataLst>
                <p:tags r:id="rId62"/>
              </p:custDataLst>
            </p:nvPr>
          </p:nvSpPr>
          <p:spPr bwMode="gray">
            <a:xfrm>
              <a:off x="4801" y="3442"/>
              <a:ext cx="238" cy="219"/>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sp>
          <p:nvSpPr>
            <p:cNvPr id="100" name="Arc 29"/>
            <p:cNvSpPr>
              <a:spLocks noChangeAspect="1"/>
            </p:cNvSpPr>
            <p:nvPr>
              <p:custDataLst>
                <p:tags r:id="rId63"/>
              </p:custDataLst>
            </p:nvPr>
          </p:nvSpPr>
          <p:spPr bwMode="gray">
            <a:xfrm>
              <a:off x="4802" y="3443"/>
              <a:ext cx="238" cy="219"/>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3"/>
            </a:solidFill>
            <a:ln w="12700">
              <a:solidFill>
                <a:schemeClr val="accent3"/>
              </a:solidFill>
              <a:round/>
              <a:headEnd/>
              <a:tailEnd/>
            </a:ln>
          </p:spPr>
          <p:txBody>
            <a:bodyPr wrap="none" anchor="ctr"/>
            <a:lstStyle/>
            <a:p>
              <a:pPr algn="ctr">
                <a:defRPr/>
              </a:pPr>
              <a:endParaRPr lang="en-GB" sz="1600"/>
            </a:p>
          </p:txBody>
        </p:sp>
      </p:grpSp>
      <p:graphicFrame>
        <p:nvGraphicFramePr>
          <p:cNvPr id="275458" name="Rectangle 2" hidden="1"/>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0963" name="think-cell Slide" r:id="rId69" imgW="0" imgH="0" progId="">
                  <p:embed/>
                </p:oleObj>
              </mc:Choice>
              <mc:Fallback>
                <p:oleObj name="think-cell Slide" r:id="rId6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7" name="Group 104"/>
          <p:cNvGrpSpPr>
            <a:grpSpLocks/>
          </p:cNvGrpSpPr>
          <p:nvPr/>
        </p:nvGrpSpPr>
        <p:grpSpPr bwMode="auto">
          <a:xfrm>
            <a:off x="3543792" y="2161394"/>
            <a:ext cx="285785" cy="309600"/>
            <a:chOff x="635" y="2178"/>
            <a:chExt cx="218" cy="220"/>
          </a:xfrm>
          <a:solidFill>
            <a:schemeClr val="accent3"/>
          </a:solidFill>
        </p:grpSpPr>
        <p:sp>
          <p:nvSpPr>
            <p:cNvPr id="106" name="Oval 105"/>
            <p:cNvSpPr>
              <a:spLocks noChangeAspect="1" noChangeArrowheads="1"/>
            </p:cNvSpPr>
            <p:nvPr/>
          </p:nvSpPr>
          <p:spPr bwMode="gray">
            <a:xfrm>
              <a:off x="635" y="2178"/>
              <a:ext cx="218" cy="220"/>
            </a:xfrm>
            <a:prstGeom prst="ellipse">
              <a:avLst/>
            </a:prstGeom>
            <a:grpFill/>
            <a:ln w="12700">
              <a:solidFill>
                <a:schemeClr val="accent3"/>
              </a:solidFill>
              <a:round/>
              <a:headEnd/>
              <a:tailEnd/>
            </a:ln>
          </p:spPr>
          <p:txBody>
            <a:bodyPr wrap="none" anchor="ctr"/>
            <a:lstStyle/>
            <a:p>
              <a:pPr algn="ctr">
                <a:defRPr/>
              </a:pPr>
              <a:endParaRPr lang="en-GB" sz="1600"/>
            </a:p>
          </p:txBody>
        </p:sp>
        <p:sp>
          <p:nvSpPr>
            <p:cNvPr id="107" name="Oval 106"/>
            <p:cNvSpPr>
              <a:spLocks noChangeAspect="1" noChangeArrowheads="1"/>
            </p:cNvSpPr>
            <p:nvPr/>
          </p:nvSpPr>
          <p:spPr bwMode="gray">
            <a:xfrm>
              <a:off x="635" y="2178"/>
              <a:ext cx="218" cy="220"/>
            </a:xfrm>
            <a:prstGeom prst="ellipse">
              <a:avLst/>
            </a:prstGeom>
            <a:grpFill/>
            <a:ln w="12700">
              <a:solidFill>
                <a:schemeClr val="accent3"/>
              </a:solidFill>
              <a:round/>
              <a:headEnd/>
              <a:tailEnd/>
            </a:ln>
          </p:spPr>
          <p:txBody>
            <a:bodyPr wrap="none" anchor="ctr"/>
            <a:lstStyle/>
            <a:p>
              <a:pPr algn="ctr">
                <a:defRPr/>
              </a:pPr>
              <a:endParaRPr lang="en-GB" sz="1600"/>
            </a:p>
          </p:txBody>
        </p:sp>
      </p:grpSp>
      <p:grpSp>
        <p:nvGrpSpPr>
          <p:cNvPr id="8" name="Group 107"/>
          <p:cNvGrpSpPr>
            <a:grpSpLocks/>
          </p:cNvGrpSpPr>
          <p:nvPr/>
        </p:nvGrpSpPr>
        <p:grpSpPr bwMode="auto">
          <a:xfrm>
            <a:off x="4685720" y="2161394"/>
            <a:ext cx="285785" cy="309600"/>
            <a:chOff x="635" y="2178"/>
            <a:chExt cx="218" cy="220"/>
          </a:xfrm>
          <a:solidFill>
            <a:schemeClr val="accent3"/>
          </a:solidFill>
        </p:grpSpPr>
        <p:sp>
          <p:nvSpPr>
            <p:cNvPr id="109" name="Oval 108"/>
            <p:cNvSpPr>
              <a:spLocks noChangeAspect="1" noChangeArrowheads="1"/>
            </p:cNvSpPr>
            <p:nvPr/>
          </p:nvSpPr>
          <p:spPr bwMode="gray">
            <a:xfrm>
              <a:off x="635" y="2178"/>
              <a:ext cx="218" cy="220"/>
            </a:xfrm>
            <a:prstGeom prst="ellipse">
              <a:avLst/>
            </a:prstGeom>
            <a:grpFill/>
            <a:ln w="12700">
              <a:solidFill>
                <a:schemeClr val="accent3"/>
              </a:solidFill>
              <a:round/>
              <a:headEnd/>
              <a:tailEnd/>
            </a:ln>
          </p:spPr>
          <p:txBody>
            <a:bodyPr wrap="none" anchor="ctr"/>
            <a:lstStyle/>
            <a:p>
              <a:pPr algn="ctr">
                <a:defRPr/>
              </a:pPr>
              <a:endParaRPr lang="en-GB" sz="1600"/>
            </a:p>
          </p:txBody>
        </p:sp>
        <p:sp>
          <p:nvSpPr>
            <p:cNvPr id="110" name="Oval 109"/>
            <p:cNvSpPr>
              <a:spLocks noChangeAspect="1" noChangeArrowheads="1"/>
            </p:cNvSpPr>
            <p:nvPr/>
          </p:nvSpPr>
          <p:spPr bwMode="gray">
            <a:xfrm>
              <a:off x="635" y="2178"/>
              <a:ext cx="218" cy="220"/>
            </a:xfrm>
            <a:prstGeom prst="ellipse">
              <a:avLst/>
            </a:prstGeom>
            <a:grpFill/>
            <a:ln w="12700">
              <a:solidFill>
                <a:schemeClr val="accent3"/>
              </a:solidFill>
              <a:round/>
              <a:headEnd/>
              <a:tailEnd/>
            </a:ln>
          </p:spPr>
          <p:txBody>
            <a:bodyPr wrap="none" anchor="ctr"/>
            <a:lstStyle/>
            <a:p>
              <a:pPr algn="ctr">
                <a:defRPr/>
              </a:pPr>
              <a:endParaRPr lang="en-GB" sz="1600"/>
            </a:p>
          </p:txBody>
        </p:sp>
      </p:grpSp>
      <p:grpSp>
        <p:nvGrpSpPr>
          <p:cNvPr id="10" name="Group 110"/>
          <p:cNvGrpSpPr>
            <a:grpSpLocks/>
          </p:cNvGrpSpPr>
          <p:nvPr/>
        </p:nvGrpSpPr>
        <p:grpSpPr bwMode="auto">
          <a:xfrm>
            <a:off x="5824220" y="2161394"/>
            <a:ext cx="285785" cy="309600"/>
            <a:chOff x="635" y="2178"/>
            <a:chExt cx="218" cy="220"/>
          </a:xfrm>
          <a:solidFill>
            <a:schemeClr val="accent3"/>
          </a:solidFill>
        </p:grpSpPr>
        <p:sp>
          <p:nvSpPr>
            <p:cNvPr id="112" name="Oval 111"/>
            <p:cNvSpPr>
              <a:spLocks noChangeAspect="1" noChangeArrowheads="1"/>
            </p:cNvSpPr>
            <p:nvPr/>
          </p:nvSpPr>
          <p:spPr bwMode="gray">
            <a:xfrm>
              <a:off x="635" y="2178"/>
              <a:ext cx="218" cy="220"/>
            </a:xfrm>
            <a:prstGeom prst="ellipse">
              <a:avLst/>
            </a:prstGeom>
            <a:grpFill/>
            <a:ln w="12700">
              <a:solidFill>
                <a:schemeClr val="accent3"/>
              </a:solidFill>
              <a:round/>
              <a:headEnd/>
              <a:tailEnd/>
            </a:ln>
          </p:spPr>
          <p:txBody>
            <a:bodyPr wrap="none" anchor="ctr"/>
            <a:lstStyle/>
            <a:p>
              <a:pPr algn="ctr">
                <a:defRPr/>
              </a:pPr>
              <a:endParaRPr lang="en-GB" sz="1600"/>
            </a:p>
          </p:txBody>
        </p:sp>
        <p:sp>
          <p:nvSpPr>
            <p:cNvPr id="113" name="Oval 112"/>
            <p:cNvSpPr>
              <a:spLocks noChangeAspect="1" noChangeArrowheads="1"/>
            </p:cNvSpPr>
            <p:nvPr/>
          </p:nvSpPr>
          <p:spPr bwMode="gray">
            <a:xfrm>
              <a:off x="635" y="2178"/>
              <a:ext cx="218" cy="220"/>
            </a:xfrm>
            <a:prstGeom prst="ellipse">
              <a:avLst/>
            </a:prstGeom>
            <a:grpFill/>
            <a:ln w="12700">
              <a:solidFill>
                <a:schemeClr val="accent3"/>
              </a:solidFill>
              <a:round/>
              <a:headEnd/>
              <a:tailEnd/>
            </a:ln>
          </p:spPr>
          <p:txBody>
            <a:bodyPr wrap="none" anchor="ctr"/>
            <a:lstStyle/>
            <a:p>
              <a:pPr algn="ctr">
                <a:defRPr/>
              </a:pPr>
              <a:endParaRPr lang="en-GB" sz="1600"/>
            </a:p>
          </p:txBody>
        </p:sp>
      </p:grpSp>
      <p:grpSp>
        <p:nvGrpSpPr>
          <p:cNvPr id="11" name="Group 113"/>
          <p:cNvGrpSpPr>
            <a:grpSpLocks/>
          </p:cNvGrpSpPr>
          <p:nvPr/>
        </p:nvGrpSpPr>
        <p:grpSpPr bwMode="auto">
          <a:xfrm>
            <a:off x="6952908" y="2161394"/>
            <a:ext cx="285785" cy="309600"/>
            <a:chOff x="635" y="2178"/>
            <a:chExt cx="218" cy="220"/>
          </a:xfrm>
          <a:solidFill>
            <a:schemeClr val="accent3"/>
          </a:solidFill>
        </p:grpSpPr>
        <p:sp>
          <p:nvSpPr>
            <p:cNvPr id="115" name="Oval 114"/>
            <p:cNvSpPr>
              <a:spLocks noChangeAspect="1" noChangeArrowheads="1"/>
            </p:cNvSpPr>
            <p:nvPr/>
          </p:nvSpPr>
          <p:spPr bwMode="gray">
            <a:xfrm>
              <a:off x="635" y="2178"/>
              <a:ext cx="218" cy="220"/>
            </a:xfrm>
            <a:prstGeom prst="ellipse">
              <a:avLst/>
            </a:prstGeom>
            <a:grpFill/>
            <a:ln w="12700">
              <a:solidFill>
                <a:schemeClr val="accent3"/>
              </a:solidFill>
              <a:round/>
              <a:headEnd/>
              <a:tailEnd/>
            </a:ln>
          </p:spPr>
          <p:txBody>
            <a:bodyPr wrap="none" anchor="ctr"/>
            <a:lstStyle/>
            <a:p>
              <a:pPr algn="ctr">
                <a:defRPr/>
              </a:pPr>
              <a:endParaRPr lang="en-GB" sz="1600"/>
            </a:p>
          </p:txBody>
        </p:sp>
        <p:sp>
          <p:nvSpPr>
            <p:cNvPr id="116" name="Oval 115"/>
            <p:cNvSpPr>
              <a:spLocks noChangeAspect="1" noChangeArrowheads="1"/>
            </p:cNvSpPr>
            <p:nvPr/>
          </p:nvSpPr>
          <p:spPr bwMode="gray">
            <a:xfrm>
              <a:off x="635" y="2178"/>
              <a:ext cx="218" cy="220"/>
            </a:xfrm>
            <a:prstGeom prst="ellipse">
              <a:avLst/>
            </a:prstGeom>
            <a:grpFill/>
            <a:ln w="12700">
              <a:solidFill>
                <a:schemeClr val="accent3"/>
              </a:solidFill>
              <a:round/>
              <a:headEnd/>
              <a:tailEnd/>
            </a:ln>
          </p:spPr>
          <p:txBody>
            <a:bodyPr wrap="none" anchor="ctr"/>
            <a:lstStyle/>
            <a:p>
              <a:pPr algn="ctr">
                <a:defRPr/>
              </a:pPr>
              <a:endParaRPr lang="en-GB" sz="1600"/>
            </a:p>
          </p:txBody>
        </p:sp>
      </p:grpSp>
      <p:grpSp>
        <p:nvGrpSpPr>
          <p:cNvPr id="12" name="Group 116"/>
          <p:cNvGrpSpPr>
            <a:grpSpLocks/>
          </p:cNvGrpSpPr>
          <p:nvPr>
            <p:custDataLst>
              <p:tags r:id="rId10"/>
            </p:custDataLst>
          </p:nvPr>
        </p:nvGrpSpPr>
        <p:grpSpPr bwMode="auto">
          <a:xfrm>
            <a:off x="8081595" y="2161394"/>
            <a:ext cx="285785" cy="309600"/>
            <a:chOff x="635" y="2178"/>
            <a:chExt cx="218" cy="220"/>
          </a:xfrm>
          <a:solidFill>
            <a:schemeClr val="accent3"/>
          </a:solidFill>
        </p:grpSpPr>
        <p:sp>
          <p:nvSpPr>
            <p:cNvPr id="118" name="Oval 117"/>
            <p:cNvSpPr>
              <a:spLocks noChangeAspect="1" noChangeArrowheads="1"/>
            </p:cNvSpPr>
            <p:nvPr/>
          </p:nvSpPr>
          <p:spPr bwMode="gray">
            <a:xfrm>
              <a:off x="635" y="2178"/>
              <a:ext cx="218" cy="220"/>
            </a:xfrm>
            <a:prstGeom prst="ellipse">
              <a:avLst/>
            </a:prstGeom>
            <a:grpFill/>
            <a:ln w="12700">
              <a:solidFill>
                <a:schemeClr val="accent3"/>
              </a:solidFill>
              <a:round/>
              <a:headEnd/>
              <a:tailEnd/>
            </a:ln>
          </p:spPr>
          <p:txBody>
            <a:bodyPr wrap="none" anchor="ctr"/>
            <a:lstStyle/>
            <a:p>
              <a:pPr algn="ctr">
                <a:defRPr/>
              </a:pPr>
              <a:endParaRPr lang="en-GB" sz="1600"/>
            </a:p>
          </p:txBody>
        </p:sp>
        <p:sp>
          <p:nvSpPr>
            <p:cNvPr id="119" name="Oval 118"/>
            <p:cNvSpPr>
              <a:spLocks noChangeAspect="1" noChangeArrowheads="1"/>
            </p:cNvSpPr>
            <p:nvPr/>
          </p:nvSpPr>
          <p:spPr bwMode="gray">
            <a:xfrm>
              <a:off x="635" y="2178"/>
              <a:ext cx="218" cy="220"/>
            </a:xfrm>
            <a:prstGeom prst="ellipse">
              <a:avLst/>
            </a:prstGeom>
            <a:grpFill/>
            <a:ln w="12700">
              <a:solidFill>
                <a:schemeClr val="accent3"/>
              </a:solidFill>
              <a:round/>
              <a:headEnd/>
              <a:tailEnd/>
            </a:ln>
          </p:spPr>
          <p:txBody>
            <a:bodyPr wrap="none" anchor="ctr"/>
            <a:lstStyle/>
            <a:p>
              <a:pPr algn="ctr">
                <a:defRPr/>
              </a:pPr>
              <a:endParaRPr lang="en-GB" sz="1600"/>
            </a:p>
          </p:txBody>
        </p:sp>
      </p:grpSp>
      <p:sp>
        <p:nvSpPr>
          <p:cNvPr id="120" name="Oval 119"/>
          <p:cNvSpPr>
            <a:spLocks noChangeAspect="1" noChangeArrowheads="1"/>
          </p:cNvSpPr>
          <p:nvPr>
            <p:custDataLst>
              <p:tags r:id="rId11"/>
            </p:custDataLst>
          </p:nvPr>
        </p:nvSpPr>
        <p:spPr bwMode="gray">
          <a:xfrm>
            <a:off x="3543300" y="4750679"/>
            <a:ext cx="311150" cy="309563"/>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grpSp>
        <p:nvGrpSpPr>
          <p:cNvPr id="13" name="Group 120"/>
          <p:cNvGrpSpPr>
            <a:grpSpLocks/>
          </p:cNvGrpSpPr>
          <p:nvPr>
            <p:custDataLst>
              <p:tags r:id="rId12"/>
            </p:custDataLst>
          </p:nvPr>
        </p:nvGrpSpPr>
        <p:grpSpPr bwMode="auto">
          <a:xfrm>
            <a:off x="3543300" y="4099804"/>
            <a:ext cx="285750" cy="309563"/>
            <a:chOff x="4801" y="2843"/>
            <a:chExt cx="237" cy="220"/>
          </a:xfrm>
        </p:grpSpPr>
        <p:sp>
          <p:nvSpPr>
            <p:cNvPr id="122" name="Oval 121"/>
            <p:cNvSpPr>
              <a:spLocks noChangeAspect="1" noChangeArrowheads="1"/>
            </p:cNvSpPr>
            <p:nvPr>
              <p:custDataLst>
                <p:tags r:id="rId60"/>
              </p:custDataLst>
            </p:nvPr>
          </p:nvSpPr>
          <p:spPr bwMode="gray">
            <a:xfrm>
              <a:off x="4801" y="2843"/>
              <a:ext cx="237" cy="220"/>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sp>
          <p:nvSpPr>
            <p:cNvPr id="123" name="Arc 23"/>
            <p:cNvSpPr>
              <a:spLocks noChangeAspect="1"/>
            </p:cNvSpPr>
            <p:nvPr>
              <p:custDataLst>
                <p:tags r:id="rId61"/>
              </p:custDataLst>
            </p:nvPr>
          </p:nvSpPr>
          <p:spPr bwMode="gray">
            <a:xfrm>
              <a:off x="4920" y="2843"/>
              <a:ext cx="118" cy="11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3"/>
            </a:solidFill>
            <a:ln w="12700">
              <a:solidFill>
                <a:schemeClr val="accent3"/>
              </a:solidFill>
              <a:round/>
              <a:headEnd/>
              <a:tailEnd/>
            </a:ln>
          </p:spPr>
          <p:txBody>
            <a:bodyPr wrap="none" anchor="ctr"/>
            <a:lstStyle/>
            <a:p>
              <a:pPr algn="ctr">
                <a:defRPr/>
              </a:pPr>
              <a:endParaRPr lang="en-GB" sz="1600"/>
            </a:p>
          </p:txBody>
        </p:sp>
      </p:grpSp>
      <p:grpSp>
        <p:nvGrpSpPr>
          <p:cNvPr id="14" name="Group 123"/>
          <p:cNvGrpSpPr>
            <a:grpSpLocks/>
          </p:cNvGrpSpPr>
          <p:nvPr>
            <p:custDataLst>
              <p:tags r:id="rId13"/>
            </p:custDataLst>
          </p:nvPr>
        </p:nvGrpSpPr>
        <p:grpSpPr bwMode="auto">
          <a:xfrm>
            <a:off x="3543300" y="3456867"/>
            <a:ext cx="285750" cy="309562"/>
            <a:chOff x="4801" y="3144"/>
            <a:chExt cx="237" cy="218"/>
          </a:xfrm>
        </p:grpSpPr>
        <p:sp>
          <p:nvSpPr>
            <p:cNvPr id="125" name="Oval 124"/>
            <p:cNvSpPr>
              <a:spLocks noChangeAspect="1" noChangeArrowheads="1"/>
            </p:cNvSpPr>
            <p:nvPr>
              <p:custDataLst>
                <p:tags r:id="rId58"/>
              </p:custDataLst>
            </p:nvPr>
          </p:nvSpPr>
          <p:spPr bwMode="gray">
            <a:xfrm>
              <a:off x="4801" y="3144"/>
              <a:ext cx="237" cy="217"/>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sp>
          <p:nvSpPr>
            <p:cNvPr id="126" name="Arc 26"/>
            <p:cNvSpPr>
              <a:spLocks noChangeAspect="1"/>
            </p:cNvSpPr>
            <p:nvPr>
              <p:custDataLst>
                <p:tags r:id="rId59"/>
              </p:custDataLst>
            </p:nvPr>
          </p:nvSpPr>
          <p:spPr bwMode="gray">
            <a:xfrm>
              <a:off x="4920" y="3145"/>
              <a:ext cx="118" cy="2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3"/>
            </a:solidFill>
            <a:ln w="12700">
              <a:noFill/>
              <a:round/>
              <a:headEnd/>
              <a:tailEnd/>
            </a:ln>
          </p:spPr>
          <p:txBody>
            <a:bodyPr wrap="none" anchor="ctr"/>
            <a:lstStyle/>
            <a:p>
              <a:pPr algn="ctr">
                <a:defRPr/>
              </a:pPr>
              <a:endParaRPr lang="en-GB" sz="1600"/>
            </a:p>
          </p:txBody>
        </p:sp>
      </p:grpSp>
      <p:grpSp>
        <p:nvGrpSpPr>
          <p:cNvPr id="15" name="Group 126"/>
          <p:cNvGrpSpPr>
            <a:grpSpLocks/>
          </p:cNvGrpSpPr>
          <p:nvPr>
            <p:custDataLst>
              <p:tags r:id="rId14"/>
            </p:custDataLst>
          </p:nvPr>
        </p:nvGrpSpPr>
        <p:grpSpPr bwMode="auto">
          <a:xfrm>
            <a:off x="3543300" y="2804404"/>
            <a:ext cx="285750" cy="309563"/>
            <a:chOff x="4801" y="3442"/>
            <a:chExt cx="239" cy="220"/>
          </a:xfrm>
        </p:grpSpPr>
        <p:sp>
          <p:nvSpPr>
            <p:cNvPr id="128" name="Oval 127"/>
            <p:cNvSpPr>
              <a:spLocks noChangeAspect="1" noChangeArrowheads="1"/>
            </p:cNvSpPr>
            <p:nvPr>
              <p:custDataLst>
                <p:tags r:id="rId56"/>
              </p:custDataLst>
            </p:nvPr>
          </p:nvSpPr>
          <p:spPr bwMode="gray">
            <a:xfrm>
              <a:off x="4801" y="3442"/>
              <a:ext cx="238" cy="219"/>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sp>
          <p:nvSpPr>
            <p:cNvPr id="129" name="Arc 29"/>
            <p:cNvSpPr>
              <a:spLocks noChangeAspect="1"/>
            </p:cNvSpPr>
            <p:nvPr>
              <p:custDataLst>
                <p:tags r:id="rId57"/>
              </p:custDataLst>
            </p:nvPr>
          </p:nvSpPr>
          <p:spPr bwMode="gray">
            <a:xfrm>
              <a:off x="4802" y="3443"/>
              <a:ext cx="238" cy="219"/>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3"/>
            </a:solidFill>
            <a:ln w="12700">
              <a:solidFill>
                <a:schemeClr val="accent3"/>
              </a:solidFill>
              <a:round/>
              <a:headEnd/>
              <a:tailEnd/>
            </a:ln>
          </p:spPr>
          <p:txBody>
            <a:bodyPr wrap="none" anchor="ctr"/>
            <a:lstStyle/>
            <a:p>
              <a:pPr algn="ctr">
                <a:defRPr/>
              </a:pPr>
              <a:endParaRPr lang="en-GB" sz="1600"/>
            </a:p>
          </p:txBody>
        </p:sp>
      </p:grpSp>
      <p:sp>
        <p:nvSpPr>
          <p:cNvPr id="130" name="Oval 129"/>
          <p:cNvSpPr>
            <a:spLocks noChangeAspect="1" noChangeArrowheads="1"/>
          </p:cNvSpPr>
          <p:nvPr>
            <p:custDataLst>
              <p:tags r:id="rId15"/>
            </p:custDataLst>
          </p:nvPr>
        </p:nvSpPr>
        <p:spPr bwMode="gray">
          <a:xfrm>
            <a:off x="5824538" y="4742742"/>
            <a:ext cx="309562" cy="309562"/>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grpSp>
        <p:nvGrpSpPr>
          <p:cNvPr id="16" name="Group 130"/>
          <p:cNvGrpSpPr>
            <a:grpSpLocks/>
          </p:cNvGrpSpPr>
          <p:nvPr>
            <p:custDataLst>
              <p:tags r:id="rId16"/>
            </p:custDataLst>
          </p:nvPr>
        </p:nvGrpSpPr>
        <p:grpSpPr bwMode="auto">
          <a:xfrm>
            <a:off x="5824538" y="4093454"/>
            <a:ext cx="285750" cy="309563"/>
            <a:chOff x="4801" y="2843"/>
            <a:chExt cx="237" cy="220"/>
          </a:xfrm>
        </p:grpSpPr>
        <p:sp>
          <p:nvSpPr>
            <p:cNvPr id="132" name="Oval 131"/>
            <p:cNvSpPr>
              <a:spLocks noChangeAspect="1" noChangeArrowheads="1"/>
            </p:cNvSpPr>
            <p:nvPr>
              <p:custDataLst>
                <p:tags r:id="rId54"/>
              </p:custDataLst>
            </p:nvPr>
          </p:nvSpPr>
          <p:spPr bwMode="gray">
            <a:xfrm>
              <a:off x="4801" y="2843"/>
              <a:ext cx="237" cy="220"/>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sp>
          <p:nvSpPr>
            <p:cNvPr id="133" name="Arc 23"/>
            <p:cNvSpPr>
              <a:spLocks noChangeAspect="1"/>
            </p:cNvSpPr>
            <p:nvPr>
              <p:custDataLst>
                <p:tags r:id="rId55"/>
              </p:custDataLst>
            </p:nvPr>
          </p:nvSpPr>
          <p:spPr bwMode="gray">
            <a:xfrm>
              <a:off x="4920" y="2843"/>
              <a:ext cx="118" cy="11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3"/>
            </a:solidFill>
            <a:ln w="12700">
              <a:solidFill>
                <a:schemeClr val="accent3"/>
              </a:solidFill>
              <a:round/>
              <a:headEnd/>
              <a:tailEnd/>
            </a:ln>
          </p:spPr>
          <p:txBody>
            <a:bodyPr wrap="none" anchor="ctr"/>
            <a:lstStyle/>
            <a:p>
              <a:pPr algn="ctr">
                <a:defRPr/>
              </a:pPr>
              <a:endParaRPr lang="en-GB" sz="1600"/>
            </a:p>
          </p:txBody>
        </p:sp>
      </p:grpSp>
      <p:grpSp>
        <p:nvGrpSpPr>
          <p:cNvPr id="17" name="Group 133"/>
          <p:cNvGrpSpPr>
            <a:grpSpLocks/>
          </p:cNvGrpSpPr>
          <p:nvPr>
            <p:custDataLst>
              <p:tags r:id="rId17"/>
            </p:custDataLst>
          </p:nvPr>
        </p:nvGrpSpPr>
        <p:grpSpPr bwMode="auto">
          <a:xfrm>
            <a:off x="5824538" y="3450517"/>
            <a:ext cx="285750" cy="309562"/>
            <a:chOff x="4801" y="3144"/>
            <a:chExt cx="237" cy="218"/>
          </a:xfrm>
        </p:grpSpPr>
        <p:sp>
          <p:nvSpPr>
            <p:cNvPr id="135" name="Oval 134"/>
            <p:cNvSpPr>
              <a:spLocks noChangeAspect="1" noChangeArrowheads="1"/>
            </p:cNvSpPr>
            <p:nvPr>
              <p:custDataLst>
                <p:tags r:id="rId52"/>
              </p:custDataLst>
            </p:nvPr>
          </p:nvSpPr>
          <p:spPr bwMode="gray">
            <a:xfrm>
              <a:off x="4801" y="3144"/>
              <a:ext cx="237" cy="217"/>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sp>
          <p:nvSpPr>
            <p:cNvPr id="136" name="Arc 26"/>
            <p:cNvSpPr>
              <a:spLocks noChangeAspect="1"/>
            </p:cNvSpPr>
            <p:nvPr>
              <p:custDataLst>
                <p:tags r:id="rId53"/>
              </p:custDataLst>
            </p:nvPr>
          </p:nvSpPr>
          <p:spPr bwMode="gray">
            <a:xfrm>
              <a:off x="4920" y="3145"/>
              <a:ext cx="118" cy="2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3"/>
            </a:solidFill>
            <a:ln w="12700">
              <a:noFill/>
              <a:round/>
              <a:headEnd/>
              <a:tailEnd/>
            </a:ln>
          </p:spPr>
          <p:txBody>
            <a:bodyPr wrap="none" anchor="ctr"/>
            <a:lstStyle/>
            <a:p>
              <a:pPr algn="ctr">
                <a:defRPr/>
              </a:pPr>
              <a:endParaRPr lang="en-GB" sz="1600"/>
            </a:p>
          </p:txBody>
        </p:sp>
      </p:grpSp>
      <p:grpSp>
        <p:nvGrpSpPr>
          <p:cNvPr id="18" name="Group 136"/>
          <p:cNvGrpSpPr>
            <a:grpSpLocks/>
          </p:cNvGrpSpPr>
          <p:nvPr>
            <p:custDataLst>
              <p:tags r:id="rId18"/>
            </p:custDataLst>
          </p:nvPr>
        </p:nvGrpSpPr>
        <p:grpSpPr bwMode="auto">
          <a:xfrm>
            <a:off x="5824538" y="2798054"/>
            <a:ext cx="285750" cy="309563"/>
            <a:chOff x="4801" y="3442"/>
            <a:chExt cx="239" cy="220"/>
          </a:xfrm>
        </p:grpSpPr>
        <p:sp>
          <p:nvSpPr>
            <p:cNvPr id="138" name="Oval 137"/>
            <p:cNvSpPr>
              <a:spLocks noChangeAspect="1" noChangeArrowheads="1"/>
            </p:cNvSpPr>
            <p:nvPr>
              <p:custDataLst>
                <p:tags r:id="rId50"/>
              </p:custDataLst>
            </p:nvPr>
          </p:nvSpPr>
          <p:spPr bwMode="gray">
            <a:xfrm>
              <a:off x="4801" y="3442"/>
              <a:ext cx="238" cy="219"/>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sp>
          <p:nvSpPr>
            <p:cNvPr id="139" name="Arc 29"/>
            <p:cNvSpPr>
              <a:spLocks noChangeAspect="1"/>
            </p:cNvSpPr>
            <p:nvPr>
              <p:custDataLst>
                <p:tags r:id="rId51"/>
              </p:custDataLst>
            </p:nvPr>
          </p:nvSpPr>
          <p:spPr bwMode="gray">
            <a:xfrm>
              <a:off x="4802" y="3443"/>
              <a:ext cx="238" cy="219"/>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3"/>
            </a:solidFill>
            <a:ln w="12700">
              <a:solidFill>
                <a:schemeClr val="accent3"/>
              </a:solidFill>
              <a:round/>
              <a:headEnd/>
              <a:tailEnd/>
            </a:ln>
          </p:spPr>
          <p:txBody>
            <a:bodyPr wrap="none" anchor="ctr"/>
            <a:lstStyle/>
            <a:p>
              <a:pPr algn="ctr">
                <a:defRPr/>
              </a:pPr>
              <a:endParaRPr lang="en-GB" sz="1600"/>
            </a:p>
          </p:txBody>
        </p:sp>
      </p:grpSp>
      <p:sp>
        <p:nvSpPr>
          <p:cNvPr id="140" name="Oval 139"/>
          <p:cNvSpPr>
            <a:spLocks noChangeAspect="1" noChangeArrowheads="1"/>
          </p:cNvSpPr>
          <p:nvPr>
            <p:custDataLst>
              <p:tags r:id="rId19"/>
            </p:custDataLst>
          </p:nvPr>
        </p:nvSpPr>
        <p:spPr bwMode="gray">
          <a:xfrm>
            <a:off x="8081963" y="4742742"/>
            <a:ext cx="309562" cy="309562"/>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grpSp>
        <p:nvGrpSpPr>
          <p:cNvPr id="19" name="Group 140"/>
          <p:cNvGrpSpPr>
            <a:grpSpLocks/>
          </p:cNvGrpSpPr>
          <p:nvPr>
            <p:custDataLst>
              <p:tags r:id="rId20"/>
            </p:custDataLst>
          </p:nvPr>
        </p:nvGrpSpPr>
        <p:grpSpPr bwMode="auto">
          <a:xfrm>
            <a:off x="8081963" y="4093454"/>
            <a:ext cx="285750" cy="309563"/>
            <a:chOff x="4801" y="2843"/>
            <a:chExt cx="237" cy="220"/>
          </a:xfrm>
        </p:grpSpPr>
        <p:sp>
          <p:nvSpPr>
            <p:cNvPr id="142" name="Oval 141"/>
            <p:cNvSpPr>
              <a:spLocks noChangeAspect="1" noChangeArrowheads="1"/>
            </p:cNvSpPr>
            <p:nvPr>
              <p:custDataLst>
                <p:tags r:id="rId48"/>
              </p:custDataLst>
            </p:nvPr>
          </p:nvSpPr>
          <p:spPr bwMode="gray">
            <a:xfrm>
              <a:off x="4801" y="2843"/>
              <a:ext cx="237" cy="220"/>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sp>
          <p:nvSpPr>
            <p:cNvPr id="143" name="Arc 23"/>
            <p:cNvSpPr>
              <a:spLocks noChangeAspect="1"/>
            </p:cNvSpPr>
            <p:nvPr>
              <p:custDataLst>
                <p:tags r:id="rId49"/>
              </p:custDataLst>
            </p:nvPr>
          </p:nvSpPr>
          <p:spPr bwMode="gray">
            <a:xfrm>
              <a:off x="4920" y="2843"/>
              <a:ext cx="118" cy="11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3"/>
            </a:solidFill>
            <a:ln w="12700">
              <a:solidFill>
                <a:schemeClr val="accent3"/>
              </a:solidFill>
              <a:round/>
              <a:headEnd/>
              <a:tailEnd/>
            </a:ln>
          </p:spPr>
          <p:txBody>
            <a:bodyPr wrap="none" anchor="ctr"/>
            <a:lstStyle/>
            <a:p>
              <a:pPr algn="ctr">
                <a:defRPr/>
              </a:pPr>
              <a:endParaRPr lang="en-GB" sz="1600"/>
            </a:p>
          </p:txBody>
        </p:sp>
      </p:grpSp>
      <p:grpSp>
        <p:nvGrpSpPr>
          <p:cNvPr id="20" name="Group 143"/>
          <p:cNvGrpSpPr>
            <a:grpSpLocks/>
          </p:cNvGrpSpPr>
          <p:nvPr>
            <p:custDataLst>
              <p:tags r:id="rId21"/>
            </p:custDataLst>
          </p:nvPr>
        </p:nvGrpSpPr>
        <p:grpSpPr bwMode="auto">
          <a:xfrm>
            <a:off x="8081963" y="3450517"/>
            <a:ext cx="285750" cy="309562"/>
            <a:chOff x="4801" y="3144"/>
            <a:chExt cx="237" cy="218"/>
          </a:xfrm>
        </p:grpSpPr>
        <p:sp>
          <p:nvSpPr>
            <p:cNvPr id="145" name="Oval 144"/>
            <p:cNvSpPr>
              <a:spLocks noChangeAspect="1" noChangeArrowheads="1"/>
            </p:cNvSpPr>
            <p:nvPr>
              <p:custDataLst>
                <p:tags r:id="rId46"/>
              </p:custDataLst>
            </p:nvPr>
          </p:nvSpPr>
          <p:spPr bwMode="gray">
            <a:xfrm>
              <a:off x="4801" y="3144"/>
              <a:ext cx="237" cy="217"/>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sp>
          <p:nvSpPr>
            <p:cNvPr id="146" name="Arc 26"/>
            <p:cNvSpPr>
              <a:spLocks noChangeAspect="1"/>
            </p:cNvSpPr>
            <p:nvPr>
              <p:custDataLst>
                <p:tags r:id="rId47"/>
              </p:custDataLst>
            </p:nvPr>
          </p:nvSpPr>
          <p:spPr bwMode="gray">
            <a:xfrm>
              <a:off x="4920" y="3145"/>
              <a:ext cx="118" cy="2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3"/>
            </a:solidFill>
            <a:ln w="12700">
              <a:noFill/>
              <a:round/>
              <a:headEnd/>
              <a:tailEnd/>
            </a:ln>
          </p:spPr>
          <p:txBody>
            <a:bodyPr wrap="none" anchor="ctr"/>
            <a:lstStyle/>
            <a:p>
              <a:pPr algn="ctr">
                <a:defRPr/>
              </a:pPr>
              <a:endParaRPr lang="en-GB" sz="1600"/>
            </a:p>
          </p:txBody>
        </p:sp>
      </p:grpSp>
      <p:grpSp>
        <p:nvGrpSpPr>
          <p:cNvPr id="21" name="Group 146"/>
          <p:cNvGrpSpPr>
            <a:grpSpLocks/>
          </p:cNvGrpSpPr>
          <p:nvPr>
            <p:custDataLst>
              <p:tags r:id="rId22"/>
            </p:custDataLst>
          </p:nvPr>
        </p:nvGrpSpPr>
        <p:grpSpPr bwMode="auto">
          <a:xfrm>
            <a:off x="8081963" y="2798054"/>
            <a:ext cx="285750" cy="309563"/>
            <a:chOff x="4801" y="3442"/>
            <a:chExt cx="239" cy="220"/>
          </a:xfrm>
        </p:grpSpPr>
        <p:sp>
          <p:nvSpPr>
            <p:cNvPr id="148" name="Oval 147"/>
            <p:cNvSpPr>
              <a:spLocks noChangeAspect="1" noChangeArrowheads="1"/>
            </p:cNvSpPr>
            <p:nvPr>
              <p:custDataLst>
                <p:tags r:id="rId44"/>
              </p:custDataLst>
            </p:nvPr>
          </p:nvSpPr>
          <p:spPr bwMode="gray">
            <a:xfrm>
              <a:off x="4801" y="3442"/>
              <a:ext cx="238" cy="219"/>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sp>
          <p:nvSpPr>
            <p:cNvPr id="149" name="Arc 29"/>
            <p:cNvSpPr>
              <a:spLocks noChangeAspect="1"/>
            </p:cNvSpPr>
            <p:nvPr>
              <p:custDataLst>
                <p:tags r:id="rId45"/>
              </p:custDataLst>
            </p:nvPr>
          </p:nvSpPr>
          <p:spPr bwMode="gray">
            <a:xfrm>
              <a:off x="4802" y="3443"/>
              <a:ext cx="238" cy="219"/>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3"/>
            </a:solidFill>
            <a:ln w="12700">
              <a:solidFill>
                <a:schemeClr val="accent3"/>
              </a:solidFill>
              <a:round/>
              <a:headEnd/>
              <a:tailEnd/>
            </a:ln>
          </p:spPr>
          <p:txBody>
            <a:bodyPr wrap="none" anchor="ctr"/>
            <a:lstStyle/>
            <a:p>
              <a:pPr algn="ctr">
                <a:defRPr/>
              </a:pPr>
              <a:endParaRPr lang="en-GB" sz="1600"/>
            </a:p>
          </p:txBody>
        </p:sp>
      </p:grpSp>
      <p:sp>
        <p:nvSpPr>
          <p:cNvPr id="150" name="Oval 149"/>
          <p:cNvSpPr>
            <a:spLocks noChangeAspect="1" noChangeArrowheads="1"/>
          </p:cNvSpPr>
          <p:nvPr>
            <p:custDataLst>
              <p:tags r:id="rId23"/>
            </p:custDataLst>
          </p:nvPr>
        </p:nvSpPr>
        <p:spPr bwMode="gray">
          <a:xfrm>
            <a:off x="4686300" y="4736392"/>
            <a:ext cx="309563" cy="309562"/>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grpSp>
        <p:nvGrpSpPr>
          <p:cNvPr id="22" name="Group 150"/>
          <p:cNvGrpSpPr>
            <a:grpSpLocks/>
          </p:cNvGrpSpPr>
          <p:nvPr>
            <p:custDataLst>
              <p:tags r:id="rId24"/>
            </p:custDataLst>
          </p:nvPr>
        </p:nvGrpSpPr>
        <p:grpSpPr bwMode="auto">
          <a:xfrm>
            <a:off x="4686300" y="4085517"/>
            <a:ext cx="285750" cy="309562"/>
            <a:chOff x="4801" y="2843"/>
            <a:chExt cx="237" cy="220"/>
          </a:xfrm>
        </p:grpSpPr>
        <p:sp>
          <p:nvSpPr>
            <p:cNvPr id="152" name="Oval 151"/>
            <p:cNvSpPr>
              <a:spLocks noChangeAspect="1" noChangeArrowheads="1"/>
            </p:cNvSpPr>
            <p:nvPr>
              <p:custDataLst>
                <p:tags r:id="rId42"/>
              </p:custDataLst>
            </p:nvPr>
          </p:nvSpPr>
          <p:spPr bwMode="gray">
            <a:xfrm>
              <a:off x="4801" y="2843"/>
              <a:ext cx="237" cy="220"/>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sp>
          <p:nvSpPr>
            <p:cNvPr id="153" name="Arc 23"/>
            <p:cNvSpPr>
              <a:spLocks noChangeAspect="1"/>
            </p:cNvSpPr>
            <p:nvPr>
              <p:custDataLst>
                <p:tags r:id="rId43"/>
              </p:custDataLst>
            </p:nvPr>
          </p:nvSpPr>
          <p:spPr bwMode="gray">
            <a:xfrm>
              <a:off x="4920" y="2843"/>
              <a:ext cx="118" cy="11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3"/>
            </a:solidFill>
            <a:ln w="12700">
              <a:solidFill>
                <a:schemeClr val="accent3"/>
              </a:solidFill>
              <a:round/>
              <a:headEnd/>
              <a:tailEnd/>
            </a:ln>
          </p:spPr>
          <p:txBody>
            <a:bodyPr wrap="none" anchor="ctr"/>
            <a:lstStyle/>
            <a:p>
              <a:pPr algn="ctr">
                <a:defRPr/>
              </a:pPr>
              <a:endParaRPr lang="en-GB" sz="1600"/>
            </a:p>
          </p:txBody>
        </p:sp>
      </p:grpSp>
      <p:grpSp>
        <p:nvGrpSpPr>
          <p:cNvPr id="23" name="Group 153"/>
          <p:cNvGrpSpPr>
            <a:grpSpLocks/>
          </p:cNvGrpSpPr>
          <p:nvPr>
            <p:custDataLst>
              <p:tags r:id="rId25"/>
            </p:custDataLst>
          </p:nvPr>
        </p:nvGrpSpPr>
        <p:grpSpPr bwMode="auto">
          <a:xfrm>
            <a:off x="4686300" y="3442579"/>
            <a:ext cx="285750" cy="309563"/>
            <a:chOff x="4801" y="3144"/>
            <a:chExt cx="237" cy="218"/>
          </a:xfrm>
        </p:grpSpPr>
        <p:sp>
          <p:nvSpPr>
            <p:cNvPr id="155" name="Oval 154"/>
            <p:cNvSpPr>
              <a:spLocks noChangeAspect="1" noChangeArrowheads="1"/>
            </p:cNvSpPr>
            <p:nvPr>
              <p:custDataLst>
                <p:tags r:id="rId40"/>
              </p:custDataLst>
            </p:nvPr>
          </p:nvSpPr>
          <p:spPr bwMode="gray">
            <a:xfrm>
              <a:off x="4801" y="3144"/>
              <a:ext cx="237" cy="217"/>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sp>
          <p:nvSpPr>
            <p:cNvPr id="156" name="Arc 26"/>
            <p:cNvSpPr>
              <a:spLocks noChangeAspect="1"/>
            </p:cNvSpPr>
            <p:nvPr>
              <p:custDataLst>
                <p:tags r:id="rId41"/>
              </p:custDataLst>
            </p:nvPr>
          </p:nvSpPr>
          <p:spPr bwMode="gray">
            <a:xfrm>
              <a:off x="4920" y="3145"/>
              <a:ext cx="118" cy="2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3"/>
            </a:solidFill>
            <a:ln w="12700">
              <a:noFill/>
              <a:round/>
              <a:headEnd/>
              <a:tailEnd/>
            </a:ln>
          </p:spPr>
          <p:txBody>
            <a:bodyPr wrap="none" anchor="ctr"/>
            <a:lstStyle/>
            <a:p>
              <a:pPr algn="ctr">
                <a:defRPr/>
              </a:pPr>
              <a:endParaRPr lang="en-GB" sz="1600"/>
            </a:p>
          </p:txBody>
        </p:sp>
      </p:grpSp>
      <p:grpSp>
        <p:nvGrpSpPr>
          <p:cNvPr id="24" name="Group 156"/>
          <p:cNvGrpSpPr>
            <a:grpSpLocks/>
          </p:cNvGrpSpPr>
          <p:nvPr>
            <p:custDataLst>
              <p:tags r:id="rId26"/>
            </p:custDataLst>
          </p:nvPr>
        </p:nvGrpSpPr>
        <p:grpSpPr bwMode="auto">
          <a:xfrm>
            <a:off x="4686300" y="2790117"/>
            <a:ext cx="285750" cy="309562"/>
            <a:chOff x="4801" y="3442"/>
            <a:chExt cx="239" cy="220"/>
          </a:xfrm>
        </p:grpSpPr>
        <p:sp>
          <p:nvSpPr>
            <p:cNvPr id="158" name="Oval 157"/>
            <p:cNvSpPr>
              <a:spLocks noChangeAspect="1" noChangeArrowheads="1"/>
            </p:cNvSpPr>
            <p:nvPr>
              <p:custDataLst>
                <p:tags r:id="rId38"/>
              </p:custDataLst>
            </p:nvPr>
          </p:nvSpPr>
          <p:spPr bwMode="gray">
            <a:xfrm>
              <a:off x="4801" y="3442"/>
              <a:ext cx="238" cy="219"/>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sp>
          <p:nvSpPr>
            <p:cNvPr id="159" name="Arc 29"/>
            <p:cNvSpPr>
              <a:spLocks noChangeAspect="1"/>
            </p:cNvSpPr>
            <p:nvPr>
              <p:custDataLst>
                <p:tags r:id="rId39"/>
              </p:custDataLst>
            </p:nvPr>
          </p:nvSpPr>
          <p:spPr bwMode="gray">
            <a:xfrm>
              <a:off x="4802" y="3443"/>
              <a:ext cx="238" cy="219"/>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3"/>
            </a:solidFill>
            <a:ln w="12700">
              <a:solidFill>
                <a:schemeClr val="accent3"/>
              </a:solidFill>
              <a:round/>
              <a:headEnd/>
              <a:tailEnd/>
            </a:ln>
          </p:spPr>
          <p:txBody>
            <a:bodyPr wrap="none" anchor="ctr"/>
            <a:lstStyle/>
            <a:p>
              <a:pPr algn="ctr">
                <a:defRPr/>
              </a:pPr>
              <a:endParaRPr lang="en-GB" sz="1600"/>
            </a:p>
          </p:txBody>
        </p:sp>
      </p:grpSp>
      <p:sp>
        <p:nvSpPr>
          <p:cNvPr id="160" name="Oval 159"/>
          <p:cNvSpPr>
            <a:spLocks noChangeAspect="1" noChangeArrowheads="1"/>
          </p:cNvSpPr>
          <p:nvPr>
            <p:custDataLst>
              <p:tags r:id="rId27"/>
            </p:custDataLst>
          </p:nvPr>
        </p:nvSpPr>
        <p:spPr bwMode="gray">
          <a:xfrm>
            <a:off x="6953250" y="4739567"/>
            <a:ext cx="309563" cy="309562"/>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grpSp>
        <p:nvGrpSpPr>
          <p:cNvPr id="25" name="Group 160"/>
          <p:cNvGrpSpPr>
            <a:grpSpLocks/>
          </p:cNvGrpSpPr>
          <p:nvPr>
            <p:custDataLst>
              <p:tags r:id="rId28"/>
            </p:custDataLst>
          </p:nvPr>
        </p:nvGrpSpPr>
        <p:grpSpPr bwMode="auto">
          <a:xfrm>
            <a:off x="6953250" y="4088692"/>
            <a:ext cx="285750" cy="309562"/>
            <a:chOff x="4801" y="2843"/>
            <a:chExt cx="237" cy="220"/>
          </a:xfrm>
        </p:grpSpPr>
        <p:sp>
          <p:nvSpPr>
            <p:cNvPr id="162" name="Oval 161"/>
            <p:cNvSpPr>
              <a:spLocks noChangeAspect="1" noChangeArrowheads="1"/>
            </p:cNvSpPr>
            <p:nvPr>
              <p:custDataLst>
                <p:tags r:id="rId36"/>
              </p:custDataLst>
            </p:nvPr>
          </p:nvSpPr>
          <p:spPr bwMode="gray">
            <a:xfrm>
              <a:off x="4801" y="2843"/>
              <a:ext cx="237" cy="220"/>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sp>
          <p:nvSpPr>
            <p:cNvPr id="163" name="Arc 23"/>
            <p:cNvSpPr>
              <a:spLocks noChangeAspect="1"/>
            </p:cNvSpPr>
            <p:nvPr>
              <p:custDataLst>
                <p:tags r:id="rId37"/>
              </p:custDataLst>
            </p:nvPr>
          </p:nvSpPr>
          <p:spPr bwMode="gray">
            <a:xfrm>
              <a:off x="4920" y="2843"/>
              <a:ext cx="118" cy="11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3"/>
            </a:solidFill>
            <a:ln w="12700">
              <a:solidFill>
                <a:schemeClr val="accent3"/>
              </a:solidFill>
              <a:round/>
              <a:headEnd/>
              <a:tailEnd/>
            </a:ln>
          </p:spPr>
          <p:txBody>
            <a:bodyPr wrap="none" anchor="ctr"/>
            <a:lstStyle/>
            <a:p>
              <a:pPr algn="ctr">
                <a:defRPr/>
              </a:pPr>
              <a:endParaRPr lang="en-GB" sz="1600"/>
            </a:p>
          </p:txBody>
        </p:sp>
      </p:grpSp>
      <p:grpSp>
        <p:nvGrpSpPr>
          <p:cNvPr id="26" name="Group 163"/>
          <p:cNvGrpSpPr>
            <a:grpSpLocks/>
          </p:cNvGrpSpPr>
          <p:nvPr>
            <p:custDataLst>
              <p:tags r:id="rId29"/>
            </p:custDataLst>
          </p:nvPr>
        </p:nvGrpSpPr>
        <p:grpSpPr bwMode="auto">
          <a:xfrm>
            <a:off x="6953250" y="3445754"/>
            <a:ext cx="285750" cy="309563"/>
            <a:chOff x="4801" y="3144"/>
            <a:chExt cx="237" cy="218"/>
          </a:xfrm>
        </p:grpSpPr>
        <p:sp>
          <p:nvSpPr>
            <p:cNvPr id="165" name="Oval 164"/>
            <p:cNvSpPr>
              <a:spLocks noChangeAspect="1" noChangeArrowheads="1"/>
            </p:cNvSpPr>
            <p:nvPr>
              <p:custDataLst>
                <p:tags r:id="rId34"/>
              </p:custDataLst>
            </p:nvPr>
          </p:nvSpPr>
          <p:spPr bwMode="gray">
            <a:xfrm>
              <a:off x="4801" y="3144"/>
              <a:ext cx="237" cy="217"/>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sp>
          <p:nvSpPr>
            <p:cNvPr id="166" name="Arc 26"/>
            <p:cNvSpPr>
              <a:spLocks noChangeAspect="1"/>
            </p:cNvSpPr>
            <p:nvPr>
              <p:custDataLst>
                <p:tags r:id="rId35"/>
              </p:custDataLst>
            </p:nvPr>
          </p:nvSpPr>
          <p:spPr bwMode="gray">
            <a:xfrm>
              <a:off x="4920" y="3145"/>
              <a:ext cx="118" cy="2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3"/>
            </a:solidFill>
            <a:ln w="12700">
              <a:noFill/>
              <a:round/>
              <a:headEnd/>
              <a:tailEnd/>
            </a:ln>
          </p:spPr>
          <p:txBody>
            <a:bodyPr wrap="none" anchor="ctr"/>
            <a:lstStyle/>
            <a:p>
              <a:pPr algn="ctr">
                <a:defRPr/>
              </a:pPr>
              <a:endParaRPr lang="en-GB" sz="1600"/>
            </a:p>
          </p:txBody>
        </p:sp>
      </p:grpSp>
      <p:grpSp>
        <p:nvGrpSpPr>
          <p:cNvPr id="27" name="Group 166"/>
          <p:cNvGrpSpPr>
            <a:grpSpLocks/>
          </p:cNvGrpSpPr>
          <p:nvPr>
            <p:custDataLst>
              <p:tags r:id="rId30"/>
            </p:custDataLst>
          </p:nvPr>
        </p:nvGrpSpPr>
        <p:grpSpPr bwMode="auto">
          <a:xfrm>
            <a:off x="6953250" y="2793292"/>
            <a:ext cx="285750" cy="309562"/>
            <a:chOff x="4801" y="3442"/>
            <a:chExt cx="239" cy="220"/>
          </a:xfrm>
        </p:grpSpPr>
        <p:sp>
          <p:nvSpPr>
            <p:cNvPr id="168" name="Oval 167"/>
            <p:cNvSpPr>
              <a:spLocks noChangeAspect="1" noChangeArrowheads="1"/>
            </p:cNvSpPr>
            <p:nvPr>
              <p:custDataLst>
                <p:tags r:id="rId32"/>
              </p:custDataLst>
            </p:nvPr>
          </p:nvSpPr>
          <p:spPr bwMode="gray">
            <a:xfrm>
              <a:off x="4801" y="3442"/>
              <a:ext cx="238" cy="219"/>
            </a:xfrm>
            <a:prstGeom prst="ellipse">
              <a:avLst/>
            </a:prstGeom>
            <a:solidFill>
              <a:srgbClr val="FFFFFF"/>
            </a:solidFill>
            <a:ln w="12700">
              <a:solidFill>
                <a:schemeClr val="accent3"/>
              </a:solidFill>
              <a:round/>
              <a:headEnd/>
              <a:tailEnd/>
            </a:ln>
          </p:spPr>
          <p:txBody>
            <a:bodyPr wrap="none" anchor="ctr"/>
            <a:lstStyle/>
            <a:p>
              <a:pPr algn="ctr">
                <a:defRPr/>
              </a:pPr>
              <a:endParaRPr lang="en-GB" sz="1600"/>
            </a:p>
          </p:txBody>
        </p:sp>
        <p:sp>
          <p:nvSpPr>
            <p:cNvPr id="169" name="Arc 29"/>
            <p:cNvSpPr>
              <a:spLocks noChangeAspect="1"/>
            </p:cNvSpPr>
            <p:nvPr>
              <p:custDataLst>
                <p:tags r:id="rId33"/>
              </p:custDataLst>
            </p:nvPr>
          </p:nvSpPr>
          <p:spPr bwMode="gray">
            <a:xfrm>
              <a:off x="4802" y="3443"/>
              <a:ext cx="238" cy="219"/>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3"/>
            </a:solidFill>
            <a:ln w="12700">
              <a:solidFill>
                <a:schemeClr val="accent3"/>
              </a:solidFill>
              <a:round/>
              <a:headEnd/>
              <a:tailEnd/>
            </a:ln>
          </p:spPr>
          <p:txBody>
            <a:bodyPr wrap="none" anchor="ctr"/>
            <a:lstStyle/>
            <a:p>
              <a:pPr algn="ctr">
                <a:defRPr/>
              </a:pPr>
              <a:endParaRPr lang="en-GB" sz="1600"/>
            </a:p>
          </p:txBody>
        </p:sp>
      </p:grpSp>
      <p:sp>
        <p:nvSpPr>
          <p:cNvPr id="171" name="Oval 31"/>
          <p:cNvSpPr>
            <a:spLocks noChangeArrowheads="1"/>
          </p:cNvSpPr>
          <p:nvPr/>
        </p:nvSpPr>
        <p:spPr bwMode="auto">
          <a:xfrm>
            <a:off x="4596068" y="5519030"/>
            <a:ext cx="255267" cy="250825"/>
          </a:xfrm>
          <a:prstGeom prst="ellipse">
            <a:avLst/>
          </a:prstGeom>
          <a:solidFill>
            <a:schemeClr val="accent3"/>
          </a:solidFill>
          <a:ln w="12700" cap="rnd" algn="ctr">
            <a:solidFill>
              <a:schemeClr val="accent3"/>
            </a:solidFill>
            <a:round/>
            <a:headEnd/>
            <a:tailEnd/>
          </a:ln>
        </p:spPr>
        <p:txBody>
          <a:bodyPr wrap="none" anchor="ctr"/>
          <a:lstStyle/>
          <a:p>
            <a:pPr algn="ctr">
              <a:defRPr/>
            </a:pPr>
            <a:endParaRPr lang="en-GB" sz="1400"/>
          </a:p>
        </p:txBody>
      </p:sp>
      <p:sp>
        <p:nvSpPr>
          <p:cNvPr id="275551" name="Text Box 32"/>
          <p:cNvSpPr txBox="1">
            <a:spLocks noChangeArrowheads="1"/>
          </p:cNvSpPr>
          <p:nvPr/>
        </p:nvSpPr>
        <p:spPr bwMode="auto">
          <a:xfrm>
            <a:off x="4817191" y="5506330"/>
            <a:ext cx="756047" cy="307975"/>
          </a:xfrm>
          <a:prstGeom prst="rect">
            <a:avLst/>
          </a:prstGeom>
          <a:noFill/>
          <a:ln w="9525">
            <a:noFill/>
            <a:miter lim="800000"/>
            <a:headEnd type="none" w="sm" len="sm"/>
            <a:tailEnd type="none" w="sm" len="sm"/>
          </a:ln>
        </p:spPr>
        <p:txBody>
          <a:bodyPr wrap="none">
            <a:spAutoFit/>
          </a:bodyPr>
          <a:lstStyle/>
          <a:p>
            <a:r>
              <a:rPr lang="en-GB" altLang="ja-JP" sz="1400" dirty="0" smtClean="0">
                <a:solidFill>
                  <a:schemeClr val="tx2"/>
                </a:solidFill>
                <a:ea typeface="ＭＳ Ｐゴシック" charset="-128"/>
              </a:rPr>
              <a:t>Strong</a:t>
            </a:r>
            <a:endParaRPr lang="en-GB" altLang="ja-JP" sz="1400" dirty="0">
              <a:solidFill>
                <a:schemeClr val="tx2"/>
              </a:solidFill>
              <a:ea typeface="ＭＳ Ｐゴシック" charset="-128"/>
            </a:endParaRPr>
          </a:p>
        </p:txBody>
      </p:sp>
      <p:sp>
        <p:nvSpPr>
          <p:cNvPr id="173" name="Oval 33"/>
          <p:cNvSpPr>
            <a:spLocks noChangeArrowheads="1"/>
          </p:cNvSpPr>
          <p:nvPr/>
        </p:nvSpPr>
        <p:spPr bwMode="auto">
          <a:xfrm>
            <a:off x="5656159" y="5519030"/>
            <a:ext cx="256893" cy="250825"/>
          </a:xfrm>
          <a:prstGeom prst="ellipse">
            <a:avLst/>
          </a:prstGeom>
          <a:solidFill>
            <a:srgbClr val="FFFFFF"/>
          </a:solidFill>
          <a:ln w="12700">
            <a:solidFill>
              <a:schemeClr val="accent3"/>
            </a:solidFill>
            <a:round/>
            <a:headEnd/>
            <a:tailEnd/>
          </a:ln>
        </p:spPr>
        <p:txBody>
          <a:bodyPr wrap="none" anchor="ctr"/>
          <a:lstStyle/>
          <a:p>
            <a:pPr algn="ctr">
              <a:defRPr/>
            </a:pPr>
            <a:endParaRPr lang="en-GB" sz="1400"/>
          </a:p>
        </p:txBody>
      </p:sp>
      <p:sp>
        <p:nvSpPr>
          <p:cNvPr id="275553" name="Text Box 34"/>
          <p:cNvSpPr txBox="1">
            <a:spLocks noChangeArrowheads="1"/>
          </p:cNvSpPr>
          <p:nvPr/>
        </p:nvSpPr>
        <p:spPr bwMode="auto">
          <a:xfrm>
            <a:off x="5864275" y="5506330"/>
            <a:ext cx="669874" cy="307975"/>
          </a:xfrm>
          <a:prstGeom prst="rect">
            <a:avLst/>
          </a:prstGeom>
          <a:noFill/>
          <a:ln w="9525">
            <a:noFill/>
            <a:miter lim="800000"/>
            <a:headEnd type="none" w="sm" len="sm"/>
            <a:tailEnd type="none" w="sm" len="sm"/>
          </a:ln>
        </p:spPr>
        <p:txBody>
          <a:bodyPr wrap="none">
            <a:spAutoFit/>
          </a:bodyPr>
          <a:lstStyle/>
          <a:p>
            <a:r>
              <a:rPr lang="en-GB" altLang="ja-JP" sz="1400" dirty="0" smtClean="0">
                <a:solidFill>
                  <a:schemeClr val="tx2"/>
                </a:solidFill>
                <a:ea typeface="ＭＳ Ｐゴシック" charset="-128"/>
              </a:rPr>
              <a:t>Weak</a:t>
            </a:r>
            <a:endParaRPr lang="en-GB" altLang="ja-JP" sz="1400" dirty="0">
              <a:solidFill>
                <a:schemeClr val="tx2"/>
              </a:solidFill>
              <a:ea typeface="ＭＳ Ｐゴシック" charset="-128"/>
            </a:endParaRPr>
          </a:p>
        </p:txBody>
      </p:sp>
      <p:sp>
        <p:nvSpPr>
          <p:cNvPr id="175" name="Rectangle 35"/>
          <p:cNvSpPr>
            <a:spLocks noChangeArrowheads="1"/>
          </p:cNvSpPr>
          <p:nvPr/>
        </p:nvSpPr>
        <p:spPr bwMode="auto">
          <a:xfrm>
            <a:off x="4526154" y="5461880"/>
            <a:ext cx="2007995" cy="368300"/>
          </a:xfrm>
          <a:prstGeom prst="rect">
            <a:avLst/>
          </a:prstGeom>
          <a:noFill/>
          <a:ln w="12700">
            <a:solidFill>
              <a:schemeClr val="tx2"/>
            </a:solidFill>
            <a:miter lim="800000"/>
            <a:headEnd type="none" w="sm" len="sm"/>
            <a:tailEnd type="none" w="sm" len="sm"/>
          </a:ln>
        </p:spPr>
        <p:txBody>
          <a:bodyPr wrap="none" anchor="ctr"/>
          <a:lstStyle/>
          <a:p>
            <a:pPr algn="ctr">
              <a:defRPr/>
            </a:pPr>
            <a:endParaRPr lang="en-GB" sz="1400"/>
          </a:p>
        </p:txBody>
      </p:sp>
      <p:sp>
        <p:nvSpPr>
          <p:cNvPr id="10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04" name="Text Placeholder 12"/>
          <p:cNvSpPr>
            <a:spLocks/>
          </p:cNvSpPr>
          <p:nvPr>
            <p:custDataLst>
              <p:tags r:id="rId3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4625" name="Title 1"/>
          <p:cNvSpPr>
            <a:spLocks noGrp="1"/>
          </p:cNvSpPr>
          <p:nvPr>
            <p:ph type="title"/>
          </p:nvPr>
        </p:nvSpPr>
        <p:spPr/>
        <p:txBody>
          <a:bodyPr/>
          <a:lstStyle/>
          <a:p>
            <a:r>
              <a:rPr lang="en-GB" altLang="ja-JP"/>
              <a:t>More moons (a.k.a. Harvey Balls)</a:t>
            </a:r>
            <a:endParaRPr lang="nl-NL"/>
          </a:p>
        </p:txBody>
      </p:sp>
      <p:grpSp>
        <p:nvGrpSpPr>
          <p:cNvPr id="2" name="Group 3"/>
          <p:cNvGrpSpPr>
            <a:grpSpLocks noChangeAspect="1"/>
          </p:cNvGrpSpPr>
          <p:nvPr/>
        </p:nvGrpSpPr>
        <p:grpSpPr bwMode="auto">
          <a:xfrm>
            <a:off x="2473325" y="3014663"/>
            <a:ext cx="77788" cy="77787"/>
            <a:chOff x="2654" y="1925"/>
            <a:chExt cx="449" cy="467"/>
          </a:xfrm>
        </p:grpSpPr>
        <p:sp>
          <p:nvSpPr>
            <p:cNvPr id="5" name="Freeform 4"/>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224 w 449"/>
                <a:gd name="T103" fmla="*/ 233 h 467"/>
                <a:gd name="T104" fmla="*/ 224 w 449"/>
                <a:gd name="T105" fmla="*/ 0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49"/>
                <a:gd name="T160" fmla="*/ 0 h 467"/>
                <a:gd name="T161" fmla="*/ 449 w 449"/>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lnTo>
                    <a:pt x="224" y="233"/>
                  </a:lnTo>
                  <a:lnTo>
                    <a:pt x="224" y="0"/>
                  </a:lnTo>
                  <a:close/>
                </a:path>
              </a:pathLst>
            </a:custGeom>
            <a:solidFill>
              <a:schemeClr val="tx1"/>
            </a:solidFill>
            <a:ln w="3175">
              <a:solidFill>
                <a:schemeClr val="accent3"/>
              </a:solidFill>
              <a:round/>
              <a:headEnd/>
              <a:tailEnd/>
            </a:ln>
          </p:spPr>
          <p:txBody>
            <a:bodyPr/>
            <a:lstStyle/>
            <a:p>
              <a:pPr>
                <a:defRPr/>
              </a:pPr>
              <a:endParaRPr lang="en-GB"/>
            </a:p>
          </p:txBody>
        </p:sp>
        <p:sp>
          <p:nvSpPr>
            <p:cNvPr id="6" name="Freeform 5"/>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67"/>
                <a:gd name="T155" fmla="*/ 449 w 449"/>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path>
              </a:pathLst>
            </a:custGeom>
            <a:solidFill>
              <a:schemeClr val="accent3"/>
            </a:solidFill>
            <a:ln w="3175">
              <a:solidFill>
                <a:schemeClr val="accent3"/>
              </a:solidFill>
              <a:round/>
              <a:headEnd/>
              <a:tailEnd/>
            </a:ln>
          </p:spPr>
          <p:txBody>
            <a:bodyPr/>
            <a:lstStyle/>
            <a:p>
              <a:pPr>
                <a:defRPr/>
              </a:pPr>
              <a:endParaRPr lang="en-GB"/>
            </a:p>
          </p:txBody>
        </p:sp>
      </p:grpSp>
      <p:grpSp>
        <p:nvGrpSpPr>
          <p:cNvPr id="3" name="Group 6"/>
          <p:cNvGrpSpPr>
            <a:grpSpLocks noChangeAspect="1"/>
          </p:cNvGrpSpPr>
          <p:nvPr/>
        </p:nvGrpSpPr>
        <p:grpSpPr bwMode="auto">
          <a:xfrm>
            <a:off x="2473325" y="3014663"/>
            <a:ext cx="39688" cy="39687"/>
            <a:chOff x="2654" y="1925"/>
            <a:chExt cx="225" cy="234"/>
          </a:xfrm>
        </p:grpSpPr>
        <p:sp>
          <p:nvSpPr>
            <p:cNvPr id="8" name="Freeform 7"/>
            <p:cNvSpPr>
              <a:spLocks noChangeAspect="1"/>
            </p:cNvSpPr>
            <p:nvPr/>
          </p:nvSpPr>
          <p:spPr bwMode="auto">
            <a:xfrm>
              <a:off x="2654" y="1925"/>
              <a:ext cx="225" cy="234"/>
            </a:xfrm>
            <a:custGeom>
              <a:avLst/>
              <a:gdLst>
                <a:gd name="T0" fmla="*/ 0 w 225"/>
                <a:gd name="T1" fmla="*/ 233 h 234"/>
                <a:gd name="T2" fmla="*/ 1 w 225"/>
                <a:gd name="T3" fmla="*/ 209 h 234"/>
                <a:gd name="T4" fmla="*/ 5 w 225"/>
                <a:gd name="T5" fmla="*/ 186 h 234"/>
                <a:gd name="T6" fmla="*/ 10 w 225"/>
                <a:gd name="T7" fmla="*/ 164 h 234"/>
                <a:gd name="T8" fmla="*/ 18 w 225"/>
                <a:gd name="T9" fmla="*/ 143 h 234"/>
                <a:gd name="T10" fmla="*/ 27 w 225"/>
                <a:gd name="T11" fmla="*/ 122 h 234"/>
                <a:gd name="T12" fmla="*/ 39 w 225"/>
                <a:gd name="T13" fmla="*/ 103 h 234"/>
                <a:gd name="T14" fmla="*/ 52 w 225"/>
                <a:gd name="T15" fmla="*/ 85 h 234"/>
                <a:gd name="T16" fmla="*/ 66 w 225"/>
                <a:gd name="T17" fmla="*/ 69 h 234"/>
                <a:gd name="T18" fmla="*/ 82 w 225"/>
                <a:gd name="T19" fmla="*/ 54 h 234"/>
                <a:gd name="T20" fmla="*/ 99 w 225"/>
                <a:gd name="T21" fmla="*/ 40 h 234"/>
                <a:gd name="T22" fmla="*/ 117 w 225"/>
                <a:gd name="T23" fmla="*/ 29 h 234"/>
                <a:gd name="T24" fmla="*/ 137 w 225"/>
                <a:gd name="T25" fmla="*/ 19 h 234"/>
                <a:gd name="T26" fmla="*/ 157 w 225"/>
                <a:gd name="T27" fmla="*/ 11 h 234"/>
                <a:gd name="T28" fmla="*/ 179 w 225"/>
                <a:gd name="T29" fmla="*/ 5 h 234"/>
                <a:gd name="T30" fmla="*/ 201 w 225"/>
                <a:gd name="T31" fmla="*/ 1 h 234"/>
                <a:gd name="T32" fmla="*/ 224 w 225"/>
                <a:gd name="T33" fmla="*/ 0 h 234"/>
                <a:gd name="T34" fmla="*/ 225 w 225"/>
                <a:gd name="T35" fmla="*/ 234 h 234"/>
                <a:gd name="T36" fmla="*/ 0 w 225"/>
                <a:gd name="T37" fmla="*/ 233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5"/>
                <a:gd name="T58" fmla="*/ 0 h 234"/>
                <a:gd name="T59" fmla="*/ 225 w 225"/>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5" h="234">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lnTo>
                    <a:pt x="225" y="234"/>
                  </a:lnTo>
                  <a:lnTo>
                    <a:pt x="0" y="233"/>
                  </a:lnTo>
                  <a:close/>
                </a:path>
              </a:pathLst>
            </a:custGeom>
            <a:solidFill>
              <a:srgbClr val="FFFFFF"/>
            </a:solidFill>
            <a:ln w="3175">
              <a:solidFill>
                <a:schemeClr val="accent3"/>
              </a:solidFill>
              <a:round/>
              <a:headEnd/>
              <a:tailEnd/>
            </a:ln>
          </p:spPr>
          <p:txBody>
            <a:bodyPr/>
            <a:lstStyle/>
            <a:p>
              <a:pPr>
                <a:defRPr/>
              </a:pPr>
              <a:endParaRPr lang="en-GB"/>
            </a:p>
          </p:txBody>
        </p:sp>
        <p:sp>
          <p:nvSpPr>
            <p:cNvPr id="9" name="Freeform 8"/>
            <p:cNvSpPr>
              <a:spLocks noChangeAspect="1"/>
            </p:cNvSpPr>
            <p:nvPr/>
          </p:nvSpPr>
          <p:spPr bwMode="auto">
            <a:xfrm>
              <a:off x="2654" y="1925"/>
              <a:ext cx="225" cy="234"/>
            </a:xfrm>
            <a:custGeom>
              <a:avLst/>
              <a:gdLst>
                <a:gd name="T0" fmla="*/ 0 w 224"/>
                <a:gd name="T1" fmla="*/ 233 h 233"/>
                <a:gd name="T2" fmla="*/ 1 w 224"/>
                <a:gd name="T3" fmla="*/ 209 h 233"/>
                <a:gd name="T4" fmla="*/ 5 w 224"/>
                <a:gd name="T5" fmla="*/ 186 h 233"/>
                <a:gd name="T6" fmla="*/ 10 w 224"/>
                <a:gd name="T7" fmla="*/ 164 h 233"/>
                <a:gd name="T8" fmla="*/ 18 w 224"/>
                <a:gd name="T9" fmla="*/ 143 h 233"/>
                <a:gd name="T10" fmla="*/ 27 w 224"/>
                <a:gd name="T11" fmla="*/ 122 h 233"/>
                <a:gd name="T12" fmla="*/ 39 w 224"/>
                <a:gd name="T13" fmla="*/ 103 h 233"/>
                <a:gd name="T14" fmla="*/ 52 w 224"/>
                <a:gd name="T15" fmla="*/ 85 h 233"/>
                <a:gd name="T16" fmla="*/ 66 w 224"/>
                <a:gd name="T17" fmla="*/ 69 h 233"/>
                <a:gd name="T18" fmla="*/ 82 w 224"/>
                <a:gd name="T19" fmla="*/ 54 h 233"/>
                <a:gd name="T20" fmla="*/ 99 w 224"/>
                <a:gd name="T21" fmla="*/ 40 h 233"/>
                <a:gd name="T22" fmla="*/ 117 w 224"/>
                <a:gd name="T23" fmla="*/ 29 h 233"/>
                <a:gd name="T24" fmla="*/ 137 w 224"/>
                <a:gd name="T25" fmla="*/ 19 h 233"/>
                <a:gd name="T26" fmla="*/ 157 w 224"/>
                <a:gd name="T27" fmla="*/ 11 h 233"/>
                <a:gd name="T28" fmla="*/ 179 w 224"/>
                <a:gd name="T29" fmla="*/ 5 h 233"/>
                <a:gd name="T30" fmla="*/ 201 w 224"/>
                <a:gd name="T31" fmla="*/ 1 h 233"/>
                <a:gd name="T32" fmla="*/ 224 w 224"/>
                <a:gd name="T33" fmla="*/ 0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4"/>
                <a:gd name="T52" fmla="*/ 0 h 233"/>
                <a:gd name="T53" fmla="*/ 224 w 22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4" h="233">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path>
              </a:pathLst>
            </a:custGeom>
            <a:solidFill>
              <a:srgbClr val="FFFFFF"/>
            </a:solidFill>
            <a:ln w="3175">
              <a:solidFill>
                <a:schemeClr val="accent3"/>
              </a:solidFill>
              <a:round/>
              <a:headEnd/>
              <a:tailEnd/>
            </a:ln>
          </p:spPr>
          <p:txBody>
            <a:bodyPr/>
            <a:lstStyle/>
            <a:p>
              <a:pPr>
                <a:defRPr/>
              </a:pPr>
              <a:endParaRPr lang="en-GB"/>
            </a:p>
          </p:txBody>
        </p:sp>
      </p:grpSp>
      <p:grpSp>
        <p:nvGrpSpPr>
          <p:cNvPr id="4" name="Group 9"/>
          <p:cNvGrpSpPr>
            <a:grpSpLocks/>
          </p:cNvGrpSpPr>
          <p:nvPr/>
        </p:nvGrpSpPr>
        <p:grpSpPr bwMode="auto">
          <a:xfrm>
            <a:off x="4287838" y="2978150"/>
            <a:ext cx="153987" cy="153988"/>
            <a:chOff x="2926" y="1876"/>
            <a:chExt cx="105" cy="97"/>
          </a:xfrm>
        </p:grpSpPr>
        <p:grpSp>
          <p:nvGrpSpPr>
            <p:cNvPr id="7" name="Group 10"/>
            <p:cNvGrpSpPr>
              <a:grpSpLocks noChangeAspect="1"/>
            </p:cNvGrpSpPr>
            <p:nvPr/>
          </p:nvGrpSpPr>
          <p:grpSpPr bwMode="auto">
            <a:xfrm>
              <a:off x="2926" y="1876"/>
              <a:ext cx="105" cy="97"/>
              <a:chOff x="2654" y="1925"/>
              <a:chExt cx="449" cy="467"/>
            </a:xfrm>
          </p:grpSpPr>
          <p:sp>
            <p:nvSpPr>
              <p:cNvPr id="15" name="Freeform 11"/>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224 w 449"/>
                  <a:gd name="T103" fmla="*/ 233 h 467"/>
                  <a:gd name="T104" fmla="*/ 224 w 449"/>
                  <a:gd name="T105" fmla="*/ 0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49"/>
                  <a:gd name="T160" fmla="*/ 0 h 467"/>
                  <a:gd name="T161" fmla="*/ 449 w 449"/>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lnTo>
                      <a:pt x="224" y="233"/>
                    </a:lnTo>
                    <a:lnTo>
                      <a:pt x="224" y="0"/>
                    </a:lnTo>
                    <a:close/>
                  </a:path>
                </a:pathLst>
              </a:custGeom>
              <a:solidFill>
                <a:schemeClr val="accent1"/>
              </a:solidFill>
              <a:ln w="3175">
                <a:solidFill>
                  <a:schemeClr val="accent3"/>
                </a:solidFill>
                <a:round/>
                <a:headEnd/>
                <a:tailEnd/>
              </a:ln>
            </p:spPr>
            <p:txBody>
              <a:bodyPr/>
              <a:lstStyle/>
              <a:p>
                <a:pPr>
                  <a:defRPr/>
                </a:pPr>
                <a:endParaRPr lang="en-GB"/>
              </a:p>
            </p:txBody>
          </p:sp>
          <p:sp>
            <p:nvSpPr>
              <p:cNvPr id="16" name="Freeform 12"/>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67"/>
                  <a:gd name="T155" fmla="*/ 449 w 449"/>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path>
                </a:pathLst>
              </a:custGeom>
              <a:solidFill>
                <a:schemeClr val="accent3"/>
              </a:solidFill>
              <a:ln w="3175">
                <a:solidFill>
                  <a:schemeClr val="accent3"/>
                </a:solidFill>
                <a:round/>
                <a:headEnd/>
                <a:tailEnd/>
              </a:ln>
            </p:spPr>
            <p:txBody>
              <a:bodyPr/>
              <a:lstStyle/>
              <a:p>
                <a:pPr>
                  <a:defRPr/>
                </a:pPr>
                <a:endParaRPr lang="en-GB"/>
              </a:p>
            </p:txBody>
          </p:sp>
        </p:grpSp>
        <p:grpSp>
          <p:nvGrpSpPr>
            <p:cNvPr id="10" name="Group 13"/>
            <p:cNvGrpSpPr>
              <a:grpSpLocks noChangeAspect="1"/>
            </p:cNvGrpSpPr>
            <p:nvPr/>
          </p:nvGrpSpPr>
          <p:grpSpPr bwMode="auto">
            <a:xfrm>
              <a:off x="2926" y="1876"/>
              <a:ext cx="53" cy="49"/>
              <a:chOff x="2654" y="1925"/>
              <a:chExt cx="225" cy="234"/>
            </a:xfrm>
          </p:grpSpPr>
          <p:sp>
            <p:nvSpPr>
              <p:cNvPr id="13" name="Freeform 14"/>
              <p:cNvSpPr>
                <a:spLocks noChangeAspect="1"/>
              </p:cNvSpPr>
              <p:nvPr/>
            </p:nvSpPr>
            <p:spPr bwMode="auto">
              <a:xfrm>
                <a:off x="2654" y="1925"/>
                <a:ext cx="225" cy="234"/>
              </a:xfrm>
              <a:custGeom>
                <a:avLst/>
                <a:gdLst>
                  <a:gd name="T0" fmla="*/ 0 w 225"/>
                  <a:gd name="T1" fmla="*/ 233 h 234"/>
                  <a:gd name="T2" fmla="*/ 1 w 225"/>
                  <a:gd name="T3" fmla="*/ 209 h 234"/>
                  <a:gd name="T4" fmla="*/ 5 w 225"/>
                  <a:gd name="T5" fmla="*/ 186 h 234"/>
                  <a:gd name="T6" fmla="*/ 10 w 225"/>
                  <a:gd name="T7" fmla="*/ 164 h 234"/>
                  <a:gd name="T8" fmla="*/ 18 w 225"/>
                  <a:gd name="T9" fmla="*/ 143 h 234"/>
                  <a:gd name="T10" fmla="*/ 27 w 225"/>
                  <a:gd name="T11" fmla="*/ 122 h 234"/>
                  <a:gd name="T12" fmla="*/ 39 w 225"/>
                  <a:gd name="T13" fmla="*/ 103 h 234"/>
                  <a:gd name="T14" fmla="*/ 52 w 225"/>
                  <a:gd name="T15" fmla="*/ 85 h 234"/>
                  <a:gd name="T16" fmla="*/ 66 w 225"/>
                  <a:gd name="T17" fmla="*/ 69 h 234"/>
                  <a:gd name="T18" fmla="*/ 82 w 225"/>
                  <a:gd name="T19" fmla="*/ 54 h 234"/>
                  <a:gd name="T20" fmla="*/ 99 w 225"/>
                  <a:gd name="T21" fmla="*/ 40 h 234"/>
                  <a:gd name="T22" fmla="*/ 117 w 225"/>
                  <a:gd name="T23" fmla="*/ 29 h 234"/>
                  <a:gd name="T24" fmla="*/ 137 w 225"/>
                  <a:gd name="T25" fmla="*/ 19 h 234"/>
                  <a:gd name="T26" fmla="*/ 157 w 225"/>
                  <a:gd name="T27" fmla="*/ 11 h 234"/>
                  <a:gd name="T28" fmla="*/ 179 w 225"/>
                  <a:gd name="T29" fmla="*/ 5 h 234"/>
                  <a:gd name="T30" fmla="*/ 201 w 225"/>
                  <a:gd name="T31" fmla="*/ 1 h 234"/>
                  <a:gd name="T32" fmla="*/ 224 w 225"/>
                  <a:gd name="T33" fmla="*/ 0 h 234"/>
                  <a:gd name="T34" fmla="*/ 225 w 225"/>
                  <a:gd name="T35" fmla="*/ 234 h 234"/>
                  <a:gd name="T36" fmla="*/ 0 w 225"/>
                  <a:gd name="T37" fmla="*/ 233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5"/>
                  <a:gd name="T58" fmla="*/ 0 h 234"/>
                  <a:gd name="T59" fmla="*/ 225 w 225"/>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5" h="234">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lnTo>
                      <a:pt x="225" y="234"/>
                    </a:lnTo>
                    <a:lnTo>
                      <a:pt x="0" y="233"/>
                    </a:lnTo>
                    <a:close/>
                  </a:path>
                </a:pathLst>
              </a:custGeom>
              <a:solidFill>
                <a:srgbClr val="FFFFFF"/>
              </a:solidFill>
              <a:ln w="3175">
                <a:solidFill>
                  <a:schemeClr val="accent3"/>
                </a:solidFill>
                <a:round/>
                <a:headEnd/>
                <a:tailEnd/>
              </a:ln>
            </p:spPr>
            <p:txBody>
              <a:bodyPr/>
              <a:lstStyle/>
              <a:p>
                <a:pPr>
                  <a:defRPr/>
                </a:pPr>
                <a:endParaRPr lang="en-GB"/>
              </a:p>
            </p:txBody>
          </p:sp>
          <p:sp>
            <p:nvSpPr>
              <p:cNvPr id="14" name="Freeform 15"/>
              <p:cNvSpPr>
                <a:spLocks noChangeAspect="1"/>
              </p:cNvSpPr>
              <p:nvPr/>
            </p:nvSpPr>
            <p:spPr bwMode="auto">
              <a:xfrm>
                <a:off x="2654" y="1925"/>
                <a:ext cx="225" cy="234"/>
              </a:xfrm>
              <a:custGeom>
                <a:avLst/>
                <a:gdLst>
                  <a:gd name="T0" fmla="*/ 0 w 224"/>
                  <a:gd name="T1" fmla="*/ 233 h 233"/>
                  <a:gd name="T2" fmla="*/ 1 w 224"/>
                  <a:gd name="T3" fmla="*/ 209 h 233"/>
                  <a:gd name="T4" fmla="*/ 5 w 224"/>
                  <a:gd name="T5" fmla="*/ 186 h 233"/>
                  <a:gd name="T6" fmla="*/ 10 w 224"/>
                  <a:gd name="T7" fmla="*/ 164 h 233"/>
                  <a:gd name="T8" fmla="*/ 18 w 224"/>
                  <a:gd name="T9" fmla="*/ 143 h 233"/>
                  <a:gd name="T10" fmla="*/ 27 w 224"/>
                  <a:gd name="T11" fmla="*/ 122 h 233"/>
                  <a:gd name="T12" fmla="*/ 39 w 224"/>
                  <a:gd name="T13" fmla="*/ 103 h 233"/>
                  <a:gd name="T14" fmla="*/ 52 w 224"/>
                  <a:gd name="T15" fmla="*/ 85 h 233"/>
                  <a:gd name="T16" fmla="*/ 66 w 224"/>
                  <a:gd name="T17" fmla="*/ 69 h 233"/>
                  <a:gd name="T18" fmla="*/ 82 w 224"/>
                  <a:gd name="T19" fmla="*/ 54 h 233"/>
                  <a:gd name="T20" fmla="*/ 99 w 224"/>
                  <a:gd name="T21" fmla="*/ 40 h 233"/>
                  <a:gd name="T22" fmla="*/ 117 w 224"/>
                  <a:gd name="T23" fmla="*/ 29 h 233"/>
                  <a:gd name="T24" fmla="*/ 137 w 224"/>
                  <a:gd name="T25" fmla="*/ 19 h 233"/>
                  <a:gd name="T26" fmla="*/ 157 w 224"/>
                  <a:gd name="T27" fmla="*/ 11 h 233"/>
                  <a:gd name="T28" fmla="*/ 179 w 224"/>
                  <a:gd name="T29" fmla="*/ 5 h 233"/>
                  <a:gd name="T30" fmla="*/ 201 w 224"/>
                  <a:gd name="T31" fmla="*/ 1 h 233"/>
                  <a:gd name="T32" fmla="*/ 224 w 224"/>
                  <a:gd name="T33" fmla="*/ 0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4"/>
                  <a:gd name="T52" fmla="*/ 0 h 233"/>
                  <a:gd name="T53" fmla="*/ 224 w 22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4" h="233">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path>
                </a:pathLst>
              </a:custGeom>
              <a:solidFill>
                <a:srgbClr val="FFFFFF"/>
              </a:solidFill>
              <a:ln w="3175">
                <a:solidFill>
                  <a:schemeClr val="accent3"/>
                </a:solidFill>
                <a:round/>
                <a:headEnd/>
                <a:tailEnd/>
              </a:ln>
            </p:spPr>
            <p:txBody>
              <a:bodyPr/>
              <a:lstStyle/>
              <a:p>
                <a:pPr>
                  <a:defRPr/>
                </a:pPr>
                <a:endParaRPr lang="en-GB"/>
              </a:p>
            </p:txBody>
          </p:sp>
        </p:grpSp>
      </p:grpSp>
      <p:grpSp>
        <p:nvGrpSpPr>
          <p:cNvPr id="11" name="Group 16"/>
          <p:cNvGrpSpPr>
            <a:grpSpLocks/>
          </p:cNvGrpSpPr>
          <p:nvPr/>
        </p:nvGrpSpPr>
        <p:grpSpPr bwMode="auto">
          <a:xfrm>
            <a:off x="6256338" y="2938463"/>
            <a:ext cx="230187" cy="231775"/>
            <a:chOff x="4269" y="1851"/>
            <a:chExt cx="158" cy="146"/>
          </a:xfrm>
        </p:grpSpPr>
        <p:grpSp>
          <p:nvGrpSpPr>
            <p:cNvPr id="12" name="Group 17"/>
            <p:cNvGrpSpPr>
              <a:grpSpLocks noChangeAspect="1"/>
            </p:cNvGrpSpPr>
            <p:nvPr/>
          </p:nvGrpSpPr>
          <p:grpSpPr bwMode="auto">
            <a:xfrm>
              <a:off x="4269" y="1851"/>
              <a:ext cx="158" cy="146"/>
              <a:chOff x="2654" y="1925"/>
              <a:chExt cx="449" cy="467"/>
            </a:xfrm>
          </p:grpSpPr>
          <p:sp>
            <p:nvSpPr>
              <p:cNvPr id="22" name="Freeform 18"/>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224 w 449"/>
                  <a:gd name="T103" fmla="*/ 233 h 467"/>
                  <a:gd name="T104" fmla="*/ 224 w 449"/>
                  <a:gd name="T105" fmla="*/ 0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49"/>
                  <a:gd name="T160" fmla="*/ 0 h 467"/>
                  <a:gd name="T161" fmla="*/ 449 w 449"/>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lnTo>
                      <a:pt x="224" y="233"/>
                    </a:lnTo>
                    <a:lnTo>
                      <a:pt x="224" y="0"/>
                    </a:lnTo>
                    <a:close/>
                  </a:path>
                </a:pathLst>
              </a:custGeom>
              <a:solidFill>
                <a:schemeClr val="accent1"/>
              </a:solidFill>
              <a:ln w="3175">
                <a:solidFill>
                  <a:schemeClr val="accent3"/>
                </a:solidFill>
                <a:round/>
                <a:headEnd/>
                <a:tailEnd/>
              </a:ln>
            </p:spPr>
            <p:txBody>
              <a:bodyPr/>
              <a:lstStyle/>
              <a:p>
                <a:pPr>
                  <a:defRPr/>
                </a:pPr>
                <a:endParaRPr lang="en-GB"/>
              </a:p>
            </p:txBody>
          </p:sp>
          <p:sp>
            <p:nvSpPr>
              <p:cNvPr id="23" name="Freeform 19"/>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67"/>
                  <a:gd name="T155" fmla="*/ 449 w 449"/>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path>
                </a:pathLst>
              </a:custGeom>
              <a:solidFill>
                <a:schemeClr val="accent3"/>
              </a:solidFill>
              <a:ln w="3175">
                <a:solidFill>
                  <a:schemeClr val="accent3"/>
                </a:solidFill>
                <a:round/>
                <a:headEnd/>
                <a:tailEnd/>
              </a:ln>
            </p:spPr>
            <p:txBody>
              <a:bodyPr/>
              <a:lstStyle/>
              <a:p>
                <a:pPr>
                  <a:defRPr/>
                </a:pPr>
                <a:endParaRPr lang="en-GB"/>
              </a:p>
            </p:txBody>
          </p:sp>
        </p:grpSp>
        <p:grpSp>
          <p:nvGrpSpPr>
            <p:cNvPr id="17" name="Group 20"/>
            <p:cNvGrpSpPr>
              <a:grpSpLocks noChangeAspect="1"/>
            </p:cNvGrpSpPr>
            <p:nvPr/>
          </p:nvGrpSpPr>
          <p:grpSpPr bwMode="auto">
            <a:xfrm>
              <a:off x="4269" y="1851"/>
              <a:ext cx="79" cy="73"/>
              <a:chOff x="2654" y="1925"/>
              <a:chExt cx="225" cy="234"/>
            </a:xfrm>
          </p:grpSpPr>
          <p:sp>
            <p:nvSpPr>
              <p:cNvPr id="20" name="Freeform 21"/>
              <p:cNvSpPr>
                <a:spLocks noChangeAspect="1"/>
              </p:cNvSpPr>
              <p:nvPr/>
            </p:nvSpPr>
            <p:spPr bwMode="auto">
              <a:xfrm>
                <a:off x="2654" y="1925"/>
                <a:ext cx="227" cy="234"/>
              </a:xfrm>
              <a:custGeom>
                <a:avLst/>
                <a:gdLst>
                  <a:gd name="T0" fmla="*/ 0 w 225"/>
                  <a:gd name="T1" fmla="*/ 233 h 234"/>
                  <a:gd name="T2" fmla="*/ 1 w 225"/>
                  <a:gd name="T3" fmla="*/ 209 h 234"/>
                  <a:gd name="T4" fmla="*/ 5 w 225"/>
                  <a:gd name="T5" fmla="*/ 186 h 234"/>
                  <a:gd name="T6" fmla="*/ 10 w 225"/>
                  <a:gd name="T7" fmla="*/ 164 h 234"/>
                  <a:gd name="T8" fmla="*/ 18 w 225"/>
                  <a:gd name="T9" fmla="*/ 143 h 234"/>
                  <a:gd name="T10" fmla="*/ 27 w 225"/>
                  <a:gd name="T11" fmla="*/ 122 h 234"/>
                  <a:gd name="T12" fmla="*/ 39 w 225"/>
                  <a:gd name="T13" fmla="*/ 103 h 234"/>
                  <a:gd name="T14" fmla="*/ 52 w 225"/>
                  <a:gd name="T15" fmla="*/ 85 h 234"/>
                  <a:gd name="T16" fmla="*/ 66 w 225"/>
                  <a:gd name="T17" fmla="*/ 69 h 234"/>
                  <a:gd name="T18" fmla="*/ 82 w 225"/>
                  <a:gd name="T19" fmla="*/ 54 h 234"/>
                  <a:gd name="T20" fmla="*/ 99 w 225"/>
                  <a:gd name="T21" fmla="*/ 40 h 234"/>
                  <a:gd name="T22" fmla="*/ 117 w 225"/>
                  <a:gd name="T23" fmla="*/ 29 h 234"/>
                  <a:gd name="T24" fmla="*/ 137 w 225"/>
                  <a:gd name="T25" fmla="*/ 19 h 234"/>
                  <a:gd name="T26" fmla="*/ 157 w 225"/>
                  <a:gd name="T27" fmla="*/ 11 h 234"/>
                  <a:gd name="T28" fmla="*/ 179 w 225"/>
                  <a:gd name="T29" fmla="*/ 5 h 234"/>
                  <a:gd name="T30" fmla="*/ 201 w 225"/>
                  <a:gd name="T31" fmla="*/ 1 h 234"/>
                  <a:gd name="T32" fmla="*/ 224 w 225"/>
                  <a:gd name="T33" fmla="*/ 0 h 234"/>
                  <a:gd name="T34" fmla="*/ 225 w 225"/>
                  <a:gd name="T35" fmla="*/ 234 h 234"/>
                  <a:gd name="T36" fmla="*/ 0 w 225"/>
                  <a:gd name="T37" fmla="*/ 233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5"/>
                  <a:gd name="T58" fmla="*/ 0 h 234"/>
                  <a:gd name="T59" fmla="*/ 225 w 225"/>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5" h="234">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lnTo>
                      <a:pt x="225" y="234"/>
                    </a:lnTo>
                    <a:lnTo>
                      <a:pt x="0" y="233"/>
                    </a:lnTo>
                    <a:close/>
                  </a:path>
                </a:pathLst>
              </a:custGeom>
              <a:solidFill>
                <a:srgbClr val="FFFFFF"/>
              </a:solidFill>
              <a:ln w="3175">
                <a:solidFill>
                  <a:schemeClr val="accent3"/>
                </a:solidFill>
                <a:round/>
                <a:headEnd/>
                <a:tailEnd/>
              </a:ln>
            </p:spPr>
            <p:txBody>
              <a:bodyPr/>
              <a:lstStyle/>
              <a:p>
                <a:pPr>
                  <a:defRPr/>
                </a:pPr>
                <a:endParaRPr lang="en-GB"/>
              </a:p>
            </p:txBody>
          </p:sp>
          <p:sp>
            <p:nvSpPr>
              <p:cNvPr id="21" name="Freeform 22"/>
              <p:cNvSpPr>
                <a:spLocks noChangeAspect="1"/>
              </p:cNvSpPr>
              <p:nvPr/>
            </p:nvSpPr>
            <p:spPr bwMode="auto">
              <a:xfrm>
                <a:off x="2654" y="1925"/>
                <a:ext cx="227" cy="234"/>
              </a:xfrm>
              <a:custGeom>
                <a:avLst/>
                <a:gdLst>
                  <a:gd name="T0" fmla="*/ 0 w 224"/>
                  <a:gd name="T1" fmla="*/ 233 h 233"/>
                  <a:gd name="T2" fmla="*/ 1 w 224"/>
                  <a:gd name="T3" fmla="*/ 209 h 233"/>
                  <a:gd name="T4" fmla="*/ 5 w 224"/>
                  <a:gd name="T5" fmla="*/ 186 h 233"/>
                  <a:gd name="T6" fmla="*/ 10 w 224"/>
                  <a:gd name="T7" fmla="*/ 164 h 233"/>
                  <a:gd name="T8" fmla="*/ 18 w 224"/>
                  <a:gd name="T9" fmla="*/ 143 h 233"/>
                  <a:gd name="T10" fmla="*/ 27 w 224"/>
                  <a:gd name="T11" fmla="*/ 122 h 233"/>
                  <a:gd name="T12" fmla="*/ 39 w 224"/>
                  <a:gd name="T13" fmla="*/ 103 h 233"/>
                  <a:gd name="T14" fmla="*/ 52 w 224"/>
                  <a:gd name="T15" fmla="*/ 85 h 233"/>
                  <a:gd name="T16" fmla="*/ 66 w 224"/>
                  <a:gd name="T17" fmla="*/ 69 h 233"/>
                  <a:gd name="T18" fmla="*/ 82 w 224"/>
                  <a:gd name="T19" fmla="*/ 54 h 233"/>
                  <a:gd name="T20" fmla="*/ 99 w 224"/>
                  <a:gd name="T21" fmla="*/ 40 h 233"/>
                  <a:gd name="T22" fmla="*/ 117 w 224"/>
                  <a:gd name="T23" fmla="*/ 29 h 233"/>
                  <a:gd name="T24" fmla="*/ 137 w 224"/>
                  <a:gd name="T25" fmla="*/ 19 h 233"/>
                  <a:gd name="T26" fmla="*/ 157 w 224"/>
                  <a:gd name="T27" fmla="*/ 11 h 233"/>
                  <a:gd name="T28" fmla="*/ 179 w 224"/>
                  <a:gd name="T29" fmla="*/ 5 h 233"/>
                  <a:gd name="T30" fmla="*/ 201 w 224"/>
                  <a:gd name="T31" fmla="*/ 1 h 233"/>
                  <a:gd name="T32" fmla="*/ 224 w 224"/>
                  <a:gd name="T33" fmla="*/ 0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4"/>
                  <a:gd name="T52" fmla="*/ 0 h 233"/>
                  <a:gd name="T53" fmla="*/ 224 w 22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4" h="233">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path>
                </a:pathLst>
              </a:custGeom>
              <a:solidFill>
                <a:srgbClr val="FFFFFF"/>
              </a:solidFill>
              <a:ln w="3175">
                <a:solidFill>
                  <a:schemeClr val="accent3"/>
                </a:solidFill>
                <a:round/>
                <a:headEnd/>
                <a:tailEnd/>
              </a:ln>
            </p:spPr>
            <p:txBody>
              <a:bodyPr/>
              <a:lstStyle/>
              <a:p>
                <a:pPr>
                  <a:defRPr/>
                </a:pPr>
                <a:endParaRPr lang="en-GB"/>
              </a:p>
            </p:txBody>
          </p:sp>
        </p:grpSp>
      </p:grpSp>
      <p:grpSp>
        <p:nvGrpSpPr>
          <p:cNvPr id="18" name="Group 23"/>
          <p:cNvGrpSpPr>
            <a:grpSpLocks/>
          </p:cNvGrpSpPr>
          <p:nvPr/>
        </p:nvGrpSpPr>
        <p:grpSpPr bwMode="auto">
          <a:xfrm>
            <a:off x="7299325" y="2900363"/>
            <a:ext cx="307975" cy="307975"/>
            <a:chOff x="4981" y="1827"/>
            <a:chExt cx="210" cy="194"/>
          </a:xfrm>
        </p:grpSpPr>
        <p:grpSp>
          <p:nvGrpSpPr>
            <p:cNvPr id="19" name="Group 24"/>
            <p:cNvGrpSpPr>
              <a:grpSpLocks noChangeAspect="1"/>
            </p:cNvGrpSpPr>
            <p:nvPr/>
          </p:nvGrpSpPr>
          <p:grpSpPr bwMode="auto">
            <a:xfrm>
              <a:off x="4981" y="1827"/>
              <a:ext cx="210" cy="194"/>
              <a:chOff x="2654" y="1925"/>
              <a:chExt cx="449" cy="467"/>
            </a:xfrm>
          </p:grpSpPr>
          <p:sp>
            <p:nvSpPr>
              <p:cNvPr id="29" name="Freeform 25"/>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224 w 449"/>
                  <a:gd name="T103" fmla="*/ 233 h 467"/>
                  <a:gd name="T104" fmla="*/ 224 w 449"/>
                  <a:gd name="T105" fmla="*/ 0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49"/>
                  <a:gd name="T160" fmla="*/ 0 h 467"/>
                  <a:gd name="T161" fmla="*/ 449 w 449"/>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lnTo>
                      <a:pt x="224" y="233"/>
                    </a:lnTo>
                    <a:lnTo>
                      <a:pt x="224" y="0"/>
                    </a:lnTo>
                    <a:close/>
                  </a:path>
                </a:pathLst>
              </a:custGeom>
              <a:solidFill>
                <a:schemeClr val="accent1"/>
              </a:solidFill>
              <a:ln w="3175">
                <a:solidFill>
                  <a:schemeClr val="accent3"/>
                </a:solidFill>
                <a:round/>
                <a:headEnd/>
                <a:tailEnd/>
              </a:ln>
            </p:spPr>
            <p:txBody>
              <a:bodyPr/>
              <a:lstStyle/>
              <a:p>
                <a:pPr>
                  <a:defRPr/>
                </a:pPr>
                <a:endParaRPr lang="en-GB"/>
              </a:p>
            </p:txBody>
          </p:sp>
          <p:sp>
            <p:nvSpPr>
              <p:cNvPr id="30" name="Freeform 26"/>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67"/>
                  <a:gd name="T155" fmla="*/ 449 w 449"/>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path>
                </a:pathLst>
              </a:custGeom>
              <a:solidFill>
                <a:schemeClr val="accent3"/>
              </a:solidFill>
              <a:ln w="3175">
                <a:solidFill>
                  <a:schemeClr val="accent3"/>
                </a:solidFill>
                <a:round/>
                <a:headEnd/>
                <a:tailEnd/>
              </a:ln>
            </p:spPr>
            <p:txBody>
              <a:bodyPr/>
              <a:lstStyle/>
              <a:p>
                <a:pPr>
                  <a:defRPr/>
                </a:pPr>
                <a:endParaRPr lang="en-GB"/>
              </a:p>
            </p:txBody>
          </p:sp>
        </p:grpSp>
        <p:grpSp>
          <p:nvGrpSpPr>
            <p:cNvPr id="24" name="Group 27"/>
            <p:cNvGrpSpPr>
              <a:grpSpLocks noChangeAspect="1"/>
            </p:cNvGrpSpPr>
            <p:nvPr/>
          </p:nvGrpSpPr>
          <p:grpSpPr bwMode="auto">
            <a:xfrm>
              <a:off x="4981" y="1827"/>
              <a:ext cx="105" cy="97"/>
              <a:chOff x="2654" y="1925"/>
              <a:chExt cx="225" cy="234"/>
            </a:xfrm>
          </p:grpSpPr>
          <p:sp>
            <p:nvSpPr>
              <p:cNvPr id="27" name="Freeform 28"/>
              <p:cNvSpPr>
                <a:spLocks noChangeAspect="1"/>
              </p:cNvSpPr>
              <p:nvPr/>
            </p:nvSpPr>
            <p:spPr bwMode="auto">
              <a:xfrm>
                <a:off x="2654" y="1925"/>
                <a:ext cx="225" cy="234"/>
              </a:xfrm>
              <a:custGeom>
                <a:avLst/>
                <a:gdLst>
                  <a:gd name="T0" fmla="*/ 0 w 225"/>
                  <a:gd name="T1" fmla="*/ 233 h 234"/>
                  <a:gd name="T2" fmla="*/ 1 w 225"/>
                  <a:gd name="T3" fmla="*/ 209 h 234"/>
                  <a:gd name="T4" fmla="*/ 5 w 225"/>
                  <a:gd name="T5" fmla="*/ 186 h 234"/>
                  <a:gd name="T6" fmla="*/ 10 w 225"/>
                  <a:gd name="T7" fmla="*/ 164 h 234"/>
                  <a:gd name="T8" fmla="*/ 18 w 225"/>
                  <a:gd name="T9" fmla="*/ 143 h 234"/>
                  <a:gd name="T10" fmla="*/ 27 w 225"/>
                  <a:gd name="T11" fmla="*/ 122 h 234"/>
                  <a:gd name="T12" fmla="*/ 39 w 225"/>
                  <a:gd name="T13" fmla="*/ 103 h 234"/>
                  <a:gd name="T14" fmla="*/ 52 w 225"/>
                  <a:gd name="T15" fmla="*/ 85 h 234"/>
                  <a:gd name="T16" fmla="*/ 66 w 225"/>
                  <a:gd name="T17" fmla="*/ 69 h 234"/>
                  <a:gd name="T18" fmla="*/ 82 w 225"/>
                  <a:gd name="T19" fmla="*/ 54 h 234"/>
                  <a:gd name="T20" fmla="*/ 99 w 225"/>
                  <a:gd name="T21" fmla="*/ 40 h 234"/>
                  <a:gd name="T22" fmla="*/ 117 w 225"/>
                  <a:gd name="T23" fmla="*/ 29 h 234"/>
                  <a:gd name="T24" fmla="*/ 137 w 225"/>
                  <a:gd name="T25" fmla="*/ 19 h 234"/>
                  <a:gd name="T26" fmla="*/ 157 w 225"/>
                  <a:gd name="T27" fmla="*/ 11 h 234"/>
                  <a:gd name="T28" fmla="*/ 179 w 225"/>
                  <a:gd name="T29" fmla="*/ 5 h 234"/>
                  <a:gd name="T30" fmla="*/ 201 w 225"/>
                  <a:gd name="T31" fmla="*/ 1 h 234"/>
                  <a:gd name="T32" fmla="*/ 224 w 225"/>
                  <a:gd name="T33" fmla="*/ 0 h 234"/>
                  <a:gd name="T34" fmla="*/ 225 w 225"/>
                  <a:gd name="T35" fmla="*/ 234 h 234"/>
                  <a:gd name="T36" fmla="*/ 0 w 225"/>
                  <a:gd name="T37" fmla="*/ 233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5"/>
                  <a:gd name="T58" fmla="*/ 0 h 234"/>
                  <a:gd name="T59" fmla="*/ 225 w 225"/>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5" h="234">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lnTo>
                      <a:pt x="225" y="234"/>
                    </a:lnTo>
                    <a:lnTo>
                      <a:pt x="0" y="233"/>
                    </a:lnTo>
                    <a:close/>
                  </a:path>
                </a:pathLst>
              </a:custGeom>
              <a:solidFill>
                <a:srgbClr val="FFFFFF"/>
              </a:solidFill>
              <a:ln w="3175">
                <a:solidFill>
                  <a:schemeClr val="accent3"/>
                </a:solidFill>
                <a:round/>
                <a:headEnd/>
                <a:tailEnd/>
              </a:ln>
            </p:spPr>
            <p:txBody>
              <a:bodyPr/>
              <a:lstStyle/>
              <a:p>
                <a:pPr>
                  <a:defRPr/>
                </a:pPr>
                <a:endParaRPr lang="en-GB"/>
              </a:p>
            </p:txBody>
          </p:sp>
          <p:sp>
            <p:nvSpPr>
              <p:cNvPr id="28" name="Freeform 29"/>
              <p:cNvSpPr>
                <a:spLocks noChangeAspect="1"/>
              </p:cNvSpPr>
              <p:nvPr/>
            </p:nvSpPr>
            <p:spPr bwMode="auto">
              <a:xfrm>
                <a:off x="2654" y="1925"/>
                <a:ext cx="225" cy="234"/>
              </a:xfrm>
              <a:custGeom>
                <a:avLst/>
                <a:gdLst>
                  <a:gd name="T0" fmla="*/ 0 w 224"/>
                  <a:gd name="T1" fmla="*/ 233 h 233"/>
                  <a:gd name="T2" fmla="*/ 1 w 224"/>
                  <a:gd name="T3" fmla="*/ 209 h 233"/>
                  <a:gd name="T4" fmla="*/ 5 w 224"/>
                  <a:gd name="T5" fmla="*/ 186 h 233"/>
                  <a:gd name="T6" fmla="*/ 10 w 224"/>
                  <a:gd name="T7" fmla="*/ 164 h 233"/>
                  <a:gd name="T8" fmla="*/ 18 w 224"/>
                  <a:gd name="T9" fmla="*/ 143 h 233"/>
                  <a:gd name="T10" fmla="*/ 27 w 224"/>
                  <a:gd name="T11" fmla="*/ 122 h 233"/>
                  <a:gd name="T12" fmla="*/ 39 w 224"/>
                  <a:gd name="T13" fmla="*/ 103 h 233"/>
                  <a:gd name="T14" fmla="*/ 52 w 224"/>
                  <a:gd name="T15" fmla="*/ 85 h 233"/>
                  <a:gd name="T16" fmla="*/ 66 w 224"/>
                  <a:gd name="T17" fmla="*/ 69 h 233"/>
                  <a:gd name="T18" fmla="*/ 82 w 224"/>
                  <a:gd name="T19" fmla="*/ 54 h 233"/>
                  <a:gd name="T20" fmla="*/ 99 w 224"/>
                  <a:gd name="T21" fmla="*/ 40 h 233"/>
                  <a:gd name="T22" fmla="*/ 117 w 224"/>
                  <a:gd name="T23" fmla="*/ 29 h 233"/>
                  <a:gd name="T24" fmla="*/ 137 w 224"/>
                  <a:gd name="T25" fmla="*/ 19 h 233"/>
                  <a:gd name="T26" fmla="*/ 157 w 224"/>
                  <a:gd name="T27" fmla="*/ 11 h 233"/>
                  <a:gd name="T28" fmla="*/ 179 w 224"/>
                  <a:gd name="T29" fmla="*/ 5 h 233"/>
                  <a:gd name="T30" fmla="*/ 201 w 224"/>
                  <a:gd name="T31" fmla="*/ 1 h 233"/>
                  <a:gd name="T32" fmla="*/ 224 w 224"/>
                  <a:gd name="T33" fmla="*/ 0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4"/>
                  <a:gd name="T52" fmla="*/ 0 h 233"/>
                  <a:gd name="T53" fmla="*/ 224 w 22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4" h="233">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path>
                </a:pathLst>
              </a:custGeom>
              <a:solidFill>
                <a:srgbClr val="FFFFFF"/>
              </a:solidFill>
              <a:ln w="3175">
                <a:solidFill>
                  <a:schemeClr val="accent3"/>
                </a:solidFill>
                <a:round/>
                <a:headEnd/>
                <a:tailEnd/>
              </a:ln>
            </p:spPr>
            <p:txBody>
              <a:bodyPr/>
              <a:lstStyle/>
              <a:p>
                <a:pPr>
                  <a:defRPr/>
                </a:pPr>
                <a:endParaRPr lang="en-GB"/>
              </a:p>
            </p:txBody>
          </p:sp>
        </p:grpSp>
      </p:grpSp>
      <p:sp>
        <p:nvSpPr>
          <p:cNvPr id="794632" name="Text Box 30"/>
          <p:cNvSpPr txBox="1">
            <a:spLocks noChangeArrowheads="1"/>
          </p:cNvSpPr>
          <p:nvPr/>
        </p:nvSpPr>
        <p:spPr bwMode="auto">
          <a:xfrm>
            <a:off x="1514475" y="2974975"/>
            <a:ext cx="149225" cy="215900"/>
          </a:xfrm>
          <a:prstGeom prst="rect">
            <a:avLst/>
          </a:prstGeom>
          <a:noFill/>
          <a:ln w="9525">
            <a:noFill/>
            <a:miter lim="800000"/>
            <a:headEnd/>
            <a:tailEnd/>
          </a:ln>
        </p:spPr>
        <p:txBody>
          <a:bodyPr wrap="none" lIns="0" tIns="0" rIns="0" bIns="0">
            <a:spAutoFit/>
          </a:bodyPr>
          <a:lstStyle/>
          <a:p>
            <a:pPr algn="ctr"/>
            <a:r>
              <a:rPr lang="en-GB" altLang="ja-JP" sz="1400">
                <a:solidFill>
                  <a:schemeClr val="tx2"/>
                </a:solidFill>
                <a:ea typeface="ＭＳ Ｐゴシック" charset="-128"/>
              </a:rPr>
              <a:t>¾</a:t>
            </a:r>
          </a:p>
        </p:txBody>
      </p:sp>
      <p:grpSp>
        <p:nvGrpSpPr>
          <p:cNvPr id="25" name="Group 31"/>
          <p:cNvGrpSpPr>
            <a:grpSpLocks/>
          </p:cNvGrpSpPr>
          <p:nvPr/>
        </p:nvGrpSpPr>
        <p:grpSpPr bwMode="auto">
          <a:xfrm>
            <a:off x="3360738" y="2995613"/>
            <a:ext cx="115887" cy="115887"/>
            <a:chOff x="2293" y="1887"/>
            <a:chExt cx="80" cy="73"/>
          </a:xfrm>
        </p:grpSpPr>
        <p:grpSp>
          <p:nvGrpSpPr>
            <p:cNvPr id="26" name="Group 32"/>
            <p:cNvGrpSpPr>
              <a:grpSpLocks noChangeAspect="1"/>
            </p:cNvGrpSpPr>
            <p:nvPr/>
          </p:nvGrpSpPr>
          <p:grpSpPr bwMode="auto">
            <a:xfrm>
              <a:off x="2293" y="1887"/>
              <a:ext cx="80" cy="73"/>
              <a:chOff x="2654" y="1925"/>
              <a:chExt cx="449" cy="467"/>
            </a:xfrm>
          </p:grpSpPr>
          <p:sp>
            <p:nvSpPr>
              <p:cNvPr id="37" name="Freeform 33"/>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224 w 449"/>
                  <a:gd name="T103" fmla="*/ 233 h 467"/>
                  <a:gd name="T104" fmla="*/ 224 w 449"/>
                  <a:gd name="T105" fmla="*/ 0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49"/>
                  <a:gd name="T160" fmla="*/ 0 h 467"/>
                  <a:gd name="T161" fmla="*/ 449 w 449"/>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lnTo>
                      <a:pt x="224" y="233"/>
                    </a:lnTo>
                    <a:lnTo>
                      <a:pt x="224" y="0"/>
                    </a:lnTo>
                    <a:close/>
                  </a:path>
                </a:pathLst>
              </a:custGeom>
              <a:solidFill>
                <a:schemeClr val="accent1"/>
              </a:solidFill>
              <a:ln w="3175">
                <a:solidFill>
                  <a:schemeClr val="accent3"/>
                </a:solidFill>
                <a:round/>
                <a:headEnd/>
                <a:tailEnd/>
              </a:ln>
            </p:spPr>
            <p:txBody>
              <a:bodyPr/>
              <a:lstStyle/>
              <a:p>
                <a:pPr>
                  <a:defRPr/>
                </a:pPr>
                <a:endParaRPr lang="en-GB"/>
              </a:p>
            </p:txBody>
          </p:sp>
          <p:sp>
            <p:nvSpPr>
              <p:cNvPr id="38" name="Freeform 34"/>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67"/>
                  <a:gd name="T155" fmla="*/ 449 w 449"/>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path>
                </a:pathLst>
              </a:custGeom>
              <a:solidFill>
                <a:schemeClr val="accent3"/>
              </a:solidFill>
              <a:ln w="3175">
                <a:solidFill>
                  <a:schemeClr val="accent3"/>
                </a:solidFill>
                <a:round/>
                <a:headEnd/>
                <a:tailEnd/>
              </a:ln>
            </p:spPr>
            <p:txBody>
              <a:bodyPr/>
              <a:lstStyle/>
              <a:p>
                <a:pPr>
                  <a:defRPr/>
                </a:pPr>
                <a:endParaRPr lang="en-GB"/>
              </a:p>
            </p:txBody>
          </p:sp>
        </p:grpSp>
        <p:grpSp>
          <p:nvGrpSpPr>
            <p:cNvPr id="31" name="Group 35"/>
            <p:cNvGrpSpPr>
              <a:grpSpLocks noChangeAspect="1"/>
            </p:cNvGrpSpPr>
            <p:nvPr/>
          </p:nvGrpSpPr>
          <p:grpSpPr bwMode="auto">
            <a:xfrm>
              <a:off x="2293" y="1887"/>
              <a:ext cx="40" cy="37"/>
              <a:chOff x="2654" y="1925"/>
              <a:chExt cx="225" cy="234"/>
            </a:xfrm>
          </p:grpSpPr>
          <p:sp>
            <p:nvSpPr>
              <p:cNvPr id="35" name="Freeform 36"/>
              <p:cNvSpPr>
                <a:spLocks noChangeAspect="1"/>
              </p:cNvSpPr>
              <p:nvPr/>
            </p:nvSpPr>
            <p:spPr bwMode="auto">
              <a:xfrm>
                <a:off x="2654" y="1925"/>
                <a:ext cx="228" cy="234"/>
              </a:xfrm>
              <a:custGeom>
                <a:avLst/>
                <a:gdLst>
                  <a:gd name="T0" fmla="*/ 0 w 225"/>
                  <a:gd name="T1" fmla="*/ 233 h 234"/>
                  <a:gd name="T2" fmla="*/ 1 w 225"/>
                  <a:gd name="T3" fmla="*/ 209 h 234"/>
                  <a:gd name="T4" fmla="*/ 5 w 225"/>
                  <a:gd name="T5" fmla="*/ 186 h 234"/>
                  <a:gd name="T6" fmla="*/ 10 w 225"/>
                  <a:gd name="T7" fmla="*/ 164 h 234"/>
                  <a:gd name="T8" fmla="*/ 18 w 225"/>
                  <a:gd name="T9" fmla="*/ 143 h 234"/>
                  <a:gd name="T10" fmla="*/ 27 w 225"/>
                  <a:gd name="T11" fmla="*/ 122 h 234"/>
                  <a:gd name="T12" fmla="*/ 39 w 225"/>
                  <a:gd name="T13" fmla="*/ 103 h 234"/>
                  <a:gd name="T14" fmla="*/ 52 w 225"/>
                  <a:gd name="T15" fmla="*/ 85 h 234"/>
                  <a:gd name="T16" fmla="*/ 66 w 225"/>
                  <a:gd name="T17" fmla="*/ 69 h 234"/>
                  <a:gd name="T18" fmla="*/ 82 w 225"/>
                  <a:gd name="T19" fmla="*/ 54 h 234"/>
                  <a:gd name="T20" fmla="*/ 99 w 225"/>
                  <a:gd name="T21" fmla="*/ 40 h 234"/>
                  <a:gd name="T22" fmla="*/ 117 w 225"/>
                  <a:gd name="T23" fmla="*/ 29 h 234"/>
                  <a:gd name="T24" fmla="*/ 137 w 225"/>
                  <a:gd name="T25" fmla="*/ 19 h 234"/>
                  <a:gd name="T26" fmla="*/ 157 w 225"/>
                  <a:gd name="T27" fmla="*/ 11 h 234"/>
                  <a:gd name="T28" fmla="*/ 179 w 225"/>
                  <a:gd name="T29" fmla="*/ 5 h 234"/>
                  <a:gd name="T30" fmla="*/ 201 w 225"/>
                  <a:gd name="T31" fmla="*/ 1 h 234"/>
                  <a:gd name="T32" fmla="*/ 224 w 225"/>
                  <a:gd name="T33" fmla="*/ 0 h 234"/>
                  <a:gd name="T34" fmla="*/ 225 w 225"/>
                  <a:gd name="T35" fmla="*/ 234 h 234"/>
                  <a:gd name="T36" fmla="*/ 0 w 225"/>
                  <a:gd name="T37" fmla="*/ 233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5"/>
                  <a:gd name="T58" fmla="*/ 0 h 234"/>
                  <a:gd name="T59" fmla="*/ 225 w 225"/>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5" h="234">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lnTo>
                      <a:pt x="225" y="234"/>
                    </a:lnTo>
                    <a:lnTo>
                      <a:pt x="0" y="233"/>
                    </a:lnTo>
                    <a:close/>
                  </a:path>
                </a:pathLst>
              </a:custGeom>
              <a:solidFill>
                <a:srgbClr val="FFFFFF"/>
              </a:solidFill>
              <a:ln w="3175">
                <a:solidFill>
                  <a:schemeClr val="accent3"/>
                </a:solidFill>
                <a:round/>
                <a:headEnd/>
                <a:tailEnd/>
              </a:ln>
            </p:spPr>
            <p:txBody>
              <a:bodyPr/>
              <a:lstStyle/>
              <a:p>
                <a:pPr>
                  <a:defRPr/>
                </a:pPr>
                <a:endParaRPr lang="en-GB"/>
              </a:p>
            </p:txBody>
          </p:sp>
          <p:sp>
            <p:nvSpPr>
              <p:cNvPr id="36" name="Freeform 37"/>
              <p:cNvSpPr>
                <a:spLocks noChangeAspect="1"/>
              </p:cNvSpPr>
              <p:nvPr/>
            </p:nvSpPr>
            <p:spPr bwMode="auto">
              <a:xfrm>
                <a:off x="2654" y="1925"/>
                <a:ext cx="228" cy="234"/>
              </a:xfrm>
              <a:custGeom>
                <a:avLst/>
                <a:gdLst>
                  <a:gd name="T0" fmla="*/ 0 w 224"/>
                  <a:gd name="T1" fmla="*/ 233 h 233"/>
                  <a:gd name="T2" fmla="*/ 1 w 224"/>
                  <a:gd name="T3" fmla="*/ 209 h 233"/>
                  <a:gd name="T4" fmla="*/ 5 w 224"/>
                  <a:gd name="T5" fmla="*/ 186 h 233"/>
                  <a:gd name="T6" fmla="*/ 10 w 224"/>
                  <a:gd name="T7" fmla="*/ 164 h 233"/>
                  <a:gd name="T8" fmla="*/ 18 w 224"/>
                  <a:gd name="T9" fmla="*/ 143 h 233"/>
                  <a:gd name="T10" fmla="*/ 27 w 224"/>
                  <a:gd name="T11" fmla="*/ 122 h 233"/>
                  <a:gd name="T12" fmla="*/ 39 w 224"/>
                  <a:gd name="T13" fmla="*/ 103 h 233"/>
                  <a:gd name="T14" fmla="*/ 52 w 224"/>
                  <a:gd name="T15" fmla="*/ 85 h 233"/>
                  <a:gd name="T16" fmla="*/ 66 w 224"/>
                  <a:gd name="T17" fmla="*/ 69 h 233"/>
                  <a:gd name="T18" fmla="*/ 82 w 224"/>
                  <a:gd name="T19" fmla="*/ 54 h 233"/>
                  <a:gd name="T20" fmla="*/ 99 w 224"/>
                  <a:gd name="T21" fmla="*/ 40 h 233"/>
                  <a:gd name="T22" fmla="*/ 117 w 224"/>
                  <a:gd name="T23" fmla="*/ 29 h 233"/>
                  <a:gd name="T24" fmla="*/ 137 w 224"/>
                  <a:gd name="T25" fmla="*/ 19 h 233"/>
                  <a:gd name="T26" fmla="*/ 157 w 224"/>
                  <a:gd name="T27" fmla="*/ 11 h 233"/>
                  <a:gd name="T28" fmla="*/ 179 w 224"/>
                  <a:gd name="T29" fmla="*/ 5 h 233"/>
                  <a:gd name="T30" fmla="*/ 201 w 224"/>
                  <a:gd name="T31" fmla="*/ 1 h 233"/>
                  <a:gd name="T32" fmla="*/ 224 w 224"/>
                  <a:gd name="T33" fmla="*/ 0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4"/>
                  <a:gd name="T52" fmla="*/ 0 h 233"/>
                  <a:gd name="T53" fmla="*/ 224 w 22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4" h="233">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path>
                </a:pathLst>
              </a:custGeom>
              <a:solidFill>
                <a:srgbClr val="FFFFFF"/>
              </a:solidFill>
              <a:ln w="3175">
                <a:solidFill>
                  <a:schemeClr val="accent3"/>
                </a:solidFill>
                <a:round/>
                <a:headEnd/>
                <a:tailEnd/>
              </a:ln>
            </p:spPr>
            <p:txBody>
              <a:bodyPr/>
              <a:lstStyle/>
              <a:p>
                <a:pPr>
                  <a:defRPr/>
                </a:pPr>
                <a:endParaRPr lang="en-GB"/>
              </a:p>
            </p:txBody>
          </p:sp>
        </p:grpSp>
      </p:grpSp>
      <p:grpSp>
        <p:nvGrpSpPr>
          <p:cNvPr id="32" name="Group 38"/>
          <p:cNvGrpSpPr>
            <a:grpSpLocks/>
          </p:cNvGrpSpPr>
          <p:nvPr/>
        </p:nvGrpSpPr>
        <p:grpSpPr bwMode="auto">
          <a:xfrm>
            <a:off x="5251450" y="2957513"/>
            <a:ext cx="193675" cy="193675"/>
            <a:chOff x="3584" y="1863"/>
            <a:chExt cx="132" cy="122"/>
          </a:xfrm>
        </p:grpSpPr>
        <p:grpSp>
          <p:nvGrpSpPr>
            <p:cNvPr id="33" name="Group 39"/>
            <p:cNvGrpSpPr>
              <a:grpSpLocks noChangeAspect="1"/>
            </p:cNvGrpSpPr>
            <p:nvPr/>
          </p:nvGrpSpPr>
          <p:grpSpPr bwMode="auto">
            <a:xfrm>
              <a:off x="3584" y="1863"/>
              <a:ext cx="132" cy="122"/>
              <a:chOff x="2654" y="1925"/>
              <a:chExt cx="449" cy="467"/>
            </a:xfrm>
          </p:grpSpPr>
          <p:sp>
            <p:nvSpPr>
              <p:cNvPr id="44" name="Freeform 40"/>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224 w 449"/>
                  <a:gd name="T103" fmla="*/ 233 h 467"/>
                  <a:gd name="T104" fmla="*/ 224 w 449"/>
                  <a:gd name="T105" fmla="*/ 0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49"/>
                  <a:gd name="T160" fmla="*/ 0 h 467"/>
                  <a:gd name="T161" fmla="*/ 449 w 449"/>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lnTo>
                      <a:pt x="224" y="233"/>
                    </a:lnTo>
                    <a:lnTo>
                      <a:pt x="224" y="0"/>
                    </a:lnTo>
                    <a:close/>
                  </a:path>
                </a:pathLst>
              </a:custGeom>
              <a:solidFill>
                <a:schemeClr val="accent1"/>
              </a:solidFill>
              <a:ln w="3175">
                <a:solidFill>
                  <a:schemeClr val="accent3"/>
                </a:solidFill>
                <a:round/>
                <a:headEnd/>
                <a:tailEnd/>
              </a:ln>
            </p:spPr>
            <p:txBody>
              <a:bodyPr/>
              <a:lstStyle/>
              <a:p>
                <a:pPr>
                  <a:defRPr/>
                </a:pPr>
                <a:endParaRPr lang="en-GB"/>
              </a:p>
            </p:txBody>
          </p:sp>
          <p:sp>
            <p:nvSpPr>
              <p:cNvPr id="45" name="Freeform 41"/>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67"/>
                  <a:gd name="T155" fmla="*/ 449 w 449"/>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path>
                </a:pathLst>
              </a:custGeom>
              <a:solidFill>
                <a:schemeClr val="accent3"/>
              </a:solidFill>
              <a:ln w="3175">
                <a:solidFill>
                  <a:schemeClr val="accent3"/>
                </a:solidFill>
                <a:round/>
                <a:headEnd/>
                <a:tailEnd/>
              </a:ln>
            </p:spPr>
            <p:txBody>
              <a:bodyPr/>
              <a:lstStyle/>
              <a:p>
                <a:pPr>
                  <a:defRPr/>
                </a:pPr>
                <a:endParaRPr lang="en-GB"/>
              </a:p>
            </p:txBody>
          </p:sp>
        </p:grpSp>
        <p:grpSp>
          <p:nvGrpSpPr>
            <p:cNvPr id="34" name="Group 42"/>
            <p:cNvGrpSpPr>
              <a:grpSpLocks noChangeAspect="1"/>
            </p:cNvGrpSpPr>
            <p:nvPr/>
          </p:nvGrpSpPr>
          <p:grpSpPr bwMode="auto">
            <a:xfrm>
              <a:off x="3584" y="1863"/>
              <a:ext cx="66" cy="61"/>
              <a:chOff x="2654" y="1925"/>
              <a:chExt cx="225" cy="234"/>
            </a:xfrm>
          </p:grpSpPr>
          <p:sp>
            <p:nvSpPr>
              <p:cNvPr id="42" name="Freeform 43"/>
              <p:cNvSpPr>
                <a:spLocks noChangeAspect="1"/>
              </p:cNvSpPr>
              <p:nvPr/>
            </p:nvSpPr>
            <p:spPr bwMode="auto">
              <a:xfrm>
                <a:off x="2654" y="1925"/>
                <a:ext cx="225" cy="234"/>
              </a:xfrm>
              <a:custGeom>
                <a:avLst/>
                <a:gdLst>
                  <a:gd name="T0" fmla="*/ 0 w 225"/>
                  <a:gd name="T1" fmla="*/ 233 h 234"/>
                  <a:gd name="T2" fmla="*/ 1 w 225"/>
                  <a:gd name="T3" fmla="*/ 209 h 234"/>
                  <a:gd name="T4" fmla="*/ 5 w 225"/>
                  <a:gd name="T5" fmla="*/ 186 h 234"/>
                  <a:gd name="T6" fmla="*/ 10 w 225"/>
                  <a:gd name="T7" fmla="*/ 164 h 234"/>
                  <a:gd name="T8" fmla="*/ 18 w 225"/>
                  <a:gd name="T9" fmla="*/ 143 h 234"/>
                  <a:gd name="T10" fmla="*/ 27 w 225"/>
                  <a:gd name="T11" fmla="*/ 122 h 234"/>
                  <a:gd name="T12" fmla="*/ 39 w 225"/>
                  <a:gd name="T13" fmla="*/ 103 h 234"/>
                  <a:gd name="T14" fmla="*/ 52 w 225"/>
                  <a:gd name="T15" fmla="*/ 85 h 234"/>
                  <a:gd name="T16" fmla="*/ 66 w 225"/>
                  <a:gd name="T17" fmla="*/ 69 h 234"/>
                  <a:gd name="T18" fmla="*/ 82 w 225"/>
                  <a:gd name="T19" fmla="*/ 54 h 234"/>
                  <a:gd name="T20" fmla="*/ 99 w 225"/>
                  <a:gd name="T21" fmla="*/ 40 h 234"/>
                  <a:gd name="T22" fmla="*/ 117 w 225"/>
                  <a:gd name="T23" fmla="*/ 29 h 234"/>
                  <a:gd name="T24" fmla="*/ 137 w 225"/>
                  <a:gd name="T25" fmla="*/ 19 h 234"/>
                  <a:gd name="T26" fmla="*/ 157 w 225"/>
                  <a:gd name="T27" fmla="*/ 11 h 234"/>
                  <a:gd name="T28" fmla="*/ 179 w 225"/>
                  <a:gd name="T29" fmla="*/ 5 h 234"/>
                  <a:gd name="T30" fmla="*/ 201 w 225"/>
                  <a:gd name="T31" fmla="*/ 1 h 234"/>
                  <a:gd name="T32" fmla="*/ 224 w 225"/>
                  <a:gd name="T33" fmla="*/ 0 h 234"/>
                  <a:gd name="T34" fmla="*/ 225 w 225"/>
                  <a:gd name="T35" fmla="*/ 234 h 234"/>
                  <a:gd name="T36" fmla="*/ 0 w 225"/>
                  <a:gd name="T37" fmla="*/ 233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5"/>
                  <a:gd name="T58" fmla="*/ 0 h 234"/>
                  <a:gd name="T59" fmla="*/ 225 w 225"/>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5" h="234">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lnTo>
                      <a:pt x="225" y="234"/>
                    </a:lnTo>
                    <a:lnTo>
                      <a:pt x="0" y="233"/>
                    </a:lnTo>
                    <a:close/>
                  </a:path>
                </a:pathLst>
              </a:custGeom>
              <a:solidFill>
                <a:srgbClr val="FFFFFF"/>
              </a:solidFill>
              <a:ln w="3175">
                <a:solidFill>
                  <a:schemeClr val="accent3"/>
                </a:solidFill>
                <a:round/>
                <a:headEnd/>
                <a:tailEnd/>
              </a:ln>
            </p:spPr>
            <p:txBody>
              <a:bodyPr/>
              <a:lstStyle/>
              <a:p>
                <a:pPr>
                  <a:defRPr/>
                </a:pPr>
                <a:endParaRPr lang="en-GB"/>
              </a:p>
            </p:txBody>
          </p:sp>
          <p:sp>
            <p:nvSpPr>
              <p:cNvPr id="43" name="Freeform 44"/>
              <p:cNvSpPr>
                <a:spLocks noChangeAspect="1"/>
              </p:cNvSpPr>
              <p:nvPr/>
            </p:nvSpPr>
            <p:spPr bwMode="auto">
              <a:xfrm>
                <a:off x="2654" y="1925"/>
                <a:ext cx="225" cy="234"/>
              </a:xfrm>
              <a:custGeom>
                <a:avLst/>
                <a:gdLst>
                  <a:gd name="T0" fmla="*/ 0 w 224"/>
                  <a:gd name="T1" fmla="*/ 233 h 233"/>
                  <a:gd name="T2" fmla="*/ 1 w 224"/>
                  <a:gd name="T3" fmla="*/ 209 h 233"/>
                  <a:gd name="T4" fmla="*/ 5 w 224"/>
                  <a:gd name="T5" fmla="*/ 186 h 233"/>
                  <a:gd name="T6" fmla="*/ 10 w 224"/>
                  <a:gd name="T7" fmla="*/ 164 h 233"/>
                  <a:gd name="T8" fmla="*/ 18 w 224"/>
                  <a:gd name="T9" fmla="*/ 143 h 233"/>
                  <a:gd name="T10" fmla="*/ 27 w 224"/>
                  <a:gd name="T11" fmla="*/ 122 h 233"/>
                  <a:gd name="T12" fmla="*/ 39 w 224"/>
                  <a:gd name="T13" fmla="*/ 103 h 233"/>
                  <a:gd name="T14" fmla="*/ 52 w 224"/>
                  <a:gd name="T15" fmla="*/ 85 h 233"/>
                  <a:gd name="T16" fmla="*/ 66 w 224"/>
                  <a:gd name="T17" fmla="*/ 69 h 233"/>
                  <a:gd name="T18" fmla="*/ 82 w 224"/>
                  <a:gd name="T19" fmla="*/ 54 h 233"/>
                  <a:gd name="T20" fmla="*/ 99 w 224"/>
                  <a:gd name="T21" fmla="*/ 40 h 233"/>
                  <a:gd name="T22" fmla="*/ 117 w 224"/>
                  <a:gd name="T23" fmla="*/ 29 h 233"/>
                  <a:gd name="T24" fmla="*/ 137 w 224"/>
                  <a:gd name="T25" fmla="*/ 19 h 233"/>
                  <a:gd name="T26" fmla="*/ 157 w 224"/>
                  <a:gd name="T27" fmla="*/ 11 h 233"/>
                  <a:gd name="T28" fmla="*/ 179 w 224"/>
                  <a:gd name="T29" fmla="*/ 5 h 233"/>
                  <a:gd name="T30" fmla="*/ 201 w 224"/>
                  <a:gd name="T31" fmla="*/ 1 h 233"/>
                  <a:gd name="T32" fmla="*/ 224 w 224"/>
                  <a:gd name="T33" fmla="*/ 0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4"/>
                  <a:gd name="T52" fmla="*/ 0 h 233"/>
                  <a:gd name="T53" fmla="*/ 224 w 22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4" h="233">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path>
                </a:pathLst>
              </a:custGeom>
              <a:solidFill>
                <a:srgbClr val="FFFFFF"/>
              </a:solidFill>
              <a:ln w="3175">
                <a:solidFill>
                  <a:schemeClr val="accent3"/>
                </a:solidFill>
                <a:round/>
                <a:headEnd/>
                <a:tailEnd/>
              </a:ln>
            </p:spPr>
            <p:txBody>
              <a:bodyPr/>
              <a:lstStyle/>
              <a:p>
                <a:pPr>
                  <a:defRPr/>
                </a:pPr>
                <a:endParaRPr lang="en-GB"/>
              </a:p>
            </p:txBody>
          </p:sp>
        </p:grpSp>
      </p:grpSp>
      <p:sp>
        <p:nvSpPr>
          <p:cNvPr id="46" name="Freeform 45"/>
          <p:cNvSpPr>
            <a:spLocks noChangeAspect="1"/>
          </p:cNvSpPr>
          <p:nvPr/>
        </p:nvSpPr>
        <p:spPr bwMode="auto">
          <a:xfrm>
            <a:off x="2513013" y="2560638"/>
            <a:ext cx="38100" cy="77787"/>
          </a:xfrm>
          <a:custGeom>
            <a:avLst/>
            <a:gdLst>
              <a:gd name="T0" fmla="*/ 0 w 234"/>
              <a:gd name="T1" fmla="*/ 0 h 467"/>
              <a:gd name="T2" fmla="*/ 2147483647 w 234"/>
              <a:gd name="T3" fmla="*/ 771774429 h 467"/>
              <a:gd name="T4" fmla="*/ 2147483647 w 234"/>
              <a:gd name="T5" fmla="*/ 2147483647 h 467"/>
              <a:gd name="T6" fmla="*/ 2147483647 w 234"/>
              <a:gd name="T7" fmla="*/ 2147483647 h 467"/>
              <a:gd name="T8" fmla="*/ 2147483647 w 234"/>
              <a:gd name="T9" fmla="*/ 2147483647 h 467"/>
              <a:gd name="T10" fmla="*/ 2147483647 w 234"/>
              <a:gd name="T11" fmla="*/ 2147483647 h 467"/>
              <a:gd name="T12" fmla="*/ 2147483647 w 234"/>
              <a:gd name="T13" fmla="*/ 2147483647 h 467"/>
              <a:gd name="T14" fmla="*/ 2147483647 w 234"/>
              <a:gd name="T15" fmla="*/ 2147483647 h 467"/>
              <a:gd name="T16" fmla="*/ 2147483647 w 234"/>
              <a:gd name="T17" fmla="*/ 2147483647 h 467"/>
              <a:gd name="T18" fmla="*/ 2147483647 w 234"/>
              <a:gd name="T19" fmla="*/ 2147483647 h 467"/>
              <a:gd name="T20" fmla="*/ 2147483647 w 234"/>
              <a:gd name="T21" fmla="*/ 2147483647 h 467"/>
              <a:gd name="T22" fmla="*/ 2147483647 w 234"/>
              <a:gd name="T23" fmla="*/ 2147483647 h 467"/>
              <a:gd name="T24" fmla="*/ 2147483647 w 234"/>
              <a:gd name="T25" fmla="*/ 2147483647 h 467"/>
              <a:gd name="T26" fmla="*/ 2147483647 w 234"/>
              <a:gd name="T27" fmla="*/ 2147483647 h 467"/>
              <a:gd name="T28" fmla="*/ 2147483647 w 234"/>
              <a:gd name="T29" fmla="*/ 2147483647 h 467"/>
              <a:gd name="T30" fmla="*/ 2147483647 w 234"/>
              <a:gd name="T31" fmla="*/ 2147483647 h 467"/>
              <a:gd name="T32" fmla="*/ 2147483647 w 234"/>
              <a:gd name="T33" fmla="*/ 2147483647 h 467"/>
              <a:gd name="T34" fmla="*/ 2147483647 w 234"/>
              <a:gd name="T35" fmla="*/ 2147483647 h 467"/>
              <a:gd name="T36" fmla="*/ 2147483647 w 234"/>
              <a:gd name="T37" fmla="*/ 2147483647 h 467"/>
              <a:gd name="T38" fmla="*/ 2147483647 w 234"/>
              <a:gd name="T39" fmla="*/ 2147483647 h 467"/>
              <a:gd name="T40" fmla="*/ 2147483647 w 234"/>
              <a:gd name="T41" fmla="*/ 2147483647 h 467"/>
              <a:gd name="T42" fmla="*/ 2147483647 w 234"/>
              <a:gd name="T43" fmla="*/ 2147483647 h 467"/>
              <a:gd name="T44" fmla="*/ 2147483647 w 234"/>
              <a:gd name="T45" fmla="*/ 2147483647 h 467"/>
              <a:gd name="T46" fmla="*/ 2147483647 w 234"/>
              <a:gd name="T47" fmla="*/ 2147483647 h 467"/>
              <a:gd name="T48" fmla="*/ 2147483647 w 234"/>
              <a:gd name="T49" fmla="*/ 2147483647 h 467"/>
              <a:gd name="T50" fmla="*/ 2147483647 w 234"/>
              <a:gd name="T51" fmla="*/ 2147483647 h 467"/>
              <a:gd name="T52" fmla="*/ 2147483647 w 234"/>
              <a:gd name="T53" fmla="*/ 2147483647 h 467"/>
              <a:gd name="T54" fmla="*/ 2147483647 w 234"/>
              <a:gd name="T55" fmla="*/ 2147483647 h 467"/>
              <a:gd name="T56" fmla="*/ 2147483647 w 234"/>
              <a:gd name="T57" fmla="*/ 2147483647 h 467"/>
              <a:gd name="T58" fmla="*/ 2147483647 w 234"/>
              <a:gd name="T59" fmla="*/ 2147483647 h 467"/>
              <a:gd name="T60" fmla="*/ 2147483647 w 234"/>
              <a:gd name="T61" fmla="*/ 2147483647 h 467"/>
              <a:gd name="T62" fmla="*/ 2147483647 w 234"/>
              <a:gd name="T63" fmla="*/ 2147483647 h 467"/>
              <a:gd name="T64" fmla="*/ 0 w 234"/>
              <a:gd name="T65" fmla="*/ 2147483647 h 467"/>
              <a:gd name="T66" fmla="*/ 0 w 234"/>
              <a:gd name="T67" fmla="*/ 2147483647 h 467"/>
              <a:gd name="T68" fmla="*/ 0 w 234"/>
              <a:gd name="T69" fmla="*/ 0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lnTo>
                  <a:pt x="0" y="233"/>
                </a:lnTo>
                <a:lnTo>
                  <a:pt x="0" y="0"/>
                </a:lnTo>
                <a:close/>
              </a:path>
            </a:pathLst>
          </a:custGeom>
          <a:solidFill>
            <a:schemeClr val="tx1"/>
          </a:solidFill>
          <a:ln w="3175">
            <a:solidFill>
              <a:schemeClr val="accent3"/>
            </a:solidFill>
            <a:round/>
            <a:headEnd/>
            <a:tailEnd/>
          </a:ln>
        </p:spPr>
        <p:txBody>
          <a:bodyPr/>
          <a:lstStyle/>
          <a:p>
            <a:pPr>
              <a:defRPr/>
            </a:pPr>
            <a:endParaRPr lang="en-GB"/>
          </a:p>
        </p:txBody>
      </p:sp>
      <p:sp>
        <p:nvSpPr>
          <p:cNvPr id="47" name="Freeform 46"/>
          <p:cNvSpPr>
            <a:spLocks noChangeAspect="1"/>
          </p:cNvSpPr>
          <p:nvPr/>
        </p:nvSpPr>
        <p:spPr bwMode="auto">
          <a:xfrm>
            <a:off x="2513013" y="2560638"/>
            <a:ext cx="38100" cy="77787"/>
          </a:xfrm>
          <a:custGeom>
            <a:avLst/>
            <a:gdLst>
              <a:gd name="T0" fmla="*/ 0 w 234"/>
              <a:gd name="T1" fmla="*/ 0 h 467"/>
              <a:gd name="T2" fmla="*/ 2147483647 w 234"/>
              <a:gd name="T3" fmla="*/ 771774429 h 467"/>
              <a:gd name="T4" fmla="*/ 2147483647 w 234"/>
              <a:gd name="T5" fmla="*/ 2147483647 h 467"/>
              <a:gd name="T6" fmla="*/ 2147483647 w 234"/>
              <a:gd name="T7" fmla="*/ 2147483647 h 467"/>
              <a:gd name="T8" fmla="*/ 2147483647 w 234"/>
              <a:gd name="T9" fmla="*/ 2147483647 h 467"/>
              <a:gd name="T10" fmla="*/ 2147483647 w 234"/>
              <a:gd name="T11" fmla="*/ 2147483647 h 467"/>
              <a:gd name="T12" fmla="*/ 2147483647 w 234"/>
              <a:gd name="T13" fmla="*/ 2147483647 h 467"/>
              <a:gd name="T14" fmla="*/ 2147483647 w 234"/>
              <a:gd name="T15" fmla="*/ 2147483647 h 467"/>
              <a:gd name="T16" fmla="*/ 2147483647 w 234"/>
              <a:gd name="T17" fmla="*/ 2147483647 h 467"/>
              <a:gd name="T18" fmla="*/ 2147483647 w 234"/>
              <a:gd name="T19" fmla="*/ 2147483647 h 467"/>
              <a:gd name="T20" fmla="*/ 2147483647 w 234"/>
              <a:gd name="T21" fmla="*/ 2147483647 h 467"/>
              <a:gd name="T22" fmla="*/ 2147483647 w 234"/>
              <a:gd name="T23" fmla="*/ 2147483647 h 467"/>
              <a:gd name="T24" fmla="*/ 2147483647 w 234"/>
              <a:gd name="T25" fmla="*/ 2147483647 h 467"/>
              <a:gd name="T26" fmla="*/ 2147483647 w 234"/>
              <a:gd name="T27" fmla="*/ 2147483647 h 467"/>
              <a:gd name="T28" fmla="*/ 2147483647 w 234"/>
              <a:gd name="T29" fmla="*/ 2147483647 h 467"/>
              <a:gd name="T30" fmla="*/ 2147483647 w 234"/>
              <a:gd name="T31" fmla="*/ 2147483647 h 467"/>
              <a:gd name="T32" fmla="*/ 2147483647 w 234"/>
              <a:gd name="T33" fmla="*/ 2147483647 h 467"/>
              <a:gd name="T34" fmla="*/ 2147483647 w 234"/>
              <a:gd name="T35" fmla="*/ 2147483647 h 467"/>
              <a:gd name="T36" fmla="*/ 2147483647 w 234"/>
              <a:gd name="T37" fmla="*/ 2147483647 h 467"/>
              <a:gd name="T38" fmla="*/ 2147483647 w 234"/>
              <a:gd name="T39" fmla="*/ 2147483647 h 467"/>
              <a:gd name="T40" fmla="*/ 2147483647 w 234"/>
              <a:gd name="T41" fmla="*/ 2147483647 h 467"/>
              <a:gd name="T42" fmla="*/ 2147483647 w 234"/>
              <a:gd name="T43" fmla="*/ 2147483647 h 467"/>
              <a:gd name="T44" fmla="*/ 2147483647 w 234"/>
              <a:gd name="T45" fmla="*/ 2147483647 h 467"/>
              <a:gd name="T46" fmla="*/ 2147483647 w 234"/>
              <a:gd name="T47" fmla="*/ 2147483647 h 467"/>
              <a:gd name="T48" fmla="*/ 2147483647 w 234"/>
              <a:gd name="T49" fmla="*/ 2147483647 h 467"/>
              <a:gd name="T50" fmla="*/ 2147483647 w 234"/>
              <a:gd name="T51" fmla="*/ 2147483647 h 467"/>
              <a:gd name="T52" fmla="*/ 2147483647 w 234"/>
              <a:gd name="T53" fmla="*/ 2147483647 h 467"/>
              <a:gd name="T54" fmla="*/ 2147483647 w 234"/>
              <a:gd name="T55" fmla="*/ 2147483647 h 467"/>
              <a:gd name="T56" fmla="*/ 2147483647 w 234"/>
              <a:gd name="T57" fmla="*/ 2147483647 h 467"/>
              <a:gd name="T58" fmla="*/ 2147483647 w 234"/>
              <a:gd name="T59" fmla="*/ 2147483647 h 467"/>
              <a:gd name="T60" fmla="*/ 2147483647 w 234"/>
              <a:gd name="T61" fmla="*/ 2147483647 h 467"/>
              <a:gd name="T62" fmla="*/ 2147483647 w 234"/>
              <a:gd name="T63" fmla="*/ 2147483647 h 467"/>
              <a:gd name="T64" fmla="*/ 0 w 234"/>
              <a:gd name="T65" fmla="*/ 2147483647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path>
            </a:pathLst>
          </a:custGeom>
          <a:solidFill>
            <a:schemeClr val="accent3"/>
          </a:solidFill>
          <a:ln w="3175">
            <a:solidFill>
              <a:schemeClr val="accent3"/>
            </a:solidFill>
            <a:round/>
            <a:headEnd/>
            <a:tailEnd/>
          </a:ln>
        </p:spPr>
        <p:txBody>
          <a:bodyPr/>
          <a:lstStyle/>
          <a:p>
            <a:pPr>
              <a:defRPr/>
            </a:pPr>
            <a:endParaRPr lang="en-GB"/>
          </a:p>
        </p:txBody>
      </p:sp>
      <p:sp>
        <p:nvSpPr>
          <p:cNvPr id="48" name="Freeform 47"/>
          <p:cNvSpPr>
            <a:spLocks noChangeAspect="1"/>
          </p:cNvSpPr>
          <p:nvPr/>
        </p:nvSpPr>
        <p:spPr bwMode="auto">
          <a:xfrm>
            <a:off x="2473325" y="2560638"/>
            <a:ext cx="39688" cy="77787"/>
          </a:xfrm>
          <a:custGeom>
            <a:avLst/>
            <a:gdLst>
              <a:gd name="T0" fmla="*/ 2147483647 w 234"/>
              <a:gd name="T1" fmla="*/ 2147483647 h 467"/>
              <a:gd name="T2" fmla="*/ 2147483647 w 234"/>
              <a:gd name="T3" fmla="*/ 2147483647 h 467"/>
              <a:gd name="T4" fmla="*/ 2147483647 w 234"/>
              <a:gd name="T5" fmla="*/ 2147483647 h 467"/>
              <a:gd name="T6" fmla="*/ 2147483647 w 234"/>
              <a:gd name="T7" fmla="*/ 2147483647 h 467"/>
              <a:gd name="T8" fmla="*/ 2147483647 w 234"/>
              <a:gd name="T9" fmla="*/ 2147483647 h 467"/>
              <a:gd name="T10" fmla="*/ 2147483647 w 234"/>
              <a:gd name="T11" fmla="*/ 2147483647 h 467"/>
              <a:gd name="T12" fmla="*/ 2147483647 w 234"/>
              <a:gd name="T13" fmla="*/ 2147483647 h 467"/>
              <a:gd name="T14" fmla="*/ 2147483647 w 234"/>
              <a:gd name="T15" fmla="*/ 2147483647 h 467"/>
              <a:gd name="T16" fmla="*/ 2147483647 w 234"/>
              <a:gd name="T17" fmla="*/ 2147483647 h 467"/>
              <a:gd name="T18" fmla="*/ 2147483647 w 234"/>
              <a:gd name="T19" fmla="*/ 2147483647 h 467"/>
              <a:gd name="T20" fmla="*/ 2147483647 w 234"/>
              <a:gd name="T21" fmla="*/ 2147483647 h 467"/>
              <a:gd name="T22" fmla="*/ 2147483647 w 234"/>
              <a:gd name="T23" fmla="*/ 2147483647 h 467"/>
              <a:gd name="T24" fmla="*/ 2147483647 w 234"/>
              <a:gd name="T25" fmla="*/ 2147483647 h 467"/>
              <a:gd name="T26" fmla="*/ 2147483647 w 234"/>
              <a:gd name="T27" fmla="*/ 2147483647 h 467"/>
              <a:gd name="T28" fmla="*/ 2147483647 w 234"/>
              <a:gd name="T29" fmla="*/ 2147483647 h 467"/>
              <a:gd name="T30" fmla="*/ 1124735451 w 234"/>
              <a:gd name="T31" fmla="*/ 2147483647 h 467"/>
              <a:gd name="T32" fmla="*/ 0 w 234"/>
              <a:gd name="T33" fmla="*/ 2147483647 h 467"/>
              <a:gd name="T34" fmla="*/ 1124735451 w 234"/>
              <a:gd name="T35" fmla="*/ 2147483647 h 467"/>
              <a:gd name="T36" fmla="*/ 2147483647 w 234"/>
              <a:gd name="T37" fmla="*/ 2147483647 h 467"/>
              <a:gd name="T38" fmla="*/ 2147483647 w 234"/>
              <a:gd name="T39" fmla="*/ 2147483647 h 467"/>
              <a:gd name="T40" fmla="*/ 2147483647 w 234"/>
              <a:gd name="T41" fmla="*/ 2147483647 h 467"/>
              <a:gd name="T42" fmla="*/ 2147483647 w 234"/>
              <a:gd name="T43" fmla="*/ 2147483647 h 467"/>
              <a:gd name="T44" fmla="*/ 2147483647 w 234"/>
              <a:gd name="T45" fmla="*/ 2147483647 h 467"/>
              <a:gd name="T46" fmla="*/ 2147483647 w 234"/>
              <a:gd name="T47" fmla="*/ 2147483647 h 467"/>
              <a:gd name="T48" fmla="*/ 2147483647 w 234"/>
              <a:gd name="T49" fmla="*/ 2147483647 h 467"/>
              <a:gd name="T50" fmla="*/ 2147483647 w 234"/>
              <a:gd name="T51" fmla="*/ 2147483647 h 467"/>
              <a:gd name="T52" fmla="*/ 2147483647 w 234"/>
              <a:gd name="T53" fmla="*/ 2147483647 h 467"/>
              <a:gd name="T54" fmla="*/ 2147483647 w 234"/>
              <a:gd name="T55" fmla="*/ 2147483647 h 467"/>
              <a:gd name="T56" fmla="*/ 2147483647 w 234"/>
              <a:gd name="T57" fmla="*/ 2147483647 h 467"/>
              <a:gd name="T58" fmla="*/ 2147483647 w 234"/>
              <a:gd name="T59" fmla="*/ 2147483647 h 467"/>
              <a:gd name="T60" fmla="*/ 2147483647 w 234"/>
              <a:gd name="T61" fmla="*/ 2147483647 h 467"/>
              <a:gd name="T62" fmla="*/ 2147483647 w 234"/>
              <a:gd name="T63" fmla="*/ 771774429 h 467"/>
              <a:gd name="T64" fmla="*/ 2147483647 w 234"/>
              <a:gd name="T65" fmla="*/ 0 h 467"/>
              <a:gd name="T66" fmla="*/ 2147483647 w 234"/>
              <a:gd name="T67" fmla="*/ 2147483647 h 467"/>
              <a:gd name="T68" fmla="*/ 2147483647 w 234"/>
              <a:gd name="T69" fmla="*/ 2147483647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234" y="467"/>
                </a:lnTo>
                <a:close/>
              </a:path>
            </a:pathLst>
          </a:custGeom>
          <a:solidFill>
            <a:srgbClr val="FFFFFF"/>
          </a:solidFill>
          <a:ln w="3175">
            <a:solidFill>
              <a:schemeClr val="accent3"/>
            </a:solidFill>
            <a:round/>
            <a:headEnd/>
            <a:tailEnd/>
          </a:ln>
        </p:spPr>
        <p:txBody>
          <a:bodyPr/>
          <a:lstStyle/>
          <a:p>
            <a:pPr>
              <a:defRPr/>
            </a:pPr>
            <a:endParaRPr lang="en-GB"/>
          </a:p>
        </p:txBody>
      </p:sp>
      <p:sp>
        <p:nvSpPr>
          <p:cNvPr id="49" name="Freeform 48"/>
          <p:cNvSpPr>
            <a:spLocks noChangeAspect="1"/>
          </p:cNvSpPr>
          <p:nvPr/>
        </p:nvSpPr>
        <p:spPr bwMode="auto">
          <a:xfrm>
            <a:off x="2473325" y="2560638"/>
            <a:ext cx="39688" cy="77787"/>
          </a:xfrm>
          <a:custGeom>
            <a:avLst/>
            <a:gdLst>
              <a:gd name="T0" fmla="*/ 2147483647 w 234"/>
              <a:gd name="T1" fmla="*/ 2147483647 h 467"/>
              <a:gd name="T2" fmla="*/ 2147483647 w 234"/>
              <a:gd name="T3" fmla="*/ 2147483647 h 467"/>
              <a:gd name="T4" fmla="*/ 2147483647 w 234"/>
              <a:gd name="T5" fmla="*/ 2147483647 h 467"/>
              <a:gd name="T6" fmla="*/ 2147483647 w 234"/>
              <a:gd name="T7" fmla="*/ 2147483647 h 467"/>
              <a:gd name="T8" fmla="*/ 2147483647 w 234"/>
              <a:gd name="T9" fmla="*/ 2147483647 h 467"/>
              <a:gd name="T10" fmla="*/ 2147483647 w 234"/>
              <a:gd name="T11" fmla="*/ 2147483647 h 467"/>
              <a:gd name="T12" fmla="*/ 2147483647 w 234"/>
              <a:gd name="T13" fmla="*/ 2147483647 h 467"/>
              <a:gd name="T14" fmla="*/ 2147483647 w 234"/>
              <a:gd name="T15" fmla="*/ 2147483647 h 467"/>
              <a:gd name="T16" fmla="*/ 2147483647 w 234"/>
              <a:gd name="T17" fmla="*/ 2147483647 h 467"/>
              <a:gd name="T18" fmla="*/ 2147483647 w 234"/>
              <a:gd name="T19" fmla="*/ 2147483647 h 467"/>
              <a:gd name="T20" fmla="*/ 2147483647 w 234"/>
              <a:gd name="T21" fmla="*/ 2147483647 h 467"/>
              <a:gd name="T22" fmla="*/ 2147483647 w 234"/>
              <a:gd name="T23" fmla="*/ 2147483647 h 467"/>
              <a:gd name="T24" fmla="*/ 2147483647 w 234"/>
              <a:gd name="T25" fmla="*/ 2147483647 h 467"/>
              <a:gd name="T26" fmla="*/ 2147483647 w 234"/>
              <a:gd name="T27" fmla="*/ 2147483647 h 467"/>
              <a:gd name="T28" fmla="*/ 2147483647 w 234"/>
              <a:gd name="T29" fmla="*/ 2147483647 h 467"/>
              <a:gd name="T30" fmla="*/ 1124735451 w 234"/>
              <a:gd name="T31" fmla="*/ 2147483647 h 467"/>
              <a:gd name="T32" fmla="*/ 0 w 234"/>
              <a:gd name="T33" fmla="*/ 2147483647 h 467"/>
              <a:gd name="T34" fmla="*/ 1124735451 w 234"/>
              <a:gd name="T35" fmla="*/ 2147483647 h 467"/>
              <a:gd name="T36" fmla="*/ 2147483647 w 234"/>
              <a:gd name="T37" fmla="*/ 2147483647 h 467"/>
              <a:gd name="T38" fmla="*/ 2147483647 w 234"/>
              <a:gd name="T39" fmla="*/ 2147483647 h 467"/>
              <a:gd name="T40" fmla="*/ 2147483647 w 234"/>
              <a:gd name="T41" fmla="*/ 2147483647 h 467"/>
              <a:gd name="T42" fmla="*/ 2147483647 w 234"/>
              <a:gd name="T43" fmla="*/ 2147483647 h 467"/>
              <a:gd name="T44" fmla="*/ 2147483647 w 234"/>
              <a:gd name="T45" fmla="*/ 2147483647 h 467"/>
              <a:gd name="T46" fmla="*/ 2147483647 w 234"/>
              <a:gd name="T47" fmla="*/ 2147483647 h 467"/>
              <a:gd name="T48" fmla="*/ 2147483647 w 234"/>
              <a:gd name="T49" fmla="*/ 2147483647 h 467"/>
              <a:gd name="T50" fmla="*/ 2147483647 w 234"/>
              <a:gd name="T51" fmla="*/ 2147483647 h 467"/>
              <a:gd name="T52" fmla="*/ 2147483647 w 234"/>
              <a:gd name="T53" fmla="*/ 2147483647 h 467"/>
              <a:gd name="T54" fmla="*/ 2147483647 w 234"/>
              <a:gd name="T55" fmla="*/ 2147483647 h 467"/>
              <a:gd name="T56" fmla="*/ 2147483647 w 234"/>
              <a:gd name="T57" fmla="*/ 2147483647 h 467"/>
              <a:gd name="T58" fmla="*/ 2147483647 w 234"/>
              <a:gd name="T59" fmla="*/ 2147483647 h 467"/>
              <a:gd name="T60" fmla="*/ 2147483647 w 234"/>
              <a:gd name="T61" fmla="*/ 2147483647 h 467"/>
              <a:gd name="T62" fmla="*/ 2147483647 w 234"/>
              <a:gd name="T63" fmla="*/ 771774429 h 467"/>
              <a:gd name="T64" fmla="*/ 2147483647 w 234"/>
              <a:gd name="T65" fmla="*/ 0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3"/>
            </a:solidFill>
            <a:round/>
            <a:headEnd/>
            <a:tailEnd/>
          </a:ln>
        </p:spPr>
        <p:txBody>
          <a:bodyPr/>
          <a:lstStyle/>
          <a:p>
            <a:pPr>
              <a:defRPr/>
            </a:pPr>
            <a:endParaRPr lang="en-GB"/>
          </a:p>
        </p:txBody>
      </p:sp>
      <p:grpSp>
        <p:nvGrpSpPr>
          <p:cNvPr id="39" name="Group 49"/>
          <p:cNvGrpSpPr>
            <a:grpSpLocks/>
          </p:cNvGrpSpPr>
          <p:nvPr/>
        </p:nvGrpSpPr>
        <p:grpSpPr bwMode="auto">
          <a:xfrm>
            <a:off x="4287838" y="2522538"/>
            <a:ext cx="153987" cy="153987"/>
            <a:chOff x="2926" y="1589"/>
            <a:chExt cx="105" cy="97"/>
          </a:xfrm>
        </p:grpSpPr>
        <p:sp>
          <p:nvSpPr>
            <p:cNvPr id="51" name="Freeform 50"/>
            <p:cNvSpPr>
              <a:spLocks noChangeAspect="1"/>
            </p:cNvSpPr>
            <p:nvPr/>
          </p:nvSpPr>
          <p:spPr bwMode="auto">
            <a:xfrm>
              <a:off x="2979" y="1589"/>
              <a:ext cx="52" cy="97"/>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1 w 234"/>
                <a:gd name="T31" fmla="*/ 0 h 467"/>
                <a:gd name="T32" fmla="*/ 1 w 234"/>
                <a:gd name="T33" fmla="*/ 0 h 467"/>
                <a:gd name="T34" fmla="*/ 1 w 234"/>
                <a:gd name="T35" fmla="*/ 0 h 467"/>
                <a:gd name="T36" fmla="*/ 0 w 234"/>
                <a:gd name="T37" fmla="*/ 0 h 467"/>
                <a:gd name="T38" fmla="*/ 0 w 234"/>
                <a:gd name="T39" fmla="*/ 1 h 467"/>
                <a:gd name="T40" fmla="*/ 0 w 234"/>
                <a:gd name="T41" fmla="*/ 1 h 467"/>
                <a:gd name="T42" fmla="*/ 0 w 234"/>
                <a:gd name="T43" fmla="*/ 1 h 467"/>
                <a:gd name="T44" fmla="*/ 0 w 234"/>
                <a:gd name="T45" fmla="*/ 1 h 467"/>
                <a:gd name="T46" fmla="*/ 0 w 234"/>
                <a:gd name="T47" fmla="*/ 1 h 467"/>
                <a:gd name="T48" fmla="*/ 0 w 234"/>
                <a:gd name="T49" fmla="*/ 1 h 467"/>
                <a:gd name="T50" fmla="*/ 0 w 234"/>
                <a:gd name="T51" fmla="*/ 1 h 467"/>
                <a:gd name="T52" fmla="*/ 0 w 234"/>
                <a:gd name="T53" fmla="*/ 1 h 467"/>
                <a:gd name="T54" fmla="*/ 0 w 234"/>
                <a:gd name="T55" fmla="*/ 1 h 467"/>
                <a:gd name="T56" fmla="*/ 0 w 234"/>
                <a:gd name="T57" fmla="*/ 1 h 467"/>
                <a:gd name="T58" fmla="*/ 0 w 234"/>
                <a:gd name="T59" fmla="*/ 1 h 467"/>
                <a:gd name="T60" fmla="*/ 0 w 234"/>
                <a:gd name="T61" fmla="*/ 1 h 467"/>
                <a:gd name="T62" fmla="*/ 0 w 234"/>
                <a:gd name="T63" fmla="*/ 1 h 467"/>
                <a:gd name="T64" fmla="*/ 0 w 234"/>
                <a:gd name="T65" fmla="*/ 1 h 467"/>
                <a:gd name="T66" fmla="*/ 0 w 234"/>
                <a:gd name="T67" fmla="*/ 0 h 467"/>
                <a:gd name="T68" fmla="*/ 0 w 234"/>
                <a:gd name="T69" fmla="*/ 0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lnTo>
                    <a:pt x="0" y="233"/>
                  </a:lnTo>
                  <a:lnTo>
                    <a:pt x="0" y="0"/>
                  </a:lnTo>
                  <a:close/>
                </a:path>
              </a:pathLst>
            </a:custGeom>
            <a:solidFill>
              <a:schemeClr val="tx1"/>
            </a:solidFill>
            <a:ln w="3175">
              <a:solidFill>
                <a:schemeClr val="accent3"/>
              </a:solidFill>
              <a:round/>
              <a:headEnd/>
              <a:tailEnd/>
            </a:ln>
          </p:spPr>
          <p:txBody>
            <a:bodyPr/>
            <a:lstStyle/>
            <a:p>
              <a:pPr>
                <a:defRPr/>
              </a:pPr>
              <a:endParaRPr lang="en-GB"/>
            </a:p>
          </p:txBody>
        </p:sp>
        <p:sp>
          <p:nvSpPr>
            <p:cNvPr id="52" name="Freeform 51"/>
            <p:cNvSpPr>
              <a:spLocks noChangeAspect="1"/>
            </p:cNvSpPr>
            <p:nvPr/>
          </p:nvSpPr>
          <p:spPr bwMode="auto">
            <a:xfrm>
              <a:off x="2979" y="1589"/>
              <a:ext cx="52" cy="97"/>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1 w 234"/>
                <a:gd name="T31" fmla="*/ 0 h 467"/>
                <a:gd name="T32" fmla="*/ 1 w 234"/>
                <a:gd name="T33" fmla="*/ 0 h 467"/>
                <a:gd name="T34" fmla="*/ 1 w 234"/>
                <a:gd name="T35" fmla="*/ 0 h 467"/>
                <a:gd name="T36" fmla="*/ 0 w 234"/>
                <a:gd name="T37" fmla="*/ 0 h 467"/>
                <a:gd name="T38" fmla="*/ 0 w 234"/>
                <a:gd name="T39" fmla="*/ 1 h 467"/>
                <a:gd name="T40" fmla="*/ 0 w 234"/>
                <a:gd name="T41" fmla="*/ 1 h 467"/>
                <a:gd name="T42" fmla="*/ 0 w 234"/>
                <a:gd name="T43" fmla="*/ 1 h 467"/>
                <a:gd name="T44" fmla="*/ 0 w 234"/>
                <a:gd name="T45" fmla="*/ 1 h 467"/>
                <a:gd name="T46" fmla="*/ 0 w 234"/>
                <a:gd name="T47" fmla="*/ 1 h 467"/>
                <a:gd name="T48" fmla="*/ 0 w 234"/>
                <a:gd name="T49" fmla="*/ 1 h 467"/>
                <a:gd name="T50" fmla="*/ 0 w 234"/>
                <a:gd name="T51" fmla="*/ 1 h 467"/>
                <a:gd name="T52" fmla="*/ 0 w 234"/>
                <a:gd name="T53" fmla="*/ 1 h 467"/>
                <a:gd name="T54" fmla="*/ 0 w 234"/>
                <a:gd name="T55" fmla="*/ 1 h 467"/>
                <a:gd name="T56" fmla="*/ 0 w 234"/>
                <a:gd name="T57" fmla="*/ 1 h 467"/>
                <a:gd name="T58" fmla="*/ 0 w 234"/>
                <a:gd name="T59" fmla="*/ 1 h 467"/>
                <a:gd name="T60" fmla="*/ 0 w 234"/>
                <a:gd name="T61" fmla="*/ 1 h 467"/>
                <a:gd name="T62" fmla="*/ 0 w 234"/>
                <a:gd name="T63" fmla="*/ 1 h 467"/>
                <a:gd name="T64" fmla="*/ 0 w 234"/>
                <a:gd name="T65" fmla="*/ 1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path>
              </a:pathLst>
            </a:custGeom>
            <a:solidFill>
              <a:schemeClr val="accent3"/>
            </a:solidFill>
            <a:ln w="3175">
              <a:solidFill>
                <a:schemeClr val="accent3"/>
              </a:solidFill>
              <a:round/>
              <a:headEnd/>
              <a:tailEnd/>
            </a:ln>
          </p:spPr>
          <p:txBody>
            <a:bodyPr/>
            <a:lstStyle/>
            <a:p>
              <a:pPr>
                <a:defRPr/>
              </a:pPr>
              <a:endParaRPr lang="en-GB"/>
            </a:p>
          </p:txBody>
        </p:sp>
        <p:sp>
          <p:nvSpPr>
            <p:cNvPr id="53" name="Freeform 52"/>
            <p:cNvSpPr>
              <a:spLocks noChangeAspect="1"/>
            </p:cNvSpPr>
            <p:nvPr/>
          </p:nvSpPr>
          <p:spPr bwMode="auto">
            <a:xfrm>
              <a:off x="2926" y="1589"/>
              <a:ext cx="53" cy="97"/>
            </a:xfrm>
            <a:custGeom>
              <a:avLst/>
              <a:gdLst>
                <a:gd name="T0" fmla="*/ 1 w 234"/>
                <a:gd name="T1" fmla="*/ 1 h 467"/>
                <a:gd name="T2" fmla="*/ 0 w 234"/>
                <a:gd name="T3" fmla="*/ 1 h 467"/>
                <a:gd name="T4" fmla="*/ 0 w 234"/>
                <a:gd name="T5" fmla="*/ 1 h 467"/>
                <a:gd name="T6" fmla="*/ 0 w 234"/>
                <a:gd name="T7" fmla="*/ 1 h 467"/>
                <a:gd name="T8" fmla="*/ 0 w 234"/>
                <a:gd name="T9" fmla="*/ 1 h 467"/>
                <a:gd name="T10" fmla="*/ 0 w 234"/>
                <a:gd name="T11" fmla="*/ 1 h 467"/>
                <a:gd name="T12" fmla="*/ 0 w 234"/>
                <a:gd name="T13" fmla="*/ 1 h 467"/>
                <a:gd name="T14" fmla="*/ 0 w 234"/>
                <a:gd name="T15" fmla="*/ 1 h 467"/>
                <a:gd name="T16" fmla="*/ 0 w 234"/>
                <a:gd name="T17" fmla="*/ 1 h 467"/>
                <a:gd name="T18" fmla="*/ 0 w 234"/>
                <a:gd name="T19" fmla="*/ 1 h 467"/>
                <a:gd name="T20" fmla="*/ 0 w 234"/>
                <a:gd name="T21" fmla="*/ 1 h 467"/>
                <a:gd name="T22" fmla="*/ 0 w 234"/>
                <a:gd name="T23" fmla="*/ 1 h 467"/>
                <a:gd name="T24" fmla="*/ 0 w 234"/>
                <a:gd name="T25" fmla="*/ 1 h 467"/>
                <a:gd name="T26" fmla="*/ 0 w 234"/>
                <a:gd name="T27" fmla="*/ 1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1 w 234"/>
                <a:gd name="T65" fmla="*/ 0 h 467"/>
                <a:gd name="T66" fmla="*/ 1 w 234"/>
                <a:gd name="T67" fmla="*/ 0 h 467"/>
                <a:gd name="T68" fmla="*/ 1 w 234"/>
                <a:gd name="T69" fmla="*/ 1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234" y="467"/>
                  </a:lnTo>
                  <a:close/>
                </a:path>
              </a:pathLst>
            </a:custGeom>
            <a:solidFill>
              <a:srgbClr val="FFFFFF"/>
            </a:solidFill>
            <a:ln w="3175">
              <a:solidFill>
                <a:schemeClr val="accent3"/>
              </a:solidFill>
              <a:round/>
              <a:headEnd/>
              <a:tailEnd/>
            </a:ln>
          </p:spPr>
          <p:txBody>
            <a:bodyPr/>
            <a:lstStyle/>
            <a:p>
              <a:pPr>
                <a:defRPr/>
              </a:pPr>
              <a:endParaRPr lang="en-GB"/>
            </a:p>
          </p:txBody>
        </p:sp>
        <p:sp>
          <p:nvSpPr>
            <p:cNvPr id="54" name="Freeform 53"/>
            <p:cNvSpPr>
              <a:spLocks noChangeAspect="1"/>
            </p:cNvSpPr>
            <p:nvPr/>
          </p:nvSpPr>
          <p:spPr bwMode="auto">
            <a:xfrm>
              <a:off x="2926" y="1589"/>
              <a:ext cx="53" cy="97"/>
            </a:xfrm>
            <a:custGeom>
              <a:avLst/>
              <a:gdLst>
                <a:gd name="T0" fmla="*/ 1 w 234"/>
                <a:gd name="T1" fmla="*/ 1 h 467"/>
                <a:gd name="T2" fmla="*/ 0 w 234"/>
                <a:gd name="T3" fmla="*/ 1 h 467"/>
                <a:gd name="T4" fmla="*/ 0 w 234"/>
                <a:gd name="T5" fmla="*/ 1 h 467"/>
                <a:gd name="T6" fmla="*/ 0 w 234"/>
                <a:gd name="T7" fmla="*/ 1 h 467"/>
                <a:gd name="T8" fmla="*/ 0 w 234"/>
                <a:gd name="T9" fmla="*/ 1 h 467"/>
                <a:gd name="T10" fmla="*/ 0 w 234"/>
                <a:gd name="T11" fmla="*/ 1 h 467"/>
                <a:gd name="T12" fmla="*/ 0 w 234"/>
                <a:gd name="T13" fmla="*/ 1 h 467"/>
                <a:gd name="T14" fmla="*/ 0 w 234"/>
                <a:gd name="T15" fmla="*/ 1 h 467"/>
                <a:gd name="T16" fmla="*/ 0 w 234"/>
                <a:gd name="T17" fmla="*/ 1 h 467"/>
                <a:gd name="T18" fmla="*/ 0 w 234"/>
                <a:gd name="T19" fmla="*/ 1 h 467"/>
                <a:gd name="T20" fmla="*/ 0 w 234"/>
                <a:gd name="T21" fmla="*/ 1 h 467"/>
                <a:gd name="T22" fmla="*/ 0 w 234"/>
                <a:gd name="T23" fmla="*/ 1 h 467"/>
                <a:gd name="T24" fmla="*/ 0 w 234"/>
                <a:gd name="T25" fmla="*/ 1 h 467"/>
                <a:gd name="T26" fmla="*/ 0 w 234"/>
                <a:gd name="T27" fmla="*/ 1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1 w 234"/>
                <a:gd name="T65" fmla="*/ 0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3"/>
              </a:solidFill>
              <a:round/>
              <a:headEnd/>
              <a:tailEnd/>
            </a:ln>
          </p:spPr>
          <p:txBody>
            <a:bodyPr/>
            <a:lstStyle/>
            <a:p>
              <a:pPr>
                <a:defRPr/>
              </a:pPr>
              <a:endParaRPr lang="en-GB"/>
            </a:p>
          </p:txBody>
        </p:sp>
      </p:grpSp>
      <p:grpSp>
        <p:nvGrpSpPr>
          <p:cNvPr id="40" name="Group 54"/>
          <p:cNvGrpSpPr>
            <a:grpSpLocks/>
          </p:cNvGrpSpPr>
          <p:nvPr/>
        </p:nvGrpSpPr>
        <p:grpSpPr bwMode="auto">
          <a:xfrm>
            <a:off x="6256338" y="2484438"/>
            <a:ext cx="230187" cy="231775"/>
            <a:chOff x="4269" y="1565"/>
            <a:chExt cx="158" cy="146"/>
          </a:xfrm>
        </p:grpSpPr>
        <p:sp>
          <p:nvSpPr>
            <p:cNvPr id="56" name="Freeform 55"/>
            <p:cNvSpPr>
              <a:spLocks noChangeAspect="1"/>
            </p:cNvSpPr>
            <p:nvPr/>
          </p:nvSpPr>
          <p:spPr bwMode="auto">
            <a:xfrm>
              <a:off x="4349" y="1565"/>
              <a:ext cx="78" cy="146"/>
            </a:xfrm>
            <a:custGeom>
              <a:avLst/>
              <a:gdLst>
                <a:gd name="T0" fmla="*/ 0 w 234"/>
                <a:gd name="T1" fmla="*/ 0 h 467"/>
                <a:gd name="T2" fmla="*/ 0 w 234"/>
                <a:gd name="T3" fmla="*/ 0 h 467"/>
                <a:gd name="T4" fmla="*/ 1 w 234"/>
                <a:gd name="T5" fmla="*/ 0 h 467"/>
                <a:gd name="T6" fmla="*/ 1 w 234"/>
                <a:gd name="T7" fmla="*/ 0 h 467"/>
                <a:gd name="T8" fmla="*/ 1 w 234"/>
                <a:gd name="T9" fmla="*/ 0 h 467"/>
                <a:gd name="T10" fmla="*/ 1 w 234"/>
                <a:gd name="T11" fmla="*/ 0 h 467"/>
                <a:gd name="T12" fmla="*/ 2 w 234"/>
                <a:gd name="T13" fmla="*/ 0 h 467"/>
                <a:gd name="T14" fmla="*/ 2 w 234"/>
                <a:gd name="T15" fmla="*/ 1 h 467"/>
                <a:gd name="T16" fmla="*/ 2 w 234"/>
                <a:gd name="T17" fmla="*/ 1 h 467"/>
                <a:gd name="T18" fmla="*/ 2 w 234"/>
                <a:gd name="T19" fmla="*/ 1 h 467"/>
                <a:gd name="T20" fmla="*/ 2 w 234"/>
                <a:gd name="T21" fmla="*/ 1 h 467"/>
                <a:gd name="T22" fmla="*/ 3 w 234"/>
                <a:gd name="T23" fmla="*/ 1 h 467"/>
                <a:gd name="T24" fmla="*/ 3 w 234"/>
                <a:gd name="T25" fmla="*/ 1 h 467"/>
                <a:gd name="T26" fmla="*/ 3 w 234"/>
                <a:gd name="T27" fmla="*/ 2 h 467"/>
                <a:gd name="T28" fmla="*/ 3 w 234"/>
                <a:gd name="T29" fmla="*/ 2 h 467"/>
                <a:gd name="T30" fmla="*/ 3 w 234"/>
                <a:gd name="T31" fmla="*/ 2 h 467"/>
                <a:gd name="T32" fmla="*/ 3 w 234"/>
                <a:gd name="T33" fmla="*/ 2 h 467"/>
                <a:gd name="T34" fmla="*/ 3 w 234"/>
                <a:gd name="T35" fmla="*/ 3 h 467"/>
                <a:gd name="T36" fmla="*/ 3 w 234"/>
                <a:gd name="T37" fmla="*/ 3 h 467"/>
                <a:gd name="T38" fmla="*/ 3 w 234"/>
                <a:gd name="T39" fmla="*/ 3 h 467"/>
                <a:gd name="T40" fmla="*/ 3 w 234"/>
                <a:gd name="T41" fmla="*/ 3 h 467"/>
                <a:gd name="T42" fmla="*/ 3 w 234"/>
                <a:gd name="T43" fmla="*/ 3 h 467"/>
                <a:gd name="T44" fmla="*/ 2 w 234"/>
                <a:gd name="T45" fmla="*/ 3 h 467"/>
                <a:gd name="T46" fmla="*/ 2 w 234"/>
                <a:gd name="T47" fmla="*/ 4 h 467"/>
                <a:gd name="T48" fmla="*/ 2 w 234"/>
                <a:gd name="T49" fmla="*/ 4 h 467"/>
                <a:gd name="T50" fmla="*/ 2 w 234"/>
                <a:gd name="T51" fmla="*/ 4 h 467"/>
                <a:gd name="T52" fmla="*/ 2 w 234"/>
                <a:gd name="T53" fmla="*/ 4 h 467"/>
                <a:gd name="T54" fmla="*/ 1 w 234"/>
                <a:gd name="T55" fmla="*/ 4 h 467"/>
                <a:gd name="T56" fmla="*/ 1 w 234"/>
                <a:gd name="T57" fmla="*/ 4 h 467"/>
                <a:gd name="T58" fmla="*/ 1 w 234"/>
                <a:gd name="T59" fmla="*/ 4 h 467"/>
                <a:gd name="T60" fmla="*/ 1 w 234"/>
                <a:gd name="T61" fmla="*/ 4 h 467"/>
                <a:gd name="T62" fmla="*/ 0 w 234"/>
                <a:gd name="T63" fmla="*/ 4 h 467"/>
                <a:gd name="T64" fmla="*/ 0 w 234"/>
                <a:gd name="T65" fmla="*/ 4 h 467"/>
                <a:gd name="T66" fmla="*/ 0 w 234"/>
                <a:gd name="T67" fmla="*/ 2 h 467"/>
                <a:gd name="T68" fmla="*/ 0 w 234"/>
                <a:gd name="T69" fmla="*/ 0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lnTo>
                    <a:pt x="0" y="233"/>
                  </a:lnTo>
                  <a:lnTo>
                    <a:pt x="0" y="0"/>
                  </a:lnTo>
                  <a:close/>
                </a:path>
              </a:pathLst>
            </a:custGeom>
            <a:solidFill>
              <a:schemeClr val="tx1"/>
            </a:solidFill>
            <a:ln w="3175">
              <a:solidFill>
                <a:schemeClr val="accent3"/>
              </a:solidFill>
              <a:round/>
              <a:headEnd/>
              <a:tailEnd/>
            </a:ln>
          </p:spPr>
          <p:txBody>
            <a:bodyPr/>
            <a:lstStyle/>
            <a:p>
              <a:pPr>
                <a:defRPr/>
              </a:pPr>
              <a:endParaRPr lang="en-GB"/>
            </a:p>
          </p:txBody>
        </p:sp>
        <p:sp>
          <p:nvSpPr>
            <p:cNvPr id="57" name="Freeform 56"/>
            <p:cNvSpPr>
              <a:spLocks noChangeAspect="1"/>
            </p:cNvSpPr>
            <p:nvPr/>
          </p:nvSpPr>
          <p:spPr bwMode="auto">
            <a:xfrm>
              <a:off x="4349" y="1565"/>
              <a:ext cx="78" cy="146"/>
            </a:xfrm>
            <a:custGeom>
              <a:avLst/>
              <a:gdLst>
                <a:gd name="T0" fmla="*/ 0 w 234"/>
                <a:gd name="T1" fmla="*/ 0 h 467"/>
                <a:gd name="T2" fmla="*/ 0 w 234"/>
                <a:gd name="T3" fmla="*/ 0 h 467"/>
                <a:gd name="T4" fmla="*/ 1 w 234"/>
                <a:gd name="T5" fmla="*/ 0 h 467"/>
                <a:gd name="T6" fmla="*/ 1 w 234"/>
                <a:gd name="T7" fmla="*/ 0 h 467"/>
                <a:gd name="T8" fmla="*/ 1 w 234"/>
                <a:gd name="T9" fmla="*/ 0 h 467"/>
                <a:gd name="T10" fmla="*/ 1 w 234"/>
                <a:gd name="T11" fmla="*/ 0 h 467"/>
                <a:gd name="T12" fmla="*/ 2 w 234"/>
                <a:gd name="T13" fmla="*/ 0 h 467"/>
                <a:gd name="T14" fmla="*/ 2 w 234"/>
                <a:gd name="T15" fmla="*/ 1 h 467"/>
                <a:gd name="T16" fmla="*/ 2 w 234"/>
                <a:gd name="T17" fmla="*/ 1 h 467"/>
                <a:gd name="T18" fmla="*/ 2 w 234"/>
                <a:gd name="T19" fmla="*/ 1 h 467"/>
                <a:gd name="T20" fmla="*/ 2 w 234"/>
                <a:gd name="T21" fmla="*/ 1 h 467"/>
                <a:gd name="T22" fmla="*/ 3 w 234"/>
                <a:gd name="T23" fmla="*/ 1 h 467"/>
                <a:gd name="T24" fmla="*/ 3 w 234"/>
                <a:gd name="T25" fmla="*/ 1 h 467"/>
                <a:gd name="T26" fmla="*/ 3 w 234"/>
                <a:gd name="T27" fmla="*/ 2 h 467"/>
                <a:gd name="T28" fmla="*/ 3 w 234"/>
                <a:gd name="T29" fmla="*/ 2 h 467"/>
                <a:gd name="T30" fmla="*/ 3 w 234"/>
                <a:gd name="T31" fmla="*/ 2 h 467"/>
                <a:gd name="T32" fmla="*/ 3 w 234"/>
                <a:gd name="T33" fmla="*/ 2 h 467"/>
                <a:gd name="T34" fmla="*/ 3 w 234"/>
                <a:gd name="T35" fmla="*/ 3 h 467"/>
                <a:gd name="T36" fmla="*/ 3 w 234"/>
                <a:gd name="T37" fmla="*/ 3 h 467"/>
                <a:gd name="T38" fmla="*/ 3 w 234"/>
                <a:gd name="T39" fmla="*/ 3 h 467"/>
                <a:gd name="T40" fmla="*/ 3 w 234"/>
                <a:gd name="T41" fmla="*/ 3 h 467"/>
                <a:gd name="T42" fmla="*/ 3 w 234"/>
                <a:gd name="T43" fmla="*/ 3 h 467"/>
                <a:gd name="T44" fmla="*/ 2 w 234"/>
                <a:gd name="T45" fmla="*/ 3 h 467"/>
                <a:gd name="T46" fmla="*/ 2 w 234"/>
                <a:gd name="T47" fmla="*/ 4 h 467"/>
                <a:gd name="T48" fmla="*/ 2 w 234"/>
                <a:gd name="T49" fmla="*/ 4 h 467"/>
                <a:gd name="T50" fmla="*/ 2 w 234"/>
                <a:gd name="T51" fmla="*/ 4 h 467"/>
                <a:gd name="T52" fmla="*/ 2 w 234"/>
                <a:gd name="T53" fmla="*/ 4 h 467"/>
                <a:gd name="T54" fmla="*/ 1 w 234"/>
                <a:gd name="T55" fmla="*/ 4 h 467"/>
                <a:gd name="T56" fmla="*/ 1 w 234"/>
                <a:gd name="T57" fmla="*/ 4 h 467"/>
                <a:gd name="T58" fmla="*/ 1 w 234"/>
                <a:gd name="T59" fmla="*/ 4 h 467"/>
                <a:gd name="T60" fmla="*/ 1 w 234"/>
                <a:gd name="T61" fmla="*/ 4 h 467"/>
                <a:gd name="T62" fmla="*/ 0 w 234"/>
                <a:gd name="T63" fmla="*/ 4 h 467"/>
                <a:gd name="T64" fmla="*/ 0 w 234"/>
                <a:gd name="T65" fmla="*/ 4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path>
              </a:pathLst>
            </a:custGeom>
            <a:solidFill>
              <a:schemeClr val="accent3"/>
            </a:solidFill>
            <a:ln w="3175">
              <a:solidFill>
                <a:schemeClr val="accent3"/>
              </a:solidFill>
              <a:round/>
              <a:headEnd/>
              <a:tailEnd/>
            </a:ln>
          </p:spPr>
          <p:txBody>
            <a:bodyPr/>
            <a:lstStyle/>
            <a:p>
              <a:pPr>
                <a:defRPr/>
              </a:pPr>
              <a:endParaRPr lang="en-GB"/>
            </a:p>
          </p:txBody>
        </p:sp>
        <p:sp>
          <p:nvSpPr>
            <p:cNvPr id="58" name="Freeform 57"/>
            <p:cNvSpPr>
              <a:spLocks noChangeAspect="1"/>
            </p:cNvSpPr>
            <p:nvPr/>
          </p:nvSpPr>
          <p:spPr bwMode="auto">
            <a:xfrm>
              <a:off x="4269" y="1565"/>
              <a:ext cx="80" cy="146"/>
            </a:xfrm>
            <a:custGeom>
              <a:avLst/>
              <a:gdLst>
                <a:gd name="T0" fmla="*/ 3 w 234"/>
                <a:gd name="T1" fmla="*/ 4 h 467"/>
                <a:gd name="T2" fmla="*/ 3 w 234"/>
                <a:gd name="T3" fmla="*/ 4 h 467"/>
                <a:gd name="T4" fmla="*/ 2 w 234"/>
                <a:gd name="T5" fmla="*/ 4 h 467"/>
                <a:gd name="T6" fmla="*/ 2 w 234"/>
                <a:gd name="T7" fmla="*/ 4 h 467"/>
                <a:gd name="T8" fmla="*/ 2 w 234"/>
                <a:gd name="T9" fmla="*/ 4 h 467"/>
                <a:gd name="T10" fmla="*/ 2 w 234"/>
                <a:gd name="T11" fmla="*/ 4 h 467"/>
                <a:gd name="T12" fmla="*/ 1 w 234"/>
                <a:gd name="T13" fmla="*/ 4 h 467"/>
                <a:gd name="T14" fmla="*/ 1 w 234"/>
                <a:gd name="T15" fmla="*/ 4 h 467"/>
                <a:gd name="T16" fmla="*/ 1 w 234"/>
                <a:gd name="T17" fmla="*/ 4 h 467"/>
                <a:gd name="T18" fmla="*/ 1 w 234"/>
                <a:gd name="T19" fmla="*/ 4 h 467"/>
                <a:gd name="T20" fmla="*/ 1 w 234"/>
                <a:gd name="T21" fmla="*/ 3 h 467"/>
                <a:gd name="T22" fmla="*/ 0 w 234"/>
                <a:gd name="T23" fmla="*/ 3 h 467"/>
                <a:gd name="T24" fmla="*/ 0 w 234"/>
                <a:gd name="T25" fmla="*/ 3 h 467"/>
                <a:gd name="T26" fmla="*/ 0 w 234"/>
                <a:gd name="T27" fmla="*/ 3 h 467"/>
                <a:gd name="T28" fmla="*/ 0 w 234"/>
                <a:gd name="T29" fmla="*/ 3 h 467"/>
                <a:gd name="T30" fmla="*/ 0 w 234"/>
                <a:gd name="T31" fmla="*/ 3 h 467"/>
                <a:gd name="T32" fmla="*/ 0 w 234"/>
                <a:gd name="T33" fmla="*/ 2 h 467"/>
                <a:gd name="T34" fmla="*/ 0 w 234"/>
                <a:gd name="T35" fmla="*/ 2 h 467"/>
                <a:gd name="T36" fmla="*/ 0 w 234"/>
                <a:gd name="T37" fmla="*/ 2 h 467"/>
                <a:gd name="T38" fmla="*/ 0 w 234"/>
                <a:gd name="T39" fmla="*/ 2 h 467"/>
                <a:gd name="T40" fmla="*/ 0 w 234"/>
                <a:gd name="T41" fmla="*/ 1 h 467"/>
                <a:gd name="T42" fmla="*/ 0 w 234"/>
                <a:gd name="T43" fmla="*/ 1 h 467"/>
                <a:gd name="T44" fmla="*/ 1 w 234"/>
                <a:gd name="T45" fmla="*/ 1 h 467"/>
                <a:gd name="T46" fmla="*/ 1 w 234"/>
                <a:gd name="T47" fmla="*/ 1 h 467"/>
                <a:gd name="T48" fmla="*/ 1 w 234"/>
                <a:gd name="T49" fmla="*/ 1 h 467"/>
                <a:gd name="T50" fmla="*/ 1 w 234"/>
                <a:gd name="T51" fmla="*/ 1 h 467"/>
                <a:gd name="T52" fmla="*/ 1 w 234"/>
                <a:gd name="T53" fmla="*/ 0 h 467"/>
                <a:gd name="T54" fmla="*/ 2 w 234"/>
                <a:gd name="T55" fmla="*/ 0 h 467"/>
                <a:gd name="T56" fmla="*/ 2 w 234"/>
                <a:gd name="T57" fmla="*/ 0 h 467"/>
                <a:gd name="T58" fmla="*/ 2 w 234"/>
                <a:gd name="T59" fmla="*/ 0 h 467"/>
                <a:gd name="T60" fmla="*/ 2 w 234"/>
                <a:gd name="T61" fmla="*/ 0 h 467"/>
                <a:gd name="T62" fmla="*/ 3 w 234"/>
                <a:gd name="T63" fmla="*/ 0 h 467"/>
                <a:gd name="T64" fmla="*/ 3 w 234"/>
                <a:gd name="T65" fmla="*/ 0 h 467"/>
                <a:gd name="T66" fmla="*/ 3 w 234"/>
                <a:gd name="T67" fmla="*/ 2 h 467"/>
                <a:gd name="T68" fmla="*/ 3 w 234"/>
                <a:gd name="T69" fmla="*/ 4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234" y="467"/>
                  </a:lnTo>
                  <a:close/>
                </a:path>
              </a:pathLst>
            </a:custGeom>
            <a:solidFill>
              <a:srgbClr val="FFFFFF"/>
            </a:solidFill>
            <a:ln w="3175">
              <a:solidFill>
                <a:schemeClr val="accent3"/>
              </a:solidFill>
              <a:round/>
              <a:headEnd/>
              <a:tailEnd/>
            </a:ln>
          </p:spPr>
          <p:txBody>
            <a:bodyPr/>
            <a:lstStyle/>
            <a:p>
              <a:pPr>
                <a:defRPr/>
              </a:pPr>
              <a:endParaRPr lang="en-GB"/>
            </a:p>
          </p:txBody>
        </p:sp>
        <p:sp>
          <p:nvSpPr>
            <p:cNvPr id="59" name="Freeform 58"/>
            <p:cNvSpPr>
              <a:spLocks noChangeAspect="1"/>
            </p:cNvSpPr>
            <p:nvPr/>
          </p:nvSpPr>
          <p:spPr bwMode="auto">
            <a:xfrm>
              <a:off x="4269" y="1565"/>
              <a:ext cx="80" cy="146"/>
            </a:xfrm>
            <a:custGeom>
              <a:avLst/>
              <a:gdLst>
                <a:gd name="T0" fmla="*/ 3 w 234"/>
                <a:gd name="T1" fmla="*/ 4 h 467"/>
                <a:gd name="T2" fmla="*/ 3 w 234"/>
                <a:gd name="T3" fmla="*/ 4 h 467"/>
                <a:gd name="T4" fmla="*/ 2 w 234"/>
                <a:gd name="T5" fmla="*/ 4 h 467"/>
                <a:gd name="T6" fmla="*/ 2 w 234"/>
                <a:gd name="T7" fmla="*/ 4 h 467"/>
                <a:gd name="T8" fmla="*/ 2 w 234"/>
                <a:gd name="T9" fmla="*/ 4 h 467"/>
                <a:gd name="T10" fmla="*/ 2 w 234"/>
                <a:gd name="T11" fmla="*/ 4 h 467"/>
                <a:gd name="T12" fmla="*/ 1 w 234"/>
                <a:gd name="T13" fmla="*/ 4 h 467"/>
                <a:gd name="T14" fmla="*/ 1 w 234"/>
                <a:gd name="T15" fmla="*/ 4 h 467"/>
                <a:gd name="T16" fmla="*/ 1 w 234"/>
                <a:gd name="T17" fmla="*/ 4 h 467"/>
                <a:gd name="T18" fmla="*/ 1 w 234"/>
                <a:gd name="T19" fmla="*/ 4 h 467"/>
                <a:gd name="T20" fmla="*/ 1 w 234"/>
                <a:gd name="T21" fmla="*/ 3 h 467"/>
                <a:gd name="T22" fmla="*/ 0 w 234"/>
                <a:gd name="T23" fmla="*/ 3 h 467"/>
                <a:gd name="T24" fmla="*/ 0 w 234"/>
                <a:gd name="T25" fmla="*/ 3 h 467"/>
                <a:gd name="T26" fmla="*/ 0 w 234"/>
                <a:gd name="T27" fmla="*/ 3 h 467"/>
                <a:gd name="T28" fmla="*/ 0 w 234"/>
                <a:gd name="T29" fmla="*/ 3 h 467"/>
                <a:gd name="T30" fmla="*/ 0 w 234"/>
                <a:gd name="T31" fmla="*/ 3 h 467"/>
                <a:gd name="T32" fmla="*/ 0 w 234"/>
                <a:gd name="T33" fmla="*/ 2 h 467"/>
                <a:gd name="T34" fmla="*/ 0 w 234"/>
                <a:gd name="T35" fmla="*/ 2 h 467"/>
                <a:gd name="T36" fmla="*/ 0 w 234"/>
                <a:gd name="T37" fmla="*/ 2 h 467"/>
                <a:gd name="T38" fmla="*/ 0 w 234"/>
                <a:gd name="T39" fmla="*/ 2 h 467"/>
                <a:gd name="T40" fmla="*/ 0 w 234"/>
                <a:gd name="T41" fmla="*/ 1 h 467"/>
                <a:gd name="T42" fmla="*/ 0 w 234"/>
                <a:gd name="T43" fmla="*/ 1 h 467"/>
                <a:gd name="T44" fmla="*/ 1 w 234"/>
                <a:gd name="T45" fmla="*/ 1 h 467"/>
                <a:gd name="T46" fmla="*/ 1 w 234"/>
                <a:gd name="T47" fmla="*/ 1 h 467"/>
                <a:gd name="T48" fmla="*/ 1 w 234"/>
                <a:gd name="T49" fmla="*/ 1 h 467"/>
                <a:gd name="T50" fmla="*/ 1 w 234"/>
                <a:gd name="T51" fmla="*/ 1 h 467"/>
                <a:gd name="T52" fmla="*/ 1 w 234"/>
                <a:gd name="T53" fmla="*/ 0 h 467"/>
                <a:gd name="T54" fmla="*/ 2 w 234"/>
                <a:gd name="T55" fmla="*/ 0 h 467"/>
                <a:gd name="T56" fmla="*/ 2 w 234"/>
                <a:gd name="T57" fmla="*/ 0 h 467"/>
                <a:gd name="T58" fmla="*/ 2 w 234"/>
                <a:gd name="T59" fmla="*/ 0 h 467"/>
                <a:gd name="T60" fmla="*/ 2 w 234"/>
                <a:gd name="T61" fmla="*/ 0 h 467"/>
                <a:gd name="T62" fmla="*/ 3 w 234"/>
                <a:gd name="T63" fmla="*/ 0 h 467"/>
                <a:gd name="T64" fmla="*/ 3 w 234"/>
                <a:gd name="T65" fmla="*/ 0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3"/>
              </a:solidFill>
              <a:round/>
              <a:headEnd/>
              <a:tailEnd/>
            </a:ln>
          </p:spPr>
          <p:txBody>
            <a:bodyPr/>
            <a:lstStyle/>
            <a:p>
              <a:pPr>
                <a:defRPr/>
              </a:pPr>
              <a:endParaRPr lang="en-GB"/>
            </a:p>
          </p:txBody>
        </p:sp>
      </p:grpSp>
      <p:grpSp>
        <p:nvGrpSpPr>
          <p:cNvPr id="41" name="Group 59"/>
          <p:cNvGrpSpPr>
            <a:grpSpLocks/>
          </p:cNvGrpSpPr>
          <p:nvPr/>
        </p:nvGrpSpPr>
        <p:grpSpPr bwMode="auto">
          <a:xfrm>
            <a:off x="7299325" y="2444750"/>
            <a:ext cx="307975" cy="307975"/>
            <a:chOff x="4981" y="1540"/>
            <a:chExt cx="210" cy="194"/>
          </a:xfrm>
        </p:grpSpPr>
        <p:sp>
          <p:nvSpPr>
            <p:cNvPr id="61" name="Freeform 60"/>
            <p:cNvSpPr>
              <a:spLocks noChangeAspect="1"/>
            </p:cNvSpPr>
            <p:nvPr/>
          </p:nvSpPr>
          <p:spPr bwMode="auto">
            <a:xfrm>
              <a:off x="5086" y="1540"/>
              <a:ext cx="105" cy="194"/>
            </a:xfrm>
            <a:custGeom>
              <a:avLst/>
              <a:gdLst>
                <a:gd name="T0" fmla="*/ 0 w 234"/>
                <a:gd name="T1" fmla="*/ 0 h 467"/>
                <a:gd name="T2" fmla="*/ 1 w 234"/>
                <a:gd name="T3" fmla="*/ 0 h 467"/>
                <a:gd name="T4" fmla="*/ 2 w 234"/>
                <a:gd name="T5" fmla="*/ 0 h 467"/>
                <a:gd name="T6" fmla="*/ 3 w 234"/>
                <a:gd name="T7" fmla="*/ 0 h 467"/>
                <a:gd name="T8" fmla="*/ 4 w 234"/>
                <a:gd name="T9" fmla="*/ 0 h 467"/>
                <a:gd name="T10" fmla="*/ 4 w 234"/>
                <a:gd name="T11" fmla="*/ 1 h 467"/>
                <a:gd name="T12" fmla="*/ 5 w 234"/>
                <a:gd name="T13" fmla="*/ 1 h 467"/>
                <a:gd name="T14" fmla="*/ 6 w 234"/>
                <a:gd name="T15" fmla="*/ 2 h 467"/>
                <a:gd name="T16" fmla="*/ 7 w 234"/>
                <a:gd name="T17" fmla="*/ 2 h 467"/>
                <a:gd name="T18" fmla="*/ 7 w 234"/>
                <a:gd name="T19" fmla="*/ 2 h 467"/>
                <a:gd name="T20" fmla="*/ 8 w 234"/>
                <a:gd name="T21" fmla="*/ 3 h 467"/>
                <a:gd name="T22" fmla="*/ 8 w 234"/>
                <a:gd name="T23" fmla="*/ 4 h 467"/>
                <a:gd name="T24" fmla="*/ 9 w 234"/>
                <a:gd name="T25" fmla="*/ 4 h 467"/>
                <a:gd name="T26" fmla="*/ 9 w 234"/>
                <a:gd name="T27" fmla="*/ 5 h 467"/>
                <a:gd name="T28" fmla="*/ 9 w 234"/>
                <a:gd name="T29" fmla="*/ 5 h 467"/>
                <a:gd name="T30" fmla="*/ 9 w 234"/>
                <a:gd name="T31" fmla="*/ 6 h 467"/>
                <a:gd name="T32" fmla="*/ 9 w 234"/>
                <a:gd name="T33" fmla="*/ 7 h 467"/>
                <a:gd name="T34" fmla="*/ 9 w 234"/>
                <a:gd name="T35" fmla="*/ 7 h 467"/>
                <a:gd name="T36" fmla="*/ 9 w 234"/>
                <a:gd name="T37" fmla="*/ 8 h 467"/>
                <a:gd name="T38" fmla="*/ 9 w 234"/>
                <a:gd name="T39" fmla="*/ 9 h 467"/>
                <a:gd name="T40" fmla="*/ 9 w 234"/>
                <a:gd name="T41" fmla="*/ 10 h 467"/>
                <a:gd name="T42" fmla="*/ 8 w 234"/>
                <a:gd name="T43" fmla="*/ 10 h 467"/>
                <a:gd name="T44" fmla="*/ 8 w 234"/>
                <a:gd name="T45" fmla="*/ 11 h 467"/>
                <a:gd name="T46" fmla="*/ 7 w 234"/>
                <a:gd name="T47" fmla="*/ 11 h 467"/>
                <a:gd name="T48" fmla="*/ 7 w 234"/>
                <a:gd name="T49" fmla="*/ 12 h 467"/>
                <a:gd name="T50" fmla="*/ 6 w 234"/>
                <a:gd name="T51" fmla="*/ 12 h 467"/>
                <a:gd name="T52" fmla="*/ 5 w 234"/>
                <a:gd name="T53" fmla="*/ 13 h 467"/>
                <a:gd name="T54" fmla="*/ 4 w 234"/>
                <a:gd name="T55" fmla="*/ 13 h 467"/>
                <a:gd name="T56" fmla="*/ 4 w 234"/>
                <a:gd name="T57" fmla="*/ 13 h 467"/>
                <a:gd name="T58" fmla="*/ 3 w 234"/>
                <a:gd name="T59" fmla="*/ 14 h 467"/>
                <a:gd name="T60" fmla="*/ 2 w 234"/>
                <a:gd name="T61" fmla="*/ 14 h 467"/>
                <a:gd name="T62" fmla="*/ 1 w 234"/>
                <a:gd name="T63" fmla="*/ 14 h 467"/>
                <a:gd name="T64" fmla="*/ 0 w 234"/>
                <a:gd name="T65" fmla="*/ 14 h 467"/>
                <a:gd name="T66" fmla="*/ 0 w 234"/>
                <a:gd name="T67" fmla="*/ 7 h 467"/>
                <a:gd name="T68" fmla="*/ 0 w 234"/>
                <a:gd name="T69" fmla="*/ 0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lnTo>
                    <a:pt x="0" y="233"/>
                  </a:lnTo>
                  <a:lnTo>
                    <a:pt x="0" y="0"/>
                  </a:lnTo>
                  <a:close/>
                </a:path>
              </a:pathLst>
            </a:custGeom>
            <a:solidFill>
              <a:srgbClr val="80CCCC"/>
            </a:solidFill>
            <a:ln w="3175">
              <a:solidFill>
                <a:schemeClr val="accent3"/>
              </a:solidFill>
              <a:round/>
              <a:headEnd/>
              <a:tailEnd/>
            </a:ln>
          </p:spPr>
          <p:txBody>
            <a:bodyPr/>
            <a:lstStyle/>
            <a:p>
              <a:pPr>
                <a:defRPr/>
              </a:pPr>
              <a:endParaRPr lang="en-GB"/>
            </a:p>
          </p:txBody>
        </p:sp>
        <p:sp>
          <p:nvSpPr>
            <p:cNvPr id="62" name="Freeform 61"/>
            <p:cNvSpPr>
              <a:spLocks noChangeAspect="1"/>
            </p:cNvSpPr>
            <p:nvPr/>
          </p:nvSpPr>
          <p:spPr bwMode="auto">
            <a:xfrm>
              <a:off x="5086" y="1540"/>
              <a:ext cx="105" cy="194"/>
            </a:xfrm>
            <a:custGeom>
              <a:avLst/>
              <a:gdLst>
                <a:gd name="T0" fmla="*/ 0 w 234"/>
                <a:gd name="T1" fmla="*/ 0 h 467"/>
                <a:gd name="T2" fmla="*/ 1 w 234"/>
                <a:gd name="T3" fmla="*/ 0 h 467"/>
                <a:gd name="T4" fmla="*/ 2 w 234"/>
                <a:gd name="T5" fmla="*/ 0 h 467"/>
                <a:gd name="T6" fmla="*/ 3 w 234"/>
                <a:gd name="T7" fmla="*/ 0 h 467"/>
                <a:gd name="T8" fmla="*/ 4 w 234"/>
                <a:gd name="T9" fmla="*/ 0 h 467"/>
                <a:gd name="T10" fmla="*/ 4 w 234"/>
                <a:gd name="T11" fmla="*/ 1 h 467"/>
                <a:gd name="T12" fmla="*/ 5 w 234"/>
                <a:gd name="T13" fmla="*/ 1 h 467"/>
                <a:gd name="T14" fmla="*/ 6 w 234"/>
                <a:gd name="T15" fmla="*/ 2 h 467"/>
                <a:gd name="T16" fmla="*/ 7 w 234"/>
                <a:gd name="T17" fmla="*/ 2 h 467"/>
                <a:gd name="T18" fmla="*/ 7 w 234"/>
                <a:gd name="T19" fmla="*/ 2 h 467"/>
                <a:gd name="T20" fmla="*/ 8 w 234"/>
                <a:gd name="T21" fmla="*/ 3 h 467"/>
                <a:gd name="T22" fmla="*/ 8 w 234"/>
                <a:gd name="T23" fmla="*/ 4 h 467"/>
                <a:gd name="T24" fmla="*/ 9 w 234"/>
                <a:gd name="T25" fmla="*/ 4 h 467"/>
                <a:gd name="T26" fmla="*/ 9 w 234"/>
                <a:gd name="T27" fmla="*/ 5 h 467"/>
                <a:gd name="T28" fmla="*/ 9 w 234"/>
                <a:gd name="T29" fmla="*/ 5 h 467"/>
                <a:gd name="T30" fmla="*/ 9 w 234"/>
                <a:gd name="T31" fmla="*/ 6 h 467"/>
                <a:gd name="T32" fmla="*/ 9 w 234"/>
                <a:gd name="T33" fmla="*/ 7 h 467"/>
                <a:gd name="T34" fmla="*/ 9 w 234"/>
                <a:gd name="T35" fmla="*/ 7 h 467"/>
                <a:gd name="T36" fmla="*/ 9 w 234"/>
                <a:gd name="T37" fmla="*/ 8 h 467"/>
                <a:gd name="T38" fmla="*/ 9 w 234"/>
                <a:gd name="T39" fmla="*/ 9 h 467"/>
                <a:gd name="T40" fmla="*/ 9 w 234"/>
                <a:gd name="T41" fmla="*/ 10 h 467"/>
                <a:gd name="T42" fmla="*/ 8 w 234"/>
                <a:gd name="T43" fmla="*/ 10 h 467"/>
                <a:gd name="T44" fmla="*/ 8 w 234"/>
                <a:gd name="T45" fmla="*/ 11 h 467"/>
                <a:gd name="T46" fmla="*/ 7 w 234"/>
                <a:gd name="T47" fmla="*/ 11 h 467"/>
                <a:gd name="T48" fmla="*/ 7 w 234"/>
                <a:gd name="T49" fmla="*/ 12 h 467"/>
                <a:gd name="T50" fmla="*/ 6 w 234"/>
                <a:gd name="T51" fmla="*/ 12 h 467"/>
                <a:gd name="T52" fmla="*/ 5 w 234"/>
                <a:gd name="T53" fmla="*/ 13 h 467"/>
                <a:gd name="T54" fmla="*/ 4 w 234"/>
                <a:gd name="T55" fmla="*/ 13 h 467"/>
                <a:gd name="T56" fmla="*/ 4 w 234"/>
                <a:gd name="T57" fmla="*/ 13 h 467"/>
                <a:gd name="T58" fmla="*/ 3 w 234"/>
                <a:gd name="T59" fmla="*/ 14 h 467"/>
                <a:gd name="T60" fmla="*/ 2 w 234"/>
                <a:gd name="T61" fmla="*/ 14 h 467"/>
                <a:gd name="T62" fmla="*/ 1 w 234"/>
                <a:gd name="T63" fmla="*/ 14 h 467"/>
                <a:gd name="T64" fmla="*/ 0 w 234"/>
                <a:gd name="T65" fmla="*/ 14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path>
              </a:pathLst>
            </a:custGeom>
            <a:solidFill>
              <a:schemeClr val="accent3"/>
            </a:solidFill>
            <a:ln w="3175">
              <a:solidFill>
                <a:schemeClr val="accent3"/>
              </a:solidFill>
              <a:round/>
              <a:headEnd/>
              <a:tailEnd/>
            </a:ln>
          </p:spPr>
          <p:txBody>
            <a:bodyPr/>
            <a:lstStyle/>
            <a:p>
              <a:pPr>
                <a:defRPr/>
              </a:pPr>
              <a:endParaRPr lang="en-GB"/>
            </a:p>
          </p:txBody>
        </p:sp>
        <p:sp>
          <p:nvSpPr>
            <p:cNvPr id="63" name="Freeform 62"/>
            <p:cNvSpPr>
              <a:spLocks noChangeAspect="1"/>
            </p:cNvSpPr>
            <p:nvPr/>
          </p:nvSpPr>
          <p:spPr bwMode="auto">
            <a:xfrm>
              <a:off x="4981" y="1540"/>
              <a:ext cx="105" cy="194"/>
            </a:xfrm>
            <a:custGeom>
              <a:avLst/>
              <a:gdLst>
                <a:gd name="T0" fmla="*/ 9 w 234"/>
                <a:gd name="T1" fmla="*/ 14 h 467"/>
                <a:gd name="T2" fmla="*/ 9 w 234"/>
                <a:gd name="T3" fmla="*/ 14 h 467"/>
                <a:gd name="T4" fmla="*/ 8 w 234"/>
                <a:gd name="T5" fmla="*/ 14 h 467"/>
                <a:gd name="T6" fmla="*/ 7 w 234"/>
                <a:gd name="T7" fmla="*/ 14 h 467"/>
                <a:gd name="T8" fmla="*/ 6 w 234"/>
                <a:gd name="T9" fmla="*/ 13 h 467"/>
                <a:gd name="T10" fmla="*/ 5 w 234"/>
                <a:gd name="T11" fmla="*/ 13 h 467"/>
                <a:gd name="T12" fmla="*/ 4 w 234"/>
                <a:gd name="T13" fmla="*/ 13 h 467"/>
                <a:gd name="T14" fmla="*/ 4 w 234"/>
                <a:gd name="T15" fmla="*/ 12 h 467"/>
                <a:gd name="T16" fmla="*/ 3 w 234"/>
                <a:gd name="T17" fmla="*/ 12 h 467"/>
                <a:gd name="T18" fmla="*/ 2 w 234"/>
                <a:gd name="T19" fmla="*/ 11 h 467"/>
                <a:gd name="T20" fmla="*/ 2 w 234"/>
                <a:gd name="T21" fmla="*/ 11 h 467"/>
                <a:gd name="T22" fmla="*/ 1 w 234"/>
                <a:gd name="T23" fmla="*/ 10 h 467"/>
                <a:gd name="T24" fmla="*/ 1 w 234"/>
                <a:gd name="T25" fmla="*/ 10 h 467"/>
                <a:gd name="T26" fmla="*/ 0 w 234"/>
                <a:gd name="T27" fmla="*/ 9 h 467"/>
                <a:gd name="T28" fmla="*/ 0 w 234"/>
                <a:gd name="T29" fmla="*/ 8 h 467"/>
                <a:gd name="T30" fmla="*/ 0 w 234"/>
                <a:gd name="T31" fmla="*/ 7 h 467"/>
                <a:gd name="T32" fmla="*/ 0 w 234"/>
                <a:gd name="T33" fmla="*/ 7 h 467"/>
                <a:gd name="T34" fmla="*/ 0 w 234"/>
                <a:gd name="T35" fmla="*/ 6 h 467"/>
                <a:gd name="T36" fmla="*/ 0 w 234"/>
                <a:gd name="T37" fmla="*/ 5 h 467"/>
                <a:gd name="T38" fmla="*/ 0 w 234"/>
                <a:gd name="T39" fmla="*/ 5 h 467"/>
                <a:gd name="T40" fmla="*/ 1 w 234"/>
                <a:gd name="T41" fmla="*/ 4 h 467"/>
                <a:gd name="T42" fmla="*/ 1 w 234"/>
                <a:gd name="T43" fmla="*/ 4 h 467"/>
                <a:gd name="T44" fmla="*/ 2 w 234"/>
                <a:gd name="T45" fmla="*/ 3 h 467"/>
                <a:gd name="T46" fmla="*/ 2 w 234"/>
                <a:gd name="T47" fmla="*/ 2 h 467"/>
                <a:gd name="T48" fmla="*/ 3 w 234"/>
                <a:gd name="T49" fmla="*/ 2 h 467"/>
                <a:gd name="T50" fmla="*/ 4 w 234"/>
                <a:gd name="T51" fmla="*/ 2 h 467"/>
                <a:gd name="T52" fmla="*/ 4 w 234"/>
                <a:gd name="T53" fmla="*/ 1 h 467"/>
                <a:gd name="T54" fmla="*/ 5 w 234"/>
                <a:gd name="T55" fmla="*/ 1 h 467"/>
                <a:gd name="T56" fmla="*/ 6 w 234"/>
                <a:gd name="T57" fmla="*/ 0 h 467"/>
                <a:gd name="T58" fmla="*/ 7 w 234"/>
                <a:gd name="T59" fmla="*/ 0 h 467"/>
                <a:gd name="T60" fmla="*/ 8 w 234"/>
                <a:gd name="T61" fmla="*/ 0 h 467"/>
                <a:gd name="T62" fmla="*/ 9 w 234"/>
                <a:gd name="T63" fmla="*/ 0 h 467"/>
                <a:gd name="T64" fmla="*/ 9 w 234"/>
                <a:gd name="T65" fmla="*/ 0 h 467"/>
                <a:gd name="T66" fmla="*/ 9 w 234"/>
                <a:gd name="T67" fmla="*/ 7 h 467"/>
                <a:gd name="T68" fmla="*/ 9 w 234"/>
                <a:gd name="T69" fmla="*/ 14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234" y="467"/>
                  </a:lnTo>
                  <a:close/>
                </a:path>
              </a:pathLst>
            </a:custGeom>
            <a:solidFill>
              <a:srgbClr val="FFFFFF"/>
            </a:solidFill>
            <a:ln w="3175">
              <a:solidFill>
                <a:schemeClr val="accent3"/>
              </a:solidFill>
              <a:round/>
              <a:headEnd/>
              <a:tailEnd/>
            </a:ln>
          </p:spPr>
          <p:txBody>
            <a:bodyPr/>
            <a:lstStyle/>
            <a:p>
              <a:pPr>
                <a:defRPr/>
              </a:pPr>
              <a:endParaRPr lang="en-GB"/>
            </a:p>
          </p:txBody>
        </p:sp>
        <p:sp>
          <p:nvSpPr>
            <p:cNvPr id="64" name="Freeform 63"/>
            <p:cNvSpPr>
              <a:spLocks noChangeAspect="1"/>
            </p:cNvSpPr>
            <p:nvPr/>
          </p:nvSpPr>
          <p:spPr bwMode="auto">
            <a:xfrm>
              <a:off x="4981" y="1540"/>
              <a:ext cx="105" cy="194"/>
            </a:xfrm>
            <a:custGeom>
              <a:avLst/>
              <a:gdLst>
                <a:gd name="T0" fmla="*/ 9 w 234"/>
                <a:gd name="T1" fmla="*/ 14 h 467"/>
                <a:gd name="T2" fmla="*/ 9 w 234"/>
                <a:gd name="T3" fmla="*/ 14 h 467"/>
                <a:gd name="T4" fmla="*/ 8 w 234"/>
                <a:gd name="T5" fmla="*/ 14 h 467"/>
                <a:gd name="T6" fmla="*/ 7 w 234"/>
                <a:gd name="T7" fmla="*/ 14 h 467"/>
                <a:gd name="T8" fmla="*/ 6 w 234"/>
                <a:gd name="T9" fmla="*/ 13 h 467"/>
                <a:gd name="T10" fmla="*/ 5 w 234"/>
                <a:gd name="T11" fmla="*/ 13 h 467"/>
                <a:gd name="T12" fmla="*/ 4 w 234"/>
                <a:gd name="T13" fmla="*/ 13 h 467"/>
                <a:gd name="T14" fmla="*/ 4 w 234"/>
                <a:gd name="T15" fmla="*/ 12 h 467"/>
                <a:gd name="T16" fmla="*/ 3 w 234"/>
                <a:gd name="T17" fmla="*/ 12 h 467"/>
                <a:gd name="T18" fmla="*/ 2 w 234"/>
                <a:gd name="T19" fmla="*/ 11 h 467"/>
                <a:gd name="T20" fmla="*/ 2 w 234"/>
                <a:gd name="T21" fmla="*/ 11 h 467"/>
                <a:gd name="T22" fmla="*/ 1 w 234"/>
                <a:gd name="T23" fmla="*/ 10 h 467"/>
                <a:gd name="T24" fmla="*/ 1 w 234"/>
                <a:gd name="T25" fmla="*/ 10 h 467"/>
                <a:gd name="T26" fmla="*/ 0 w 234"/>
                <a:gd name="T27" fmla="*/ 9 h 467"/>
                <a:gd name="T28" fmla="*/ 0 w 234"/>
                <a:gd name="T29" fmla="*/ 8 h 467"/>
                <a:gd name="T30" fmla="*/ 0 w 234"/>
                <a:gd name="T31" fmla="*/ 7 h 467"/>
                <a:gd name="T32" fmla="*/ 0 w 234"/>
                <a:gd name="T33" fmla="*/ 7 h 467"/>
                <a:gd name="T34" fmla="*/ 0 w 234"/>
                <a:gd name="T35" fmla="*/ 6 h 467"/>
                <a:gd name="T36" fmla="*/ 0 w 234"/>
                <a:gd name="T37" fmla="*/ 5 h 467"/>
                <a:gd name="T38" fmla="*/ 0 w 234"/>
                <a:gd name="T39" fmla="*/ 5 h 467"/>
                <a:gd name="T40" fmla="*/ 1 w 234"/>
                <a:gd name="T41" fmla="*/ 4 h 467"/>
                <a:gd name="T42" fmla="*/ 1 w 234"/>
                <a:gd name="T43" fmla="*/ 4 h 467"/>
                <a:gd name="T44" fmla="*/ 2 w 234"/>
                <a:gd name="T45" fmla="*/ 3 h 467"/>
                <a:gd name="T46" fmla="*/ 2 w 234"/>
                <a:gd name="T47" fmla="*/ 2 h 467"/>
                <a:gd name="T48" fmla="*/ 3 w 234"/>
                <a:gd name="T49" fmla="*/ 2 h 467"/>
                <a:gd name="T50" fmla="*/ 4 w 234"/>
                <a:gd name="T51" fmla="*/ 2 h 467"/>
                <a:gd name="T52" fmla="*/ 4 w 234"/>
                <a:gd name="T53" fmla="*/ 1 h 467"/>
                <a:gd name="T54" fmla="*/ 5 w 234"/>
                <a:gd name="T55" fmla="*/ 1 h 467"/>
                <a:gd name="T56" fmla="*/ 6 w 234"/>
                <a:gd name="T57" fmla="*/ 0 h 467"/>
                <a:gd name="T58" fmla="*/ 7 w 234"/>
                <a:gd name="T59" fmla="*/ 0 h 467"/>
                <a:gd name="T60" fmla="*/ 8 w 234"/>
                <a:gd name="T61" fmla="*/ 0 h 467"/>
                <a:gd name="T62" fmla="*/ 9 w 234"/>
                <a:gd name="T63" fmla="*/ 0 h 467"/>
                <a:gd name="T64" fmla="*/ 9 w 234"/>
                <a:gd name="T65" fmla="*/ 0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3"/>
              </a:solidFill>
              <a:round/>
              <a:headEnd/>
              <a:tailEnd/>
            </a:ln>
          </p:spPr>
          <p:txBody>
            <a:bodyPr/>
            <a:lstStyle/>
            <a:p>
              <a:pPr>
                <a:defRPr/>
              </a:pPr>
              <a:endParaRPr lang="en-GB"/>
            </a:p>
          </p:txBody>
        </p:sp>
      </p:grpSp>
      <p:sp>
        <p:nvSpPr>
          <p:cNvPr id="794642" name="Text Box 64"/>
          <p:cNvSpPr txBox="1">
            <a:spLocks noChangeArrowheads="1"/>
          </p:cNvSpPr>
          <p:nvPr/>
        </p:nvSpPr>
        <p:spPr bwMode="auto">
          <a:xfrm>
            <a:off x="1514475" y="2520950"/>
            <a:ext cx="149225" cy="215900"/>
          </a:xfrm>
          <a:prstGeom prst="rect">
            <a:avLst/>
          </a:prstGeom>
          <a:noFill/>
          <a:ln w="9525">
            <a:noFill/>
            <a:miter lim="800000"/>
            <a:headEnd/>
            <a:tailEnd/>
          </a:ln>
        </p:spPr>
        <p:txBody>
          <a:bodyPr wrap="none" lIns="0" tIns="0" rIns="0" bIns="0">
            <a:spAutoFit/>
          </a:bodyPr>
          <a:lstStyle/>
          <a:p>
            <a:pPr algn="ctr"/>
            <a:r>
              <a:rPr lang="en-GB" altLang="ja-JP" sz="1400">
                <a:solidFill>
                  <a:schemeClr val="tx2"/>
                </a:solidFill>
                <a:ea typeface="ＭＳ Ｐゴシック" charset="-128"/>
              </a:rPr>
              <a:t>½</a:t>
            </a:r>
          </a:p>
        </p:txBody>
      </p:sp>
      <p:grpSp>
        <p:nvGrpSpPr>
          <p:cNvPr id="50" name="Group 65"/>
          <p:cNvGrpSpPr>
            <a:grpSpLocks/>
          </p:cNvGrpSpPr>
          <p:nvPr/>
        </p:nvGrpSpPr>
        <p:grpSpPr bwMode="auto">
          <a:xfrm>
            <a:off x="3360738" y="2541588"/>
            <a:ext cx="115887" cy="115887"/>
            <a:chOff x="2293" y="1601"/>
            <a:chExt cx="80" cy="73"/>
          </a:xfrm>
        </p:grpSpPr>
        <p:sp>
          <p:nvSpPr>
            <p:cNvPr id="67" name="Freeform 66"/>
            <p:cNvSpPr>
              <a:spLocks noChangeAspect="1"/>
            </p:cNvSpPr>
            <p:nvPr/>
          </p:nvSpPr>
          <p:spPr bwMode="auto">
            <a:xfrm>
              <a:off x="2334" y="1601"/>
              <a:ext cx="39" cy="73"/>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0 w 234"/>
                <a:gd name="T65" fmla="*/ 0 h 467"/>
                <a:gd name="T66" fmla="*/ 0 w 234"/>
                <a:gd name="T67" fmla="*/ 0 h 467"/>
                <a:gd name="T68" fmla="*/ 0 w 234"/>
                <a:gd name="T69" fmla="*/ 0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lnTo>
                    <a:pt x="0" y="233"/>
                  </a:lnTo>
                  <a:lnTo>
                    <a:pt x="0" y="0"/>
                  </a:lnTo>
                  <a:close/>
                </a:path>
              </a:pathLst>
            </a:custGeom>
            <a:solidFill>
              <a:schemeClr val="tx1"/>
            </a:solidFill>
            <a:ln w="3175">
              <a:solidFill>
                <a:schemeClr val="accent3"/>
              </a:solidFill>
              <a:round/>
              <a:headEnd/>
              <a:tailEnd/>
            </a:ln>
          </p:spPr>
          <p:txBody>
            <a:bodyPr/>
            <a:lstStyle/>
            <a:p>
              <a:pPr>
                <a:defRPr/>
              </a:pPr>
              <a:endParaRPr lang="en-GB"/>
            </a:p>
          </p:txBody>
        </p:sp>
        <p:sp>
          <p:nvSpPr>
            <p:cNvPr id="68" name="Freeform 67"/>
            <p:cNvSpPr>
              <a:spLocks noChangeAspect="1"/>
            </p:cNvSpPr>
            <p:nvPr/>
          </p:nvSpPr>
          <p:spPr bwMode="auto">
            <a:xfrm>
              <a:off x="2334" y="1601"/>
              <a:ext cx="39" cy="73"/>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0 w 234"/>
                <a:gd name="T65" fmla="*/ 0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path>
              </a:pathLst>
            </a:custGeom>
            <a:solidFill>
              <a:schemeClr val="accent3"/>
            </a:solidFill>
            <a:ln w="3175">
              <a:solidFill>
                <a:schemeClr val="accent3"/>
              </a:solidFill>
              <a:round/>
              <a:headEnd/>
              <a:tailEnd/>
            </a:ln>
          </p:spPr>
          <p:txBody>
            <a:bodyPr/>
            <a:lstStyle/>
            <a:p>
              <a:pPr>
                <a:defRPr/>
              </a:pPr>
              <a:endParaRPr lang="en-GB"/>
            </a:p>
          </p:txBody>
        </p:sp>
        <p:sp>
          <p:nvSpPr>
            <p:cNvPr id="69" name="Freeform 68"/>
            <p:cNvSpPr>
              <a:spLocks noChangeAspect="1"/>
            </p:cNvSpPr>
            <p:nvPr/>
          </p:nvSpPr>
          <p:spPr bwMode="auto">
            <a:xfrm>
              <a:off x="2293" y="1601"/>
              <a:ext cx="41" cy="73"/>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0 w 234"/>
                <a:gd name="T65" fmla="*/ 0 h 467"/>
                <a:gd name="T66" fmla="*/ 0 w 234"/>
                <a:gd name="T67" fmla="*/ 0 h 467"/>
                <a:gd name="T68" fmla="*/ 0 w 234"/>
                <a:gd name="T69" fmla="*/ 0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234" y="467"/>
                  </a:lnTo>
                  <a:close/>
                </a:path>
              </a:pathLst>
            </a:custGeom>
            <a:solidFill>
              <a:schemeClr val="accent1"/>
            </a:solidFill>
            <a:ln w="3175">
              <a:solidFill>
                <a:schemeClr val="accent3"/>
              </a:solidFill>
              <a:round/>
              <a:headEnd/>
              <a:tailEnd/>
            </a:ln>
          </p:spPr>
          <p:txBody>
            <a:bodyPr/>
            <a:lstStyle/>
            <a:p>
              <a:pPr>
                <a:defRPr/>
              </a:pPr>
              <a:endParaRPr lang="en-GB"/>
            </a:p>
          </p:txBody>
        </p:sp>
        <p:sp>
          <p:nvSpPr>
            <p:cNvPr id="70" name="Freeform 69"/>
            <p:cNvSpPr>
              <a:spLocks noChangeAspect="1"/>
            </p:cNvSpPr>
            <p:nvPr/>
          </p:nvSpPr>
          <p:spPr bwMode="auto">
            <a:xfrm>
              <a:off x="2293" y="1601"/>
              <a:ext cx="41" cy="73"/>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0 w 234"/>
                <a:gd name="T65" fmla="*/ 0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solidFill>
              <a:schemeClr val="bg1"/>
            </a:solidFill>
            <a:ln w="3175">
              <a:solidFill>
                <a:schemeClr val="accent3"/>
              </a:solidFill>
              <a:round/>
              <a:headEnd/>
              <a:tailEnd/>
            </a:ln>
          </p:spPr>
          <p:txBody>
            <a:bodyPr/>
            <a:lstStyle/>
            <a:p>
              <a:pPr>
                <a:defRPr/>
              </a:pPr>
              <a:endParaRPr lang="en-GB"/>
            </a:p>
          </p:txBody>
        </p:sp>
      </p:grpSp>
      <p:grpSp>
        <p:nvGrpSpPr>
          <p:cNvPr id="55" name="Group 70"/>
          <p:cNvGrpSpPr>
            <a:grpSpLocks/>
          </p:cNvGrpSpPr>
          <p:nvPr/>
        </p:nvGrpSpPr>
        <p:grpSpPr bwMode="auto">
          <a:xfrm>
            <a:off x="5251450" y="2501900"/>
            <a:ext cx="193675" cy="193675"/>
            <a:chOff x="3584" y="1576"/>
            <a:chExt cx="132" cy="122"/>
          </a:xfrm>
        </p:grpSpPr>
        <p:sp>
          <p:nvSpPr>
            <p:cNvPr id="72" name="Freeform 71"/>
            <p:cNvSpPr>
              <a:spLocks noChangeAspect="1"/>
            </p:cNvSpPr>
            <p:nvPr/>
          </p:nvSpPr>
          <p:spPr bwMode="auto">
            <a:xfrm>
              <a:off x="3650" y="1576"/>
              <a:ext cx="66" cy="122"/>
            </a:xfrm>
            <a:custGeom>
              <a:avLst/>
              <a:gdLst>
                <a:gd name="T0" fmla="*/ 0 w 234"/>
                <a:gd name="T1" fmla="*/ 0 h 467"/>
                <a:gd name="T2" fmla="*/ 0 w 234"/>
                <a:gd name="T3" fmla="*/ 0 h 467"/>
                <a:gd name="T4" fmla="*/ 0 w 234"/>
                <a:gd name="T5" fmla="*/ 0 h 467"/>
                <a:gd name="T6" fmla="*/ 1 w 234"/>
                <a:gd name="T7" fmla="*/ 0 h 467"/>
                <a:gd name="T8" fmla="*/ 1 w 234"/>
                <a:gd name="T9" fmla="*/ 0 h 467"/>
                <a:gd name="T10" fmla="*/ 1 w 234"/>
                <a:gd name="T11" fmla="*/ 0 h 467"/>
                <a:gd name="T12" fmla="*/ 1 w 234"/>
                <a:gd name="T13" fmla="*/ 0 h 467"/>
                <a:gd name="T14" fmla="*/ 1 w 234"/>
                <a:gd name="T15" fmla="*/ 0 h 467"/>
                <a:gd name="T16" fmla="*/ 1 w 234"/>
                <a:gd name="T17" fmla="*/ 0 h 467"/>
                <a:gd name="T18" fmla="*/ 1 w 234"/>
                <a:gd name="T19" fmla="*/ 1 h 467"/>
                <a:gd name="T20" fmla="*/ 1 w 234"/>
                <a:gd name="T21" fmla="*/ 1 h 467"/>
                <a:gd name="T22" fmla="*/ 1 w 234"/>
                <a:gd name="T23" fmla="*/ 1 h 467"/>
                <a:gd name="T24" fmla="*/ 1 w 234"/>
                <a:gd name="T25" fmla="*/ 1 h 467"/>
                <a:gd name="T26" fmla="*/ 1 w 234"/>
                <a:gd name="T27" fmla="*/ 1 h 467"/>
                <a:gd name="T28" fmla="*/ 1 w 234"/>
                <a:gd name="T29" fmla="*/ 1 h 467"/>
                <a:gd name="T30" fmla="*/ 1 w 234"/>
                <a:gd name="T31" fmla="*/ 1 h 467"/>
                <a:gd name="T32" fmla="*/ 1 w 234"/>
                <a:gd name="T33" fmla="*/ 1 h 467"/>
                <a:gd name="T34" fmla="*/ 1 w 234"/>
                <a:gd name="T35" fmla="*/ 1 h 467"/>
                <a:gd name="T36" fmla="*/ 1 w 234"/>
                <a:gd name="T37" fmla="*/ 1 h 467"/>
                <a:gd name="T38" fmla="*/ 1 w 234"/>
                <a:gd name="T39" fmla="*/ 1 h 467"/>
                <a:gd name="T40" fmla="*/ 1 w 234"/>
                <a:gd name="T41" fmla="*/ 2 h 467"/>
                <a:gd name="T42" fmla="*/ 1 w 234"/>
                <a:gd name="T43" fmla="*/ 2 h 467"/>
                <a:gd name="T44" fmla="*/ 1 w 234"/>
                <a:gd name="T45" fmla="*/ 2 h 467"/>
                <a:gd name="T46" fmla="*/ 1 w 234"/>
                <a:gd name="T47" fmla="*/ 2 h 467"/>
                <a:gd name="T48" fmla="*/ 1 w 234"/>
                <a:gd name="T49" fmla="*/ 2 h 467"/>
                <a:gd name="T50" fmla="*/ 1 w 234"/>
                <a:gd name="T51" fmla="*/ 2 h 467"/>
                <a:gd name="T52" fmla="*/ 1 w 234"/>
                <a:gd name="T53" fmla="*/ 2 h 467"/>
                <a:gd name="T54" fmla="*/ 1 w 234"/>
                <a:gd name="T55" fmla="*/ 2 h 467"/>
                <a:gd name="T56" fmla="*/ 1 w 234"/>
                <a:gd name="T57" fmla="*/ 2 h 467"/>
                <a:gd name="T58" fmla="*/ 1 w 234"/>
                <a:gd name="T59" fmla="*/ 2 h 467"/>
                <a:gd name="T60" fmla="*/ 0 w 234"/>
                <a:gd name="T61" fmla="*/ 2 h 467"/>
                <a:gd name="T62" fmla="*/ 0 w 234"/>
                <a:gd name="T63" fmla="*/ 2 h 467"/>
                <a:gd name="T64" fmla="*/ 0 w 234"/>
                <a:gd name="T65" fmla="*/ 2 h 467"/>
                <a:gd name="T66" fmla="*/ 0 w 234"/>
                <a:gd name="T67" fmla="*/ 1 h 467"/>
                <a:gd name="T68" fmla="*/ 0 w 234"/>
                <a:gd name="T69" fmla="*/ 0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lnTo>
                    <a:pt x="0" y="233"/>
                  </a:lnTo>
                  <a:lnTo>
                    <a:pt x="0" y="0"/>
                  </a:lnTo>
                  <a:close/>
                </a:path>
              </a:pathLst>
            </a:custGeom>
            <a:solidFill>
              <a:schemeClr val="tx1"/>
            </a:solidFill>
            <a:ln w="3175">
              <a:solidFill>
                <a:schemeClr val="accent3"/>
              </a:solidFill>
              <a:round/>
              <a:headEnd/>
              <a:tailEnd/>
            </a:ln>
          </p:spPr>
          <p:txBody>
            <a:bodyPr/>
            <a:lstStyle/>
            <a:p>
              <a:pPr>
                <a:defRPr/>
              </a:pPr>
              <a:endParaRPr lang="en-GB"/>
            </a:p>
          </p:txBody>
        </p:sp>
        <p:sp>
          <p:nvSpPr>
            <p:cNvPr id="73" name="Freeform 72"/>
            <p:cNvSpPr>
              <a:spLocks noChangeAspect="1"/>
            </p:cNvSpPr>
            <p:nvPr/>
          </p:nvSpPr>
          <p:spPr bwMode="auto">
            <a:xfrm>
              <a:off x="3650" y="1576"/>
              <a:ext cx="66" cy="122"/>
            </a:xfrm>
            <a:custGeom>
              <a:avLst/>
              <a:gdLst>
                <a:gd name="T0" fmla="*/ 0 w 234"/>
                <a:gd name="T1" fmla="*/ 0 h 467"/>
                <a:gd name="T2" fmla="*/ 0 w 234"/>
                <a:gd name="T3" fmla="*/ 0 h 467"/>
                <a:gd name="T4" fmla="*/ 0 w 234"/>
                <a:gd name="T5" fmla="*/ 0 h 467"/>
                <a:gd name="T6" fmla="*/ 1 w 234"/>
                <a:gd name="T7" fmla="*/ 0 h 467"/>
                <a:gd name="T8" fmla="*/ 1 w 234"/>
                <a:gd name="T9" fmla="*/ 0 h 467"/>
                <a:gd name="T10" fmla="*/ 1 w 234"/>
                <a:gd name="T11" fmla="*/ 0 h 467"/>
                <a:gd name="T12" fmla="*/ 1 w 234"/>
                <a:gd name="T13" fmla="*/ 0 h 467"/>
                <a:gd name="T14" fmla="*/ 1 w 234"/>
                <a:gd name="T15" fmla="*/ 0 h 467"/>
                <a:gd name="T16" fmla="*/ 1 w 234"/>
                <a:gd name="T17" fmla="*/ 0 h 467"/>
                <a:gd name="T18" fmla="*/ 1 w 234"/>
                <a:gd name="T19" fmla="*/ 1 h 467"/>
                <a:gd name="T20" fmla="*/ 1 w 234"/>
                <a:gd name="T21" fmla="*/ 1 h 467"/>
                <a:gd name="T22" fmla="*/ 1 w 234"/>
                <a:gd name="T23" fmla="*/ 1 h 467"/>
                <a:gd name="T24" fmla="*/ 1 w 234"/>
                <a:gd name="T25" fmla="*/ 1 h 467"/>
                <a:gd name="T26" fmla="*/ 1 w 234"/>
                <a:gd name="T27" fmla="*/ 1 h 467"/>
                <a:gd name="T28" fmla="*/ 1 w 234"/>
                <a:gd name="T29" fmla="*/ 1 h 467"/>
                <a:gd name="T30" fmla="*/ 1 w 234"/>
                <a:gd name="T31" fmla="*/ 1 h 467"/>
                <a:gd name="T32" fmla="*/ 1 w 234"/>
                <a:gd name="T33" fmla="*/ 1 h 467"/>
                <a:gd name="T34" fmla="*/ 1 w 234"/>
                <a:gd name="T35" fmla="*/ 1 h 467"/>
                <a:gd name="T36" fmla="*/ 1 w 234"/>
                <a:gd name="T37" fmla="*/ 1 h 467"/>
                <a:gd name="T38" fmla="*/ 1 w 234"/>
                <a:gd name="T39" fmla="*/ 1 h 467"/>
                <a:gd name="T40" fmla="*/ 1 w 234"/>
                <a:gd name="T41" fmla="*/ 2 h 467"/>
                <a:gd name="T42" fmla="*/ 1 w 234"/>
                <a:gd name="T43" fmla="*/ 2 h 467"/>
                <a:gd name="T44" fmla="*/ 1 w 234"/>
                <a:gd name="T45" fmla="*/ 2 h 467"/>
                <a:gd name="T46" fmla="*/ 1 w 234"/>
                <a:gd name="T47" fmla="*/ 2 h 467"/>
                <a:gd name="T48" fmla="*/ 1 w 234"/>
                <a:gd name="T49" fmla="*/ 2 h 467"/>
                <a:gd name="T50" fmla="*/ 1 w 234"/>
                <a:gd name="T51" fmla="*/ 2 h 467"/>
                <a:gd name="T52" fmla="*/ 1 w 234"/>
                <a:gd name="T53" fmla="*/ 2 h 467"/>
                <a:gd name="T54" fmla="*/ 1 w 234"/>
                <a:gd name="T55" fmla="*/ 2 h 467"/>
                <a:gd name="T56" fmla="*/ 1 w 234"/>
                <a:gd name="T57" fmla="*/ 2 h 467"/>
                <a:gd name="T58" fmla="*/ 1 w 234"/>
                <a:gd name="T59" fmla="*/ 2 h 467"/>
                <a:gd name="T60" fmla="*/ 0 w 234"/>
                <a:gd name="T61" fmla="*/ 2 h 467"/>
                <a:gd name="T62" fmla="*/ 0 w 234"/>
                <a:gd name="T63" fmla="*/ 2 h 467"/>
                <a:gd name="T64" fmla="*/ 0 w 234"/>
                <a:gd name="T65" fmla="*/ 2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path>
              </a:pathLst>
            </a:custGeom>
            <a:solidFill>
              <a:schemeClr val="accent3"/>
            </a:solidFill>
            <a:ln w="3175">
              <a:solidFill>
                <a:schemeClr val="accent3"/>
              </a:solidFill>
              <a:round/>
              <a:headEnd/>
              <a:tailEnd/>
            </a:ln>
          </p:spPr>
          <p:txBody>
            <a:bodyPr/>
            <a:lstStyle/>
            <a:p>
              <a:pPr>
                <a:defRPr/>
              </a:pPr>
              <a:endParaRPr lang="en-GB"/>
            </a:p>
          </p:txBody>
        </p:sp>
        <p:sp>
          <p:nvSpPr>
            <p:cNvPr id="74" name="Freeform 73"/>
            <p:cNvSpPr>
              <a:spLocks noChangeAspect="1"/>
            </p:cNvSpPr>
            <p:nvPr/>
          </p:nvSpPr>
          <p:spPr bwMode="auto">
            <a:xfrm>
              <a:off x="3584" y="1576"/>
              <a:ext cx="66" cy="122"/>
            </a:xfrm>
            <a:custGeom>
              <a:avLst/>
              <a:gdLst>
                <a:gd name="T0" fmla="*/ 1 w 234"/>
                <a:gd name="T1" fmla="*/ 2 h 467"/>
                <a:gd name="T2" fmla="*/ 1 w 234"/>
                <a:gd name="T3" fmla="*/ 2 h 467"/>
                <a:gd name="T4" fmla="*/ 1 w 234"/>
                <a:gd name="T5" fmla="*/ 2 h 467"/>
                <a:gd name="T6" fmla="*/ 1 w 234"/>
                <a:gd name="T7" fmla="*/ 2 h 467"/>
                <a:gd name="T8" fmla="*/ 1 w 234"/>
                <a:gd name="T9" fmla="*/ 2 h 467"/>
                <a:gd name="T10" fmla="*/ 1 w 234"/>
                <a:gd name="T11" fmla="*/ 2 h 467"/>
                <a:gd name="T12" fmla="*/ 1 w 234"/>
                <a:gd name="T13" fmla="*/ 2 h 467"/>
                <a:gd name="T14" fmla="*/ 1 w 234"/>
                <a:gd name="T15" fmla="*/ 2 h 467"/>
                <a:gd name="T16" fmla="*/ 0 w 234"/>
                <a:gd name="T17" fmla="*/ 2 h 467"/>
                <a:gd name="T18" fmla="*/ 0 w 234"/>
                <a:gd name="T19" fmla="*/ 2 h 467"/>
                <a:gd name="T20" fmla="*/ 0 w 234"/>
                <a:gd name="T21" fmla="*/ 2 h 467"/>
                <a:gd name="T22" fmla="*/ 0 w 234"/>
                <a:gd name="T23" fmla="*/ 2 h 467"/>
                <a:gd name="T24" fmla="*/ 0 w 234"/>
                <a:gd name="T25" fmla="*/ 2 h 467"/>
                <a:gd name="T26" fmla="*/ 0 w 234"/>
                <a:gd name="T27" fmla="*/ 1 h 467"/>
                <a:gd name="T28" fmla="*/ 0 w 234"/>
                <a:gd name="T29" fmla="*/ 1 h 467"/>
                <a:gd name="T30" fmla="*/ 0 w 234"/>
                <a:gd name="T31" fmla="*/ 1 h 467"/>
                <a:gd name="T32" fmla="*/ 0 w 234"/>
                <a:gd name="T33" fmla="*/ 1 h 467"/>
                <a:gd name="T34" fmla="*/ 0 w 234"/>
                <a:gd name="T35" fmla="*/ 1 h 467"/>
                <a:gd name="T36" fmla="*/ 0 w 234"/>
                <a:gd name="T37" fmla="*/ 1 h 467"/>
                <a:gd name="T38" fmla="*/ 0 w 234"/>
                <a:gd name="T39" fmla="*/ 1 h 467"/>
                <a:gd name="T40" fmla="*/ 0 w 234"/>
                <a:gd name="T41" fmla="*/ 1 h 467"/>
                <a:gd name="T42" fmla="*/ 0 w 234"/>
                <a:gd name="T43" fmla="*/ 1 h 467"/>
                <a:gd name="T44" fmla="*/ 0 w 234"/>
                <a:gd name="T45" fmla="*/ 1 h 467"/>
                <a:gd name="T46" fmla="*/ 0 w 234"/>
                <a:gd name="T47" fmla="*/ 1 h 467"/>
                <a:gd name="T48" fmla="*/ 0 w 234"/>
                <a:gd name="T49" fmla="*/ 0 h 467"/>
                <a:gd name="T50" fmla="*/ 1 w 234"/>
                <a:gd name="T51" fmla="*/ 0 h 467"/>
                <a:gd name="T52" fmla="*/ 1 w 234"/>
                <a:gd name="T53" fmla="*/ 0 h 467"/>
                <a:gd name="T54" fmla="*/ 1 w 234"/>
                <a:gd name="T55" fmla="*/ 0 h 467"/>
                <a:gd name="T56" fmla="*/ 1 w 234"/>
                <a:gd name="T57" fmla="*/ 0 h 467"/>
                <a:gd name="T58" fmla="*/ 1 w 234"/>
                <a:gd name="T59" fmla="*/ 0 h 467"/>
                <a:gd name="T60" fmla="*/ 1 w 234"/>
                <a:gd name="T61" fmla="*/ 0 h 467"/>
                <a:gd name="T62" fmla="*/ 1 w 234"/>
                <a:gd name="T63" fmla="*/ 0 h 467"/>
                <a:gd name="T64" fmla="*/ 1 w 234"/>
                <a:gd name="T65" fmla="*/ 0 h 467"/>
                <a:gd name="T66" fmla="*/ 1 w 234"/>
                <a:gd name="T67" fmla="*/ 1 h 467"/>
                <a:gd name="T68" fmla="*/ 1 w 234"/>
                <a:gd name="T69" fmla="*/ 2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234" y="467"/>
                  </a:lnTo>
                  <a:close/>
                </a:path>
              </a:pathLst>
            </a:custGeom>
            <a:solidFill>
              <a:srgbClr val="FFFFFF"/>
            </a:solidFill>
            <a:ln w="3175">
              <a:solidFill>
                <a:schemeClr val="accent3"/>
              </a:solidFill>
              <a:round/>
              <a:headEnd/>
              <a:tailEnd/>
            </a:ln>
          </p:spPr>
          <p:txBody>
            <a:bodyPr/>
            <a:lstStyle/>
            <a:p>
              <a:pPr>
                <a:defRPr/>
              </a:pPr>
              <a:endParaRPr lang="en-GB"/>
            </a:p>
          </p:txBody>
        </p:sp>
        <p:sp>
          <p:nvSpPr>
            <p:cNvPr id="75" name="Freeform 74"/>
            <p:cNvSpPr>
              <a:spLocks noChangeAspect="1"/>
            </p:cNvSpPr>
            <p:nvPr/>
          </p:nvSpPr>
          <p:spPr bwMode="auto">
            <a:xfrm>
              <a:off x="3584" y="1576"/>
              <a:ext cx="66" cy="122"/>
            </a:xfrm>
            <a:custGeom>
              <a:avLst/>
              <a:gdLst>
                <a:gd name="T0" fmla="*/ 1 w 234"/>
                <a:gd name="T1" fmla="*/ 2 h 467"/>
                <a:gd name="T2" fmla="*/ 1 w 234"/>
                <a:gd name="T3" fmla="*/ 2 h 467"/>
                <a:gd name="T4" fmla="*/ 1 w 234"/>
                <a:gd name="T5" fmla="*/ 2 h 467"/>
                <a:gd name="T6" fmla="*/ 1 w 234"/>
                <a:gd name="T7" fmla="*/ 2 h 467"/>
                <a:gd name="T8" fmla="*/ 1 w 234"/>
                <a:gd name="T9" fmla="*/ 2 h 467"/>
                <a:gd name="T10" fmla="*/ 1 w 234"/>
                <a:gd name="T11" fmla="*/ 2 h 467"/>
                <a:gd name="T12" fmla="*/ 1 w 234"/>
                <a:gd name="T13" fmla="*/ 2 h 467"/>
                <a:gd name="T14" fmla="*/ 1 w 234"/>
                <a:gd name="T15" fmla="*/ 2 h 467"/>
                <a:gd name="T16" fmla="*/ 0 w 234"/>
                <a:gd name="T17" fmla="*/ 2 h 467"/>
                <a:gd name="T18" fmla="*/ 0 w 234"/>
                <a:gd name="T19" fmla="*/ 2 h 467"/>
                <a:gd name="T20" fmla="*/ 0 w 234"/>
                <a:gd name="T21" fmla="*/ 2 h 467"/>
                <a:gd name="T22" fmla="*/ 0 w 234"/>
                <a:gd name="T23" fmla="*/ 2 h 467"/>
                <a:gd name="T24" fmla="*/ 0 w 234"/>
                <a:gd name="T25" fmla="*/ 2 h 467"/>
                <a:gd name="T26" fmla="*/ 0 w 234"/>
                <a:gd name="T27" fmla="*/ 1 h 467"/>
                <a:gd name="T28" fmla="*/ 0 w 234"/>
                <a:gd name="T29" fmla="*/ 1 h 467"/>
                <a:gd name="T30" fmla="*/ 0 w 234"/>
                <a:gd name="T31" fmla="*/ 1 h 467"/>
                <a:gd name="T32" fmla="*/ 0 w 234"/>
                <a:gd name="T33" fmla="*/ 1 h 467"/>
                <a:gd name="T34" fmla="*/ 0 w 234"/>
                <a:gd name="T35" fmla="*/ 1 h 467"/>
                <a:gd name="T36" fmla="*/ 0 w 234"/>
                <a:gd name="T37" fmla="*/ 1 h 467"/>
                <a:gd name="T38" fmla="*/ 0 w 234"/>
                <a:gd name="T39" fmla="*/ 1 h 467"/>
                <a:gd name="T40" fmla="*/ 0 w 234"/>
                <a:gd name="T41" fmla="*/ 1 h 467"/>
                <a:gd name="T42" fmla="*/ 0 w 234"/>
                <a:gd name="T43" fmla="*/ 1 h 467"/>
                <a:gd name="T44" fmla="*/ 0 w 234"/>
                <a:gd name="T45" fmla="*/ 1 h 467"/>
                <a:gd name="T46" fmla="*/ 0 w 234"/>
                <a:gd name="T47" fmla="*/ 1 h 467"/>
                <a:gd name="T48" fmla="*/ 0 w 234"/>
                <a:gd name="T49" fmla="*/ 0 h 467"/>
                <a:gd name="T50" fmla="*/ 1 w 234"/>
                <a:gd name="T51" fmla="*/ 0 h 467"/>
                <a:gd name="T52" fmla="*/ 1 w 234"/>
                <a:gd name="T53" fmla="*/ 0 h 467"/>
                <a:gd name="T54" fmla="*/ 1 w 234"/>
                <a:gd name="T55" fmla="*/ 0 h 467"/>
                <a:gd name="T56" fmla="*/ 1 w 234"/>
                <a:gd name="T57" fmla="*/ 0 h 467"/>
                <a:gd name="T58" fmla="*/ 1 w 234"/>
                <a:gd name="T59" fmla="*/ 0 h 467"/>
                <a:gd name="T60" fmla="*/ 1 w 234"/>
                <a:gd name="T61" fmla="*/ 0 h 467"/>
                <a:gd name="T62" fmla="*/ 1 w 234"/>
                <a:gd name="T63" fmla="*/ 0 h 467"/>
                <a:gd name="T64" fmla="*/ 1 w 234"/>
                <a:gd name="T65" fmla="*/ 0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3"/>
              </a:solidFill>
              <a:round/>
              <a:headEnd/>
              <a:tailEnd/>
            </a:ln>
          </p:spPr>
          <p:txBody>
            <a:bodyPr/>
            <a:lstStyle/>
            <a:p>
              <a:pPr>
                <a:defRPr/>
              </a:pPr>
              <a:endParaRPr lang="en-GB"/>
            </a:p>
          </p:txBody>
        </p:sp>
      </p:grpSp>
      <p:grpSp>
        <p:nvGrpSpPr>
          <p:cNvPr id="60" name="Group 75"/>
          <p:cNvGrpSpPr>
            <a:grpSpLocks/>
          </p:cNvGrpSpPr>
          <p:nvPr/>
        </p:nvGrpSpPr>
        <p:grpSpPr bwMode="auto">
          <a:xfrm>
            <a:off x="4287838" y="2068513"/>
            <a:ext cx="153987" cy="153987"/>
            <a:chOff x="2926" y="1303"/>
            <a:chExt cx="105" cy="97"/>
          </a:xfrm>
        </p:grpSpPr>
        <p:grpSp>
          <p:nvGrpSpPr>
            <p:cNvPr id="65" name="Group 76"/>
            <p:cNvGrpSpPr>
              <a:grpSpLocks noChangeAspect="1"/>
            </p:cNvGrpSpPr>
            <p:nvPr/>
          </p:nvGrpSpPr>
          <p:grpSpPr bwMode="auto">
            <a:xfrm>
              <a:off x="2979" y="1303"/>
              <a:ext cx="52" cy="49"/>
              <a:chOff x="1362" y="1968"/>
              <a:chExt cx="234" cy="234"/>
            </a:xfrm>
          </p:grpSpPr>
          <p:sp>
            <p:nvSpPr>
              <p:cNvPr id="81" name="Freeform 77"/>
              <p:cNvSpPr>
                <a:spLocks noChangeAspect="1"/>
              </p:cNvSpPr>
              <p:nvPr/>
            </p:nvSpPr>
            <p:spPr bwMode="auto">
              <a:xfrm>
                <a:off x="1362" y="1968"/>
                <a:ext cx="234" cy="234"/>
              </a:xfrm>
              <a:custGeom>
                <a:avLst/>
                <a:gdLst>
                  <a:gd name="T0" fmla="*/ 0 w 234"/>
                  <a:gd name="T1" fmla="*/ 0 h 234"/>
                  <a:gd name="T2" fmla="*/ 24 w 234"/>
                  <a:gd name="T3" fmla="*/ 1 h 234"/>
                  <a:gd name="T4" fmla="*/ 47 w 234"/>
                  <a:gd name="T5" fmla="*/ 5 h 234"/>
                  <a:gd name="T6" fmla="*/ 69 w 234"/>
                  <a:gd name="T7" fmla="*/ 10 h 234"/>
                  <a:gd name="T8" fmla="*/ 91 w 234"/>
                  <a:gd name="T9" fmla="*/ 18 h 234"/>
                  <a:gd name="T10" fmla="*/ 111 w 234"/>
                  <a:gd name="T11" fmla="*/ 28 h 234"/>
                  <a:gd name="T12" fmla="*/ 130 w 234"/>
                  <a:gd name="T13" fmla="*/ 40 h 234"/>
                  <a:gd name="T14" fmla="*/ 148 w 234"/>
                  <a:gd name="T15" fmla="*/ 53 h 234"/>
                  <a:gd name="T16" fmla="*/ 165 w 234"/>
                  <a:gd name="T17" fmla="*/ 68 h 234"/>
                  <a:gd name="T18" fmla="*/ 180 w 234"/>
                  <a:gd name="T19" fmla="*/ 85 h 234"/>
                  <a:gd name="T20" fmla="*/ 194 w 234"/>
                  <a:gd name="T21" fmla="*/ 103 h 234"/>
                  <a:gd name="T22" fmla="*/ 205 w 234"/>
                  <a:gd name="T23" fmla="*/ 122 h 234"/>
                  <a:gd name="T24" fmla="*/ 215 w 234"/>
                  <a:gd name="T25" fmla="*/ 142 h 234"/>
                  <a:gd name="T26" fmla="*/ 223 w 234"/>
                  <a:gd name="T27" fmla="*/ 164 h 234"/>
                  <a:gd name="T28" fmla="*/ 229 w 234"/>
                  <a:gd name="T29" fmla="*/ 186 h 234"/>
                  <a:gd name="T30" fmla="*/ 233 w 234"/>
                  <a:gd name="T31" fmla="*/ 209 h 234"/>
                  <a:gd name="T32" fmla="*/ 234 w 234"/>
                  <a:gd name="T33" fmla="*/ 233 h 234"/>
                  <a:gd name="T34" fmla="*/ 0 w 234"/>
                  <a:gd name="T35" fmla="*/ 234 h 234"/>
                  <a:gd name="T36" fmla="*/ 0 w 234"/>
                  <a:gd name="T37" fmla="*/ 0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4"/>
                  <a:gd name="T58" fmla="*/ 0 h 234"/>
                  <a:gd name="T59" fmla="*/ 234 w 234"/>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4" h="234">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lnTo>
                      <a:pt x="0" y="234"/>
                    </a:lnTo>
                    <a:lnTo>
                      <a:pt x="0" y="0"/>
                    </a:lnTo>
                    <a:close/>
                  </a:path>
                </a:pathLst>
              </a:custGeom>
              <a:solidFill>
                <a:schemeClr val="accent3"/>
              </a:solidFill>
              <a:ln w="3175">
                <a:solidFill>
                  <a:schemeClr val="accent3"/>
                </a:solidFill>
                <a:round/>
                <a:headEnd/>
                <a:tailEnd/>
              </a:ln>
            </p:spPr>
            <p:txBody>
              <a:bodyPr/>
              <a:lstStyle/>
              <a:p>
                <a:pPr>
                  <a:defRPr/>
                </a:pPr>
                <a:endParaRPr lang="en-GB"/>
              </a:p>
            </p:txBody>
          </p:sp>
          <p:sp>
            <p:nvSpPr>
              <p:cNvPr id="82" name="Freeform 78"/>
              <p:cNvSpPr>
                <a:spLocks noChangeAspect="1"/>
              </p:cNvSpPr>
              <p:nvPr/>
            </p:nvSpPr>
            <p:spPr bwMode="auto">
              <a:xfrm>
                <a:off x="1362" y="1968"/>
                <a:ext cx="234" cy="234"/>
              </a:xfrm>
              <a:custGeom>
                <a:avLst/>
                <a:gdLst>
                  <a:gd name="T0" fmla="*/ 0 w 234"/>
                  <a:gd name="T1" fmla="*/ 0 h 233"/>
                  <a:gd name="T2" fmla="*/ 24 w 234"/>
                  <a:gd name="T3" fmla="*/ 1 h 233"/>
                  <a:gd name="T4" fmla="*/ 47 w 234"/>
                  <a:gd name="T5" fmla="*/ 5 h 233"/>
                  <a:gd name="T6" fmla="*/ 69 w 234"/>
                  <a:gd name="T7" fmla="*/ 10 h 233"/>
                  <a:gd name="T8" fmla="*/ 91 w 234"/>
                  <a:gd name="T9" fmla="*/ 18 h 233"/>
                  <a:gd name="T10" fmla="*/ 111 w 234"/>
                  <a:gd name="T11" fmla="*/ 28 h 233"/>
                  <a:gd name="T12" fmla="*/ 130 w 234"/>
                  <a:gd name="T13" fmla="*/ 40 h 233"/>
                  <a:gd name="T14" fmla="*/ 148 w 234"/>
                  <a:gd name="T15" fmla="*/ 53 h 233"/>
                  <a:gd name="T16" fmla="*/ 165 w 234"/>
                  <a:gd name="T17" fmla="*/ 68 h 233"/>
                  <a:gd name="T18" fmla="*/ 180 w 234"/>
                  <a:gd name="T19" fmla="*/ 85 h 233"/>
                  <a:gd name="T20" fmla="*/ 194 w 234"/>
                  <a:gd name="T21" fmla="*/ 103 h 233"/>
                  <a:gd name="T22" fmla="*/ 205 w 234"/>
                  <a:gd name="T23" fmla="*/ 122 h 233"/>
                  <a:gd name="T24" fmla="*/ 215 w 234"/>
                  <a:gd name="T25" fmla="*/ 142 h 233"/>
                  <a:gd name="T26" fmla="*/ 223 w 234"/>
                  <a:gd name="T27" fmla="*/ 164 h 233"/>
                  <a:gd name="T28" fmla="*/ 229 w 234"/>
                  <a:gd name="T29" fmla="*/ 186 h 233"/>
                  <a:gd name="T30" fmla="*/ 233 w 234"/>
                  <a:gd name="T31" fmla="*/ 209 h 233"/>
                  <a:gd name="T32" fmla="*/ 234 w 234"/>
                  <a:gd name="T33" fmla="*/ 233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4"/>
                  <a:gd name="T52" fmla="*/ 0 h 233"/>
                  <a:gd name="T53" fmla="*/ 234 w 23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4" h="233">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path>
                </a:pathLst>
              </a:custGeom>
              <a:solidFill>
                <a:schemeClr val="accent3"/>
              </a:solidFill>
              <a:ln w="3175">
                <a:solidFill>
                  <a:schemeClr val="accent3"/>
                </a:solidFill>
                <a:round/>
                <a:headEnd/>
                <a:tailEnd/>
              </a:ln>
            </p:spPr>
            <p:txBody>
              <a:bodyPr/>
              <a:lstStyle/>
              <a:p>
                <a:pPr>
                  <a:defRPr/>
                </a:pPr>
                <a:endParaRPr lang="en-GB"/>
              </a:p>
            </p:txBody>
          </p:sp>
        </p:grpSp>
        <p:grpSp>
          <p:nvGrpSpPr>
            <p:cNvPr id="66" name="Group 79"/>
            <p:cNvGrpSpPr>
              <a:grpSpLocks noChangeAspect="1"/>
            </p:cNvGrpSpPr>
            <p:nvPr/>
          </p:nvGrpSpPr>
          <p:grpSpPr bwMode="auto">
            <a:xfrm>
              <a:off x="2926" y="1303"/>
              <a:ext cx="105" cy="97"/>
              <a:chOff x="1128" y="1968"/>
              <a:chExt cx="468" cy="467"/>
            </a:xfrm>
          </p:grpSpPr>
          <p:sp>
            <p:nvSpPr>
              <p:cNvPr id="79" name="Freeform 80"/>
              <p:cNvSpPr>
                <a:spLocks noChangeAspect="1"/>
              </p:cNvSpPr>
              <p:nvPr/>
            </p:nvSpPr>
            <p:spPr bwMode="auto">
              <a:xfrm>
                <a:off x="1128" y="1968"/>
                <a:ext cx="468" cy="467"/>
              </a:xfrm>
              <a:custGeom>
                <a:avLst/>
                <a:gdLst>
                  <a:gd name="T0" fmla="*/ 468 w 468"/>
                  <a:gd name="T1" fmla="*/ 232 h 467"/>
                  <a:gd name="T2" fmla="*/ 468 w 468"/>
                  <a:gd name="T3" fmla="*/ 233 h 467"/>
                  <a:gd name="T4" fmla="*/ 468 w 468"/>
                  <a:gd name="T5" fmla="*/ 233 h 467"/>
                  <a:gd name="T6" fmla="*/ 467 w 468"/>
                  <a:gd name="T7" fmla="*/ 257 h 467"/>
                  <a:gd name="T8" fmla="*/ 463 w 468"/>
                  <a:gd name="T9" fmla="*/ 280 h 467"/>
                  <a:gd name="T10" fmla="*/ 457 w 468"/>
                  <a:gd name="T11" fmla="*/ 303 h 467"/>
                  <a:gd name="T12" fmla="*/ 450 w 468"/>
                  <a:gd name="T13" fmla="*/ 324 h 467"/>
                  <a:gd name="T14" fmla="*/ 440 w 468"/>
                  <a:gd name="T15" fmla="*/ 344 h 467"/>
                  <a:gd name="T16" fmla="*/ 428 w 468"/>
                  <a:gd name="T17" fmla="*/ 364 h 467"/>
                  <a:gd name="T18" fmla="*/ 415 w 468"/>
                  <a:gd name="T19" fmla="*/ 382 h 467"/>
                  <a:gd name="T20" fmla="*/ 399 w 468"/>
                  <a:gd name="T21" fmla="*/ 398 h 467"/>
                  <a:gd name="T22" fmla="*/ 383 w 468"/>
                  <a:gd name="T23" fmla="*/ 414 h 467"/>
                  <a:gd name="T24" fmla="*/ 365 w 468"/>
                  <a:gd name="T25" fmla="*/ 427 h 467"/>
                  <a:gd name="T26" fmla="*/ 345 w 468"/>
                  <a:gd name="T27" fmla="*/ 439 h 467"/>
                  <a:gd name="T28" fmla="*/ 325 w 468"/>
                  <a:gd name="T29" fmla="*/ 449 h 467"/>
                  <a:gd name="T30" fmla="*/ 304 w 468"/>
                  <a:gd name="T31" fmla="*/ 456 h 467"/>
                  <a:gd name="T32" fmla="*/ 281 w 468"/>
                  <a:gd name="T33" fmla="*/ 462 h 467"/>
                  <a:gd name="T34" fmla="*/ 258 w 468"/>
                  <a:gd name="T35" fmla="*/ 466 h 467"/>
                  <a:gd name="T36" fmla="*/ 234 w 468"/>
                  <a:gd name="T37" fmla="*/ 467 h 467"/>
                  <a:gd name="T38" fmla="*/ 210 w 468"/>
                  <a:gd name="T39" fmla="*/ 466 h 467"/>
                  <a:gd name="T40" fmla="*/ 187 w 468"/>
                  <a:gd name="T41" fmla="*/ 462 h 467"/>
                  <a:gd name="T42" fmla="*/ 165 w 468"/>
                  <a:gd name="T43" fmla="*/ 456 h 467"/>
                  <a:gd name="T44" fmla="*/ 143 w 468"/>
                  <a:gd name="T45" fmla="*/ 449 h 467"/>
                  <a:gd name="T46" fmla="*/ 123 w 468"/>
                  <a:gd name="T47" fmla="*/ 439 h 467"/>
                  <a:gd name="T48" fmla="*/ 103 w 468"/>
                  <a:gd name="T49" fmla="*/ 427 h 467"/>
                  <a:gd name="T50" fmla="*/ 85 w 468"/>
                  <a:gd name="T51" fmla="*/ 414 h 467"/>
                  <a:gd name="T52" fmla="*/ 69 w 468"/>
                  <a:gd name="T53" fmla="*/ 398 h 467"/>
                  <a:gd name="T54" fmla="*/ 54 w 468"/>
                  <a:gd name="T55" fmla="*/ 382 h 467"/>
                  <a:gd name="T56" fmla="*/ 40 w 468"/>
                  <a:gd name="T57" fmla="*/ 364 h 467"/>
                  <a:gd name="T58" fmla="*/ 28 w 468"/>
                  <a:gd name="T59" fmla="*/ 344 h 467"/>
                  <a:gd name="T60" fmla="*/ 18 w 468"/>
                  <a:gd name="T61" fmla="*/ 324 h 467"/>
                  <a:gd name="T62" fmla="*/ 11 w 468"/>
                  <a:gd name="T63" fmla="*/ 303 h 467"/>
                  <a:gd name="T64" fmla="*/ 5 w 468"/>
                  <a:gd name="T65" fmla="*/ 280 h 467"/>
                  <a:gd name="T66" fmla="*/ 1 w 468"/>
                  <a:gd name="T67" fmla="*/ 257 h 467"/>
                  <a:gd name="T68" fmla="*/ 0 w 468"/>
                  <a:gd name="T69" fmla="*/ 233 h 467"/>
                  <a:gd name="T70" fmla="*/ 1 w 468"/>
                  <a:gd name="T71" fmla="*/ 209 h 467"/>
                  <a:gd name="T72" fmla="*/ 5 w 468"/>
                  <a:gd name="T73" fmla="*/ 186 h 467"/>
                  <a:gd name="T74" fmla="*/ 11 w 468"/>
                  <a:gd name="T75" fmla="*/ 164 h 467"/>
                  <a:gd name="T76" fmla="*/ 18 w 468"/>
                  <a:gd name="T77" fmla="*/ 143 h 467"/>
                  <a:gd name="T78" fmla="*/ 28 w 468"/>
                  <a:gd name="T79" fmla="*/ 122 h 467"/>
                  <a:gd name="T80" fmla="*/ 40 w 468"/>
                  <a:gd name="T81" fmla="*/ 103 h 467"/>
                  <a:gd name="T82" fmla="*/ 54 w 468"/>
                  <a:gd name="T83" fmla="*/ 85 h 467"/>
                  <a:gd name="T84" fmla="*/ 69 w 468"/>
                  <a:gd name="T85" fmla="*/ 69 h 467"/>
                  <a:gd name="T86" fmla="*/ 85 w 468"/>
                  <a:gd name="T87" fmla="*/ 53 h 467"/>
                  <a:gd name="T88" fmla="*/ 103 w 468"/>
                  <a:gd name="T89" fmla="*/ 40 h 467"/>
                  <a:gd name="T90" fmla="*/ 123 w 468"/>
                  <a:gd name="T91" fmla="*/ 28 h 467"/>
                  <a:gd name="T92" fmla="*/ 143 w 468"/>
                  <a:gd name="T93" fmla="*/ 18 h 467"/>
                  <a:gd name="T94" fmla="*/ 165 w 468"/>
                  <a:gd name="T95" fmla="*/ 11 h 467"/>
                  <a:gd name="T96" fmla="*/ 187 w 468"/>
                  <a:gd name="T97" fmla="*/ 5 h 467"/>
                  <a:gd name="T98" fmla="*/ 210 w 468"/>
                  <a:gd name="T99" fmla="*/ 1 h 467"/>
                  <a:gd name="T100" fmla="*/ 234 w 468"/>
                  <a:gd name="T101" fmla="*/ 0 h 467"/>
                  <a:gd name="T102" fmla="*/ 234 w 468"/>
                  <a:gd name="T103" fmla="*/ 233 h 467"/>
                  <a:gd name="T104" fmla="*/ 468 w 468"/>
                  <a:gd name="T105" fmla="*/ 232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8"/>
                  <a:gd name="T160" fmla="*/ 0 h 467"/>
                  <a:gd name="T161" fmla="*/ 468 w 468"/>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468" y="232"/>
                    </a:lnTo>
                    <a:close/>
                  </a:path>
                </a:pathLst>
              </a:custGeom>
              <a:noFill/>
              <a:ln w="3175">
                <a:solidFill>
                  <a:schemeClr val="accent3"/>
                </a:solidFill>
                <a:round/>
                <a:headEnd/>
                <a:tailEnd/>
              </a:ln>
            </p:spPr>
            <p:txBody>
              <a:bodyPr/>
              <a:lstStyle/>
              <a:p>
                <a:pPr>
                  <a:defRPr/>
                </a:pPr>
                <a:endParaRPr lang="en-GB"/>
              </a:p>
            </p:txBody>
          </p:sp>
          <p:sp>
            <p:nvSpPr>
              <p:cNvPr id="80" name="Freeform 81"/>
              <p:cNvSpPr>
                <a:spLocks noChangeAspect="1"/>
              </p:cNvSpPr>
              <p:nvPr/>
            </p:nvSpPr>
            <p:spPr bwMode="auto">
              <a:xfrm>
                <a:off x="1128" y="1968"/>
                <a:ext cx="468" cy="467"/>
              </a:xfrm>
              <a:custGeom>
                <a:avLst/>
                <a:gdLst>
                  <a:gd name="T0" fmla="*/ 468 w 468"/>
                  <a:gd name="T1" fmla="*/ 232 h 467"/>
                  <a:gd name="T2" fmla="*/ 468 w 468"/>
                  <a:gd name="T3" fmla="*/ 233 h 467"/>
                  <a:gd name="T4" fmla="*/ 468 w 468"/>
                  <a:gd name="T5" fmla="*/ 233 h 467"/>
                  <a:gd name="T6" fmla="*/ 467 w 468"/>
                  <a:gd name="T7" fmla="*/ 257 h 467"/>
                  <a:gd name="T8" fmla="*/ 463 w 468"/>
                  <a:gd name="T9" fmla="*/ 280 h 467"/>
                  <a:gd name="T10" fmla="*/ 457 w 468"/>
                  <a:gd name="T11" fmla="*/ 303 h 467"/>
                  <a:gd name="T12" fmla="*/ 450 w 468"/>
                  <a:gd name="T13" fmla="*/ 324 h 467"/>
                  <a:gd name="T14" fmla="*/ 440 w 468"/>
                  <a:gd name="T15" fmla="*/ 344 h 467"/>
                  <a:gd name="T16" fmla="*/ 428 w 468"/>
                  <a:gd name="T17" fmla="*/ 364 h 467"/>
                  <a:gd name="T18" fmla="*/ 415 w 468"/>
                  <a:gd name="T19" fmla="*/ 382 h 467"/>
                  <a:gd name="T20" fmla="*/ 399 w 468"/>
                  <a:gd name="T21" fmla="*/ 398 h 467"/>
                  <a:gd name="T22" fmla="*/ 383 w 468"/>
                  <a:gd name="T23" fmla="*/ 414 h 467"/>
                  <a:gd name="T24" fmla="*/ 365 w 468"/>
                  <a:gd name="T25" fmla="*/ 427 h 467"/>
                  <a:gd name="T26" fmla="*/ 345 w 468"/>
                  <a:gd name="T27" fmla="*/ 439 h 467"/>
                  <a:gd name="T28" fmla="*/ 325 w 468"/>
                  <a:gd name="T29" fmla="*/ 449 h 467"/>
                  <a:gd name="T30" fmla="*/ 304 w 468"/>
                  <a:gd name="T31" fmla="*/ 456 h 467"/>
                  <a:gd name="T32" fmla="*/ 281 w 468"/>
                  <a:gd name="T33" fmla="*/ 462 h 467"/>
                  <a:gd name="T34" fmla="*/ 258 w 468"/>
                  <a:gd name="T35" fmla="*/ 466 h 467"/>
                  <a:gd name="T36" fmla="*/ 234 w 468"/>
                  <a:gd name="T37" fmla="*/ 467 h 467"/>
                  <a:gd name="T38" fmla="*/ 210 w 468"/>
                  <a:gd name="T39" fmla="*/ 466 h 467"/>
                  <a:gd name="T40" fmla="*/ 187 w 468"/>
                  <a:gd name="T41" fmla="*/ 462 h 467"/>
                  <a:gd name="T42" fmla="*/ 165 w 468"/>
                  <a:gd name="T43" fmla="*/ 456 h 467"/>
                  <a:gd name="T44" fmla="*/ 143 w 468"/>
                  <a:gd name="T45" fmla="*/ 449 h 467"/>
                  <a:gd name="T46" fmla="*/ 123 w 468"/>
                  <a:gd name="T47" fmla="*/ 439 h 467"/>
                  <a:gd name="T48" fmla="*/ 103 w 468"/>
                  <a:gd name="T49" fmla="*/ 427 h 467"/>
                  <a:gd name="T50" fmla="*/ 85 w 468"/>
                  <a:gd name="T51" fmla="*/ 414 h 467"/>
                  <a:gd name="T52" fmla="*/ 69 w 468"/>
                  <a:gd name="T53" fmla="*/ 398 h 467"/>
                  <a:gd name="T54" fmla="*/ 54 w 468"/>
                  <a:gd name="T55" fmla="*/ 382 h 467"/>
                  <a:gd name="T56" fmla="*/ 40 w 468"/>
                  <a:gd name="T57" fmla="*/ 364 h 467"/>
                  <a:gd name="T58" fmla="*/ 28 w 468"/>
                  <a:gd name="T59" fmla="*/ 344 h 467"/>
                  <a:gd name="T60" fmla="*/ 18 w 468"/>
                  <a:gd name="T61" fmla="*/ 324 h 467"/>
                  <a:gd name="T62" fmla="*/ 11 w 468"/>
                  <a:gd name="T63" fmla="*/ 303 h 467"/>
                  <a:gd name="T64" fmla="*/ 5 w 468"/>
                  <a:gd name="T65" fmla="*/ 280 h 467"/>
                  <a:gd name="T66" fmla="*/ 1 w 468"/>
                  <a:gd name="T67" fmla="*/ 257 h 467"/>
                  <a:gd name="T68" fmla="*/ 0 w 468"/>
                  <a:gd name="T69" fmla="*/ 233 h 467"/>
                  <a:gd name="T70" fmla="*/ 1 w 468"/>
                  <a:gd name="T71" fmla="*/ 209 h 467"/>
                  <a:gd name="T72" fmla="*/ 5 w 468"/>
                  <a:gd name="T73" fmla="*/ 186 h 467"/>
                  <a:gd name="T74" fmla="*/ 11 w 468"/>
                  <a:gd name="T75" fmla="*/ 164 h 467"/>
                  <a:gd name="T76" fmla="*/ 18 w 468"/>
                  <a:gd name="T77" fmla="*/ 143 h 467"/>
                  <a:gd name="T78" fmla="*/ 28 w 468"/>
                  <a:gd name="T79" fmla="*/ 122 h 467"/>
                  <a:gd name="T80" fmla="*/ 40 w 468"/>
                  <a:gd name="T81" fmla="*/ 103 h 467"/>
                  <a:gd name="T82" fmla="*/ 54 w 468"/>
                  <a:gd name="T83" fmla="*/ 85 h 467"/>
                  <a:gd name="T84" fmla="*/ 69 w 468"/>
                  <a:gd name="T85" fmla="*/ 69 h 467"/>
                  <a:gd name="T86" fmla="*/ 85 w 468"/>
                  <a:gd name="T87" fmla="*/ 53 h 467"/>
                  <a:gd name="T88" fmla="*/ 103 w 468"/>
                  <a:gd name="T89" fmla="*/ 40 h 467"/>
                  <a:gd name="T90" fmla="*/ 123 w 468"/>
                  <a:gd name="T91" fmla="*/ 28 h 467"/>
                  <a:gd name="T92" fmla="*/ 143 w 468"/>
                  <a:gd name="T93" fmla="*/ 18 h 467"/>
                  <a:gd name="T94" fmla="*/ 165 w 468"/>
                  <a:gd name="T95" fmla="*/ 11 h 467"/>
                  <a:gd name="T96" fmla="*/ 187 w 468"/>
                  <a:gd name="T97" fmla="*/ 5 h 467"/>
                  <a:gd name="T98" fmla="*/ 210 w 468"/>
                  <a:gd name="T99" fmla="*/ 1 h 467"/>
                  <a:gd name="T100" fmla="*/ 234 w 468"/>
                  <a:gd name="T101" fmla="*/ 0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8"/>
                  <a:gd name="T154" fmla="*/ 0 h 467"/>
                  <a:gd name="T155" fmla="*/ 468 w 468"/>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3"/>
                </a:solidFill>
                <a:round/>
                <a:headEnd/>
                <a:tailEnd/>
              </a:ln>
            </p:spPr>
            <p:txBody>
              <a:bodyPr/>
              <a:lstStyle/>
              <a:p>
                <a:pPr>
                  <a:defRPr/>
                </a:pPr>
                <a:endParaRPr lang="en-GB"/>
              </a:p>
            </p:txBody>
          </p:sp>
        </p:grpSp>
      </p:grpSp>
      <p:grpSp>
        <p:nvGrpSpPr>
          <p:cNvPr id="71" name="Group 82"/>
          <p:cNvGrpSpPr>
            <a:grpSpLocks/>
          </p:cNvGrpSpPr>
          <p:nvPr/>
        </p:nvGrpSpPr>
        <p:grpSpPr bwMode="auto">
          <a:xfrm>
            <a:off x="6256338" y="2028825"/>
            <a:ext cx="230187" cy="231775"/>
            <a:chOff x="4269" y="1278"/>
            <a:chExt cx="158" cy="146"/>
          </a:xfrm>
        </p:grpSpPr>
        <p:grpSp>
          <p:nvGrpSpPr>
            <p:cNvPr id="76" name="Group 83"/>
            <p:cNvGrpSpPr>
              <a:grpSpLocks noChangeAspect="1"/>
            </p:cNvGrpSpPr>
            <p:nvPr/>
          </p:nvGrpSpPr>
          <p:grpSpPr bwMode="auto">
            <a:xfrm>
              <a:off x="4348" y="1278"/>
              <a:ext cx="79" cy="73"/>
              <a:chOff x="1362" y="1968"/>
              <a:chExt cx="234" cy="234"/>
            </a:xfrm>
          </p:grpSpPr>
          <p:sp>
            <p:nvSpPr>
              <p:cNvPr id="87" name="Freeform 84"/>
              <p:cNvSpPr>
                <a:spLocks noChangeAspect="1"/>
              </p:cNvSpPr>
              <p:nvPr/>
            </p:nvSpPr>
            <p:spPr bwMode="auto">
              <a:xfrm>
                <a:off x="1364" y="1968"/>
                <a:ext cx="232" cy="234"/>
              </a:xfrm>
              <a:custGeom>
                <a:avLst/>
                <a:gdLst>
                  <a:gd name="T0" fmla="*/ 0 w 234"/>
                  <a:gd name="T1" fmla="*/ 0 h 234"/>
                  <a:gd name="T2" fmla="*/ 24 w 234"/>
                  <a:gd name="T3" fmla="*/ 1 h 234"/>
                  <a:gd name="T4" fmla="*/ 47 w 234"/>
                  <a:gd name="T5" fmla="*/ 5 h 234"/>
                  <a:gd name="T6" fmla="*/ 69 w 234"/>
                  <a:gd name="T7" fmla="*/ 10 h 234"/>
                  <a:gd name="T8" fmla="*/ 91 w 234"/>
                  <a:gd name="T9" fmla="*/ 18 h 234"/>
                  <a:gd name="T10" fmla="*/ 111 w 234"/>
                  <a:gd name="T11" fmla="*/ 28 h 234"/>
                  <a:gd name="T12" fmla="*/ 130 w 234"/>
                  <a:gd name="T13" fmla="*/ 40 h 234"/>
                  <a:gd name="T14" fmla="*/ 148 w 234"/>
                  <a:gd name="T15" fmla="*/ 53 h 234"/>
                  <a:gd name="T16" fmla="*/ 165 w 234"/>
                  <a:gd name="T17" fmla="*/ 68 h 234"/>
                  <a:gd name="T18" fmla="*/ 180 w 234"/>
                  <a:gd name="T19" fmla="*/ 85 h 234"/>
                  <a:gd name="T20" fmla="*/ 194 w 234"/>
                  <a:gd name="T21" fmla="*/ 103 h 234"/>
                  <a:gd name="T22" fmla="*/ 205 w 234"/>
                  <a:gd name="T23" fmla="*/ 122 h 234"/>
                  <a:gd name="T24" fmla="*/ 215 w 234"/>
                  <a:gd name="T25" fmla="*/ 142 h 234"/>
                  <a:gd name="T26" fmla="*/ 223 w 234"/>
                  <a:gd name="T27" fmla="*/ 164 h 234"/>
                  <a:gd name="T28" fmla="*/ 229 w 234"/>
                  <a:gd name="T29" fmla="*/ 186 h 234"/>
                  <a:gd name="T30" fmla="*/ 233 w 234"/>
                  <a:gd name="T31" fmla="*/ 209 h 234"/>
                  <a:gd name="T32" fmla="*/ 234 w 234"/>
                  <a:gd name="T33" fmla="*/ 233 h 234"/>
                  <a:gd name="T34" fmla="*/ 0 w 234"/>
                  <a:gd name="T35" fmla="*/ 234 h 234"/>
                  <a:gd name="T36" fmla="*/ 0 w 234"/>
                  <a:gd name="T37" fmla="*/ 0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4"/>
                  <a:gd name="T58" fmla="*/ 0 h 234"/>
                  <a:gd name="T59" fmla="*/ 234 w 234"/>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4" h="234">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lnTo>
                      <a:pt x="0" y="234"/>
                    </a:lnTo>
                    <a:lnTo>
                      <a:pt x="0" y="0"/>
                    </a:lnTo>
                    <a:close/>
                  </a:path>
                </a:pathLst>
              </a:custGeom>
              <a:solidFill>
                <a:schemeClr val="accent3"/>
              </a:solidFill>
              <a:ln w="3175">
                <a:solidFill>
                  <a:schemeClr val="accent3"/>
                </a:solidFill>
                <a:round/>
                <a:headEnd/>
                <a:tailEnd/>
              </a:ln>
            </p:spPr>
            <p:txBody>
              <a:bodyPr/>
              <a:lstStyle/>
              <a:p>
                <a:pPr>
                  <a:defRPr/>
                </a:pPr>
                <a:endParaRPr lang="en-GB"/>
              </a:p>
            </p:txBody>
          </p:sp>
          <p:sp>
            <p:nvSpPr>
              <p:cNvPr id="88" name="Freeform 85"/>
              <p:cNvSpPr>
                <a:spLocks noChangeAspect="1"/>
              </p:cNvSpPr>
              <p:nvPr/>
            </p:nvSpPr>
            <p:spPr bwMode="auto">
              <a:xfrm>
                <a:off x="1364" y="1968"/>
                <a:ext cx="232" cy="234"/>
              </a:xfrm>
              <a:custGeom>
                <a:avLst/>
                <a:gdLst>
                  <a:gd name="T0" fmla="*/ 0 w 234"/>
                  <a:gd name="T1" fmla="*/ 0 h 233"/>
                  <a:gd name="T2" fmla="*/ 24 w 234"/>
                  <a:gd name="T3" fmla="*/ 1 h 233"/>
                  <a:gd name="T4" fmla="*/ 47 w 234"/>
                  <a:gd name="T5" fmla="*/ 5 h 233"/>
                  <a:gd name="T6" fmla="*/ 69 w 234"/>
                  <a:gd name="T7" fmla="*/ 10 h 233"/>
                  <a:gd name="T8" fmla="*/ 91 w 234"/>
                  <a:gd name="T9" fmla="*/ 18 h 233"/>
                  <a:gd name="T10" fmla="*/ 111 w 234"/>
                  <a:gd name="T11" fmla="*/ 28 h 233"/>
                  <a:gd name="T12" fmla="*/ 130 w 234"/>
                  <a:gd name="T13" fmla="*/ 40 h 233"/>
                  <a:gd name="T14" fmla="*/ 148 w 234"/>
                  <a:gd name="T15" fmla="*/ 53 h 233"/>
                  <a:gd name="T16" fmla="*/ 165 w 234"/>
                  <a:gd name="T17" fmla="*/ 68 h 233"/>
                  <a:gd name="T18" fmla="*/ 180 w 234"/>
                  <a:gd name="T19" fmla="*/ 85 h 233"/>
                  <a:gd name="T20" fmla="*/ 194 w 234"/>
                  <a:gd name="T21" fmla="*/ 103 h 233"/>
                  <a:gd name="T22" fmla="*/ 205 w 234"/>
                  <a:gd name="T23" fmla="*/ 122 h 233"/>
                  <a:gd name="T24" fmla="*/ 215 w 234"/>
                  <a:gd name="T25" fmla="*/ 142 h 233"/>
                  <a:gd name="T26" fmla="*/ 223 w 234"/>
                  <a:gd name="T27" fmla="*/ 164 h 233"/>
                  <a:gd name="T28" fmla="*/ 229 w 234"/>
                  <a:gd name="T29" fmla="*/ 186 h 233"/>
                  <a:gd name="T30" fmla="*/ 233 w 234"/>
                  <a:gd name="T31" fmla="*/ 209 h 233"/>
                  <a:gd name="T32" fmla="*/ 234 w 234"/>
                  <a:gd name="T33" fmla="*/ 233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4"/>
                  <a:gd name="T52" fmla="*/ 0 h 233"/>
                  <a:gd name="T53" fmla="*/ 234 w 23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4" h="233">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path>
                </a:pathLst>
              </a:custGeom>
              <a:solidFill>
                <a:schemeClr val="accent3"/>
              </a:solidFill>
              <a:ln w="3175">
                <a:solidFill>
                  <a:schemeClr val="accent3"/>
                </a:solidFill>
                <a:round/>
                <a:headEnd/>
                <a:tailEnd/>
              </a:ln>
            </p:spPr>
            <p:txBody>
              <a:bodyPr/>
              <a:lstStyle/>
              <a:p>
                <a:pPr>
                  <a:defRPr/>
                </a:pPr>
                <a:endParaRPr lang="en-GB"/>
              </a:p>
            </p:txBody>
          </p:sp>
        </p:grpSp>
        <p:sp>
          <p:nvSpPr>
            <p:cNvPr id="85" name="Freeform 86"/>
            <p:cNvSpPr>
              <a:spLocks noChangeAspect="1"/>
            </p:cNvSpPr>
            <p:nvPr/>
          </p:nvSpPr>
          <p:spPr bwMode="auto">
            <a:xfrm>
              <a:off x="4269" y="1278"/>
              <a:ext cx="158" cy="146"/>
            </a:xfrm>
            <a:custGeom>
              <a:avLst/>
              <a:gdLst>
                <a:gd name="T0" fmla="*/ 6 w 468"/>
                <a:gd name="T1" fmla="*/ 2 h 467"/>
                <a:gd name="T2" fmla="*/ 6 w 468"/>
                <a:gd name="T3" fmla="*/ 2 h 467"/>
                <a:gd name="T4" fmla="*/ 6 w 468"/>
                <a:gd name="T5" fmla="*/ 2 h 467"/>
                <a:gd name="T6" fmla="*/ 6 w 468"/>
                <a:gd name="T7" fmla="*/ 3 h 467"/>
                <a:gd name="T8" fmla="*/ 6 w 468"/>
                <a:gd name="T9" fmla="*/ 3 h 467"/>
                <a:gd name="T10" fmla="*/ 6 w 468"/>
                <a:gd name="T11" fmla="*/ 3 h 467"/>
                <a:gd name="T12" fmla="*/ 6 w 468"/>
                <a:gd name="T13" fmla="*/ 3 h 467"/>
                <a:gd name="T14" fmla="*/ 6 w 468"/>
                <a:gd name="T15" fmla="*/ 3 h 467"/>
                <a:gd name="T16" fmla="*/ 6 w 468"/>
                <a:gd name="T17" fmla="*/ 3 h 467"/>
                <a:gd name="T18" fmla="*/ 5 w 468"/>
                <a:gd name="T19" fmla="*/ 4 h 467"/>
                <a:gd name="T20" fmla="*/ 5 w 468"/>
                <a:gd name="T21" fmla="*/ 4 h 467"/>
                <a:gd name="T22" fmla="*/ 5 w 468"/>
                <a:gd name="T23" fmla="*/ 4 h 467"/>
                <a:gd name="T24" fmla="*/ 5 w 468"/>
                <a:gd name="T25" fmla="*/ 4 h 467"/>
                <a:gd name="T26" fmla="*/ 4 w 468"/>
                <a:gd name="T27" fmla="*/ 4 h 467"/>
                <a:gd name="T28" fmla="*/ 4 w 468"/>
                <a:gd name="T29" fmla="*/ 4 h 467"/>
                <a:gd name="T30" fmla="*/ 4 w 468"/>
                <a:gd name="T31" fmla="*/ 4 h 467"/>
                <a:gd name="T32" fmla="*/ 4 w 468"/>
                <a:gd name="T33" fmla="*/ 4 h 467"/>
                <a:gd name="T34" fmla="*/ 3 w 468"/>
                <a:gd name="T35" fmla="*/ 4 h 467"/>
                <a:gd name="T36" fmla="*/ 3 w 468"/>
                <a:gd name="T37" fmla="*/ 4 h 467"/>
                <a:gd name="T38" fmla="*/ 3 w 468"/>
                <a:gd name="T39" fmla="*/ 4 h 467"/>
                <a:gd name="T40" fmla="*/ 2 w 468"/>
                <a:gd name="T41" fmla="*/ 4 h 467"/>
                <a:gd name="T42" fmla="*/ 2 w 468"/>
                <a:gd name="T43" fmla="*/ 4 h 467"/>
                <a:gd name="T44" fmla="*/ 2 w 468"/>
                <a:gd name="T45" fmla="*/ 4 h 467"/>
                <a:gd name="T46" fmla="*/ 2 w 468"/>
                <a:gd name="T47" fmla="*/ 4 h 467"/>
                <a:gd name="T48" fmla="*/ 1 w 468"/>
                <a:gd name="T49" fmla="*/ 4 h 467"/>
                <a:gd name="T50" fmla="*/ 1 w 468"/>
                <a:gd name="T51" fmla="*/ 4 h 467"/>
                <a:gd name="T52" fmla="*/ 1 w 468"/>
                <a:gd name="T53" fmla="*/ 4 h 467"/>
                <a:gd name="T54" fmla="*/ 1 w 468"/>
                <a:gd name="T55" fmla="*/ 4 h 467"/>
                <a:gd name="T56" fmla="*/ 1 w 468"/>
                <a:gd name="T57" fmla="*/ 3 h 467"/>
                <a:gd name="T58" fmla="*/ 0 w 468"/>
                <a:gd name="T59" fmla="*/ 3 h 467"/>
                <a:gd name="T60" fmla="*/ 0 w 468"/>
                <a:gd name="T61" fmla="*/ 3 h 467"/>
                <a:gd name="T62" fmla="*/ 0 w 468"/>
                <a:gd name="T63" fmla="*/ 3 h 467"/>
                <a:gd name="T64" fmla="*/ 0 w 468"/>
                <a:gd name="T65" fmla="*/ 3 h 467"/>
                <a:gd name="T66" fmla="*/ 0 w 468"/>
                <a:gd name="T67" fmla="*/ 3 h 467"/>
                <a:gd name="T68" fmla="*/ 0 w 468"/>
                <a:gd name="T69" fmla="*/ 2 h 467"/>
                <a:gd name="T70" fmla="*/ 0 w 468"/>
                <a:gd name="T71" fmla="*/ 2 h 467"/>
                <a:gd name="T72" fmla="*/ 0 w 468"/>
                <a:gd name="T73" fmla="*/ 2 h 467"/>
                <a:gd name="T74" fmla="*/ 0 w 468"/>
                <a:gd name="T75" fmla="*/ 2 h 467"/>
                <a:gd name="T76" fmla="*/ 0 w 468"/>
                <a:gd name="T77" fmla="*/ 1 h 467"/>
                <a:gd name="T78" fmla="*/ 0 w 468"/>
                <a:gd name="T79" fmla="*/ 1 h 467"/>
                <a:gd name="T80" fmla="*/ 1 w 468"/>
                <a:gd name="T81" fmla="*/ 1 h 467"/>
                <a:gd name="T82" fmla="*/ 1 w 468"/>
                <a:gd name="T83" fmla="*/ 1 h 467"/>
                <a:gd name="T84" fmla="*/ 1 w 468"/>
                <a:gd name="T85" fmla="*/ 1 h 467"/>
                <a:gd name="T86" fmla="*/ 1 w 468"/>
                <a:gd name="T87" fmla="*/ 1 h 467"/>
                <a:gd name="T88" fmla="*/ 1 w 468"/>
                <a:gd name="T89" fmla="*/ 0 h 467"/>
                <a:gd name="T90" fmla="*/ 2 w 468"/>
                <a:gd name="T91" fmla="*/ 0 h 467"/>
                <a:gd name="T92" fmla="*/ 2 w 468"/>
                <a:gd name="T93" fmla="*/ 0 h 467"/>
                <a:gd name="T94" fmla="*/ 2 w 468"/>
                <a:gd name="T95" fmla="*/ 0 h 467"/>
                <a:gd name="T96" fmla="*/ 2 w 468"/>
                <a:gd name="T97" fmla="*/ 0 h 467"/>
                <a:gd name="T98" fmla="*/ 3 w 468"/>
                <a:gd name="T99" fmla="*/ 0 h 467"/>
                <a:gd name="T100" fmla="*/ 3 w 468"/>
                <a:gd name="T101" fmla="*/ 0 h 467"/>
                <a:gd name="T102" fmla="*/ 3 w 468"/>
                <a:gd name="T103" fmla="*/ 2 h 467"/>
                <a:gd name="T104" fmla="*/ 6 w 468"/>
                <a:gd name="T105" fmla="*/ 2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8"/>
                <a:gd name="T160" fmla="*/ 0 h 467"/>
                <a:gd name="T161" fmla="*/ 468 w 468"/>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468" y="232"/>
                  </a:lnTo>
                  <a:close/>
                </a:path>
              </a:pathLst>
            </a:custGeom>
            <a:noFill/>
            <a:ln w="3175">
              <a:solidFill>
                <a:schemeClr val="accent3"/>
              </a:solidFill>
              <a:round/>
              <a:headEnd/>
              <a:tailEnd/>
            </a:ln>
          </p:spPr>
          <p:txBody>
            <a:bodyPr/>
            <a:lstStyle/>
            <a:p>
              <a:pPr>
                <a:defRPr/>
              </a:pPr>
              <a:endParaRPr lang="en-GB"/>
            </a:p>
          </p:txBody>
        </p:sp>
        <p:sp>
          <p:nvSpPr>
            <p:cNvPr id="86" name="Freeform 87"/>
            <p:cNvSpPr>
              <a:spLocks noChangeAspect="1"/>
            </p:cNvSpPr>
            <p:nvPr/>
          </p:nvSpPr>
          <p:spPr bwMode="auto">
            <a:xfrm>
              <a:off x="4269" y="1278"/>
              <a:ext cx="158" cy="146"/>
            </a:xfrm>
            <a:custGeom>
              <a:avLst/>
              <a:gdLst>
                <a:gd name="T0" fmla="*/ 6 w 468"/>
                <a:gd name="T1" fmla="*/ 2 h 467"/>
                <a:gd name="T2" fmla="*/ 6 w 468"/>
                <a:gd name="T3" fmla="*/ 2 h 467"/>
                <a:gd name="T4" fmla="*/ 6 w 468"/>
                <a:gd name="T5" fmla="*/ 2 h 467"/>
                <a:gd name="T6" fmla="*/ 6 w 468"/>
                <a:gd name="T7" fmla="*/ 3 h 467"/>
                <a:gd name="T8" fmla="*/ 6 w 468"/>
                <a:gd name="T9" fmla="*/ 3 h 467"/>
                <a:gd name="T10" fmla="*/ 6 w 468"/>
                <a:gd name="T11" fmla="*/ 3 h 467"/>
                <a:gd name="T12" fmla="*/ 6 w 468"/>
                <a:gd name="T13" fmla="*/ 3 h 467"/>
                <a:gd name="T14" fmla="*/ 6 w 468"/>
                <a:gd name="T15" fmla="*/ 3 h 467"/>
                <a:gd name="T16" fmla="*/ 6 w 468"/>
                <a:gd name="T17" fmla="*/ 3 h 467"/>
                <a:gd name="T18" fmla="*/ 5 w 468"/>
                <a:gd name="T19" fmla="*/ 4 h 467"/>
                <a:gd name="T20" fmla="*/ 5 w 468"/>
                <a:gd name="T21" fmla="*/ 4 h 467"/>
                <a:gd name="T22" fmla="*/ 5 w 468"/>
                <a:gd name="T23" fmla="*/ 4 h 467"/>
                <a:gd name="T24" fmla="*/ 5 w 468"/>
                <a:gd name="T25" fmla="*/ 4 h 467"/>
                <a:gd name="T26" fmla="*/ 4 w 468"/>
                <a:gd name="T27" fmla="*/ 4 h 467"/>
                <a:gd name="T28" fmla="*/ 4 w 468"/>
                <a:gd name="T29" fmla="*/ 4 h 467"/>
                <a:gd name="T30" fmla="*/ 4 w 468"/>
                <a:gd name="T31" fmla="*/ 4 h 467"/>
                <a:gd name="T32" fmla="*/ 4 w 468"/>
                <a:gd name="T33" fmla="*/ 4 h 467"/>
                <a:gd name="T34" fmla="*/ 3 w 468"/>
                <a:gd name="T35" fmla="*/ 4 h 467"/>
                <a:gd name="T36" fmla="*/ 3 w 468"/>
                <a:gd name="T37" fmla="*/ 4 h 467"/>
                <a:gd name="T38" fmla="*/ 3 w 468"/>
                <a:gd name="T39" fmla="*/ 4 h 467"/>
                <a:gd name="T40" fmla="*/ 2 w 468"/>
                <a:gd name="T41" fmla="*/ 4 h 467"/>
                <a:gd name="T42" fmla="*/ 2 w 468"/>
                <a:gd name="T43" fmla="*/ 4 h 467"/>
                <a:gd name="T44" fmla="*/ 2 w 468"/>
                <a:gd name="T45" fmla="*/ 4 h 467"/>
                <a:gd name="T46" fmla="*/ 2 w 468"/>
                <a:gd name="T47" fmla="*/ 4 h 467"/>
                <a:gd name="T48" fmla="*/ 1 w 468"/>
                <a:gd name="T49" fmla="*/ 4 h 467"/>
                <a:gd name="T50" fmla="*/ 1 w 468"/>
                <a:gd name="T51" fmla="*/ 4 h 467"/>
                <a:gd name="T52" fmla="*/ 1 w 468"/>
                <a:gd name="T53" fmla="*/ 4 h 467"/>
                <a:gd name="T54" fmla="*/ 1 w 468"/>
                <a:gd name="T55" fmla="*/ 4 h 467"/>
                <a:gd name="T56" fmla="*/ 1 w 468"/>
                <a:gd name="T57" fmla="*/ 3 h 467"/>
                <a:gd name="T58" fmla="*/ 0 w 468"/>
                <a:gd name="T59" fmla="*/ 3 h 467"/>
                <a:gd name="T60" fmla="*/ 0 w 468"/>
                <a:gd name="T61" fmla="*/ 3 h 467"/>
                <a:gd name="T62" fmla="*/ 0 w 468"/>
                <a:gd name="T63" fmla="*/ 3 h 467"/>
                <a:gd name="T64" fmla="*/ 0 w 468"/>
                <a:gd name="T65" fmla="*/ 3 h 467"/>
                <a:gd name="T66" fmla="*/ 0 w 468"/>
                <a:gd name="T67" fmla="*/ 3 h 467"/>
                <a:gd name="T68" fmla="*/ 0 w 468"/>
                <a:gd name="T69" fmla="*/ 2 h 467"/>
                <a:gd name="T70" fmla="*/ 0 w 468"/>
                <a:gd name="T71" fmla="*/ 2 h 467"/>
                <a:gd name="T72" fmla="*/ 0 w 468"/>
                <a:gd name="T73" fmla="*/ 2 h 467"/>
                <a:gd name="T74" fmla="*/ 0 w 468"/>
                <a:gd name="T75" fmla="*/ 2 h 467"/>
                <a:gd name="T76" fmla="*/ 0 w 468"/>
                <a:gd name="T77" fmla="*/ 1 h 467"/>
                <a:gd name="T78" fmla="*/ 0 w 468"/>
                <a:gd name="T79" fmla="*/ 1 h 467"/>
                <a:gd name="T80" fmla="*/ 1 w 468"/>
                <a:gd name="T81" fmla="*/ 1 h 467"/>
                <a:gd name="T82" fmla="*/ 1 w 468"/>
                <a:gd name="T83" fmla="*/ 1 h 467"/>
                <a:gd name="T84" fmla="*/ 1 w 468"/>
                <a:gd name="T85" fmla="*/ 1 h 467"/>
                <a:gd name="T86" fmla="*/ 1 w 468"/>
                <a:gd name="T87" fmla="*/ 1 h 467"/>
                <a:gd name="T88" fmla="*/ 1 w 468"/>
                <a:gd name="T89" fmla="*/ 0 h 467"/>
                <a:gd name="T90" fmla="*/ 2 w 468"/>
                <a:gd name="T91" fmla="*/ 0 h 467"/>
                <a:gd name="T92" fmla="*/ 2 w 468"/>
                <a:gd name="T93" fmla="*/ 0 h 467"/>
                <a:gd name="T94" fmla="*/ 2 w 468"/>
                <a:gd name="T95" fmla="*/ 0 h 467"/>
                <a:gd name="T96" fmla="*/ 2 w 468"/>
                <a:gd name="T97" fmla="*/ 0 h 467"/>
                <a:gd name="T98" fmla="*/ 3 w 468"/>
                <a:gd name="T99" fmla="*/ 0 h 467"/>
                <a:gd name="T100" fmla="*/ 3 w 468"/>
                <a:gd name="T101" fmla="*/ 0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8"/>
                <a:gd name="T154" fmla="*/ 0 h 467"/>
                <a:gd name="T155" fmla="*/ 468 w 468"/>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3"/>
              </a:solidFill>
              <a:round/>
              <a:headEnd/>
              <a:tailEnd/>
            </a:ln>
          </p:spPr>
          <p:txBody>
            <a:bodyPr/>
            <a:lstStyle/>
            <a:p>
              <a:pPr>
                <a:defRPr/>
              </a:pPr>
              <a:endParaRPr lang="en-GB"/>
            </a:p>
          </p:txBody>
        </p:sp>
      </p:grpSp>
      <p:grpSp>
        <p:nvGrpSpPr>
          <p:cNvPr id="77" name="Group 88"/>
          <p:cNvGrpSpPr>
            <a:grpSpLocks/>
          </p:cNvGrpSpPr>
          <p:nvPr/>
        </p:nvGrpSpPr>
        <p:grpSpPr bwMode="auto">
          <a:xfrm>
            <a:off x="7299325" y="1990725"/>
            <a:ext cx="307975" cy="307975"/>
            <a:chOff x="4981" y="1254"/>
            <a:chExt cx="210" cy="194"/>
          </a:xfrm>
        </p:grpSpPr>
        <p:grpSp>
          <p:nvGrpSpPr>
            <p:cNvPr id="78" name="Group 89"/>
            <p:cNvGrpSpPr>
              <a:grpSpLocks noChangeAspect="1"/>
            </p:cNvGrpSpPr>
            <p:nvPr/>
          </p:nvGrpSpPr>
          <p:grpSpPr bwMode="auto">
            <a:xfrm>
              <a:off x="5086" y="1254"/>
              <a:ext cx="105" cy="97"/>
              <a:chOff x="1362" y="1968"/>
              <a:chExt cx="234" cy="234"/>
            </a:xfrm>
          </p:grpSpPr>
          <p:sp>
            <p:nvSpPr>
              <p:cNvPr id="94" name="Freeform 90"/>
              <p:cNvSpPr>
                <a:spLocks noChangeAspect="1"/>
              </p:cNvSpPr>
              <p:nvPr/>
            </p:nvSpPr>
            <p:spPr bwMode="auto">
              <a:xfrm>
                <a:off x="1362" y="1968"/>
                <a:ext cx="234" cy="234"/>
              </a:xfrm>
              <a:custGeom>
                <a:avLst/>
                <a:gdLst>
                  <a:gd name="T0" fmla="*/ 0 w 234"/>
                  <a:gd name="T1" fmla="*/ 0 h 234"/>
                  <a:gd name="T2" fmla="*/ 24 w 234"/>
                  <a:gd name="T3" fmla="*/ 1 h 234"/>
                  <a:gd name="T4" fmla="*/ 47 w 234"/>
                  <a:gd name="T5" fmla="*/ 5 h 234"/>
                  <a:gd name="T6" fmla="*/ 69 w 234"/>
                  <a:gd name="T7" fmla="*/ 10 h 234"/>
                  <a:gd name="T8" fmla="*/ 91 w 234"/>
                  <a:gd name="T9" fmla="*/ 18 h 234"/>
                  <a:gd name="T10" fmla="*/ 111 w 234"/>
                  <a:gd name="T11" fmla="*/ 28 h 234"/>
                  <a:gd name="T12" fmla="*/ 130 w 234"/>
                  <a:gd name="T13" fmla="*/ 40 h 234"/>
                  <a:gd name="T14" fmla="*/ 148 w 234"/>
                  <a:gd name="T15" fmla="*/ 53 h 234"/>
                  <a:gd name="T16" fmla="*/ 165 w 234"/>
                  <a:gd name="T17" fmla="*/ 68 h 234"/>
                  <a:gd name="T18" fmla="*/ 180 w 234"/>
                  <a:gd name="T19" fmla="*/ 85 h 234"/>
                  <a:gd name="T20" fmla="*/ 194 w 234"/>
                  <a:gd name="T21" fmla="*/ 103 h 234"/>
                  <a:gd name="T22" fmla="*/ 205 w 234"/>
                  <a:gd name="T23" fmla="*/ 122 h 234"/>
                  <a:gd name="T24" fmla="*/ 215 w 234"/>
                  <a:gd name="T25" fmla="*/ 142 h 234"/>
                  <a:gd name="T26" fmla="*/ 223 w 234"/>
                  <a:gd name="T27" fmla="*/ 164 h 234"/>
                  <a:gd name="T28" fmla="*/ 229 w 234"/>
                  <a:gd name="T29" fmla="*/ 186 h 234"/>
                  <a:gd name="T30" fmla="*/ 233 w 234"/>
                  <a:gd name="T31" fmla="*/ 209 h 234"/>
                  <a:gd name="T32" fmla="*/ 234 w 234"/>
                  <a:gd name="T33" fmla="*/ 233 h 234"/>
                  <a:gd name="T34" fmla="*/ 0 w 234"/>
                  <a:gd name="T35" fmla="*/ 234 h 234"/>
                  <a:gd name="T36" fmla="*/ 0 w 234"/>
                  <a:gd name="T37" fmla="*/ 0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4"/>
                  <a:gd name="T58" fmla="*/ 0 h 234"/>
                  <a:gd name="T59" fmla="*/ 234 w 234"/>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4" h="234">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lnTo>
                      <a:pt x="0" y="234"/>
                    </a:lnTo>
                    <a:lnTo>
                      <a:pt x="0" y="0"/>
                    </a:lnTo>
                    <a:close/>
                  </a:path>
                </a:pathLst>
              </a:custGeom>
              <a:solidFill>
                <a:schemeClr val="accent3"/>
              </a:solidFill>
              <a:ln w="3175">
                <a:solidFill>
                  <a:schemeClr val="accent3"/>
                </a:solidFill>
                <a:round/>
                <a:headEnd/>
                <a:tailEnd/>
              </a:ln>
            </p:spPr>
            <p:txBody>
              <a:bodyPr/>
              <a:lstStyle/>
              <a:p>
                <a:pPr>
                  <a:defRPr/>
                </a:pPr>
                <a:endParaRPr lang="en-GB"/>
              </a:p>
            </p:txBody>
          </p:sp>
          <p:sp>
            <p:nvSpPr>
              <p:cNvPr id="95" name="Freeform 91"/>
              <p:cNvSpPr>
                <a:spLocks noChangeAspect="1"/>
              </p:cNvSpPr>
              <p:nvPr/>
            </p:nvSpPr>
            <p:spPr bwMode="auto">
              <a:xfrm>
                <a:off x="1362" y="1968"/>
                <a:ext cx="234" cy="234"/>
              </a:xfrm>
              <a:custGeom>
                <a:avLst/>
                <a:gdLst>
                  <a:gd name="T0" fmla="*/ 0 w 234"/>
                  <a:gd name="T1" fmla="*/ 0 h 233"/>
                  <a:gd name="T2" fmla="*/ 24 w 234"/>
                  <a:gd name="T3" fmla="*/ 1 h 233"/>
                  <a:gd name="T4" fmla="*/ 47 w 234"/>
                  <a:gd name="T5" fmla="*/ 5 h 233"/>
                  <a:gd name="T6" fmla="*/ 69 w 234"/>
                  <a:gd name="T7" fmla="*/ 10 h 233"/>
                  <a:gd name="T8" fmla="*/ 91 w 234"/>
                  <a:gd name="T9" fmla="*/ 18 h 233"/>
                  <a:gd name="T10" fmla="*/ 111 w 234"/>
                  <a:gd name="T11" fmla="*/ 28 h 233"/>
                  <a:gd name="T12" fmla="*/ 130 w 234"/>
                  <a:gd name="T13" fmla="*/ 40 h 233"/>
                  <a:gd name="T14" fmla="*/ 148 w 234"/>
                  <a:gd name="T15" fmla="*/ 53 h 233"/>
                  <a:gd name="T16" fmla="*/ 165 w 234"/>
                  <a:gd name="T17" fmla="*/ 68 h 233"/>
                  <a:gd name="T18" fmla="*/ 180 w 234"/>
                  <a:gd name="T19" fmla="*/ 85 h 233"/>
                  <a:gd name="T20" fmla="*/ 194 w 234"/>
                  <a:gd name="T21" fmla="*/ 103 h 233"/>
                  <a:gd name="T22" fmla="*/ 205 w 234"/>
                  <a:gd name="T23" fmla="*/ 122 h 233"/>
                  <a:gd name="T24" fmla="*/ 215 w 234"/>
                  <a:gd name="T25" fmla="*/ 142 h 233"/>
                  <a:gd name="T26" fmla="*/ 223 w 234"/>
                  <a:gd name="T27" fmla="*/ 164 h 233"/>
                  <a:gd name="T28" fmla="*/ 229 w 234"/>
                  <a:gd name="T29" fmla="*/ 186 h 233"/>
                  <a:gd name="T30" fmla="*/ 233 w 234"/>
                  <a:gd name="T31" fmla="*/ 209 h 233"/>
                  <a:gd name="T32" fmla="*/ 234 w 234"/>
                  <a:gd name="T33" fmla="*/ 233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4"/>
                  <a:gd name="T52" fmla="*/ 0 h 233"/>
                  <a:gd name="T53" fmla="*/ 234 w 23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4" h="233">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path>
                </a:pathLst>
              </a:custGeom>
              <a:solidFill>
                <a:schemeClr val="accent3"/>
              </a:solidFill>
              <a:ln w="3175">
                <a:solidFill>
                  <a:schemeClr val="accent3"/>
                </a:solidFill>
                <a:round/>
                <a:headEnd/>
                <a:tailEnd/>
              </a:ln>
            </p:spPr>
            <p:txBody>
              <a:bodyPr/>
              <a:lstStyle/>
              <a:p>
                <a:pPr>
                  <a:defRPr/>
                </a:pPr>
                <a:endParaRPr lang="en-GB"/>
              </a:p>
            </p:txBody>
          </p:sp>
        </p:grpSp>
        <p:grpSp>
          <p:nvGrpSpPr>
            <p:cNvPr id="83" name="Group 92"/>
            <p:cNvGrpSpPr>
              <a:grpSpLocks noChangeAspect="1"/>
            </p:cNvGrpSpPr>
            <p:nvPr/>
          </p:nvGrpSpPr>
          <p:grpSpPr bwMode="auto">
            <a:xfrm>
              <a:off x="4981" y="1254"/>
              <a:ext cx="210" cy="194"/>
              <a:chOff x="1128" y="1968"/>
              <a:chExt cx="468" cy="467"/>
            </a:xfrm>
          </p:grpSpPr>
          <p:sp>
            <p:nvSpPr>
              <p:cNvPr id="92" name="Freeform 93"/>
              <p:cNvSpPr>
                <a:spLocks noChangeAspect="1"/>
              </p:cNvSpPr>
              <p:nvPr/>
            </p:nvSpPr>
            <p:spPr bwMode="auto">
              <a:xfrm>
                <a:off x="1128" y="1968"/>
                <a:ext cx="468" cy="467"/>
              </a:xfrm>
              <a:custGeom>
                <a:avLst/>
                <a:gdLst>
                  <a:gd name="T0" fmla="*/ 468 w 468"/>
                  <a:gd name="T1" fmla="*/ 232 h 467"/>
                  <a:gd name="T2" fmla="*/ 468 w 468"/>
                  <a:gd name="T3" fmla="*/ 233 h 467"/>
                  <a:gd name="T4" fmla="*/ 468 w 468"/>
                  <a:gd name="T5" fmla="*/ 233 h 467"/>
                  <a:gd name="T6" fmla="*/ 467 w 468"/>
                  <a:gd name="T7" fmla="*/ 257 h 467"/>
                  <a:gd name="T8" fmla="*/ 463 w 468"/>
                  <a:gd name="T9" fmla="*/ 280 h 467"/>
                  <a:gd name="T10" fmla="*/ 457 w 468"/>
                  <a:gd name="T11" fmla="*/ 303 h 467"/>
                  <a:gd name="T12" fmla="*/ 450 w 468"/>
                  <a:gd name="T13" fmla="*/ 324 h 467"/>
                  <a:gd name="T14" fmla="*/ 440 w 468"/>
                  <a:gd name="T15" fmla="*/ 344 h 467"/>
                  <a:gd name="T16" fmla="*/ 428 w 468"/>
                  <a:gd name="T17" fmla="*/ 364 h 467"/>
                  <a:gd name="T18" fmla="*/ 415 w 468"/>
                  <a:gd name="T19" fmla="*/ 382 h 467"/>
                  <a:gd name="T20" fmla="*/ 399 w 468"/>
                  <a:gd name="T21" fmla="*/ 398 h 467"/>
                  <a:gd name="T22" fmla="*/ 383 w 468"/>
                  <a:gd name="T23" fmla="*/ 414 h 467"/>
                  <a:gd name="T24" fmla="*/ 365 w 468"/>
                  <a:gd name="T25" fmla="*/ 427 h 467"/>
                  <a:gd name="T26" fmla="*/ 345 w 468"/>
                  <a:gd name="T27" fmla="*/ 439 h 467"/>
                  <a:gd name="T28" fmla="*/ 325 w 468"/>
                  <a:gd name="T29" fmla="*/ 449 h 467"/>
                  <a:gd name="T30" fmla="*/ 304 w 468"/>
                  <a:gd name="T31" fmla="*/ 456 h 467"/>
                  <a:gd name="T32" fmla="*/ 281 w 468"/>
                  <a:gd name="T33" fmla="*/ 462 h 467"/>
                  <a:gd name="T34" fmla="*/ 258 w 468"/>
                  <a:gd name="T35" fmla="*/ 466 h 467"/>
                  <a:gd name="T36" fmla="*/ 234 w 468"/>
                  <a:gd name="T37" fmla="*/ 467 h 467"/>
                  <a:gd name="T38" fmla="*/ 210 w 468"/>
                  <a:gd name="T39" fmla="*/ 466 h 467"/>
                  <a:gd name="T40" fmla="*/ 187 w 468"/>
                  <a:gd name="T41" fmla="*/ 462 h 467"/>
                  <a:gd name="T42" fmla="*/ 165 w 468"/>
                  <a:gd name="T43" fmla="*/ 456 h 467"/>
                  <a:gd name="T44" fmla="*/ 143 w 468"/>
                  <a:gd name="T45" fmla="*/ 449 h 467"/>
                  <a:gd name="T46" fmla="*/ 123 w 468"/>
                  <a:gd name="T47" fmla="*/ 439 h 467"/>
                  <a:gd name="T48" fmla="*/ 103 w 468"/>
                  <a:gd name="T49" fmla="*/ 427 h 467"/>
                  <a:gd name="T50" fmla="*/ 85 w 468"/>
                  <a:gd name="T51" fmla="*/ 414 h 467"/>
                  <a:gd name="T52" fmla="*/ 69 w 468"/>
                  <a:gd name="T53" fmla="*/ 398 h 467"/>
                  <a:gd name="T54" fmla="*/ 54 w 468"/>
                  <a:gd name="T55" fmla="*/ 382 h 467"/>
                  <a:gd name="T56" fmla="*/ 40 w 468"/>
                  <a:gd name="T57" fmla="*/ 364 h 467"/>
                  <a:gd name="T58" fmla="*/ 28 w 468"/>
                  <a:gd name="T59" fmla="*/ 344 h 467"/>
                  <a:gd name="T60" fmla="*/ 18 w 468"/>
                  <a:gd name="T61" fmla="*/ 324 h 467"/>
                  <a:gd name="T62" fmla="*/ 11 w 468"/>
                  <a:gd name="T63" fmla="*/ 303 h 467"/>
                  <a:gd name="T64" fmla="*/ 5 w 468"/>
                  <a:gd name="T65" fmla="*/ 280 h 467"/>
                  <a:gd name="T66" fmla="*/ 1 w 468"/>
                  <a:gd name="T67" fmla="*/ 257 h 467"/>
                  <a:gd name="T68" fmla="*/ 0 w 468"/>
                  <a:gd name="T69" fmla="*/ 233 h 467"/>
                  <a:gd name="T70" fmla="*/ 1 w 468"/>
                  <a:gd name="T71" fmla="*/ 209 h 467"/>
                  <a:gd name="T72" fmla="*/ 5 w 468"/>
                  <a:gd name="T73" fmla="*/ 186 h 467"/>
                  <a:gd name="T74" fmla="*/ 11 w 468"/>
                  <a:gd name="T75" fmla="*/ 164 h 467"/>
                  <a:gd name="T76" fmla="*/ 18 w 468"/>
                  <a:gd name="T77" fmla="*/ 143 h 467"/>
                  <a:gd name="T78" fmla="*/ 28 w 468"/>
                  <a:gd name="T79" fmla="*/ 122 h 467"/>
                  <a:gd name="T80" fmla="*/ 40 w 468"/>
                  <a:gd name="T81" fmla="*/ 103 h 467"/>
                  <a:gd name="T82" fmla="*/ 54 w 468"/>
                  <a:gd name="T83" fmla="*/ 85 h 467"/>
                  <a:gd name="T84" fmla="*/ 69 w 468"/>
                  <a:gd name="T85" fmla="*/ 69 h 467"/>
                  <a:gd name="T86" fmla="*/ 85 w 468"/>
                  <a:gd name="T87" fmla="*/ 53 h 467"/>
                  <a:gd name="T88" fmla="*/ 103 w 468"/>
                  <a:gd name="T89" fmla="*/ 40 h 467"/>
                  <a:gd name="T90" fmla="*/ 123 w 468"/>
                  <a:gd name="T91" fmla="*/ 28 h 467"/>
                  <a:gd name="T92" fmla="*/ 143 w 468"/>
                  <a:gd name="T93" fmla="*/ 18 h 467"/>
                  <a:gd name="T94" fmla="*/ 165 w 468"/>
                  <a:gd name="T95" fmla="*/ 11 h 467"/>
                  <a:gd name="T96" fmla="*/ 187 w 468"/>
                  <a:gd name="T97" fmla="*/ 5 h 467"/>
                  <a:gd name="T98" fmla="*/ 210 w 468"/>
                  <a:gd name="T99" fmla="*/ 1 h 467"/>
                  <a:gd name="T100" fmla="*/ 234 w 468"/>
                  <a:gd name="T101" fmla="*/ 0 h 467"/>
                  <a:gd name="T102" fmla="*/ 234 w 468"/>
                  <a:gd name="T103" fmla="*/ 233 h 467"/>
                  <a:gd name="T104" fmla="*/ 468 w 468"/>
                  <a:gd name="T105" fmla="*/ 232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8"/>
                  <a:gd name="T160" fmla="*/ 0 h 467"/>
                  <a:gd name="T161" fmla="*/ 468 w 468"/>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468" y="232"/>
                    </a:lnTo>
                    <a:close/>
                  </a:path>
                </a:pathLst>
              </a:custGeom>
              <a:solidFill>
                <a:srgbClr val="FFFFFF"/>
              </a:solidFill>
              <a:ln w="3175">
                <a:solidFill>
                  <a:schemeClr val="accent3"/>
                </a:solidFill>
                <a:round/>
                <a:headEnd/>
                <a:tailEnd/>
              </a:ln>
            </p:spPr>
            <p:txBody>
              <a:bodyPr/>
              <a:lstStyle/>
              <a:p>
                <a:pPr>
                  <a:defRPr/>
                </a:pPr>
                <a:endParaRPr lang="en-GB"/>
              </a:p>
            </p:txBody>
          </p:sp>
          <p:sp>
            <p:nvSpPr>
              <p:cNvPr id="93" name="Freeform 94"/>
              <p:cNvSpPr>
                <a:spLocks noChangeAspect="1"/>
              </p:cNvSpPr>
              <p:nvPr/>
            </p:nvSpPr>
            <p:spPr bwMode="auto">
              <a:xfrm>
                <a:off x="1128" y="1968"/>
                <a:ext cx="468" cy="467"/>
              </a:xfrm>
              <a:custGeom>
                <a:avLst/>
                <a:gdLst>
                  <a:gd name="T0" fmla="*/ 468 w 468"/>
                  <a:gd name="T1" fmla="*/ 232 h 467"/>
                  <a:gd name="T2" fmla="*/ 468 w 468"/>
                  <a:gd name="T3" fmla="*/ 233 h 467"/>
                  <a:gd name="T4" fmla="*/ 468 w 468"/>
                  <a:gd name="T5" fmla="*/ 233 h 467"/>
                  <a:gd name="T6" fmla="*/ 467 w 468"/>
                  <a:gd name="T7" fmla="*/ 257 h 467"/>
                  <a:gd name="T8" fmla="*/ 463 w 468"/>
                  <a:gd name="T9" fmla="*/ 280 h 467"/>
                  <a:gd name="T10" fmla="*/ 457 w 468"/>
                  <a:gd name="T11" fmla="*/ 303 h 467"/>
                  <a:gd name="T12" fmla="*/ 450 w 468"/>
                  <a:gd name="T13" fmla="*/ 324 h 467"/>
                  <a:gd name="T14" fmla="*/ 440 w 468"/>
                  <a:gd name="T15" fmla="*/ 344 h 467"/>
                  <a:gd name="T16" fmla="*/ 428 w 468"/>
                  <a:gd name="T17" fmla="*/ 364 h 467"/>
                  <a:gd name="T18" fmla="*/ 415 w 468"/>
                  <a:gd name="T19" fmla="*/ 382 h 467"/>
                  <a:gd name="T20" fmla="*/ 399 w 468"/>
                  <a:gd name="T21" fmla="*/ 398 h 467"/>
                  <a:gd name="T22" fmla="*/ 383 w 468"/>
                  <a:gd name="T23" fmla="*/ 414 h 467"/>
                  <a:gd name="T24" fmla="*/ 365 w 468"/>
                  <a:gd name="T25" fmla="*/ 427 h 467"/>
                  <a:gd name="T26" fmla="*/ 345 w 468"/>
                  <a:gd name="T27" fmla="*/ 439 h 467"/>
                  <a:gd name="T28" fmla="*/ 325 w 468"/>
                  <a:gd name="T29" fmla="*/ 449 h 467"/>
                  <a:gd name="T30" fmla="*/ 304 w 468"/>
                  <a:gd name="T31" fmla="*/ 456 h 467"/>
                  <a:gd name="T32" fmla="*/ 281 w 468"/>
                  <a:gd name="T33" fmla="*/ 462 h 467"/>
                  <a:gd name="T34" fmla="*/ 258 w 468"/>
                  <a:gd name="T35" fmla="*/ 466 h 467"/>
                  <a:gd name="T36" fmla="*/ 234 w 468"/>
                  <a:gd name="T37" fmla="*/ 467 h 467"/>
                  <a:gd name="T38" fmla="*/ 210 w 468"/>
                  <a:gd name="T39" fmla="*/ 466 h 467"/>
                  <a:gd name="T40" fmla="*/ 187 w 468"/>
                  <a:gd name="T41" fmla="*/ 462 h 467"/>
                  <a:gd name="T42" fmla="*/ 165 w 468"/>
                  <a:gd name="T43" fmla="*/ 456 h 467"/>
                  <a:gd name="T44" fmla="*/ 143 w 468"/>
                  <a:gd name="T45" fmla="*/ 449 h 467"/>
                  <a:gd name="T46" fmla="*/ 123 w 468"/>
                  <a:gd name="T47" fmla="*/ 439 h 467"/>
                  <a:gd name="T48" fmla="*/ 103 w 468"/>
                  <a:gd name="T49" fmla="*/ 427 h 467"/>
                  <a:gd name="T50" fmla="*/ 85 w 468"/>
                  <a:gd name="T51" fmla="*/ 414 h 467"/>
                  <a:gd name="T52" fmla="*/ 69 w 468"/>
                  <a:gd name="T53" fmla="*/ 398 h 467"/>
                  <a:gd name="T54" fmla="*/ 54 w 468"/>
                  <a:gd name="T55" fmla="*/ 382 h 467"/>
                  <a:gd name="T56" fmla="*/ 40 w 468"/>
                  <a:gd name="T57" fmla="*/ 364 h 467"/>
                  <a:gd name="T58" fmla="*/ 28 w 468"/>
                  <a:gd name="T59" fmla="*/ 344 h 467"/>
                  <a:gd name="T60" fmla="*/ 18 w 468"/>
                  <a:gd name="T61" fmla="*/ 324 h 467"/>
                  <a:gd name="T62" fmla="*/ 11 w 468"/>
                  <a:gd name="T63" fmla="*/ 303 h 467"/>
                  <a:gd name="T64" fmla="*/ 5 w 468"/>
                  <a:gd name="T65" fmla="*/ 280 h 467"/>
                  <a:gd name="T66" fmla="*/ 1 w 468"/>
                  <a:gd name="T67" fmla="*/ 257 h 467"/>
                  <a:gd name="T68" fmla="*/ 0 w 468"/>
                  <a:gd name="T69" fmla="*/ 233 h 467"/>
                  <a:gd name="T70" fmla="*/ 1 w 468"/>
                  <a:gd name="T71" fmla="*/ 209 h 467"/>
                  <a:gd name="T72" fmla="*/ 5 w 468"/>
                  <a:gd name="T73" fmla="*/ 186 h 467"/>
                  <a:gd name="T74" fmla="*/ 11 w 468"/>
                  <a:gd name="T75" fmla="*/ 164 h 467"/>
                  <a:gd name="T76" fmla="*/ 18 w 468"/>
                  <a:gd name="T77" fmla="*/ 143 h 467"/>
                  <a:gd name="T78" fmla="*/ 28 w 468"/>
                  <a:gd name="T79" fmla="*/ 122 h 467"/>
                  <a:gd name="T80" fmla="*/ 40 w 468"/>
                  <a:gd name="T81" fmla="*/ 103 h 467"/>
                  <a:gd name="T82" fmla="*/ 54 w 468"/>
                  <a:gd name="T83" fmla="*/ 85 h 467"/>
                  <a:gd name="T84" fmla="*/ 69 w 468"/>
                  <a:gd name="T85" fmla="*/ 69 h 467"/>
                  <a:gd name="T86" fmla="*/ 85 w 468"/>
                  <a:gd name="T87" fmla="*/ 53 h 467"/>
                  <a:gd name="T88" fmla="*/ 103 w 468"/>
                  <a:gd name="T89" fmla="*/ 40 h 467"/>
                  <a:gd name="T90" fmla="*/ 123 w 468"/>
                  <a:gd name="T91" fmla="*/ 28 h 467"/>
                  <a:gd name="T92" fmla="*/ 143 w 468"/>
                  <a:gd name="T93" fmla="*/ 18 h 467"/>
                  <a:gd name="T94" fmla="*/ 165 w 468"/>
                  <a:gd name="T95" fmla="*/ 11 h 467"/>
                  <a:gd name="T96" fmla="*/ 187 w 468"/>
                  <a:gd name="T97" fmla="*/ 5 h 467"/>
                  <a:gd name="T98" fmla="*/ 210 w 468"/>
                  <a:gd name="T99" fmla="*/ 1 h 467"/>
                  <a:gd name="T100" fmla="*/ 234 w 468"/>
                  <a:gd name="T101" fmla="*/ 0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8"/>
                  <a:gd name="T154" fmla="*/ 0 h 467"/>
                  <a:gd name="T155" fmla="*/ 468 w 468"/>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3"/>
                </a:solidFill>
                <a:round/>
                <a:headEnd/>
                <a:tailEnd/>
              </a:ln>
            </p:spPr>
            <p:txBody>
              <a:bodyPr/>
              <a:lstStyle/>
              <a:p>
                <a:pPr>
                  <a:defRPr/>
                </a:pPr>
                <a:endParaRPr lang="en-GB"/>
              </a:p>
            </p:txBody>
          </p:sp>
        </p:grpSp>
      </p:grpSp>
      <p:sp>
        <p:nvSpPr>
          <p:cNvPr id="794648" name="Text Box 95"/>
          <p:cNvSpPr txBox="1">
            <a:spLocks noChangeArrowheads="1"/>
          </p:cNvSpPr>
          <p:nvPr/>
        </p:nvSpPr>
        <p:spPr bwMode="auto">
          <a:xfrm>
            <a:off x="1514475" y="2066925"/>
            <a:ext cx="149225" cy="215900"/>
          </a:xfrm>
          <a:prstGeom prst="rect">
            <a:avLst/>
          </a:prstGeom>
          <a:noFill/>
          <a:ln w="9525">
            <a:noFill/>
            <a:miter lim="800000"/>
            <a:headEnd/>
            <a:tailEnd/>
          </a:ln>
        </p:spPr>
        <p:txBody>
          <a:bodyPr wrap="none" lIns="0" tIns="0" rIns="0" bIns="0">
            <a:spAutoFit/>
          </a:bodyPr>
          <a:lstStyle/>
          <a:p>
            <a:pPr algn="ctr"/>
            <a:r>
              <a:rPr lang="en-GB" altLang="ja-JP" sz="1400">
                <a:solidFill>
                  <a:schemeClr val="tx2"/>
                </a:solidFill>
                <a:ea typeface="ＭＳ Ｐゴシック" charset="-128"/>
              </a:rPr>
              <a:t>¼</a:t>
            </a:r>
          </a:p>
        </p:txBody>
      </p:sp>
      <p:grpSp>
        <p:nvGrpSpPr>
          <p:cNvPr id="84" name="Group 96"/>
          <p:cNvGrpSpPr>
            <a:grpSpLocks/>
          </p:cNvGrpSpPr>
          <p:nvPr/>
        </p:nvGrpSpPr>
        <p:grpSpPr bwMode="auto">
          <a:xfrm>
            <a:off x="5251450" y="2047875"/>
            <a:ext cx="193675" cy="193675"/>
            <a:chOff x="3584" y="1290"/>
            <a:chExt cx="132" cy="122"/>
          </a:xfrm>
        </p:grpSpPr>
        <p:grpSp>
          <p:nvGrpSpPr>
            <p:cNvPr id="89" name="Group 97"/>
            <p:cNvGrpSpPr>
              <a:grpSpLocks noChangeAspect="1"/>
            </p:cNvGrpSpPr>
            <p:nvPr/>
          </p:nvGrpSpPr>
          <p:grpSpPr bwMode="auto">
            <a:xfrm>
              <a:off x="3650" y="1290"/>
              <a:ext cx="66" cy="61"/>
              <a:chOff x="1362" y="1968"/>
              <a:chExt cx="234" cy="234"/>
            </a:xfrm>
          </p:grpSpPr>
          <p:sp>
            <p:nvSpPr>
              <p:cNvPr id="102" name="Freeform 98"/>
              <p:cNvSpPr>
                <a:spLocks noChangeAspect="1"/>
              </p:cNvSpPr>
              <p:nvPr/>
            </p:nvSpPr>
            <p:spPr bwMode="auto">
              <a:xfrm>
                <a:off x="1362" y="1968"/>
                <a:ext cx="234" cy="234"/>
              </a:xfrm>
              <a:custGeom>
                <a:avLst/>
                <a:gdLst>
                  <a:gd name="T0" fmla="*/ 0 w 234"/>
                  <a:gd name="T1" fmla="*/ 0 h 234"/>
                  <a:gd name="T2" fmla="*/ 24 w 234"/>
                  <a:gd name="T3" fmla="*/ 1 h 234"/>
                  <a:gd name="T4" fmla="*/ 47 w 234"/>
                  <a:gd name="T5" fmla="*/ 5 h 234"/>
                  <a:gd name="T6" fmla="*/ 69 w 234"/>
                  <a:gd name="T7" fmla="*/ 10 h 234"/>
                  <a:gd name="T8" fmla="*/ 91 w 234"/>
                  <a:gd name="T9" fmla="*/ 18 h 234"/>
                  <a:gd name="T10" fmla="*/ 111 w 234"/>
                  <a:gd name="T11" fmla="*/ 28 h 234"/>
                  <a:gd name="T12" fmla="*/ 130 w 234"/>
                  <a:gd name="T13" fmla="*/ 40 h 234"/>
                  <a:gd name="T14" fmla="*/ 148 w 234"/>
                  <a:gd name="T15" fmla="*/ 53 h 234"/>
                  <a:gd name="T16" fmla="*/ 165 w 234"/>
                  <a:gd name="T17" fmla="*/ 68 h 234"/>
                  <a:gd name="T18" fmla="*/ 180 w 234"/>
                  <a:gd name="T19" fmla="*/ 85 h 234"/>
                  <a:gd name="T20" fmla="*/ 194 w 234"/>
                  <a:gd name="T21" fmla="*/ 103 h 234"/>
                  <a:gd name="T22" fmla="*/ 205 w 234"/>
                  <a:gd name="T23" fmla="*/ 122 h 234"/>
                  <a:gd name="T24" fmla="*/ 215 w 234"/>
                  <a:gd name="T25" fmla="*/ 142 h 234"/>
                  <a:gd name="T26" fmla="*/ 223 w 234"/>
                  <a:gd name="T27" fmla="*/ 164 h 234"/>
                  <a:gd name="T28" fmla="*/ 229 w 234"/>
                  <a:gd name="T29" fmla="*/ 186 h 234"/>
                  <a:gd name="T30" fmla="*/ 233 w 234"/>
                  <a:gd name="T31" fmla="*/ 209 h 234"/>
                  <a:gd name="T32" fmla="*/ 234 w 234"/>
                  <a:gd name="T33" fmla="*/ 233 h 234"/>
                  <a:gd name="T34" fmla="*/ 0 w 234"/>
                  <a:gd name="T35" fmla="*/ 234 h 234"/>
                  <a:gd name="T36" fmla="*/ 0 w 234"/>
                  <a:gd name="T37" fmla="*/ 0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4"/>
                  <a:gd name="T58" fmla="*/ 0 h 234"/>
                  <a:gd name="T59" fmla="*/ 234 w 234"/>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4" h="234">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lnTo>
                      <a:pt x="0" y="234"/>
                    </a:lnTo>
                    <a:lnTo>
                      <a:pt x="0" y="0"/>
                    </a:lnTo>
                    <a:close/>
                  </a:path>
                </a:pathLst>
              </a:custGeom>
              <a:solidFill>
                <a:schemeClr val="accent3"/>
              </a:solidFill>
              <a:ln w="3175">
                <a:solidFill>
                  <a:schemeClr val="accent3"/>
                </a:solidFill>
                <a:round/>
                <a:headEnd/>
                <a:tailEnd/>
              </a:ln>
            </p:spPr>
            <p:txBody>
              <a:bodyPr/>
              <a:lstStyle/>
              <a:p>
                <a:pPr>
                  <a:defRPr/>
                </a:pPr>
                <a:endParaRPr lang="en-GB"/>
              </a:p>
            </p:txBody>
          </p:sp>
          <p:sp>
            <p:nvSpPr>
              <p:cNvPr id="103" name="Freeform 99"/>
              <p:cNvSpPr>
                <a:spLocks noChangeAspect="1"/>
              </p:cNvSpPr>
              <p:nvPr/>
            </p:nvSpPr>
            <p:spPr bwMode="auto">
              <a:xfrm>
                <a:off x="1362" y="1968"/>
                <a:ext cx="234" cy="234"/>
              </a:xfrm>
              <a:custGeom>
                <a:avLst/>
                <a:gdLst>
                  <a:gd name="T0" fmla="*/ 0 w 234"/>
                  <a:gd name="T1" fmla="*/ 0 h 233"/>
                  <a:gd name="T2" fmla="*/ 24 w 234"/>
                  <a:gd name="T3" fmla="*/ 1 h 233"/>
                  <a:gd name="T4" fmla="*/ 47 w 234"/>
                  <a:gd name="T5" fmla="*/ 5 h 233"/>
                  <a:gd name="T6" fmla="*/ 69 w 234"/>
                  <a:gd name="T7" fmla="*/ 10 h 233"/>
                  <a:gd name="T8" fmla="*/ 91 w 234"/>
                  <a:gd name="T9" fmla="*/ 18 h 233"/>
                  <a:gd name="T10" fmla="*/ 111 w 234"/>
                  <a:gd name="T11" fmla="*/ 28 h 233"/>
                  <a:gd name="T12" fmla="*/ 130 w 234"/>
                  <a:gd name="T13" fmla="*/ 40 h 233"/>
                  <a:gd name="T14" fmla="*/ 148 w 234"/>
                  <a:gd name="T15" fmla="*/ 53 h 233"/>
                  <a:gd name="T16" fmla="*/ 165 w 234"/>
                  <a:gd name="T17" fmla="*/ 68 h 233"/>
                  <a:gd name="T18" fmla="*/ 180 w 234"/>
                  <a:gd name="T19" fmla="*/ 85 h 233"/>
                  <a:gd name="T20" fmla="*/ 194 w 234"/>
                  <a:gd name="T21" fmla="*/ 103 h 233"/>
                  <a:gd name="T22" fmla="*/ 205 w 234"/>
                  <a:gd name="T23" fmla="*/ 122 h 233"/>
                  <a:gd name="T24" fmla="*/ 215 w 234"/>
                  <a:gd name="T25" fmla="*/ 142 h 233"/>
                  <a:gd name="T26" fmla="*/ 223 w 234"/>
                  <a:gd name="T27" fmla="*/ 164 h 233"/>
                  <a:gd name="T28" fmla="*/ 229 w 234"/>
                  <a:gd name="T29" fmla="*/ 186 h 233"/>
                  <a:gd name="T30" fmla="*/ 233 w 234"/>
                  <a:gd name="T31" fmla="*/ 209 h 233"/>
                  <a:gd name="T32" fmla="*/ 234 w 234"/>
                  <a:gd name="T33" fmla="*/ 233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4"/>
                  <a:gd name="T52" fmla="*/ 0 h 233"/>
                  <a:gd name="T53" fmla="*/ 234 w 23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4" h="233">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path>
                </a:pathLst>
              </a:custGeom>
              <a:solidFill>
                <a:schemeClr val="accent3"/>
              </a:solidFill>
              <a:ln w="3175">
                <a:solidFill>
                  <a:schemeClr val="accent3"/>
                </a:solidFill>
                <a:round/>
                <a:headEnd/>
                <a:tailEnd/>
              </a:ln>
            </p:spPr>
            <p:txBody>
              <a:bodyPr/>
              <a:lstStyle/>
              <a:p>
                <a:pPr>
                  <a:defRPr/>
                </a:pPr>
                <a:endParaRPr lang="en-GB"/>
              </a:p>
            </p:txBody>
          </p:sp>
        </p:grpSp>
        <p:grpSp>
          <p:nvGrpSpPr>
            <p:cNvPr id="90" name="Group 100"/>
            <p:cNvGrpSpPr>
              <a:grpSpLocks noChangeAspect="1"/>
            </p:cNvGrpSpPr>
            <p:nvPr/>
          </p:nvGrpSpPr>
          <p:grpSpPr bwMode="auto">
            <a:xfrm>
              <a:off x="3584" y="1290"/>
              <a:ext cx="132" cy="122"/>
              <a:chOff x="1128" y="1968"/>
              <a:chExt cx="468" cy="467"/>
            </a:xfrm>
          </p:grpSpPr>
          <p:sp>
            <p:nvSpPr>
              <p:cNvPr id="100" name="Freeform 101"/>
              <p:cNvSpPr>
                <a:spLocks noChangeAspect="1"/>
              </p:cNvSpPr>
              <p:nvPr/>
            </p:nvSpPr>
            <p:spPr bwMode="auto">
              <a:xfrm>
                <a:off x="1128" y="1968"/>
                <a:ext cx="468" cy="467"/>
              </a:xfrm>
              <a:custGeom>
                <a:avLst/>
                <a:gdLst>
                  <a:gd name="T0" fmla="*/ 468 w 468"/>
                  <a:gd name="T1" fmla="*/ 232 h 467"/>
                  <a:gd name="T2" fmla="*/ 468 w 468"/>
                  <a:gd name="T3" fmla="*/ 233 h 467"/>
                  <a:gd name="T4" fmla="*/ 468 w 468"/>
                  <a:gd name="T5" fmla="*/ 233 h 467"/>
                  <a:gd name="T6" fmla="*/ 467 w 468"/>
                  <a:gd name="T7" fmla="*/ 257 h 467"/>
                  <a:gd name="T8" fmla="*/ 463 w 468"/>
                  <a:gd name="T9" fmla="*/ 280 h 467"/>
                  <a:gd name="T10" fmla="*/ 457 w 468"/>
                  <a:gd name="T11" fmla="*/ 303 h 467"/>
                  <a:gd name="T12" fmla="*/ 450 w 468"/>
                  <a:gd name="T13" fmla="*/ 324 h 467"/>
                  <a:gd name="T14" fmla="*/ 440 w 468"/>
                  <a:gd name="T15" fmla="*/ 344 h 467"/>
                  <a:gd name="T16" fmla="*/ 428 w 468"/>
                  <a:gd name="T17" fmla="*/ 364 h 467"/>
                  <a:gd name="T18" fmla="*/ 415 w 468"/>
                  <a:gd name="T19" fmla="*/ 382 h 467"/>
                  <a:gd name="T20" fmla="*/ 399 w 468"/>
                  <a:gd name="T21" fmla="*/ 398 h 467"/>
                  <a:gd name="T22" fmla="*/ 383 w 468"/>
                  <a:gd name="T23" fmla="*/ 414 h 467"/>
                  <a:gd name="T24" fmla="*/ 365 w 468"/>
                  <a:gd name="T25" fmla="*/ 427 h 467"/>
                  <a:gd name="T26" fmla="*/ 345 w 468"/>
                  <a:gd name="T27" fmla="*/ 439 h 467"/>
                  <a:gd name="T28" fmla="*/ 325 w 468"/>
                  <a:gd name="T29" fmla="*/ 449 h 467"/>
                  <a:gd name="T30" fmla="*/ 304 w 468"/>
                  <a:gd name="T31" fmla="*/ 456 h 467"/>
                  <a:gd name="T32" fmla="*/ 281 w 468"/>
                  <a:gd name="T33" fmla="*/ 462 h 467"/>
                  <a:gd name="T34" fmla="*/ 258 w 468"/>
                  <a:gd name="T35" fmla="*/ 466 h 467"/>
                  <a:gd name="T36" fmla="*/ 234 w 468"/>
                  <a:gd name="T37" fmla="*/ 467 h 467"/>
                  <a:gd name="T38" fmla="*/ 210 w 468"/>
                  <a:gd name="T39" fmla="*/ 466 h 467"/>
                  <a:gd name="T40" fmla="*/ 187 w 468"/>
                  <a:gd name="T41" fmla="*/ 462 h 467"/>
                  <a:gd name="T42" fmla="*/ 165 w 468"/>
                  <a:gd name="T43" fmla="*/ 456 h 467"/>
                  <a:gd name="T44" fmla="*/ 143 w 468"/>
                  <a:gd name="T45" fmla="*/ 449 h 467"/>
                  <a:gd name="T46" fmla="*/ 123 w 468"/>
                  <a:gd name="T47" fmla="*/ 439 h 467"/>
                  <a:gd name="T48" fmla="*/ 103 w 468"/>
                  <a:gd name="T49" fmla="*/ 427 h 467"/>
                  <a:gd name="T50" fmla="*/ 85 w 468"/>
                  <a:gd name="T51" fmla="*/ 414 h 467"/>
                  <a:gd name="T52" fmla="*/ 69 w 468"/>
                  <a:gd name="T53" fmla="*/ 398 h 467"/>
                  <a:gd name="T54" fmla="*/ 54 w 468"/>
                  <a:gd name="T55" fmla="*/ 382 h 467"/>
                  <a:gd name="T56" fmla="*/ 40 w 468"/>
                  <a:gd name="T57" fmla="*/ 364 h 467"/>
                  <a:gd name="T58" fmla="*/ 28 w 468"/>
                  <a:gd name="T59" fmla="*/ 344 h 467"/>
                  <a:gd name="T60" fmla="*/ 18 w 468"/>
                  <a:gd name="T61" fmla="*/ 324 h 467"/>
                  <a:gd name="T62" fmla="*/ 11 w 468"/>
                  <a:gd name="T63" fmla="*/ 303 h 467"/>
                  <a:gd name="T64" fmla="*/ 5 w 468"/>
                  <a:gd name="T65" fmla="*/ 280 h 467"/>
                  <a:gd name="T66" fmla="*/ 1 w 468"/>
                  <a:gd name="T67" fmla="*/ 257 h 467"/>
                  <a:gd name="T68" fmla="*/ 0 w 468"/>
                  <a:gd name="T69" fmla="*/ 233 h 467"/>
                  <a:gd name="T70" fmla="*/ 1 w 468"/>
                  <a:gd name="T71" fmla="*/ 209 h 467"/>
                  <a:gd name="T72" fmla="*/ 5 w 468"/>
                  <a:gd name="T73" fmla="*/ 186 h 467"/>
                  <a:gd name="T74" fmla="*/ 11 w 468"/>
                  <a:gd name="T75" fmla="*/ 164 h 467"/>
                  <a:gd name="T76" fmla="*/ 18 w 468"/>
                  <a:gd name="T77" fmla="*/ 143 h 467"/>
                  <a:gd name="T78" fmla="*/ 28 w 468"/>
                  <a:gd name="T79" fmla="*/ 122 h 467"/>
                  <a:gd name="T80" fmla="*/ 40 w 468"/>
                  <a:gd name="T81" fmla="*/ 103 h 467"/>
                  <a:gd name="T82" fmla="*/ 54 w 468"/>
                  <a:gd name="T83" fmla="*/ 85 h 467"/>
                  <a:gd name="T84" fmla="*/ 69 w 468"/>
                  <a:gd name="T85" fmla="*/ 69 h 467"/>
                  <a:gd name="T86" fmla="*/ 85 w 468"/>
                  <a:gd name="T87" fmla="*/ 53 h 467"/>
                  <a:gd name="T88" fmla="*/ 103 w 468"/>
                  <a:gd name="T89" fmla="*/ 40 h 467"/>
                  <a:gd name="T90" fmla="*/ 123 w 468"/>
                  <a:gd name="T91" fmla="*/ 28 h 467"/>
                  <a:gd name="T92" fmla="*/ 143 w 468"/>
                  <a:gd name="T93" fmla="*/ 18 h 467"/>
                  <a:gd name="T94" fmla="*/ 165 w 468"/>
                  <a:gd name="T95" fmla="*/ 11 h 467"/>
                  <a:gd name="T96" fmla="*/ 187 w 468"/>
                  <a:gd name="T97" fmla="*/ 5 h 467"/>
                  <a:gd name="T98" fmla="*/ 210 w 468"/>
                  <a:gd name="T99" fmla="*/ 1 h 467"/>
                  <a:gd name="T100" fmla="*/ 234 w 468"/>
                  <a:gd name="T101" fmla="*/ 0 h 467"/>
                  <a:gd name="T102" fmla="*/ 234 w 468"/>
                  <a:gd name="T103" fmla="*/ 233 h 467"/>
                  <a:gd name="T104" fmla="*/ 468 w 468"/>
                  <a:gd name="T105" fmla="*/ 232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8"/>
                  <a:gd name="T160" fmla="*/ 0 h 467"/>
                  <a:gd name="T161" fmla="*/ 468 w 468"/>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468" y="232"/>
                    </a:lnTo>
                    <a:close/>
                  </a:path>
                </a:pathLst>
              </a:custGeom>
              <a:solidFill>
                <a:srgbClr val="FFFFFF"/>
              </a:solidFill>
              <a:ln w="3175">
                <a:solidFill>
                  <a:schemeClr val="accent3"/>
                </a:solidFill>
                <a:round/>
                <a:headEnd/>
                <a:tailEnd/>
              </a:ln>
            </p:spPr>
            <p:txBody>
              <a:bodyPr/>
              <a:lstStyle/>
              <a:p>
                <a:pPr>
                  <a:defRPr/>
                </a:pPr>
                <a:endParaRPr lang="en-GB"/>
              </a:p>
            </p:txBody>
          </p:sp>
          <p:sp>
            <p:nvSpPr>
              <p:cNvPr id="101" name="Freeform 102"/>
              <p:cNvSpPr>
                <a:spLocks noChangeAspect="1"/>
              </p:cNvSpPr>
              <p:nvPr/>
            </p:nvSpPr>
            <p:spPr bwMode="auto">
              <a:xfrm>
                <a:off x="1128" y="1968"/>
                <a:ext cx="468" cy="467"/>
              </a:xfrm>
              <a:custGeom>
                <a:avLst/>
                <a:gdLst>
                  <a:gd name="T0" fmla="*/ 468 w 468"/>
                  <a:gd name="T1" fmla="*/ 232 h 467"/>
                  <a:gd name="T2" fmla="*/ 468 w 468"/>
                  <a:gd name="T3" fmla="*/ 233 h 467"/>
                  <a:gd name="T4" fmla="*/ 468 w 468"/>
                  <a:gd name="T5" fmla="*/ 233 h 467"/>
                  <a:gd name="T6" fmla="*/ 467 w 468"/>
                  <a:gd name="T7" fmla="*/ 257 h 467"/>
                  <a:gd name="T8" fmla="*/ 463 w 468"/>
                  <a:gd name="T9" fmla="*/ 280 h 467"/>
                  <a:gd name="T10" fmla="*/ 457 w 468"/>
                  <a:gd name="T11" fmla="*/ 303 h 467"/>
                  <a:gd name="T12" fmla="*/ 450 w 468"/>
                  <a:gd name="T13" fmla="*/ 324 h 467"/>
                  <a:gd name="T14" fmla="*/ 440 w 468"/>
                  <a:gd name="T15" fmla="*/ 344 h 467"/>
                  <a:gd name="T16" fmla="*/ 428 w 468"/>
                  <a:gd name="T17" fmla="*/ 364 h 467"/>
                  <a:gd name="T18" fmla="*/ 415 w 468"/>
                  <a:gd name="T19" fmla="*/ 382 h 467"/>
                  <a:gd name="T20" fmla="*/ 399 w 468"/>
                  <a:gd name="T21" fmla="*/ 398 h 467"/>
                  <a:gd name="T22" fmla="*/ 383 w 468"/>
                  <a:gd name="T23" fmla="*/ 414 h 467"/>
                  <a:gd name="T24" fmla="*/ 365 w 468"/>
                  <a:gd name="T25" fmla="*/ 427 h 467"/>
                  <a:gd name="T26" fmla="*/ 345 w 468"/>
                  <a:gd name="T27" fmla="*/ 439 h 467"/>
                  <a:gd name="T28" fmla="*/ 325 w 468"/>
                  <a:gd name="T29" fmla="*/ 449 h 467"/>
                  <a:gd name="T30" fmla="*/ 304 w 468"/>
                  <a:gd name="T31" fmla="*/ 456 h 467"/>
                  <a:gd name="T32" fmla="*/ 281 w 468"/>
                  <a:gd name="T33" fmla="*/ 462 h 467"/>
                  <a:gd name="T34" fmla="*/ 258 w 468"/>
                  <a:gd name="T35" fmla="*/ 466 h 467"/>
                  <a:gd name="T36" fmla="*/ 234 w 468"/>
                  <a:gd name="T37" fmla="*/ 467 h 467"/>
                  <a:gd name="T38" fmla="*/ 210 w 468"/>
                  <a:gd name="T39" fmla="*/ 466 h 467"/>
                  <a:gd name="T40" fmla="*/ 187 w 468"/>
                  <a:gd name="T41" fmla="*/ 462 h 467"/>
                  <a:gd name="T42" fmla="*/ 165 w 468"/>
                  <a:gd name="T43" fmla="*/ 456 h 467"/>
                  <a:gd name="T44" fmla="*/ 143 w 468"/>
                  <a:gd name="T45" fmla="*/ 449 h 467"/>
                  <a:gd name="T46" fmla="*/ 123 w 468"/>
                  <a:gd name="T47" fmla="*/ 439 h 467"/>
                  <a:gd name="T48" fmla="*/ 103 w 468"/>
                  <a:gd name="T49" fmla="*/ 427 h 467"/>
                  <a:gd name="T50" fmla="*/ 85 w 468"/>
                  <a:gd name="T51" fmla="*/ 414 h 467"/>
                  <a:gd name="T52" fmla="*/ 69 w 468"/>
                  <a:gd name="T53" fmla="*/ 398 h 467"/>
                  <a:gd name="T54" fmla="*/ 54 w 468"/>
                  <a:gd name="T55" fmla="*/ 382 h 467"/>
                  <a:gd name="T56" fmla="*/ 40 w 468"/>
                  <a:gd name="T57" fmla="*/ 364 h 467"/>
                  <a:gd name="T58" fmla="*/ 28 w 468"/>
                  <a:gd name="T59" fmla="*/ 344 h 467"/>
                  <a:gd name="T60" fmla="*/ 18 w 468"/>
                  <a:gd name="T61" fmla="*/ 324 h 467"/>
                  <a:gd name="T62" fmla="*/ 11 w 468"/>
                  <a:gd name="T63" fmla="*/ 303 h 467"/>
                  <a:gd name="T64" fmla="*/ 5 w 468"/>
                  <a:gd name="T65" fmla="*/ 280 h 467"/>
                  <a:gd name="T66" fmla="*/ 1 w 468"/>
                  <a:gd name="T67" fmla="*/ 257 h 467"/>
                  <a:gd name="T68" fmla="*/ 0 w 468"/>
                  <a:gd name="T69" fmla="*/ 233 h 467"/>
                  <a:gd name="T70" fmla="*/ 1 w 468"/>
                  <a:gd name="T71" fmla="*/ 209 h 467"/>
                  <a:gd name="T72" fmla="*/ 5 w 468"/>
                  <a:gd name="T73" fmla="*/ 186 h 467"/>
                  <a:gd name="T74" fmla="*/ 11 w 468"/>
                  <a:gd name="T75" fmla="*/ 164 h 467"/>
                  <a:gd name="T76" fmla="*/ 18 w 468"/>
                  <a:gd name="T77" fmla="*/ 143 h 467"/>
                  <a:gd name="T78" fmla="*/ 28 w 468"/>
                  <a:gd name="T79" fmla="*/ 122 h 467"/>
                  <a:gd name="T80" fmla="*/ 40 w 468"/>
                  <a:gd name="T81" fmla="*/ 103 h 467"/>
                  <a:gd name="T82" fmla="*/ 54 w 468"/>
                  <a:gd name="T83" fmla="*/ 85 h 467"/>
                  <a:gd name="T84" fmla="*/ 69 w 468"/>
                  <a:gd name="T85" fmla="*/ 69 h 467"/>
                  <a:gd name="T86" fmla="*/ 85 w 468"/>
                  <a:gd name="T87" fmla="*/ 53 h 467"/>
                  <a:gd name="T88" fmla="*/ 103 w 468"/>
                  <a:gd name="T89" fmla="*/ 40 h 467"/>
                  <a:gd name="T90" fmla="*/ 123 w 468"/>
                  <a:gd name="T91" fmla="*/ 28 h 467"/>
                  <a:gd name="T92" fmla="*/ 143 w 468"/>
                  <a:gd name="T93" fmla="*/ 18 h 467"/>
                  <a:gd name="T94" fmla="*/ 165 w 468"/>
                  <a:gd name="T95" fmla="*/ 11 h 467"/>
                  <a:gd name="T96" fmla="*/ 187 w 468"/>
                  <a:gd name="T97" fmla="*/ 5 h 467"/>
                  <a:gd name="T98" fmla="*/ 210 w 468"/>
                  <a:gd name="T99" fmla="*/ 1 h 467"/>
                  <a:gd name="T100" fmla="*/ 234 w 468"/>
                  <a:gd name="T101" fmla="*/ 0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8"/>
                  <a:gd name="T154" fmla="*/ 0 h 467"/>
                  <a:gd name="T155" fmla="*/ 468 w 468"/>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3"/>
                </a:solidFill>
                <a:round/>
                <a:headEnd/>
                <a:tailEnd/>
              </a:ln>
            </p:spPr>
            <p:txBody>
              <a:bodyPr/>
              <a:lstStyle/>
              <a:p>
                <a:pPr>
                  <a:defRPr/>
                </a:pPr>
                <a:endParaRPr lang="en-GB"/>
              </a:p>
            </p:txBody>
          </p:sp>
        </p:grpSp>
      </p:grpSp>
      <p:sp>
        <p:nvSpPr>
          <p:cNvPr id="104" name="Oval 103"/>
          <p:cNvSpPr>
            <a:spLocks noChangeAspect="1" noChangeArrowheads="1"/>
          </p:cNvSpPr>
          <p:nvPr/>
        </p:nvSpPr>
        <p:spPr bwMode="auto">
          <a:xfrm>
            <a:off x="2473325" y="1652588"/>
            <a:ext cx="77788" cy="77787"/>
          </a:xfrm>
          <a:prstGeom prst="ellipse">
            <a:avLst/>
          </a:prstGeom>
          <a:solidFill>
            <a:srgbClr val="FFFFFF"/>
          </a:solidFill>
          <a:ln w="3175">
            <a:solidFill>
              <a:schemeClr val="accent3"/>
            </a:solidFill>
            <a:round/>
            <a:headEnd/>
            <a:tailEnd/>
          </a:ln>
        </p:spPr>
        <p:txBody>
          <a:bodyPr wrap="none" lIns="0" tIns="0" rIns="0" bIns="0" anchor="ctr"/>
          <a:lstStyle/>
          <a:p>
            <a:pPr algn="ctr">
              <a:defRPr/>
            </a:pPr>
            <a:endParaRPr lang="en-GB"/>
          </a:p>
        </p:txBody>
      </p:sp>
      <p:sp>
        <p:nvSpPr>
          <p:cNvPr id="105" name="Oval 104"/>
          <p:cNvSpPr>
            <a:spLocks noChangeAspect="1" noChangeArrowheads="1"/>
          </p:cNvSpPr>
          <p:nvPr/>
        </p:nvSpPr>
        <p:spPr bwMode="auto">
          <a:xfrm>
            <a:off x="4287838" y="1614488"/>
            <a:ext cx="153987" cy="153987"/>
          </a:xfrm>
          <a:prstGeom prst="ellipse">
            <a:avLst/>
          </a:prstGeom>
          <a:solidFill>
            <a:srgbClr val="FFFFFF"/>
          </a:solidFill>
          <a:ln w="3175">
            <a:solidFill>
              <a:schemeClr val="accent3"/>
            </a:solidFill>
            <a:round/>
            <a:headEnd/>
            <a:tailEnd/>
          </a:ln>
        </p:spPr>
        <p:txBody>
          <a:bodyPr wrap="none" lIns="0" tIns="0" rIns="0" bIns="0" anchor="ctr"/>
          <a:lstStyle/>
          <a:p>
            <a:pPr algn="ctr">
              <a:defRPr/>
            </a:pPr>
            <a:endParaRPr lang="en-GB"/>
          </a:p>
        </p:txBody>
      </p:sp>
      <p:sp>
        <p:nvSpPr>
          <p:cNvPr id="106" name="Oval 105"/>
          <p:cNvSpPr>
            <a:spLocks noChangeAspect="1" noChangeArrowheads="1"/>
          </p:cNvSpPr>
          <p:nvPr/>
        </p:nvSpPr>
        <p:spPr bwMode="auto">
          <a:xfrm>
            <a:off x="6256338" y="1576388"/>
            <a:ext cx="230187" cy="231775"/>
          </a:xfrm>
          <a:prstGeom prst="ellipse">
            <a:avLst/>
          </a:prstGeom>
          <a:solidFill>
            <a:srgbClr val="FFFFFF"/>
          </a:solidFill>
          <a:ln w="3175">
            <a:solidFill>
              <a:schemeClr val="accent3"/>
            </a:solidFill>
            <a:round/>
            <a:headEnd/>
            <a:tailEnd/>
          </a:ln>
        </p:spPr>
        <p:txBody>
          <a:bodyPr wrap="none" lIns="0" tIns="0" rIns="0" bIns="0" anchor="ctr"/>
          <a:lstStyle/>
          <a:p>
            <a:pPr algn="ctr">
              <a:defRPr/>
            </a:pPr>
            <a:endParaRPr lang="en-GB"/>
          </a:p>
        </p:txBody>
      </p:sp>
      <p:sp>
        <p:nvSpPr>
          <p:cNvPr id="107" name="Oval 106"/>
          <p:cNvSpPr>
            <a:spLocks noChangeAspect="1" noChangeArrowheads="1"/>
          </p:cNvSpPr>
          <p:nvPr/>
        </p:nvSpPr>
        <p:spPr bwMode="auto">
          <a:xfrm>
            <a:off x="7299325" y="1536700"/>
            <a:ext cx="307975" cy="307975"/>
          </a:xfrm>
          <a:prstGeom prst="ellipse">
            <a:avLst/>
          </a:prstGeom>
          <a:solidFill>
            <a:srgbClr val="FFFFFF"/>
          </a:solidFill>
          <a:ln w="3175">
            <a:solidFill>
              <a:schemeClr val="accent3"/>
            </a:solidFill>
            <a:round/>
            <a:headEnd/>
            <a:tailEnd/>
          </a:ln>
        </p:spPr>
        <p:txBody>
          <a:bodyPr wrap="none" lIns="0" tIns="0" rIns="0" bIns="0" anchor="ctr"/>
          <a:lstStyle/>
          <a:p>
            <a:pPr algn="ctr">
              <a:defRPr/>
            </a:pPr>
            <a:endParaRPr lang="en-GB"/>
          </a:p>
        </p:txBody>
      </p:sp>
      <p:sp>
        <p:nvSpPr>
          <p:cNvPr id="794654" name="Text Box 107"/>
          <p:cNvSpPr txBox="1">
            <a:spLocks noChangeArrowheads="1"/>
          </p:cNvSpPr>
          <p:nvPr/>
        </p:nvSpPr>
        <p:spPr bwMode="auto">
          <a:xfrm>
            <a:off x="1535113" y="1611313"/>
            <a:ext cx="98425" cy="215900"/>
          </a:xfrm>
          <a:prstGeom prst="rect">
            <a:avLst/>
          </a:prstGeom>
          <a:noFill/>
          <a:ln w="9525">
            <a:noFill/>
            <a:miter lim="800000"/>
            <a:headEnd/>
            <a:tailEnd/>
          </a:ln>
        </p:spPr>
        <p:txBody>
          <a:bodyPr wrap="none" lIns="0" tIns="0" rIns="0" bIns="0">
            <a:spAutoFit/>
          </a:bodyPr>
          <a:lstStyle/>
          <a:p>
            <a:pPr algn="ctr"/>
            <a:r>
              <a:rPr lang="en-GB" altLang="ja-JP" sz="1400">
                <a:solidFill>
                  <a:schemeClr val="tx2"/>
                </a:solidFill>
                <a:ea typeface="ＭＳ Ｐゴシック" charset="-128"/>
              </a:rPr>
              <a:t>0</a:t>
            </a:r>
          </a:p>
        </p:txBody>
      </p:sp>
      <p:sp>
        <p:nvSpPr>
          <p:cNvPr id="109" name="Oval 108"/>
          <p:cNvSpPr>
            <a:spLocks noChangeAspect="1" noChangeArrowheads="1"/>
          </p:cNvSpPr>
          <p:nvPr/>
        </p:nvSpPr>
        <p:spPr bwMode="auto">
          <a:xfrm>
            <a:off x="3360738" y="1633538"/>
            <a:ext cx="115887" cy="115887"/>
          </a:xfrm>
          <a:prstGeom prst="ellipse">
            <a:avLst/>
          </a:prstGeom>
          <a:solidFill>
            <a:srgbClr val="FFFFFF"/>
          </a:solidFill>
          <a:ln w="3175">
            <a:solidFill>
              <a:schemeClr val="accent3"/>
            </a:solidFill>
            <a:round/>
            <a:headEnd/>
            <a:tailEnd/>
          </a:ln>
        </p:spPr>
        <p:txBody>
          <a:bodyPr wrap="none" lIns="0" tIns="0" rIns="0" bIns="0" anchor="ctr"/>
          <a:lstStyle/>
          <a:p>
            <a:pPr algn="ctr">
              <a:defRPr/>
            </a:pPr>
            <a:endParaRPr lang="en-GB"/>
          </a:p>
        </p:txBody>
      </p:sp>
      <p:sp>
        <p:nvSpPr>
          <p:cNvPr id="110" name="Oval 109"/>
          <p:cNvSpPr>
            <a:spLocks noChangeAspect="1" noChangeArrowheads="1"/>
          </p:cNvSpPr>
          <p:nvPr/>
        </p:nvSpPr>
        <p:spPr bwMode="auto">
          <a:xfrm>
            <a:off x="5251450" y="1593850"/>
            <a:ext cx="193675" cy="193675"/>
          </a:xfrm>
          <a:prstGeom prst="ellipse">
            <a:avLst/>
          </a:prstGeom>
          <a:solidFill>
            <a:srgbClr val="FFFFFF"/>
          </a:solidFill>
          <a:ln w="3175">
            <a:solidFill>
              <a:schemeClr val="accent3"/>
            </a:solidFill>
            <a:round/>
            <a:headEnd/>
            <a:tailEnd/>
          </a:ln>
        </p:spPr>
        <p:txBody>
          <a:bodyPr wrap="none" lIns="0" tIns="0" rIns="0" bIns="0" anchor="ctr"/>
          <a:lstStyle/>
          <a:p>
            <a:pPr algn="ctr">
              <a:defRPr/>
            </a:pPr>
            <a:endParaRPr lang="en-GB"/>
          </a:p>
        </p:txBody>
      </p:sp>
      <p:sp>
        <p:nvSpPr>
          <p:cNvPr id="111" name="Oval 110"/>
          <p:cNvSpPr>
            <a:spLocks noChangeAspect="1" noChangeArrowheads="1"/>
          </p:cNvSpPr>
          <p:nvPr/>
        </p:nvSpPr>
        <p:spPr bwMode="auto">
          <a:xfrm>
            <a:off x="2473325" y="3470275"/>
            <a:ext cx="77788" cy="77788"/>
          </a:xfrm>
          <a:prstGeom prst="ellipse">
            <a:avLst/>
          </a:prstGeom>
          <a:solidFill>
            <a:schemeClr val="accent3"/>
          </a:solidFill>
          <a:ln w="3175">
            <a:solidFill>
              <a:schemeClr val="accent3"/>
            </a:solidFill>
            <a:round/>
            <a:headEnd/>
            <a:tailEnd/>
          </a:ln>
        </p:spPr>
        <p:txBody>
          <a:bodyPr wrap="none" lIns="0" tIns="0" rIns="0" bIns="0" anchor="ctr"/>
          <a:lstStyle/>
          <a:p>
            <a:pPr algn="ctr">
              <a:defRPr/>
            </a:pPr>
            <a:endParaRPr lang="en-GB"/>
          </a:p>
        </p:txBody>
      </p:sp>
      <p:sp>
        <p:nvSpPr>
          <p:cNvPr id="112" name="Oval 111"/>
          <p:cNvSpPr>
            <a:spLocks noChangeAspect="1" noChangeArrowheads="1"/>
          </p:cNvSpPr>
          <p:nvPr/>
        </p:nvSpPr>
        <p:spPr bwMode="auto">
          <a:xfrm>
            <a:off x="4287838" y="3432175"/>
            <a:ext cx="153987" cy="153988"/>
          </a:xfrm>
          <a:prstGeom prst="ellipse">
            <a:avLst/>
          </a:prstGeom>
          <a:solidFill>
            <a:schemeClr val="accent3"/>
          </a:solidFill>
          <a:ln w="3175">
            <a:solidFill>
              <a:schemeClr val="accent3"/>
            </a:solidFill>
            <a:round/>
            <a:headEnd/>
            <a:tailEnd/>
          </a:ln>
        </p:spPr>
        <p:txBody>
          <a:bodyPr wrap="none" lIns="0" tIns="0" rIns="0" bIns="0" anchor="ctr"/>
          <a:lstStyle/>
          <a:p>
            <a:pPr algn="ctr">
              <a:defRPr/>
            </a:pPr>
            <a:endParaRPr lang="en-GB"/>
          </a:p>
        </p:txBody>
      </p:sp>
      <p:sp>
        <p:nvSpPr>
          <p:cNvPr id="113" name="Oval 112"/>
          <p:cNvSpPr>
            <a:spLocks noChangeAspect="1" noChangeArrowheads="1"/>
          </p:cNvSpPr>
          <p:nvPr/>
        </p:nvSpPr>
        <p:spPr bwMode="auto">
          <a:xfrm>
            <a:off x="6256338" y="3394075"/>
            <a:ext cx="230187" cy="231775"/>
          </a:xfrm>
          <a:prstGeom prst="ellipse">
            <a:avLst/>
          </a:prstGeom>
          <a:solidFill>
            <a:schemeClr val="accent3"/>
          </a:solidFill>
          <a:ln w="3175">
            <a:solidFill>
              <a:schemeClr val="accent3"/>
            </a:solidFill>
            <a:round/>
            <a:headEnd/>
            <a:tailEnd/>
          </a:ln>
        </p:spPr>
        <p:txBody>
          <a:bodyPr wrap="none" lIns="0" tIns="0" rIns="0" bIns="0" anchor="ctr"/>
          <a:lstStyle/>
          <a:p>
            <a:pPr algn="ctr">
              <a:defRPr/>
            </a:pPr>
            <a:endParaRPr lang="en-GB"/>
          </a:p>
        </p:txBody>
      </p:sp>
      <p:sp>
        <p:nvSpPr>
          <p:cNvPr id="114" name="Oval 113"/>
          <p:cNvSpPr>
            <a:spLocks noChangeAspect="1" noChangeArrowheads="1"/>
          </p:cNvSpPr>
          <p:nvPr/>
        </p:nvSpPr>
        <p:spPr bwMode="auto">
          <a:xfrm>
            <a:off x="7299325" y="3354388"/>
            <a:ext cx="307975" cy="307975"/>
          </a:xfrm>
          <a:prstGeom prst="ellipse">
            <a:avLst/>
          </a:prstGeom>
          <a:solidFill>
            <a:schemeClr val="accent3"/>
          </a:solidFill>
          <a:ln w="3175" algn="ctr">
            <a:solidFill>
              <a:schemeClr val="accent3"/>
            </a:solidFill>
            <a:round/>
            <a:headEnd/>
            <a:tailEnd/>
          </a:ln>
        </p:spPr>
        <p:txBody>
          <a:bodyPr wrap="none" lIns="0" tIns="0" rIns="0" bIns="0" anchor="ctr"/>
          <a:lstStyle/>
          <a:p>
            <a:pPr algn="ctr">
              <a:defRPr/>
            </a:pPr>
            <a:endParaRPr lang="en-GB"/>
          </a:p>
        </p:txBody>
      </p:sp>
      <p:sp>
        <p:nvSpPr>
          <p:cNvPr id="794661" name="Text Box 114"/>
          <p:cNvSpPr txBox="1">
            <a:spLocks noChangeArrowheads="1"/>
          </p:cNvSpPr>
          <p:nvPr/>
        </p:nvSpPr>
        <p:spPr bwMode="auto">
          <a:xfrm>
            <a:off x="1535113" y="3430588"/>
            <a:ext cx="98425" cy="215900"/>
          </a:xfrm>
          <a:prstGeom prst="rect">
            <a:avLst/>
          </a:prstGeom>
          <a:noFill/>
          <a:ln w="9525">
            <a:noFill/>
            <a:miter lim="800000"/>
            <a:headEnd/>
            <a:tailEnd/>
          </a:ln>
        </p:spPr>
        <p:txBody>
          <a:bodyPr wrap="none" lIns="0" tIns="0" rIns="0" bIns="0">
            <a:spAutoFit/>
          </a:bodyPr>
          <a:lstStyle/>
          <a:p>
            <a:pPr algn="ctr"/>
            <a:r>
              <a:rPr lang="en-GB" altLang="ja-JP" sz="1400">
                <a:solidFill>
                  <a:schemeClr val="tx2"/>
                </a:solidFill>
                <a:ea typeface="ＭＳ Ｐゴシック" charset="-128"/>
              </a:rPr>
              <a:t>1</a:t>
            </a:r>
          </a:p>
        </p:txBody>
      </p:sp>
      <p:sp>
        <p:nvSpPr>
          <p:cNvPr id="116" name="Oval 115"/>
          <p:cNvSpPr>
            <a:spLocks noChangeAspect="1" noChangeArrowheads="1"/>
          </p:cNvSpPr>
          <p:nvPr/>
        </p:nvSpPr>
        <p:spPr bwMode="auto">
          <a:xfrm>
            <a:off x="3360738" y="3451225"/>
            <a:ext cx="115887" cy="115888"/>
          </a:xfrm>
          <a:prstGeom prst="ellipse">
            <a:avLst/>
          </a:prstGeom>
          <a:solidFill>
            <a:schemeClr val="accent3"/>
          </a:solidFill>
          <a:ln w="3175">
            <a:solidFill>
              <a:schemeClr val="accent3"/>
            </a:solidFill>
            <a:round/>
            <a:headEnd/>
            <a:tailEnd/>
          </a:ln>
        </p:spPr>
        <p:txBody>
          <a:bodyPr wrap="none" lIns="0" tIns="0" rIns="0" bIns="0" anchor="ctr"/>
          <a:lstStyle/>
          <a:p>
            <a:pPr algn="ctr">
              <a:defRPr/>
            </a:pPr>
            <a:endParaRPr lang="en-GB"/>
          </a:p>
        </p:txBody>
      </p:sp>
      <p:sp>
        <p:nvSpPr>
          <p:cNvPr id="117" name="Oval 116"/>
          <p:cNvSpPr>
            <a:spLocks noChangeAspect="1" noChangeArrowheads="1"/>
          </p:cNvSpPr>
          <p:nvPr/>
        </p:nvSpPr>
        <p:spPr bwMode="auto">
          <a:xfrm>
            <a:off x="5251450" y="3411538"/>
            <a:ext cx="193675" cy="193675"/>
          </a:xfrm>
          <a:prstGeom prst="ellipse">
            <a:avLst/>
          </a:prstGeom>
          <a:solidFill>
            <a:schemeClr val="accent3"/>
          </a:solidFill>
          <a:ln w="3175">
            <a:solidFill>
              <a:schemeClr val="accent3"/>
            </a:solidFill>
            <a:round/>
            <a:headEnd/>
            <a:tailEnd/>
          </a:ln>
        </p:spPr>
        <p:txBody>
          <a:bodyPr wrap="none" lIns="0" tIns="0" rIns="0" bIns="0" anchor="ctr"/>
          <a:lstStyle/>
          <a:p>
            <a:pPr algn="ctr">
              <a:defRPr/>
            </a:pPr>
            <a:endParaRPr lang="en-GB"/>
          </a:p>
        </p:txBody>
      </p:sp>
      <p:grpSp>
        <p:nvGrpSpPr>
          <p:cNvPr id="91" name="Group 117"/>
          <p:cNvGrpSpPr>
            <a:grpSpLocks/>
          </p:cNvGrpSpPr>
          <p:nvPr/>
        </p:nvGrpSpPr>
        <p:grpSpPr bwMode="auto">
          <a:xfrm>
            <a:off x="2473325" y="5326063"/>
            <a:ext cx="77788" cy="77787"/>
            <a:chOff x="1688" y="3355"/>
            <a:chExt cx="53" cy="49"/>
          </a:xfrm>
        </p:grpSpPr>
        <p:grpSp>
          <p:nvGrpSpPr>
            <p:cNvPr id="96" name="Group 118"/>
            <p:cNvGrpSpPr>
              <a:grpSpLocks noChangeAspect="1"/>
            </p:cNvGrpSpPr>
            <p:nvPr/>
          </p:nvGrpSpPr>
          <p:grpSpPr bwMode="auto">
            <a:xfrm>
              <a:off x="1688" y="3355"/>
              <a:ext cx="53" cy="49"/>
              <a:chOff x="2654" y="1925"/>
              <a:chExt cx="449" cy="467"/>
            </a:xfrm>
          </p:grpSpPr>
          <p:sp>
            <p:nvSpPr>
              <p:cNvPr id="794794" name="Freeform 119"/>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224 w 449"/>
                  <a:gd name="T103" fmla="*/ 233 h 467"/>
                  <a:gd name="T104" fmla="*/ 224 w 449"/>
                  <a:gd name="T105" fmla="*/ 0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49"/>
                  <a:gd name="T160" fmla="*/ 0 h 467"/>
                  <a:gd name="T161" fmla="*/ 449 w 449"/>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lnTo>
                      <a:pt x="224" y="233"/>
                    </a:lnTo>
                    <a:lnTo>
                      <a:pt x="224" y="0"/>
                    </a:lnTo>
                    <a:close/>
                  </a:path>
                </a:pathLst>
              </a:custGeom>
              <a:solidFill>
                <a:schemeClr val="tx1"/>
              </a:solidFill>
              <a:ln w="3175">
                <a:solidFill>
                  <a:schemeClr val="accent4"/>
                </a:solidFill>
                <a:round/>
                <a:headEnd/>
                <a:tailEnd/>
              </a:ln>
            </p:spPr>
            <p:txBody>
              <a:bodyPr/>
              <a:lstStyle/>
              <a:p>
                <a:endParaRPr lang="en-GB"/>
              </a:p>
            </p:txBody>
          </p:sp>
          <p:sp>
            <p:nvSpPr>
              <p:cNvPr id="794795" name="Freeform 120"/>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67"/>
                  <a:gd name="T155" fmla="*/ 449 w 449"/>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path>
                </a:pathLst>
              </a:custGeom>
              <a:solidFill>
                <a:schemeClr val="accent4"/>
              </a:solidFill>
              <a:ln w="3175">
                <a:solidFill>
                  <a:schemeClr val="accent4"/>
                </a:solidFill>
                <a:round/>
                <a:headEnd/>
                <a:tailEnd/>
              </a:ln>
            </p:spPr>
            <p:txBody>
              <a:bodyPr/>
              <a:lstStyle/>
              <a:p>
                <a:endParaRPr lang="en-GB"/>
              </a:p>
            </p:txBody>
          </p:sp>
        </p:grpSp>
        <p:grpSp>
          <p:nvGrpSpPr>
            <p:cNvPr id="97" name="Group 121"/>
            <p:cNvGrpSpPr>
              <a:grpSpLocks noChangeAspect="1"/>
            </p:cNvGrpSpPr>
            <p:nvPr/>
          </p:nvGrpSpPr>
          <p:grpSpPr bwMode="auto">
            <a:xfrm>
              <a:off x="1688" y="3355"/>
              <a:ext cx="27" cy="25"/>
              <a:chOff x="2654" y="1925"/>
              <a:chExt cx="225" cy="234"/>
            </a:xfrm>
          </p:grpSpPr>
          <p:sp>
            <p:nvSpPr>
              <p:cNvPr id="794792" name="Freeform 122"/>
              <p:cNvSpPr>
                <a:spLocks noChangeAspect="1"/>
              </p:cNvSpPr>
              <p:nvPr/>
            </p:nvSpPr>
            <p:spPr bwMode="auto">
              <a:xfrm>
                <a:off x="2654" y="1925"/>
                <a:ext cx="225" cy="234"/>
              </a:xfrm>
              <a:custGeom>
                <a:avLst/>
                <a:gdLst>
                  <a:gd name="T0" fmla="*/ 0 w 225"/>
                  <a:gd name="T1" fmla="*/ 233 h 234"/>
                  <a:gd name="T2" fmla="*/ 1 w 225"/>
                  <a:gd name="T3" fmla="*/ 209 h 234"/>
                  <a:gd name="T4" fmla="*/ 5 w 225"/>
                  <a:gd name="T5" fmla="*/ 186 h 234"/>
                  <a:gd name="T6" fmla="*/ 10 w 225"/>
                  <a:gd name="T7" fmla="*/ 164 h 234"/>
                  <a:gd name="T8" fmla="*/ 18 w 225"/>
                  <a:gd name="T9" fmla="*/ 143 h 234"/>
                  <a:gd name="T10" fmla="*/ 27 w 225"/>
                  <a:gd name="T11" fmla="*/ 122 h 234"/>
                  <a:gd name="T12" fmla="*/ 39 w 225"/>
                  <a:gd name="T13" fmla="*/ 103 h 234"/>
                  <a:gd name="T14" fmla="*/ 52 w 225"/>
                  <a:gd name="T15" fmla="*/ 85 h 234"/>
                  <a:gd name="T16" fmla="*/ 66 w 225"/>
                  <a:gd name="T17" fmla="*/ 69 h 234"/>
                  <a:gd name="T18" fmla="*/ 82 w 225"/>
                  <a:gd name="T19" fmla="*/ 54 h 234"/>
                  <a:gd name="T20" fmla="*/ 99 w 225"/>
                  <a:gd name="T21" fmla="*/ 40 h 234"/>
                  <a:gd name="T22" fmla="*/ 117 w 225"/>
                  <a:gd name="T23" fmla="*/ 29 h 234"/>
                  <a:gd name="T24" fmla="*/ 137 w 225"/>
                  <a:gd name="T25" fmla="*/ 19 h 234"/>
                  <a:gd name="T26" fmla="*/ 157 w 225"/>
                  <a:gd name="T27" fmla="*/ 11 h 234"/>
                  <a:gd name="T28" fmla="*/ 179 w 225"/>
                  <a:gd name="T29" fmla="*/ 5 h 234"/>
                  <a:gd name="T30" fmla="*/ 201 w 225"/>
                  <a:gd name="T31" fmla="*/ 1 h 234"/>
                  <a:gd name="T32" fmla="*/ 224 w 225"/>
                  <a:gd name="T33" fmla="*/ 0 h 234"/>
                  <a:gd name="T34" fmla="*/ 225 w 225"/>
                  <a:gd name="T35" fmla="*/ 234 h 234"/>
                  <a:gd name="T36" fmla="*/ 0 w 225"/>
                  <a:gd name="T37" fmla="*/ 233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5"/>
                  <a:gd name="T58" fmla="*/ 0 h 234"/>
                  <a:gd name="T59" fmla="*/ 225 w 225"/>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5" h="234">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lnTo>
                      <a:pt x="225" y="234"/>
                    </a:lnTo>
                    <a:lnTo>
                      <a:pt x="0" y="233"/>
                    </a:lnTo>
                    <a:close/>
                  </a:path>
                </a:pathLst>
              </a:custGeom>
              <a:solidFill>
                <a:srgbClr val="FFFFFF"/>
              </a:solidFill>
              <a:ln w="3175">
                <a:solidFill>
                  <a:schemeClr val="accent4"/>
                </a:solidFill>
                <a:round/>
                <a:headEnd/>
                <a:tailEnd/>
              </a:ln>
            </p:spPr>
            <p:txBody>
              <a:bodyPr/>
              <a:lstStyle/>
              <a:p>
                <a:endParaRPr lang="en-GB"/>
              </a:p>
            </p:txBody>
          </p:sp>
          <p:sp>
            <p:nvSpPr>
              <p:cNvPr id="794793" name="Freeform 123"/>
              <p:cNvSpPr>
                <a:spLocks noChangeAspect="1"/>
              </p:cNvSpPr>
              <p:nvPr/>
            </p:nvSpPr>
            <p:spPr bwMode="auto">
              <a:xfrm>
                <a:off x="2654" y="1925"/>
                <a:ext cx="224" cy="233"/>
              </a:xfrm>
              <a:custGeom>
                <a:avLst/>
                <a:gdLst>
                  <a:gd name="T0" fmla="*/ 0 w 224"/>
                  <a:gd name="T1" fmla="*/ 233 h 233"/>
                  <a:gd name="T2" fmla="*/ 1 w 224"/>
                  <a:gd name="T3" fmla="*/ 209 h 233"/>
                  <a:gd name="T4" fmla="*/ 5 w 224"/>
                  <a:gd name="T5" fmla="*/ 186 h 233"/>
                  <a:gd name="T6" fmla="*/ 10 w 224"/>
                  <a:gd name="T7" fmla="*/ 164 h 233"/>
                  <a:gd name="T8" fmla="*/ 18 w 224"/>
                  <a:gd name="T9" fmla="*/ 143 h 233"/>
                  <a:gd name="T10" fmla="*/ 27 w 224"/>
                  <a:gd name="T11" fmla="*/ 122 h 233"/>
                  <a:gd name="T12" fmla="*/ 39 w 224"/>
                  <a:gd name="T13" fmla="*/ 103 h 233"/>
                  <a:gd name="T14" fmla="*/ 52 w 224"/>
                  <a:gd name="T15" fmla="*/ 85 h 233"/>
                  <a:gd name="T16" fmla="*/ 66 w 224"/>
                  <a:gd name="T17" fmla="*/ 69 h 233"/>
                  <a:gd name="T18" fmla="*/ 82 w 224"/>
                  <a:gd name="T19" fmla="*/ 54 h 233"/>
                  <a:gd name="T20" fmla="*/ 99 w 224"/>
                  <a:gd name="T21" fmla="*/ 40 h 233"/>
                  <a:gd name="T22" fmla="*/ 117 w 224"/>
                  <a:gd name="T23" fmla="*/ 29 h 233"/>
                  <a:gd name="T24" fmla="*/ 137 w 224"/>
                  <a:gd name="T25" fmla="*/ 19 h 233"/>
                  <a:gd name="T26" fmla="*/ 157 w 224"/>
                  <a:gd name="T27" fmla="*/ 11 h 233"/>
                  <a:gd name="T28" fmla="*/ 179 w 224"/>
                  <a:gd name="T29" fmla="*/ 5 h 233"/>
                  <a:gd name="T30" fmla="*/ 201 w 224"/>
                  <a:gd name="T31" fmla="*/ 1 h 233"/>
                  <a:gd name="T32" fmla="*/ 224 w 224"/>
                  <a:gd name="T33" fmla="*/ 0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4"/>
                  <a:gd name="T52" fmla="*/ 0 h 233"/>
                  <a:gd name="T53" fmla="*/ 224 w 22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4" h="233">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path>
                </a:pathLst>
              </a:custGeom>
              <a:solidFill>
                <a:srgbClr val="FFFFFF"/>
              </a:solidFill>
              <a:ln w="3175">
                <a:solidFill>
                  <a:schemeClr val="accent4"/>
                </a:solidFill>
                <a:round/>
                <a:headEnd/>
                <a:tailEnd/>
              </a:ln>
            </p:spPr>
            <p:txBody>
              <a:bodyPr/>
              <a:lstStyle/>
              <a:p>
                <a:endParaRPr lang="en-GB"/>
              </a:p>
            </p:txBody>
          </p:sp>
        </p:grpSp>
      </p:grpSp>
      <p:grpSp>
        <p:nvGrpSpPr>
          <p:cNvPr id="98" name="Group 124"/>
          <p:cNvGrpSpPr>
            <a:grpSpLocks/>
          </p:cNvGrpSpPr>
          <p:nvPr/>
        </p:nvGrpSpPr>
        <p:grpSpPr bwMode="auto">
          <a:xfrm>
            <a:off x="4287838" y="5289550"/>
            <a:ext cx="153987" cy="153988"/>
            <a:chOff x="2926" y="3332"/>
            <a:chExt cx="105" cy="97"/>
          </a:xfrm>
        </p:grpSpPr>
        <p:grpSp>
          <p:nvGrpSpPr>
            <p:cNvPr id="99" name="Group 125"/>
            <p:cNvGrpSpPr>
              <a:grpSpLocks noChangeAspect="1"/>
            </p:cNvGrpSpPr>
            <p:nvPr/>
          </p:nvGrpSpPr>
          <p:grpSpPr bwMode="auto">
            <a:xfrm>
              <a:off x="2926" y="3332"/>
              <a:ext cx="105" cy="97"/>
              <a:chOff x="2654" y="1925"/>
              <a:chExt cx="449" cy="467"/>
            </a:xfrm>
          </p:grpSpPr>
          <p:sp>
            <p:nvSpPr>
              <p:cNvPr id="794788" name="Freeform 126"/>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224 w 449"/>
                  <a:gd name="T103" fmla="*/ 233 h 467"/>
                  <a:gd name="T104" fmla="*/ 224 w 449"/>
                  <a:gd name="T105" fmla="*/ 0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49"/>
                  <a:gd name="T160" fmla="*/ 0 h 467"/>
                  <a:gd name="T161" fmla="*/ 449 w 449"/>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lnTo>
                      <a:pt x="224" y="233"/>
                    </a:lnTo>
                    <a:lnTo>
                      <a:pt x="224" y="0"/>
                    </a:lnTo>
                    <a:close/>
                  </a:path>
                </a:pathLst>
              </a:custGeom>
              <a:solidFill>
                <a:schemeClr val="tx1"/>
              </a:solidFill>
              <a:ln w="3175">
                <a:solidFill>
                  <a:schemeClr val="accent4"/>
                </a:solidFill>
                <a:round/>
                <a:headEnd/>
                <a:tailEnd/>
              </a:ln>
            </p:spPr>
            <p:txBody>
              <a:bodyPr/>
              <a:lstStyle/>
              <a:p>
                <a:endParaRPr lang="en-GB"/>
              </a:p>
            </p:txBody>
          </p:sp>
          <p:sp>
            <p:nvSpPr>
              <p:cNvPr id="794789" name="Freeform 127"/>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67"/>
                  <a:gd name="T155" fmla="*/ 449 w 449"/>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path>
                </a:pathLst>
              </a:custGeom>
              <a:solidFill>
                <a:schemeClr val="accent4"/>
              </a:solidFill>
              <a:ln w="3175">
                <a:solidFill>
                  <a:schemeClr val="accent4"/>
                </a:solidFill>
                <a:round/>
                <a:headEnd/>
                <a:tailEnd/>
              </a:ln>
            </p:spPr>
            <p:txBody>
              <a:bodyPr/>
              <a:lstStyle/>
              <a:p>
                <a:endParaRPr lang="en-GB"/>
              </a:p>
            </p:txBody>
          </p:sp>
        </p:grpSp>
        <p:grpSp>
          <p:nvGrpSpPr>
            <p:cNvPr id="108" name="Group 128"/>
            <p:cNvGrpSpPr>
              <a:grpSpLocks noChangeAspect="1"/>
            </p:cNvGrpSpPr>
            <p:nvPr/>
          </p:nvGrpSpPr>
          <p:grpSpPr bwMode="auto">
            <a:xfrm>
              <a:off x="2926" y="3332"/>
              <a:ext cx="53" cy="49"/>
              <a:chOff x="2654" y="1925"/>
              <a:chExt cx="225" cy="234"/>
            </a:xfrm>
          </p:grpSpPr>
          <p:sp>
            <p:nvSpPr>
              <p:cNvPr id="794786" name="Freeform 129"/>
              <p:cNvSpPr>
                <a:spLocks noChangeAspect="1"/>
              </p:cNvSpPr>
              <p:nvPr/>
            </p:nvSpPr>
            <p:spPr bwMode="auto">
              <a:xfrm>
                <a:off x="2654" y="1925"/>
                <a:ext cx="225" cy="234"/>
              </a:xfrm>
              <a:custGeom>
                <a:avLst/>
                <a:gdLst>
                  <a:gd name="T0" fmla="*/ 0 w 225"/>
                  <a:gd name="T1" fmla="*/ 233 h 234"/>
                  <a:gd name="T2" fmla="*/ 1 w 225"/>
                  <a:gd name="T3" fmla="*/ 209 h 234"/>
                  <a:gd name="T4" fmla="*/ 5 w 225"/>
                  <a:gd name="T5" fmla="*/ 186 h 234"/>
                  <a:gd name="T6" fmla="*/ 10 w 225"/>
                  <a:gd name="T7" fmla="*/ 164 h 234"/>
                  <a:gd name="T8" fmla="*/ 18 w 225"/>
                  <a:gd name="T9" fmla="*/ 143 h 234"/>
                  <a:gd name="T10" fmla="*/ 27 w 225"/>
                  <a:gd name="T11" fmla="*/ 122 h 234"/>
                  <a:gd name="T12" fmla="*/ 39 w 225"/>
                  <a:gd name="T13" fmla="*/ 103 h 234"/>
                  <a:gd name="T14" fmla="*/ 52 w 225"/>
                  <a:gd name="T15" fmla="*/ 85 h 234"/>
                  <a:gd name="T16" fmla="*/ 66 w 225"/>
                  <a:gd name="T17" fmla="*/ 69 h 234"/>
                  <a:gd name="T18" fmla="*/ 82 w 225"/>
                  <a:gd name="T19" fmla="*/ 54 h 234"/>
                  <a:gd name="T20" fmla="*/ 99 w 225"/>
                  <a:gd name="T21" fmla="*/ 40 h 234"/>
                  <a:gd name="T22" fmla="*/ 117 w 225"/>
                  <a:gd name="T23" fmla="*/ 29 h 234"/>
                  <a:gd name="T24" fmla="*/ 137 w 225"/>
                  <a:gd name="T25" fmla="*/ 19 h 234"/>
                  <a:gd name="T26" fmla="*/ 157 w 225"/>
                  <a:gd name="T27" fmla="*/ 11 h 234"/>
                  <a:gd name="T28" fmla="*/ 179 w 225"/>
                  <a:gd name="T29" fmla="*/ 5 h 234"/>
                  <a:gd name="T30" fmla="*/ 201 w 225"/>
                  <a:gd name="T31" fmla="*/ 1 h 234"/>
                  <a:gd name="T32" fmla="*/ 224 w 225"/>
                  <a:gd name="T33" fmla="*/ 0 h 234"/>
                  <a:gd name="T34" fmla="*/ 225 w 225"/>
                  <a:gd name="T35" fmla="*/ 234 h 234"/>
                  <a:gd name="T36" fmla="*/ 0 w 225"/>
                  <a:gd name="T37" fmla="*/ 233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5"/>
                  <a:gd name="T58" fmla="*/ 0 h 234"/>
                  <a:gd name="T59" fmla="*/ 225 w 225"/>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5" h="234">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lnTo>
                      <a:pt x="225" y="234"/>
                    </a:lnTo>
                    <a:lnTo>
                      <a:pt x="0" y="233"/>
                    </a:lnTo>
                    <a:close/>
                  </a:path>
                </a:pathLst>
              </a:custGeom>
              <a:solidFill>
                <a:srgbClr val="FFFFFF"/>
              </a:solidFill>
              <a:ln w="3175">
                <a:solidFill>
                  <a:schemeClr val="accent4"/>
                </a:solidFill>
                <a:round/>
                <a:headEnd/>
                <a:tailEnd/>
              </a:ln>
            </p:spPr>
            <p:txBody>
              <a:bodyPr/>
              <a:lstStyle/>
              <a:p>
                <a:endParaRPr lang="en-GB"/>
              </a:p>
            </p:txBody>
          </p:sp>
          <p:sp>
            <p:nvSpPr>
              <p:cNvPr id="794787" name="Freeform 130"/>
              <p:cNvSpPr>
                <a:spLocks noChangeAspect="1"/>
              </p:cNvSpPr>
              <p:nvPr/>
            </p:nvSpPr>
            <p:spPr bwMode="auto">
              <a:xfrm>
                <a:off x="2654" y="1925"/>
                <a:ext cx="224" cy="233"/>
              </a:xfrm>
              <a:custGeom>
                <a:avLst/>
                <a:gdLst>
                  <a:gd name="T0" fmla="*/ 0 w 224"/>
                  <a:gd name="T1" fmla="*/ 233 h 233"/>
                  <a:gd name="T2" fmla="*/ 1 w 224"/>
                  <a:gd name="T3" fmla="*/ 209 h 233"/>
                  <a:gd name="T4" fmla="*/ 5 w 224"/>
                  <a:gd name="T5" fmla="*/ 186 h 233"/>
                  <a:gd name="T6" fmla="*/ 10 w 224"/>
                  <a:gd name="T7" fmla="*/ 164 h 233"/>
                  <a:gd name="T8" fmla="*/ 18 w 224"/>
                  <a:gd name="T9" fmla="*/ 143 h 233"/>
                  <a:gd name="T10" fmla="*/ 27 w 224"/>
                  <a:gd name="T11" fmla="*/ 122 h 233"/>
                  <a:gd name="T12" fmla="*/ 39 w 224"/>
                  <a:gd name="T13" fmla="*/ 103 h 233"/>
                  <a:gd name="T14" fmla="*/ 52 w 224"/>
                  <a:gd name="T15" fmla="*/ 85 h 233"/>
                  <a:gd name="T16" fmla="*/ 66 w 224"/>
                  <a:gd name="T17" fmla="*/ 69 h 233"/>
                  <a:gd name="T18" fmla="*/ 82 w 224"/>
                  <a:gd name="T19" fmla="*/ 54 h 233"/>
                  <a:gd name="T20" fmla="*/ 99 w 224"/>
                  <a:gd name="T21" fmla="*/ 40 h 233"/>
                  <a:gd name="T22" fmla="*/ 117 w 224"/>
                  <a:gd name="T23" fmla="*/ 29 h 233"/>
                  <a:gd name="T24" fmla="*/ 137 w 224"/>
                  <a:gd name="T25" fmla="*/ 19 h 233"/>
                  <a:gd name="T26" fmla="*/ 157 w 224"/>
                  <a:gd name="T27" fmla="*/ 11 h 233"/>
                  <a:gd name="T28" fmla="*/ 179 w 224"/>
                  <a:gd name="T29" fmla="*/ 5 h 233"/>
                  <a:gd name="T30" fmla="*/ 201 w 224"/>
                  <a:gd name="T31" fmla="*/ 1 h 233"/>
                  <a:gd name="T32" fmla="*/ 224 w 224"/>
                  <a:gd name="T33" fmla="*/ 0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4"/>
                  <a:gd name="T52" fmla="*/ 0 h 233"/>
                  <a:gd name="T53" fmla="*/ 224 w 22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4" h="233">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path>
                </a:pathLst>
              </a:custGeom>
              <a:solidFill>
                <a:srgbClr val="FFFFFF"/>
              </a:solidFill>
              <a:ln w="3175">
                <a:solidFill>
                  <a:schemeClr val="accent4"/>
                </a:solidFill>
                <a:round/>
                <a:headEnd/>
                <a:tailEnd/>
              </a:ln>
            </p:spPr>
            <p:txBody>
              <a:bodyPr/>
              <a:lstStyle/>
              <a:p>
                <a:endParaRPr lang="en-GB"/>
              </a:p>
            </p:txBody>
          </p:sp>
        </p:grpSp>
      </p:grpSp>
      <p:grpSp>
        <p:nvGrpSpPr>
          <p:cNvPr id="115" name="Group 131"/>
          <p:cNvGrpSpPr>
            <a:grpSpLocks/>
          </p:cNvGrpSpPr>
          <p:nvPr/>
        </p:nvGrpSpPr>
        <p:grpSpPr bwMode="auto">
          <a:xfrm>
            <a:off x="6256338" y="5249863"/>
            <a:ext cx="230187" cy="231775"/>
            <a:chOff x="4269" y="3307"/>
            <a:chExt cx="158" cy="146"/>
          </a:xfrm>
        </p:grpSpPr>
        <p:sp>
          <p:nvSpPr>
            <p:cNvPr id="794780" name="Freeform 132"/>
            <p:cNvSpPr>
              <a:spLocks noChangeAspect="1"/>
            </p:cNvSpPr>
            <p:nvPr/>
          </p:nvSpPr>
          <p:spPr bwMode="auto">
            <a:xfrm>
              <a:off x="4269" y="3307"/>
              <a:ext cx="158" cy="146"/>
            </a:xfrm>
            <a:custGeom>
              <a:avLst/>
              <a:gdLst>
                <a:gd name="T0" fmla="*/ 1 w 449"/>
                <a:gd name="T1" fmla="*/ 0 h 467"/>
                <a:gd name="T2" fmla="*/ 1 w 449"/>
                <a:gd name="T3" fmla="*/ 0 h 467"/>
                <a:gd name="T4" fmla="*/ 1 w 449"/>
                <a:gd name="T5" fmla="*/ 0 h 467"/>
                <a:gd name="T6" fmla="*/ 1 w 449"/>
                <a:gd name="T7" fmla="*/ 0 h 467"/>
                <a:gd name="T8" fmla="*/ 2 w 449"/>
                <a:gd name="T9" fmla="*/ 0 h 467"/>
                <a:gd name="T10" fmla="*/ 2 w 449"/>
                <a:gd name="T11" fmla="*/ 0 h 467"/>
                <a:gd name="T12" fmla="*/ 2 w 449"/>
                <a:gd name="T13" fmla="*/ 0 h 467"/>
                <a:gd name="T14" fmla="*/ 2 w 449"/>
                <a:gd name="T15" fmla="*/ 0 h 467"/>
                <a:gd name="T16" fmla="*/ 2 w 449"/>
                <a:gd name="T17" fmla="*/ 0 h 467"/>
                <a:gd name="T18" fmla="*/ 2 w 449"/>
                <a:gd name="T19" fmla="*/ 0 h 467"/>
                <a:gd name="T20" fmla="*/ 2 w 449"/>
                <a:gd name="T21" fmla="*/ 0 h 467"/>
                <a:gd name="T22" fmla="*/ 2 w 449"/>
                <a:gd name="T23" fmla="*/ 0 h 467"/>
                <a:gd name="T24" fmla="*/ 2 w 449"/>
                <a:gd name="T25" fmla="*/ 0 h 467"/>
                <a:gd name="T26" fmla="*/ 2 w 449"/>
                <a:gd name="T27" fmla="*/ 0 h 467"/>
                <a:gd name="T28" fmla="*/ 2 w 449"/>
                <a:gd name="T29" fmla="*/ 1 h 467"/>
                <a:gd name="T30" fmla="*/ 2 w 449"/>
                <a:gd name="T31" fmla="*/ 1 h 467"/>
                <a:gd name="T32" fmla="*/ 2 w 449"/>
                <a:gd name="T33" fmla="*/ 1 h 467"/>
                <a:gd name="T34" fmla="*/ 2 w 449"/>
                <a:gd name="T35" fmla="*/ 1 h 467"/>
                <a:gd name="T36" fmla="*/ 2 w 449"/>
                <a:gd name="T37" fmla="*/ 1 h 467"/>
                <a:gd name="T38" fmla="*/ 2 w 449"/>
                <a:gd name="T39" fmla="*/ 1 h 467"/>
                <a:gd name="T40" fmla="*/ 2 w 449"/>
                <a:gd name="T41" fmla="*/ 1 h 467"/>
                <a:gd name="T42" fmla="*/ 2 w 449"/>
                <a:gd name="T43" fmla="*/ 1 h 467"/>
                <a:gd name="T44" fmla="*/ 2 w 449"/>
                <a:gd name="T45" fmla="*/ 1 h 467"/>
                <a:gd name="T46" fmla="*/ 2 w 449"/>
                <a:gd name="T47" fmla="*/ 1 h 467"/>
                <a:gd name="T48" fmla="*/ 2 w 449"/>
                <a:gd name="T49" fmla="*/ 1 h 467"/>
                <a:gd name="T50" fmla="*/ 2 w 449"/>
                <a:gd name="T51" fmla="*/ 1 h 467"/>
                <a:gd name="T52" fmla="*/ 2 w 449"/>
                <a:gd name="T53" fmla="*/ 1 h 467"/>
                <a:gd name="T54" fmla="*/ 2 w 449"/>
                <a:gd name="T55" fmla="*/ 1 h 467"/>
                <a:gd name="T56" fmla="*/ 2 w 449"/>
                <a:gd name="T57" fmla="*/ 1 h 467"/>
                <a:gd name="T58" fmla="*/ 2 w 449"/>
                <a:gd name="T59" fmla="*/ 1 h 467"/>
                <a:gd name="T60" fmla="*/ 2 w 449"/>
                <a:gd name="T61" fmla="*/ 1 h 467"/>
                <a:gd name="T62" fmla="*/ 1 w 449"/>
                <a:gd name="T63" fmla="*/ 1 h 467"/>
                <a:gd name="T64" fmla="*/ 1 w 449"/>
                <a:gd name="T65" fmla="*/ 1 h 467"/>
                <a:gd name="T66" fmla="*/ 1 w 449"/>
                <a:gd name="T67" fmla="*/ 1 h 467"/>
                <a:gd name="T68" fmla="*/ 1 w 449"/>
                <a:gd name="T69" fmla="*/ 1 h 467"/>
                <a:gd name="T70" fmla="*/ 1 w 449"/>
                <a:gd name="T71" fmla="*/ 1 h 467"/>
                <a:gd name="T72" fmla="*/ 1 w 449"/>
                <a:gd name="T73" fmla="*/ 1 h 467"/>
                <a:gd name="T74" fmla="*/ 1 w 449"/>
                <a:gd name="T75" fmla="*/ 1 h 467"/>
                <a:gd name="T76" fmla="*/ 1 w 449"/>
                <a:gd name="T77" fmla="*/ 1 h 467"/>
                <a:gd name="T78" fmla="*/ 0 w 449"/>
                <a:gd name="T79" fmla="*/ 1 h 467"/>
                <a:gd name="T80" fmla="*/ 0 w 449"/>
                <a:gd name="T81" fmla="*/ 1 h 467"/>
                <a:gd name="T82" fmla="*/ 0 w 449"/>
                <a:gd name="T83" fmla="*/ 1 h 467"/>
                <a:gd name="T84" fmla="*/ 0 w 449"/>
                <a:gd name="T85" fmla="*/ 1 h 467"/>
                <a:gd name="T86" fmla="*/ 0 w 449"/>
                <a:gd name="T87" fmla="*/ 1 h 467"/>
                <a:gd name="T88" fmla="*/ 0 w 449"/>
                <a:gd name="T89" fmla="*/ 1 h 467"/>
                <a:gd name="T90" fmla="*/ 0 w 449"/>
                <a:gd name="T91" fmla="*/ 1 h 467"/>
                <a:gd name="T92" fmla="*/ 0 w 449"/>
                <a:gd name="T93" fmla="*/ 1 h 467"/>
                <a:gd name="T94" fmla="*/ 0 w 449"/>
                <a:gd name="T95" fmla="*/ 1 h 467"/>
                <a:gd name="T96" fmla="*/ 0 w 449"/>
                <a:gd name="T97" fmla="*/ 1 h 467"/>
                <a:gd name="T98" fmla="*/ 0 w 449"/>
                <a:gd name="T99" fmla="*/ 1 h 467"/>
                <a:gd name="T100" fmla="*/ 0 w 449"/>
                <a:gd name="T101" fmla="*/ 1 h 467"/>
                <a:gd name="T102" fmla="*/ 1 w 449"/>
                <a:gd name="T103" fmla="*/ 1 h 467"/>
                <a:gd name="T104" fmla="*/ 1 w 449"/>
                <a:gd name="T105" fmla="*/ 0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49"/>
                <a:gd name="T160" fmla="*/ 0 h 467"/>
                <a:gd name="T161" fmla="*/ 449 w 449"/>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lnTo>
                    <a:pt x="224" y="233"/>
                  </a:lnTo>
                  <a:lnTo>
                    <a:pt x="224" y="0"/>
                  </a:lnTo>
                  <a:close/>
                </a:path>
              </a:pathLst>
            </a:custGeom>
            <a:solidFill>
              <a:schemeClr val="accent2"/>
            </a:solidFill>
            <a:ln w="3175">
              <a:solidFill>
                <a:schemeClr val="accent4"/>
              </a:solidFill>
              <a:round/>
              <a:headEnd/>
              <a:tailEnd/>
            </a:ln>
          </p:spPr>
          <p:txBody>
            <a:bodyPr/>
            <a:lstStyle/>
            <a:p>
              <a:endParaRPr lang="en-GB"/>
            </a:p>
          </p:txBody>
        </p:sp>
        <p:sp>
          <p:nvSpPr>
            <p:cNvPr id="794781" name="Freeform 133"/>
            <p:cNvSpPr>
              <a:spLocks noChangeAspect="1"/>
            </p:cNvSpPr>
            <p:nvPr/>
          </p:nvSpPr>
          <p:spPr bwMode="auto">
            <a:xfrm>
              <a:off x="4269" y="3307"/>
              <a:ext cx="158" cy="146"/>
            </a:xfrm>
            <a:custGeom>
              <a:avLst/>
              <a:gdLst>
                <a:gd name="T0" fmla="*/ 1 w 449"/>
                <a:gd name="T1" fmla="*/ 0 h 467"/>
                <a:gd name="T2" fmla="*/ 1 w 449"/>
                <a:gd name="T3" fmla="*/ 0 h 467"/>
                <a:gd name="T4" fmla="*/ 1 w 449"/>
                <a:gd name="T5" fmla="*/ 0 h 467"/>
                <a:gd name="T6" fmla="*/ 1 w 449"/>
                <a:gd name="T7" fmla="*/ 0 h 467"/>
                <a:gd name="T8" fmla="*/ 2 w 449"/>
                <a:gd name="T9" fmla="*/ 0 h 467"/>
                <a:gd name="T10" fmla="*/ 2 w 449"/>
                <a:gd name="T11" fmla="*/ 0 h 467"/>
                <a:gd name="T12" fmla="*/ 2 w 449"/>
                <a:gd name="T13" fmla="*/ 0 h 467"/>
                <a:gd name="T14" fmla="*/ 2 w 449"/>
                <a:gd name="T15" fmla="*/ 0 h 467"/>
                <a:gd name="T16" fmla="*/ 2 w 449"/>
                <a:gd name="T17" fmla="*/ 0 h 467"/>
                <a:gd name="T18" fmla="*/ 2 w 449"/>
                <a:gd name="T19" fmla="*/ 0 h 467"/>
                <a:gd name="T20" fmla="*/ 2 w 449"/>
                <a:gd name="T21" fmla="*/ 0 h 467"/>
                <a:gd name="T22" fmla="*/ 2 w 449"/>
                <a:gd name="T23" fmla="*/ 0 h 467"/>
                <a:gd name="T24" fmla="*/ 2 w 449"/>
                <a:gd name="T25" fmla="*/ 0 h 467"/>
                <a:gd name="T26" fmla="*/ 2 w 449"/>
                <a:gd name="T27" fmla="*/ 0 h 467"/>
                <a:gd name="T28" fmla="*/ 2 w 449"/>
                <a:gd name="T29" fmla="*/ 1 h 467"/>
                <a:gd name="T30" fmla="*/ 2 w 449"/>
                <a:gd name="T31" fmla="*/ 1 h 467"/>
                <a:gd name="T32" fmla="*/ 2 w 449"/>
                <a:gd name="T33" fmla="*/ 1 h 467"/>
                <a:gd name="T34" fmla="*/ 2 w 449"/>
                <a:gd name="T35" fmla="*/ 1 h 467"/>
                <a:gd name="T36" fmla="*/ 2 w 449"/>
                <a:gd name="T37" fmla="*/ 1 h 467"/>
                <a:gd name="T38" fmla="*/ 2 w 449"/>
                <a:gd name="T39" fmla="*/ 1 h 467"/>
                <a:gd name="T40" fmla="*/ 2 w 449"/>
                <a:gd name="T41" fmla="*/ 1 h 467"/>
                <a:gd name="T42" fmla="*/ 2 w 449"/>
                <a:gd name="T43" fmla="*/ 1 h 467"/>
                <a:gd name="T44" fmla="*/ 2 w 449"/>
                <a:gd name="T45" fmla="*/ 1 h 467"/>
                <a:gd name="T46" fmla="*/ 2 w 449"/>
                <a:gd name="T47" fmla="*/ 1 h 467"/>
                <a:gd name="T48" fmla="*/ 2 w 449"/>
                <a:gd name="T49" fmla="*/ 1 h 467"/>
                <a:gd name="T50" fmla="*/ 2 w 449"/>
                <a:gd name="T51" fmla="*/ 1 h 467"/>
                <a:gd name="T52" fmla="*/ 2 w 449"/>
                <a:gd name="T53" fmla="*/ 1 h 467"/>
                <a:gd name="T54" fmla="*/ 2 w 449"/>
                <a:gd name="T55" fmla="*/ 1 h 467"/>
                <a:gd name="T56" fmla="*/ 2 w 449"/>
                <a:gd name="T57" fmla="*/ 1 h 467"/>
                <a:gd name="T58" fmla="*/ 2 w 449"/>
                <a:gd name="T59" fmla="*/ 1 h 467"/>
                <a:gd name="T60" fmla="*/ 2 w 449"/>
                <a:gd name="T61" fmla="*/ 1 h 467"/>
                <a:gd name="T62" fmla="*/ 1 w 449"/>
                <a:gd name="T63" fmla="*/ 1 h 467"/>
                <a:gd name="T64" fmla="*/ 1 w 449"/>
                <a:gd name="T65" fmla="*/ 1 h 467"/>
                <a:gd name="T66" fmla="*/ 1 w 449"/>
                <a:gd name="T67" fmla="*/ 1 h 467"/>
                <a:gd name="T68" fmla="*/ 1 w 449"/>
                <a:gd name="T69" fmla="*/ 1 h 467"/>
                <a:gd name="T70" fmla="*/ 1 w 449"/>
                <a:gd name="T71" fmla="*/ 1 h 467"/>
                <a:gd name="T72" fmla="*/ 1 w 449"/>
                <a:gd name="T73" fmla="*/ 1 h 467"/>
                <a:gd name="T74" fmla="*/ 1 w 449"/>
                <a:gd name="T75" fmla="*/ 1 h 467"/>
                <a:gd name="T76" fmla="*/ 1 w 449"/>
                <a:gd name="T77" fmla="*/ 1 h 467"/>
                <a:gd name="T78" fmla="*/ 0 w 449"/>
                <a:gd name="T79" fmla="*/ 1 h 467"/>
                <a:gd name="T80" fmla="*/ 0 w 449"/>
                <a:gd name="T81" fmla="*/ 1 h 467"/>
                <a:gd name="T82" fmla="*/ 0 w 449"/>
                <a:gd name="T83" fmla="*/ 1 h 467"/>
                <a:gd name="T84" fmla="*/ 0 w 449"/>
                <a:gd name="T85" fmla="*/ 1 h 467"/>
                <a:gd name="T86" fmla="*/ 0 w 449"/>
                <a:gd name="T87" fmla="*/ 1 h 467"/>
                <a:gd name="T88" fmla="*/ 0 w 449"/>
                <a:gd name="T89" fmla="*/ 1 h 467"/>
                <a:gd name="T90" fmla="*/ 0 w 449"/>
                <a:gd name="T91" fmla="*/ 1 h 467"/>
                <a:gd name="T92" fmla="*/ 0 w 449"/>
                <a:gd name="T93" fmla="*/ 1 h 467"/>
                <a:gd name="T94" fmla="*/ 0 w 449"/>
                <a:gd name="T95" fmla="*/ 1 h 467"/>
                <a:gd name="T96" fmla="*/ 0 w 449"/>
                <a:gd name="T97" fmla="*/ 1 h 467"/>
                <a:gd name="T98" fmla="*/ 0 w 449"/>
                <a:gd name="T99" fmla="*/ 1 h 467"/>
                <a:gd name="T100" fmla="*/ 0 w 449"/>
                <a:gd name="T101" fmla="*/ 1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67"/>
                <a:gd name="T155" fmla="*/ 449 w 449"/>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path>
              </a:pathLst>
            </a:custGeom>
            <a:solidFill>
              <a:schemeClr val="accent4"/>
            </a:solidFill>
            <a:ln w="3175">
              <a:solidFill>
                <a:schemeClr val="accent4"/>
              </a:solidFill>
              <a:round/>
              <a:headEnd/>
              <a:tailEnd/>
            </a:ln>
          </p:spPr>
          <p:txBody>
            <a:bodyPr/>
            <a:lstStyle/>
            <a:p>
              <a:endParaRPr lang="en-GB"/>
            </a:p>
          </p:txBody>
        </p:sp>
        <p:sp>
          <p:nvSpPr>
            <p:cNvPr id="794782" name="Freeform 134"/>
            <p:cNvSpPr>
              <a:spLocks noChangeAspect="1"/>
            </p:cNvSpPr>
            <p:nvPr/>
          </p:nvSpPr>
          <p:spPr bwMode="auto">
            <a:xfrm>
              <a:off x="4269" y="3307"/>
              <a:ext cx="79" cy="73"/>
            </a:xfrm>
            <a:custGeom>
              <a:avLst/>
              <a:gdLst>
                <a:gd name="T0" fmla="*/ 0 w 225"/>
                <a:gd name="T1" fmla="*/ 1 h 234"/>
                <a:gd name="T2" fmla="*/ 0 w 225"/>
                <a:gd name="T3" fmla="*/ 1 h 234"/>
                <a:gd name="T4" fmla="*/ 0 w 225"/>
                <a:gd name="T5" fmla="*/ 1 h 234"/>
                <a:gd name="T6" fmla="*/ 0 w 225"/>
                <a:gd name="T7" fmla="*/ 1 h 234"/>
                <a:gd name="T8" fmla="*/ 0 w 225"/>
                <a:gd name="T9" fmla="*/ 0 h 234"/>
                <a:gd name="T10" fmla="*/ 0 w 225"/>
                <a:gd name="T11" fmla="*/ 0 h 234"/>
                <a:gd name="T12" fmla="*/ 0 w 225"/>
                <a:gd name="T13" fmla="*/ 0 h 234"/>
                <a:gd name="T14" fmla="*/ 0 w 225"/>
                <a:gd name="T15" fmla="*/ 0 h 234"/>
                <a:gd name="T16" fmla="*/ 0 w 225"/>
                <a:gd name="T17" fmla="*/ 0 h 234"/>
                <a:gd name="T18" fmla="*/ 0 w 225"/>
                <a:gd name="T19" fmla="*/ 0 h 234"/>
                <a:gd name="T20" fmla="*/ 0 w 225"/>
                <a:gd name="T21" fmla="*/ 0 h 234"/>
                <a:gd name="T22" fmla="*/ 1 w 225"/>
                <a:gd name="T23" fmla="*/ 0 h 234"/>
                <a:gd name="T24" fmla="*/ 1 w 225"/>
                <a:gd name="T25" fmla="*/ 0 h 234"/>
                <a:gd name="T26" fmla="*/ 1 w 225"/>
                <a:gd name="T27" fmla="*/ 0 h 234"/>
                <a:gd name="T28" fmla="*/ 1 w 225"/>
                <a:gd name="T29" fmla="*/ 0 h 234"/>
                <a:gd name="T30" fmla="*/ 1 w 225"/>
                <a:gd name="T31" fmla="*/ 0 h 234"/>
                <a:gd name="T32" fmla="*/ 1 w 225"/>
                <a:gd name="T33" fmla="*/ 0 h 234"/>
                <a:gd name="T34" fmla="*/ 1 w 225"/>
                <a:gd name="T35" fmla="*/ 1 h 234"/>
                <a:gd name="T36" fmla="*/ 0 w 225"/>
                <a:gd name="T37" fmla="*/ 1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5"/>
                <a:gd name="T58" fmla="*/ 0 h 234"/>
                <a:gd name="T59" fmla="*/ 225 w 225"/>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5" h="234">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lnTo>
                    <a:pt x="225" y="234"/>
                  </a:lnTo>
                  <a:lnTo>
                    <a:pt x="0" y="233"/>
                  </a:lnTo>
                  <a:close/>
                </a:path>
              </a:pathLst>
            </a:custGeom>
            <a:solidFill>
              <a:srgbClr val="FFFFFF"/>
            </a:solidFill>
            <a:ln w="3175">
              <a:solidFill>
                <a:schemeClr val="accent4"/>
              </a:solidFill>
              <a:round/>
              <a:headEnd/>
              <a:tailEnd/>
            </a:ln>
          </p:spPr>
          <p:txBody>
            <a:bodyPr/>
            <a:lstStyle/>
            <a:p>
              <a:endParaRPr lang="en-GB"/>
            </a:p>
          </p:txBody>
        </p:sp>
        <p:sp>
          <p:nvSpPr>
            <p:cNvPr id="794783" name="Freeform 135"/>
            <p:cNvSpPr>
              <a:spLocks noChangeAspect="1"/>
            </p:cNvSpPr>
            <p:nvPr/>
          </p:nvSpPr>
          <p:spPr bwMode="auto">
            <a:xfrm>
              <a:off x="4269" y="3307"/>
              <a:ext cx="79" cy="73"/>
            </a:xfrm>
            <a:custGeom>
              <a:avLst/>
              <a:gdLst>
                <a:gd name="T0" fmla="*/ 0 w 224"/>
                <a:gd name="T1" fmla="*/ 1 h 233"/>
                <a:gd name="T2" fmla="*/ 0 w 224"/>
                <a:gd name="T3" fmla="*/ 1 h 233"/>
                <a:gd name="T4" fmla="*/ 0 w 224"/>
                <a:gd name="T5" fmla="*/ 1 h 233"/>
                <a:gd name="T6" fmla="*/ 0 w 224"/>
                <a:gd name="T7" fmla="*/ 1 h 233"/>
                <a:gd name="T8" fmla="*/ 0 w 224"/>
                <a:gd name="T9" fmla="*/ 0 h 233"/>
                <a:gd name="T10" fmla="*/ 0 w 224"/>
                <a:gd name="T11" fmla="*/ 0 h 233"/>
                <a:gd name="T12" fmla="*/ 0 w 224"/>
                <a:gd name="T13" fmla="*/ 0 h 233"/>
                <a:gd name="T14" fmla="*/ 0 w 224"/>
                <a:gd name="T15" fmla="*/ 0 h 233"/>
                <a:gd name="T16" fmla="*/ 0 w 224"/>
                <a:gd name="T17" fmla="*/ 0 h 233"/>
                <a:gd name="T18" fmla="*/ 0 w 224"/>
                <a:gd name="T19" fmla="*/ 0 h 233"/>
                <a:gd name="T20" fmla="*/ 0 w 224"/>
                <a:gd name="T21" fmla="*/ 0 h 233"/>
                <a:gd name="T22" fmla="*/ 1 w 224"/>
                <a:gd name="T23" fmla="*/ 0 h 233"/>
                <a:gd name="T24" fmla="*/ 1 w 224"/>
                <a:gd name="T25" fmla="*/ 0 h 233"/>
                <a:gd name="T26" fmla="*/ 1 w 224"/>
                <a:gd name="T27" fmla="*/ 0 h 233"/>
                <a:gd name="T28" fmla="*/ 1 w 224"/>
                <a:gd name="T29" fmla="*/ 0 h 233"/>
                <a:gd name="T30" fmla="*/ 1 w 224"/>
                <a:gd name="T31" fmla="*/ 0 h 233"/>
                <a:gd name="T32" fmla="*/ 1 w 224"/>
                <a:gd name="T33" fmla="*/ 0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4"/>
                <a:gd name="T52" fmla="*/ 0 h 233"/>
                <a:gd name="T53" fmla="*/ 224 w 22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4" h="233">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path>
              </a:pathLst>
            </a:custGeom>
            <a:solidFill>
              <a:srgbClr val="FFFFFF"/>
            </a:solidFill>
            <a:ln w="3175">
              <a:solidFill>
                <a:schemeClr val="accent4"/>
              </a:solidFill>
              <a:round/>
              <a:headEnd/>
              <a:tailEnd/>
            </a:ln>
          </p:spPr>
          <p:txBody>
            <a:bodyPr/>
            <a:lstStyle/>
            <a:p>
              <a:endParaRPr lang="en-GB"/>
            </a:p>
          </p:txBody>
        </p:sp>
      </p:grpSp>
      <p:grpSp>
        <p:nvGrpSpPr>
          <p:cNvPr id="118" name="Group 136"/>
          <p:cNvGrpSpPr>
            <a:grpSpLocks/>
          </p:cNvGrpSpPr>
          <p:nvPr/>
        </p:nvGrpSpPr>
        <p:grpSpPr bwMode="auto">
          <a:xfrm>
            <a:off x="7299325" y="5211763"/>
            <a:ext cx="307975" cy="307975"/>
            <a:chOff x="4981" y="3283"/>
            <a:chExt cx="210" cy="194"/>
          </a:xfrm>
        </p:grpSpPr>
        <p:sp>
          <p:nvSpPr>
            <p:cNvPr id="794776" name="Freeform 137"/>
            <p:cNvSpPr>
              <a:spLocks noChangeAspect="1"/>
            </p:cNvSpPr>
            <p:nvPr/>
          </p:nvSpPr>
          <p:spPr bwMode="auto">
            <a:xfrm>
              <a:off x="4981" y="3283"/>
              <a:ext cx="210" cy="194"/>
            </a:xfrm>
            <a:custGeom>
              <a:avLst/>
              <a:gdLst>
                <a:gd name="T0" fmla="*/ 5 w 449"/>
                <a:gd name="T1" fmla="*/ 0 h 467"/>
                <a:gd name="T2" fmla="*/ 5 w 449"/>
                <a:gd name="T3" fmla="*/ 0 h 467"/>
                <a:gd name="T4" fmla="*/ 6 w 449"/>
                <a:gd name="T5" fmla="*/ 0 h 467"/>
                <a:gd name="T6" fmla="*/ 6 w 449"/>
                <a:gd name="T7" fmla="*/ 0 h 467"/>
                <a:gd name="T8" fmla="*/ 7 w 449"/>
                <a:gd name="T9" fmla="*/ 0 h 467"/>
                <a:gd name="T10" fmla="*/ 7 w 449"/>
                <a:gd name="T11" fmla="*/ 0 h 467"/>
                <a:gd name="T12" fmla="*/ 7 w 449"/>
                <a:gd name="T13" fmla="*/ 0 h 467"/>
                <a:gd name="T14" fmla="*/ 8 w 449"/>
                <a:gd name="T15" fmla="*/ 0 h 467"/>
                <a:gd name="T16" fmla="*/ 8 w 449"/>
                <a:gd name="T17" fmla="*/ 1 h 467"/>
                <a:gd name="T18" fmla="*/ 8 w 449"/>
                <a:gd name="T19" fmla="*/ 1 h 467"/>
                <a:gd name="T20" fmla="*/ 9 w 449"/>
                <a:gd name="T21" fmla="*/ 1 h 467"/>
                <a:gd name="T22" fmla="*/ 9 w 449"/>
                <a:gd name="T23" fmla="*/ 1 h 467"/>
                <a:gd name="T24" fmla="*/ 9 w 449"/>
                <a:gd name="T25" fmla="*/ 2 h 467"/>
                <a:gd name="T26" fmla="*/ 10 w 449"/>
                <a:gd name="T27" fmla="*/ 2 h 467"/>
                <a:gd name="T28" fmla="*/ 10 w 449"/>
                <a:gd name="T29" fmla="*/ 2 h 467"/>
                <a:gd name="T30" fmla="*/ 10 w 449"/>
                <a:gd name="T31" fmla="*/ 2 h 467"/>
                <a:gd name="T32" fmla="*/ 10 w 449"/>
                <a:gd name="T33" fmla="*/ 2 h 467"/>
                <a:gd name="T34" fmla="*/ 10 w 449"/>
                <a:gd name="T35" fmla="*/ 3 h 467"/>
                <a:gd name="T36" fmla="*/ 10 w 449"/>
                <a:gd name="T37" fmla="*/ 3 h 467"/>
                <a:gd name="T38" fmla="*/ 10 w 449"/>
                <a:gd name="T39" fmla="*/ 3 h 467"/>
                <a:gd name="T40" fmla="*/ 10 w 449"/>
                <a:gd name="T41" fmla="*/ 4 h 467"/>
                <a:gd name="T42" fmla="*/ 10 w 449"/>
                <a:gd name="T43" fmla="*/ 4 h 467"/>
                <a:gd name="T44" fmla="*/ 9 w 449"/>
                <a:gd name="T45" fmla="*/ 4 h 467"/>
                <a:gd name="T46" fmla="*/ 9 w 449"/>
                <a:gd name="T47" fmla="*/ 5 h 467"/>
                <a:gd name="T48" fmla="*/ 9 w 449"/>
                <a:gd name="T49" fmla="*/ 5 h 467"/>
                <a:gd name="T50" fmla="*/ 8 w 449"/>
                <a:gd name="T51" fmla="*/ 5 h 467"/>
                <a:gd name="T52" fmla="*/ 8 w 449"/>
                <a:gd name="T53" fmla="*/ 5 h 467"/>
                <a:gd name="T54" fmla="*/ 8 w 449"/>
                <a:gd name="T55" fmla="*/ 5 h 467"/>
                <a:gd name="T56" fmla="*/ 7 w 449"/>
                <a:gd name="T57" fmla="*/ 5 h 467"/>
                <a:gd name="T58" fmla="*/ 7 w 449"/>
                <a:gd name="T59" fmla="*/ 5 h 467"/>
                <a:gd name="T60" fmla="*/ 7 w 449"/>
                <a:gd name="T61" fmla="*/ 6 h 467"/>
                <a:gd name="T62" fmla="*/ 6 w 449"/>
                <a:gd name="T63" fmla="*/ 6 h 467"/>
                <a:gd name="T64" fmla="*/ 6 w 449"/>
                <a:gd name="T65" fmla="*/ 6 h 467"/>
                <a:gd name="T66" fmla="*/ 5 w 449"/>
                <a:gd name="T67" fmla="*/ 6 h 467"/>
                <a:gd name="T68" fmla="*/ 5 w 449"/>
                <a:gd name="T69" fmla="*/ 6 h 467"/>
                <a:gd name="T70" fmla="*/ 4 w 449"/>
                <a:gd name="T71" fmla="*/ 6 h 467"/>
                <a:gd name="T72" fmla="*/ 3 w 449"/>
                <a:gd name="T73" fmla="*/ 6 h 467"/>
                <a:gd name="T74" fmla="*/ 3 w 449"/>
                <a:gd name="T75" fmla="*/ 5 h 467"/>
                <a:gd name="T76" fmla="*/ 3 w 449"/>
                <a:gd name="T77" fmla="*/ 5 h 467"/>
                <a:gd name="T78" fmla="*/ 2 w 449"/>
                <a:gd name="T79" fmla="*/ 5 h 467"/>
                <a:gd name="T80" fmla="*/ 2 w 449"/>
                <a:gd name="T81" fmla="*/ 5 h 467"/>
                <a:gd name="T82" fmla="*/ 1 w 449"/>
                <a:gd name="T83" fmla="*/ 5 h 467"/>
                <a:gd name="T84" fmla="*/ 1 w 449"/>
                <a:gd name="T85" fmla="*/ 5 h 467"/>
                <a:gd name="T86" fmla="*/ 1 w 449"/>
                <a:gd name="T87" fmla="*/ 5 h 467"/>
                <a:gd name="T88" fmla="*/ 0 w 449"/>
                <a:gd name="T89" fmla="*/ 4 h 467"/>
                <a:gd name="T90" fmla="*/ 0 w 449"/>
                <a:gd name="T91" fmla="*/ 4 h 467"/>
                <a:gd name="T92" fmla="*/ 0 w 449"/>
                <a:gd name="T93" fmla="*/ 4 h 467"/>
                <a:gd name="T94" fmla="*/ 0 w 449"/>
                <a:gd name="T95" fmla="*/ 3 h 467"/>
                <a:gd name="T96" fmla="*/ 0 w 449"/>
                <a:gd name="T97" fmla="*/ 3 h 467"/>
                <a:gd name="T98" fmla="*/ 0 w 449"/>
                <a:gd name="T99" fmla="*/ 3 h 467"/>
                <a:gd name="T100" fmla="*/ 0 w 449"/>
                <a:gd name="T101" fmla="*/ 3 h 467"/>
                <a:gd name="T102" fmla="*/ 5 w 449"/>
                <a:gd name="T103" fmla="*/ 3 h 467"/>
                <a:gd name="T104" fmla="*/ 5 w 449"/>
                <a:gd name="T105" fmla="*/ 0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49"/>
                <a:gd name="T160" fmla="*/ 0 h 467"/>
                <a:gd name="T161" fmla="*/ 449 w 449"/>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lnTo>
                    <a:pt x="224" y="233"/>
                  </a:lnTo>
                  <a:lnTo>
                    <a:pt x="224" y="0"/>
                  </a:lnTo>
                  <a:close/>
                </a:path>
              </a:pathLst>
            </a:custGeom>
            <a:solidFill>
              <a:schemeClr val="accent2"/>
            </a:solidFill>
            <a:ln w="3175">
              <a:solidFill>
                <a:schemeClr val="accent4"/>
              </a:solidFill>
              <a:round/>
              <a:headEnd/>
              <a:tailEnd/>
            </a:ln>
          </p:spPr>
          <p:txBody>
            <a:bodyPr/>
            <a:lstStyle/>
            <a:p>
              <a:endParaRPr lang="en-GB"/>
            </a:p>
          </p:txBody>
        </p:sp>
        <p:sp>
          <p:nvSpPr>
            <p:cNvPr id="794777" name="Freeform 138"/>
            <p:cNvSpPr>
              <a:spLocks noChangeAspect="1"/>
            </p:cNvSpPr>
            <p:nvPr/>
          </p:nvSpPr>
          <p:spPr bwMode="auto">
            <a:xfrm>
              <a:off x="4981" y="3283"/>
              <a:ext cx="210" cy="194"/>
            </a:xfrm>
            <a:custGeom>
              <a:avLst/>
              <a:gdLst>
                <a:gd name="T0" fmla="*/ 5 w 449"/>
                <a:gd name="T1" fmla="*/ 0 h 467"/>
                <a:gd name="T2" fmla="*/ 5 w 449"/>
                <a:gd name="T3" fmla="*/ 0 h 467"/>
                <a:gd name="T4" fmla="*/ 6 w 449"/>
                <a:gd name="T5" fmla="*/ 0 h 467"/>
                <a:gd name="T6" fmla="*/ 6 w 449"/>
                <a:gd name="T7" fmla="*/ 0 h 467"/>
                <a:gd name="T8" fmla="*/ 7 w 449"/>
                <a:gd name="T9" fmla="*/ 0 h 467"/>
                <a:gd name="T10" fmla="*/ 7 w 449"/>
                <a:gd name="T11" fmla="*/ 0 h 467"/>
                <a:gd name="T12" fmla="*/ 7 w 449"/>
                <a:gd name="T13" fmla="*/ 0 h 467"/>
                <a:gd name="T14" fmla="*/ 8 w 449"/>
                <a:gd name="T15" fmla="*/ 0 h 467"/>
                <a:gd name="T16" fmla="*/ 8 w 449"/>
                <a:gd name="T17" fmla="*/ 1 h 467"/>
                <a:gd name="T18" fmla="*/ 8 w 449"/>
                <a:gd name="T19" fmla="*/ 1 h 467"/>
                <a:gd name="T20" fmla="*/ 9 w 449"/>
                <a:gd name="T21" fmla="*/ 1 h 467"/>
                <a:gd name="T22" fmla="*/ 9 w 449"/>
                <a:gd name="T23" fmla="*/ 1 h 467"/>
                <a:gd name="T24" fmla="*/ 9 w 449"/>
                <a:gd name="T25" fmla="*/ 2 h 467"/>
                <a:gd name="T26" fmla="*/ 10 w 449"/>
                <a:gd name="T27" fmla="*/ 2 h 467"/>
                <a:gd name="T28" fmla="*/ 10 w 449"/>
                <a:gd name="T29" fmla="*/ 2 h 467"/>
                <a:gd name="T30" fmla="*/ 10 w 449"/>
                <a:gd name="T31" fmla="*/ 2 h 467"/>
                <a:gd name="T32" fmla="*/ 10 w 449"/>
                <a:gd name="T33" fmla="*/ 2 h 467"/>
                <a:gd name="T34" fmla="*/ 10 w 449"/>
                <a:gd name="T35" fmla="*/ 3 h 467"/>
                <a:gd name="T36" fmla="*/ 10 w 449"/>
                <a:gd name="T37" fmla="*/ 3 h 467"/>
                <a:gd name="T38" fmla="*/ 10 w 449"/>
                <a:gd name="T39" fmla="*/ 3 h 467"/>
                <a:gd name="T40" fmla="*/ 10 w 449"/>
                <a:gd name="T41" fmla="*/ 4 h 467"/>
                <a:gd name="T42" fmla="*/ 10 w 449"/>
                <a:gd name="T43" fmla="*/ 4 h 467"/>
                <a:gd name="T44" fmla="*/ 9 w 449"/>
                <a:gd name="T45" fmla="*/ 4 h 467"/>
                <a:gd name="T46" fmla="*/ 9 w 449"/>
                <a:gd name="T47" fmla="*/ 5 h 467"/>
                <a:gd name="T48" fmla="*/ 9 w 449"/>
                <a:gd name="T49" fmla="*/ 5 h 467"/>
                <a:gd name="T50" fmla="*/ 8 w 449"/>
                <a:gd name="T51" fmla="*/ 5 h 467"/>
                <a:gd name="T52" fmla="*/ 8 w 449"/>
                <a:gd name="T53" fmla="*/ 5 h 467"/>
                <a:gd name="T54" fmla="*/ 8 w 449"/>
                <a:gd name="T55" fmla="*/ 5 h 467"/>
                <a:gd name="T56" fmla="*/ 7 w 449"/>
                <a:gd name="T57" fmla="*/ 5 h 467"/>
                <a:gd name="T58" fmla="*/ 7 w 449"/>
                <a:gd name="T59" fmla="*/ 5 h 467"/>
                <a:gd name="T60" fmla="*/ 7 w 449"/>
                <a:gd name="T61" fmla="*/ 6 h 467"/>
                <a:gd name="T62" fmla="*/ 6 w 449"/>
                <a:gd name="T63" fmla="*/ 6 h 467"/>
                <a:gd name="T64" fmla="*/ 6 w 449"/>
                <a:gd name="T65" fmla="*/ 6 h 467"/>
                <a:gd name="T66" fmla="*/ 5 w 449"/>
                <a:gd name="T67" fmla="*/ 6 h 467"/>
                <a:gd name="T68" fmla="*/ 5 w 449"/>
                <a:gd name="T69" fmla="*/ 6 h 467"/>
                <a:gd name="T70" fmla="*/ 4 w 449"/>
                <a:gd name="T71" fmla="*/ 6 h 467"/>
                <a:gd name="T72" fmla="*/ 3 w 449"/>
                <a:gd name="T73" fmla="*/ 6 h 467"/>
                <a:gd name="T74" fmla="*/ 3 w 449"/>
                <a:gd name="T75" fmla="*/ 5 h 467"/>
                <a:gd name="T76" fmla="*/ 3 w 449"/>
                <a:gd name="T77" fmla="*/ 5 h 467"/>
                <a:gd name="T78" fmla="*/ 2 w 449"/>
                <a:gd name="T79" fmla="*/ 5 h 467"/>
                <a:gd name="T80" fmla="*/ 2 w 449"/>
                <a:gd name="T81" fmla="*/ 5 h 467"/>
                <a:gd name="T82" fmla="*/ 1 w 449"/>
                <a:gd name="T83" fmla="*/ 5 h 467"/>
                <a:gd name="T84" fmla="*/ 1 w 449"/>
                <a:gd name="T85" fmla="*/ 5 h 467"/>
                <a:gd name="T86" fmla="*/ 1 w 449"/>
                <a:gd name="T87" fmla="*/ 5 h 467"/>
                <a:gd name="T88" fmla="*/ 0 w 449"/>
                <a:gd name="T89" fmla="*/ 4 h 467"/>
                <a:gd name="T90" fmla="*/ 0 w 449"/>
                <a:gd name="T91" fmla="*/ 4 h 467"/>
                <a:gd name="T92" fmla="*/ 0 w 449"/>
                <a:gd name="T93" fmla="*/ 4 h 467"/>
                <a:gd name="T94" fmla="*/ 0 w 449"/>
                <a:gd name="T95" fmla="*/ 3 h 467"/>
                <a:gd name="T96" fmla="*/ 0 w 449"/>
                <a:gd name="T97" fmla="*/ 3 h 467"/>
                <a:gd name="T98" fmla="*/ 0 w 449"/>
                <a:gd name="T99" fmla="*/ 3 h 467"/>
                <a:gd name="T100" fmla="*/ 0 w 449"/>
                <a:gd name="T101" fmla="*/ 3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67"/>
                <a:gd name="T155" fmla="*/ 449 w 449"/>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path>
              </a:pathLst>
            </a:custGeom>
            <a:solidFill>
              <a:schemeClr val="accent4"/>
            </a:solidFill>
            <a:ln w="3175">
              <a:solidFill>
                <a:schemeClr val="accent4"/>
              </a:solidFill>
              <a:round/>
              <a:headEnd/>
              <a:tailEnd/>
            </a:ln>
          </p:spPr>
          <p:txBody>
            <a:bodyPr/>
            <a:lstStyle/>
            <a:p>
              <a:endParaRPr lang="en-GB"/>
            </a:p>
          </p:txBody>
        </p:sp>
        <p:sp>
          <p:nvSpPr>
            <p:cNvPr id="794778" name="Freeform 139"/>
            <p:cNvSpPr>
              <a:spLocks noChangeAspect="1"/>
            </p:cNvSpPr>
            <p:nvPr/>
          </p:nvSpPr>
          <p:spPr bwMode="auto">
            <a:xfrm>
              <a:off x="4981" y="3283"/>
              <a:ext cx="105" cy="97"/>
            </a:xfrm>
            <a:custGeom>
              <a:avLst/>
              <a:gdLst>
                <a:gd name="T0" fmla="*/ 0 w 225"/>
                <a:gd name="T1" fmla="*/ 3 h 234"/>
                <a:gd name="T2" fmla="*/ 0 w 225"/>
                <a:gd name="T3" fmla="*/ 2 h 234"/>
                <a:gd name="T4" fmla="*/ 0 w 225"/>
                <a:gd name="T5" fmla="*/ 2 h 234"/>
                <a:gd name="T6" fmla="*/ 0 w 225"/>
                <a:gd name="T7" fmla="*/ 2 h 234"/>
                <a:gd name="T8" fmla="*/ 0 w 225"/>
                <a:gd name="T9" fmla="*/ 2 h 234"/>
                <a:gd name="T10" fmla="*/ 0 w 225"/>
                <a:gd name="T11" fmla="*/ 2 h 234"/>
                <a:gd name="T12" fmla="*/ 1 w 225"/>
                <a:gd name="T13" fmla="*/ 1 h 234"/>
                <a:gd name="T14" fmla="*/ 1 w 225"/>
                <a:gd name="T15" fmla="*/ 1 h 234"/>
                <a:gd name="T16" fmla="*/ 1 w 225"/>
                <a:gd name="T17" fmla="*/ 1 h 234"/>
                <a:gd name="T18" fmla="*/ 2 w 225"/>
                <a:gd name="T19" fmla="*/ 1 h 234"/>
                <a:gd name="T20" fmla="*/ 2 w 225"/>
                <a:gd name="T21" fmla="*/ 0 h 234"/>
                <a:gd name="T22" fmla="*/ 3 w 225"/>
                <a:gd name="T23" fmla="*/ 0 h 234"/>
                <a:gd name="T24" fmla="*/ 3 w 225"/>
                <a:gd name="T25" fmla="*/ 0 h 234"/>
                <a:gd name="T26" fmla="*/ 3 w 225"/>
                <a:gd name="T27" fmla="*/ 0 h 234"/>
                <a:gd name="T28" fmla="*/ 4 w 225"/>
                <a:gd name="T29" fmla="*/ 0 h 234"/>
                <a:gd name="T30" fmla="*/ 5 w 225"/>
                <a:gd name="T31" fmla="*/ 0 h 234"/>
                <a:gd name="T32" fmla="*/ 5 w 225"/>
                <a:gd name="T33" fmla="*/ 0 h 234"/>
                <a:gd name="T34" fmla="*/ 5 w 225"/>
                <a:gd name="T35" fmla="*/ 3 h 234"/>
                <a:gd name="T36" fmla="*/ 0 w 225"/>
                <a:gd name="T37" fmla="*/ 3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5"/>
                <a:gd name="T58" fmla="*/ 0 h 234"/>
                <a:gd name="T59" fmla="*/ 225 w 225"/>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5" h="234">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lnTo>
                    <a:pt x="225" y="234"/>
                  </a:lnTo>
                  <a:lnTo>
                    <a:pt x="0" y="233"/>
                  </a:lnTo>
                  <a:close/>
                </a:path>
              </a:pathLst>
            </a:custGeom>
            <a:solidFill>
              <a:srgbClr val="FFFFFF"/>
            </a:solidFill>
            <a:ln w="3175">
              <a:solidFill>
                <a:schemeClr val="accent4"/>
              </a:solidFill>
              <a:round/>
              <a:headEnd/>
              <a:tailEnd/>
            </a:ln>
          </p:spPr>
          <p:txBody>
            <a:bodyPr/>
            <a:lstStyle/>
            <a:p>
              <a:endParaRPr lang="en-GB"/>
            </a:p>
          </p:txBody>
        </p:sp>
        <p:sp>
          <p:nvSpPr>
            <p:cNvPr id="794779" name="Freeform 140"/>
            <p:cNvSpPr>
              <a:spLocks noChangeAspect="1"/>
            </p:cNvSpPr>
            <p:nvPr/>
          </p:nvSpPr>
          <p:spPr bwMode="auto">
            <a:xfrm>
              <a:off x="4981" y="3283"/>
              <a:ext cx="105" cy="97"/>
            </a:xfrm>
            <a:custGeom>
              <a:avLst/>
              <a:gdLst>
                <a:gd name="T0" fmla="*/ 0 w 224"/>
                <a:gd name="T1" fmla="*/ 3 h 233"/>
                <a:gd name="T2" fmla="*/ 0 w 224"/>
                <a:gd name="T3" fmla="*/ 2 h 233"/>
                <a:gd name="T4" fmla="*/ 0 w 224"/>
                <a:gd name="T5" fmla="*/ 2 h 233"/>
                <a:gd name="T6" fmla="*/ 0 w 224"/>
                <a:gd name="T7" fmla="*/ 2 h 233"/>
                <a:gd name="T8" fmla="*/ 0 w 224"/>
                <a:gd name="T9" fmla="*/ 2 h 233"/>
                <a:gd name="T10" fmla="*/ 0 w 224"/>
                <a:gd name="T11" fmla="*/ 2 h 233"/>
                <a:gd name="T12" fmla="*/ 1 w 224"/>
                <a:gd name="T13" fmla="*/ 1 h 233"/>
                <a:gd name="T14" fmla="*/ 1 w 224"/>
                <a:gd name="T15" fmla="*/ 1 h 233"/>
                <a:gd name="T16" fmla="*/ 1 w 224"/>
                <a:gd name="T17" fmla="*/ 1 h 233"/>
                <a:gd name="T18" fmla="*/ 2 w 224"/>
                <a:gd name="T19" fmla="*/ 1 h 233"/>
                <a:gd name="T20" fmla="*/ 2 w 224"/>
                <a:gd name="T21" fmla="*/ 0 h 233"/>
                <a:gd name="T22" fmla="*/ 3 w 224"/>
                <a:gd name="T23" fmla="*/ 0 h 233"/>
                <a:gd name="T24" fmla="*/ 3 w 224"/>
                <a:gd name="T25" fmla="*/ 0 h 233"/>
                <a:gd name="T26" fmla="*/ 4 w 224"/>
                <a:gd name="T27" fmla="*/ 0 h 233"/>
                <a:gd name="T28" fmla="*/ 4 w 224"/>
                <a:gd name="T29" fmla="*/ 0 h 233"/>
                <a:gd name="T30" fmla="*/ 5 w 224"/>
                <a:gd name="T31" fmla="*/ 0 h 233"/>
                <a:gd name="T32" fmla="*/ 5 w 224"/>
                <a:gd name="T33" fmla="*/ 0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4"/>
                <a:gd name="T52" fmla="*/ 0 h 233"/>
                <a:gd name="T53" fmla="*/ 224 w 22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4" h="233">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path>
              </a:pathLst>
            </a:custGeom>
            <a:solidFill>
              <a:srgbClr val="FFFFFF"/>
            </a:solidFill>
            <a:ln w="3175">
              <a:solidFill>
                <a:schemeClr val="accent4"/>
              </a:solidFill>
              <a:round/>
              <a:headEnd/>
              <a:tailEnd/>
            </a:ln>
          </p:spPr>
          <p:txBody>
            <a:bodyPr/>
            <a:lstStyle/>
            <a:p>
              <a:endParaRPr lang="en-GB"/>
            </a:p>
          </p:txBody>
        </p:sp>
      </p:grpSp>
      <p:sp>
        <p:nvSpPr>
          <p:cNvPr id="794668" name="Text Box 141"/>
          <p:cNvSpPr txBox="1">
            <a:spLocks noChangeArrowheads="1"/>
          </p:cNvSpPr>
          <p:nvPr/>
        </p:nvSpPr>
        <p:spPr bwMode="auto">
          <a:xfrm>
            <a:off x="1514475" y="5286375"/>
            <a:ext cx="149225" cy="215900"/>
          </a:xfrm>
          <a:prstGeom prst="rect">
            <a:avLst/>
          </a:prstGeom>
          <a:noFill/>
          <a:ln w="9525">
            <a:noFill/>
            <a:miter lim="800000"/>
            <a:headEnd/>
            <a:tailEnd/>
          </a:ln>
        </p:spPr>
        <p:txBody>
          <a:bodyPr wrap="none" lIns="0" tIns="0" rIns="0" bIns="0">
            <a:spAutoFit/>
          </a:bodyPr>
          <a:lstStyle/>
          <a:p>
            <a:pPr algn="ctr"/>
            <a:r>
              <a:rPr lang="en-GB" altLang="ja-JP" sz="1400">
                <a:solidFill>
                  <a:schemeClr val="tx2"/>
                </a:solidFill>
                <a:ea typeface="ＭＳ Ｐゴシック" charset="-128"/>
              </a:rPr>
              <a:t>¾</a:t>
            </a:r>
          </a:p>
        </p:txBody>
      </p:sp>
      <p:grpSp>
        <p:nvGrpSpPr>
          <p:cNvPr id="119" name="Group 142"/>
          <p:cNvGrpSpPr>
            <a:grpSpLocks/>
          </p:cNvGrpSpPr>
          <p:nvPr/>
        </p:nvGrpSpPr>
        <p:grpSpPr bwMode="auto">
          <a:xfrm>
            <a:off x="3360738" y="5307013"/>
            <a:ext cx="115887" cy="115887"/>
            <a:chOff x="2293" y="3343"/>
            <a:chExt cx="80" cy="73"/>
          </a:xfrm>
        </p:grpSpPr>
        <p:grpSp>
          <p:nvGrpSpPr>
            <p:cNvPr id="120" name="Group 143"/>
            <p:cNvGrpSpPr>
              <a:grpSpLocks noChangeAspect="1"/>
            </p:cNvGrpSpPr>
            <p:nvPr/>
          </p:nvGrpSpPr>
          <p:grpSpPr bwMode="auto">
            <a:xfrm>
              <a:off x="2293" y="3343"/>
              <a:ext cx="80" cy="73"/>
              <a:chOff x="2654" y="1925"/>
              <a:chExt cx="449" cy="467"/>
            </a:xfrm>
          </p:grpSpPr>
          <p:sp>
            <p:nvSpPr>
              <p:cNvPr id="794774" name="Freeform 144"/>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224 w 449"/>
                  <a:gd name="T103" fmla="*/ 233 h 467"/>
                  <a:gd name="T104" fmla="*/ 224 w 449"/>
                  <a:gd name="T105" fmla="*/ 0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49"/>
                  <a:gd name="T160" fmla="*/ 0 h 467"/>
                  <a:gd name="T161" fmla="*/ 449 w 449"/>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lnTo>
                      <a:pt x="224" y="233"/>
                    </a:lnTo>
                    <a:lnTo>
                      <a:pt x="224" y="0"/>
                    </a:lnTo>
                    <a:close/>
                  </a:path>
                </a:pathLst>
              </a:custGeom>
              <a:solidFill>
                <a:schemeClr val="tx1"/>
              </a:solidFill>
              <a:ln w="3175">
                <a:solidFill>
                  <a:schemeClr val="accent4"/>
                </a:solidFill>
                <a:round/>
                <a:headEnd/>
                <a:tailEnd/>
              </a:ln>
            </p:spPr>
            <p:txBody>
              <a:bodyPr/>
              <a:lstStyle/>
              <a:p>
                <a:endParaRPr lang="en-GB"/>
              </a:p>
            </p:txBody>
          </p:sp>
          <p:sp>
            <p:nvSpPr>
              <p:cNvPr id="794775" name="Freeform 145"/>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67"/>
                  <a:gd name="T155" fmla="*/ 449 w 449"/>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path>
                </a:pathLst>
              </a:custGeom>
              <a:solidFill>
                <a:schemeClr val="accent4"/>
              </a:solidFill>
              <a:ln w="3175">
                <a:solidFill>
                  <a:schemeClr val="accent4"/>
                </a:solidFill>
                <a:round/>
                <a:headEnd/>
                <a:tailEnd/>
              </a:ln>
            </p:spPr>
            <p:txBody>
              <a:bodyPr/>
              <a:lstStyle/>
              <a:p>
                <a:endParaRPr lang="en-GB"/>
              </a:p>
            </p:txBody>
          </p:sp>
        </p:grpSp>
        <p:grpSp>
          <p:nvGrpSpPr>
            <p:cNvPr id="121" name="Group 146"/>
            <p:cNvGrpSpPr>
              <a:grpSpLocks noChangeAspect="1"/>
            </p:cNvGrpSpPr>
            <p:nvPr/>
          </p:nvGrpSpPr>
          <p:grpSpPr bwMode="auto">
            <a:xfrm>
              <a:off x="2293" y="3343"/>
              <a:ext cx="40" cy="37"/>
              <a:chOff x="2654" y="1925"/>
              <a:chExt cx="225" cy="234"/>
            </a:xfrm>
          </p:grpSpPr>
          <p:sp>
            <p:nvSpPr>
              <p:cNvPr id="794772" name="Freeform 147"/>
              <p:cNvSpPr>
                <a:spLocks noChangeAspect="1"/>
              </p:cNvSpPr>
              <p:nvPr/>
            </p:nvSpPr>
            <p:spPr bwMode="auto">
              <a:xfrm>
                <a:off x="2654" y="1925"/>
                <a:ext cx="225" cy="234"/>
              </a:xfrm>
              <a:custGeom>
                <a:avLst/>
                <a:gdLst>
                  <a:gd name="T0" fmla="*/ 0 w 225"/>
                  <a:gd name="T1" fmla="*/ 233 h 234"/>
                  <a:gd name="T2" fmla="*/ 1 w 225"/>
                  <a:gd name="T3" fmla="*/ 209 h 234"/>
                  <a:gd name="T4" fmla="*/ 5 w 225"/>
                  <a:gd name="T5" fmla="*/ 186 h 234"/>
                  <a:gd name="T6" fmla="*/ 10 w 225"/>
                  <a:gd name="T7" fmla="*/ 164 h 234"/>
                  <a:gd name="T8" fmla="*/ 18 w 225"/>
                  <a:gd name="T9" fmla="*/ 143 h 234"/>
                  <a:gd name="T10" fmla="*/ 27 w 225"/>
                  <a:gd name="T11" fmla="*/ 122 h 234"/>
                  <a:gd name="T12" fmla="*/ 39 w 225"/>
                  <a:gd name="T13" fmla="*/ 103 h 234"/>
                  <a:gd name="T14" fmla="*/ 52 w 225"/>
                  <a:gd name="T15" fmla="*/ 85 h 234"/>
                  <a:gd name="T16" fmla="*/ 66 w 225"/>
                  <a:gd name="T17" fmla="*/ 69 h 234"/>
                  <a:gd name="T18" fmla="*/ 82 w 225"/>
                  <a:gd name="T19" fmla="*/ 54 h 234"/>
                  <a:gd name="T20" fmla="*/ 99 w 225"/>
                  <a:gd name="T21" fmla="*/ 40 h 234"/>
                  <a:gd name="T22" fmla="*/ 117 w 225"/>
                  <a:gd name="T23" fmla="*/ 29 h 234"/>
                  <a:gd name="T24" fmla="*/ 137 w 225"/>
                  <a:gd name="T25" fmla="*/ 19 h 234"/>
                  <a:gd name="T26" fmla="*/ 157 w 225"/>
                  <a:gd name="T27" fmla="*/ 11 h 234"/>
                  <a:gd name="T28" fmla="*/ 179 w 225"/>
                  <a:gd name="T29" fmla="*/ 5 h 234"/>
                  <a:gd name="T30" fmla="*/ 201 w 225"/>
                  <a:gd name="T31" fmla="*/ 1 h 234"/>
                  <a:gd name="T32" fmla="*/ 224 w 225"/>
                  <a:gd name="T33" fmla="*/ 0 h 234"/>
                  <a:gd name="T34" fmla="*/ 225 w 225"/>
                  <a:gd name="T35" fmla="*/ 234 h 234"/>
                  <a:gd name="T36" fmla="*/ 0 w 225"/>
                  <a:gd name="T37" fmla="*/ 233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5"/>
                  <a:gd name="T58" fmla="*/ 0 h 234"/>
                  <a:gd name="T59" fmla="*/ 225 w 225"/>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5" h="234">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lnTo>
                      <a:pt x="225" y="234"/>
                    </a:lnTo>
                    <a:lnTo>
                      <a:pt x="0" y="233"/>
                    </a:lnTo>
                    <a:close/>
                  </a:path>
                </a:pathLst>
              </a:custGeom>
              <a:solidFill>
                <a:srgbClr val="FFFFFF"/>
              </a:solidFill>
              <a:ln w="3175">
                <a:solidFill>
                  <a:schemeClr val="accent4"/>
                </a:solidFill>
                <a:round/>
                <a:headEnd/>
                <a:tailEnd/>
              </a:ln>
            </p:spPr>
            <p:txBody>
              <a:bodyPr/>
              <a:lstStyle/>
              <a:p>
                <a:endParaRPr lang="en-GB"/>
              </a:p>
            </p:txBody>
          </p:sp>
          <p:sp>
            <p:nvSpPr>
              <p:cNvPr id="794773" name="Freeform 148"/>
              <p:cNvSpPr>
                <a:spLocks noChangeAspect="1"/>
              </p:cNvSpPr>
              <p:nvPr/>
            </p:nvSpPr>
            <p:spPr bwMode="auto">
              <a:xfrm>
                <a:off x="2654" y="1925"/>
                <a:ext cx="224" cy="233"/>
              </a:xfrm>
              <a:custGeom>
                <a:avLst/>
                <a:gdLst>
                  <a:gd name="T0" fmla="*/ 0 w 224"/>
                  <a:gd name="T1" fmla="*/ 233 h 233"/>
                  <a:gd name="T2" fmla="*/ 1 w 224"/>
                  <a:gd name="T3" fmla="*/ 209 h 233"/>
                  <a:gd name="T4" fmla="*/ 5 w 224"/>
                  <a:gd name="T5" fmla="*/ 186 h 233"/>
                  <a:gd name="T6" fmla="*/ 10 w 224"/>
                  <a:gd name="T7" fmla="*/ 164 h 233"/>
                  <a:gd name="T8" fmla="*/ 18 w 224"/>
                  <a:gd name="T9" fmla="*/ 143 h 233"/>
                  <a:gd name="T10" fmla="*/ 27 w 224"/>
                  <a:gd name="T11" fmla="*/ 122 h 233"/>
                  <a:gd name="T12" fmla="*/ 39 w 224"/>
                  <a:gd name="T13" fmla="*/ 103 h 233"/>
                  <a:gd name="T14" fmla="*/ 52 w 224"/>
                  <a:gd name="T15" fmla="*/ 85 h 233"/>
                  <a:gd name="T16" fmla="*/ 66 w 224"/>
                  <a:gd name="T17" fmla="*/ 69 h 233"/>
                  <a:gd name="T18" fmla="*/ 82 w 224"/>
                  <a:gd name="T19" fmla="*/ 54 h 233"/>
                  <a:gd name="T20" fmla="*/ 99 w 224"/>
                  <a:gd name="T21" fmla="*/ 40 h 233"/>
                  <a:gd name="T22" fmla="*/ 117 w 224"/>
                  <a:gd name="T23" fmla="*/ 29 h 233"/>
                  <a:gd name="T24" fmla="*/ 137 w 224"/>
                  <a:gd name="T25" fmla="*/ 19 h 233"/>
                  <a:gd name="T26" fmla="*/ 157 w 224"/>
                  <a:gd name="T27" fmla="*/ 11 h 233"/>
                  <a:gd name="T28" fmla="*/ 179 w 224"/>
                  <a:gd name="T29" fmla="*/ 5 h 233"/>
                  <a:gd name="T30" fmla="*/ 201 w 224"/>
                  <a:gd name="T31" fmla="*/ 1 h 233"/>
                  <a:gd name="T32" fmla="*/ 224 w 224"/>
                  <a:gd name="T33" fmla="*/ 0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4"/>
                  <a:gd name="T52" fmla="*/ 0 h 233"/>
                  <a:gd name="T53" fmla="*/ 224 w 22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4" h="233">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path>
                </a:pathLst>
              </a:custGeom>
              <a:solidFill>
                <a:srgbClr val="FFFFFF"/>
              </a:solidFill>
              <a:ln w="3175">
                <a:solidFill>
                  <a:schemeClr val="accent4"/>
                </a:solidFill>
                <a:round/>
                <a:headEnd/>
                <a:tailEnd/>
              </a:ln>
            </p:spPr>
            <p:txBody>
              <a:bodyPr/>
              <a:lstStyle/>
              <a:p>
                <a:endParaRPr lang="en-GB"/>
              </a:p>
            </p:txBody>
          </p:sp>
        </p:grpSp>
      </p:grpSp>
      <p:grpSp>
        <p:nvGrpSpPr>
          <p:cNvPr id="122" name="Group 149"/>
          <p:cNvGrpSpPr>
            <a:grpSpLocks/>
          </p:cNvGrpSpPr>
          <p:nvPr/>
        </p:nvGrpSpPr>
        <p:grpSpPr bwMode="auto">
          <a:xfrm>
            <a:off x="5251450" y="5268913"/>
            <a:ext cx="193675" cy="193675"/>
            <a:chOff x="3584" y="3319"/>
            <a:chExt cx="132" cy="122"/>
          </a:xfrm>
        </p:grpSpPr>
        <p:grpSp>
          <p:nvGrpSpPr>
            <p:cNvPr id="123" name="Group 150"/>
            <p:cNvGrpSpPr>
              <a:grpSpLocks noChangeAspect="1"/>
            </p:cNvGrpSpPr>
            <p:nvPr/>
          </p:nvGrpSpPr>
          <p:grpSpPr bwMode="auto">
            <a:xfrm>
              <a:off x="3584" y="3319"/>
              <a:ext cx="132" cy="122"/>
              <a:chOff x="2654" y="1925"/>
              <a:chExt cx="449" cy="467"/>
            </a:xfrm>
          </p:grpSpPr>
          <p:sp>
            <p:nvSpPr>
              <p:cNvPr id="794768" name="Freeform 151"/>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224 w 449"/>
                  <a:gd name="T103" fmla="*/ 233 h 467"/>
                  <a:gd name="T104" fmla="*/ 224 w 449"/>
                  <a:gd name="T105" fmla="*/ 0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49"/>
                  <a:gd name="T160" fmla="*/ 0 h 467"/>
                  <a:gd name="T161" fmla="*/ 449 w 449"/>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lnTo>
                      <a:pt x="224" y="233"/>
                    </a:lnTo>
                    <a:lnTo>
                      <a:pt x="224" y="0"/>
                    </a:lnTo>
                    <a:close/>
                  </a:path>
                </a:pathLst>
              </a:custGeom>
              <a:solidFill>
                <a:schemeClr val="tx1"/>
              </a:solidFill>
              <a:ln w="3175">
                <a:solidFill>
                  <a:schemeClr val="accent4"/>
                </a:solidFill>
                <a:round/>
                <a:headEnd/>
                <a:tailEnd/>
              </a:ln>
            </p:spPr>
            <p:txBody>
              <a:bodyPr/>
              <a:lstStyle/>
              <a:p>
                <a:endParaRPr lang="en-GB"/>
              </a:p>
            </p:txBody>
          </p:sp>
          <p:sp>
            <p:nvSpPr>
              <p:cNvPr id="794769" name="Freeform 152"/>
              <p:cNvSpPr>
                <a:spLocks noChangeAspect="1"/>
              </p:cNvSpPr>
              <p:nvPr/>
            </p:nvSpPr>
            <p:spPr bwMode="auto">
              <a:xfrm>
                <a:off x="2654" y="1925"/>
                <a:ext cx="449" cy="467"/>
              </a:xfrm>
              <a:custGeom>
                <a:avLst/>
                <a:gdLst>
                  <a:gd name="T0" fmla="*/ 224 w 449"/>
                  <a:gd name="T1" fmla="*/ 0 h 467"/>
                  <a:gd name="T2" fmla="*/ 224 w 449"/>
                  <a:gd name="T3" fmla="*/ 0 h 467"/>
                  <a:gd name="T4" fmla="*/ 247 w 449"/>
                  <a:gd name="T5" fmla="*/ 1 h 467"/>
                  <a:gd name="T6" fmla="*/ 269 w 449"/>
                  <a:gd name="T7" fmla="*/ 5 h 467"/>
                  <a:gd name="T8" fmla="*/ 291 w 449"/>
                  <a:gd name="T9" fmla="*/ 11 h 467"/>
                  <a:gd name="T10" fmla="*/ 312 w 449"/>
                  <a:gd name="T11" fmla="*/ 18 h 467"/>
                  <a:gd name="T12" fmla="*/ 331 w 449"/>
                  <a:gd name="T13" fmla="*/ 28 h 467"/>
                  <a:gd name="T14" fmla="*/ 350 w 449"/>
                  <a:gd name="T15" fmla="*/ 40 h 467"/>
                  <a:gd name="T16" fmla="*/ 367 w 449"/>
                  <a:gd name="T17" fmla="*/ 53 h 467"/>
                  <a:gd name="T18" fmla="*/ 383 w 449"/>
                  <a:gd name="T19" fmla="*/ 69 h 467"/>
                  <a:gd name="T20" fmla="*/ 398 w 449"/>
                  <a:gd name="T21" fmla="*/ 85 h 467"/>
                  <a:gd name="T22" fmla="*/ 411 w 449"/>
                  <a:gd name="T23" fmla="*/ 103 h 467"/>
                  <a:gd name="T24" fmla="*/ 422 w 449"/>
                  <a:gd name="T25" fmla="*/ 122 h 467"/>
                  <a:gd name="T26" fmla="*/ 431 w 449"/>
                  <a:gd name="T27" fmla="*/ 143 h 467"/>
                  <a:gd name="T28" fmla="*/ 439 w 449"/>
                  <a:gd name="T29" fmla="*/ 164 h 467"/>
                  <a:gd name="T30" fmla="*/ 444 w 449"/>
                  <a:gd name="T31" fmla="*/ 186 h 467"/>
                  <a:gd name="T32" fmla="*/ 448 w 449"/>
                  <a:gd name="T33" fmla="*/ 209 h 467"/>
                  <a:gd name="T34" fmla="*/ 449 w 449"/>
                  <a:gd name="T35" fmla="*/ 233 h 467"/>
                  <a:gd name="T36" fmla="*/ 448 w 449"/>
                  <a:gd name="T37" fmla="*/ 257 h 467"/>
                  <a:gd name="T38" fmla="*/ 444 w 449"/>
                  <a:gd name="T39" fmla="*/ 280 h 467"/>
                  <a:gd name="T40" fmla="*/ 439 w 449"/>
                  <a:gd name="T41" fmla="*/ 303 h 467"/>
                  <a:gd name="T42" fmla="*/ 431 w 449"/>
                  <a:gd name="T43" fmla="*/ 324 h 467"/>
                  <a:gd name="T44" fmla="*/ 422 w 449"/>
                  <a:gd name="T45" fmla="*/ 344 h 467"/>
                  <a:gd name="T46" fmla="*/ 411 w 449"/>
                  <a:gd name="T47" fmla="*/ 364 h 467"/>
                  <a:gd name="T48" fmla="*/ 398 w 449"/>
                  <a:gd name="T49" fmla="*/ 382 h 467"/>
                  <a:gd name="T50" fmla="*/ 383 w 449"/>
                  <a:gd name="T51" fmla="*/ 398 h 467"/>
                  <a:gd name="T52" fmla="*/ 367 w 449"/>
                  <a:gd name="T53" fmla="*/ 414 h 467"/>
                  <a:gd name="T54" fmla="*/ 350 w 449"/>
                  <a:gd name="T55" fmla="*/ 427 h 467"/>
                  <a:gd name="T56" fmla="*/ 331 w 449"/>
                  <a:gd name="T57" fmla="*/ 439 h 467"/>
                  <a:gd name="T58" fmla="*/ 312 w 449"/>
                  <a:gd name="T59" fmla="*/ 449 h 467"/>
                  <a:gd name="T60" fmla="*/ 291 w 449"/>
                  <a:gd name="T61" fmla="*/ 456 h 467"/>
                  <a:gd name="T62" fmla="*/ 269 w 449"/>
                  <a:gd name="T63" fmla="*/ 462 h 467"/>
                  <a:gd name="T64" fmla="*/ 247 w 449"/>
                  <a:gd name="T65" fmla="*/ 466 h 467"/>
                  <a:gd name="T66" fmla="*/ 224 w 449"/>
                  <a:gd name="T67" fmla="*/ 467 h 467"/>
                  <a:gd name="T68" fmla="*/ 201 w 449"/>
                  <a:gd name="T69" fmla="*/ 466 h 467"/>
                  <a:gd name="T70" fmla="*/ 179 w 449"/>
                  <a:gd name="T71" fmla="*/ 462 h 467"/>
                  <a:gd name="T72" fmla="*/ 158 w 449"/>
                  <a:gd name="T73" fmla="*/ 456 h 467"/>
                  <a:gd name="T74" fmla="*/ 137 w 449"/>
                  <a:gd name="T75" fmla="*/ 449 h 467"/>
                  <a:gd name="T76" fmla="*/ 118 w 449"/>
                  <a:gd name="T77" fmla="*/ 439 h 467"/>
                  <a:gd name="T78" fmla="*/ 99 w 449"/>
                  <a:gd name="T79" fmla="*/ 427 h 467"/>
                  <a:gd name="T80" fmla="*/ 82 w 449"/>
                  <a:gd name="T81" fmla="*/ 414 h 467"/>
                  <a:gd name="T82" fmla="*/ 66 w 449"/>
                  <a:gd name="T83" fmla="*/ 398 h 467"/>
                  <a:gd name="T84" fmla="*/ 51 w 449"/>
                  <a:gd name="T85" fmla="*/ 382 h 467"/>
                  <a:gd name="T86" fmla="*/ 38 w 449"/>
                  <a:gd name="T87" fmla="*/ 364 h 467"/>
                  <a:gd name="T88" fmla="*/ 27 w 449"/>
                  <a:gd name="T89" fmla="*/ 344 h 467"/>
                  <a:gd name="T90" fmla="*/ 18 w 449"/>
                  <a:gd name="T91" fmla="*/ 324 h 467"/>
                  <a:gd name="T92" fmla="*/ 10 w 449"/>
                  <a:gd name="T93" fmla="*/ 303 h 467"/>
                  <a:gd name="T94" fmla="*/ 5 w 449"/>
                  <a:gd name="T95" fmla="*/ 280 h 467"/>
                  <a:gd name="T96" fmla="*/ 1 w 449"/>
                  <a:gd name="T97" fmla="*/ 257 h 467"/>
                  <a:gd name="T98" fmla="*/ 0 w 449"/>
                  <a:gd name="T99" fmla="*/ 233 h 467"/>
                  <a:gd name="T100" fmla="*/ 0 w 449"/>
                  <a:gd name="T101" fmla="*/ 233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67"/>
                  <a:gd name="T155" fmla="*/ 449 w 449"/>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67">
                    <a:moveTo>
                      <a:pt x="224" y="0"/>
                    </a:moveTo>
                    <a:lnTo>
                      <a:pt x="224" y="0"/>
                    </a:lnTo>
                    <a:lnTo>
                      <a:pt x="247" y="1"/>
                    </a:lnTo>
                    <a:lnTo>
                      <a:pt x="269" y="5"/>
                    </a:lnTo>
                    <a:lnTo>
                      <a:pt x="291" y="11"/>
                    </a:lnTo>
                    <a:lnTo>
                      <a:pt x="312" y="18"/>
                    </a:lnTo>
                    <a:lnTo>
                      <a:pt x="331" y="28"/>
                    </a:lnTo>
                    <a:lnTo>
                      <a:pt x="350" y="40"/>
                    </a:lnTo>
                    <a:lnTo>
                      <a:pt x="367" y="53"/>
                    </a:lnTo>
                    <a:lnTo>
                      <a:pt x="383" y="69"/>
                    </a:lnTo>
                    <a:lnTo>
                      <a:pt x="398" y="85"/>
                    </a:lnTo>
                    <a:lnTo>
                      <a:pt x="411" y="103"/>
                    </a:lnTo>
                    <a:lnTo>
                      <a:pt x="422" y="122"/>
                    </a:lnTo>
                    <a:lnTo>
                      <a:pt x="431" y="143"/>
                    </a:lnTo>
                    <a:lnTo>
                      <a:pt x="439" y="164"/>
                    </a:lnTo>
                    <a:lnTo>
                      <a:pt x="444" y="186"/>
                    </a:lnTo>
                    <a:lnTo>
                      <a:pt x="448" y="209"/>
                    </a:lnTo>
                    <a:lnTo>
                      <a:pt x="449" y="233"/>
                    </a:lnTo>
                    <a:lnTo>
                      <a:pt x="448" y="257"/>
                    </a:lnTo>
                    <a:lnTo>
                      <a:pt x="444" y="280"/>
                    </a:lnTo>
                    <a:lnTo>
                      <a:pt x="439" y="303"/>
                    </a:lnTo>
                    <a:lnTo>
                      <a:pt x="431" y="324"/>
                    </a:lnTo>
                    <a:lnTo>
                      <a:pt x="422" y="344"/>
                    </a:lnTo>
                    <a:lnTo>
                      <a:pt x="411" y="364"/>
                    </a:lnTo>
                    <a:lnTo>
                      <a:pt x="398" y="382"/>
                    </a:lnTo>
                    <a:lnTo>
                      <a:pt x="383" y="398"/>
                    </a:lnTo>
                    <a:lnTo>
                      <a:pt x="367" y="414"/>
                    </a:lnTo>
                    <a:lnTo>
                      <a:pt x="350" y="427"/>
                    </a:lnTo>
                    <a:lnTo>
                      <a:pt x="331" y="439"/>
                    </a:lnTo>
                    <a:lnTo>
                      <a:pt x="312" y="449"/>
                    </a:lnTo>
                    <a:lnTo>
                      <a:pt x="291" y="456"/>
                    </a:lnTo>
                    <a:lnTo>
                      <a:pt x="269" y="462"/>
                    </a:lnTo>
                    <a:lnTo>
                      <a:pt x="247" y="466"/>
                    </a:lnTo>
                    <a:lnTo>
                      <a:pt x="224" y="467"/>
                    </a:lnTo>
                    <a:lnTo>
                      <a:pt x="201" y="466"/>
                    </a:lnTo>
                    <a:lnTo>
                      <a:pt x="179" y="462"/>
                    </a:lnTo>
                    <a:lnTo>
                      <a:pt x="158" y="456"/>
                    </a:lnTo>
                    <a:lnTo>
                      <a:pt x="137" y="449"/>
                    </a:lnTo>
                    <a:lnTo>
                      <a:pt x="118" y="439"/>
                    </a:lnTo>
                    <a:lnTo>
                      <a:pt x="99" y="427"/>
                    </a:lnTo>
                    <a:lnTo>
                      <a:pt x="82" y="414"/>
                    </a:lnTo>
                    <a:lnTo>
                      <a:pt x="66" y="398"/>
                    </a:lnTo>
                    <a:lnTo>
                      <a:pt x="51" y="382"/>
                    </a:lnTo>
                    <a:lnTo>
                      <a:pt x="38" y="364"/>
                    </a:lnTo>
                    <a:lnTo>
                      <a:pt x="27" y="344"/>
                    </a:lnTo>
                    <a:lnTo>
                      <a:pt x="18" y="324"/>
                    </a:lnTo>
                    <a:lnTo>
                      <a:pt x="10" y="303"/>
                    </a:lnTo>
                    <a:lnTo>
                      <a:pt x="5" y="280"/>
                    </a:lnTo>
                    <a:lnTo>
                      <a:pt x="1" y="257"/>
                    </a:lnTo>
                    <a:lnTo>
                      <a:pt x="0" y="233"/>
                    </a:lnTo>
                  </a:path>
                </a:pathLst>
              </a:custGeom>
              <a:solidFill>
                <a:schemeClr val="accent4"/>
              </a:solidFill>
              <a:ln w="3175">
                <a:solidFill>
                  <a:schemeClr val="accent4"/>
                </a:solidFill>
                <a:round/>
                <a:headEnd/>
                <a:tailEnd/>
              </a:ln>
            </p:spPr>
            <p:txBody>
              <a:bodyPr/>
              <a:lstStyle/>
              <a:p>
                <a:endParaRPr lang="en-GB"/>
              </a:p>
            </p:txBody>
          </p:sp>
        </p:grpSp>
        <p:grpSp>
          <p:nvGrpSpPr>
            <p:cNvPr id="124" name="Group 153"/>
            <p:cNvGrpSpPr>
              <a:grpSpLocks noChangeAspect="1"/>
            </p:cNvGrpSpPr>
            <p:nvPr/>
          </p:nvGrpSpPr>
          <p:grpSpPr bwMode="auto">
            <a:xfrm>
              <a:off x="3584" y="3319"/>
              <a:ext cx="66" cy="61"/>
              <a:chOff x="2654" y="1925"/>
              <a:chExt cx="225" cy="234"/>
            </a:xfrm>
          </p:grpSpPr>
          <p:sp>
            <p:nvSpPr>
              <p:cNvPr id="794766" name="Freeform 154"/>
              <p:cNvSpPr>
                <a:spLocks noChangeAspect="1"/>
              </p:cNvSpPr>
              <p:nvPr/>
            </p:nvSpPr>
            <p:spPr bwMode="auto">
              <a:xfrm>
                <a:off x="2654" y="1925"/>
                <a:ext cx="225" cy="234"/>
              </a:xfrm>
              <a:custGeom>
                <a:avLst/>
                <a:gdLst>
                  <a:gd name="T0" fmla="*/ 0 w 225"/>
                  <a:gd name="T1" fmla="*/ 233 h 234"/>
                  <a:gd name="T2" fmla="*/ 1 w 225"/>
                  <a:gd name="T3" fmla="*/ 209 h 234"/>
                  <a:gd name="T4" fmla="*/ 5 w 225"/>
                  <a:gd name="T5" fmla="*/ 186 h 234"/>
                  <a:gd name="T6" fmla="*/ 10 w 225"/>
                  <a:gd name="T7" fmla="*/ 164 h 234"/>
                  <a:gd name="T8" fmla="*/ 18 w 225"/>
                  <a:gd name="T9" fmla="*/ 143 h 234"/>
                  <a:gd name="T10" fmla="*/ 27 w 225"/>
                  <a:gd name="T11" fmla="*/ 122 h 234"/>
                  <a:gd name="T12" fmla="*/ 39 w 225"/>
                  <a:gd name="T13" fmla="*/ 103 h 234"/>
                  <a:gd name="T14" fmla="*/ 52 w 225"/>
                  <a:gd name="T15" fmla="*/ 85 h 234"/>
                  <a:gd name="T16" fmla="*/ 66 w 225"/>
                  <a:gd name="T17" fmla="*/ 69 h 234"/>
                  <a:gd name="T18" fmla="*/ 82 w 225"/>
                  <a:gd name="T19" fmla="*/ 54 h 234"/>
                  <a:gd name="T20" fmla="*/ 99 w 225"/>
                  <a:gd name="T21" fmla="*/ 40 h 234"/>
                  <a:gd name="T22" fmla="*/ 117 w 225"/>
                  <a:gd name="T23" fmla="*/ 29 h 234"/>
                  <a:gd name="T24" fmla="*/ 137 w 225"/>
                  <a:gd name="T25" fmla="*/ 19 h 234"/>
                  <a:gd name="T26" fmla="*/ 157 w 225"/>
                  <a:gd name="T27" fmla="*/ 11 h 234"/>
                  <a:gd name="T28" fmla="*/ 179 w 225"/>
                  <a:gd name="T29" fmla="*/ 5 h 234"/>
                  <a:gd name="T30" fmla="*/ 201 w 225"/>
                  <a:gd name="T31" fmla="*/ 1 h 234"/>
                  <a:gd name="T32" fmla="*/ 224 w 225"/>
                  <a:gd name="T33" fmla="*/ 0 h 234"/>
                  <a:gd name="T34" fmla="*/ 225 w 225"/>
                  <a:gd name="T35" fmla="*/ 234 h 234"/>
                  <a:gd name="T36" fmla="*/ 0 w 225"/>
                  <a:gd name="T37" fmla="*/ 233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5"/>
                  <a:gd name="T58" fmla="*/ 0 h 234"/>
                  <a:gd name="T59" fmla="*/ 225 w 225"/>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5" h="234">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lnTo>
                      <a:pt x="225" y="234"/>
                    </a:lnTo>
                    <a:lnTo>
                      <a:pt x="0" y="233"/>
                    </a:lnTo>
                    <a:close/>
                  </a:path>
                </a:pathLst>
              </a:custGeom>
              <a:solidFill>
                <a:srgbClr val="FFFFFF"/>
              </a:solidFill>
              <a:ln w="3175">
                <a:solidFill>
                  <a:schemeClr val="accent4"/>
                </a:solidFill>
                <a:round/>
                <a:headEnd/>
                <a:tailEnd/>
              </a:ln>
            </p:spPr>
            <p:txBody>
              <a:bodyPr/>
              <a:lstStyle/>
              <a:p>
                <a:endParaRPr lang="en-GB"/>
              </a:p>
            </p:txBody>
          </p:sp>
          <p:sp>
            <p:nvSpPr>
              <p:cNvPr id="794767" name="Freeform 155"/>
              <p:cNvSpPr>
                <a:spLocks noChangeAspect="1"/>
              </p:cNvSpPr>
              <p:nvPr/>
            </p:nvSpPr>
            <p:spPr bwMode="auto">
              <a:xfrm>
                <a:off x="2654" y="1925"/>
                <a:ext cx="224" cy="233"/>
              </a:xfrm>
              <a:custGeom>
                <a:avLst/>
                <a:gdLst>
                  <a:gd name="T0" fmla="*/ 0 w 224"/>
                  <a:gd name="T1" fmla="*/ 233 h 233"/>
                  <a:gd name="T2" fmla="*/ 1 w 224"/>
                  <a:gd name="T3" fmla="*/ 209 h 233"/>
                  <a:gd name="T4" fmla="*/ 5 w 224"/>
                  <a:gd name="T5" fmla="*/ 186 h 233"/>
                  <a:gd name="T6" fmla="*/ 10 w 224"/>
                  <a:gd name="T7" fmla="*/ 164 h 233"/>
                  <a:gd name="T8" fmla="*/ 18 w 224"/>
                  <a:gd name="T9" fmla="*/ 143 h 233"/>
                  <a:gd name="T10" fmla="*/ 27 w 224"/>
                  <a:gd name="T11" fmla="*/ 122 h 233"/>
                  <a:gd name="T12" fmla="*/ 39 w 224"/>
                  <a:gd name="T13" fmla="*/ 103 h 233"/>
                  <a:gd name="T14" fmla="*/ 52 w 224"/>
                  <a:gd name="T15" fmla="*/ 85 h 233"/>
                  <a:gd name="T16" fmla="*/ 66 w 224"/>
                  <a:gd name="T17" fmla="*/ 69 h 233"/>
                  <a:gd name="T18" fmla="*/ 82 w 224"/>
                  <a:gd name="T19" fmla="*/ 54 h 233"/>
                  <a:gd name="T20" fmla="*/ 99 w 224"/>
                  <a:gd name="T21" fmla="*/ 40 h 233"/>
                  <a:gd name="T22" fmla="*/ 117 w 224"/>
                  <a:gd name="T23" fmla="*/ 29 h 233"/>
                  <a:gd name="T24" fmla="*/ 137 w 224"/>
                  <a:gd name="T25" fmla="*/ 19 h 233"/>
                  <a:gd name="T26" fmla="*/ 157 w 224"/>
                  <a:gd name="T27" fmla="*/ 11 h 233"/>
                  <a:gd name="T28" fmla="*/ 179 w 224"/>
                  <a:gd name="T29" fmla="*/ 5 h 233"/>
                  <a:gd name="T30" fmla="*/ 201 w 224"/>
                  <a:gd name="T31" fmla="*/ 1 h 233"/>
                  <a:gd name="T32" fmla="*/ 224 w 224"/>
                  <a:gd name="T33" fmla="*/ 0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4"/>
                  <a:gd name="T52" fmla="*/ 0 h 233"/>
                  <a:gd name="T53" fmla="*/ 224 w 22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4" h="233">
                    <a:moveTo>
                      <a:pt x="0" y="233"/>
                    </a:moveTo>
                    <a:lnTo>
                      <a:pt x="1" y="209"/>
                    </a:lnTo>
                    <a:lnTo>
                      <a:pt x="5" y="186"/>
                    </a:lnTo>
                    <a:lnTo>
                      <a:pt x="10" y="164"/>
                    </a:lnTo>
                    <a:lnTo>
                      <a:pt x="18" y="143"/>
                    </a:lnTo>
                    <a:lnTo>
                      <a:pt x="27" y="122"/>
                    </a:lnTo>
                    <a:lnTo>
                      <a:pt x="39" y="103"/>
                    </a:lnTo>
                    <a:lnTo>
                      <a:pt x="52" y="85"/>
                    </a:lnTo>
                    <a:lnTo>
                      <a:pt x="66" y="69"/>
                    </a:lnTo>
                    <a:lnTo>
                      <a:pt x="82" y="54"/>
                    </a:lnTo>
                    <a:lnTo>
                      <a:pt x="99" y="40"/>
                    </a:lnTo>
                    <a:lnTo>
                      <a:pt x="117" y="29"/>
                    </a:lnTo>
                    <a:lnTo>
                      <a:pt x="137" y="19"/>
                    </a:lnTo>
                    <a:lnTo>
                      <a:pt x="157" y="11"/>
                    </a:lnTo>
                    <a:lnTo>
                      <a:pt x="179" y="5"/>
                    </a:lnTo>
                    <a:lnTo>
                      <a:pt x="201" y="1"/>
                    </a:lnTo>
                    <a:lnTo>
                      <a:pt x="224" y="0"/>
                    </a:lnTo>
                  </a:path>
                </a:pathLst>
              </a:custGeom>
              <a:solidFill>
                <a:srgbClr val="FFFFFF"/>
              </a:solidFill>
              <a:ln w="3175">
                <a:solidFill>
                  <a:schemeClr val="accent4"/>
                </a:solidFill>
                <a:round/>
                <a:headEnd/>
                <a:tailEnd/>
              </a:ln>
            </p:spPr>
            <p:txBody>
              <a:bodyPr/>
              <a:lstStyle/>
              <a:p>
                <a:endParaRPr lang="en-GB"/>
              </a:p>
            </p:txBody>
          </p:sp>
        </p:grpSp>
      </p:grpSp>
      <p:grpSp>
        <p:nvGrpSpPr>
          <p:cNvPr id="125" name="Group 156"/>
          <p:cNvGrpSpPr>
            <a:grpSpLocks/>
          </p:cNvGrpSpPr>
          <p:nvPr/>
        </p:nvGrpSpPr>
        <p:grpSpPr bwMode="auto">
          <a:xfrm>
            <a:off x="6256338" y="4795838"/>
            <a:ext cx="230187" cy="231775"/>
            <a:chOff x="4269" y="3021"/>
            <a:chExt cx="158" cy="146"/>
          </a:xfrm>
        </p:grpSpPr>
        <p:sp>
          <p:nvSpPr>
            <p:cNvPr id="794760" name="Freeform 157"/>
            <p:cNvSpPr>
              <a:spLocks noChangeAspect="1"/>
            </p:cNvSpPr>
            <p:nvPr/>
          </p:nvSpPr>
          <p:spPr bwMode="auto">
            <a:xfrm>
              <a:off x="4348" y="3021"/>
              <a:ext cx="79" cy="146"/>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1 w 234"/>
                <a:gd name="T13" fmla="*/ 0 h 467"/>
                <a:gd name="T14" fmla="*/ 1 w 234"/>
                <a:gd name="T15" fmla="*/ 0 h 467"/>
                <a:gd name="T16" fmla="*/ 1 w 234"/>
                <a:gd name="T17" fmla="*/ 0 h 467"/>
                <a:gd name="T18" fmla="*/ 1 w 234"/>
                <a:gd name="T19" fmla="*/ 0 h 467"/>
                <a:gd name="T20" fmla="*/ 1 w 234"/>
                <a:gd name="T21" fmla="*/ 0 h 467"/>
                <a:gd name="T22" fmla="*/ 1 w 234"/>
                <a:gd name="T23" fmla="*/ 0 h 467"/>
                <a:gd name="T24" fmla="*/ 1 w 234"/>
                <a:gd name="T25" fmla="*/ 0 h 467"/>
                <a:gd name="T26" fmla="*/ 1 w 234"/>
                <a:gd name="T27" fmla="*/ 1 h 467"/>
                <a:gd name="T28" fmla="*/ 1 w 234"/>
                <a:gd name="T29" fmla="*/ 1 h 467"/>
                <a:gd name="T30" fmla="*/ 1 w 234"/>
                <a:gd name="T31" fmla="*/ 1 h 467"/>
                <a:gd name="T32" fmla="*/ 1 w 234"/>
                <a:gd name="T33" fmla="*/ 1 h 467"/>
                <a:gd name="T34" fmla="*/ 1 w 234"/>
                <a:gd name="T35" fmla="*/ 1 h 467"/>
                <a:gd name="T36" fmla="*/ 1 w 234"/>
                <a:gd name="T37" fmla="*/ 1 h 467"/>
                <a:gd name="T38" fmla="*/ 1 w 234"/>
                <a:gd name="T39" fmla="*/ 1 h 467"/>
                <a:gd name="T40" fmla="*/ 1 w 234"/>
                <a:gd name="T41" fmla="*/ 1 h 467"/>
                <a:gd name="T42" fmla="*/ 1 w 234"/>
                <a:gd name="T43" fmla="*/ 1 h 467"/>
                <a:gd name="T44" fmla="*/ 1 w 234"/>
                <a:gd name="T45" fmla="*/ 1 h 467"/>
                <a:gd name="T46" fmla="*/ 1 w 234"/>
                <a:gd name="T47" fmla="*/ 1 h 467"/>
                <a:gd name="T48" fmla="*/ 1 w 234"/>
                <a:gd name="T49" fmla="*/ 1 h 467"/>
                <a:gd name="T50" fmla="*/ 1 w 234"/>
                <a:gd name="T51" fmla="*/ 1 h 467"/>
                <a:gd name="T52" fmla="*/ 1 w 234"/>
                <a:gd name="T53" fmla="*/ 1 h 467"/>
                <a:gd name="T54" fmla="*/ 0 w 234"/>
                <a:gd name="T55" fmla="*/ 1 h 467"/>
                <a:gd name="T56" fmla="*/ 0 w 234"/>
                <a:gd name="T57" fmla="*/ 1 h 467"/>
                <a:gd name="T58" fmla="*/ 0 w 234"/>
                <a:gd name="T59" fmla="*/ 1 h 467"/>
                <a:gd name="T60" fmla="*/ 0 w 234"/>
                <a:gd name="T61" fmla="*/ 1 h 467"/>
                <a:gd name="T62" fmla="*/ 0 w 234"/>
                <a:gd name="T63" fmla="*/ 1 h 467"/>
                <a:gd name="T64" fmla="*/ 0 w 234"/>
                <a:gd name="T65" fmla="*/ 1 h 467"/>
                <a:gd name="T66" fmla="*/ 0 w 234"/>
                <a:gd name="T67" fmla="*/ 1 h 467"/>
                <a:gd name="T68" fmla="*/ 0 w 234"/>
                <a:gd name="T69" fmla="*/ 0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lnTo>
                    <a:pt x="0" y="233"/>
                  </a:lnTo>
                  <a:lnTo>
                    <a:pt x="0" y="0"/>
                  </a:lnTo>
                  <a:close/>
                </a:path>
              </a:pathLst>
            </a:custGeom>
            <a:solidFill>
              <a:schemeClr val="tx1"/>
            </a:solidFill>
            <a:ln w="3175">
              <a:solidFill>
                <a:schemeClr val="accent4"/>
              </a:solidFill>
              <a:round/>
              <a:headEnd/>
              <a:tailEnd/>
            </a:ln>
          </p:spPr>
          <p:txBody>
            <a:bodyPr/>
            <a:lstStyle/>
            <a:p>
              <a:endParaRPr lang="en-GB"/>
            </a:p>
          </p:txBody>
        </p:sp>
        <p:sp>
          <p:nvSpPr>
            <p:cNvPr id="794761" name="Freeform 158"/>
            <p:cNvSpPr>
              <a:spLocks noChangeAspect="1"/>
            </p:cNvSpPr>
            <p:nvPr/>
          </p:nvSpPr>
          <p:spPr bwMode="auto">
            <a:xfrm>
              <a:off x="4348" y="3021"/>
              <a:ext cx="79" cy="146"/>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1 w 234"/>
                <a:gd name="T13" fmla="*/ 0 h 467"/>
                <a:gd name="T14" fmla="*/ 1 w 234"/>
                <a:gd name="T15" fmla="*/ 0 h 467"/>
                <a:gd name="T16" fmla="*/ 1 w 234"/>
                <a:gd name="T17" fmla="*/ 0 h 467"/>
                <a:gd name="T18" fmla="*/ 1 w 234"/>
                <a:gd name="T19" fmla="*/ 0 h 467"/>
                <a:gd name="T20" fmla="*/ 1 w 234"/>
                <a:gd name="T21" fmla="*/ 0 h 467"/>
                <a:gd name="T22" fmla="*/ 1 w 234"/>
                <a:gd name="T23" fmla="*/ 0 h 467"/>
                <a:gd name="T24" fmla="*/ 1 w 234"/>
                <a:gd name="T25" fmla="*/ 0 h 467"/>
                <a:gd name="T26" fmla="*/ 1 w 234"/>
                <a:gd name="T27" fmla="*/ 1 h 467"/>
                <a:gd name="T28" fmla="*/ 1 w 234"/>
                <a:gd name="T29" fmla="*/ 1 h 467"/>
                <a:gd name="T30" fmla="*/ 1 w 234"/>
                <a:gd name="T31" fmla="*/ 1 h 467"/>
                <a:gd name="T32" fmla="*/ 1 w 234"/>
                <a:gd name="T33" fmla="*/ 1 h 467"/>
                <a:gd name="T34" fmla="*/ 1 w 234"/>
                <a:gd name="T35" fmla="*/ 1 h 467"/>
                <a:gd name="T36" fmla="*/ 1 w 234"/>
                <a:gd name="T37" fmla="*/ 1 h 467"/>
                <a:gd name="T38" fmla="*/ 1 w 234"/>
                <a:gd name="T39" fmla="*/ 1 h 467"/>
                <a:gd name="T40" fmla="*/ 1 w 234"/>
                <a:gd name="T41" fmla="*/ 1 h 467"/>
                <a:gd name="T42" fmla="*/ 1 w 234"/>
                <a:gd name="T43" fmla="*/ 1 h 467"/>
                <a:gd name="T44" fmla="*/ 1 w 234"/>
                <a:gd name="T45" fmla="*/ 1 h 467"/>
                <a:gd name="T46" fmla="*/ 1 w 234"/>
                <a:gd name="T47" fmla="*/ 1 h 467"/>
                <a:gd name="T48" fmla="*/ 1 w 234"/>
                <a:gd name="T49" fmla="*/ 1 h 467"/>
                <a:gd name="T50" fmla="*/ 1 w 234"/>
                <a:gd name="T51" fmla="*/ 1 h 467"/>
                <a:gd name="T52" fmla="*/ 1 w 234"/>
                <a:gd name="T53" fmla="*/ 1 h 467"/>
                <a:gd name="T54" fmla="*/ 0 w 234"/>
                <a:gd name="T55" fmla="*/ 1 h 467"/>
                <a:gd name="T56" fmla="*/ 0 w 234"/>
                <a:gd name="T57" fmla="*/ 1 h 467"/>
                <a:gd name="T58" fmla="*/ 0 w 234"/>
                <a:gd name="T59" fmla="*/ 1 h 467"/>
                <a:gd name="T60" fmla="*/ 0 w 234"/>
                <a:gd name="T61" fmla="*/ 1 h 467"/>
                <a:gd name="T62" fmla="*/ 0 w 234"/>
                <a:gd name="T63" fmla="*/ 1 h 467"/>
                <a:gd name="T64" fmla="*/ 0 w 234"/>
                <a:gd name="T65" fmla="*/ 1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path>
              </a:pathLst>
            </a:custGeom>
            <a:solidFill>
              <a:schemeClr val="accent4"/>
            </a:solidFill>
            <a:ln w="3175">
              <a:solidFill>
                <a:schemeClr val="accent4"/>
              </a:solidFill>
              <a:round/>
              <a:headEnd/>
              <a:tailEnd/>
            </a:ln>
          </p:spPr>
          <p:txBody>
            <a:bodyPr/>
            <a:lstStyle/>
            <a:p>
              <a:endParaRPr lang="en-GB"/>
            </a:p>
          </p:txBody>
        </p:sp>
        <p:sp>
          <p:nvSpPr>
            <p:cNvPr id="794762" name="Freeform 159"/>
            <p:cNvSpPr>
              <a:spLocks noChangeAspect="1"/>
            </p:cNvSpPr>
            <p:nvPr/>
          </p:nvSpPr>
          <p:spPr bwMode="auto">
            <a:xfrm>
              <a:off x="4269" y="3021"/>
              <a:ext cx="79" cy="146"/>
            </a:xfrm>
            <a:custGeom>
              <a:avLst/>
              <a:gdLst>
                <a:gd name="T0" fmla="*/ 1 w 234"/>
                <a:gd name="T1" fmla="*/ 1 h 467"/>
                <a:gd name="T2" fmla="*/ 1 w 234"/>
                <a:gd name="T3" fmla="*/ 1 h 467"/>
                <a:gd name="T4" fmla="*/ 1 w 234"/>
                <a:gd name="T5" fmla="*/ 1 h 467"/>
                <a:gd name="T6" fmla="*/ 1 w 234"/>
                <a:gd name="T7" fmla="*/ 1 h 467"/>
                <a:gd name="T8" fmla="*/ 1 w 234"/>
                <a:gd name="T9" fmla="*/ 1 h 467"/>
                <a:gd name="T10" fmla="*/ 1 w 234"/>
                <a:gd name="T11" fmla="*/ 1 h 467"/>
                <a:gd name="T12" fmla="*/ 0 w 234"/>
                <a:gd name="T13" fmla="*/ 1 h 467"/>
                <a:gd name="T14" fmla="*/ 0 w 234"/>
                <a:gd name="T15" fmla="*/ 1 h 467"/>
                <a:gd name="T16" fmla="*/ 0 w 234"/>
                <a:gd name="T17" fmla="*/ 1 h 467"/>
                <a:gd name="T18" fmla="*/ 0 w 234"/>
                <a:gd name="T19" fmla="*/ 1 h 467"/>
                <a:gd name="T20" fmla="*/ 0 w 234"/>
                <a:gd name="T21" fmla="*/ 1 h 467"/>
                <a:gd name="T22" fmla="*/ 0 w 234"/>
                <a:gd name="T23" fmla="*/ 1 h 467"/>
                <a:gd name="T24" fmla="*/ 0 w 234"/>
                <a:gd name="T25" fmla="*/ 1 h 467"/>
                <a:gd name="T26" fmla="*/ 0 w 234"/>
                <a:gd name="T27" fmla="*/ 1 h 467"/>
                <a:gd name="T28" fmla="*/ 0 w 234"/>
                <a:gd name="T29" fmla="*/ 1 h 467"/>
                <a:gd name="T30" fmla="*/ 0 w 234"/>
                <a:gd name="T31" fmla="*/ 1 h 467"/>
                <a:gd name="T32" fmla="*/ 0 w 234"/>
                <a:gd name="T33" fmla="*/ 1 h 467"/>
                <a:gd name="T34" fmla="*/ 0 w 234"/>
                <a:gd name="T35" fmla="*/ 1 h 467"/>
                <a:gd name="T36" fmla="*/ 0 w 234"/>
                <a:gd name="T37" fmla="*/ 1 h 467"/>
                <a:gd name="T38" fmla="*/ 0 w 234"/>
                <a:gd name="T39" fmla="*/ 1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1 w 234"/>
                <a:gd name="T55" fmla="*/ 0 h 467"/>
                <a:gd name="T56" fmla="*/ 1 w 234"/>
                <a:gd name="T57" fmla="*/ 0 h 467"/>
                <a:gd name="T58" fmla="*/ 1 w 234"/>
                <a:gd name="T59" fmla="*/ 0 h 467"/>
                <a:gd name="T60" fmla="*/ 1 w 234"/>
                <a:gd name="T61" fmla="*/ 0 h 467"/>
                <a:gd name="T62" fmla="*/ 1 w 234"/>
                <a:gd name="T63" fmla="*/ 0 h 467"/>
                <a:gd name="T64" fmla="*/ 1 w 234"/>
                <a:gd name="T65" fmla="*/ 0 h 467"/>
                <a:gd name="T66" fmla="*/ 1 w 234"/>
                <a:gd name="T67" fmla="*/ 1 h 467"/>
                <a:gd name="T68" fmla="*/ 1 w 234"/>
                <a:gd name="T69" fmla="*/ 1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234" y="467"/>
                  </a:lnTo>
                  <a:close/>
                </a:path>
              </a:pathLst>
            </a:custGeom>
            <a:solidFill>
              <a:srgbClr val="FFFFFF"/>
            </a:solidFill>
            <a:ln w="3175">
              <a:solidFill>
                <a:schemeClr val="accent4"/>
              </a:solidFill>
              <a:round/>
              <a:headEnd/>
              <a:tailEnd/>
            </a:ln>
          </p:spPr>
          <p:txBody>
            <a:bodyPr/>
            <a:lstStyle/>
            <a:p>
              <a:endParaRPr lang="en-GB"/>
            </a:p>
          </p:txBody>
        </p:sp>
        <p:sp>
          <p:nvSpPr>
            <p:cNvPr id="794763" name="Freeform 160"/>
            <p:cNvSpPr>
              <a:spLocks noChangeAspect="1"/>
            </p:cNvSpPr>
            <p:nvPr/>
          </p:nvSpPr>
          <p:spPr bwMode="auto">
            <a:xfrm>
              <a:off x="4269" y="3021"/>
              <a:ext cx="79" cy="146"/>
            </a:xfrm>
            <a:custGeom>
              <a:avLst/>
              <a:gdLst>
                <a:gd name="T0" fmla="*/ 1 w 234"/>
                <a:gd name="T1" fmla="*/ 1 h 467"/>
                <a:gd name="T2" fmla="*/ 1 w 234"/>
                <a:gd name="T3" fmla="*/ 1 h 467"/>
                <a:gd name="T4" fmla="*/ 1 w 234"/>
                <a:gd name="T5" fmla="*/ 1 h 467"/>
                <a:gd name="T6" fmla="*/ 1 w 234"/>
                <a:gd name="T7" fmla="*/ 1 h 467"/>
                <a:gd name="T8" fmla="*/ 1 w 234"/>
                <a:gd name="T9" fmla="*/ 1 h 467"/>
                <a:gd name="T10" fmla="*/ 1 w 234"/>
                <a:gd name="T11" fmla="*/ 1 h 467"/>
                <a:gd name="T12" fmla="*/ 0 w 234"/>
                <a:gd name="T13" fmla="*/ 1 h 467"/>
                <a:gd name="T14" fmla="*/ 0 w 234"/>
                <a:gd name="T15" fmla="*/ 1 h 467"/>
                <a:gd name="T16" fmla="*/ 0 w 234"/>
                <a:gd name="T17" fmla="*/ 1 h 467"/>
                <a:gd name="T18" fmla="*/ 0 w 234"/>
                <a:gd name="T19" fmla="*/ 1 h 467"/>
                <a:gd name="T20" fmla="*/ 0 w 234"/>
                <a:gd name="T21" fmla="*/ 1 h 467"/>
                <a:gd name="T22" fmla="*/ 0 w 234"/>
                <a:gd name="T23" fmla="*/ 1 h 467"/>
                <a:gd name="T24" fmla="*/ 0 w 234"/>
                <a:gd name="T25" fmla="*/ 1 h 467"/>
                <a:gd name="T26" fmla="*/ 0 w 234"/>
                <a:gd name="T27" fmla="*/ 1 h 467"/>
                <a:gd name="T28" fmla="*/ 0 w 234"/>
                <a:gd name="T29" fmla="*/ 1 h 467"/>
                <a:gd name="T30" fmla="*/ 0 w 234"/>
                <a:gd name="T31" fmla="*/ 1 h 467"/>
                <a:gd name="T32" fmla="*/ 0 w 234"/>
                <a:gd name="T33" fmla="*/ 1 h 467"/>
                <a:gd name="T34" fmla="*/ 0 w 234"/>
                <a:gd name="T35" fmla="*/ 1 h 467"/>
                <a:gd name="T36" fmla="*/ 0 w 234"/>
                <a:gd name="T37" fmla="*/ 1 h 467"/>
                <a:gd name="T38" fmla="*/ 0 w 234"/>
                <a:gd name="T39" fmla="*/ 1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1 w 234"/>
                <a:gd name="T55" fmla="*/ 0 h 467"/>
                <a:gd name="T56" fmla="*/ 1 w 234"/>
                <a:gd name="T57" fmla="*/ 0 h 467"/>
                <a:gd name="T58" fmla="*/ 1 w 234"/>
                <a:gd name="T59" fmla="*/ 0 h 467"/>
                <a:gd name="T60" fmla="*/ 1 w 234"/>
                <a:gd name="T61" fmla="*/ 0 h 467"/>
                <a:gd name="T62" fmla="*/ 1 w 234"/>
                <a:gd name="T63" fmla="*/ 0 h 467"/>
                <a:gd name="T64" fmla="*/ 1 w 234"/>
                <a:gd name="T65" fmla="*/ 0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4"/>
              </a:solidFill>
              <a:round/>
              <a:headEnd/>
              <a:tailEnd/>
            </a:ln>
          </p:spPr>
          <p:txBody>
            <a:bodyPr/>
            <a:lstStyle/>
            <a:p>
              <a:endParaRPr lang="en-GB"/>
            </a:p>
          </p:txBody>
        </p:sp>
      </p:grpSp>
      <p:grpSp>
        <p:nvGrpSpPr>
          <p:cNvPr id="126" name="Group 161"/>
          <p:cNvGrpSpPr>
            <a:grpSpLocks/>
          </p:cNvGrpSpPr>
          <p:nvPr/>
        </p:nvGrpSpPr>
        <p:grpSpPr bwMode="auto">
          <a:xfrm>
            <a:off x="7299325" y="4756150"/>
            <a:ext cx="307975" cy="307975"/>
            <a:chOff x="4981" y="2996"/>
            <a:chExt cx="210" cy="194"/>
          </a:xfrm>
        </p:grpSpPr>
        <p:sp>
          <p:nvSpPr>
            <p:cNvPr id="794756" name="Freeform 162"/>
            <p:cNvSpPr>
              <a:spLocks noChangeAspect="1"/>
            </p:cNvSpPr>
            <p:nvPr/>
          </p:nvSpPr>
          <p:spPr bwMode="auto">
            <a:xfrm>
              <a:off x="5086" y="2996"/>
              <a:ext cx="105" cy="194"/>
            </a:xfrm>
            <a:custGeom>
              <a:avLst/>
              <a:gdLst>
                <a:gd name="T0" fmla="*/ 0 w 234"/>
                <a:gd name="T1" fmla="*/ 0 h 467"/>
                <a:gd name="T2" fmla="*/ 0 w 234"/>
                <a:gd name="T3" fmla="*/ 0 h 467"/>
                <a:gd name="T4" fmla="*/ 1 w 234"/>
                <a:gd name="T5" fmla="*/ 0 h 467"/>
                <a:gd name="T6" fmla="*/ 1 w 234"/>
                <a:gd name="T7" fmla="*/ 0 h 467"/>
                <a:gd name="T8" fmla="*/ 2 w 234"/>
                <a:gd name="T9" fmla="*/ 0 h 467"/>
                <a:gd name="T10" fmla="*/ 2 w 234"/>
                <a:gd name="T11" fmla="*/ 0 h 467"/>
                <a:gd name="T12" fmla="*/ 2 w 234"/>
                <a:gd name="T13" fmla="*/ 0 h 467"/>
                <a:gd name="T14" fmla="*/ 3 w 234"/>
                <a:gd name="T15" fmla="*/ 1 h 467"/>
                <a:gd name="T16" fmla="*/ 3 w 234"/>
                <a:gd name="T17" fmla="*/ 1 h 467"/>
                <a:gd name="T18" fmla="*/ 3 w 234"/>
                <a:gd name="T19" fmla="*/ 1 h 467"/>
                <a:gd name="T20" fmla="*/ 4 w 234"/>
                <a:gd name="T21" fmla="*/ 1 h 467"/>
                <a:gd name="T22" fmla="*/ 4 w 234"/>
                <a:gd name="T23" fmla="*/ 2 h 467"/>
                <a:gd name="T24" fmla="*/ 4 w 234"/>
                <a:gd name="T25" fmla="*/ 2 h 467"/>
                <a:gd name="T26" fmla="*/ 4 w 234"/>
                <a:gd name="T27" fmla="*/ 2 h 467"/>
                <a:gd name="T28" fmla="*/ 4 w 234"/>
                <a:gd name="T29" fmla="*/ 2 h 467"/>
                <a:gd name="T30" fmla="*/ 4 w 234"/>
                <a:gd name="T31" fmla="*/ 2 h 467"/>
                <a:gd name="T32" fmla="*/ 4 w 234"/>
                <a:gd name="T33" fmla="*/ 3 h 467"/>
                <a:gd name="T34" fmla="*/ 4 w 234"/>
                <a:gd name="T35" fmla="*/ 3 h 467"/>
                <a:gd name="T36" fmla="*/ 4 w 234"/>
                <a:gd name="T37" fmla="*/ 3 h 467"/>
                <a:gd name="T38" fmla="*/ 4 w 234"/>
                <a:gd name="T39" fmla="*/ 4 h 467"/>
                <a:gd name="T40" fmla="*/ 4 w 234"/>
                <a:gd name="T41" fmla="*/ 4 h 467"/>
                <a:gd name="T42" fmla="*/ 4 w 234"/>
                <a:gd name="T43" fmla="*/ 4 h 467"/>
                <a:gd name="T44" fmla="*/ 4 w 234"/>
                <a:gd name="T45" fmla="*/ 5 h 467"/>
                <a:gd name="T46" fmla="*/ 3 w 234"/>
                <a:gd name="T47" fmla="*/ 5 h 467"/>
                <a:gd name="T48" fmla="*/ 3 w 234"/>
                <a:gd name="T49" fmla="*/ 5 h 467"/>
                <a:gd name="T50" fmla="*/ 3 w 234"/>
                <a:gd name="T51" fmla="*/ 5 h 467"/>
                <a:gd name="T52" fmla="*/ 2 w 234"/>
                <a:gd name="T53" fmla="*/ 5 h 467"/>
                <a:gd name="T54" fmla="*/ 2 w 234"/>
                <a:gd name="T55" fmla="*/ 5 h 467"/>
                <a:gd name="T56" fmla="*/ 2 w 234"/>
                <a:gd name="T57" fmla="*/ 5 h 467"/>
                <a:gd name="T58" fmla="*/ 1 w 234"/>
                <a:gd name="T59" fmla="*/ 6 h 467"/>
                <a:gd name="T60" fmla="*/ 1 w 234"/>
                <a:gd name="T61" fmla="*/ 6 h 467"/>
                <a:gd name="T62" fmla="*/ 0 w 234"/>
                <a:gd name="T63" fmla="*/ 6 h 467"/>
                <a:gd name="T64" fmla="*/ 0 w 234"/>
                <a:gd name="T65" fmla="*/ 6 h 467"/>
                <a:gd name="T66" fmla="*/ 0 w 234"/>
                <a:gd name="T67" fmla="*/ 3 h 467"/>
                <a:gd name="T68" fmla="*/ 0 w 234"/>
                <a:gd name="T69" fmla="*/ 0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lnTo>
                    <a:pt x="0" y="233"/>
                  </a:lnTo>
                  <a:lnTo>
                    <a:pt x="0" y="0"/>
                  </a:lnTo>
                  <a:close/>
                </a:path>
              </a:pathLst>
            </a:custGeom>
            <a:solidFill>
              <a:schemeClr val="accent1"/>
            </a:solidFill>
            <a:ln w="3175">
              <a:solidFill>
                <a:schemeClr val="accent4"/>
              </a:solidFill>
              <a:round/>
              <a:headEnd/>
              <a:tailEnd/>
            </a:ln>
          </p:spPr>
          <p:txBody>
            <a:bodyPr/>
            <a:lstStyle/>
            <a:p>
              <a:endParaRPr lang="en-GB"/>
            </a:p>
          </p:txBody>
        </p:sp>
        <p:sp>
          <p:nvSpPr>
            <p:cNvPr id="794757" name="Freeform 163"/>
            <p:cNvSpPr>
              <a:spLocks noChangeAspect="1"/>
            </p:cNvSpPr>
            <p:nvPr/>
          </p:nvSpPr>
          <p:spPr bwMode="auto">
            <a:xfrm>
              <a:off x="5086" y="2996"/>
              <a:ext cx="105" cy="194"/>
            </a:xfrm>
            <a:custGeom>
              <a:avLst/>
              <a:gdLst>
                <a:gd name="T0" fmla="*/ 0 w 234"/>
                <a:gd name="T1" fmla="*/ 0 h 467"/>
                <a:gd name="T2" fmla="*/ 0 w 234"/>
                <a:gd name="T3" fmla="*/ 0 h 467"/>
                <a:gd name="T4" fmla="*/ 1 w 234"/>
                <a:gd name="T5" fmla="*/ 0 h 467"/>
                <a:gd name="T6" fmla="*/ 1 w 234"/>
                <a:gd name="T7" fmla="*/ 0 h 467"/>
                <a:gd name="T8" fmla="*/ 2 w 234"/>
                <a:gd name="T9" fmla="*/ 0 h 467"/>
                <a:gd name="T10" fmla="*/ 2 w 234"/>
                <a:gd name="T11" fmla="*/ 0 h 467"/>
                <a:gd name="T12" fmla="*/ 2 w 234"/>
                <a:gd name="T13" fmla="*/ 0 h 467"/>
                <a:gd name="T14" fmla="*/ 3 w 234"/>
                <a:gd name="T15" fmla="*/ 1 h 467"/>
                <a:gd name="T16" fmla="*/ 3 w 234"/>
                <a:gd name="T17" fmla="*/ 1 h 467"/>
                <a:gd name="T18" fmla="*/ 3 w 234"/>
                <a:gd name="T19" fmla="*/ 1 h 467"/>
                <a:gd name="T20" fmla="*/ 4 w 234"/>
                <a:gd name="T21" fmla="*/ 1 h 467"/>
                <a:gd name="T22" fmla="*/ 4 w 234"/>
                <a:gd name="T23" fmla="*/ 2 h 467"/>
                <a:gd name="T24" fmla="*/ 4 w 234"/>
                <a:gd name="T25" fmla="*/ 2 h 467"/>
                <a:gd name="T26" fmla="*/ 4 w 234"/>
                <a:gd name="T27" fmla="*/ 2 h 467"/>
                <a:gd name="T28" fmla="*/ 4 w 234"/>
                <a:gd name="T29" fmla="*/ 2 h 467"/>
                <a:gd name="T30" fmla="*/ 4 w 234"/>
                <a:gd name="T31" fmla="*/ 2 h 467"/>
                <a:gd name="T32" fmla="*/ 4 w 234"/>
                <a:gd name="T33" fmla="*/ 3 h 467"/>
                <a:gd name="T34" fmla="*/ 4 w 234"/>
                <a:gd name="T35" fmla="*/ 3 h 467"/>
                <a:gd name="T36" fmla="*/ 4 w 234"/>
                <a:gd name="T37" fmla="*/ 3 h 467"/>
                <a:gd name="T38" fmla="*/ 4 w 234"/>
                <a:gd name="T39" fmla="*/ 4 h 467"/>
                <a:gd name="T40" fmla="*/ 4 w 234"/>
                <a:gd name="T41" fmla="*/ 4 h 467"/>
                <a:gd name="T42" fmla="*/ 4 w 234"/>
                <a:gd name="T43" fmla="*/ 4 h 467"/>
                <a:gd name="T44" fmla="*/ 4 w 234"/>
                <a:gd name="T45" fmla="*/ 5 h 467"/>
                <a:gd name="T46" fmla="*/ 3 w 234"/>
                <a:gd name="T47" fmla="*/ 5 h 467"/>
                <a:gd name="T48" fmla="*/ 3 w 234"/>
                <a:gd name="T49" fmla="*/ 5 h 467"/>
                <a:gd name="T50" fmla="*/ 3 w 234"/>
                <a:gd name="T51" fmla="*/ 5 h 467"/>
                <a:gd name="T52" fmla="*/ 2 w 234"/>
                <a:gd name="T53" fmla="*/ 5 h 467"/>
                <a:gd name="T54" fmla="*/ 2 w 234"/>
                <a:gd name="T55" fmla="*/ 5 h 467"/>
                <a:gd name="T56" fmla="*/ 2 w 234"/>
                <a:gd name="T57" fmla="*/ 5 h 467"/>
                <a:gd name="T58" fmla="*/ 1 w 234"/>
                <a:gd name="T59" fmla="*/ 6 h 467"/>
                <a:gd name="T60" fmla="*/ 1 w 234"/>
                <a:gd name="T61" fmla="*/ 6 h 467"/>
                <a:gd name="T62" fmla="*/ 0 w 234"/>
                <a:gd name="T63" fmla="*/ 6 h 467"/>
                <a:gd name="T64" fmla="*/ 0 w 234"/>
                <a:gd name="T65" fmla="*/ 6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path>
              </a:pathLst>
            </a:custGeom>
            <a:solidFill>
              <a:schemeClr val="accent4"/>
            </a:solidFill>
            <a:ln w="3175">
              <a:solidFill>
                <a:schemeClr val="accent4"/>
              </a:solidFill>
              <a:round/>
              <a:headEnd/>
              <a:tailEnd/>
            </a:ln>
          </p:spPr>
          <p:txBody>
            <a:bodyPr/>
            <a:lstStyle/>
            <a:p>
              <a:endParaRPr lang="en-GB"/>
            </a:p>
          </p:txBody>
        </p:sp>
        <p:sp>
          <p:nvSpPr>
            <p:cNvPr id="794758" name="Freeform 164"/>
            <p:cNvSpPr>
              <a:spLocks noChangeAspect="1"/>
            </p:cNvSpPr>
            <p:nvPr/>
          </p:nvSpPr>
          <p:spPr bwMode="auto">
            <a:xfrm>
              <a:off x="4981" y="2996"/>
              <a:ext cx="105" cy="194"/>
            </a:xfrm>
            <a:custGeom>
              <a:avLst/>
              <a:gdLst>
                <a:gd name="T0" fmla="*/ 4 w 234"/>
                <a:gd name="T1" fmla="*/ 6 h 467"/>
                <a:gd name="T2" fmla="*/ 4 w 234"/>
                <a:gd name="T3" fmla="*/ 6 h 467"/>
                <a:gd name="T4" fmla="*/ 4 w 234"/>
                <a:gd name="T5" fmla="*/ 6 h 467"/>
                <a:gd name="T6" fmla="*/ 3 w 234"/>
                <a:gd name="T7" fmla="*/ 6 h 467"/>
                <a:gd name="T8" fmla="*/ 3 w 234"/>
                <a:gd name="T9" fmla="*/ 5 h 467"/>
                <a:gd name="T10" fmla="*/ 2 w 234"/>
                <a:gd name="T11" fmla="*/ 5 h 467"/>
                <a:gd name="T12" fmla="*/ 2 w 234"/>
                <a:gd name="T13" fmla="*/ 5 h 467"/>
                <a:gd name="T14" fmla="*/ 2 w 234"/>
                <a:gd name="T15" fmla="*/ 5 h 467"/>
                <a:gd name="T16" fmla="*/ 1 w 234"/>
                <a:gd name="T17" fmla="*/ 5 h 467"/>
                <a:gd name="T18" fmla="*/ 1 w 234"/>
                <a:gd name="T19" fmla="*/ 5 h 467"/>
                <a:gd name="T20" fmla="*/ 1 w 234"/>
                <a:gd name="T21" fmla="*/ 5 h 467"/>
                <a:gd name="T22" fmla="*/ 0 w 234"/>
                <a:gd name="T23" fmla="*/ 4 h 467"/>
                <a:gd name="T24" fmla="*/ 0 w 234"/>
                <a:gd name="T25" fmla="*/ 4 h 467"/>
                <a:gd name="T26" fmla="*/ 0 w 234"/>
                <a:gd name="T27" fmla="*/ 4 h 467"/>
                <a:gd name="T28" fmla="*/ 0 w 234"/>
                <a:gd name="T29" fmla="*/ 3 h 467"/>
                <a:gd name="T30" fmla="*/ 0 w 234"/>
                <a:gd name="T31" fmla="*/ 3 h 467"/>
                <a:gd name="T32" fmla="*/ 0 w 234"/>
                <a:gd name="T33" fmla="*/ 3 h 467"/>
                <a:gd name="T34" fmla="*/ 0 w 234"/>
                <a:gd name="T35" fmla="*/ 2 h 467"/>
                <a:gd name="T36" fmla="*/ 0 w 234"/>
                <a:gd name="T37" fmla="*/ 2 h 467"/>
                <a:gd name="T38" fmla="*/ 0 w 234"/>
                <a:gd name="T39" fmla="*/ 2 h 467"/>
                <a:gd name="T40" fmla="*/ 0 w 234"/>
                <a:gd name="T41" fmla="*/ 2 h 467"/>
                <a:gd name="T42" fmla="*/ 0 w 234"/>
                <a:gd name="T43" fmla="*/ 2 h 467"/>
                <a:gd name="T44" fmla="*/ 1 w 234"/>
                <a:gd name="T45" fmla="*/ 1 h 467"/>
                <a:gd name="T46" fmla="*/ 1 w 234"/>
                <a:gd name="T47" fmla="*/ 1 h 467"/>
                <a:gd name="T48" fmla="*/ 1 w 234"/>
                <a:gd name="T49" fmla="*/ 1 h 467"/>
                <a:gd name="T50" fmla="*/ 2 w 234"/>
                <a:gd name="T51" fmla="*/ 1 h 467"/>
                <a:gd name="T52" fmla="*/ 2 w 234"/>
                <a:gd name="T53" fmla="*/ 0 h 467"/>
                <a:gd name="T54" fmla="*/ 2 w 234"/>
                <a:gd name="T55" fmla="*/ 0 h 467"/>
                <a:gd name="T56" fmla="*/ 3 w 234"/>
                <a:gd name="T57" fmla="*/ 0 h 467"/>
                <a:gd name="T58" fmla="*/ 3 w 234"/>
                <a:gd name="T59" fmla="*/ 0 h 467"/>
                <a:gd name="T60" fmla="*/ 4 w 234"/>
                <a:gd name="T61" fmla="*/ 0 h 467"/>
                <a:gd name="T62" fmla="*/ 4 w 234"/>
                <a:gd name="T63" fmla="*/ 0 h 467"/>
                <a:gd name="T64" fmla="*/ 4 w 234"/>
                <a:gd name="T65" fmla="*/ 0 h 467"/>
                <a:gd name="T66" fmla="*/ 4 w 234"/>
                <a:gd name="T67" fmla="*/ 3 h 467"/>
                <a:gd name="T68" fmla="*/ 4 w 234"/>
                <a:gd name="T69" fmla="*/ 6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234" y="467"/>
                  </a:lnTo>
                  <a:close/>
                </a:path>
              </a:pathLst>
            </a:custGeom>
            <a:solidFill>
              <a:srgbClr val="FFFFFF"/>
            </a:solidFill>
            <a:ln w="3175">
              <a:solidFill>
                <a:schemeClr val="accent4"/>
              </a:solidFill>
              <a:round/>
              <a:headEnd/>
              <a:tailEnd/>
            </a:ln>
          </p:spPr>
          <p:txBody>
            <a:bodyPr/>
            <a:lstStyle/>
            <a:p>
              <a:endParaRPr lang="en-GB"/>
            </a:p>
          </p:txBody>
        </p:sp>
        <p:sp>
          <p:nvSpPr>
            <p:cNvPr id="794759" name="Freeform 165"/>
            <p:cNvSpPr>
              <a:spLocks noChangeAspect="1"/>
            </p:cNvSpPr>
            <p:nvPr/>
          </p:nvSpPr>
          <p:spPr bwMode="auto">
            <a:xfrm>
              <a:off x="4981" y="2996"/>
              <a:ext cx="105" cy="194"/>
            </a:xfrm>
            <a:custGeom>
              <a:avLst/>
              <a:gdLst>
                <a:gd name="T0" fmla="*/ 4 w 234"/>
                <a:gd name="T1" fmla="*/ 6 h 467"/>
                <a:gd name="T2" fmla="*/ 4 w 234"/>
                <a:gd name="T3" fmla="*/ 6 h 467"/>
                <a:gd name="T4" fmla="*/ 4 w 234"/>
                <a:gd name="T5" fmla="*/ 6 h 467"/>
                <a:gd name="T6" fmla="*/ 3 w 234"/>
                <a:gd name="T7" fmla="*/ 6 h 467"/>
                <a:gd name="T8" fmla="*/ 3 w 234"/>
                <a:gd name="T9" fmla="*/ 5 h 467"/>
                <a:gd name="T10" fmla="*/ 2 w 234"/>
                <a:gd name="T11" fmla="*/ 5 h 467"/>
                <a:gd name="T12" fmla="*/ 2 w 234"/>
                <a:gd name="T13" fmla="*/ 5 h 467"/>
                <a:gd name="T14" fmla="*/ 2 w 234"/>
                <a:gd name="T15" fmla="*/ 5 h 467"/>
                <a:gd name="T16" fmla="*/ 1 w 234"/>
                <a:gd name="T17" fmla="*/ 5 h 467"/>
                <a:gd name="T18" fmla="*/ 1 w 234"/>
                <a:gd name="T19" fmla="*/ 5 h 467"/>
                <a:gd name="T20" fmla="*/ 1 w 234"/>
                <a:gd name="T21" fmla="*/ 5 h 467"/>
                <a:gd name="T22" fmla="*/ 0 w 234"/>
                <a:gd name="T23" fmla="*/ 4 h 467"/>
                <a:gd name="T24" fmla="*/ 0 w 234"/>
                <a:gd name="T25" fmla="*/ 4 h 467"/>
                <a:gd name="T26" fmla="*/ 0 w 234"/>
                <a:gd name="T27" fmla="*/ 4 h 467"/>
                <a:gd name="T28" fmla="*/ 0 w 234"/>
                <a:gd name="T29" fmla="*/ 3 h 467"/>
                <a:gd name="T30" fmla="*/ 0 w 234"/>
                <a:gd name="T31" fmla="*/ 3 h 467"/>
                <a:gd name="T32" fmla="*/ 0 w 234"/>
                <a:gd name="T33" fmla="*/ 3 h 467"/>
                <a:gd name="T34" fmla="*/ 0 w 234"/>
                <a:gd name="T35" fmla="*/ 2 h 467"/>
                <a:gd name="T36" fmla="*/ 0 w 234"/>
                <a:gd name="T37" fmla="*/ 2 h 467"/>
                <a:gd name="T38" fmla="*/ 0 w 234"/>
                <a:gd name="T39" fmla="*/ 2 h 467"/>
                <a:gd name="T40" fmla="*/ 0 w 234"/>
                <a:gd name="T41" fmla="*/ 2 h 467"/>
                <a:gd name="T42" fmla="*/ 0 w 234"/>
                <a:gd name="T43" fmla="*/ 2 h 467"/>
                <a:gd name="T44" fmla="*/ 1 w 234"/>
                <a:gd name="T45" fmla="*/ 1 h 467"/>
                <a:gd name="T46" fmla="*/ 1 w 234"/>
                <a:gd name="T47" fmla="*/ 1 h 467"/>
                <a:gd name="T48" fmla="*/ 1 w 234"/>
                <a:gd name="T49" fmla="*/ 1 h 467"/>
                <a:gd name="T50" fmla="*/ 2 w 234"/>
                <a:gd name="T51" fmla="*/ 1 h 467"/>
                <a:gd name="T52" fmla="*/ 2 w 234"/>
                <a:gd name="T53" fmla="*/ 0 h 467"/>
                <a:gd name="T54" fmla="*/ 2 w 234"/>
                <a:gd name="T55" fmla="*/ 0 h 467"/>
                <a:gd name="T56" fmla="*/ 3 w 234"/>
                <a:gd name="T57" fmla="*/ 0 h 467"/>
                <a:gd name="T58" fmla="*/ 3 w 234"/>
                <a:gd name="T59" fmla="*/ 0 h 467"/>
                <a:gd name="T60" fmla="*/ 4 w 234"/>
                <a:gd name="T61" fmla="*/ 0 h 467"/>
                <a:gd name="T62" fmla="*/ 4 w 234"/>
                <a:gd name="T63" fmla="*/ 0 h 467"/>
                <a:gd name="T64" fmla="*/ 4 w 234"/>
                <a:gd name="T65" fmla="*/ 0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4"/>
              </a:solidFill>
              <a:round/>
              <a:headEnd/>
              <a:tailEnd/>
            </a:ln>
          </p:spPr>
          <p:txBody>
            <a:bodyPr/>
            <a:lstStyle/>
            <a:p>
              <a:endParaRPr lang="en-GB"/>
            </a:p>
          </p:txBody>
        </p:sp>
      </p:grpSp>
      <p:sp>
        <p:nvSpPr>
          <p:cNvPr id="794673" name="Text Box 166"/>
          <p:cNvSpPr txBox="1">
            <a:spLocks noChangeArrowheads="1"/>
          </p:cNvSpPr>
          <p:nvPr/>
        </p:nvSpPr>
        <p:spPr bwMode="auto">
          <a:xfrm>
            <a:off x="1514475" y="4832350"/>
            <a:ext cx="149225" cy="215900"/>
          </a:xfrm>
          <a:prstGeom prst="rect">
            <a:avLst/>
          </a:prstGeom>
          <a:noFill/>
          <a:ln w="9525">
            <a:noFill/>
            <a:miter lim="800000"/>
            <a:headEnd/>
            <a:tailEnd/>
          </a:ln>
        </p:spPr>
        <p:txBody>
          <a:bodyPr wrap="none" lIns="0" tIns="0" rIns="0" bIns="0">
            <a:spAutoFit/>
          </a:bodyPr>
          <a:lstStyle/>
          <a:p>
            <a:pPr algn="ctr"/>
            <a:r>
              <a:rPr lang="en-GB" altLang="ja-JP" sz="1400">
                <a:solidFill>
                  <a:schemeClr val="tx2"/>
                </a:solidFill>
                <a:ea typeface="ＭＳ Ｐゴシック" charset="-128"/>
              </a:rPr>
              <a:t>½</a:t>
            </a:r>
          </a:p>
        </p:txBody>
      </p:sp>
      <p:grpSp>
        <p:nvGrpSpPr>
          <p:cNvPr id="127" name="Group 167"/>
          <p:cNvGrpSpPr>
            <a:grpSpLocks/>
          </p:cNvGrpSpPr>
          <p:nvPr/>
        </p:nvGrpSpPr>
        <p:grpSpPr bwMode="auto">
          <a:xfrm>
            <a:off x="5251450" y="4813300"/>
            <a:ext cx="193675" cy="193675"/>
            <a:chOff x="3584" y="3032"/>
            <a:chExt cx="132" cy="122"/>
          </a:xfrm>
        </p:grpSpPr>
        <p:sp>
          <p:nvSpPr>
            <p:cNvPr id="794752" name="Freeform 168"/>
            <p:cNvSpPr>
              <a:spLocks noChangeAspect="1"/>
            </p:cNvSpPr>
            <p:nvPr/>
          </p:nvSpPr>
          <p:spPr bwMode="auto">
            <a:xfrm>
              <a:off x="3650" y="3032"/>
              <a:ext cx="66" cy="122"/>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1 h 467"/>
                <a:gd name="T42" fmla="*/ 0 w 234"/>
                <a:gd name="T43" fmla="*/ 1 h 467"/>
                <a:gd name="T44" fmla="*/ 0 w 234"/>
                <a:gd name="T45" fmla="*/ 1 h 467"/>
                <a:gd name="T46" fmla="*/ 0 w 234"/>
                <a:gd name="T47" fmla="*/ 1 h 467"/>
                <a:gd name="T48" fmla="*/ 0 w 234"/>
                <a:gd name="T49" fmla="*/ 1 h 467"/>
                <a:gd name="T50" fmla="*/ 0 w 234"/>
                <a:gd name="T51" fmla="*/ 1 h 467"/>
                <a:gd name="T52" fmla="*/ 0 w 234"/>
                <a:gd name="T53" fmla="*/ 1 h 467"/>
                <a:gd name="T54" fmla="*/ 0 w 234"/>
                <a:gd name="T55" fmla="*/ 1 h 467"/>
                <a:gd name="T56" fmla="*/ 0 w 234"/>
                <a:gd name="T57" fmla="*/ 1 h 467"/>
                <a:gd name="T58" fmla="*/ 0 w 234"/>
                <a:gd name="T59" fmla="*/ 1 h 467"/>
                <a:gd name="T60" fmla="*/ 0 w 234"/>
                <a:gd name="T61" fmla="*/ 1 h 467"/>
                <a:gd name="T62" fmla="*/ 0 w 234"/>
                <a:gd name="T63" fmla="*/ 1 h 467"/>
                <a:gd name="T64" fmla="*/ 0 w 234"/>
                <a:gd name="T65" fmla="*/ 1 h 467"/>
                <a:gd name="T66" fmla="*/ 0 w 234"/>
                <a:gd name="T67" fmla="*/ 0 h 467"/>
                <a:gd name="T68" fmla="*/ 0 w 234"/>
                <a:gd name="T69" fmla="*/ 0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lnTo>
                    <a:pt x="0" y="233"/>
                  </a:lnTo>
                  <a:lnTo>
                    <a:pt x="0" y="0"/>
                  </a:lnTo>
                  <a:close/>
                </a:path>
              </a:pathLst>
            </a:custGeom>
            <a:solidFill>
              <a:schemeClr val="tx1"/>
            </a:solidFill>
            <a:ln w="3175">
              <a:solidFill>
                <a:schemeClr val="accent4"/>
              </a:solidFill>
              <a:round/>
              <a:headEnd/>
              <a:tailEnd/>
            </a:ln>
          </p:spPr>
          <p:txBody>
            <a:bodyPr/>
            <a:lstStyle/>
            <a:p>
              <a:endParaRPr lang="en-GB"/>
            </a:p>
          </p:txBody>
        </p:sp>
        <p:sp>
          <p:nvSpPr>
            <p:cNvPr id="794753" name="Freeform 169"/>
            <p:cNvSpPr>
              <a:spLocks noChangeAspect="1"/>
            </p:cNvSpPr>
            <p:nvPr/>
          </p:nvSpPr>
          <p:spPr bwMode="auto">
            <a:xfrm>
              <a:off x="3650" y="3032"/>
              <a:ext cx="66" cy="122"/>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1 h 467"/>
                <a:gd name="T42" fmla="*/ 0 w 234"/>
                <a:gd name="T43" fmla="*/ 1 h 467"/>
                <a:gd name="T44" fmla="*/ 0 w 234"/>
                <a:gd name="T45" fmla="*/ 1 h 467"/>
                <a:gd name="T46" fmla="*/ 0 w 234"/>
                <a:gd name="T47" fmla="*/ 1 h 467"/>
                <a:gd name="T48" fmla="*/ 0 w 234"/>
                <a:gd name="T49" fmla="*/ 1 h 467"/>
                <a:gd name="T50" fmla="*/ 0 w 234"/>
                <a:gd name="T51" fmla="*/ 1 h 467"/>
                <a:gd name="T52" fmla="*/ 0 w 234"/>
                <a:gd name="T53" fmla="*/ 1 h 467"/>
                <a:gd name="T54" fmla="*/ 0 w 234"/>
                <a:gd name="T55" fmla="*/ 1 h 467"/>
                <a:gd name="T56" fmla="*/ 0 w 234"/>
                <a:gd name="T57" fmla="*/ 1 h 467"/>
                <a:gd name="T58" fmla="*/ 0 w 234"/>
                <a:gd name="T59" fmla="*/ 1 h 467"/>
                <a:gd name="T60" fmla="*/ 0 w 234"/>
                <a:gd name="T61" fmla="*/ 1 h 467"/>
                <a:gd name="T62" fmla="*/ 0 w 234"/>
                <a:gd name="T63" fmla="*/ 1 h 467"/>
                <a:gd name="T64" fmla="*/ 0 w 234"/>
                <a:gd name="T65" fmla="*/ 1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path>
              </a:pathLst>
            </a:custGeom>
            <a:solidFill>
              <a:schemeClr val="accent4"/>
            </a:solidFill>
            <a:ln w="3175">
              <a:solidFill>
                <a:schemeClr val="accent4"/>
              </a:solidFill>
              <a:round/>
              <a:headEnd/>
              <a:tailEnd/>
            </a:ln>
          </p:spPr>
          <p:txBody>
            <a:bodyPr/>
            <a:lstStyle/>
            <a:p>
              <a:endParaRPr lang="en-GB"/>
            </a:p>
          </p:txBody>
        </p:sp>
        <p:sp>
          <p:nvSpPr>
            <p:cNvPr id="794754" name="Freeform 170"/>
            <p:cNvSpPr>
              <a:spLocks noChangeAspect="1"/>
            </p:cNvSpPr>
            <p:nvPr/>
          </p:nvSpPr>
          <p:spPr bwMode="auto">
            <a:xfrm>
              <a:off x="3584" y="3032"/>
              <a:ext cx="66" cy="122"/>
            </a:xfrm>
            <a:custGeom>
              <a:avLst/>
              <a:gdLst>
                <a:gd name="T0" fmla="*/ 0 w 234"/>
                <a:gd name="T1" fmla="*/ 1 h 467"/>
                <a:gd name="T2" fmla="*/ 0 w 234"/>
                <a:gd name="T3" fmla="*/ 1 h 467"/>
                <a:gd name="T4" fmla="*/ 0 w 234"/>
                <a:gd name="T5" fmla="*/ 1 h 467"/>
                <a:gd name="T6" fmla="*/ 0 w 234"/>
                <a:gd name="T7" fmla="*/ 1 h 467"/>
                <a:gd name="T8" fmla="*/ 0 w 234"/>
                <a:gd name="T9" fmla="*/ 1 h 467"/>
                <a:gd name="T10" fmla="*/ 0 w 234"/>
                <a:gd name="T11" fmla="*/ 1 h 467"/>
                <a:gd name="T12" fmla="*/ 0 w 234"/>
                <a:gd name="T13" fmla="*/ 1 h 467"/>
                <a:gd name="T14" fmla="*/ 0 w 234"/>
                <a:gd name="T15" fmla="*/ 1 h 467"/>
                <a:gd name="T16" fmla="*/ 0 w 234"/>
                <a:gd name="T17" fmla="*/ 1 h 467"/>
                <a:gd name="T18" fmla="*/ 0 w 234"/>
                <a:gd name="T19" fmla="*/ 1 h 467"/>
                <a:gd name="T20" fmla="*/ 0 w 234"/>
                <a:gd name="T21" fmla="*/ 1 h 467"/>
                <a:gd name="T22" fmla="*/ 0 w 234"/>
                <a:gd name="T23" fmla="*/ 1 h 467"/>
                <a:gd name="T24" fmla="*/ 0 w 234"/>
                <a:gd name="T25" fmla="*/ 1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0 w 234"/>
                <a:gd name="T65" fmla="*/ 0 h 467"/>
                <a:gd name="T66" fmla="*/ 0 w 234"/>
                <a:gd name="T67" fmla="*/ 0 h 467"/>
                <a:gd name="T68" fmla="*/ 0 w 234"/>
                <a:gd name="T69" fmla="*/ 1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234" y="467"/>
                  </a:lnTo>
                  <a:close/>
                </a:path>
              </a:pathLst>
            </a:custGeom>
            <a:solidFill>
              <a:srgbClr val="FFFFFF"/>
            </a:solidFill>
            <a:ln w="3175">
              <a:solidFill>
                <a:schemeClr val="accent4"/>
              </a:solidFill>
              <a:round/>
              <a:headEnd/>
              <a:tailEnd/>
            </a:ln>
          </p:spPr>
          <p:txBody>
            <a:bodyPr/>
            <a:lstStyle/>
            <a:p>
              <a:endParaRPr lang="en-GB"/>
            </a:p>
          </p:txBody>
        </p:sp>
        <p:sp>
          <p:nvSpPr>
            <p:cNvPr id="794755" name="Freeform 171"/>
            <p:cNvSpPr>
              <a:spLocks noChangeAspect="1"/>
            </p:cNvSpPr>
            <p:nvPr/>
          </p:nvSpPr>
          <p:spPr bwMode="auto">
            <a:xfrm>
              <a:off x="3584" y="3032"/>
              <a:ext cx="66" cy="122"/>
            </a:xfrm>
            <a:custGeom>
              <a:avLst/>
              <a:gdLst>
                <a:gd name="T0" fmla="*/ 0 w 234"/>
                <a:gd name="T1" fmla="*/ 1 h 467"/>
                <a:gd name="T2" fmla="*/ 0 w 234"/>
                <a:gd name="T3" fmla="*/ 1 h 467"/>
                <a:gd name="T4" fmla="*/ 0 w 234"/>
                <a:gd name="T5" fmla="*/ 1 h 467"/>
                <a:gd name="T6" fmla="*/ 0 w 234"/>
                <a:gd name="T7" fmla="*/ 1 h 467"/>
                <a:gd name="T8" fmla="*/ 0 w 234"/>
                <a:gd name="T9" fmla="*/ 1 h 467"/>
                <a:gd name="T10" fmla="*/ 0 w 234"/>
                <a:gd name="T11" fmla="*/ 1 h 467"/>
                <a:gd name="T12" fmla="*/ 0 w 234"/>
                <a:gd name="T13" fmla="*/ 1 h 467"/>
                <a:gd name="T14" fmla="*/ 0 w 234"/>
                <a:gd name="T15" fmla="*/ 1 h 467"/>
                <a:gd name="T16" fmla="*/ 0 w 234"/>
                <a:gd name="T17" fmla="*/ 1 h 467"/>
                <a:gd name="T18" fmla="*/ 0 w 234"/>
                <a:gd name="T19" fmla="*/ 1 h 467"/>
                <a:gd name="T20" fmla="*/ 0 w 234"/>
                <a:gd name="T21" fmla="*/ 1 h 467"/>
                <a:gd name="T22" fmla="*/ 0 w 234"/>
                <a:gd name="T23" fmla="*/ 1 h 467"/>
                <a:gd name="T24" fmla="*/ 0 w 234"/>
                <a:gd name="T25" fmla="*/ 1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0 w 234"/>
                <a:gd name="T65" fmla="*/ 0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4"/>
              </a:solidFill>
              <a:round/>
              <a:headEnd/>
              <a:tailEnd/>
            </a:ln>
          </p:spPr>
          <p:txBody>
            <a:bodyPr/>
            <a:lstStyle/>
            <a:p>
              <a:endParaRPr lang="en-GB"/>
            </a:p>
          </p:txBody>
        </p:sp>
      </p:grpSp>
      <p:grpSp>
        <p:nvGrpSpPr>
          <p:cNvPr id="192" name="Group 172"/>
          <p:cNvGrpSpPr>
            <a:grpSpLocks/>
          </p:cNvGrpSpPr>
          <p:nvPr/>
        </p:nvGrpSpPr>
        <p:grpSpPr bwMode="auto">
          <a:xfrm>
            <a:off x="2473325" y="4416425"/>
            <a:ext cx="77788" cy="77788"/>
            <a:chOff x="1688" y="2782"/>
            <a:chExt cx="53" cy="49"/>
          </a:xfrm>
        </p:grpSpPr>
        <p:grpSp>
          <p:nvGrpSpPr>
            <p:cNvPr id="193" name="Group 173"/>
            <p:cNvGrpSpPr>
              <a:grpSpLocks noChangeAspect="1"/>
            </p:cNvGrpSpPr>
            <p:nvPr/>
          </p:nvGrpSpPr>
          <p:grpSpPr bwMode="auto">
            <a:xfrm>
              <a:off x="1715" y="2782"/>
              <a:ext cx="26" cy="25"/>
              <a:chOff x="1362" y="1968"/>
              <a:chExt cx="234" cy="234"/>
            </a:xfrm>
          </p:grpSpPr>
          <p:sp>
            <p:nvSpPr>
              <p:cNvPr id="794750" name="Freeform 174"/>
              <p:cNvSpPr>
                <a:spLocks noChangeAspect="1"/>
              </p:cNvSpPr>
              <p:nvPr/>
            </p:nvSpPr>
            <p:spPr bwMode="auto">
              <a:xfrm>
                <a:off x="1362" y="1968"/>
                <a:ext cx="234" cy="234"/>
              </a:xfrm>
              <a:custGeom>
                <a:avLst/>
                <a:gdLst>
                  <a:gd name="T0" fmla="*/ 0 w 234"/>
                  <a:gd name="T1" fmla="*/ 0 h 234"/>
                  <a:gd name="T2" fmla="*/ 24 w 234"/>
                  <a:gd name="T3" fmla="*/ 1 h 234"/>
                  <a:gd name="T4" fmla="*/ 47 w 234"/>
                  <a:gd name="T5" fmla="*/ 5 h 234"/>
                  <a:gd name="T6" fmla="*/ 69 w 234"/>
                  <a:gd name="T7" fmla="*/ 10 h 234"/>
                  <a:gd name="T8" fmla="*/ 91 w 234"/>
                  <a:gd name="T9" fmla="*/ 18 h 234"/>
                  <a:gd name="T10" fmla="*/ 111 w 234"/>
                  <a:gd name="T11" fmla="*/ 28 h 234"/>
                  <a:gd name="T12" fmla="*/ 130 w 234"/>
                  <a:gd name="T13" fmla="*/ 40 h 234"/>
                  <a:gd name="T14" fmla="*/ 148 w 234"/>
                  <a:gd name="T15" fmla="*/ 53 h 234"/>
                  <a:gd name="T16" fmla="*/ 165 w 234"/>
                  <a:gd name="T17" fmla="*/ 68 h 234"/>
                  <a:gd name="T18" fmla="*/ 180 w 234"/>
                  <a:gd name="T19" fmla="*/ 85 h 234"/>
                  <a:gd name="T20" fmla="*/ 194 w 234"/>
                  <a:gd name="T21" fmla="*/ 103 h 234"/>
                  <a:gd name="T22" fmla="*/ 205 w 234"/>
                  <a:gd name="T23" fmla="*/ 122 h 234"/>
                  <a:gd name="T24" fmla="*/ 215 w 234"/>
                  <a:gd name="T25" fmla="*/ 142 h 234"/>
                  <a:gd name="T26" fmla="*/ 223 w 234"/>
                  <a:gd name="T27" fmla="*/ 164 h 234"/>
                  <a:gd name="T28" fmla="*/ 229 w 234"/>
                  <a:gd name="T29" fmla="*/ 186 h 234"/>
                  <a:gd name="T30" fmla="*/ 233 w 234"/>
                  <a:gd name="T31" fmla="*/ 209 h 234"/>
                  <a:gd name="T32" fmla="*/ 234 w 234"/>
                  <a:gd name="T33" fmla="*/ 233 h 234"/>
                  <a:gd name="T34" fmla="*/ 0 w 234"/>
                  <a:gd name="T35" fmla="*/ 234 h 234"/>
                  <a:gd name="T36" fmla="*/ 0 w 234"/>
                  <a:gd name="T37" fmla="*/ 0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4"/>
                  <a:gd name="T58" fmla="*/ 0 h 234"/>
                  <a:gd name="T59" fmla="*/ 234 w 234"/>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4" h="234">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lnTo>
                      <a:pt x="0" y="234"/>
                    </a:lnTo>
                    <a:lnTo>
                      <a:pt x="0" y="0"/>
                    </a:lnTo>
                    <a:close/>
                  </a:path>
                </a:pathLst>
              </a:custGeom>
              <a:solidFill>
                <a:schemeClr val="accent4"/>
              </a:solidFill>
              <a:ln w="3175">
                <a:solidFill>
                  <a:schemeClr val="accent4"/>
                </a:solidFill>
                <a:round/>
                <a:headEnd/>
                <a:tailEnd/>
              </a:ln>
            </p:spPr>
            <p:txBody>
              <a:bodyPr/>
              <a:lstStyle/>
              <a:p>
                <a:endParaRPr lang="en-GB"/>
              </a:p>
            </p:txBody>
          </p:sp>
          <p:sp>
            <p:nvSpPr>
              <p:cNvPr id="794751" name="Freeform 175"/>
              <p:cNvSpPr>
                <a:spLocks noChangeAspect="1"/>
              </p:cNvSpPr>
              <p:nvPr/>
            </p:nvSpPr>
            <p:spPr bwMode="auto">
              <a:xfrm>
                <a:off x="1362" y="1968"/>
                <a:ext cx="234" cy="233"/>
              </a:xfrm>
              <a:custGeom>
                <a:avLst/>
                <a:gdLst>
                  <a:gd name="T0" fmla="*/ 0 w 234"/>
                  <a:gd name="T1" fmla="*/ 0 h 233"/>
                  <a:gd name="T2" fmla="*/ 24 w 234"/>
                  <a:gd name="T3" fmla="*/ 1 h 233"/>
                  <a:gd name="T4" fmla="*/ 47 w 234"/>
                  <a:gd name="T5" fmla="*/ 5 h 233"/>
                  <a:gd name="T6" fmla="*/ 69 w 234"/>
                  <a:gd name="T7" fmla="*/ 10 h 233"/>
                  <a:gd name="T8" fmla="*/ 91 w 234"/>
                  <a:gd name="T9" fmla="*/ 18 h 233"/>
                  <a:gd name="T10" fmla="*/ 111 w 234"/>
                  <a:gd name="T11" fmla="*/ 28 h 233"/>
                  <a:gd name="T12" fmla="*/ 130 w 234"/>
                  <a:gd name="T13" fmla="*/ 40 h 233"/>
                  <a:gd name="T14" fmla="*/ 148 w 234"/>
                  <a:gd name="T15" fmla="*/ 53 h 233"/>
                  <a:gd name="T16" fmla="*/ 165 w 234"/>
                  <a:gd name="T17" fmla="*/ 68 h 233"/>
                  <a:gd name="T18" fmla="*/ 180 w 234"/>
                  <a:gd name="T19" fmla="*/ 85 h 233"/>
                  <a:gd name="T20" fmla="*/ 194 w 234"/>
                  <a:gd name="T21" fmla="*/ 103 h 233"/>
                  <a:gd name="T22" fmla="*/ 205 w 234"/>
                  <a:gd name="T23" fmla="*/ 122 h 233"/>
                  <a:gd name="T24" fmla="*/ 215 w 234"/>
                  <a:gd name="T25" fmla="*/ 142 h 233"/>
                  <a:gd name="T26" fmla="*/ 223 w 234"/>
                  <a:gd name="T27" fmla="*/ 164 h 233"/>
                  <a:gd name="T28" fmla="*/ 229 w 234"/>
                  <a:gd name="T29" fmla="*/ 186 h 233"/>
                  <a:gd name="T30" fmla="*/ 233 w 234"/>
                  <a:gd name="T31" fmla="*/ 209 h 233"/>
                  <a:gd name="T32" fmla="*/ 234 w 234"/>
                  <a:gd name="T33" fmla="*/ 233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4"/>
                  <a:gd name="T52" fmla="*/ 0 h 233"/>
                  <a:gd name="T53" fmla="*/ 234 w 23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4" h="233">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path>
                </a:pathLst>
              </a:custGeom>
              <a:solidFill>
                <a:schemeClr val="accent4"/>
              </a:solidFill>
              <a:ln w="3175">
                <a:solidFill>
                  <a:schemeClr val="accent4"/>
                </a:solidFill>
                <a:round/>
                <a:headEnd/>
                <a:tailEnd/>
              </a:ln>
            </p:spPr>
            <p:txBody>
              <a:bodyPr/>
              <a:lstStyle/>
              <a:p>
                <a:endParaRPr lang="en-GB"/>
              </a:p>
            </p:txBody>
          </p:sp>
        </p:grpSp>
        <p:grpSp>
          <p:nvGrpSpPr>
            <p:cNvPr id="194" name="Group 176"/>
            <p:cNvGrpSpPr>
              <a:grpSpLocks noChangeAspect="1"/>
            </p:cNvGrpSpPr>
            <p:nvPr/>
          </p:nvGrpSpPr>
          <p:grpSpPr bwMode="auto">
            <a:xfrm>
              <a:off x="1688" y="2782"/>
              <a:ext cx="53" cy="49"/>
              <a:chOff x="1128" y="1968"/>
              <a:chExt cx="468" cy="467"/>
            </a:xfrm>
          </p:grpSpPr>
          <p:sp>
            <p:nvSpPr>
              <p:cNvPr id="794748" name="Freeform 177"/>
              <p:cNvSpPr>
                <a:spLocks noChangeAspect="1"/>
              </p:cNvSpPr>
              <p:nvPr/>
            </p:nvSpPr>
            <p:spPr bwMode="auto">
              <a:xfrm>
                <a:off x="1128" y="1968"/>
                <a:ext cx="468" cy="467"/>
              </a:xfrm>
              <a:custGeom>
                <a:avLst/>
                <a:gdLst>
                  <a:gd name="T0" fmla="*/ 468 w 468"/>
                  <a:gd name="T1" fmla="*/ 232 h 467"/>
                  <a:gd name="T2" fmla="*/ 468 w 468"/>
                  <a:gd name="T3" fmla="*/ 233 h 467"/>
                  <a:gd name="T4" fmla="*/ 468 w 468"/>
                  <a:gd name="T5" fmla="*/ 233 h 467"/>
                  <a:gd name="T6" fmla="*/ 467 w 468"/>
                  <a:gd name="T7" fmla="*/ 257 h 467"/>
                  <a:gd name="T8" fmla="*/ 463 w 468"/>
                  <a:gd name="T9" fmla="*/ 280 h 467"/>
                  <a:gd name="T10" fmla="*/ 457 w 468"/>
                  <a:gd name="T11" fmla="*/ 303 h 467"/>
                  <a:gd name="T12" fmla="*/ 450 w 468"/>
                  <a:gd name="T13" fmla="*/ 324 h 467"/>
                  <a:gd name="T14" fmla="*/ 440 w 468"/>
                  <a:gd name="T15" fmla="*/ 344 h 467"/>
                  <a:gd name="T16" fmla="*/ 428 w 468"/>
                  <a:gd name="T17" fmla="*/ 364 h 467"/>
                  <a:gd name="T18" fmla="*/ 415 w 468"/>
                  <a:gd name="T19" fmla="*/ 382 h 467"/>
                  <a:gd name="T20" fmla="*/ 399 w 468"/>
                  <a:gd name="T21" fmla="*/ 398 h 467"/>
                  <a:gd name="T22" fmla="*/ 383 w 468"/>
                  <a:gd name="T23" fmla="*/ 414 h 467"/>
                  <a:gd name="T24" fmla="*/ 365 w 468"/>
                  <a:gd name="T25" fmla="*/ 427 h 467"/>
                  <a:gd name="T26" fmla="*/ 345 w 468"/>
                  <a:gd name="T27" fmla="*/ 439 h 467"/>
                  <a:gd name="T28" fmla="*/ 325 w 468"/>
                  <a:gd name="T29" fmla="*/ 449 h 467"/>
                  <a:gd name="T30" fmla="*/ 304 w 468"/>
                  <a:gd name="T31" fmla="*/ 456 h 467"/>
                  <a:gd name="T32" fmla="*/ 281 w 468"/>
                  <a:gd name="T33" fmla="*/ 462 h 467"/>
                  <a:gd name="T34" fmla="*/ 258 w 468"/>
                  <a:gd name="T35" fmla="*/ 466 h 467"/>
                  <a:gd name="T36" fmla="*/ 234 w 468"/>
                  <a:gd name="T37" fmla="*/ 467 h 467"/>
                  <a:gd name="T38" fmla="*/ 210 w 468"/>
                  <a:gd name="T39" fmla="*/ 466 h 467"/>
                  <a:gd name="T40" fmla="*/ 187 w 468"/>
                  <a:gd name="T41" fmla="*/ 462 h 467"/>
                  <a:gd name="T42" fmla="*/ 165 w 468"/>
                  <a:gd name="T43" fmla="*/ 456 h 467"/>
                  <a:gd name="T44" fmla="*/ 143 w 468"/>
                  <a:gd name="T45" fmla="*/ 449 h 467"/>
                  <a:gd name="T46" fmla="*/ 123 w 468"/>
                  <a:gd name="T47" fmla="*/ 439 h 467"/>
                  <a:gd name="T48" fmla="*/ 103 w 468"/>
                  <a:gd name="T49" fmla="*/ 427 h 467"/>
                  <a:gd name="T50" fmla="*/ 85 w 468"/>
                  <a:gd name="T51" fmla="*/ 414 h 467"/>
                  <a:gd name="T52" fmla="*/ 69 w 468"/>
                  <a:gd name="T53" fmla="*/ 398 h 467"/>
                  <a:gd name="T54" fmla="*/ 54 w 468"/>
                  <a:gd name="T55" fmla="*/ 382 h 467"/>
                  <a:gd name="T56" fmla="*/ 40 w 468"/>
                  <a:gd name="T57" fmla="*/ 364 h 467"/>
                  <a:gd name="T58" fmla="*/ 28 w 468"/>
                  <a:gd name="T59" fmla="*/ 344 h 467"/>
                  <a:gd name="T60" fmla="*/ 18 w 468"/>
                  <a:gd name="T61" fmla="*/ 324 h 467"/>
                  <a:gd name="T62" fmla="*/ 11 w 468"/>
                  <a:gd name="T63" fmla="*/ 303 h 467"/>
                  <a:gd name="T64" fmla="*/ 5 w 468"/>
                  <a:gd name="T65" fmla="*/ 280 h 467"/>
                  <a:gd name="T66" fmla="*/ 1 w 468"/>
                  <a:gd name="T67" fmla="*/ 257 h 467"/>
                  <a:gd name="T68" fmla="*/ 0 w 468"/>
                  <a:gd name="T69" fmla="*/ 233 h 467"/>
                  <a:gd name="T70" fmla="*/ 1 w 468"/>
                  <a:gd name="T71" fmla="*/ 209 h 467"/>
                  <a:gd name="T72" fmla="*/ 5 w 468"/>
                  <a:gd name="T73" fmla="*/ 186 h 467"/>
                  <a:gd name="T74" fmla="*/ 11 w 468"/>
                  <a:gd name="T75" fmla="*/ 164 h 467"/>
                  <a:gd name="T76" fmla="*/ 18 w 468"/>
                  <a:gd name="T77" fmla="*/ 143 h 467"/>
                  <a:gd name="T78" fmla="*/ 28 w 468"/>
                  <a:gd name="T79" fmla="*/ 122 h 467"/>
                  <a:gd name="T80" fmla="*/ 40 w 468"/>
                  <a:gd name="T81" fmla="*/ 103 h 467"/>
                  <a:gd name="T82" fmla="*/ 54 w 468"/>
                  <a:gd name="T83" fmla="*/ 85 h 467"/>
                  <a:gd name="T84" fmla="*/ 69 w 468"/>
                  <a:gd name="T85" fmla="*/ 69 h 467"/>
                  <a:gd name="T86" fmla="*/ 85 w 468"/>
                  <a:gd name="T87" fmla="*/ 53 h 467"/>
                  <a:gd name="T88" fmla="*/ 103 w 468"/>
                  <a:gd name="T89" fmla="*/ 40 h 467"/>
                  <a:gd name="T90" fmla="*/ 123 w 468"/>
                  <a:gd name="T91" fmla="*/ 28 h 467"/>
                  <a:gd name="T92" fmla="*/ 143 w 468"/>
                  <a:gd name="T93" fmla="*/ 18 h 467"/>
                  <a:gd name="T94" fmla="*/ 165 w 468"/>
                  <a:gd name="T95" fmla="*/ 11 h 467"/>
                  <a:gd name="T96" fmla="*/ 187 w 468"/>
                  <a:gd name="T97" fmla="*/ 5 h 467"/>
                  <a:gd name="T98" fmla="*/ 210 w 468"/>
                  <a:gd name="T99" fmla="*/ 1 h 467"/>
                  <a:gd name="T100" fmla="*/ 234 w 468"/>
                  <a:gd name="T101" fmla="*/ 0 h 467"/>
                  <a:gd name="T102" fmla="*/ 234 w 468"/>
                  <a:gd name="T103" fmla="*/ 233 h 467"/>
                  <a:gd name="T104" fmla="*/ 468 w 468"/>
                  <a:gd name="T105" fmla="*/ 232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8"/>
                  <a:gd name="T160" fmla="*/ 0 h 467"/>
                  <a:gd name="T161" fmla="*/ 468 w 468"/>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468" y="232"/>
                    </a:lnTo>
                    <a:close/>
                  </a:path>
                </a:pathLst>
              </a:custGeom>
              <a:solidFill>
                <a:srgbClr val="FFFFFF"/>
              </a:solidFill>
              <a:ln w="3175">
                <a:solidFill>
                  <a:schemeClr val="accent4"/>
                </a:solidFill>
                <a:round/>
                <a:headEnd/>
                <a:tailEnd/>
              </a:ln>
            </p:spPr>
            <p:txBody>
              <a:bodyPr/>
              <a:lstStyle/>
              <a:p>
                <a:endParaRPr lang="en-GB"/>
              </a:p>
            </p:txBody>
          </p:sp>
          <p:sp>
            <p:nvSpPr>
              <p:cNvPr id="794749" name="Freeform 178"/>
              <p:cNvSpPr>
                <a:spLocks noChangeAspect="1"/>
              </p:cNvSpPr>
              <p:nvPr/>
            </p:nvSpPr>
            <p:spPr bwMode="auto">
              <a:xfrm>
                <a:off x="1128" y="1968"/>
                <a:ext cx="468" cy="467"/>
              </a:xfrm>
              <a:custGeom>
                <a:avLst/>
                <a:gdLst>
                  <a:gd name="T0" fmla="*/ 468 w 468"/>
                  <a:gd name="T1" fmla="*/ 232 h 467"/>
                  <a:gd name="T2" fmla="*/ 468 w 468"/>
                  <a:gd name="T3" fmla="*/ 233 h 467"/>
                  <a:gd name="T4" fmla="*/ 468 w 468"/>
                  <a:gd name="T5" fmla="*/ 233 h 467"/>
                  <a:gd name="T6" fmla="*/ 467 w 468"/>
                  <a:gd name="T7" fmla="*/ 257 h 467"/>
                  <a:gd name="T8" fmla="*/ 463 w 468"/>
                  <a:gd name="T9" fmla="*/ 280 h 467"/>
                  <a:gd name="T10" fmla="*/ 457 w 468"/>
                  <a:gd name="T11" fmla="*/ 303 h 467"/>
                  <a:gd name="T12" fmla="*/ 450 w 468"/>
                  <a:gd name="T13" fmla="*/ 324 h 467"/>
                  <a:gd name="T14" fmla="*/ 440 w 468"/>
                  <a:gd name="T15" fmla="*/ 344 h 467"/>
                  <a:gd name="T16" fmla="*/ 428 w 468"/>
                  <a:gd name="T17" fmla="*/ 364 h 467"/>
                  <a:gd name="T18" fmla="*/ 415 w 468"/>
                  <a:gd name="T19" fmla="*/ 382 h 467"/>
                  <a:gd name="T20" fmla="*/ 399 w 468"/>
                  <a:gd name="T21" fmla="*/ 398 h 467"/>
                  <a:gd name="T22" fmla="*/ 383 w 468"/>
                  <a:gd name="T23" fmla="*/ 414 h 467"/>
                  <a:gd name="T24" fmla="*/ 365 w 468"/>
                  <a:gd name="T25" fmla="*/ 427 h 467"/>
                  <a:gd name="T26" fmla="*/ 345 w 468"/>
                  <a:gd name="T27" fmla="*/ 439 h 467"/>
                  <a:gd name="T28" fmla="*/ 325 w 468"/>
                  <a:gd name="T29" fmla="*/ 449 h 467"/>
                  <a:gd name="T30" fmla="*/ 304 w 468"/>
                  <a:gd name="T31" fmla="*/ 456 h 467"/>
                  <a:gd name="T32" fmla="*/ 281 w 468"/>
                  <a:gd name="T33" fmla="*/ 462 h 467"/>
                  <a:gd name="T34" fmla="*/ 258 w 468"/>
                  <a:gd name="T35" fmla="*/ 466 h 467"/>
                  <a:gd name="T36" fmla="*/ 234 w 468"/>
                  <a:gd name="T37" fmla="*/ 467 h 467"/>
                  <a:gd name="T38" fmla="*/ 210 w 468"/>
                  <a:gd name="T39" fmla="*/ 466 h 467"/>
                  <a:gd name="T40" fmla="*/ 187 w 468"/>
                  <a:gd name="T41" fmla="*/ 462 h 467"/>
                  <a:gd name="T42" fmla="*/ 165 w 468"/>
                  <a:gd name="T43" fmla="*/ 456 h 467"/>
                  <a:gd name="T44" fmla="*/ 143 w 468"/>
                  <a:gd name="T45" fmla="*/ 449 h 467"/>
                  <a:gd name="T46" fmla="*/ 123 w 468"/>
                  <a:gd name="T47" fmla="*/ 439 h 467"/>
                  <a:gd name="T48" fmla="*/ 103 w 468"/>
                  <a:gd name="T49" fmla="*/ 427 h 467"/>
                  <a:gd name="T50" fmla="*/ 85 w 468"/>
                  <a:gd name="T51" fmla="*/ 414 h 467"/>
                  <a:gd name="T52" fmla="*/ 69 w 468"/>
                  <a:gd name="T53" fmla="*/ 398 h 467"/>
                  <a:gd name="T54" fmla="*/ 54 w 468"/>
                  <a:gd name="T55" fmla="*/ 382 h 467"/>
                  <a:gd name="T56" fmla="*/ 40 w 468"/>
                  <a:gd name="T57" fmla="*/ 364 h 467"/>
                  <a:gd name="T58" fmla="*/ 28 w 468"/>
                  <a:gd name="T59" fmla="*/ 344 h 467"/>
                  <a:gd name="T60" fmla="*/ 18 w 468"/>
                  <a:gd name="T61" fmla="*/ 324 h 467"/>
                  <a:gd name="T62" fmla="*/ 11 w 468"/>
                  <a:gd name="T63" fmla="*/ 303 h 467"/>
                  <a:gd name="T64" fmla="*/ 5 w 468"/>
                  <a:gd name="T65" fmla="*/ 280 h 467"/>
                  <a:gd name="T66" fmla="*/ 1 w 468"/>
                  <a:gd name="T67" fmla="*/ 257 h 467"/>
                  <a:gd name="T68" fmla="*/ 0 w 468"/>
                  <a:gd name="T69" fmla="*/ 233 h 467"/>
                  <a:gd name="T70" fmla="*/ 1 w 468"/>
                  <a:gd name="T71" fmla="*/ 209 h 467"/>
                  <a:gd name="T72" fmla="*/ 5 w 468"/>
                  <a:gd name="T73" fmla="*/ 186 h 467"/>
                  <a:gd name="T74" fmla="*/ 11 w 468"/>
                  <a:gd name="T75" fmla="*/ 164 h 467"/>
                  <a:gd name="T76" fmla="*/ 18 w 468"/>
                  <a:gd name="T77" fmla="*/ 143 h 467"/>
                  <a:gd name="T78" fmla="*/ 28 w 468"/>
                  <a:gd name="T79" fmla="*/ 122 h 467"/>
                  <a:gd name="T80" fmla="*/ 40 w 468"/>
                  <a:gd name="T81" fmla="*/ 103 h 467"/>
                  <a:gd name="T82" fmla="*/ 54 w 468"/>
                  <a:gd name="T83" fmla="*/ 85 h 467"/>
                  <a:gd name="T84" fmla="*/ 69 w 468"/>
                  <a:gd name="T85" fmla="*/ 69 h 467"/>
                  <a:gd name="T86" fmla="*/ 85 w 468"/>
                  <a:gd name="T87" fmla="*/ 53 h 467"/>
                  <a:gd name="T88" fmla="*/ 103 w 468"/>
                  <a:gd name="T89" fmla="*/ 40 h 467"/>
                  <a:gd name="T90" fmla="*/ 123 w 468"/>
                  <a:gd name="T91" fmla="*/ 28 h 467"/>
                  <a:gd name="T92" fmla="*/ 143 w 468"/>
                  <a:gd name="T93" fmla="*/ 18 h 467"/>
                  <a:gd name="T94" fmla="*/ 165 w 468"/>
                  <a:gd name="T95" fmla="*/ 11 h 467"/>
                  <a:gd name="T96" fmla="*/ 187 w 468"/>
                  <a:gd name="T97" fmla="*/ 5 h 467"/>
                  <a:gd name="T98" fmla="*/ 210 w 468"/>
                  <a:gd name="T99" fmla="*/ 1 h 467"/>
                  <a:gd name="T100" fmla="*/ 234 w 468"/>
                  <a:gd name="T101" fmla="*/ 0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8"/>
                  <a:gd name="T154" fmla="*/ 0 h 467"/>
                  <a:gd name="T155" fmla="*/ 468 w 468"/>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4"/>
                </a:solidFill>
                <a:round/>
                <a:headEnd/>
                <a:tailEnd/>
              </a:ln>
            </p:spPr>
            <p:txBody>
              <a:bodyPr/>
              <a:lstStyle/>
              <a:p>
                <a:endParaRPr lang="en-GB"/>
              </a:p>
            </p:txBody>
          </p:sp>
        </p:grpSp>
      </p:grpSp>
      <p:sp>
        <p:nvSpPr>
          <p:cNvPr id="794676" name="Text Box 179"/>
          <p:cNvSpPr txBox="1">
            <a:spLocks noChangeArrowheads="1"/>
          </p:cNvSpPr>
          <p:nvPr/>
        </p:nvSpPr>
        <p:spPr bwMode="auto">
          <a:xfrm>
            <a:off x="1514475" y="4378325"/>
            <a:ext cx="149225" cy="215900"/>
          </a:xfrm>
          <a:prstGeom prst="rect">
            <a:avLst/>
          </a:prstGeom>
          <a:noFill/>
          <a:ln w="9525">
            <a:noFill/>
            <a:miter lim="800000"/>
            <a:headEnd/>
            <a:tailEnd/>
          </a:ln>
        </p:spPr>
        <p:txBody>
          <a:bodyPr wrap="none" lIns="0" tIns="0" rIns="0" bIns="0">
            <a:spAutoFit/>
          </a:bodyPr>
          <a:lstStyle/>
          <a:p>
            <a:pPr algn="ctr"/>
            <a:r>
              <a:rPr lang="en-GB" altLang="ja-JP" sz="1400">
                <a:solidFill>
                  <a:schemeClr val="tx2"/>
                </a:solidFill>
                <a:ea typeface="ＭＳ Ｐゴシック" charset="-128"/>
              </a:rPr>
              <a:t>¼</a:t>
            </a:r>
          </a:p>
        </p:txBody>
      </p:sp>
      <p:grpSp>
        <p:nvGrpSpPr>
          <p:cNvPr id="195" name="Group 180"/>
          <p:cNvGrpSpPr>
            <a:grpSpLocks/>
          </p:cNvGrpSpPr>
          <p:nvPr/>
        </p:nvGrpSpPr>
        <p:grpSpPr bwMode="auto">
          <a:xfrm>
            <a:off x="3360738" y="4397375"/>
            <a:ext cx="115887" cy="115888"/>
            <a:chOff x="2293" y="2770"/>
            <a:chExt cx="80" cy="73"/>
          </a:xfrm>
        </p:grpSpPr>
        <p:grpSp>
          <p:nvGrpSpPr>
            <p:cNvPr id="196" name="Group 181"/>
            <p:cNvGrpSpPr>
              <a:grpSpLocks noChangeAspect="1"/>
            </p:cNvGrpSpPr>
            <p:nvPr/>
          </p:nvGrpSpPr>
          <p:grpSpPr bwMode="auto">
            <a:xfrm>
              <a:off x="2333" y="2770"/>
              <a:ext cx="40" cy="37"/>
              <a:chOff x="1362" y="1968"/>
              <a:chExt cx="234" cy="234"/>
            </a:xfrm>
          </p:grpSpPr>
          <p:sp>
            <p:nvSpPr>
              <p:cNvPr id="794744" name="Freeform 182"/>
              <p:cNvSpPr>
                <a:spLocks noChangeAspect="1"/>
              </p:cNvSpPr>
              <p:nvPr/>
            </p:nvSpPr>
            <p:spPr bwMode="auto">
              <a:xfrm>
                <a:off x="1362" y="1968"/>
                <a:ext cx="234" cy="234"/>
              </a:xfrm>
              <a:custGeom>
                <a:avLst/>
                <a:gdLst>
                  <a:gd name="T0" fmla="*/ 0 w 234"/>
                  <a:gd name="T1" fmla="*/ 0 h 234"/>
                  <a:gd name="T2" fmla="*/ 24 w 234"/>
                  <a:gd name="T3" fmla="*/ 1 h 234"/>
                  <a:gd name="T4" fmla="*/ 47 w 234"/>
                  <a:gd name="T5" fmla="*/ 5 h 234"/>
                  <a:gd name="T6" fmla="*/ 69 w 234"/>
                  <a:gd name="T7" fmla="*/ 10 h 234"/>
                  <a:gd name="T8" fmla="*/ 91 w 234"/>
                  <a:gd name="T9" fmla="*/ 18 h 234"/>
                  <a:gd name="T10" fmla="*/ 111 w 234"/>
                  <a:gd name="T11" fmla="*/ 28 h 234"/>
                  <a:gd name="T12" fmla="*/ 130 w 234"/>
                  <a:gd name="T13" fmla="*/ 40 h 234"/>
                  <a:gd name="T14" fmla="*/ 148 w 234"/>
                  <a:gd name="T15" fmla="*/ 53 h 234"/>
                  <a:gd name="T16" fmla="*/ 165 w 234"/>
                  <a:gd name="T17" fmla="*/ 68 h 234"/>
                  <a:gd name="T18" fmla="*/ 180 w 234"/>
                  <a:gd name="T19" fmla="*/ 85 h 234"/>
                  <a:gd name="T20" fmla="*/ 194 w 234"/>
                  <a:gd name="T21" fmla="*/ 103 h 234"/>
                  <a:gd name="T22" fmla="*/ 205 w 234"/>
                  <a:gd name="T23" fmla="*/ 122 h 234"/>
                  <a:gd name="T24" fmla="*/ 215 w 234"/>
                  <a:gd name="T25" fmla="*/ 142 h 234"/>
                  <a:gd name="T26" fmla="*/ 223 w 234"/>
                  <a:gd name="T27" fmla="*/ 164 h 234"/>
                  <a:gd name="T28" fmla="*/ 229 w 234"/>
                  <a:gd name="T29" fmla="*/ 186 h 234"/>
                  <a:gd name="T30" fmla="*/ 233 w 234"/>
                  <a:gd name="T31" fmla="*/ 209 h 234"/>
                  <a:gd name="T32" fmla="*/ 234 w 234"/>
                  <a:gd name="T33" fmla="*/ 233 h 234"/>
                  <a:gd name="T34" fmla="*/ 0 w 234"/>
                  <a:gd name="T35" fmla="*/ 234 h 234"/>
                  <a:gd name="T36" fmla="*/ 0 w 234"/>
                  <a:gd name="T37" fmla="*/ 0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4"/>
                  <a:gd name="T58" fmla="*/ 0 h 234"/>
                  <a:gd name="T59" fmla="*/ 234 w 234"/>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4" h="234">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lnTo>
                      <a:pt x="0" y="234"/>
                    </a:lnTo>
                    <a:lnTo>
                      <a:pt x="0" y="0"/>
                    </a:lnTo>
                    <a:close/>
                  </a:path>
                </a:pathLst>
              </a:custGeom>
              <a:solidFill>
                <a:schemeClr val="accent4"/>
              </a:solidFill>
              <a:ln w="3175">
                <a:solidFill>
                  <a:schemeClr val="accent4"/>
                </a:solidFill>
                <a:round/>
                <a:headEnd/>
                <a:tailEnd/>
              </a:ln>
            </p:spPr>
            <p:txBody>
              <a:bodyPr/>
              <a:lstStyle/>
              <a:p>
                <a:endParaRPr lang="en-GB"/>
              </a:p>
            </p:txBody>
          </p:sp>
          <p:sp>
            <p:nvSpPr>
              <p:cNvPr id="794745" name="Freeform 183"/>
              <p:cNvSpPr>
                <a:spLocks noChangeAspect="1"/>
              </p:cNvSpPr>
              <p:nvPr/>
            </p:nvSpPr>
            <p:spPr bwMode="auto">
              <a:xfrm>
                <a:off x="1362" y="1968"/>
                <a:ext cx="234" cy="233"/>
              </a:xfrm>
              <a:custGeom>
                <a:avLst/>
                <a:gdLst>
                  <a:gd name="T0" fmla="*/ 0 w 234"/>
                  <a:gd name="T1" fmla="*/ 0 h 233"/>
                  <a:gd name="T2" fmla="*/ 24 w 234"/>
                  <a:gd name="T3" fmla="*/ 1 h 233"/>
                  <a:gd name="T4" fmla="*/ 47 w 234"/>
                  <a:gd name="T5" fmla="*/ 5 h 233"/>
                  <a:gd name="T6" fmla="*/ 69 w 234"/>
                  <a:gd name="T7" fmla="*/ 10 h 233"/>
                  <a:gd name="T8" fmla="*/ 91 w 234"/>
                  <a:gd name="T9" fmla="*/ 18 h 233"/>
                  <a:gd name="T10" fmla="*/ 111 w 234"/>
                  <a:gd name="T11" fmla="*/ 28 h 233"/>
                  <a:gd name="T12" fmla="*/ 130 w 234"/>
                  <a:gd name="T13" fmla="*/ 40 h 233"/>
                  <a:gd name="T14" fmla="*/ 148 w 234"/>
                  <a:gd name="T15" fmla="*/ 53 h 233"/>
                  <a:gd name="T16" fmla="*/ 165 w 234"/>
                  <a:gd name="T17" fmla="*/ 68 h 233"/>
                  <a:gd name="T18" fmla="*/ 180 w 234"/>
                  <a:gd name="T19" fmla="*/ 85 h 233"/>
                  <a:gd name="T20" fmla="*/ 194 w 234"/>
                  <a:gd name="T21" fmla="*/ 103 h 233"/>
                  <a:gd name="T22" fmla="*/ 205 w 234"/>
                  <a:gd name="T23" fmla="*/ 122 h 233"/>
                  <a:gd name="T24" fmla="*/ 215 w 234"/>
                  <a:gd name="T25" fmla="*/ 142 h 233"/>
                  <a:gd name="T26" fmla="*/ 223 w 234"/>
                  <a:gd name="T27" fmla="*/ 164 h 233"/>
                  <a:gd name="T28" fmla="*/ 229 w 234"/>
                  <a:gd name="T29" fmla="*/ 186 h 233"/>
                  <a:gd name="T30" fmla="*/ 233 w 234"/>
                  <a:gd name="T31" fmla="*/ 209 h 233"/>
                  <a:gd name="T32" fmla="*/ 234 w 234"/>
                  <a:gd name="T33" fmla="*/ 233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4"/>
                  <a:gd name="T52" fmla="*/ 0 h 233"/>
                  <a:gd name="T53" fmla="*/ 234 w 23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4" h="233">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path>
                </a:pathLst>
              </a:custGeom>
              <a:solidFill>
                <a:schemeClr val="accent4"/>
              </a:solidFill>
              <a:ln w="3175">
                <a:solidFill>
                  <a:schemeClr val="accent4"/>
                </a:solidFill>
                <a:round/>
                <a:headEnd/>
                <a:tailEnd/>
              </a:ln>
            </p:spPr>
            <p:txBody>
              <a:bodyPr/>
              <a:lstStyle/>
              <a:p>
                <a:endParaRPr lang="en-GB"/>
              </a:p>
            </p:txBody>
          </p:sp>
        </p:grpSp>
        <p:grpSp>
          <p:nvGrpSpPr>
            <p:cNvPr id="197" name="Group 184"/>
            <p:cNvGrpSpPr>
              <a:grpSpLocks noChangeAspect="1"/>
            </p:cNvGrpSpPr>
            <p:nvPr/>
          </p:nvGrpSpPr>
          <p:grpSpPr bwMode="auto">
            <a:xfrm>
              <a:off x="2293" y="2770"/>
              <a:ext cx="80" cy="73"/>
              <a:chOff x="1128" y="1968"/>
              <a:chExt cx="468" cy="467"/>
            </a:xfrm>
          </p:grpSpPr>
          <p:sp>
            <p:nvSpPr>
              <p:cNvPr id="794742" name="Freeform 185"/>
              <p:cNvSpPr>
                <a:spLocks noChangeAspect="1"/>
              </p:cNvSpPr>
              <p:nvPr/>
            </p:nvSpPr>
            <p:spPr bwMode="auto">
              <a:xfrm>
                <a:off x="1128" y="1968"/>
                <a:ext cx="468" cy="467"/>
              </a:xfrm>
              <a:custGeom>
                <a:avLst/>
                <a:gdLst>
                  <a:gd name="T0" fmla="*/ 468 w 468"/>
                  <a:gd name="T1" fmla="*/ 232 h 467"/>
                  <a:gd name="T2" fmla="*/ 468 w 468"/>
                  <a:gd name="T3" fmla="*/ 233 h 467"/>
                  <a:gd name="T4" fmla="*/ 468 w 468"/>
                  <a:gd name="T5" fmla="*/ 233 h 467"/>
                  <a:gd name="T6" fmla="*/ 467 w 468"/>
                  <a:gd name="T7" fmla="*/ 257 h 467"/>
                  <a:gd name="T8" fmla="*/ 463 w 468"/>
                  <a:gd name="T9" fmla="*/ 280 h 467"/>
                  <a:gd name="T10" fmla="*/ 457 w 468"/>
                  <a:gd name="T11" fmla="*/ 303 h 467"/>
                  <a:gd name="T12" fmla="*/ 450 w 468"/>
                  <a:gd name="T13" fmla="*/ 324 h 467"/>
                  <a:gd name="T14" fmla="*/ 440 w 468"/>
                  <a:gd name="T15" fmla="*/ 344 h 467"/>
                  <a:gd name="T16" fmla="*/ 428 w 468"/>
                  <a:gd name="T17" fmla="*/ 364 h 467"/>
                  <a:gd name="T18" fmla="*/ 415 w 468"/>
                  <a:gd name="T19" fmla="*/ 382 h 467"/>
                  <a:gd name="T20" fmla="*/ 399 w 468"/>
                  <a:gd name="T21" fmla="*/ 398 h 467"/>
                  <a:gd name="T22" fmla="*/ 383 w 468"/>
                  <a:gd name="T23" fmla="*/ 414 h 467"/>
                  <a:gd name="T24" fmla="*/ 365 w 468"/>
                  <a:gd name="T25" fmla="*/ 427 h 467"/>
                  <a:gd name="T26" fmla="*/ 345 w 468"/>
                  <a:gd name="T27" fmla="*/ 439 h 467"/>
                  <a:gd name="T28" fmla="*/ 325 w 468"/>
                  <a:gd name="T29" fmla="*/ 449 h 467"/>
                  <a:gd name="T30" fmla="*/ 304 w 468"/>
                  <a:gd name="T31" fmla="*/ 456 h 467"/>
                  <a:gd name="T32" fmla="*/ 281 w 468"/>
                  <a:gd name="T33" fmla="*/ 462 h 467"/>
                  <a:gd name="T34" fmla="*/ 258 w 468"/>
                  <a:gd name="T35" fmla="*/ 466 h 467"/>
                  <a:gd name="T36" fmla="*/ 234 w 468"/>
                  <a:gd name="T37" fmla="*/ 467 h 467"/>
                  <a:gd name="T38" fmla="*/ 210 w 468"/>
                  <a:gd name="T39" fmla="*/ 466 h 467"/>
                  <a:gd name="T40" fmla="*/ 187 w 468"/>
                  <a:gd name="T41" fmla="*/ 462 h 467"/>
                  <a:gd name="T42" fmla="*/ 165 w 468"/>
                  <a:gd name="T43" fmla="*/ 456 h 467"/>
                  <a:gd name="T44" fmla="*/ 143 w 468"/>
                  <a:gd name="T45" fmla="*/ 449 h 467"/>
                  <a:gd name="T46" fmla="*/ 123 w 468"/>
                  <a:gd name="T47" fmla="*/ 439 h 467"/>
                  <a:gd name="T48" fmla="*/ 103 w 468"/>
                  <a:gd name="T49" fmla="*/ 427 h 467"/>
                  <a:gd name="T50" fmla="*/ 85 w 468"/>
                  <a:gd name="T51" fmla="*/ 414 h 467"/>
                  <a:gd name="T52" fmla="*/ 69 w 468"/>
                  <a:gd name="T53" fmla="*/ 398 h 467"/>
                  <a:gd name="T54" fmla="*/ 54 w 468"/>
                  <a:gd name="T55" fmla="*/ 382 h 467"/>
                  <a:gd name="T56" fmla="*/ 40 w 468"/>
                  <a:gd name="T57" fmla="*/ 364 h 467"/>
                  <a:gd name="T58" fmla="*/ 28 w 468"/>
                  <a:gd name="T59" fmla="*/ 344 h 467"/>
                  <a:gd name="T60" fmla="*/ 18 w 468"/>
                  <a:gd name="T61" fmla="*/ 324 h 467"/>
                  <a:gd name="T62" fmla="*/ 11 w 468"/>
                  <a:gd name="T63" fmla="*/ 303 h 467"/>
                  <a:gd name="T64" fmla="*/ 5 w 468"/>
                  <a:gd name="T65" fmla="*/ 280 h 467"/>
                  <a:gd name="T66" fmla="*/ 1 w 468"/>
                  <a:gd name="T67" fmla="*/ 257 h 467"/>
                  <a:gd name="T68" fmla="*/ 0 w 468"/>
                  <a:gd name="T69" fmla="*/ 233 h 467"/>
                  <a:gd name="T70" fmla="*/ 1 w 468"/>
                  <a:gd name="T71" fmla="*/ 209 h 467"/>
                  <a:gd name="T72" fmla="*/ 5 w 468"/>
                  <a:gd name="T73" fmla="*/ 186 h 467"/>
                  <a:gd name="T74" fmla="*/ 11 w 468"/>
                  <a:gd name="T75" fmla="*/ 164 h 467"/>
                  <a:gd name="T76" fmla="*/ 18 w 468"/>
                  <a:gd name="T77" fmla="*/ 143 h 467"/>
                  <a:gd name="T78" fmla="*/ 28 w 468"/>
                  <a:gd name="T79" fmla="*/ 122 h 467"/>
                  <a:gd name="T80" fmla="*/ 40 w 468"/>
                  <a:gd name="T81" fmla="*/ 103 h 467"/>
                  <a:gd name="T82" fmla="*/ 54 w 468"/>
                  <a:gd name="T83" fmla="*/ 85 h 467"/>
                  <a:gd name="T84" fmla="*/ 69 w 468"/>
                  <a:gd name="T85" fmla="*/ 69 h 467"/>
                  <a:gd name="T86" fmla="*/ 85 w 468"/>
                  <a:gd name="T87" fmla="*/ 53 h 467"/>
                  <a:gd name="T88" fmla="*/ 103 w 468"/>
                  <a:gd name="T89" fmla="*/ 40 h 467"/>
                  <a:gd name="T90" fmla="*/ 123 w 468"/>
                  <a:gd name="T91" fmla="*/ 28 h 467"/>
                  <a:gd name="T92" fmla="*/ 143 w 468"/>
                  <a:gd name="T93" fmla="*/ 18 h 467"/>
                  <a:gd name="T94" fmla="*/ 165 w 468"/>
                  <a:gd name="T95" fmla="*/ 11 h 467"/>
                  <a:gd name="T96" fmla="*/ 187 w 468"/>
                  <a:gd name="T97" fmla="*/ 5 h 467"/>
                  <a:gd name="T98" fmla="*/ 210 w 468"/>
                  <a:gd name="T99" fmla="*/ 1 h 467"/>
                  <a:gd name="T100" fmla="*/ 234 w 468"/>
                  <a:gd name="T101" fmla="*/ 0 h 467"/>
                  <a:gd name="T102" fmla="*/ 234 w 468"/>
                  <a:gd name="T103" fmla="*/ 233 h 467"/>
                  <a:gd name="T104" fmla="*/ 468 w 468"/>
                  <a:gd name="T105" fmla="*/ 232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8"/>
                  <a:gd name="T160" fmla="*/ 0 h 467"/>
                  <a:gd name="T161" fmla="*/ 468 w 468"/>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468" y="232"/>
                    </a:lnTo>
                    <a:close/>
                  </a:path>
                </a:pathLst>
              </a:custGeom>
              <a:solidFill>
                <a:srgbClr val="FFFFFF"/>
              </a:solidFill>
              <a:ln w="3175">
                <a:solidFill>
                  <a:schemeClr val="accent4"/>
                </a:solidFill>
                <a:round/>
                <a:headEnd/>
                <a:tailEnd/>
              </a:ln>
            </p:spPr>
            <p:txBody>
              <a:bodyPr/>
              <a:lstStyle/>
              <a:p>
                <a:endParaRPr lang="en-GB"/>
              </a:p>
            </p:txBody>
          </p:sp>
          <p:sp>
            <p:nvSpPr>
              <p:cNvPr id="794743" name="Freeform 186"/>
              <p:cNvSpPr>
                <a:spLocks noChangeAspect="1"/>
              </p:cNvSpPr>
              <p:nvPr/>
            </p:nvSpPr>
            <p:spPr bwMode="auto">
              <a:xfrm>
                <a:off x="1128" y="1968"/>
                <a:ext cx="468" cy="467"/>
              </a:xfrm>
              <a:custGeom>
                <a:avLst/>
                <a:gdLst>
                  <a:gd name="T0" fmla="*/ 468 w 468"/>
                  <a:gd name="T1" fmla="*/ 232 h 467"/>
                  <a:gd name="T2" fmla="*/ 468 w 468"/>
                  <a:gd name="T3" fmla="*/ 233 h 467"/>
                  <a:gd name="T4" fmla="*/ 468 w 468"/>
                  <a:gd name="T5" fmla="*/ 233 h 467"/>
                  <a:gd name="T6" fmla="*/ 467 w 468"/>
                  <a:gd name="T7" fmla="*/ 257 h 467"/>
                  <a:gd name="T8" fmla="*/ 463 w 468"/>
                  <a:gd name="T9" fmla="*/ 280 h 467"/>
                  <a:gd name="T10" fmla="*/ 457 w 468"/>
                  <a:gd name="T11" fmla="*/ 303 h 467"/>
                  <a:gd name="T12" fmla="*/ 450 w 468"/>
                  <a:gd name="T13" fmla="*/ 324 h 467"/>
                  <a:gd name="T14" fmla="*/ 440 w 468"/>
                  <a:gd name="T15" fmla="*/ 344 h 467"/>
                  <a:gd name="T16" fmla="*/ 428 w 468"/>
                  <a:gd name="T17" fmla="*/ 364 h 467"/>
                  <a:gd name="T18" fmla="*/ 415 w 468"/>
                  <a:gd name="T19" fmla="*/ 382 h 467"/>
                  <a:gd name="T20" fmla="*/ 399 w 468"/>
                  <a:gd name="T21" fmla="*/ 398 h 467"/>
                  <a:gd name="T22" fmla="*/ 383 w 468"/>
                  <a:gd name="T23" fmla="*/ 414 h 467"/>
                  <a:gd name="T24" fmla="*/ 365 w 468"/>
                  <a:gd name="T25" fmla="*/ 427 h 467"/>
                  <a:gd name="T26" fmla="*/ 345 w 468"/>
                  <a:gd name="T27" fmla="*/ 439 h 467"/>
                  <a:gd name="T28" fmla="*/ 325 w 468"/>
                  <a:gd name="T29" fmla="*/ 449 h 467"/>
                  <a:gd name="T30" fmla="*/ 304 w 468"/>
                  <a:gd name="T31" fmla="*/ 456 h 467"/>
                  <a:gd name="T32" fmla="*/ 281 w 468"/>
                  <a:gd name="T33" fmla="*/ 462 h 467"/>
                  <a:gd name="T34" fmla="*/ 258 w 468"/>
                  <a:gd name="T35" fmla="*/ 466 h 467"/>
                  <a:gd name="T36" fmla="*/ 234 w 468"/>
                  <a:gd name="T37" fmla="*/ 467 h 467"/>
                  <a:gd name="T38" fmla="*/ 210 w 468"/>
                  <a:gd name="T39" fmla="*/ 466 h 467"/>
                  <a:gd name="T40" fmla="*/ 187 w 468"/>
                  <a:gd name="T41" fmla="*/ 462 h 467"/>
                  <a:gd name="T42" fmla="*/ 165 w 468"/>
                  <a:gd name="T43" fmla="*/ 456 h 467"/>
                  <a:gd name="T44" fmla="*/ 143 w 468"/>
                  <a:gd name="T45" fmla="*/ 449 h 467"/>
                  <a:gd name="T46" fmla="*/ 123 w 468"/>
                  <a:gd name="T47" fmla="*/ 439 h 467"/>
                  <a:gd name="T48" fmla="*/ 103 w 468"/>
                  <a:gd name="T49" fmla="*/ 427 h 467"/>
                  <a:gd name="T50" fmla="*/ 85 w 468"/>
                  <a:gd name="T51" fmla="*/ 414 h 467"/>
                  <a:gd name="T52" fmla="*/ 69 w 468"/>
                  <a:gd name="T53" fmla="*/ 398 h 467"/>
                  <a:gd name="T54" fmla="*/ 54 w 468"/>
                  <a:gd name="T55" fmla="*/ 382 h 467"/>
                  <a:gd name="T56" fmla="*/ 40 w 468"/>
                  <a:gd name="T57" fmla="*/ 364 h 467"/>
                  <a:gd name="T58" fmla="*/ 28 w 468"/>
                  <a:gd name="T59" fmla="*/ 344 h 467"/>
                  <a:gd name="T60" fmla="*/ 18 w 468"/>
                  <a:gd name="T61" fmla="*/ 324 h 467"/>
                  <a:gd name="T62" fmla="*/ 11 w 468"/>
                  <a:gd name="T63" fmla="*/ 303 h 467"/>
                  <a:gd name="T64" fmla="*/ 5 w 468"/>
                  <a:gd name="T65" fmla="*/ 280 h 467"/>
                  <a:gd name="T66" fmla="*/ 1 w 468"/>
                  <a:gd name="T67" fmla="*/ 257 h 467"/>
                  <a:gd name="T68" fmla="*/ 0 w 468"/>
                  <a:gd name="T69" fmla="*/ 233 h 467"/>
                  <a:gd name="T70" fmla="*/ 1 w 468"/>
                  <a:gd name="T71" fmla="*/ 209 h 467"/>
                  <a:gd name="T72" fmla="*/ 5 w 468"/>
                  <a:gd name="T73" fmla="*/ 186 h 467"/>
                  <a:gd name="T74" fmla="*/ 11 w 468"/>
                  <a:gd name="T75" fmla="*/ 164 h 467"/>
                  <a:gd name="T76" fmla="*/ 18 w 468"/>
                  <a:gd name="T77" fmla="*/ 143 h 467"/>
                  <a:gd name="T78" fmla="*/ 28 w 468"/>
                  <a:gd name="T79" fmla="*/ 122 h 467"/>
                  <a:gd name="T80" fmla="*/ 40 w 468"/>
                  <a:gd name="T81" fmla="*/ 103 h 467"/>
                  <a:gd name="T82" fmla="*/ 54 w 468"/>
                  <a:gd name="T83" fmla="*/ 85 h 467"/>
                  <a:gd name="T84" fmla="*/ 69 w 468"/>
                  <a:gd name="T85" fmla="*/ 69 h 467"/>
                  <a:gd name="T86" fmla="*/ 85 w 468"/>
                  <a:gd name="T87" fmla="*/ 53 h 467"/>
                  <a:gd name="T88" fmla="*/ 103 w 468"/>
                  <a:gd name="T89" fmla="*/ 40 h 467"/>
                  <a:gd name="T90" fmla="*/ 123 w 468"/>
                  <a:gd name="T91" fmla="*/ 28 h 467"/>
                  <a:gd name="T92" fmla="*/ 143 w 468"/>
                  <a:gd name="T93" fmla="*/ 18 h 467"/>
                  <a:gd name="T94" fmla="*/ 165 w 468"/>
                  <a:gd name="T95" fmla="*/ 11 h 467"/>
                  <a:gd name="T96" fmla="*/ 187 w 468"/>
                  <a:gd name="T97" fmla="*/ 5 h 467"/>
                  <a:gd name="T98" fmla="*/ 210 w 468"/>
                  <a:gd name="T99" fmla="*/ 1 h 467"/>
                  <a:gd name="T100" fmla="*/ 234 w 468"/>
                  <a:gd name="T101" fmla="*/ 0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8"/>
                  <a:gd name="T154" fmla="*/ 0 h 467"/>
                  <a:gd name="T155" fmla="*/ 468 w 468"/>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4"/>
                </a:solidFill>
                <a:round/>
                <a:headEnd/>
                <a:tailEnd/>
              </a:ln>
            </p:spPr>
            <p:txBody>
              <a:bodyPr/>
              <a:lstStyle/>
              <a:p>
                <a:endParaRPr lang="en-GB"/>
              </a:p>
            </p:txBody>
          </p:sp>
        </p:grpSp>
      </p:grpSp>
      <p:grpSp>
        <p:nvGrpSpPr>
          <p:cNvPr id="198" name="Group 187"/>
          <p:cNvGrpSpPr>
            <a:grpSpLocks/>
          </p:cNvGrpSpPr>
          <p:nvPr/>
        </p:nvGrpSpPr>
        <p:grpSpPr bwMode="auto">
          <a:xfrm>
            <a:off x="5251450" y="4359275"/>
            <a:ext cx="193675" cy="193675"/>
            <a:chOff x="3584" y="2746"/>
            <a:chExt cx="132" cy="122"/>
          </a:xfrm>
        </p:grpSpPr>
        <p:grpSp>
          <p:nvGrpSpPr>
            <p:cNvPr id="199" name="Group 188"/>
            <p:cNvGrpSpPr>
              <a:grpSpLocks noChangeAspect="1"/>
            </p:cNvGrpSpPr>
            <p:nvPr/>
          </p:nvGrpSpPr>
          <p:grpSpPr bwMode="auto">
            <a:xfrm>
              <a:off x="3650" y="2746"/>
              <a:ext cx="66" cy="61"/>
              <a:chOff x="1362" y="1968"/>
              <a:chExt cx="234" cy="234"/>
            </a:xfrm>
          </p:grpSpPr>
          <p:sp>
            <p:nvSpPr>
              <p:cNvPr id="794738" name="Freeform 189"/>
              <p:cNvSpPr>
                <a:spLocks noChangeAspect="1"/>
              </p:cNvSpPr>
              <p:nvPr/>
            </p:nvSpPr>
            <p:spPr bwMode="auto">
              <a:xfrm>
                <a:off x="1362" y="1968"/>
                <a:ext cx="234" cy="234"/>
              </a:xfrm>
              <a:custGeom>
                <a:avLst/>
                <a:gdLst>
                  <a:gd name="T0" fmla="*/ 0 w 234"/>
                  <a:gd name="T1" fmla="*/ 0 h 234"/>
                  <a:gd name="T2" fmla="*/ 24 w 234"/>
                  <a:gd name="T3" fmla="*/ 1 h 234"/>
                  <a:gd name="T4" fmla="*/ 47 w 234"/>
                  <a:gd name="T5" fmla="*/ 5 h 234"/>
                  <a:gd name="T6" fmla="*/ 69 w 234"/>
                  <a:gd name="T7" fmla="*/ 10 h 234"/>
                  <a:gd name="T8" fmla="*/ 91 w 234"/>
                  <a:gd name="T9" fmla="*/ 18 h 234"/>
                  <a:gd name="T10" fmla="*/ 111 w 234"/>
                  <a:gd name="T11" fmla="*/ 28 h 234"/>
                  <a:gd name="T12" fmla="*/ 130 w 234"/>
                  <a:gd name="T13" fmla="*/ 40 h 234"/>
                  <a:gd name="T14" fmla="*/ 148 w 234"/>
                  <a:gd name="T15" fmla="*/ 53 h 234"/>
                  <a:gd name="T16" fmla="*/ 165 w 234"/>
                  <a:gd name="T17" fmla="*/ 68 h 234"/>
                  <a:gd name="T18" fmla="*/ 180 w 234"/>
                  <a:gd name="T19" fmla="*/ 85 h 234"/>
                  <a:gd name="T20" fmla="*/ 194 w 234"/>
                  <a:gd name="T21" fmla="*/ 103 h 234"/>
                  <a:gd name="T22" fmla="*/ 205 w 234"/>
                  <a:gd name="T23" fmla="*/ 122 h 234"/>
                  <a:gd name="T24" fmla="*/ 215 w 234"/>
                  <a:gd name="T25" fmla="*/ 142 h 234"/>
                  <a:gd name="T26" fmla="*/ 223 w 234"/>
                  <a:gd name="T27" fmla="*/ 164 h 234"/>
                  <a:gd name="T28" fmla="*/ 229 w 234"/>
                  <a:gd name="T29" fmla="*/ 186 h 234"/>
                  <a:gd name="T30" fmla="*/ 233 w 234"/>
                  <a:gd name="T31" fmla="*/ 209 h 234"/>
                  <a:gd name="T32" fmla="*/ 234 w 234"/>
                  <a:gd name="T33" fmla="*/ 233 h 234"/>
                  <a:gd name="T34" fmla="*/ 0 w 234"/>
                  <a:gd name="T35" fmla="*/ 234 h 234"/>
                  <a:gd name="T36" fmla="*/ 0 w 234"/>
                  <a:gd name="T37" fmla="*/ 0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4"/>
                  <a:gd name="T58" fmla="*/ 0 h 234"/>
                  <a:gd name="T59" fmla="*/ 234 w 234"/>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4" h="234">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lnTo>
                      <a:pt x="0" y="234"/>
                    </a:lnTo>
                    <a:lnTo>
                      <a:pt x="0" y="0"/>
                    </a:lnTo>
                    <a:close/>
                  </a:path>
                </a:pathLst>
              </a:custGeom>
              <a:solidFill>
                <a:schemeClr val="accent4"/>
              </a:solidFill>
              <a:ln w="3175">
                <a:solidFill>
                  <a:schemeClr val="accent4"/>
                </a:solidFill>
                <a:round/>
                <a:headEnd/>
                <a:tailEnd/>
              </a:ln>
            </p:spPr>
            <p:txBody>
              <a:bodyPr/>
              <a:lstStyle/>
              <a:p>
                <a:endParaRPr lang="en-GB"/>
              </a:p>
            </p:txBody>
          </p:sp>
          <p:sp>
            <p:nvSpPr>
              <p:cNvPr id="794739" name="Freeform 190"/>
              <p:cNvSpPr>
                <a:spLocks noChangeAspect="1"/>
              </p:cNvSpPr>
              <p:nvPr/>
            </p:nvSpPr>
            <p:spPr bwMode="auto">
              <a:xfrm>
                <a:off x="1362" y="1968"/>
                <a:ext cx="234" cy="233"/>
              </a:xfrm>
              <a:custGeom>
                <a:avLst/>
                <a:gdLst>
                  <a:gd name="T0" fmla="*/ 0 w 234"/>
                  <a:gd name="T1" fmla="*/ 0 h 233"/>
                  <a:gd name="T2" fmla="*/ 24 w 234"/>
                  <a:gd name="T3" fmla="*/ 1 h 233"/>
                  <a:gd name="T4" fmla="*/ 47 w 234"/>
                  <a:gd name="T5" fmla="*/ 5 h 233"/>
                  <a:gd name="T6" fmla="*/ 69 w 234"/>
                  <a:gd name="T7" fmla="*/ 10 h 233"/>
                  <a:gd name="T8" fmla="*/ 91 w 234"/>
                  <a:gd name="T9" fmla="*/ 18 h 233"/>
                  <a:gd name="T10" fmla="*/ 111 w 234"/>
                  <a:gd name="T11" fmla="*/ 28 h 233"/>
                  <a:gd name="T12" fmla="*/ 130 w 234"/>
                  <a:gd name="T13" fmla="*/ 40 h 233"/>
                  <a:gd name="T14" fmla="*/ 148 w 234"/>
                  <a:gd name="T15" fmla="*/ 53 h 233"/>
                  <a:gd name="T16" fmla="*/ 165 w 234"/>
                  <a:gd name="T17" fmla="*/ 68 h 233"/>
                  <a:gd name="T18" fmla="*/ 180 w 234"/>
                  <a:gd name="T19" fmla="*/ 85 h 233"/>
                  <a:gd name="T20" fmla="*/ 194 w 234"/>
                  <a:gd name="T21" fmla="*/ 103 h 233"/>
                  <a:gd name="T22" fmla="*/ 205 w 234"/>
                  <a:gd name="T23" fmla="*/ 122 h 233"/>
                  <a:gd name="T24" fmla="*/ 215 w 234"/>
                  <a:gd name="T25" fmla="*/ 142 h 233"/>
                  <a:gd name="T26" fmla="*/ 223 w 234"/>
                  <a:gd name="T27" fmla="*/ 164 h 233"/>
                  <a:gd name="T28" fmla="*/ 229 w 234"/>
                  <a:gd name="T29" fmla="*/ 186 h 233"/>
                  <a:gd name="T30" fmla="*/ 233 w 234"/>
                  <a:gd name="T31" fmla="*/ 209 h 233"/>
                  <a:gd name="T32" fmla="*/ 234 w 234"/>
                  <a:gd name="T33" fmla="*/ 233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4"/>
                  <a:gd name="T52" fmla="*/ 0 h 233"/>
                  <a:gd name="T53" fmla="*/ 234 w 23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4" h="233">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path>
                </a:pathLst>
              </a:custGeom>
              <a:solidFill>
                <a:schemeClr val="accent4"/>
              </a:solidFill>
              <a:ln w="3175">
                <a:solidFill>
                  <a:schemeClr val="accent4"/>
                </a:solidFill>
                <a:round/>
                <a:headEnd/>
                <a:tailEnd/>
              </a:ln>
            </p:spPr>
            <p:txBody>
              <a:bodyPr/>
              <a:lstStyle/>
              <a:p>
                <a:endParaRPr lang="en-GB"/>
              </a:p>
            </p:txBody>
          </p:sp>
        </p:grpSp>
        <p:grpSp>
          <p:nvGrpSpPr>
            <p:cNvPr id="200" name="Group 191"/>
            <p:cNvGrpSpPr>
              <a:grpSpLocks noChangeAspect="1"/>
            </p:cNvGrpSpPr>
            <p:nvPr/>
          </p:nvGrpSpPr>
          <p:grpSpPr bwMode="auto">
            <a:xfrm>
              <a:off x="3584" y="2746"/>
              <a:ext cx="132" cy="122"/>
              <a:chOff x="1128" y="1968"/>
              <a:chExt cx="468" cy="467"/>
            </a:xfrm>
          </p:grpSpPr>
          <p:sp>
            <p:nvSpPr>
              <p:cNvPr id="794736" name="Freeform 192"/>
              <p:cNvSpPr>
                <a:spLocks noChangeAspect="1"/>
              </p:cNvSpPr>
              <p:nvPr/>
            </p:nvSpPr>
            <p:spPr bwMode="auto">
              <a:xfrm>
                <a:off x="1128" y="1968"/>
                <a:ext cx="468" cy="467"/>
              </a:xfrm>
              <a:custGeom>
                <a:avLst/>
                <a:gdLst>
                  <a:gd name="T0" fmla="*/ 468 w 468"/>
                  <a:gd name="T1" fmla="*/ 232 h 467"/>
                  <a:gd name="T2" fmla="*/ 468 w 468"/>
                  <a:gd name="T3" fmla="*/ 233 h 467"/>
                  <a:gd name="T4" fmla="*/ 468 w 468"/>
                  <a:gd name="T5" fmla="*/ 233 h 467"/>
                  <a:gd name="T6" fmla="*/ 467 w 468"/>
                  <a:gd name="T7" fmla="*/ 257 h 467"/>
                  <a:gd name="T8" fmla="*/ 463 w 468"/>
                  <a:gd name="T9" fmla="*/ 280 h 467"/>
                  <a:gd name="T10" fmla="*/ 457 w 468"/>
                  <a:gd name="T11" fmla="*/ 303 h 467"/>
                  <a:gd name="T12" fmla="*/ 450 w 468"/>
                  <a:gd name="T13" fmla="*/ 324 h 467"/>
                  <a:gd name="T14" fmla="*/ 440 w 468"/>
                  <a:gd name="T15" fmla="*/ 344 h 467"/>
                  <a:gd name="T16" fmla="*/ 428 w 468"/>
                  <a:gd name="T17" fmla="*/ 364 h 467"/>
                  <a:gd name="T18" fmla="*/ 415 w 468"/>
                  <a:gd name="T19" fmla="*/ 382 h 467"/>
                  <a:gd name="T20" fmla="*/ 399 w 468"/>
                  <a:gd name="T21" fmla="*/ 398 h 467"/>
                  <a:gd name="T22" fmla="*/ 383 w 468"/>
                  <a:gd name="T23" fmla="*/ 414 h 467"/>
                  <a:gd name="T24" fmla="*/ 365 w 468"/>
                  <a:gd name="T25" fmla="*/ 427 h 467"/>
                  <a:gd name="T26" fmla="*/ 345 w 468"/>
                  <a:gd name="T27" fmla="*/ 439 h 467"/>
                  <a:gd name="T28" fmla="*/ 325 w 468"/>
                  <a:gd name="T29" fmla="*/ 449 h 467"/>
                  <a:gd name="T30" fmla="*/ 304 w 468"/>
                  <a:gd name="T31" fmla="*/ 456 h 467"/>
                  <a:gd name="T32" fmla="*/ 281 w 468"/>
                  <a:gd name="T33" fmla="*/ 462 h 467"/>
                  <a:gd name="T34" fmla="*/ 258 w 468"/>
                  <a:gd name="T35" fmla="*/ 466 h 467"/>
                  <a:gd name="T36" fmla="*/ 234 w 468"/>
                  <a:gd name="T37" fmla="*/ 467 h 467"/>
                  <a:gd name="T38" fmla="*/ 210 w 468"/>
                  <a:gd name="T39" fmla="*/ 466 h 467"/>
                  <a:gd name="T40" fmla="*/ 187 w 468"/>
                  <a:gd name="T41" fmla="*/ 462 h 467"/>
                  <a:gd name="T42" fmla="*/ 165 w 468"/>
                  <a:gd name="T43" fmla="*/ 456 h 467"/>
                  <a:gd name="T44" fmla="*/ 143 w 468"/>
                  <a:gd name="T45" fmla="*/ 449 h 467"/>
                  <a:gd name="T46" fmla="*/ 123 w 468"/>
                  <a:gd name="T47" fmla="*/ 439 h 467"/>
                  <a:gd name="T48" fmla="*/ 103 w 468"/>
                  <a:gd name="T49" fmla="*/ 427 h 467"/>
                  <a:gd name="T50" fmla="*/ 85 w 468"/>
                  <a:gd name="T51" fmla="*/ 414 h 467"/>
                  <a:gd name="T52" fmla="*/ 69 w 468"/>
                  <a:gd name="T53" fmla="*/ 398 h 467"/>
                  <a:gd name="T54" fmla="*/ 54 w 468"/>
                  <a:gd name="T55" fmla="*/ 382 h 467"/>
                  <a:gd name="T56" fmla="*/ 40 w 468"/>
                  <a:gd name="T57" fmla="*/ 364 h 467"/>
                  <a:gd name="T58" fmla="*/ 28 w 468"/>
                  <a:gd name="T59" fmla="*/ 344 h 467"/>
                  <a:gd name="T60" fmla="*/ 18 w 468"/>
                  <a:gd name="T61" fmla="*/ 324 h 467"/>
                  <a:gd name="T62" fmla="*/ 11 w 468"/>
                  <a:gd name="T63" fmla="*/ 303 h 467"/>
                  <a:gd name="T64" fmla="*/ 5 w 468"/>
                  <a:gd name="T65" fmla="*/ 280 h 467"/>
                  <a:gd name="T66" fmla="*/ 1 w 468"/>
                  <a:gd name="T67" fmla="*/ 257 h 467"/>
                  <a:gd name="T68" fmla="*/ 0 w 468"/>
                  <a:gd name="T69" fmla="*/ 233 h 467"/>
                  <a:gd name="T70" fmla="*/ 1 w 468"/>
                  <a:gd name="T71" fmla="*/ 209 h 467"/>
                  <a:gd name="T72" fmla="*/ 5 w 468"/>
                  <a:gd name="T73" fmla="*/ 186 h 467"/>
                  <a:gd name="T74" fmla="*/ 11 w 468"/>
                  <a:gd name="T75" fmla="*/ 164 h 467"/>
                  <a:gd name="T76" fmla="*/ 18 w 468"/>
                  <a:gd name="T77" fmla="*/ 143 h 467"/>
                  <a:gd name="T78" fmla="*/ 28 w 468"/>
                  <a:gd name="T79" fmla="*/ 122 h 467"/>
                  <a:gd name="T80" fmla="*/ 40 w 468"/>
                  <a:gd name="T81" fmla="*/ 103 h 467"/>
                  <a:gd name="T82" fmla="*/ 54 w 468"/>
                  <a:gd name="T83" fmla="*/ 85 h 467"/>
                  <a:gd name="T84" fmla="*/ 69 w 468"/>
                  <a:gd name="T85" fmla="*/ 69 h 467"/>
                  <a:gd name="T86" fmla="*/ 85 w 468"/>
                  <a:gd name="T87" fmla="*/ 53 h 467"/>
                  <a:gd name="T88" fmla="*/ 103 w 468"/>
                  <a:gd name="T89" fmla="*/ 40 h 467"/>
                  <a:gd name="T90" fmla="*/ 123 w 468"/>
                  <a:gd name="T91" fmla="*/ 28 h 467"/>
                  <a:gd name="T92" fmla="*/ 143 w 468"/>
                  <a:gd name="T93" fmla="*/ 18 h 467"/>
                  <a:gd name="T94" fmla="*/ 165 w 468"/>
                  <a:gd name="T95" fmla="*/ 11 h 467"/>
                  <a:gd name="T96" fmla="*/ 187 w 468"/>
                  <a:gd name="T97" fmla="*/ 5 h 467"/>
                  <a:gd name="T98" fmla="*/ 210 w 468"/>
                  <a:gd name="T99" fmla="*/ 1 h 467"/>
                  <a:gd name="T100" fmla="*/ 234 w 468"/>
                  <a:gd name="T101" fmla="*/ 0 h 467"/>
                  <a:gd name="T102" fmla="*/ 234 w 468"/>
                  <a:gd name="T103" fmla="*/ 233 h 467"/>
                  <a:gd name="T104" fmla="*/ 468 w 468"/>
                  <a:gd name="T105" fmla="*/ 232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8"/>
                  <a:gd name="T160" fmla="*/ 0 h 467"/>
                  <a:gd name="T161" fmla="*/ 468 w 468"/>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468" y="232"/>
                    </a:lnTo>
                    <a:close/>
                  </a:path>
                </a:pathLst>
              </a:custGeom>
              <a:solidFill>
                <a:srgbClr val="FFFFFF"/>
              </a:solidFill>
              <a:ln w="3175">
                <a:solidFill>
                  <a:schemeClr val="accent4"/>
                </a:solidFill>
                <a:round/>
                <a:headEnd/>
                <a:tailEnd/>
              </a:ln>
            </p:spPr>
            <p:txBody>
              <a:bodyPr/>
              <a:lstStyle/>
              <a:p>
                <a:endParaRPr lang="en-GB"/>
              </a:p>
            </p:txBody>
          </p:sp>
          <p:sp>
            <p:nvSpPr>
              <p:cNvPr id="794737" name="Freeform 193"/>
              <p:cNvSpPr>
                <a:spLocks noChangeAspect="1"/>
              </p:cNvSpPr>
              <p:nvPr/>
            </p:nvSpPr>
            <p:spPr bwMode="auto">
              <a:xfrm>
                <a:off x="1128" y="1968"/>
                <a:ext cx="468" cy="467"/>
              </a:xfrm>
              <a:custGeom>
                <a:avLst/>
                <a:gdLst>
                  <a:gd name="T0" fmla="*/ 468 w 468"/>
                  <a:gd name="T1" fmla="*/ 232 h 467"/>
                  <a:gd name="T2" fmla="*/ 468 w 468"/>
                  <a:gd name="T3" fmla="*/ 233 h 467"/>
                  <a:gd name="T4" fmla="*/ 468 w 468"/>
                  <a:gd name="T5" fmla="*/ 233 h 467"/>
                  <a:gd name="T6" fmla="*/ 467 w 468"/>
                  <a:gd name="T7" fmla="*/ 257 h 467"/>
                  <a:gd name="T8" fmla="*/ 463 w 468"/>
                  <a:gd name="T9" fmla="*/ 280 h 467"/>
                  <a:gd name="T10" fmla="*/ 457 w 468"/>
                  <a:gd name="T11" fmla="*/ 303 h 467"/>
                  <a:gd name="T12" fmla="*/ 450 w 468"/>
                  <a:gd name="T13" fmla="*/ 324 h 467"/>
                  <a:gd name="T14" fmla="*/ 440 w 468"/>
                  <a:gd name="T15" fmla="*/ 344 h 467"/>
                  <a:gd name="T16" fmla="*/ 428 w 468"/>
                  <a:gd name="T17" fmla="*/ 364 h 467"/>
                  <a:gd name="T18" fmla="*/ 415 w 468"/>
                  <a:gd name="T19" fmla="*/ 382 h 467"/>
                  <a:gd name="T20" fmla="*/ 399 w 468"/>
                  <a:gd name="T21" fmla="*/ 398 h 467"/>
                  <a:gd name="T22" fmla="*/ 383 w 468"/>
                  <a:gd name="T23" fmla="*/ 414 h 467"/>
                  <a:gd name="T24" fmla="*/ 365 w 468"/>
                  <a:gd name="T25" fmla="*/ 427 h 467"/>
                  <a:gd name="T26" fmla="*/ 345 w 468"/>
                  <a:gd name="T27" fmla="*/ 439 h 467"/>
                  <a:gd name="T28" fmla="*/ 325 w 468"/>
                  <a:gd name="T29" fmla="*/ 449 h 467"/>
                  <a:gd name="T30" fmla="*/ 304 w 468"/>
                  <a:gd name="T31" fmla="*/ 456 h 467"/>
                  <a:gd name="T32" fmla="*/ 281 w 468"/>
                  <a:gd name="T33" fmla="*/ 462 h 467"/>
                  <a:gd name="T34" fmla="*/ 258 w 468"/>
                  <a:gd name="T35" fmla="*/ 466 h 467"/>
                  <a:gd name="T36" fmla="*/ 234 w 468"/>
                  <a:gd name="T37" fmla="*/ 467 h 467"/>
                  <a:gd name="T38" fmla="*/ 210 w 468"/>
                  <a:gd name="T39" fmla="*/ 466 h 467"/>
                  <a:gd name="T40" fmla="*/ 187 w 468"/>
                  <a:gd name="T41" fmla="*/ 462 h 467"/>
                  <a:gd name="T42" fmla="*/ 165 w 468"/>
                  <a:gd name="T43" fmla="*/ 456 h 467"/>
                  <a:gd name="T44" fmla="*/ 143 w 468"/>
                  <a:gd name="T45" fmla="*/ 449 h 467"/>
                  <a:gd name="T46" fmla="*/ 123 w 468"/>
                  <a:gd name="T47" fmla="*/ 439 h 467"/>
                  <a:gd name="T48" fmla="*/ 103 w 468"/>
                  <a:gd name="T49" fmla="*/ 427 h 467"/>
                  <a:gd name="T50" fmla="*/ 85 w 468"/>
                  <a:gd name="T51" fmla="*/ 414 h 467"/>
                  <a:gd name="T52" fmla="*/ 69 w 468"/>
                  <a:gd name="T53" fmla="*/ 398 h 467"/>
                  <a:gd name="T54" fmla="*/ 54 w 468"/>
                  <a:gd name="T55" fmla="*/ 382 h 467"/>
                  <a:gd name="T56" fmla="*/ 40 w 468"/>
                  <a:gd name="T57" fmla="*/ 364 h 467"/>
                  <a:gd name="T58" fmla="*/ 28 w 468"/>
                  <a:gd name="T59" fmla="*/ 344 h 467"/>
                  <a:gd name="T60" fmla="*/ 18 w 468"/>
                  <a:gd name="T61" fmla="*/ 324 h 467"/>
                  <a:gd name="T62" fmla="*/ 11 w 468"/>
                  <a:gd name="T63" fmla="*/ 303 h 467"/>
                  <a:gd name="T64" fmla="*/ 5 w 468"/>
                  <a:gd name="T65" fmla="*/ 280 h 467"/>
                  <a:gd name="T66" fmla="*/ 1 w 468"/>
                  <a:gd name="T67" fmla="*/ 257 h 467"/>
                  <a:gd name="T68" fmla="*/ 0 w 468"/>
                  <a:gd name="T69" fmla="*/ 233 h 467"/>
                  <a:gd name="T70" fmla="*/ 1 w 468"/>
                  <a:gd name="T71" fmla="*/ 209 h 467"/>
                  <a:gd name="T72" fmla="*/ 5 w 468"/>
                  <a:gd name="T73" fmla="*/ 186 h 467"/>
                  <a:gd name="T74" fmla="*/ 11 w 468"/>
                  <a:gd name="T75" fmla="*/ 164 h 467"/>
                  <a:gd name="T76" fmla="*/ 18 w 468"/>
                  <a:gd name="T77" fmla="*/ 143 h 467"/>
                  <a:gd name="T78" fmla="*/ 28 w 468"/>
                  <a:gd name="T79" fmla="*/ 122 h 467"/>
                  <a:gd name="T80" fmla="*/ 40 w 468"/>
                  <a:gd name="T81" fmla="*/ 103 h 467"/>
                  <a:gd name="T82" fmla="*/ 54 w 468"/>
                  <a:gd name="T83" fmla="*/ 85 h 467"/>
                  <a:gd name="T84" fmla="*/ 69 w 468"/>
                  <a:gd name="T85" fmla="*/ 69 h 467"/>
                  <a:gd name="T86" fmla="*/ 85 w 468"/>
                  <a:gd name="T87" fmla="*/ 53 h 467"/>
                  <a:gd name="T88" fmla="*/ 103 w 468"/>
                  <a:gd name="T89" fmla="*/ 40 h 467"/>
                  <a:gd name="T90" fmla="*/ 123 w 468"/>
                  <a:gd name="T91" fmla="*/ 28 h 467"/>
                  <a:gd name="T92" fmla="*/ 143 w 468"/>
                  <a:gd name="T93" fmla="*/ 18 h 467"/>
                  <a:gd name="T94" fmla="*/ 165 w 468"/>
                  <a:gd name="T95" fmla="*/ 11 h 467"/>
                  <a:gd name="T96" fmla="*/ 187 w 468"/>
                  <a:gd name="T97" fmla="*/ 5 h 467"/>
                  <a:gd name="T98" fmla="*/ 210 w 468"/>
                  <a:gd name="T99" fmla="*/ 1 h 467"/>
                  <a:gd name="T100" fmla="*/ 234 w 468"/>
                  <a:gd name="T101" fmla="*/ 0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8"/>
                  <a:gd name="T154" fmla="*/ 0 h 467"/>
                  <a:gd name="T155" fmla="*/ 468 w 468"/>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4"/>
                </a:solidFill>
                <a:round/>
                <a:headEnd/>
                <a:tailEnd/>
              </a:ln>
            </p:spPr>
            <p:txBody>
              <a:bodyPr/>
              <a:lstStyle/>
              <a:p>
                <a:endParaRPr lang="en-GB"/>
              </a:p>
            </p:txBody>
          </p:sp>
        </p:grpSp>
      </p:grpSp>
      <p:sp>
        <p:nvSpPr>
          <p:cNvPr id="794679" name="Oval 194"/>
          <p:cNvSpPr>
            <a:spLocks noChangeAspect="1" noChangeArrowheads="1"/>
          </p:cNvSpPr>
          <p:nvPr/>
        </p:nvSpPr>
        <p:spPr bwMode="auto">
          <a:xfrm>
            <a:off x="2473325" y="3963988"/>
            <a:ext cx="77788" cy="77787"/>
          </a:xfrm>
          <a:prstGeom prst="ellipse">
            <a:avLst/>
          </a:prstGeom>
          <a:solidFill>
            <a:srgbClr val="FFFFFF"/>
          </a:solidFill>
          <a:ln w="3175">
            <a:solidFill>
              <a:schemeClr val="accent4"/>
            </a:solidFill>
            <a:round/>
            <a:headEnd/>
            <a:tailEnd/>
          </a:ln>
        </p:spPr>
        <p:txBody>
          <a:bodyPr wrap="none" lIns="0" tIns="0" rIns="0" bIns="0" anchor="ctr"/>
          <a:lstStyle/>
          <a:p>
            <a:pPr algn="ctr"/>
            <a:endParaRPr lang="en-GB"/>
          </a:p>
        </p:txBody>
      </p:sp>
      <p:sp>
        <p:nvSpPr>
          <p:cNvPr id="794680" name="Oval 195"/>
          <p:cNvSpPr>
            <a:spLocks noChangeAspect="1" noChangeArrowheads="1"/>
          </p:cNvSpPr>
          <p:nvPr/>
        </p:nvSpPr>
        <p:spPr bwMode="auto">
          <a:xfrm>
            <a:off x="4287838" y="3925888"/>
            <a:ext cx="153987" cy="153987"/>
          </a:xfrm>
          <a:prstGeom prst="ellipse">
            <a:avLst/>
          </a:prstGeom>
          <a:solidFill>
            <a:srgbClr val="FFFFFF"/>
          </a:solidFill>
          <a:ln w="3175">
            <a:solidFill>
              <a:schemeClr val="accent4"/>
            </a:solidFill>
            <a:round/>
            <a:headEnd/>
            <a:tailEnd/>
          </a:ln>
        </p:spPr>
        <p:txBody>
          <a:bodyPr wrap="none" lIns="0" tIns="0" rIns="0" bIns="0" anchor="ctr"/>
          <a:lstStyle/>
          <a:p>
            <a:pPr algn="ctr"/>
            <a:endParaRPr lang="en-GB"/>
          </a:p>
        </p:txBody>
      </p:sp>
      <p:sp>
        <p:nvSpPr>
          <p:cNvPr id="794681" name="Oval 196"/>
          <p:cNvSpPr>
            <a:spLocks noChangeAspect="1" noChangeArrowheads="1"/>
          </p:cNvSpPr>
          <p:nvPr/>
        </p:nvSpPr>
        <p:spPr bwMode="auto">
          <a:xfrm>
            <a:off x="6256338" y="3887788"/>
            <a:ext cx="230187" cy="231775"/>
          </a:xfrm>
          <a:prstGeom prst="ellipse">
            <a:avLst/>
          </a:prstGeom>
          <a:solidFill>
            <a:srgbClr val="FFFFFF"/>
          </a:solidFill>
          <a:ln w="3175">
            <a:solidFill>
              <a:schemeClr val="accent4"/>
            </a:solidFill>
            <a:round/>
            <a:headEnd/>
            <a:tailEnd/>
          </a:ln>
        </p:spPr>
        <p:txBody>
          <a:bodyPr wrap="none" lIns="0" tIns="0" rIns="0" bIns="0" anchor="ctr"/>
          <a:lstStyle/>
          <a:p>
            <a:pPr algn="ctr"/>
            <a:endParaRPr lang="en-GB"/>
          </a:p>
        </p:txBody>
      </p:sp>
      <p:sp>
        <p:nvSpPr>
          <p:cNvPr id="794682" name="Oval 197"/>
          <p:cNvSpPr>
            <a:spLocks noChangeAspect="1" noChangeArrowheads="1"/>
          </p:cNvSpPr>
          <p:nvPr/>
        </p:nvSpPr>
        <p:spPr bwMode="auto">
          <a:xfrm>
            <a:off x="7299325" y="3848100"/>
            <a:ext cx="307975" cy="307975"/>
          </a:xfrm>
          <a:prstGeom prst="ellipse">
            <a:avLst/>
          </a:prstGeom>
          <a:solidFill>
            <a:srgbClr val="FFFFFF"/>
          </a:solidFill>
          <a:ln w="3175">
            <a:solidFill>
              <a:schemeClr val="accent4"/>
            </a:solidFill>
            <a:round/>
            <a:headEnd/>
            <a:tailEnd/>
          </a:ln>
        </p:spPr>
        <p:txBody>
          <a:bodyPr wrap="none" lIns="0" tIns="0" rIns="0" bIns="0" anchor="ctr"/>
          <a:lstStyle/>
          <a:p>
            <a:pPr algn="ctr"/>
            <a:endParaRPr lang="en-GB"/>
          </a:p>
        </p:txBody>
      </p:sp>
      <p:sp>
        <p:nvSpPr>
          <p:cNvPr id="794683" name="Text Box 198"/>
          <p:cNvSpPr txBox="1">
            <a:spLocks noChangeArrowheads="1"/>
          </p:cNvSpPr>
          <p:nvPr/>
        </p:nvSpPr>
        <p:spPr bwMode="auto">
          <a:xfrm>
            <a:off x="1535113" y="3924300"/>
            <a:ext cx="98425" cy="215900"/>
          </a:xfrm>
          <a:prstGeom prst="rect">
            <a:avLst/>
          </a:prstGeom>
          <a:noFill/>
          <a:ln w="9525">
            <a:noFill/>
            <a:miter lim="800000"/>
            <a:headEnd/>
            <a:tailEnd/>
          </a:ln>
        </p:spPr>
        <p:txBody>
          <a:bodyPr wrap="none" lIns="0" tIns="0" rIns="0" bIns="0">
            <a:spAutoFit/>
          </a:bodyPr>
          <a:lstStyle/>
          <a:p>
            <a:pPr algn="ctr"/>
            <a:r>
              <a:rPr lang="en-GB" altLang="ja-JP" sz="1400">
                <a:solidFill>
                  <a:schemeClr val="tx2"/>
                </a:solidFill>
                <a:ea typeface="ＭＳ Ｐゴシック" charset="-128"/>
              </a:rPr>
              <a:t>0</a:t>
            </a:r>
          </a:p>
        </p:txBody>
      </p:sp>
      <p:sp>
        <p:nvSpPr>
          <p:cNvPr id="794684" name="Oval 199"/>
          <p:cNvSpPr>
            <a:spLocks noChangeAspect="1" noChangeArrowheads="1"/>
          </p:cNvSpPr>
          <p:nvPr/>
        </p:nvSpPr>
        <p:spPr bwMode="auto">
          <a:xfrm>
            <a:off x="3360738" y="3944938"/>
            <a:ext cx="115887" cy="115887"/>
          </a:xfrm>
          <a:prstGeom prst="ellipse">
            <a:avLst/>
          </a:prstGeom>
          <a:solidFill>
            <a:srgbClr val="FFFFFF"/>
          </a:solidFill>
          <a:ln w="3175">
            <a:solidFill>
              <a:schemeClr val="accent4"/>
            </a:solidFill>
            <a:round/>
            <a:headEnd/>
            <a:tailEnd/>
          </a:ln>
        </p:spPr>
        <p:txBody>
          <a:bodyPr wrap="none" lIns="0" tIns="0" rIns="0" bIns="0" anchor="ctr"/>
          <a:lstStyle/>
          <a:p>
            <a:pPr algn="ctr"/>
            <a:endParaRPr lang="en-GB"/>
          </a:p>
        </p:txBody>
      </p:sp>
      <p:sp>
        <p:nvSpPr>
          <p:cNvPr id="794685" name="Oval 200"/>
          <p:cNvSpPr>
            <a:spLocks noChangeAspect="1" noChangeArrowheads="1"/>
          </p:cNvSpPr>
          <p:nvPr/>
        </p:nvSpPr>
        <p:spPr bwMode="auto">
          <a:xfrm>
            <a:off x="5251450" y="3905250"/>
            <a:ext cx="193675" cy="193675"/>
          </a:xfrm>
          <a:prstGeom prst="ellipse">
            <a:avLst/>
          </a:prstGeom>
          <a:solidFill>
            <a:srgbClr val="FFFFFF"/>
          </a:solidFill>
          <a:ln w="3175">
            <a:solidFill>
              <a:schemeClr val="accent4"/>
            </a:solidFill>
            <a:round/>
            <a:headEnd/>
            <a:tailEnd/>
          </a:ln>
        </p:spPr>
        <p:txBody>
          <a:bodyPr wrap="none" lIns="0" tIns="0" rIns="0" bIns="0" anchor="ctr"/>
          <a:lstStyle/>
          <a:p>
            <a:pPr algn="ctr"/>
            <a:endParaRPr lang="en-GB"/>
          </a:p>
        </p:txBody>
      </p:sp>
      <p:sp>
        <p:nvSpPr>
          <p:cNvPr id="794686" name="Oval 201"/>
          <p:cNvSpPr>
            <a:spLocks noChangeAspect="1" noChangeArrowheads="1"/>
          </p:cNvSpPr>
          <p:nvPr/>
        </p:nvSpPr>
        <p:spPr bwMode="auto">
          <a:xfrm>
            <a:off x="2473325" y="5781675"/>
            <a:ext cx="77788" cy="77788"/>
          </a:xfrm>
          <a:prstGeom prst="ellipse">
            <a:avLst/>
          </a:prstGeom>
          <a:solidFill>
            <a:schemeClr val="accent4"/>
          </a:solidFill>
          <a:ln w="3175">
            <a:solidFill>
              <a:schemeClr val="accent4"/>
            </a:solidFill>
            <a:round/>
            <a:headEnd/>
            <a:tailEnd/>
          </a:ln>
        </p:spPr>
        <p:txBody>
          <a:bodyPr wrap="none" lIns="0" tIns="0" rIns="0" bIns="0" anchor="ctr"/>
          <a:lstStyle/>
          <a:p>
            <a:pPr algn="ctr"/>
            <a:endParaRPr lang="en-GB"/>
          </a:p>
        </p:txBody>
      </p:sp>
      <p:sp>
        <p:nvSpPr>
          <p:cNvPr id="794687" name="Oval 202"/>
          <p:cNvSpPr>
            <a:spLocks noChangeAspect="1" noChangeArrowheads="1"/>
          </p:cNvSpPr>
          <p:nvPr/>
        </p:nvSpPr>
        <p:spPr bwMode="auto">
          <a:xfrm>
            <a:off x="4287838" y="5743575"/>
            <a:ext cx="153987" cy="153988"/>
          </a:xfrm>
          <a:prstGeom prst="ellipse">
            <a:avLst/>
          </a:prstGeom>
          <a:solidFill>
            <a:schemeClr val="accent4"/>
          </a:solidFill>
          <a:ln w="3175">
            <a:solidFill>
              <a:schemeClr val="accent4"/>
            </a:solidFill>
            <a:round/>
            <a:headEnd/>
            <a:tailEnd/>
          </a:ln>
        </p:spPr>
        <p:txBody>
          <a:bodyPr wrap="none" lIns="0" tIns="0" rIns="0" bIns="0" anchor="ctr"/>
          <a:lstStyle/>
          <a:p>
            <a:pPr algn="ctr"/>
            <a:endParaRPr lang="en-GB"/>
          </a:p>
        </p:txBody>
      </p:sp>
      <p:sp>
        <p:nvSpPr>
          <p:cNvPr id="794688" name="Oval 203"/>
          <p:cNvSpPr>
            <a:spLocks noChangeAspect="1" noChangeArrowheads="1"/>
          </p:cNvSpPr>
          <p:nvPr/>
        </p:nvSpPr>
        <p:spPr bwMode="auto">
          <a:xfrm>
            <a:off x="6256338" y="5705475"/>
            <a:ext cx="230187" cy="231775"/>
          </a:xfrm>
          <a:prstGeom prst="ellipse">
            <a:avLst/>
          </a:prstGeom>
          <a:solidFill>
            <a:schemeClr val="accent4"/>
          </a:solidFill>
          <a:ln w="3175">
            <a:solidFill>
              <a:schemeClr val="accent4"/>
            </a:solidFill>
            <a:round/>
            <a:headEnd/>
            <a:tailEnd/>
          </a:ln>
        </p:spPr>
        <p:txBody>
          <a:bodyPr wrap="none" lIns="0" tIns="0" rIns="0" bIns="0" anchor="ctr"/>
          <a:lstStyle/>
          <a:p>
            <a:pPr algn="ctr"/>
            <a:endParaRPr lang="en-GB"/>
          </a:p>
        </p:txBody>
      </p:sp>
      <p:sp>
        <p:nvSpPr>
          <p:cNvPr id="794689" name="Oval 204"/>
          <p:cNvSpPr>
            <a:spLocks noChangeAspect="1" noChangeArrowheads="1"/>
          </p:cNvSpPr>
          <p:nvPr/>
        </p:nvSpPr>
        <p:spPr bwMode="auto">
          <a:xfrm>
            <a:off x="7299325" y="5665788"/>
            <a:ext cx="307975" cy="307975"/>
          </a:xfrm>
          <a:prstGeom prst="ellipse">
            <a:avLst/>
          </a:prstGeom>
          <a:solidFill>
            <a:schemeClr val="accent4"/>
          </a:solidFill>
          <a:ln w="3175" algn="ctr">
            <a:solidFill>
              <a:schemeClr val="accent4"/>
            </a:solidFill>
            <a:round/>
            <a:headEnd/>
            <a:tailEnd/>
          </a:ln>
        </p:spPr>
        <p:txBody>
          <a:bodyPr wrap="none" lIns="0" tIns="0" rIns="0" bIns="0" anchor="ctr"/>
          <a:lstStyle/>
          <a:p>
            <a:pPr algn="ctr"/>
            <a:endParaRPr lang="en-GB"/>
          </a:p>
        </p:txBody>
      </p:sp>
      <p:sp>
        <p:nvSpPr>
          <p:cNvPr id="794690" name="Text Box 205"/>
          <p:cNvSpPr txBox="1">
            <a:spLocks noChangeArrowheads="1"/>
          </p:cNvSpPr>
          <p:nvPr/>
        </p:nvSpPr>
        <p:spPr bwMode="auto">
          <a:xfrm>
            <a:off x="1535113" y="5741988"/>
            <a:ext cx="98425" cy="215900"/>
          </a:xfrm>
          <a:prstGeom prst="rect">
            <a:avLst/>
          </a:prstGeom>
          <a:noFill/>
          <a:ln w="9525">
            <a:noFill/>
            <a:miter lim="800000"/>
            <a:headEnd/>
            <a:tailEnd/>
          </a:ln>
        </p:spPr>
        <p:txBody>
          <a:bodyPr wrap="none" lIns="0" tIns="0" rIns="0" bIns="0">
            <a:spAutoFit/>
          </a:bodyPr>
          <a:lstStyle/>
          <a:p>
            <a:pPr algn="ctr"/>
            <a:r>
              <a:rPr lang="en-GB" altLang="ja-JP" sz="1400">
                <a:solidFill>
                  <a:schemeClr val="tx2"/>
                </a:solidFill>
                <a:ea typeface="ＭＳ Ｐゴシック" charset="-128"/>
              </a:rPr>
              <a:t>1</a:t>
            </a:r>
          </a:p>
        </p:txBody>
      </p:sp>
      <p:sp>
        <p:nvSpPr>
          <p:cNvPr id="794691" name="Oval 206"/>
          <p:cNvSpPr>
            <a:spLocks noChangeAspect="1" noChangeArrowheads="1"/>
          </p:cNvSpPr>
          <p:nvPr/>
        </p:nvSpPr>
        <p:spPr bwMode="auto">
          <a:xfrm>
            <a:off x="3360738" y="5762625"/>
            <a:ext cx="115887" cy="115888"/>
          </a:xfrm>
          <a:prstGeom prst="ellipse">
            <a:avLst/>
          </a:prstGeom>
          <a:solidFill>
            <a:schemeClr val="accent4"/>
          </a:solidFill>
          <a:ln w="3175">
            <a:solidFill>
              <a:schemeClr val="accent4"/>
            </a:solidFill>
            <a:round/>
            <a:headEnd/>
            <a:tailEnd/>
          </a:ln>
        </p:spPr>
        <p:txBody>
          <a:bodyPr wrap="none" lIns="0" tIns="0" rIns="0" bIns="0" anchor="ctr"/>
          <a:lstStyle/>
          <a:p>
            <a:pPr algn="ctr"/>
            <a:endParaRPr lang="en-GB"/>
          </a:p>
        </p:txBody>
      </p:sp>
      <p:sp>
        <p:nvSpPr>
          <p:cNvPr id="794692" name="Oval 207"/>
          <p:cNvSpPr>
            <a:spLocks noChangeAspect="1" noChangeArrowheads="1"/>
          </p:cNvSpPr>
          <p:nvPr/>
        </p:nvSpPr>
        <p:spPr bwMode="auto">
          <a:xfrm>
            <a:off x="5251450" y="5722938"/>
            <a:ext cx="193675" cy="193675"/>
          </a:xfrm>
          <a:prstGeom prst="ellipse">
            <a:avLst/>
          </a:prstGeom>
          <a:solidFill>
            <a:schemeClr val="accent4"/>
          </a:solidFill>
          <a:ln w="3175">
            <a:solidFill>
              <a:schemeClr val="accent4"/>
            </a:solidFill>
            <a:round/>
            <a:headEnd/>
            <a:tailEnd/>
          </a:ln>
        </p:spPr>
        <p:txBody>
          <a:bodyPr wrap="none" lIns="0" tIns="0" rIns="0" bIns="0" anchor="ctr"/>
          <a:lstStyle/>
          <a:p>
            <a:pPr algn="ctr"/>
            <a:endParaRPr lang="en-GB"/>
          </a:p>
        </p:txBody>
      </p:sp>
      <p:grpSp>
        <p:nvGrpSpPr>
          <p:cNvPr id="201" name="Group 208"/>
          <p:cNvGrpSpPr>
            <a:grpSpLocks noChangeAspect="1"/>
          </p:cNvGrpSpPr>
          <p:nvPr/>
        </p:nvGrpSpPr>
        <p:grpSpPr bwMode="auto">
          <a:xfrm>
            <a:off x="2518997" y="2116141"/>
            <a:ext cx="38100" cy="39687"/>
            <a:chOff x="1362" y="1968"/>
            <a:chExt cx="234" cy="234"/>
          </a:xfrm>
          <a:solidFill>
            <a:schemeClr val="accent3"/>
          </a:solidFill>
        </p:grpSpPr>
        <p:sp>
          <p:nvSpPr>
            <p:cNvPr id="210" name="Freeform 209"/>
            <p:cNvSpPr>
              <a:spLocks noChangeAspect="1"/>
            </p:cNvSpPr>
            <p:nvPr/>
          </p:nvSpPr>
          <p:spPr bwMode="auto">
            <a:xfrm>
              <a:off x="1362" y="1968"/>
              <a:ext cx="234" cy="234"/>
            </a:xfrm>
            <a:custGeom>
              <a:avLst/>
              <a:gdLst>
                <a:gd name="T0" fmla="*/ 0 w 234"/>
                <a:gd name="T1" fmla="*/ 0 h 234"/>
                <a:gd name="T2" fmla="*/ 24 w 234"/>
                <a:gd name="T3" fmla="*/ 1 h 234"/>
                <a:gd name="T4" fmla="*/ 47 w 234"/>
                <a:gd name="T5" fmla="*/ 5 h 234"/>
                <a:gd name="T6" fmla="*/ 69 w 234"/>
                <a:gd name="T7" fmla="*/ 10 h 234"/>
                <a:gd name="T8" fmla="*/ 91 w 234"/>
                <a:gd name="T9" fmla="*/ 18 h 234"/>
                <a:gd name="T10" fmla="*/ 111 w 234"/>
                <a:gd name="T11" fmla="*/ 28 h 234"/>
                <a:gd name="T12" fmla="*/ 130 w 234"/>
                <a:gd name="T13" fmla="*/ 40 h 234"/>
                <a:gd name="T14" fmla="*/ 148 w 234"/>
                <a:gd name="T15" fmla="*/ 53 h 234"/>
                <a:gd name="T16" fmla="*/ 165 w 234"/>
                <a:gd name="T17" fmla="*/ 68 h 234"/>
                <a:gd name="T18" fmla="*/ 180 w 234"/>
                <a:gd name="T19" fmla="*/ 85 h 234"/>
                <a:gd name="T20" fmla="*/ 194 w 234"/>
                <a:gd name="T21" fmla="*/ 103 h 234"/>
                <a:gd name="T22" fmla="*/ 205 w 234"/>
                <a:gd name="T23" fmla="*/ 122 h 234"/>
                <a:gd name="T24" fmla="*/ 215 w 234"/>
                <a:gd name="T25" fmla="*/ 142 h 234"/>
                <a:gd name="T26" fmla="*/ 223 w 234"/>
                <a:gd name="T27" fmla="*/ 164 h 234"/>
                <a:gd name="T28" fmla="*/ 229 w 234"/>
                <a:gd name="T29" fmla="*/ 186 h 234"/>
                <a:gd name="T30" fmla="*/ 233 w 234"/>
                <a:gd name="T31" fmla="*/ 209 h 234"/>
                <a:gd name="T32" fmla="*/ 234 w 234"/>
                <a:gd name="T33" fmla="*/ 233 h 234"/>
                <a:gd name="T34" fmla="*/ 0 w 234"/>
                <a:gd name="T35" fmla="*/ 234 h 234"/>
                <a:gd name="T36" fmla="*/ 0 w 234"/>
                <a:gd name="T37" fmla="*/ 0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4"/>
                <a:gd name="T58" fmla="*/ 0 h 234"/>
                <a:gd name="T59" fmla="*/ 234 w 234"/>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4" h="234">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lnTo>
                    <a:pt x="0" y="234"/>
                  </a:lnTo>
                  <a:lnTo>
                    <a:pt x="0" y="0"/>
                  </a:lnTo>
                  <a:close/>
                </a:path>
              </a:pathLst>
            </a:custGeom>
            <a:grpFill/>
            <a:ln w="3175">
              <a:solidFill>
                <a:schemeClr val="accent3"/>
              </a:solidFill>
              <a:round/>
              <a:headEnd/>
              <a:tailEnd/>
            </a:ln>
          </p:spPr>
          <p:txBody>
            <a:bodyPr/>
            <a:lstStyle/>
            <a:p>
              <a:pPr>
                <a:defRPr/>
              </a:pPr>
              <a:endParaRPr lang="en-GB"/>
            </a:p>
          </p:txBody>
        </p:sp>
        <p:sp>
          <p:nvSpPr>
            <p:cNvPr id="211" name="Freeform 210"/>
            <p:cNvSpPr>
              <a:spLocks noChangeAspect="1"/>
            </p:cNvSpPr>
            <p:nvPr/>
          </p:nvSpPr>
          <p:spPr bwMode="auto">
            <a:xfrm>
              <a:off x="1362" y="1968"/>
              <a:ext cx="234" cy="233"/>
            </a:xfrm>
            <a:custGeom>
              <a:avLst/>
              <a:gdLst>
                <a:gd name="T0" fmla="*/ 0 w 234"/>
                <a:gd name="T1" fmla="*/ 0 h 233"/>
                <a:gd name="T2" fmla="*/ 24 w 234"/>
                <a:gd name="T3" fmla="*/ 1 h 233"/>
                <a:gd name="T4" fmla="*/ 47 w 234"/>
                <a:gd name="T5" fmla="*/ 5 h 233"/>
                <a:gd name="T6" fmla="*/ 69 w 234"/>
                <a:gd name="T7" fmla="*/ 10 h 233"/>
                <a:gd name="T8" fmla="*/ 91 w 234"/>
                <a:gd name="T9" fmla="*/ 18 h 233"/>
                <a:gd name="T10" fmla="*/ 111 w 234"/>
                <a:gd name="T11" fmla="*/ 28 h 233"/>
                <a:gd name="T12" fmla="*/ 130 w 234"/>
                <a:gd name="T13" fmla="*/ 40 h 233"/>
                <a:gd name="T14" fmla="*/ 148 w 234"/>
                <a:gd name="T15" fmla="*/ 53 h 233"/>
                <a:gd name="T16" fmla="*/ 165 w 234"/>
                <a:gd name="T17" fmla="*/ 68 h 233"/>
                <a:gd name="T18" fmla="*/ 180 w 234"/>
                <a:gd name="T19" fmla="*/ 85 h 233"/>
                <a:gd name="T20" fmla="*/ 194 w 234"/>
                <a:gd name="T21" fmla="*/ 103 h 233"/>
                <a:gd name="T22" fmla="*/ 205 w 234"/>
                <a:gd name="T23" fmla="*/ 122 h 233"/>
                <a:gd name="T24" fmla="*/ 215 w 234"/>
                <a:gd name="T25" fmla="*/ 142 h 233"/>
                <a:gd name="T26" fmla="*/ 223 w 234"/>
                <a:gd name="T27" fmla="*/ 164 h 233"/>
                <a:gd name="T28" fmla="*/ 229 w 234"/>
                <a:gd name="T29" fmla="*/ 186 h 233"/>
                <a:gd name="T30" fmla="*/ 233 w 234"/>
                <a:gd name="T31" fmla="*/ 209 h 233"/>
                <a:gd name="T32" fmla="*/ 234 w 234"/>
                <a:gd name="T33" fmla="*/ 233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4"/>
                <a:gd name="T52" fmla="*/ 0 h 233"/>
                <a:gd name="T53" fmla="*/ 234 w 23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4" h="233">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path>
              </a:pathLst>
            </a:custGeom>
            <a:grpFill/>
            <a:ln w="3175">
              <a:solidFill>
                <a:schemeClr val="accent3"/>
              </a:solidFill>
              <a:round/>
              <a:headEnd/>
              <a:tailEnd/>
            </a:ln>
          </p:spPr>
          <p:txBody>
            <a:bodyPr/>
            <a:lstStyle/>
            <a:p>
              <a:pPr>
                <a:defRPr/>
              </a:pPr>
              <a:endParaRPr lang="en-GB"/>
            </a:p>
          </p:txBody>
        </p:sp>
      </p:grpSp>
      <p:grpSp>
        <p:nvGrpSpPr>
          <p:cNvPr id="202" name="Group 211"/>
          <p:cNvGrpSpPr>
            <a:grpSpLocks noChangeAspect="1"/>
          </p:cNvGrpSpPr>
          <p:nvPr/>
        </p:nvGrpSpPr>
        <p:grpSpPr bwMode="auto">
          <a:xfrm>
            <a:off x="2479675" y="2116138"/>
            <a:ext cx="77788" cy="77787"/>
            <a:chOff x="1128" y="1968"/>
            <a:chExt cx="468" cy="467"/>
          </a:xfrm>
        </p:grpSpPr>
        <p:sp>
          <p:nvSpPr>
            <p:cNvPr id="213" name="Freeform 212"/>
            <p:cNvSpPr>
              <a:spLocks noChangeAspect="1"/>
            </p:cNvSpPr>
            <p:nvPr/>
          </p:nvSpPr>
          <p:spPr bwMode="auto">
            <a:xfrm>
              <a:off x="1128" y="1968"/>
              <a:ext cx="468" cy="467"/>
            </a:xfrm>
            <a:custGeom>
              <a:avLst/>
              <a:gdLst>
                <a:gd name="T0" fmla="*/ 468 w 468"/>
                <a:gd name="T1" fmla="*/ 232 h 467"/>
                <a:gd name="T2" fmla="*/ 468 w 468"/>
                <a:gd name="T3" fmla="*/ 233 h 467"/>
                <a:gd name="T4" fmla="*/ 468 w 468"/>
                <a:gd name="T5" fmla="*/ 233 h 467"/>
                <a:gd name="T6" fmla="*/ 467 w 468"/>
                <a:gd name="T7" fmla="*/ 257 h 467"/>
                <a:gd name="T8" fmla="*/ 463 w 468"/>
                <a:gd name="T9" fmla="*/ 280 h 467"/>
                <a:gd name="T10" fmla="*/ 457 w 468"/>
                <a:gd name="T11" fmla="*/ 303 h 467"/>
                <a:gd name="T12" fmla="*/ 450 w 468"/>
                <a:gd name="T13" fmla="*/ 324 h 467"/>
                <a:gd name="T14" fmla="*/ 440 w 468"/>
                <a:gd name="T15" fmla="*/ 344 h 467"/>
                <a:gd name="T16" fmla="*/ 428 w 468"/>
                <a:gd name="T17" fmla="*/ 364 h 467"/>
                <a:gd name="T18" fmla="*/ 415 w 468"/>
                <a:gd name="T19" fmla="*/ 382 h 467"/>
                <a:gd name="T20" fmla="*/ 399 w 468"/>
                <a:gd name="T21" fmla="*/ 398 h 467"/>
                <a:gd name="T22" fmla="*/ 383 w 468"/>
                <a:gd name="T23" fmla="*/ 414 h 467"/>
                <a:gd name="T24" fmla="*/ 365 w 468"/>
                <a:gd name="T25" fmla="*/ 427 h 467"/>
                <a:gd name="T26" fmla="*/ 345 w 468"/>
                <a:gd name="T27" fmla="*/ 439 h 467"/>
                <a:gd name="T28" fmla="*/ 325 w 468"/>
                <a:gd name="T29" fmla="*/ 449 h 467"/>
                <a:gd name="T30" fmla="*/ 304 w 468"/>
                <a:gd name="T31" fmla="*/ 456 h 467"/>
                <a:gd name="T32" fmla="*/ 281 w 468"/>
                <a:gd name="T33" fmla="*/ 462 h 467"/>
                <a:gd name="T34" fmla="*/ 258 w 468"/>
                <a:gd name="T35" fmla="*/ 466 h 467"/>
                <a:gd name="T36" fmla="*/ 234 w 468"/>
                <a:gd name="T37" fmla="*/ 467 h 467"/>
                <a:gd name="T38" fmla="*/ 210 w 468"/>
                <a:gd name="T39" fmla="*/ 466 h 467"/>
                <a:gd name="T40" fmla="*/ 187 w 468"/>
                <a:gd name="T41" fmla="*/ 462 h 467"/>
                <a:gd name="T42" fmla="*/ 165 w 468"/>
                <a:gd name="T43" fmla="*/ 456 h 467"/>
                <a:gd name="T44" fmla="*/ 143 w 468"/>
                <a:gd name="T45" fmla="*/ 449 h 467"/>
                <a:gd name="T46" fmla="*/ 123 w 468"/>
                <a:gd name="T47" fmla="*/ 439 h 467"/>
                <a:gd name="T48" fmla="*/ 103 w 468"/>
                <a:gd name="T49" fmla="*/ 427 h 467"/>
                <a:gd name="T50" fmla="*/ 85 w 468"/>
                <a:gd name="T51" fmla="*/ 414 h 467"/>
                <a:gd name="T52" fmla="*/ 69 w 468"/>
                <a:gd name="T53" fmla="*/ 398 h 467"/>
                <a:gd name="T54" fmla="*/ 54 w 468"/>
                <a:gd name="T55" fmla="*/ 382 h 467"/>
                <a:gd name="T56" fmla="*/ 40 w 468"/>
                <a:gd name="T57" fmla="*/ 364 h 467"/>
                <a:gd name="T58" fmla="*/ 28 w 468"/>
                <a:gd name="T59" fmla="*/ 344 h 467"/>
                <a:gd name="T60" fmla="*/ 18 w 468"/>
                <a:gd name="T61" fmla="*/ 324 h 467"/>
                <a:gd name="T62" fmla="*/ 11 w 468"/>
                <a:gd name="T63" fmla="*/ 303 h 467"/>
                <a:gd name="T64" fmla="*/ 5 w 468"/>
                <a:gd name="T65" fmla="*/ 280 h 467"/>
                <a:gd name="T66" fmla="*/ 1 w 468"/>
                <a:gd name="T67" fmla="*/ 257 h 467"/>
                <a:gd name="T68" fmla="*/ 0 w 468"/>
                <a:gd name="T69" fmla="*/ 233 h 467"/>
                <a:gd name="T70" fmla="*/ 1 w 468"/>
                <a:gd name="T71" fmla="*/ 209 h 467"/>
                <a:gd name="T72" fmla="*/ 5 w 468"/>
                <a:gd name="T73" fmla="*/ 186 h 467"/>
                <a:gd name="T74" fmla="*/ 11 w 468"/>
                <a:gd name="T75" fmla="*/ 164 h 467"/>
                <a:gd name="T76" fmla="*/ 18 w 468"/>
                <a:gd name="T77" fmla="*/ 143 h 467"/>
                <a:gd name="T78" fmla="*/ 28 w 468"/>
                <a:gd name="T79" fmla="*/ 122 h 467"/>
                <a:gd name="T80" fmla="*/ 40 w 468"/>
                <a:gd name="T81" fmla="*/ 103 h 467"/>
                <a:gd name="T82" fmla="*/ 54 w 468"/>
                <a:gd name="T83" fmla="*/ 85 h 467"/>
                <a:gd name="T84" fmla="*/ 69 w 468"/>
                <a:gd name="T85" fmla="*/ 69 h 467"/>
                <a:gd name="T86" fmla="*/ 85 w 468"/>
                <a:gd name="T87" fmla="*/ 53 h 467"/>
                <a:gd name="T88" fmla="*/ 103 w 468"/>
                <a:gd name="T89" fmla="*/ 40 h 467"/>
                <a:gd name="T90" fmla="*/ 123 w 468"/>
                <a:gd name="T91" fmla="*/ 28 h 467"/>
                <a:gd name="T92" fmla="*/ 143 w 468"/>
                <a:gd name="T93" fmla="*/ 18 h 467"/>
                <a:gd name="T94" fmla="*/ 165 w 468"/>
                <a:gd name="T95" fmla="*/ 11 h 467"/>
                <a:gd name="T96" fmla="*/ 187 w 468"/>
                <a:gd name="T97" fmla="*/ 5 h 467"/>
                <a:gd name="T98" fmla="*/ 210 w 468"/>
                <a:gd name="T99" fmla="*/ 1 h 467"/>
                <a:gd name="T100" fmla="*/ 234 w 468"/>
                <a:gd name="T101" fmla="*/ 0 h 467"/>
                <a:gd name="T102" fmla="*/ 234 w 468"/>
                <a:gd name="T103" fmla="*/ 233 h 467"/>
                <a:gd name="T104" fmla="*/ 468 w 468"/>
                <a:gd name="T105" fmla="*/ 232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8"/>
                <a:gd name="T160" fmla="*/ 0 h 467"/>
                <a:gd name="T161" fmla="*/ 468 w 468"/>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468" y="232"/>
                  </a:lnTo>
                  <a:close/>
                </a:path>
              </a:pathLst>
            </a:custGeom>
            <a:solidFill>
              <a:srgbClr val="FFFFFF"/>
            </a:solidFill>
            <a:ln w="3175">
              <a:solidFill>
                <a:schemeClr val="accent3"/>
              </a:solidFill>
              <a:round/>
              <a:headEnd/>
              <a:tailEnd/>
            </a:ln>
          </p:spPr>
          <p:txBody>
            <a:bodyPr/>
            <a:lstStyle/>
            <a:p>
              <a:pPr>
                <a:defRPr/>
              </a:pPr>
              <a:endParaRPr lang="en-GB"/>
            </a:p>
          </p:txBody>
        </p:sp>
        <p:sp>
          <p:nvSpPr>
            <p:cNvPr id="214" name="Freeform 213"/>
            <p:cNvSpPr>
              <a:spLocks noChangeAspect="1"/>
            </p:cNvSpPr>
            <p:nvPr/>
          </p:nvSpPr>
          <p:spPr bwMode="auto">
            <a:xfrm>
              <a:off x="1128" y="1968"/>
              <a:ext cx="468" cy="467"/>
            </a:xfrm>
            <a:custGeom>
              <a:avLst/>
              <a:gdLst>
                <a:gd name="T0" fmla="*/ 468 w 468"/>
                <a:gd name="T1" fmla="*/ 232 h 467"/>
                <a:gd name="T2" fmla="*/ 468 w 468"/>
                <a:gd name="T3" fmla="*/ 233 h 467"/>
                <a:gd name="T4" fmla="*/ 468 w 468"/>
                <a:gd name="T5" fmla="*/ 233 h 467"/>
                <a:gd name="T6" fmla="*/ 467 w 468"/>
                <a:gd name="T7" fmla="*/ 257 h 467"/>
                <a:gd name="T8" fmla="*/ 463 w 468"/>
                <a:gd name="T9" fmla="*/ 280 h 467"/>
                <a:gd name="T10" fmla="*/ 457 w 468"/>
                <a:gd name="T11" fmla="*/ 303 h 467"/>
                <a:gd name="T12" fmla="*/ 450 w 468"/>
                <a:gd name="T13" fmla="*/ 324 h 467"/>
                <a:gd name="T14" fmla="*/ 440 w 468"/>
                <a:gd name="T15" fmla="*/ 344 h 467"/>
                <a:gd name="T16" fmla="*/ 428 w 468"/>
                <a:gd name="T17" fmla="*/ 364 h 467"/>
                <a:gd name="T18" fmla="*/ 415 w 468"/>
                <a:gd name="T19" fmla="*/ 382 h 467"/>
                <a:gd name="T20" fmla="*/ 399 w 468"/>
                <a:gd name="T21" fmla="*/ 398 h 467"/>
                <a:gd name="T22" fmla="*/ 383 w 468"/>
                <a:gd name="T23" fmla="*/ 414 h 467"/>
                <a:gd name="T24" fmla="*/ 365 w 468"/>
                <a:gd name="T25" fmla="*/ 427 h 467"/>
                <a:gd name="T26" fmla="*/ 345 w 468"/>
                <a:gd name="T27" fmla="*/ 439 h 467"/>
                <a:gd name="T28" fmla="*/ 325 w 468"/>
                <a:gd name="T29" fmla="*/ 449 h 467"/>
                <a:gd name="T30" fmla="*/ 304 w 468"/>
                <a:gd name="T31" fmla="*/ 456 h 467"/>
                <a:gd name="T32" fmla="*/ 281 w 468"/>
                <a:gd name="T33" fmla="*/ 462 h 467"/>
                <a:gd name="T34" fmla="*/ 258 w 468"/>
                <a:gd name="T35" fmla="*/ 466 h 467"/>
                <a:gd name="T36" fmla="*/ 234 w 468"/>
                <a:gd name="T37" fmla="*/ 467 h 467"/>
                <a:gd name="T38" fmla="*/ 210 w 468"/>
                <a:gd name="T39" fmla="*/ 466 h 467"/>
                <a:gd name="T40" fmla="*/ 187 w 468"/>
                <a:gd name="T41" fmla="*/ 462 h 467"/>
                <a:gd name="T42" fmla="*/ 165 w 468"/>
                <a:gd name="T43" fmla="*/ 456 h 467"/>
                <a:gd name="T44" fmla="*/ 143 w 468"/>
                <a:gd name="T45" fmla="*/ 449 h 467"/>
                <a:gd name="T46" fmla="*/ 123 w 468"/>
                <a:gd name="T47" fmla="*/ 439 h 467"/>
                <a:gd name="T48" fmla="*/ 103 w 468"/>
                <a:gd name="T49" fmla="*/ 427 h 467"/>
                <a:gd name="T50" fmla="*/ 85 w 468"/>
                <a:gd name="T51" fmla="*/ 414 h 467"/>
                <a:gd name="T52" fmla="*/ 69 w 468"/>
                <a:gd name="T53" fmla="*/ 398 h 467"/>
                <a:gd name="T54" fmla="*/ 54 w 468"/>
                <a:gd name="T55" fmla="*/ 382 h 467"/>
                <a:gd name="T56" fmla="*/ 40 w 468"/>
                <a:gd name="T57" fmla="*/ 364 h 467"/>
                <a:gd name="T58" fmla="*/ 28 w 468"/>
                <a:gd name="T59" fmla="*/ 344 h 467"/>
                <a:gd name="T60" fmla="*/ 18 w 468"/>
                <a:gd name="T61" fmla="*/ 324 h 467"/>
                <a:gd name="T62" fmla="*/ 11 w 468"/>
                <a:gd name="T63" fmla="*/ 303 h 467"/>
                <a:gd name="T64" fmla="*/ 5 w 468"/>
                <a:gd name="T65" fmla="*/ 280 h 467"/>
                <a:gd name="T66" fmla="*/ 1 w 468"/>
                <a:gd name="T67" fmla="*/ 257 h 467"/>
                <a:gd name="T68" fmla="*/ 0 w 468"/>
                <a:gd name="T69" fmla="*/ 233 h 467"/>
                <a:gd name="T70" fmla="*/ 1 w 468"/>
                <a:gd name="T71" fmla="*/ 209 h 467"/>
                <a:gd name="T72" fmla="*/ 5 w 468"/>
                <a:gd name="T73" fmla="*/ 186 h 467"/>
                <a:gd name="T74" fmla="*/ 11 w 468"/>
                <a:gd name="T75" fmla="*/ 164 h 467"/>
                <a:gd name="T76" fmla="*/ 18 w 468"/>
                <a:gd name="T77" fmla="*/ 143 h 467"/>
                <a:gd name="T78" fmla="*/ 28 w 468"/>
                <a:gd name="T79" fmla="*/ 122 h 467"/>
                <a:gd name="T80" fmla="*/ 40 w 468"/>
                <a:gd name="T81" fmla="*/ 103 h 467"/>
                <a:gd name="T82" fmla="*/ 54 w 468"/>
                <a:gd name="T83" fmla="*/ 85 h 467"/>
                <a:gd name="T84" fmla="*/ 69 w 468"/>
                <a:gd name="T85" fmla="*/ 69 h 467"/>
                <a:gd name="T86" fmla="*/ 85 w 468"/>
                <a:gd name="T87" fmla="*/ 53 h 467"/>
                <a:gd name="T88" fmla="*/ 103 w 468"/>
                <a:gd name="T89" fmla="*/ 40 h 467"/>
                <a:gd name="T90" fmla="*/ 123 w 468"/>
                <a:gd name="T91" fmla="*/ 28 h 467"/>
                <a:gd name="T92" fmla="*/ 143 w 468"/>
                <a:gd name="T93" fmla="*/ 18 h 467"/>
                <a:gd name="T94" fmla="*/ 165 w 468"/>
                <a:gd name="T95" fmla="*/ 11 h 467"/>
                <a:gd name="T96" fmla="*/ 187 w 468"/>
                <a:gd name="T97" fmla="*/ 5 h 467"/>
                <a:gd name="T98" fmla="*/ 210 w 468"/>
                <a:gd name="T99" fmla="*/ 1 h 467"/>
                <a:gd name="T100" fmla="*/ 234 w 468"/>
                <a:gd name="T101" fmla="*/ 0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8"/>
                <a:gd name="T154" fmla="*/ 0 h 467"/>
                <a:gd name="T155" fmla="*/ 468 w 468"/>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3"/>
              </a:solidFill>
              <a:round/>
              <a:headEnd/>
              <a:tailEnd/>
            </a:ln>
          </p:spPr>
          <p:txBody>
            <a:bodyPr/>
            <a:lstStyle/>
            <a:p>
              <a:pPr>
                <a:defRPr/>
              </a:pPr>
              <a:endParaRPr lang="en-GB"/>
            </a:p>
          </p:txBody>
        </p:sp>
      </p:grpSp>
      <p:grpSp>
        <p:nvGrpSpPr>
          <p:cNvPr id="203" name="Group 214"/>
          <p:cNvGrpSpPr>
            <a:grpSpLocks/>
          </p:cNvGrpSpPr>
          <p:nvPr/>
        </p:nvGrpSpPr>
        <p:grpSpPr bwMode="auto">
          <a:xfrm>
            <a:off x="3367088" y="2097088"/>
            <a:ext cx="115887" cy="115887"/>
            <a:chOff x="2298" y="1321"/>
            <a:chExt cx="79" cy="73"/>
          </a:xfrm>
        </p:grpSpPr>
        <p:grpSp>
          <p:nvGrpSpPr>
            <p:cNvPr id="204" name="Group 215"/>
            <p:cNvGrpSpPr>
              <a:grpSpLocks noChangeAspect="1"/>
            </p:cNvGrpSpPr>
            <p:nvPr/>
          </p:nvGrpSpPr>
          <p:grpSpPr bwMode="auto">
            <a:xfrm>
              <a:off x="2338" y="1321"/>
              <a:ext cx="39" cy="37"/>
              <a:chOff x="1362" y="1968"/>
              <a:chExt cx="234" cy="234"/>
            </a:xfrm>
          </p:grpSpPr>
          <p:sp>
            <p:nvSpPr>
              <p:cNvPr id="220" name="Freeform 216"/>
              <p:cNvSpPr>
                <a:spLocks noChangeAspect="1"/>
              </p:cNvSpPr>
              <p:nvPr/>
            </p:nvSpPr>
            <p:spPr bwMode="auto">
              <a:xfrm>
                <a:off x="1362" y="1968"/>
                <a:ext cx="234" cy="234"/>
              </a:xfrm>
              <a:custGeom>
                <a:avLst/>
                <a:gdLst>
                  <a:gd name="T0" fmla="*/ 0 w 234"/>
                  <a:gd name="T1" fmla="*/ 0 h 234"/>
                  <a:gd name="T2" fmla="*/ 24 w 234"/>
                  <a:gd name="T3" fmla="*/ 1 h 234"/>
                  <a:gd name="T4" fmla="*/ 47 w 234"/>
                  <a:gd name="T5" fmla="*/ 5 h 234"/>
                  <a:gd name="T6" fmla="*/ 69 w 234"/>
                  <a:gd name="T7" fmla="*/ 10 h 234"/>
                  <a:gd name="T8" fmla="*/ 91 w 234"/>
                  <a:gd name="T9" fmla="*/ 18 h 234"/>
                  <a:gd name="T10" fmla="*/ 111 w 234"/>
                  <a:gd name="T11" fmla="*/ 28 h 234"/>
                  <a:gd name="T12" fmla="*/ 130 w 234"/>
                  <a:gd name="T13" fmla="*/ 40 h 234"/>
                  <a:gd name="T14" fmla="*/ 148 w 234"/>
                  <a:gd name="T15" fmla="*/ 53 h 234"/>
                  <a:gd name="T16" fmla="*/ 165 w 234"/>
                  <a:gd name="T17" fmla="*/ 68 h 234"/>
                  <a:gd name="T18" fmla="*/ 180 w 234"/>
                  <a:gd name="T19" fmla="*/ 85 h 234"/>
                  <a:gd name="T20" fmla="*/ 194 w 234"/>
                  <a:gd name="T21" fmla="*/ 103 h 234"/>
                  <a:gd name="T22" fmla="*/ 205 w 234"/>
                  <a:gd name="T23" fmla="*/ 122 h 234"/>
                  <a:gd name="T24" fmla="*/ 215 w 234"/>
                  <a:gd name="T25" fmla="*/ 142 h 234"/>
                  <a:gd name="T26" fmla="*/ 223 w 234"/>
                  <a:gd name="T27" fmla="*/ 164 h 234"/>
                  <a:gd name="T28" fmla="*/ 229 w 234"/>
                  <a:gd name="T29" fmla="*/ 186 h 234"/>
                  <a:gd name="T30" fmla="*/ 233 w 234"/>
                  <a:gd name="T31" fmla="*/ 209 h 234"/>
                  <a:gd name="T32" fmla="*/ 234 w 234"/>
                  <a:gd name="T33" fmla="*/ 233 h 234"/>
                  <a:gd name="T34" fmla="*/ 0 w 234"/>
                  <a:gd name="T35" fmla="*/ 234 h 234"/>
                  <a:gd name="T36" fmla="*/ 0 w 234"/>
                  <a:gd name="T37" fmla="*/ 0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4"/>
                  <a:gd name="T58" fmla="*/ 0 h 234"/>
                  <a:gd name="T59" fmla="*/ 234 w 234"/>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4" h="234">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lnTo>
                      <a:pt x="0" y="234"/>
                    </a:lnTo>
                    <a:lnTo>
                      <a:pt x="0" y="0"/>
                    </a:lnTo>
                    <a:close/>
                  </a:path>
                </a:pathLst>
              </a:custGeom>
              <a:solidFill>
                <a:schemeClr val="accent3"/>
              </a:solidFill>
              <a:ln w="3175">
                <a:solidFill>
                  <a:schemeClr val="accent3"/>
                </a:solidFill>
                <a:round/>
                <a:headEnd/>
                <a:tailEnd/>
              </a:ln>
            </p:spPr>
            <p:txBody>
              <a:bodyPr/>
              <a:lstStyle/>
              <a:p>
                <a:pPr>
                  <a:defRPr/>
                </a:pPr>
                <a:endParaRPr lang="en-GB"/>
              </a:p>
            </p:txBody>
          </p:sp>
          <p:sp>
            <p:nvSpPr>
              <p:cNvPr id="221" name="Freeform 217"/>
              <p:cNvSpPr>
                <a:spLocks noChangeAspect="1"/>
              </p:cNvSpPr>
              <p:nvPr/>
            </p:nvSpPr>
            <p:spPr bwMode="auto">
              <a:xfrm>
                <a:off x="1362" y="1968"/>
                <a:ext cx="234" cy="234"/>
              </a:xfrm>
              <a:custGeom>
                <a:avLst/>
                <a:gdLst>
                  <a:gd name="T0" fmla="*/ 0 w 234"/>
                  <a:gd name="T1" fmla="*/ 0 h 233"/>
                  <a:gd name="T2" fmla="*/ 24 w 234"/>
                  <a:gd name="T3" fmla="*/ 1 h 233"/>
                  <a:gd name="T4" fmla="*/ 47 w 234"/>
                  <a:gd name="T5" fmla="*/ 5 h 233"/>
                  <a:gd name="T6" fmla="*/ 69 w 234"/>
                  <a:gd name="T7" fmla="*/ 10 h 233"/>
                  <a:gd name="T8" fmla="*/ 91 w 234"/>
                  <a:gd name="T9" fmla="*/ 18 h 233"/>
                  <a:gd name="T10" fmla="*/ 111 w 234"/>
                  <a:gd name="T11" fmla="*/ 28 h 233"/>
                  <a:gd name="T12" fmla="*/ 130 w 234"/>
                  <a:gd name="T13" fmla="*/ 40 h 233"/>
                  <a:gd name="T14" fmla="*/ 148 w 234"/>
                  <a:gd name="T15" fmla="*/ 53 h 233"/>
                  <a:gd name="T16" fmla="*/ 165 w 234"/>
                  <a:gd name="T17" fmla="*/ 68 h 233"/>
                  <a:gd name="T18" fmla="*/ 180 w 234"/>
                  <a:gd name="T19" fmla="*/ 85 h 233"/>
                  <a:gd name="T20" fmla="*/ 194 w 234"/>
                  <a:gd name="T21" fmla="*/ 103 h 233"/>
                  <a:gd name="T22" fmla="*/ 205 w 234"/>
                  <a:gd name="T23" fmla="*/ 122 h 233"/>
                  <a:gd name="T24" fmla="*/ 215 w 234"/>
                  <a:gd name="T25" fmla="*/ 142 h 233"/>
                  <a:gd name="T26" fmla="*/ 223 w 234"/>
                  <a:gd name="T27" fmla="*/ 164 h 233"/>
                  <a:gd name="T28" fmla="*/ 229 w 234"/>
                  <a:gd name="T29" fmla="*/ 186 h 233"/>
                  <a:gd name="T30" fmla="*/ 233 w 234"/>
                  <a:gd name="T31" fmla="*/ 209 h 233"/>
                  <a:gd name="T32" fmla="*/ 234 w 234"/>
                  <a:gd name="T33" fmla="*/ 233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4"/>
                  <a:gd name="T52" fmla="*/ 0 h 233"/>
                  <a:gd name="T53" fmla="*/ 234 w 23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4" h="233">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path>
                </a:pathLst>
              </a:custGeom>
              <a:solidFill>
                <a:schemeClr val="accent3"/>
              </a:solidFill>
              <a:ln w="3175">
                <a:solidFill>
                  <a:schemeClr val="accent3"/>
                </a:solidFill>
                <a:round/>
                <a:headEnd/>
                <a:tailEnd/>
              </a:ln>
            </p:spPr>
            <p:txBody>
              <a:bodyPr/>
              <a:lstStyle/>
              <a:p>
                <a:pPr>
                  <a:defRPr/>
                </a:pPr>
                <a:endParaRPr lang="en-GB"/>
              </a:p>
            </p:txBody>
          </p:sp>
        </p:grpSp>
        <p:grpSp>
          <p:nvGrpSpPr>
            <p:cNvPr id="205" name="Group 218"/>
            <p:cNvGrpSpPr>
              <a:grpSpLocks noChangeAspect="1"/>
            </p:cNvGrpSpPr>
            <p:nvPr/>
          </p:nvGrpSpPr>
          <p:grpSpPr bwMode="auto">
            <a:xfrm>
              <a:off x="2298" y="1321"/>
              <a:ext cx="79" cy="73"/>
              <a:chOff x="1128" y="1968"/>
              <a:chExt cx="468" cy="467"/>
            </a:xfrm>
          </p:grpSpPr>
          <p:sp>
            <p:nvSpPr>
              <p:cNvPr id="218" name="Freeform 219"/>
              <p:cNvSpPr>
                <a:spLocks noChangeAspect="1"/>
              </p:cNvSpPr>
              <p:nvPr/>
            </p:nvSpPr>
            <p:spPr bwMode="auto">
              <a:xfrm>
                <a:off x="1128" y="1968"/>
                <a:ext cx="468" cy="467"/>
              </a:xfrm>
              <a:custGeom>
                <a:avLst/>
                <a:gdLst>
                  <a:gd name="T0" fmla="*/ 468 w 468"/>
                  <a:gd name="T1" fmla="*/ 232 h 467"/>
                  <a:gd name="T2" fmla="*/ 468 w 468"/>
                  <a:gd name="T3" fmla="*/ 233 h 467"/>
                  <a:gd name="T4" fmla="*/ 468 w 468"/>
                  <a:gd name="T5" fmla="*/ 233 h 467"/>
                  <a:gd name="T6" fmla="*/ 467 w 468"/>
                  <a:gd name="T7" fmla="*/ 257 h 467"/>
                  <a:gd name="T8" fmla="*/ 463 w 468"/>
                  <a:gd name="T9" fmla="*/ 280 h 467"/>
                  <a:gd name="T10" fmla="*/ 457 w 468"/>
                  <a:gd name="T11" fmla="*/ 303 h 467"/>
                  <a:gd name="T12" fmla="*/ 450 w 468"/>
                  <a:gd name="T13" fmla="*/ 324 h 467"/>
                  <a:gd name="T14" fmla="*/ 440 w 468"/>
                  <a:gd name="T15" fmla="*/ 344 h 467"/>
                  <a:gd name="T16" fmla="*/ 428 w 468"/>
                  <a:gd name="T17" fmla="*/ 364 h 467"/>
                  <a:gd name="T18" fmla="*/ 415 w 468"/>
                  <a:gd name="T19" fmla="*/ 382 h 467"/>
                  <a:gd name="T20" fmla="*/ 399 w 468"/>
                  <a:gd name="T21" fmla="*/ 398 h 467"/>
                  <a:gd name="T22" fmla="*/ 383 w 468"/>
                  <a:gd name="T23" fmla="*/ 414 h 467"/>
                  <a:gd name="T24" fmla="*/ 365 w 468"/>
                  <a:gd name="T25" fmla="*/ 427 h 467"/>
                  <a:gd name="T26" fmla="*/ 345 w 468"/>
                  <a:gd name="T27" fmla="*/ 439 h 467"/>
                  <a:gd name="T28" fmla="*/ 325 w 468"/>
                  <a:gd name="T29" fmla="*/ 449 h 467"/>
                  <a:gd name="T30" fmla="*/ 304 w 468"/>
                  <a:gd name="T31" fmla="*/ 456 h 467"/>
                  <a:gd name="T32" fmla="*/ 281 w 468"/>
                  <a:gd name="T33" fmla="*/ 462 h 467"/>
                  <a:gd name="T34" fmla="*/ 258 w 468"/>
                  <a:gd name="T35" fmla="*/ 466 h 467"/>
                  <a:gd name="T36" fmla="*/ 234 w 468"/>
                  <a:gd name="T37" fmla="*/ 467 h 467"/>
                  <a:gd name="T38" fmla="*/ 210 w 468"/>
                  <a:gd name="T39" fmla="*/ 466 h 467"/>
                  <a:gd name="T40" fmla="*/ 187 w 468"/>
                  <a:gd name="T41" fmla="*/ 462 h 467"/>
                  <a:gd name="T42" fmla="*/ 165 w 468"/>
                  <a:gd name="T43" fmla="*/ 456 h 467"/>
                  <a:gd name="T44" fmla="*/ 143 w 468"/>
                  <a:gd name="T45" fmla="*/ 449 h 467"/>
                  <a:gd name="T46" fmla="*/ 123 w 468"/>
                  <a:gd name="T47" fmla="*/ 439 h 467"/>
                  <a:gd name="T48" fmla="*/ 103 w 468"/>
                  <a:gd name="T49" fmla="*/ 427 h 467"/>
                  <a:gd name="T50" fmla="*/ 85 w 468"/>
                  <a:gd name="T51" fmla="*/ 414 h 467"/>
                  <a:gd name="T52" fmla="*/ 69 w 468"/>
                  <a:gd name="T53" fmla="*/ 398 h 467"/>
                  <a:gd name="T54" fmla="*/ 54 w 468"/>
                  <a:gd name="T55" fmla="*/ 382 h 467"/>
                  <a:gd name="T56" fmla="*/ 40 w 468"/>
                  <a:gd name="T57" fmla="*/ 364 h 467"/>
                  <a:gd name="T58" fmla="*/ 28 w 468"/>
                  <a:gd name="T59" fmla="*/ 344 h 467"/>
                  <a:gd name="T60" fmla="*/ 18 w 468"/>
                  <a:gd name="T61" fmla="*/ 324 h 467"/>
                  <a:gd name="T62" fmla="*/ 11 w 468"/>
                  <a:gd name="T63" fmla="*/ 303 h 467"/>
                  <a:gd name="T64" fmla="*/ 5 w 468"/>
                  <a:gd name="T65" fmla="*/ 280 h 467"/>
                  <a:gd name="T66" fmla="*/ 1 w 468"/>
                  <a:gd name="T67" fmla="*/ 257 h 467"/>
                  <a:gd name="T68" fmla="*/ 0 w 468"/>
                  <a:gd name="T69" fmla="*/ 233 h 467"/>
                  <a:gd name="T70" fmla="*/ 1 w 468"/>
                  <a:gd name="T71" fmla="*/ 209 h 467"/>
                  <a:gd name="T72" fmla="*/ 5 w 468"/>
                  <a:gd name="T73" fmla="*/ 186 h 467"/>
                  <a:gd name="T74" fmla="*/ 11 w 468"/>
                  <a:gd name="T75" fmla="*/ 164 h 467"/>
                  <a:gd name="T76" fmla="*/ 18 w 468"/>
                  <a:gd name="T77" fmla="*/ 143 h 467"/>
                  <a:gd name="T78" fmla="*/ 28 w 468"/>
                  <a:gd name="T79" fmla="*/ 122 h 467"/>
                  <a:gd name="T80" fmla="*/ 40 w 468"/>
                  <a:gd name="T81" fmla="*/ 103 h 467"/>
                  <a:gd name="T82" fmla="*/ 54 w 468"/>
                  <a:gd name="T83" fmla="*/ 85 h 467"/>
                  <a:gd name="T84" fmla="*/ 69 w 468"/>
                  <a:gd name="T85" fmla="*/ 69 h 467"/>
                  <a:gd name="T86" fmla="*/ 85 w 468"/>
                  <a:gd name="T87" fmla="*/ 53 h 467"/>
                  <a:gd name="T88" fmla="*/ 103 w 468"/>
                  <a:gd name="T89" fmla="*/ 40 h 467"/>
                  <a:gd name="T90" fmla="*/ 123 w 468"/>
                  <a:gd name="T91" fmla="*/ 28 h 467"/>
                  <a:gd name="T92" fmla="*/ 143 w 468"/>
                  <a:gd name="T93" fmla="*/ 18 h 467"/>
                  <a:gd name="T94" fmla="*/ 165 w 468"/>
                  <a:gd name="T95" fmla="*/ 11 h 467"/>
                  <a:gd name="T96" fmla="*/ 187 w 468"/>
                  <a:gd name="T97" fmla="*/ 5 h 467"/>
                  <a:gd name="T98" fmla="*/ 210 w 468"/>
                  <a:gd name="T99" fmla="*/ 1 h 467"/>
                  <a:gd name="T100" fmla="*/ 234 w 468"/>
                  <a:gd name="T101" fmla="*/ 0 h 467"/>
                  <a:gd name="T102" fmla="*/ 234 w 468"/>
                  <a:gd name="T103" fmla="*/ 233 h 467"/>
                  <a:gd name="T104" fmla="*/ 468 w 468"/>
                  <a:gd name="T105" fmla="*/ 232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8"/>
                  <a:gd name="T160" fmla="*/ 0 h 467"/>
                  <a:gd name="T161" fmla="*/ 468 w 468"/>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468" y="232"/>
                    </a:lnTo>
                    <a:close/>
                  </a:path>
                </a:pathLst>
              </a:custGeom>
              <a:solidFill>
                <a:srgbClr val="FFFFFF"/>
              </a:solidFill>
              <a:ln w="3175">
                <a:solidFill>
                  <a:schemeClr val="accent3"/>
                </a:solidFill>
                <a:round/>
                <a:headEnd/>
                <a:tailEnd/>
              </a:ln>
            </p:spPr>
            <p:txBody>
              <a:bodyPr/>
              <a:lstStyle/>
              <a:p>
                <a:pPr>
                  <a:defRPr/>
                </a:pPr>
                <a:endParaRPr lang="en-GB"/>
              </a:p>
            </p:txBody>
          </p:sp>
          <p:sp>
            <p:nvSpPr>
              <p:cNvPr id="219" name="Freeform 220"/>
              <p:cNvSpPr>
                <a:spLocks noChangeAspect="1"/>
              </p:cNvSpPr>
              <p:nvPr/>
            </p:nvSpPr>
            <p:spPr bwMode="auto">
              <a:xfrm>
                <a:off x="1128" y="1968"/>
                <a:ext cx="468" cy="467"/>
              </a:xfrm>
              <a:custGeom>
                <a:avLst/>
                <a:gdLst>
                  <a:gd name="T0" fmla="*/ 468 w 468"/>
                  <a:gd name="T1" fmla="*/ 232 h 467"/>
                  <a:gd name="T2" fmla="*/ 468 w 468"/>
                  <a:gd name="T3" fmla="*/ 233 h 467"/>
                  <a:gd name="T4" fmla="*/ 468 w 468"/>
                  <a:gd name="T5" fmla="*/ 233 h 467"/>
                  <a:gd name="T6" fmla="*/ 467 w 468"/>
                  <a:gd name="T7" fmla="*/ 257 h 467"/>
                  <a:gd name="T8" fmla="*/ 463 w 468"/>
                  <a:gd name="T9" fmla="*/ 280 h 467"/>
                  <a:gd name="T10" fmla="*/ 457 w 468"/>
                  <a:gd name="T11" fmla="*/ 303 h 467"/>
                  <a:gd name="T12" fmla="*/ 450 w 468"/>
                  <a:gd name="T13" fmla="*/ 324 h 467"/>
                  <a:gd name="T14" fmla="*/ 440 w 468"/>
                  <a:gd name="T15" fmla="*/ 344 h 467"/>
                  <a:gd name="T16" fmla="*/ 428 w 468"/>
                  <a:gd name="T17" fmla="*/ 364 h 467"/>
                  <a:gd name="T18" fmla="*/ 415 w 468"/>
                  <a:gd name="T19" fmla="*/ 382 h 467"/>
                  <a:gd name="T20" fmla="*/ 399 w 468"/>
                  <a:gd name="T21" fmla="*/ 398 h 467"/>
                  <a:gd name="T22" fmla="*/ 383 w 468"/>
                  <a:gd name="T23" fmla="*/ 414 h 467"/>
                  <a:gd name="T24" fmla="*/ 365 w 468"/>
                  <a:gd name="T25" fmla="*/ 427 h 467"/>
                  <a:gd name="T26" fmla="*/ 345 w 468"/>
                  <a:gd name="T27" fmla="*/ 439 h 467"/>
                  <a:gd name="T28" fmla="*/ 325 w 468"/>
                  <a:gd name="T29" fmla="*/ 449 h 467"/>
                  <a:gd name="T30" fmla="*/ 304 w 468"/>
                  <a:gd name="T31" fmla="*/ 456 h 467"/>
                  <a:gd name="T32" fmla="*/ 281 w 468"/>
                  <a:gd name="T33" fmla="*/ 462 h 467"/>
                  <a:gd name="T34" fmla="*/ 258 w 468"/>
                  <a:gd name="T35" fmla="*/ 466 h 467"/>
                  <a:gd name="T36" fmla="*/ 234 w 468"/>
                  <a:gd name="T37" fmla="*/ 467 h 467"/>
                  <a:gd name="T38" fmla="*/ 210 w 468"/>
                  <a:gd name="T39" fmla="*/ 466 h 467"/>
                  <a:gd name="T40" fmla="*/ 187 w 468"/>
                  <a:gd name="T41" fmla="*/ 462 h 467"/>
                  <a:gd name="T42" fmla="*/ 165 w 468"/>
                  <a:gd name="T43" fmla="*/ 456 h 467"/>
                  <a:gd name="T44" fmla="*/ 143 w 468"/>
                  <a:gd name="T45" fmla="*/ 449 h 467"/>
                  <a:gd name="T46" fmla="*/ 123 w 468"/>
                  <a:gd name="T47" fmla="*/ 439 h 467"/>
                  <a:gd name="T48" fmla="*/ 103 w 468"/>
                  <a:gd name="T49" fmla="*/ 427 h 467"/>
                  <a:gd name="T50" fmla="*/ 85 w 468"/>
                  <a:gd name="T51" fmla="*/ 414 h 467"/>
                  <a:gd name="T52" fmla="*/ 69 w 468"/>
                  <a:gd name="T53" fmla="*/ 398 h 467"/>
                  <a:gd name="T54" fmla="*/ 54 w 468"/>
                  <a:gd name="T55" fmla="*/ 382 h 467"/>
                  <a:gd name="T56" fmla="*/ 40 w 468"/>
                  <a:gd name="T57" fmla="*/ 364 h 467"/>
                  <a:gd name="T58" fmla="*/ 28 w 468"/>
                  <a:gd name="T59" fmla="*/ 344 h 467"/>
                  <a:gd name="T60" fmla="*/ 18 w 468"/>
                  <a:gd name="T61" fmla="*/ 324 h 467"/>
                  <a:gd name="T62" fmla="*/ 11 w 468"/>
                  <a:gd name="T63" fmla="*/ 303 h 467"/>
                  <a:gd name="T64" fmla="*/ 5 w 468"/>
                  <a:gd name="T65" fmla="*/ 280 h 467"/>
                  <a:gd name="T66" fmla="*/ 1 w 468"/>
                  <a:gd name="T67" fmla="*/ 257 h 467"/>
                  <a:gd name="T68" fmla="*/ 0 w 468"/>
                  <a:gd name="T69" fmla="*/ 233 h 467"/>
                  <a:gd name="T70" fmla="*/ 1 w 468"/>
                  <a:gd name="T71" fmla="*/ 209 h 467"/>
                  <a:gd name="T72" fmla="*/ 5 w 468"/>
                  <a:gd name="T73" fmla="*/ 186 h 467"/>
                  <a:gd name="T74" fmla="*/ 11 w 468"/>
                  <a:gd name="T75" fmla="*/ 164 h 467"/>
                  <a:gd name="T76" fmla="*/ 18 w 468"/>
                  <a:gd name="T77" fmla="*/ 143 h 467"/>
                  <a:gd name="T78" fmla="*/ 28 w 468"/>
                  <a:gd name="T79" fmla="*/ 122 h 467"/>
                  <a:gd name="T80" fmla="*/ 40 w 468"/>
                  <a:gd name="T81" fmla="*/ 103 h 467"/>
                  <a:gd name="T82" fmla="*/ 54 w 468"/>
                  <a:gd name="T83" fmla="*/ 85 h 467"/>
                  <a:gd name="T84" fmla="*/ 69 w 468"/>
                  <a:gd name="T85" fmla="*/ 69 h 467"/>
                  <a:gd name="T86" fmla="*/ 85 w 468"/>
                  <a:gd name="T87" fmla="*/ 53 h 467"/>
                  <a:gd name="T88" fmla="*/ 103 w 468"/>
                  <a:gd name="T89" fmla="*/ 40 h 467"/>
                  <a:gd name="T90" fmla="*/ 123 w 468"/>
                  <a:gd name="T91" fmla="*/ 28 h 467"/>
                  <a:gd name="T92" fmla="*/ 143 w 468"/>
                  <a:gd name="T93" fmla="*/ 18 h 467"/>
                  <a:gd name="T94" fmla="*/ 165 w 468"/>
                  <a:gd name="T95" fmla="*/ 11 h 467"/>
                  <a:gd name="T96" fmla="*/ 187 w 468"/>
                  <a:gd name="T97" fmla="*/ 5 h 467"/>
                  <a:gd name="T98" fmla="*/ 210 w 468"/>
                  <a:gd name="T99" fmla="*/ 1 h 467"/>
                  <a:gd name="T100" fmla="*/ 234 w 468"/>
                  <a:gd name="T101" fmla="*/ 0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8"/>
                  <a:gd name="T154" fmla="*/ 0 h 467"/>
                  <a:gd name="T155" fmla="*/ 468 w 468"/>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3"/>
                </a:solidFill>
                <a:round/>
                <a:headEnd/>
                <a:tailEnd/>
              </a:ln>
            </p:spPr>
            <p:txBody>
              <a:bodyPr/>
              <a:lstStyle/>
              <a:p>
                <a:pPr>
                  <a:defRPr/>
                </a:pPr>
                <a:endParaRPr lang="en-GB"/>
              </a:p>
            </p:txBody>
          </p:sp>
        </p:grpSp>
      </p:grpSp>
      <p:grpSp>
        <p:nvGrpSpPr>
          <p:cNvPr id="206" name="Group 221"/>
          <p:cNvGrpSpPr>
            <a:grpSpLocks/>
          </p:cNvGrpSpPr>
          <p:nvPr/>
        </p:nvGrpSpPr>
        <p:grpSpPr bwMode="auto">
          <a:xfrm>
            <a:off x="6267450" y="4346575"/>
            <a:ext cx="230188" cy="230188"/>
            <a:chOff x="4277" y="2738"/>
            <a:chExt cx="157" cy="145"/>
          </a:xfrm>
        </p:grpSpPr>
        <p:sp>
          <p:nvSpPr>
            <p:cNvPr id="794722" name="Freeform 222"/>
            <p:cNvSpPr>
              <a:spLocks noChangeAspect="1"/>
            </p:cNvSpPr>
            <p:nvPr/>
          </p:nvSpPr>
          <p:spPr bwMode="auto">
            <a:xfrm>
              <a:off x="4356" y="2738"/>
              <a:ext cx="78" cy="73"/>
            </a:xfrm>
            <a:custGeom>
              <a:avLst/>
              <a:gdLst>
                <a:gd name="T0" fmla="*/ 0 w 234"/>
                <a:gd name="T1" fmla="*/ 0 h 234"/>
                <a:gd name="T2" fmla="*/ 0 w 234"/>
                <a:gd name="T3" fmla="*/ 0 h 234"/>
                <a:gd name="T4" fmla="*/ 0 w 234"/>
                <a:gd name="T5" fmla="*/ 0 h 234"/>
                <a:gd name="T6" fmla="*/ 0 w 234"/>
                <a:gd name="T7" fmla="*/ 0 h 234"/>
                <a:gd name="T8" fmla="*/ 0 w 234"/>
                <a:gd name="T9" fmla="*/ 0 h 234"/>
                <a:gd name="T10" fmla="*/ 0 w 234"/>
                <a:gd name="T11" fmla="*/ 0 h 234"/>
                <a:gd name="T12" fmla="*/ 1 w 234"/>
                <a:gd name="T13" fmla="*/ 0 h 234"/>
                <a:gd name="T14" fmla="*/ 1 w 234"/>
                <a:gd name="T15" fmla="*/ 0 h 234"/>
                <a:gd name="T16" fmla="*/ 1 w 234"/>
                <a:gd name="T17" fmla="*/ 0 h 234"/>
                <a:gd name="T18" fmla="*/ 1 w 234"/>
                <a:gd name="T19" fmla="*/ 0 h 234"/>
                <a:gd name="T20" fmla="*/ 1 w 234"/>
                <a:gd name="T21" fmla="*/ 0 h 234"/>
                <a:gd name="T22" fmla="*/ 1 w 234"/>
                <a:gd name="T23" fmla="*/ 0 h 234"/>
                <a:gd name="T24" fmla="*/ 1 w 234"/>
                <a:gd name="T25" fmla="*/ 0 h 234"/>
                <a:gd name="T26" fmla="*/ 1 w 234"/>
                <a:gd name="T27" fmla="*/ 1 h 234"/>
                <a:gd name="T28" fmla="*/ 1 w 234"/>
                <a:gd name="T29" fmla="*/ 1 h 234"/>
                <a:gd name="T30" fmla="*/ 1 w 234"/>
                <a:gd name="T31" fmla="*/ 1 h 234"/>
                <a:gd name="T32" fmla="*/ 1 w 234"/>
                <a:gd name="T33" fmla="*/ 1 h 234"/>
                <a:gd name="T34" fmla="*/ 0 w 234"/>
                <a:gd name="T35" fmla="*/ 1 h 234"/>
                <a:gd name="T36" fmla="*/ 0 w 234"/>
                <a:gd name="T37" fmla="*/ 0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4"/>
                <a:gd name="T58" fmla="*/ 0 h 234"/>
                <a:gd name="T59" fmla="*/ 234 w 234"/>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4" h="234">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lnTo>
                    <a:pt x="0" y="234"/>
                  </a:lnTo>
                  <a:lnTo>
                    <a:pt x="0" y="0"/>
                  </a:lnTo>
                  <a:close/>
                </a:path>
              </a:pathLst>
            </a:custGeom>
            <a:solidFill>
              <a:schemeClr val="accent4"/>
            </a:solidFill>
            <a:ln w="3175">
              <a:solidFill>
                <a:schemeClr val="accent4"/>
              </a:solidFill>
              <a:round/>
              <a:headEnd/>
              <a:tailEnd/>
            </a:ln>
          </p:spPr>
          <p:txBody>
            <a:bodyPr/>
            <a:lstStyle/>
            <a:p>
              <a:endParaRPr lang="en-GB"/>
            </a:p>
          </p:txBody>
        </p:sp>
        <p:sp>
          <p:nvSpPr>
            <p:cNvPr id="794723" name="Freeform 223"/>
            <p:cNvSpPr>
              <a:spLocks noChangeAspect="1"/>
            </p:cNvSpPr>
            <p:nvPr/>
          </p:nvSpPr>
          <p:spPr bwMode="auto">
            <a:xfrm>
              <a:off x="4356" y="2738"/>
              <a:ext cx="78" cy="73"/>
            </a:xfrm>
            <a:custGeom>
              <a:avLst/>
              <a:gdLst>
                <a:gd name="T0" fmla="*/ 0 w 234"/>
                <a:gd name="T1" fmla="*/ 0 h 233"/>
                <a:gd name="T2" fmla="*/ 0 w 234"/>
                <a:gd name="T3" fmla="*/ 0 h 233"/>
                <a:gd name="T4" fmla="*/ 0 w 234"/>
                <a:gd name="T5" fmla="*/ 0 h 233"/>
                <a:gd name="T6" fmla="*/ 0 w 234"/>
                <a:gd name="T7" fmla="*/ 0 h 233"/>
                <a:gd name="T8" fmla="*/ 0 w 234"/>
                <a:gd name="T9" fmla="*/ 0 h 233"/>
                <a:gd name="T10" fmla="*/ 0 w 234"/>
                <a:gd name="T11" fmla="*/ 0 h 233"/>
                <a:gd name="T12" fmla="*/ 1 w 234"/>
                <a:gd name="T13" fmla="*/ 0 h 233"/>
                <a:gd name="T14" fmla="*/ 1 w 234"/>
                <a:gd name="T15" fmla="*/ 0 h 233"/>
                <a:gd name="T16" fmla="*/ 1 w 234"/>
                <a:gd name="T17" fmla="*/ 0 h 233"/>
                <a:gd name="T18" fmla="*/ 1 w 234"/>
                <a:gd name="T19" fmla="*/ 0 h 233"/>
                <a:gd name="T20" fmla="*/ 1 w 234"/>
                <a:gd name="T21" fmla="*/ 0 h 233"/>
                <a:gd name="T22" fmla="*/ 1 w 234"/>
                <a:gd name="T23" fmla="*/ 0 h 233"/>
                <a:gd name="T24" fmla="*/ 1 w 234"/>
                <a:gd name="T25" fmla="*/ 0 h 233"/>
                <a:gd name="T26" fmla="*/ 1 w 234"/>
                <a:gd name="T27" fmla="*/ 1 h 233"/>
                <a:gd name="T28" fmla="*/ 1 w 234"/>
                <a:gd name="T29" fmla="*/ 1 h 233"/>
                <a:gd name="T30" fmla="*/ 1 w 234"/>
                <a:gd name="T31" fmla="*/ 1 h 233"/>
                <a:gd name="T32" fmla="*/ 1 w 234"/>
                <a:gd name="T33" fmla="*/ 1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4"/>
                <a:gd name="T52" fmla="*/ 0 h 233"/>
                <a:gd name="T53" fmla="*/ 234 w 23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4" h="233">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path>
              </a:pathLst>
            </a:custGeom>
            <a:solidFill>
              <a:schemeClr val="accent4"/>
            </a:solidFill>
            <a:ln w="3175">
              <a:solidFill>
                <a:schemeClr val="accent4"/>
              </a:solidFill>
              <a:round/>
              <a:headEnd/>
              <a:tailEnd/>
            </a:ln>
          </p:spPr>
          <p:txBody>
            <a:bodyPr/>
            <a:lstStyle/>
            <a:p>
              <a:endParaRPr lang="en-GB"/>
            </a:p>
          </p:txBody>
        </p:sp>
        <p:sp>
          <p:nvSpPr>
            <p:cNvPr id="794724" name="Freeform 224"/>
            <p:cNvSpPr>
              <a:spLocks noChangeAspect="1"/>
            </p:cNvSpPr>
            <p:nvPr/>
          </p:nvSpPr>
          <p:spPr bwMode="auto">
            <a:xfrm>
              <a:off x="4277" y="2738"/>
              <a:ext cx="157" cy="145"/>
            </a:xfrm>
            <a:custGeom>
              <a:avLst/>
              <a:gdLst>
                <a:gd name="T0" fmla="*/ 2 w 468"/>
                <a:gd name="T1" fmla="*/ 1 h 467"/>
                <a:gd name="T2" fmla="*/ 2 w 468"/>
                <a:gd name="T3" fmla="*/ 1 h 467"/>
                <a:gd name="T4" fmla="*/ 2 w 468"/>
                <a:gd name="T5" fmla="*/ 1 h 467"/>
                <a:gd name="T6" fmla="*/ 2 w 468"/>
                <a:gd name="T7" fmla="*/ 1 h 467"/>
                <a:gd name="T8" fmla="*/ 2 w 468"/>
                <a:gd name="T9" fmla="*/ 1 h 467"/>
                <a:gd name="T10" fmla="*/ 2 w 468"/>
                <a:gd name="T11" fmla="*/ 1 h 467"/>
                <a:gd name="T12" fmla="*/ 2 w 468"/>
                <a:gd name="T13" fmla="*/ 1 h 467"/>
                <a:gd name="T14" fmla="*/ 2 w 468"/>
                <a:gd name="T15" fmla="*/ 1 h 467"/>
                <a:gd name="T16" fmla="*/ 2 w 468"/>
                <a:gd name="T17" fmla="*/ 1 h 467"/>
                <a:gd name="T18" fmla="*/ 2 w 468"/>
                <a:gd name="T19" fmla="*/ 1 h 467"/>
                <a:gd name="T20" fmla="*/ 2 w 468"/>
                <a:gd name="T21" fmla="*/ 1 h 467"/>
                <a:gd name="T22" fmla="*/ 2 w 468"/>
                <a:gd name="T23" fmla="*/ 1 h 467"/>
                <a:gd name="T24" fmla="*/ 2 w 468"/>
                <a:gd name="T25" fmla="*/ 1 h 467"/>
                <a:gd name="T26" fmla="*/ 1 w 468"/>
                <a:gd name="T27" fmla="*/ 1 h 467"/>
                <a:gd name="T28" fmla="*/ 1 w 468"/>
                <a:gd name="T29" fmla="*/ 1 h 467"/>
                <a:gd name="T30" fmla="*/ 1 w 468"/>
                <a:gd name="T31" fmla="*/ 1 h 467"/>
                <a:gd name="T32" fmla="*/ 1 w 468"/>
                <a:gd name="T33" fmla="*/ 1 h 467"/>
                <a:gd name="T34" fmla="*/ 1 w 468"/>
                <a:gd name="T35" fmla="*/ 1 h 467"/>
                <a:gd name="T36" fmla="*/ 1 w 468"/>
                <a:gd name="T37" fmla="*/ 1 h 467"/>
                <a:gd name="T38" fmla="*/ 1 w 468"/>
                <a:gd name="T39" fmla="*/ 1 h 467"/>
                <a:gd name="T40" fmla="*/ 1 w 468"/>
                <a:gd name="T41" fmla="*/ 1 h 467"/>
                <a:gd name="T42" fmla="*/ 1 w 468"/>
                <a:gd name="T43" fmla="*/ 1 h 467"/>
                <a:gd name="T44" fmla="*/ 1 w 468"/>
                <a:gd name="T45" fmla="*/ 1 h 467"/>
                <a:gd name="T46" fmla="*/ 1 w 468"/>
                <a:gd name="T47" fmla="*/ 1 h 467"/>
                <a:gd name="T48" fmla="*/ 0 w 468"/>
                <a:gd name="T49" fmla="*/ 1 h 467"/>
                <a:gd name="T50" fmla="*/ 0 w 468"/>
                <a:gd name="T51" fmla="*/ 1 h 467"/>
                <a:gd name="T52" fmla="*/ 0 w 468"/>
                <a:gd name="T53" fmla="*/ 1 h 467"/>
                <a:gd name="T54" fmla="*/ 0 w 468"/>
                <a:gd name="T55" fmla="*/ 1 h 467"/>
                <a:gd name="T56" fmla="*/ 0 w 468"/>
                <a:gd name="T57" fmla="*/ 1 h 467"/>
                <a:gd name="T58" fmla="*/ 0 w 468"/>
                <a:gd name="T59" fmla="*/ 1 h 467"/>
                <a:gd name="T60" fmla="*/ 0 w 468"/>
                <a:gd name="T61" fmla="*/ 1 h 467"/>
                <a:gd name="T62" fmla="*/ 0 w 468"/>
                <a:gd name="T63" fmla="*/ 1 h 467"/>
                <a:gd name="T64" fmla="*/ 0 w 468"/>
                <a:gd name="T65" fmla="*/ 1 h 467"/>
                <a:gd name="T66" fmla="*/ 0 w 468"/>
                <a:gd name="T67" fmla="*/ 1 h 467"/>
                <a:gd name="T68" fmla="*/ 0 w 468"/>
                <a:gd name="T69" fmla="*/ 1 h 467"/>
                <a:gd name="T70" fmla="*/ 0 w 468"/>
                <a:gd name="T71" fmla="*/ 1 h 467"/>
                <a:gd name="T72" fmla="*/ 0 w 468"/>
                <a:gd name="T73" fmla="*/ 1 h 467"/>
                <a:gd name="T74" fmla="*/ 0 w 468"/>
                <a:gd name="T75" fmla="*/ 1 h 467"/>
                <a:gd name="T76" fmla="*/ 0 w 468"/>
                <a:gd name="T77" fmla="*/ 0 h 467"/>
                <a:gd name="T78" fmla="*/ 0 w 468"/>
                <a:gd name="T79" fmla="*/ 0 h 467"/>
                <a:gd name="T80" fmla="*/ 0 w 468"/>
                <a:gd name="T81" fmla="*/ 0 h 467"/>
                <a:gd name="T82" fmla="*/ 0 w 468"/>
                <a:gd name="T83" fmla="*/ 0 h 467"/>
                <a:gd name="T84" fmla="*/ 0 w 468"/>
                <a:gd name="T85" fmla="*/ 0 h 467"/>
                <a:gd name="T86" fmla="*/ 0 w 468"/>
                <a:gd name="T87" fmla="*/ 0 h 467"/>
                <a:gd name="T88" fmla="*/ 0 w 468"/>
                <a:gd name="T89" fmla="*/ 0 h 467"/>
                <a:gd name="T90" fmla="*/ 1 w 468"/>
                <a:gd name="T91" fmla="*/ 0 h 467"/>
                <a:gd name="T92" fmla="*/ 1 w 468"/>
                <a:gd name="T93" fmla="*/ 0 h 467"/>
                <a:gd name="T94" fmla="*/ 1 w 468"/>
                <a:gd name="T95" fmla="*/ 0 h 467"/>
                <a:gd name="T96" fmla="*/ 1 w 468"/>
                <a:gd name="T97" fmla="*/ 0 h 467"/>
                <a:gd name="T98" fmla="*/ 1 w 468"/>
                <a:gd name="T99" fmla="*/ 0 h 467"/>
                <a:gd name="T100" fmla="*/ 1 w 468"/>
                <a:gd name="T101" fmla="*/ 0 h 467"/>
                <a:gd name="T102" fmla="*/ 1 w 468"/>
                <a:gd name="T103" fmla="*/ 1 h 467"/>
                <a:gd name="T104" fmla="*/ 2 w 468"/>
                <a:gd name="T105" fmla="*/ 1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8"/>
                <a:gd name="T160" fmla="*/ 0 h 467"/>
                <a:gd name="T161" fmla="*/ 468 w 468"/>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468" y="232"/>
                  </a:lnTo>
                  <a:close/>
                </a:path>
              </a:pathLst>
            </a:custGeom>
            <a:noFill/>
            <a:ln w="3175">
              <a:solidFill>
                <a:schemeClr val="accent4"/>
              </a:solidFill>
              <a:round/>
              <a:headEnd/>
              <a:tailEnd/>
            </a:ln>
          </p:spPr>
          <p:txBody>
            <a:bodyPr/>
            <a:lstStyle/>
            <a:p>
              <a:endParaRPr lang="en-GB"/>
            </a:p>
          </p:txBody>
        </p:sp>
        <p:sp>
          <p:nvSpPr>
            <p:cNvPr id="794725" name="Freeform 225"/>
            <p:cNvSpPr>
              <a:spLocks noChangeAspect="1"/>
            </p:cNvSpPr>
            <p:nvPr/>
          </p:nvSpPr>
          <p:spPr bwMode="auto">
            <a:xfrm>
              <a:off x="4277" y="2738"/>
              <a:ext cx="157" cy="145"/>
            </a:xfrm>
            <a:custGeom>
              <a:avLst/>
              <a:gdLst>
                <a:gd name="T0" fmla="*/ 2 w 468"/>
                <a:gd name="T1" fmla="*/ 1 h 467"/>
                <a:gd name="T2" fmla="*/ 2 w 468"/>
                <a:gd name="T3" fmla="*/ 1 h 467"/>
                <a:gd name="T4" fmla="*/ 2 w 468"/>
                <a:gd name="T5" fmla="*/ 1 h 467"/>
                <a:gd name="T6" fmla="*/ 2 w 468"/>
                <a:gd name="T7" fmla="*/ 1 h 467"/>
                <a:gd name="T8" fmla="*/ 2 w 468"/>
                <a:gd name="T9" fmla="*/ 1 h 467"/>
                <a:gd name="T10" fmla="*/ 2 w 468"/>
                <a:gd name="T11" fmla="*/ 1 h 467"/>
                <a:gd name="T12" fmla="*/ 2 w 468"/>
                <a:gd name="T13" fmla="*/ 1 h 467"/>
                <a:gd name="T14" fmla="*/ 2 w 468"/>
                <a:gd name="T15" fmla="*/ 1 h 467"/>
                <a:gd name="T16" fmla="*/ 2 w 468"/>
                <a:gd name="T17" fmla="*/ 1 h 467"/>
                <a:gd name="T18" fmla="*/ 2 w 468"/>
                <a:gd name="T19" fmla="*/ 1 h 467"/>
                <a:gd name="T20" fmla="*/ 2 w 468"/>
                <a:gd name="T21" fmla="*/ 1 h 467"/>
                <a:gd name="T22" fmla="*/ 2 w 468"/>
                <a:gd name="T23" fmla="*/ 1 h 467"/>
                <a:gd name="T24" fmla="*/ 2 w 468"/>
                <a:gd name="T25" fmla="*/ 1 h 467"/>
                <a:gd name="T26" fmla="*/ 1 w 468"/>
                <a:gd name="T27" fmla="*/ 1 h 467"/>
                <a:gd name="T28" fmla="*/ 1 w 468"/>
                <a:gd name="T29" fmla="*/ 1 h 467"/>
                <a:gd name="T30" fmla="*/ 1 w 468"/>
                <a:gd name="T31" fmla="*/ 1 h 467"/>
                <a:gd name="T32" fmla="*/ 1 w 468"/>
                <a:gd name="T33" fmla="*/ 1 h 467"/>
                <a:gd name="T34" fmla="*/ 1 w 468"/>
                <a:gd name="T35" fmla="*/ 1 h 467"/>
                <a:gd name="T36" fmla="*/ 1 w 468"/>
                <a:gd name="T37" fmla="*/ 1 h 467"/>
                <a:gd name="T38" fmla="*/ 1 w 468"/>
                <a:gd name="T39" fmla="*/ 1 h 467"/>
                <a:gd name="T40" fmla="*/ 1 w 468"/>
                <a:gd name="T41" fmla="*/ 1 h 467"/>
                <a:gd name="T42" fmla="*/ 1 w 468"/>
                <a:gd name="T43" fmla="*/ 1 h 467"/>
                <a:gd name="T44" fmla="*/ 1 w 468"/>
                <a:gd name="T45" fmla="*/ 1 h 467"/>
                <a:gd name="T46" fmla="*/ 1 w 468"/>
                <a:gd name="T47" fmla="*/ 1 h 467"/>
                <a:gd name="T48" fmla="*/ 0 w 468"/>
                <a:gd name="T49" fmla="*/ 1 h 467"/>
                <a:gd name="T50" fmla="*/ 0 w 468"/>
                <a:gd name="T51" fmla="*/ 1 h 467"/>
                <a:gd name="T52" fmla="*/ 0 w 468"/>
                <a:gd name="T53" fmla="*/ 1 h 467"/>
                <a:gd name="T54" fmla="*/ 0 w 468"/>
                <a:gd name="T55" fmla="*/ 1 h 467"/>
                <a:gd name="T56" fmla="*/ 0 w 468"/>
                <a:gd name="T57" fmla="*/ 1 h 467"/>
                <a:gd name="T58" fmla="*/ 0 w 468"/>
                <a:gd name="T59" fmla="*/ 1 h 467"/>
                <a:gd name="T60" fmla="*/ 0 w 468"/>
                <a:gd name="T61" fmla="*/ 1 h 467"/>
                <a:gd name="T62" fmla="*/ 0 w 468"/>
                <a:gd name="T63" fmla="*/ 1 h 467"/>
                <a:gd name="T64" fmla="*/ 0 w 468"/>
                <a:gd name="T65" fmla="*/ 1 h 467"/>
                <a:gd name="T66" fmla="*/ 0 w 468"/>
                <a:gd name="T67" fmla="*/ 1 h 467"/>
                <a:gd name="T68" fmla="*/ 0 w 468"/>
                <a:gd name="T69" fmla="*/ 1 h 467"/>
                <a:gd name="T70" fmla="*/ 0 w 468"/>
                <a:gd name="T71" fmla="*/ 1 h 467"/>
                <a:gd name="T72" fmla="*/ 0 w 468"/>
                <a:gd name="T73" fmla="*/ 1 h 467"/>
                <a:gd name="T74" fmla="*/ 0 w 468"/>
                <a:gd name="T75" fmla="*/ 1 h 467"/>
                <a:gd name="T76" fmla="*/ 0 w 468"/>
                <a:gd name="T77" fmla="*/ 0 h 467"/>
                <a:gd name="T78" fmla="*/ 0 w 468"/>
                <a:gd name="T79" fmla="*/ 0 h 467"/>
                <a:gd name="T80" fmla="*/ 0 w 468"/>
                <a:gd name="T81" fmla="*/ 0 h 467"/>
                <a:gd name="T82" fmla="*/ 0 w 468"/>
                <a:gd name="T83" fmla="*/ 0 h 467"/>
                <a:gd name="T84" fmla="*/ 0 w 468"/>
                <a:gd name="T85" fmla="*/ 0 h 467"/>
                <a:gd name="T86" fmla="*/ 0 w 468"/>
                <a:gd name="T87" fmla="*/ 0 h 467"/>
                <a:gd name="T88" fmla="*/ 0 w 468"/>
                <a:gd name="T89" fmla="*/ 0 h 467"/>
                <a:gd name="T90" fmla="*/ 1 w 468"/>
                <a:gd name="T91" fmla="*/ 0 h 467"/>
                <a:gd name="T92" fmla="*/ 1 w 468"/>
                <a:gd name="T93" fmla="*/ 0 h 467"/>
                <a:gd name="T94" fmla="*/ 1 w 468"/>
                <a:gd name="T95" fmla="*/ 0 h 467"/>
                <a:gd name="T96" fmla="*/ 1 w 468"/>
                <a:gd name="T97" fmla="*/ 0 h 467"/>
                <a:gd name="T98" fmla="*/ 1 w 468"/>
                <a:gd name="T99" fmla="*/ 0 h 467"/>
                <a:gd name="T100" fmla="*/ 1 w 468"/>
                <a:gd name="T101" fmla="*/ 0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8"/>
                <a:gd name="T154" fmla="*/ 0 h 467"/>
                <a:gd name="T155" fmla="*/ 468 w 468"/>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4"/>
              </a:solidFill>
              <a:round/>
              <a:headEnd/>
              <a:tailEnd/>
            </a:ln>
          </p:spPr>
          <p:txBody>
            <a:bodyPr/>
            <a:lstStyle/>
            <a:p>
              <a:endParaRPr lang="en-GB"/>
            </a:p>
          </p:txBody>
        </p:sp>
      </p:grpSp>
      <p:grpSp>
        <p:nvGrpSpPr>
          <p:cNvPr id="207" name="Group 226"/>
          <p:cNvGrpSpPr>
            <a:grpSpLocks/>
          </p:cNvGrpSpPr>
          <p:nvPr/>
        </p:nvGrpSpPr>
        <p:grpSpPr bwMode="auto">
          <a:xfrm>
            <a:off x="4284663" y="4384675"/>
            <a:ext cx="153987" cy="153988"/>
            <a:chOff x="2924" y="2762"/>
            <a:chExt cx="105" cy="97"/>
          </a:xfrm>
        </p:grpSpPr>
        <p:grpSp>
          <p:nvGrpSpPr>
            <p:cNvPr id="208" name="Group 227"/>
            <p:cNvGrpSpPr>
              <a:grpSpLocks noChangeAspect="1"/>
            </p:cNvGrpSpPr>
            <p:nvPr/>
          </p:nvGrpSpPr>
          <p:grpSpPr bwMode="auto">
            <a:xfrm>
              <a:off x="2977" y="2762"/>
              <a:ext cx="52" cy="49"/>
              <a:chOff x="1362" y="1968"/>
              <a:chExt cx="234" cy="234"/>
            </a:xfrm>
          </p:grpSpPr>
          <p:sp>
            <p:nvSpPr>
              <p:cNvPr id="794720" name="Freeform 228"/>
              <p:cNvSpPr>
                <a:spLocks noChangeAspect="1"/>
              </p:cNvSpPr>
              <p:nvPr/>
            </p:nvSpPr>
            <p:spPr bwMode="auto">
              <a:xfrm>
                <a:off x="1362" y="1968"/>
                <a:ext cx="234" cy="234"/>
              </a:xfrm>
              <a:custGeom>
                <a:avLst/>
                <a:gdLst>
                  <a:gd name="T0" fmla="*/ 0 w 234"/>
                  <a:gd name="T1" fmla="*/ 0 h 234"/>
                  <a:gd name="T2" fmla="*/ 24 w 234"/>
                  <a:gd name="T3" fmla="*/ 1 h 234"/>
                  <a:gd name="T4" fmla="*/ 47 w 234"/>
                  <a:gd name="T5" fmla="*/ 5 h 234"/>
                  <a:gd name="T6" fmla="*/ 69 w 234"/>
                  <a:gd name="T7" fmla="*/ 10 h 234"/>
                  <a:gd name="T8" fmla="*/ 91 w 234"/>
                  <a:gd name="T9" fmla="*/ 18 h 234"/>
                  <a:gd name="T10" fmla="*/ 111 w 234"/>
                  <a:gd name="T11" fmla="*/ 28 h 234"/>
                  <a:gd name="T12" fmla="*/ 130 w 234"/>
                  <a:gd name="T13" fmla="*/ 40 h 234"/>
                  <a:gd name="T14" fmla="*/ 148 w 234"/>
                  <a:gd name="T15" fmla="*/ 53 h 234"/>
                  <a:gd name="T16" fmla="*/ 165 w 234"/>
                  <a:gd name="T17" fmla="*/ 68 h 234"/>
                  <a:gd name="T18" fmla="*/ 180 w 234"/>
                  <a:gd name="T19" fmla="*/ 85 h 234"/>
                  <a:gd name="T20" fmla="*/ 194 w 234"/>
                  <a:gd name="T21" fmla="*/ 103 h 234"/>
                  <a:gd name="T22" fmla="*/ 205 w 234"/>
                  <a:gd name="T23" fmla="*/ 122 h 234"/>
                  <a:gd name="T24" fmla="*/ 215 w 234"/>
                  <a:gd name="T25" fmla="*/ 142 h 234"/>
                  <a:gd name="T26" fmla="*/ 223 w 234"/>
                  <a:gd name="T27" fmla="*/ 164 h 234"/>
                  <a:gd name="T28" fmla="*/ 229 w 234"/>
                  <a:gd name="T29" fmla="*/ 186 h 234"/>
                  <a:gd name="T30" fmla="*/ 233 w 234"/>
                  <a:gd name="T31" fmla="*/ 209 h 234"/>
                  <a:gd name="T32" fmla="*/ 234 w 234"/>
                  <a:gd name="T33" fmla="*/ 233 h 234"/>
                  <a:gd name="T34" fmla="*/ 0 w 234"/>
                  <a:gd name="T35" fmla="*/ 234 h 234"/>
                  <a:gd name="T36" fmla="*/ 0 w 234"/>
                  <a:gd name="T37" fmla="*/ 0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4"/>
                  <a:gd name="T58" fmla="*/ 0 h 234"/>
                  <a:gd name="T59" fmla="*/ 234 w 234"/>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4" h="234">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lnTo>
                      <a:pt x="0" y="234"/>
                    </a:lnTo>
                    <a:lnTo>
                      <a:pt x="0" y="0"/>
                    </a:lnTo>
                    <a:close/>
                  </a:path>
                </a:pathLst>
              </a:custGeom>
              <a:solidFill>
                <a:schemeClr val="accent4"/>
              </a:solidFill>
              <a:ln w="3175">
                <a:solidFill>
                  <a:schemeClr val="accent4"/>
                </a:solidFill>
                <a:round/>
                <a:headEnd/>
                <a:tailEnd/>
              </a:ln>
            </p:spPr>
            <p:txBody>
              <a:bodyPr/>
              <a:lstStyle/>
              <a:p>
                <a:endParaRPr lang="en-GB"/>
              </a:p>
            </p:txBody>
          </p:sp>
          <p:sp>
            <p:nvSpPr>
              <p:cNvPr id="794721" name="Freeform 229"/>
              <p:cNvSpPr>
                <a:spLocks noChangeAspect="1"/>
              </p:cNvSpPr>
              <p:nvPr/>
            </p:nvSpPr>
            <p:spPr bwMode="auto">
              <a:xfrm>
                <a:off x="1362" y="1968"/>
                <a:ext cx="234" cy="233"/>
              </a:xfrm>
              <a:custGeom>
                <a:avLst/>
                <a:gdLst>
                  <a:gd name="T0" fmla="*/ 0 w 234"/>
                  <a:gd name="T1" fmla="*/ 0 h 233"/>
                  <a:gd name="T2" fmla="*/ 24 w 234"/>
                  <a:gd name="T3" fmla="*/ 1 h 233"/>
                  <a:gd name="T4" fmla="*/ 47 w 234"/>
                  <a:gd name="T5" fmla="*/ 5 h 233"/>
                  <a:gd name="T6" fmla="*/ 69 w 234"/>
                  <a:gd name="T7" fmla="*/ 10 h 233"/>
                  <a:gd name="T8" fmla="*/ 91 w 234"/>
                  <a:gd name="T9" fmla="*/ 18 h 233"/>
                  <a:gd name="T10" fmla="*/ 111 w 234"/>
                  <a:gd name="T11" fmla="*/ 28 h 233"/>
                  <a:gd name="T12" fmla="*/ 130 w 234"/>
                  <a:gd name="T13" fmla="*/ 40 h 233"/>
                  <a:gd name="T14" fmla="*/ 148 w 234"/>
                  <a:gd name="T15" fmla="*/ 53 h 233"/>
                  <a:gd name="T16" fmla="*/ 165 w 234"/>
                  <a:gd name="T17" fmla="*/ 68 h 233"/>
                  <a:gd name="T18" fmla="*/ 180 w 234"/>
                  <a:gd name="T19" fmla="*/ 85 h 233"/>
                  <a:gd name="T20" fmla="*/ 194 w 234"/>
                  <a:gd name="T21" fmla="*/ 103 h 233"/>
                  <a:gd name="T22" fmla="*/ 205 w 234"/>
                  <a:gd name="T23" fmla="*/ 122 h 233"/>
                  <a:gd name="T24" fmla="*/ 215 w 234"/>
                  <a:gd name="T25" fmla="*/ 142 h 233"/>
                  <a:gd name="T26" fmla="*/ 223 w 234"/>
                  <a:gd name="T27" fmla="*/ 164 h 233"/>
                  <a:gd name="T28" fmla="*/ 229 w 234"/>
                  <a:gd name="T29" fmla="*/ 186 h 233"/>
                  <a:gd name="T30" fmla="*/ 233 w 234"/>
                  <a:gd name="T31" fmla="*/ 209 h 233"/>
                  <a:gd name="T32" fmla="*/ 234 w 234"/>
                  <a:gd name="T33" fmla="*/ 233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4"/>
                  <a:gd name="T52" fmla="*/ 0 h 233"/>
                  <a:gd name="T53" fmla="*/ 234 w 23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4" h="233">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path>
                </a:pathLst>
              </a:custGeom>
              <a:solidFill>
                <a:schemeClr val="accent4"/>
              </a:solidFill>
              <a:ln w="3175">
                <a:solidFill>
                  <a:schemeClr val="accent4"/>
                </a:solidFill>
                <a:round/>
                <a:headEnd/>
                <a:tailEnd/>
              </a:ln>
            </p:spPr>
            <p:txBody>
              <a:bodyPr/>
              <a:lstStyle/>
              <a:p>
                <a:endParaRPr lang="en-GB"/>
              </a:p>
            </p:txBody>
          </p:sp>
        </p:grpSp>
        <p:sp>
          <p:nvSpPr>
            <p:cNvPr id="794719" name="Freeform 230"/>
            <p:cNvSpPr>
              <a:spLocks noChangeAspect="1"/>
            </p:cNvSpPr>
            <p:nvPr/>
          </p:nvSpPr>
          <p:spPr bwMode="auto">
            <a:xfrm>
              <a:off x="2924" y="2762"/>
              <a:ext cx="105" cy="97"/>
            </a:xfrm>
            <a:custGeom>
              <a:avLst/>
              <a:gdLst>
                <a:gd name="T0" fmla="*/ 0 w 468"/>
                <a:gd name="T1" fmla="*/ 0 h 467"/>
                <a:gd name="T2" fmla="*/ 0 w 468"/>
                <a:gd name="T3" fmla="*/ 0 h 467"/>
                <a:gd name="T4" fmla="*/ 0 w 468"/>
                <a:gd name="T5" fmla="*/ 0 h 467"/>
                <a:gd name="T6" fmla="*/ 0 w 468"/>
                <a:gd name="T7" fmla="*/ 0 h 467"/>
                <a:gd name="T8" fmla="*/ 0 w 468"/>
                <a:gd name="T9" fmla="*/ 0 h 467"/>
                <a:gd name="T10" fmla="*/ 0 w 468"/>
                <a:gd name="T11" fmla="*/ 0 h 467"/>
                <a:gd name="T12" fmla="*/ 0 w 468"/>
                <a:gd name="T13" fmla="*/ 0 h 467"/>
                <a:gd name="T14" fmla="*/ 0 w 468"/>
                <a:gd name="T15" fmla="*/ 0 h 467"/>
                <a:gd name="T16" fmla="*/ 0 w 468"/>
                <a:gd name="T17" fmla="*/ 0 h 467"/>
                <a:gd name="T18" fmla="*/ 0 w 468"/>
                <a:gd name="T19" fmla="*/ 0 h 467"/>
                <a:gd name="T20" fmla="*/ 0 w 468"/>
                <a:gd name="T21" fmla="*/ 0 h 467"/>
                <a:gd name="T22" fmla="*/ 0 w 468"/>
                <a:gd name="T23" fmla="*/ 0 h 467"/>
                <a:gd name="T24" fmla="*/ 0 w 468"/>
                <a:gd name="T25" fmla="*/ 0 h 467"/>
                <a:gd name="T26" fmla="*/ 0 w 468"/>
                <a:gd name="T27" fmla="*/ 0 h 467"/>
                <a:gd name="T28" fmla="*/ 0 w 468"/>
                <a:gd name="T29" fmla="*/ 0 h 467"/>
                <a:gd name="T30" fmla="*/ 0 w 468"/>
                <a:gd name="T31" fmla="*/ 0 h 467"/>
                <a:gd name="T32" fmla="*/ 0 w 468"/>
                <a:gd name="T33" fmla="*/ 0 h 467"/>
                <a:gd name="T34" fmla="*/ 0 w 468"/>
                <a:gd name="T35" fmla="*/ 0 h 467"/>
                <a:gd name="T36" fmla="*/ 0 w 468"/>
                <a:gd name="T37" fmla="*/ 0 h 467"/>
                <a:gd name="T38" fmla="*/ 0 w 468"/>
                <a:gd name="T39" fmla="*/ 0 h 467"/>
                <a:gd name="T40" fmla="*/ 0 w 468"/>
                <a:gd name="T41" fmla="*/ 0 h 467"/>
                <a:gd name="T42" fmla="*/ 0 w 468"/>
                <a:gd name="T43" fmla="*/ 0 h 467"/>
                <a:gd name="T44" fmla="*/ 0 w 468"/>
                <a:gd name="T45" fmla="*/ 0 h 467"/>
                <a:gd name="T46" fmla="*/ 0 w 468"/>
                <a:gd name="T47" fmla="*/ 0 h 467"/>
                <a:gd name="T48" fmla="*/ 0 w 468"/>
                <a:gd name="T49" fmla="*/ 0 h 467"/>
                <a:gd name="T50" fmla="*/ 0 w 468"/>
                <a:gd name="T51" fmla="*/ 0 h 467"/>
                <a:gd name="T52" fmla="*/ 0 w 468"/>
                <a:gd name="T53" fmla="*/ 0 h 467"/>
                <a:gd name="T54" fmla="*/ 0 w 468"/>
                <a:gd name="T55" fmla="*/ 0 h 467"/>
                <a:gd name="T56" fmla="*/ 0 w 468"/>
                <a:gd name="T57" fmla="*/ 0 h 467"/>
                <a:gd name="T58" fmla="*/ 0 w 468"/>
                <a:gd name="T59" fmla="*/ 0 h 467"/>
                <a:gd name="T60" fmla="*/ 0 w 468"/>
                <a:gd name="T61" fmla="*/ 0 h 467"/>
                <a:gd name="T62" fmla="*/ 0 w 468"/>
                <a:gd name="T63" fmla="*/ 0 h 467"/>
                <a:gd name="T64" fmla="*/ 0 w 468"/>
                <a:gd name="T65" fmla="*/ 0 h 467"/>
                <a:gd name="T66" fmla="*/ 0 w 468"/>
                <a:gd name="T67" fmla="*/ 0 h 467"/>
                <a:gd name="T68" fmla="*/ 0 w 468"/>
                <a:gd name="T69" fmla="*/ 0 h 467"/>
                <a:gd name="T70" fmla="*/ 0 w 468"/>
                <a:gd name="T71" fmla="*/ 0 h 467"/>
                <a:gd name="T72" fmla="*/ 0 w 468"/>
                <a:gd name="T73" fmla="*/ 0 h 467"/>
                <a:gd name="T74" fmla="*/ 0 w 468"/>
                <a:gd name="T75" fmla="*/ 0 h 467"/>
                <a:gd name="T76" fmla="*/ 0 w 468"/>
                <a:gd name="T77" fmla="*/ 0 h 467"/>
                <a:gd name="T78" fmla="*/ 0 w 468"/>
                <a:gd name="T79" fmla="*/ 0 h 467"/>
                <a:gd name="T80" fmla="*/ 0 w 468"/>
                <a:gd name="T81" fmla="*/ 0 h 467"/>
                <a:gd name="T82" fmla="*/ 0 w 468"/>
                <a:gd name="T83" fmla="*/ 0 h 467"/>
                <a:gd name="T84" fmla="*/ 0 w 468"/>
                <a:gd name="T85" fmla="*/ 0 h 467"/>
                <a:gd name="T86" fmla="*/ 0 w 468"/>
                <a:gd name="T87" fmla="*/ 0 h 467"/>
                <a:gd name="T88" fmla="*/ 0 w 468"/>
                <a:gd name="T89" fmla="*/ 0 h 467"/>
                <a:gd name="T90" fmla="*/ 0 w 468"/>
                <a:gd name="T91" fmla="*/ 0 h 467"/>
                <a:gd name="T92" fmla="*/ 0 w 468"/>
                <a:gd name="T93" fmla="*/ 0 h 467"/>
                <a:gd name="T94" fmla="*/ 0 w 468"/>
                <a:gd name="T95" fmla="*/ 0 h 467"/>
                <a:gd name="T96" fmla="*/ 0 w 468"/>
                <a:gd name="T97" fmla="*/ 0 h 467"/>
                <a:gd name="T98" fmla="*/ 0 w 468"/>
                <a:gd name="T99" fmla="*/ 0 h 467"/>
                <a:gd name="T100" fmla="*/ 0 w 468"/>
                <a:gd name="T101" fmla="*/ 0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8"/>
                <a:gd name="T154" fmla="*/ 0 h 467"/>
                <a:gd name="T155" fmla="*/ 468 w 468"/>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4"/>
              </a:solidFill>
              <a:round/>
              <a:headEnd/>
              <a:tailEnd/>
            </a:ln>
          </p:spPr>
          <p:txBody>
            <a:bodyPr/>
            <a:lstStyle/>
            <a:p>
              <a:endParaRPr lang="en-GB"/>
            </a:p>
          </p:txBody>
        </p:sp>
      </p:grpSp>
      <p:grpSp>
        <p:nvGrpSpPr>
          <p:cNvPr id="209" name="Group 231"/>
          <p:cNvGrpSpPr>
            <a:grpSpLocks/>
          </p:cNvGrpSpPr>
          <p:nvPr/>
        </p:nvGrpSpPr>
        <p:grpSpPr bwMode="auto">
          <a:xfrm>
            <a:off x="4284663" y="4838700"/>
            <a:ext cx="153987" cy="153988"/>
            <a:chOff x="2924" y="3048"/>
            <a:chExt cx="105" cy="97"/>
          </a:xfrm>
        </p:grpSpPr>
        <p:sp>
          <p:nvSpPr>
            <p:cNvPr id="794714" name="Freeform 232"/>
            <p:cNvSpPr>
              <a:spLocks noChangeAspect="1"/>
            </p:cNvSpPr>
            <p:nvPr/>
          </p:nvSpPr>
          <p:spPr bwMode="auto">
            <a:xfrm>
              <a:off x="2977" y="3048"/>
              <a:ext cx="52" cy="97"/>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0 w 234"/>
                <a:gd name="T65" fmla="*/ 0 h 467"/>
                <a:gd name="T66" fmla="*/ 0 w 234"/>
                <a:gd name="T67" fmla="*/ 0 h 467"/>
                <a:gd name="T68" fmla="*/ 0 w 234"/>
                <a:gd name="T69" fmla="*/ 0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lnTo>
                    <a:pt x="0" y="233"/>
                  </a:lnTo>
                  <a:lnTo>
                    <a:pt x="0" y="0"/>
                  </a:lnTo>
                  <a:close/>
                </a:path>
              </a:pathLst>
            </a:custGeom>
            <a:solidFill>
              <a:schemeClr val="accent4"/>
            </a:solidFill>
            <a:ln w="3175">
              <a:solidFill>
                <a:schemeClr val="accent4"/>
              </a:solidFill>
              <a:round/>
              <a:headEnd/>
              <a:tailEnd/>
            </a:ln>
          </p:spPr>
          <p:txBody>
            <a:bodyPr/>
            <a:lstStyle/>
            <a:p>
              <a:endParaRPr lang="en-GB"/>
            </a:p>
          </p:txBody>
        </p:sp>
        <p:sp>
          <p:nvSpPr>
            <p:cNvPr id="794715" name="Freeform 233"/>
            <p:cNvSpPr>
              <a:spLocks noChangeAspect="1"/>
            </p:cNvSpPr>
            <p:nvPr/>
          </p:nvSpPr>
          <p:spPr bwMode="auto">
            <a:xfrm>
              <a:off x="2977" y="3048"/>
              <a:ext cx="52" cy="97"/>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0 w 234"/>
                <a:gd name="T65" fmla="*/ 0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path>
              </a:pathLst>
            </a:custGeom>
            <a:noFill/>
            <a:ln w="3175">
              <a:solidFill>
                <a:schemeClr val="accent4"/>
              </a:solidFill>
              <a:round/>
              <a:headEnd/>
              <a:tailEnd/>
            </a:ln>
          </p:spPr>
          <p:txBody>
            <a:bodyPr/>
            <a:lstStyle/>
            <a:p>
              <a:endParaRPr lang="en-GB"/>
            </a:p>
          </p:txBody>
        </p:sp>
        <p:sp>
          <p:nvSpPr>
            <p:cNvPr id="794716" name="Freeform 234"/>
            <p:cNvSpPr>
              <a:spLocks noChangeAspect="1"/>
            </p:cNvSpPr>
            <p:nvPr/>
          </p:nvSpPr>
          <p:spPr bwMode="auto">
            <a:xfrm>
              <a:off x="2924" y="3048"/>
              <a:ext cx="53" cy="97"/>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0 w 234"/>
                <a:gd name="T65" fmla="*/ 0 h 467"/>
                <a:gd name="T66" fmla="*/ 0 w 234"/>
                <a:gd name="T67" fmla="*/ 0 h 467"/>
                <a:gd name="T68" fmla="*/ 0 w 234"/>
                <a:gd name="T69" fmla="*/ 0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234" y="467"/>
                  </a:lnTo>
                  <a:close/>
                </a:path>
              </a:pathLst>
            </a:custGeom>
            <a:solidFill>
              <a:srgbClr val="FFFFFF"/>
            </a:solidFill>
            <a:ln w="3175">
              <a:solidFill>
                <a:schemeClr val="accent4"/>
              </a:solidFill>
              <a:round/>
              <a:headEnd/>
              <a:tailEnd/>
            </a:ln>
          </p:spPr>
          <p:txBody>
            <a:bodyPr/>
            <a:lstStyle/>
            <a:p>
              <a:endParaRPr lang="en-GB"/>
            </a:p>
          </p:txBody>
        </p:sp>
        <p:sp>
          <p:nvSpPr>
            <p:cNvPr id="794717" name="Freeform 235"/>
            <p:cNvSpPr>
              <a:spLocks noChangeAspect="1"/>
            </p:cNvSpPr>
            <p:nvPr/>
          </p:nvSpPr>
          <p:spPr bwMode="auto">
            <a:xfrm>
              <a:off x="2924" y="3048"/>
              <a:ext cx="53" cy="97"/>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0 w 234"/>
                <a:gd name="T65" fmla="*/ 0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4"/>
              </a:solidFill>
              <a:round/>
              <a:headEnd/>
              <a:tailEnd/>
            </a:ln>
          </p:spPr>
          <p:txBody>
            <a:bodyPr/>
            <a:lstStyle/>
            <a:p>
              <a:endParaRPr lang="en-GB"/>
            </a:p>
          </p:txBody>
        </p:sp>
      </p:grpSp>
      <p:grpSp>
        <p:nvGrpSpPr>
          <p:cNvPr id="212" name="Group 236"/>
          <p:cNvGrpSpPr>
            <a:grpSpLocks/>
          </p:cNvGrpSpPr>
          <p:nvPr/>
        </p:nvGrpSpPr>
        <p:grpSpPr bwMode="auto">
          <a:xfrm>
            <a:off x="3362325" y="4857750"/>
            <a:ext cx="115888" cy="115888"/>
            <a:chOff x="2295" y="3060"/>
            <a:chExt cx="79" cy="73"/>
          </a:xfrm>
        </p:grpSpPr>
        <p:sp>
          <p:nvSpPr>
            <p:cNvPr id="794710" name="Freeform 237"/>
            <p:cNvSpPr>
              <a:spLocks noChangeAspect="1"/>
            </p:cNvSpPr>
            <p:nvPr/>
          </p:nvSpPr>
          <p:spPr bwMode="auto">
            <a:xfrm>
              <a:off x="2335" y="3060"/>
              <a:ext cx="39" cy="73"/>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0 w 234"/>
                <a:gd name="T65" fmla="*/ 0 h 467"/>
                <a:gd name="T66" fmla="*/ 0 w 234"/>
                <a:gd name="T67" fmla="*/ 0 h 467"/>
                <a:gd name="T68" fmla="*/ 0 w 234"/>
                <a:gd name="T69" fmla="*/ 0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lnTo>
                    <a:pt x="0" y="233"/>
                  </a:lnTo>
                  <a:lnTo>
                    <a:pt x="0" y="0"/>
                  </a:lnTo>
                  <a:close/>
                </a:path>
              </a:pathLst>
            </a:custGeom>
            <a:solidFill>
              <a:schemeClr val="accent4"/>
            </a:solidFill>
            <a:ln w="3175">
              <a:solidFill>
                <a:schemeClr val="accent4"/>
              </a:solidFill>
              <a:round/>
              <a:headEnd/>
              <a:tailEnd/>
            </a:ln>
          </p:spPr>
          <p:txBody>
            <a:bodyPr/>
            <a:lstStyle/>
            <a:p>
              <a:endParaRPr lang="en-GB"/>
            </a:p>
          </p:txBody>
        </p:sp>
        <p:sp>
          <p:nvSpPr>
            <p:cNvPr id="794711" name="Freeform 238"/>
            <p:cNvSpPr>
              <a:spLocks noChangeAspect="1"/>
            </p:cNvSpPr>
            <p:nvPr/>
          </p:nvSpPr>
          <p:spPr bwMode="auto">
            <a:xfrm>
              <a:off x="2335" y="3060"/>
              <a:ext cx="39" cy="73"/>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0 w 234"/>
                <a:gd name="T65" fmla="*/ 0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path>
              </a:pathLst>
            </a:custGeom>
            <a:noFill/>
            <a:ln w="3175">
              <a:solidFill>
                <a:schemeClr val="accent4"/>
              </a:solidFill>
              <a:round/>
              <a:headEnd/>
              <a:tailEnd/>
            </a:ln>
          </p:spPr>
          <p:txBody>
            <a:bodyPr/>
            <a:lstStyle/>
            <a:p>
              <a:endParaRPr lang="en-GB"/>
            </a:p>
          </p:txBody>
        </p:sp>
        <p:sp>
          <p:nvSpPr>
            <p:cNvPr id="794712" name="Freeform 239"/>
            <p:cNvSpPr>
              <a:spLocks noChangeAspect="1"/>
            </p:cNvSpPr>
            <p:nvPr/>
          </p:nvSpPr>
          <p:spPr bwMode="auto">
            <a:xfrm>
              <a:off x="2295" y="3060"/>
              <a:ext cx="40" cy="73"/>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0 w 234"/>
                <a:gd name="T65" fmla="*/ 0 h 467"/>
                <a:gd name="T66" fmla="*/ 0 w 234"/>
                <a:gd name="T67" fmla="*/ 0 h 467"/>
                <a:gd name="T68" fmla="*/ 0 w 234"/>
                <a:gd name="T69" fmla="*/ 0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234" y="467"/>
                  </a:lnTo>
                  <a:close/>
                </a:path>
              </a:pathLst>
            </a:custGeom>
            <a:solidFill>
              <a:srgbClr val="FFFFFF"/>
            </a:solidFill>
            <a:ln w="3175">
              <a:solidFill>
                <a:schemeClr val="accent4"/>
              </a:solidFill>
              <a:round/>
              <a:headEnd/>
              <a:tailEnd/>
            </a:ln>
          </p:spPr>
          <p:txBody>
            <a:bodyPr/>
            <a:lstStyle/>
            <a:p>
              <a:endParaRPr lang="en-GB"/>
            </a:p>
          </p:txBody>
        </p:sp>
        <p:sp>
          <p:nvSpPr>
            <p:cNvPr id="794713" name="Freeform 240"/>
            <p:cNvSpPr>
              <a:spLocks noChangeAspect="1"/>
            </p:cNvSpPr>
            <p:nvPr/>
          </p:nvSpPr>
          <p:spPr bwMode="auto">
            <a:xfrm>
              <a:off x="2295" y="3060"/>
              <a:ext cx="40" cy="73"/>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0 w 234"/>
                <a:gd name="T65" fmla="*/ 0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4"/>
              </a:solidFill>
              <a:round/>
              <a:headEnd/>
              <a:tailEnd/>
            </a:ln>
          </p:spPr>
          <p:txBody>
            <a:bodyPr/>
            <a:lstStyle/>
            <a:p>
              <a:endParaRPr lang="en-GB"/>
            </a:p>
          </p:txBody>
        </p:sp>
      </p:grpSp>
      <p:grpSp>
        <p:nvGrpSpPr>
          <p:cNvPr id="215" name="Group 241"/>
          <p:cNvGrpSpPr>
            <a:grpSpLocks/>
          </p:cNvGrpSpPr>
          <p:nvPr/>
        </p:nvGrpSpPr>
        <p:grpSpPr bwMode="auto">
          <a:xfrm>
            <a:off x="2486025" y="4876800"/>
            <a:ext cx="79375" cy="79375"/>
            <a:chOff x="1697" y="3072"/>
            <a:chExt cx="54" cy="50"/>
          </a:xfrm>
        </p:grpSpPr>
        <p:sp>
          <p:nvSpPr>
            <p:cNvPr id="794706" name="Freeform 242"/>
            <p:cNvSpPr>
              <a:spLocks noChangeAspect="1"/>
            </p:cNvSpPr>
            <p:nvPr/>
          </p:nvSpPr>
          <p:spPr bwMode="auto">
            <a:xfrm>
              <a:off x="1724" y="3072"/>
              <a:ext cx="27" cy="50"/>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0 w 234"/>
                <a:gd name="T65" fmla="*/ 0 h 467"/>
                <a:gd name="T66" fmla="*/ 0 w 234"/>
                <a:gd name="T67" fmla="*/ 0 h 467"/>
                <a:gd name="T68" fmla="*/ 0 w 234"/>
                <a:gd name="T69" fmla="*/ 0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lnTo>
                    <a:pt x="0" y="233"/>
                  </a:lnTo>
                  <a:lnTo>
                    <a:pt x="0" y="0"/>
                  </a:lnTo>
                  <a:close/>
                </a:path>
              </a:pathLst>
            </a:custGeom>
            <a:solidFill>
              <a:schemeClr val="accent4"/>
            </a:solidFill>
            <a:ln w="3175">
              <a:solidFill>
                <a:schemeClr val="accent4"/>
              </a:solidFill>
              <a:round/>
              <a:headEnd/>
              <a:tailEnd/>
            </a:ln>
          </p:spPr>
          <p:txBody>
            <a:bodyPr/>
            <a:lstStyle/>
            <a:p>
              <a:endParaRPr lang="en-GB"/>
            </a:p>
          </p:txBody>
        </p:sp>
        <p:sp>
          <p:nvSpPr>
            <p:cNvPr id="794707" name="Freeform 243"/>
            <p:cNvSpPr>
              <a:spLocks noChangeAspect="1"/>
            </p:cNvSpPr>
            <p:nvPr/>
          </p:nvSpPr>
          <p:spPr bwMode="auto">
            <a:xfrm>
              <a:off x="1724" y="3072"/>
              <a:ext cx="27" cy="50"/>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0 w 234"/>
                <a:gd name="T65" fmla="*/ 0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0" y="0"/>
                  </a:moveTo>
                  <a:lnTo>
                    <a:pt x="24" y="1"/>
                  </a:lnTo>
                  <a:lnTo>
                    <a:pt x="47" y="5"/>
                  </a:lnTo>
                  <a:lnTo>
                    <a:pt x="70" y="11"/>
                  </a:lnTo>
                  <a:lnTo>
                    <a:pt x="91" y="18"/>
                  </a:lnTo>
                  <a:lnTo>
                    <a:pt x="111" y="28"/>
                  </a:lnTo>
                  <a:lnTo>
                    <a:pt x="131" y="40"/>
                  </a:lnTo>
                  <a:lnTo>
                    <a:pt x="149" y="53"/>
                  </a:lnTo>
                  <a:lnTo>
                    <a:pt x="165" y="69"/>
                  </a:lnTo>
                  <a:lnTo>
                    <a:pt x="181" y="85"/>
                  </a:lnTo>
                  <a:lnTo>
                    <a:pt x="194" y="103"/>
                  </a:lnTo>
                  <a:lnTo>
                    <a:pt x="206" y="122"/>
                  </a:lnTo>
                  <a:lnTo>
                    <a:pt x="216" y="143"/>
                  </a:lnTo>
                  <a:lnTo>
                    <a:pt x="223" y="164"/>
                  </a:lnTo>
                  <a:lnTo>
                    <a:pt x="229" y="186"/>
                  </a:lnTo>
                  <a:lnTo>
                    <a:pt x="233" y="209"/>
                  </a:lnTo>
                  <a:lnTo>
                    <a:pt x="234" y="233"/>
                  </a:lnTo>
                  <a:lnTo>
                    <a:pt x="233" y="257"/>
                  </a:lnTo>
                  <a:lnTo>
                    <a:pt x="229" y="280"/>
                  </a:lnTo>
                  <a:lnTo>
                    <a:pt x="223" y="303"/>
                  </a:lnTo>
                  <a:lnTo>
                    <a:pt x="216" y="324"/>
                  </a:lnTo>
                  <a:lnTo>
                    <a:pt x="206" y="344"/>
                  </a:lnTo>
                  <a:lnTo>
                    <a:pt x="194" y="364"/>
                  </a:lnTo>
                  <a:lnTo>
                    <a:pt x="181" y="382"/>
                  </a:lnTo>
                  <a:lnTo>
                    <a:pt x="165" y="398"/>
                  </a:lnTo>
                  <a:lnTo>
                    <a:pt x="149" y="414"/>
                  </a:lnTo>
                  <a:lnTo>
                    <a:pt x="131" y="427"/>
                  </a:lnTo>
                  <a:lnTo>
                    <a:pt x="111" y="439"/>
                  </a:lnTo>
                  <a:lnTo>
                    <a:pt x="91" y="449"/>
                  </a:lnTo>
                  <a:lnTo>
                    <a:pt x="70" y="456"/>
                  </a:lnTo>
                  <a:lnTo>
                    <a:pt x="47" y="462"/>
                  </a:lnTo>
                  <a:lnTo>
                    <a:pt x="24" y="466"/>
                  </a:lnTo>
                  <a:lnTo>
                    <a:pt x="0" y="467"/>
                  </a:lnTo>
                </a:path>
              </a:pathLst>
            </a:custGeom>
            <a:noFill/>
            <a:ln w="3175">
              <a:solidFill>
                <a:schemeClr val="accent4"/>
              </a:solidFill>
              <a:round/>
              <a:headEnd/>
              <a:tailEnd/>
            </a:ln>
          </p:spPr>
          <p:txBody>
            <a:bodyPr/>
            <a:lstStyle/>
            <a:p>
              <a:endParaRPr lang="en-GB"/>
            </a:p>
          </p:txBody>
        </p:sp>
        <p:sp>
          <p:nvSpPr>
            <p:cNvPr id="794708" name="Freeform 244"/>
            <p:cNvSpPr>
              <a:spLocks noChangeAspect="1"/>
            </p:cNvSpPr>
            <p:nvPr/>
          </p:nvSpPr>
          <p:spPr bwMode="auto">
            <a:xfrm>
              <a:off x="1697" y="3072"/>
              <a:ext cx="27" cy="50"/>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0 w 234"/>
                <a:gd name="T65" fmla="*/ 0 h 467"/>
                <a:gd name="T66" fmla="*/ 0 w 234"/>
                <a:gd name="T67" fmla="*/ 0 h 467"/>
                <a:gd name="T68" fmla="*/ 0 w 234"/>
                <a:gd name="T69" fmla="*/ 0 h 4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467"/>
                <a:gd name="T107" fmla="*/ 234 w 234"/>
                <a:gd name="T108" fmla="*/ 467 h 4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234" y="467"/>
                  </a:lnTo>
                  <a:close/>
                </a:path>
              </a:pathLst>
            </a:custGeom>
            <a:solidFill>
              <a:srgbClr val="FFFFFF"/>
            </a:solidFill>
            <a:ln w="3175">
              <a:solidFill>
                <a:schemeClr val="accent4"/>
              </a:solidFill>
              <a:round/>
              <a:headEnd/>
              <a:tailEnd/>
            </a:ln>
          </p:spPr>
          <p:txBody>
            <a:bodyPr/>
            <a:lstStyle/>
            <a:p>
              <a:endParaRPr lang="en-GB"/>
            </a:p>
          </p:txBody>
        </p:sp>
        <p:sp>
          <p:nvSpPr>
            <p:cNvPr id="794709" name="Freeform 245"/>
            <p:cNvSpPr>
              <a:spLocks noChangeAspect="1"/>
            </p:cNvSpPr>
            <p:nvPr/>
          </p:nvSpPr>
          <p:spPr bwMode="auto">
            <a:xfrm>
              <a:off x="1697" y="3072"/>
              <a:ext cx="27" cy="50"/>
            </a:xfrm>
            <a:custGeom>
              <a:avLst/>
              <a:gdLst>
                <a:gd name="T0" fmla="*/ 0 w 234"/>
                <a:gd name="T1" fmla="*/ 0 h 467"/>
                <a:gd name="T2" fmla="*/ 0 w 234"/>
                <a:gd name="T3" fmla="*/ 0 h 467"/>
                <a:gd name="T4" fmla="*/ 0 w 234"/>
                <a:gd name="T5" fmla="*/ 0 h 467"/>
                <a:gd name="T6" fmla="*/ 0 w 234"/>
                <a:gd name="T7" fmla="*/ 0 h 467"/>
                <a:gd name="T8" fmla="*/ 0 w 234"/>
                <a:gd name="T9" fmla="*/ 0 h 467"/>
                <a:gd name="T10" fmla="*/ 0 w 234"/>
                <a:gd name="T11" fmla="*/ 0 h 467"/>
                <a:gd name="T12" fmla="*/ 0 w 234"/>
                <a:gd name="T13" fmla="*/ 0 h 467"/>
                <a:gd name="T14" fmla="*/ 0 w 234"/>
                <a:gd name="T15" fmla="*/ 0 h 467"/>
                <a:gd name="T16" fmla="*/ 0 w 234"/>
                <a:gd name="T17" fmla="*/ 0 h 467"/>
                <a:gd name="T18" fmla="*/ 0 w 234"/>
                <a:gd name="T19" fmla="*/ 0 h 467"/>
                <a:gd name="T20" fmla="*/ 0 w 234"/>
                <a:gd name="T21" fmla="*/ 0 h 467"/>
                <a:gd name="T22" fmla="*/ 0 w 234"/>
                <a:gd name="T23" fmla="*/ 0 h 467"/>
                <a:gd name="T24" fmla="*/ 0 w 234"/>
                <a:gd name="T25" fmla="*/ 0 h 467"/>
                <a:gd name="T26" fmla="*/ 0 w 234"/>
                <a:gd name="T27" fmla="*/ 0 h 467"/>
                <a:gd name="T28" fmla="*/ 0 w 234"/>
                <a:gd name="T29" fmla="*/ 0 h 467"/>
                <a:gd name="T30" fmla="*/ 0 w 234"/>
                <a:gd name="T31" fmla="*/ 0 h 467"/>
                <a:gd name="T32" fmla="*/ 0 w 234"/>
                <a:gd name="T33" fmla="*/ 0 h 467"/>
                <a:gd name="T34" fmla="*/ 0 w 234"/>
                <a:gd name="T35" fmla="*/ 0 h 467"/>
                <a:gd name="T36" fmla="*/ 0 w 234"/>
                <a:gd name="T37" fmla="*/ 0 h 467"/>
                <a:gd name="T38" fmla="*/ 0 w 234"/>
                <a:gd name="T39" fmla="*/ 0 h 467"/>
                <a:gd name="T40" fmla="*/ 0 w 234"/>
                <a:gd name="T41" fmla="*/ 0 h 467"/>
                <a:gd name="T42" fmla="*/ 0 w 234"/>
                <a:gd name="T43" fmla="*/ 0 h 467"/>
                <a:gd name="T44" fmla="*/ 0 w 234"/>
                <a:gd name="T45" fmla="*/ 0 h 467"/>
                <a:gd name="T46" fmla="*/ 0 w 234"/>
                <a:gd name="T47" fmla="*/ 0 h 467"/>
                <a:gd name="T48" fmla="*/ 0 w 234"/>
                <a:gd name="T49" fmla="*/ 0 h 467"/>
                <a:gd name="T50" fmla="*/ 0 w 234"/>
                <a:gd name="T51" fmla="*/ 0 h 467"/>
                <a:gd name="T52" fmla="*/ 0 w 234"/>
                <a:gd name="T53" fmla="*/ 0 h 467"/>
                <a:gd name="T54" fmla="*/ 0 w 234"/>
                <a:gd name="T55" fmla="*/ 0 h 467"/>
                <a:gd name="T56" fmla="*/ 0 w 234"/>
                <a:gd name="T57" fmla="*/ 0 h 467"/>
                <a:gd name="T58" fmla="*/ 0 w 234"/>
                <a:gd name="T59" fmla="*/ 0 h 467"/>
                <a:gd name="T60" fmla="*/ 0 w 234"/>
                <a:gd name="T61" fmla="*/ 0 h 467"/>
                <a:gd name="T62" fmla="*/ 0 w 234"/>
                <a:gd name="T63" fmla="*/ 0 h 467"/>
                <a:gd name="T64" fmla="*/ 0 w 234"/>
                <a:gd name="T65" fmla="*/ 0 h 4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4"/>
                <a:gd name="T100" fmla="*/ 0 h 467"/>
                <a:gd name="T101" fmla="*/ 234 w 234"/>
                <a:gd name="T102" fmla="*/ 467 h 4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4" h="467">
                  <a:moveTo>
                    <a:pt x="234" y="467"/>
                  </a:move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noFill/>
            <a:ln w="3175">
              <a:solidFill>
                <a:schemeClr val="accent4"/>
              </a:solidFill>
              <a:round/>
              <a:headEnd/>
              <a:tailEnd/>
            </a:ln>
          </p:spPr>
          <p:txBody>
            <a:bodyPr/>
            <a:lstStyle/>
            <a:p>
              <a:endParaRPr lang="en-GB"/>
            </a:p>
          </p:txBody>
        </p:sp>
      </p:grpSp>
      <p:grpSp>
        <p:nvGrpSpPr>
          <p:cNvPr id="216" name="Group 246"/>
          <p:cNvGrpSpPr>
            <a:grpSpLocks/>
          </p:cNvGrpSpPr>
          <p:nvPr/>
        </p:nvGrpSpPr>
        <p:grpSpPr bwMode="auto">
          <a:xfrm>
            <a:off x="7299325" y="4302125"/>
            <a:ext cx="307975" cy="307975"/>
            <a:chOff x="4981" y="2710"/>
            <a:chExt cx="210" cy="194"/>
          </a:xfrm>
        </p:grpSpPr>
        <p:sp>
          <p:nvSpPr>
            <p:cNvPr id="794702" name="Freeform 247"/>
            <p:cNvSpPr>
              <a:spLocks noChangeAspect="1"/>
            </p:cNvSpPr>
            <p:nvPr/>
          </p:nvSpPr>
          <p:spPr bwMode="auto">
            <a:xfrm>
              <a:off x="4981" y="2710"/>
              <a:ext cx="210" cy="194"/>
            </a:xfrm>
            <a:custGeom>
              <a:avLst/>
              <a:gdLst>
                <a:gd name="T0" fmla="*/ 9 w 468"/>
                <a:gd name="T1" fmla="*/ 3 h 467"/>
                <a:gd name="T2" fmla="*/ 9 w 468"/>
                <a:gd name="T3" fmla="*/ 3 h 467"/>
                <a:gd name="T4" fmla="*/ 9 w 468"/>
                <a:gd name="T5" fmla="*/ 3 h 467"/>
                <a:gd name="T6" fmla="*/ 9 w 468"/>
                <a:gd name="T7" fmla="*/ 3 h 467"/>
                <a:gd name="T8" fmla="*/ 9 w 468"/>
                <a:gd name="T9" fmla="*/ 3 h 467"/>
                <a:gd name="T10" fmla="*/ 8 w 468"/>
                <a:gd name="T11" fmla="*/ 4 h 467"/>
                <a:gd name="T12" fmla="*/ 8 w 468"/>
                <a:gd name="T13" fmla="*/ 4 h 467"/>
                <a:gd name="T14" fmla="*/ 8 w 468"/>
                <a:gd name="T15" fmla="*/ 4 h 467"/>
                <a:gd name="T16" fmla="*/ 8 w 468"/>
                <a:gd name="T17" fmla="*/ 5 h 467"/>
                <a:gd name="T18" fmla="*/ 8 w 468"/>
                <a:gd name="T19" fmla="*/ 5 h 467"/>
                <a:gd name="T20" fmla="*/ 7 w 468"/>
                <a:gd name="T21" fmla="*/ 5 h 467"/>
                <a:gd name="T22" fmla="*/ 7 w 468"/>
                <a:gd name="T23" fmla="*/ 5 h 467"/>
                <a:gd name="T24" fmla="*/ 7 w 468"/>
                <a:gd name="T25" fmla="*/ 5 h 467"/>
                <a:gd name="T26" fmla="*/ 6 w 468"/>
                <a:gd name="T27" fmla="*/ 5 h 467"/>
                <a:gd name="T28" fmla="*/ 6 w 468"/>
                <a:gd name="T29" fmla="*/ 5 h 467"/>
                <a:gd name="T30" fmla="*/ 5 w 468"/>
                <a:gd name="T31" fmla="*/ 6 h 467"/>
                <a:gd name="T32" fmla="*/ 5 w 468"/>
                <a:gd name="T33" fmla="*/ 6 h 467"/>
                <a:gd name="T34" fmla="*/ 4 w 468"/>
                <a:gd name="T35" fmla="*/ 6 h 467"/>
                <a:gd name="T36" fmla="*/ 4 w 468"/>
                <a:gd name="T37" fmla="*/ 6 h 467"/>
                <a:gd name="T38" fmla="*/ 4 w 468"/>
                <a:gd name="T39" fmla="*/ 6 h 467"/>
                <a:gd name="T40" fmla="*/ 4 w 468"/>
                <a:gd name="T41" fmla="*/ 6 h 467"/>
                <a:gd name="T42" fmla="*/ 3 w 468"/>
                <a:gd name="T43" fmla="*/ 6 h 467"/>
                <a:gd name="T44" fmla="*/ 3 w 468"/>
                <a:gd name="T45" fmla="*/ 5 h 467"/>
                <a:gd name="T46" fmla="*/ 2 w 468"/>
                <a:gd name="T47" fmla="*/ 5 h 467"/>
                <a:gd name="T48" fmla="*/ 2 w 468"/>
                <a:gd name="T49" fmla="*/ 5 h 467"/>
                <a:gd name="T50" fmla="*/ 2 w 468"/>
                <a:gd name="T51" fmla="*/ 5 h 467"/>
                <a:gd name="T52" fmla="*/ 1 w 468"/>
                <a:gd name="T53" fmla="*/ 5 h 467"/>
                <a:gd name="T54" fmla="*/ 1 w 468"/>
                <a:gd name="T55" fmla="*/ 5 h 467"/>
                <a:gd name="T56" fmla="*/ 1 w 468"/>
                <a:gd name="T57" fmla="*/ 5 h 467"/>
                <a:gd name="T58" fmla="*/ 0 w 468"/>
                <a:gd name="T59" fmla="*/ 4 h 467"/>
                <a:gd name="T60" fmla="*/ 0 w 468"/>
                <a:gd name="T61" fmla="*/ 4 h 467"/>
                <a:gd name="T62" fmla="*/ 0 w 468"/>
                <a:gd name="T63" fmla="*/ 4 h 467"/>
                <a:gd name="T64" fmla="*/ 0 w 468"/>
                <a:gd name="T65" fmla="*/ 3 h 467"/>
                <a:gd name="T66" fmla="*/ 0 w 468"/>
                <a:gd name="T67" fmla="*/ 3 h 467"/>
                <a:gd name="T68" fmla="*/ 0 w 468"/>
                <a:gd name="T69" fmla="*/ 3 h 467"/>
                <a:gd name="T70" fmla="*/ 0 w 468"/>
                <a:gd name="T71" fmla="*/ 2 h 467"/>
                <a:gd name="T72" fmla="*/ 0 w 468"/>
                <a:gd name="T73" fmla="*/ 2 h 467"/>
                <a:gd name="T74" fmla="*/ 0 w 468"/>
                <a:gd name="T75" fmla="*/ 2 h 467"/>
                <a:gd name="T76" fmla="*/ 0 w 468"/>
                <a:gd name="T77" fmla="*/ 2 h 467"/>
                <a:gd name="T78" fmla="*/ 0 w 468"/>
                <a:gd name="T79" fmla="*/ 2 h 467"/>
                <a:gd name="T80" fmla="*/ 1 w 468"/>
                <a:gd name="T81" fmla="*/ 1 h 467"/>
                <a:gd name="T82" fmla="*/ 1 w 468"/>
                <a:gd name="T83" fmla="*/ 1 h 467"/>
                <a:gd name="T84" fmla="*/ 1 w 468"/>
                <a:gd name="T85" fmla="*/ 1 h 467"/>
                <a:gd name="T86" fmla="*/ 2 w 468"/>
                <a:gd name="T87" fmla="*/ 1 h 467"/>
                <a:gd name="T88" fmla="*/ 2 w 468"/>
                <a:gd name="T89" fmla="*/ 0 h 467"/>
                <a:gd name="T90" fmla="*/ 2 w 468"/>
                <a:gd name="T91" fmla="*/ 0 h 467"/>
                <a:gd name="T92" fmla="*/ 3 w 468"/>
                <a:gd name="T93" fmla="*/ 0 h 467"/>
                <a:gd name="T94" fmla="*/ 3 w 468"/>
                <a:gd name="T95" fmla="*/ 0 h 467"/>
                <a:gd name="T96" fmla="*/ 4 w 468"/>
                <a:gd name="T97" fmla="*/ 0 h 467"/>
                <a:gd name="T98" fmla="*/ 4 w 468"/>
                <a:gd name="T99" fmla="*/ 0 h 467"/>
                <a:gd name="T100" fmla="*/ 4 w 468"/>
                <a:gd name="T101" fmla="*/ 0 h 467"/>
                <a:gd name="T102" fmla="*/ 4 w 468"/>
                <a:gd name="T103" fmla="*/ 3 h 467"/>
                <a:gd name="T104" fmla="*/ 9 w 468"/>
                <a:gd name="T105" fmla="*/ 3 h 4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8"/>
                <a:gd name="T160" fmla="*/ 0 h 467"/>
                <a:gd name="T161" fmla="*/ 468 w 468"/>
                <a:gd name="T162" fmla="*/ 467 h 4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lnTo>
                    <a:pt x="234" y="233"/>
                  </a:lnTo>
                  <a:lnTo>
                    <a:pt x="468" y="232"/>
                  </a:lnTo>
                  <a:close/>
                </a:path>
              </a:pathLst>
            </a:custGeom>
            <a:solidFill>
              <a:schemeClr val="bg1"/>
            </a:solidFill>
            <a:ln w="3175">
              <a:solidFill>
                <a:schemeClr val="accent4"/>
              </a:solidFill>
              <a:round/>
              <a:headEnd/>
              <a:tailEnd/>
            </a:ln>
          </p:spPr>
          <p:txBody>
            <a:bodyPr/>
            <a:lstStyle/>
            <a:p>
              <a:endParaRPr lang="en-GB"/>
            </a:p>
          </p:txBody>
        </p:sp>
        <p:sp>
          <p:nvSpPr>
            <p:cNvPr id="794703" name="Freeform 248"/>
            <p:cNvSpPr>
              <a:spLocks noChangeAspect="1"/>
            </p:cNvSpPr>
            <p:nvPr/>
          </p:nvSpPr>
          <p:spPr bwMode="auto">
            <a:xfrm>
              <a:off x="4981" y="2710"/>
              <a:ext cx="210" cy="194"/>
            </a:xfrm>
            <a:custGeom>
              <a:avLst/>
              <a:gdLst>
                <a:gd name="T0" fmla="*/ 9 w 468"/>
                <a:gd name="T1" fmla="*/ 3 h 467"/>
                <a:gd name="T2" fmla="*/ 9 w 468"/>
                <a:gd name="T3" fmla="*/ 3 h 467"/>
                <a:gd name="T4" fmla="*/ 9 w 468"/>
                <a:gd name="T5" fmla="*/ 3 h 467"/>
                <a:gd name="T6" fmla="*/ 9 w 468"/>
                <a:gd name="T7" fmla="*/ 3 h 467"/>
                <a:gd name="T8" fmla="*/ 9 w 468"/>
                <a:gd name="T9" fmla="*/ 3 h 467"/>
                <a:gd name="T10" fmla="*/ 8 w 468"/>
                <a:gd name="T11" fmla="*/ 4 h 467"/>
                <a:gd name="T12" fmla="*/ 8 w 468"/>
                <a:gd name="T13" fmla="*/ 4 h 467"/>
                <a:gd name="T14" fmla="*/ 8 w 468"/>
                <a:gd name="T15" fmla="*/ 4 h 467"/>
                <a:gd name="T16" fmla="*/ 8 w 468"/>
                <a:gd name="T17" fmla="*/ 5 h 467"/>
                <a:gd name="T18" fmla="*/ 8 w 468"/>
                <a:gd name="T19" fmla="*/ 5 h 467"/>
                <a:gd name="T20" fmla="*/ 7 w 468"/>
                <a:gd name="T21" fmla="*/ 5 h 467"/>
                <a:gd name="T22" fmla="*/ 7 w 468"/>
                <a:gd name="T23" fmla="*/ 5 h 467"/>
                <a:gd name="T24" fmla="*/ 7 w 468"/>
                <a:gd name="T25" fmla="*/ 5 h 467"/>
                <a:gd name="T26" fmla="*/ 6 w 468"/>
                <a:gd name="T27" fmla="*/ 5 h 467"/>
                <a:gd name="T28" fmla="*/ 6 w 468"/>
                <a:gd name="T29" fmla="*/ 5 h 467"/>
                <a:gd name="T30" fmla="*/ 5 w 468"/>
                <a:gd name="T31" fmla="*/ 6 h 467"/>
                <a:gd name="T32" fmla="*/ 5 w 468"/>
                <a:gd name="T33" fmla="*/ 6 h 467"/>
                <a:gd name="T34" fmla="*/ 4 w 468"/>
                <a:gd name="T35" fmla="*/ 6 h 467"/>
                <a:gd name="T36" fmla="*/ 4 w 468"/>
                <a:gd name="T37" fmla="*/ 6 h 467"/>
                <a:gd name="T38" fmla="*/ 4 w 468"/>
                <a:gd name="T39" fmla="*/ 6 h 467"/>
                <a:gd name="T40" fmla="*/ 4 w 468"/>
                <a:gd name="T41" fmla="*/ 6 h 467"/>
                <a:gd name="T42" fmla="*/ 3 w 468"/>
                <a:gd name="T43" fmla="*/ 6 h 467"/>
                <a:gd name="T44" fmla="*/ 3 w 468"/>
                <a:gd name="T45" fmla="*/ 5 h 467"/>
                <a:gd name="T46" fmla="*/ 2 w 468"/>
                <a:gd name="T47" fmla="*/ 5 h 467"/>
                <a:gd name="T48" fmla="*/ 2 w 468"/>
                <a:gd name="T49" fmla="*/ 5 h 467"/>
                <a:gd name="T50" fmla="*/ 2 w 468"/>
                <a:gd name="T51" fmla="*/ 5 h 467"/>
                <a:gd name="T52" fmla="*/ 1 w 468"/>
                <a:gd name="T53" fmla="*/ 5 h 467"/>
                <a:gd name="T54" fmla="*/ 1 w 468"/>
                <a:gd name="T55" fmla="*/ 5 h 467"/>
                <a:gd name="T56" fmla="*/ 1 w 468"/>
                <a:gd name="T57" fmla="*/ 5 h 467"/>
                <a:gd name="T58" fmla="*/ 0 w 468"/>
                <a:gd name="T59" fmla="*/ 4 h 467"/>
                <a:gd name="T60" fmla="*/ 0 w 468"/>
                <a:gd name="T61" fmla="*/ 4 h 467"/>
                <a:gd name="T62" fmla="*/ 0 w 468"/>
                <a:gd name="T63" fmla="*/ 4 h 467"/>
                <a:gd name="T64" fmla="*/ 0 w 468"/>
                <a:gd name="T65" fmla="*/ 3 h 467"/>
                <a:gd name="T66" fmla="*/ 0 w 468"/>
                <a:gd name="T67" fmla="*/ 3 h 467"/>
                <a:gd name="T68" fmla="*/ 0 w 468"/>
                <a:gd name="T69" fmla="*/ 3 h 467"/>
                <a:gd name="T70" fmla="*/ 0 w 468"/>
                <a:gd name="T71" fmla="*/ 2 h 467"/>
                <a:gd name="T72" fmla="*/ 0 w 468"/>
                <a:gd name="T73" fmla="*/ 2 h 467"/>
                <a:gd name="T74" fmla="*/ 0 w 468"/>
                <a:gd name="T75" fmla="*/ 2 h 467"/>
                <a:gd name="T76" fmla="*/ 0 w 468"/>
                <a:gd name="T77" fmla="*/ 2 h 467"/>
                <a:gd name="T78" fmla="*/ 0 w 468"/>
                <a:gd name="T79" fmla="*/ 2 h 467"/>
                <a:gd name="T80" fmla="*/ 1 w 468"/>
                <a:gd name="T81" fmla="*/ 1 h 467"/>
                <a:gd name="T82" fmla="*/ 1 w 468"/>
                <a:gd name="T83" fmla="*/ 1 h 467"/>
                <a:gd name="T84" fmla="*/ 1 w 468"/>
                <a:gd name="T85" fmla="*/ 1 h 467"/>
                <a:gd name="T86" fmla="*/ 2 w 468"/>
                <a:gd name="T87" fmla="*/ 1 h 467"/>
                <a:gd name="T88" fmla="*/ 2 w 468"/>
                <a:gd name="T89" fmla="*/ 0 h 467"/>
                <a:gd name="T90" fmla="*/ 2 w 468"/>
                <a:gd name="T91" fmla="*/ 0 h 467"/>
                <a:gd name="T92" fmla="*/ 3 w 468"/>
                <a:gd name="T93" fmla="*/ 0 h 467"/>
                <a:gd name="T94" fmla="*/ 3 w 468"/>
                <a:gd name="T95" fmla="*/ 0 h 467"/>
                <a:gd name="T96" fmla="*/ 4 w 468"/>
                <a:gd name="T97" fmla="*/ 0 h 467"/>
                <a:gd name="T98" fmla="*/ 4 w 468"/>
                <a:gd name="T99" fmla="*/ 0 h 467"/>
                <a:gd name="T100" fmla="*/ 4 w 468"/>
                <a:gd name="T101" fmla="*/ 0 h 46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8"/>
                <a:gd name="T154" fmla="*/ 0 h 467"/>
                <a:gd name="T155" fmla="*/ 468 w 468"/>
                <a:gd name="T156" fmla="*/ 467 h 46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8" h="467">
                  <a:moveTo>
                    <a:pt x="468" y="232"/>
                  </a:moveTo>
                  <a:lnTo>
                    <a:pt x="468" y="233"/>
                  </a:lnTo>
                  <a:lnTo>
                    <a:pt x="467" y="257"/>
                  </a:lnTo>
                  <a:lnTo>
                    <a:pt x="463" y="280"/>
                  </a:lnTo>
                  <a:lnTo>
                    <a:pt x="457" y="303"/>
                  </a:lnTo>
                  <a:lnTo>
                    <a:pt x="450" y="324"/>
                  </a:lnTo>
                  <a:lnTo>
                    <a:pt x="440" y="344"/>
                  </a:lnTo>
                  <a:lnTo>
                    <a:pt x="428" y="364"/>
                  </a:lnTo>
                  <a:lnTo>
                    <a:pt x="415" y="382"/>
                  </a:lnTo>
                  <a:lnTo>
                    <a:pt x="399" y="398"/>
                  </a:lnTo>
                  <a:lnTo>
                    <a:pt x="383" y="414"/>
                  </a:lnTo>
                  <a:lnTo>
                    <a:pt x="365" y="427"/>
                  </a:lnTo>
                  <a:lnTo>
                    <a:pt x="345" y="439"/>
                  </a:lnTo>
                  <a:lnTo>
                    <a:pt x="325" y="449"/>
                  </a:lnTo>
                  <a:lnTo>
                    <a:pt x="304" y="456"/>
                  </a:lnTo>
                  <a:lnTo>
                    <a:pt x="281" y="462"/>
                  </a:lnTo>
                  <a:lnTo>
                    <a:pt x="258" y="466"/>
                  </a:lnTo>
                  <a:lnTo>
                    <a:pt x="234" y="467"/>
                  </a:lnTo>
                  <a:lnTo>
                    <a:pt x="210" y="466"/>
                  </a:lnTo>
                  <a:lnTo>
                    <a:pt x="187" y="462"/>
                  </a:lnTo>
                  <a:lnTo>
                    <a:pt x="165" y="456"/>
                  </a:lnTo>
                  <a:lnTo>
                    <a:pt x="143" y="449"/>
                  </a:lnTo>
                  <a:lnTo>
                    <a:pt x="123" y="439"/>
                  </a:lnTo>
                  <a:lnTo>
                    <a:pt x="103" y="427"/>
                  </a:lnTo>
                  <a:lnTo>
                    <a:pt x="85" y="414"/>
                  </a:lnTo>
                  <a:lnTo>
                    <a:pt x="69" y="398"/>
                  </a:lnTo>
                  <a:lnTo>
                    <a:pt x="54" y="382"/>
                  </a:lnTo>
                  <a:lnTo>
                    <a:pt x="40" y="364"/>
                  </a:lnTo>
                  <a:lnTo>
                    <a:pt x="28" y="344"/>
                  </a:lnTo>
                  <a:lnTo>
                    <a:pt x="18" y="324"/>
                  </a:lnTo>
                  <a:lnTo>
                    <a:pt x="11" y="303"/>
                  </a:lnTo>
                  <a:lnTo>
                    <a:pt x="5" y="280"/>
                  </a:lnTo>
                  <a:lnTo>
                    <a:pt x="1" y="257"/>
                  </a:lnTo>
                  <a:lnTo>
                    <a:pt x="0" y="233"/>
                  </a:lnTo>
                  <a:lnTo>
                    <a:pt x="1" y="209"/>
                  </a:lnTo>
                  <a:lnTo>
                    <a:pt x="5" y="186"/>
                  </a:lnTo>
                  <a:lnTo>
                    <a:pt x="11" y="164"/>
                  </a:lnTo>
                  <a:lnTo>
                    <a:pt x="18" y="143"/>
                  </a:lnTo>
                  <a:lnTo>
                    <a:pt x="28" y="122"/>
                  </a:lnTo>
                  <a:lnTo>
                    <a:pt x="40" y="103"/>
                  </a:lnTo>
                  <a:lnTo>
                    <a:pt x="54" y="85"/>
                  </a:lnTo>
                  <a:lnTo>
                    <a:pt x="69" y="69"/>
                  </a:lnTo>
                  <a:lnTo>
                    <a:pt x="85" y="53"/>
                  </a:lnTo>
                  <a:lnTo>
                    <a:pt x="103" y="40"/>
                  </a:lnTo>
                  <a:lnTo>
                    <a:pt x="123" y="28"/>
                  </a:lnTo>
                  <a:lnTo>
                    <a:pt x="143" y="18"/>
                  </a:lnTo>
                  <a:lnTo>
                    <a:pt x="165" y="11"/>
                  </a:lnTo>
                  <a:lnTo>
                    <a:pt x="187" y="5"/>
                  </a:lnTo>
                  <a:lnTo>
                    <a:pt x="210" y="1"/>
                  </a:lnTo>
                  <a:lnTo>
                    <a:pt x="234" y="0"/>
                  </a:lnTo>
                </a:path>
              </a:pathLst>
            </a:custGeom>
            <a:solidFill>
              <a:schemeClr val="bg1"/>
            </a:solidFill>
            <a:ln w="3175">
              <a:solidFill>
                <a:schemeClr val="accent4"/>
              </a:solidFill>
              <a:round/>
              <a:headEnd/>
              <a:tailEnd/>
            </a:ln>
          </p:spPr>
          <p:txBody>
            <a:bodyPr/>
            <a:lstStyle/>
            <a:p>
              <a:endParaRPr lang="en-GB"/>
            </a:p>
          </p:txBody>
        </p:sp>
        <p:sp>
          <p:nvSpPr>
            <p:cNvPr id="794704" name="Freeform 249"/>
            <p:cNvSpPr>
              <a:spLocks noChangeAspect="1"/>
            </p:cNvSpPr>
            <p:nvPr/>
          </p:nvSpPr>
          <p:spPr bwMode="auto">
            <a:xfrm>
              <a:off x="5086" y="2710"/>
              <a:ext cx="105" cy="97"/>
            </a:xfrm>
            <a:custGeom>
              <a:avLst/>
              <a:gdLst>
                <a:gd name="T0" fmla="*/ 0 w 234"/>
                <a:gd name="T1" fmla="*/ 0 h 234"/>
                <a:gd name="T2" fmla="*/ 0 w 234"/>
                <a:gd name="T3" fmla="*/ 0 h 234"/>
                <a:gd name="T4" fmla="*/ 1 w 234"/>
                <a:gd name="T5" fmla="*/ 0 h 234"/>
                <a:gd name="T6" fmla="*/ 1 w 234"/>
                <a:gd name="T7" fmla="*/ 0 h 234"/>
                <a:gd name="T8" fmla="*/ 2 w 234"/>
                <a:gd name="T9" fmla="*/ 0 h 234"/>
                <a:gd name="T10" fmla="*/ 2 w 234"/>
                <a:gd name="T11" fmla="*/ 0 h 234"/>
                <a:gd name="T12" fmla="*/ 2 w 234"/>
                <a:gd name="T13" fmla="*/ 0 h 234"/>
                <a:gd name="T14" fmla="*/ 3 w 234"/>
                <a:gd name="T15" fmla="*/ 1 h 234"/>
                <a:gd name="T16" fmla="*/ 3 w 234"/>
                <a:gd name="T17" fmla="*/ 1 h 234"/>
                <a:gd name="T18" fmla="*/ 3 w 234"/>
                <a:gd name="T19" fmla="*/ 1 h 234"/>
                <a:gd name="T20" fmla="*/ 4 w 234"/>
                <a:gd name="T21" fmla="*/ 1 h 234"/>
                <a:gd name="T22" fmla="*/ 4 w 234"/>
                <a:gd name="T23" fmla="*/ 2 h 234"/>
                <a:gd name="T24" fmla="*/ 4 w 234"/>
                <a:gd name="T25" fmla="*/ 2 h 234"/>
                <a:gd name="T26" fmla="*/ 4 w 234"/>
                <a:gd name="T27" fmla="*/ 2 h 234"/>
                <a:gd name="T28" fmla="*/ 4 w 234"/>
                <a:gd name="T29" fmla="*/ 2 h 234"/>
                <a:gd name="T30" fmla="*/ 4 w 234"/>
                <a:gd name="T31" fmla="*/ 2 h 234"/>
                <a:gd name="T32" fmla="*/ 4 w 234"/>
                <a:gd name="T33" fmla="*/ 3 h 234"/>
                <a:gd name="T34" fmla="*/ 0 w 234"/>
                <a:gd name="T35" fmla="*/ 3 h 234"/>
                <a:gd name="T36" fmla="*/ 0 w 234"/>
                <a:gd name="T37" fmla="*/ 0 h 2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4"/>
                <a:gd name="T58" fmla="*/ 0 h 234"/>
                <a:gd name="T59" fmla="*/ 234 w 234"/>
                <a:gd name="T60" fmla="*/ 234 h 2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4" h="234">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lnTo>
                    <a:pt x="0" y="234"/>
                  </a:lnTo>
                  <a:lnTo>
                    <a:pt x="0" y="0"/>
                  </a:lnTo>
                  <a:close/>
                </a:path>
              </a:pathLst>
            </a:custGeom>
            <a:solidFill>
              <a:schemeClr val="accent4"/>
            </a:solidFill>
            <a:ln w="3175">
              <a:solidFill>
                <a:schemeClr val="accent4"/>
              </a:solidFill>
              <a:round/>
              <a:headEnd/>
              <a:tailEnd/>
            </a:ln>
          </p:spPr>
          <p:txBody>
            <a:bodyPr/>
            <a:lstStyle/>
            <a:p>
              <a:endParaRPr lang="en-GB"/>
            </a:p>
          </p:txBody>
        </p:sp>
        <p:sp>
          <p:nvSpPr>
            <p:cNvPr id="794705" name="Freeform 250"/>
            <p:cNvSpPr>
              <a:spLocks noChangeAspect="1"/>
            </p:cNvSpPr>
            <p:nvPr/>
          </p:nvSpPr>
          <p:spPr bwMode="auto">
            <a:xfrm>
              <a:off x="5086" y="2710"/>
              <a:ext cx="105" cy="97"/>
            </a:xfrm>
            <a:custGeom>
              <a:avLst/>
              <a:gdLst>
                <a:gd name="T0" fmla="*/ 0 w 234"/>
                <a:gd name="T1" fmla="*/ 0 h 233"/>
                <a:gd name="T2" fmla="*/ 0 w 234"/>
                <a:gd name="T3" fmla="*/ 0 h 233"/>
                <a:gd name="T4" fmla="*/ 1 w 234"/>
                <a:gd name="T5" fmla="*/ 0 h 233"/>
                <a:gd name="T6" fmla="*/ 1 w 234"/>
                <a:gd name="T7" fmla="*/ 0 h 233"/>
                <a:gd name="T8" fmla="*/ 2 w 234"/>
                <a:gd name="T9" fmla="*/ 0 h 233"/>
                <a:gd name="T10" fmla="*/ 2 w 234"/>
                <a:gd name="T11" fmla="*/ 0 h 233"/>
                <a:gd name="T12" fmla="*/ 2 w 234"/>
                <a:gd name="T13" fmla="*/ 0 h 233"/>
                <a:gd name="T14" fmla="*/ 3 w 234"/>
                <a:gd name="T15" fmla="*/ 1 h 233"/>
                <a:gd name="T16" fmla="*/ 3 w 234"/>
                <a:gd name="T17" fmla="*/ 1 h 233"/>
                <a:gd name="T18" fmla="*/ 3 w 234"/>
                <a:gd name="T19" fmla="*/ 1 h 233"/>
                <a:gd name="T20" fmla="*/ 4 w 234"/>
                <a:gd name="T21" fmla="*/ 1 h 233"/>
                <a:gd name="T22" fmla="*/ 4 w 234"/>
                <a:gd name="T23" fmla="*/ 2 h 233"/>
                <a:gd name="T24" fmla="*/ 4 w 234"/>
                <a:gd name="T25" fmla="*/ 2 h 233"/>
                <a:gd name="T26" fmla="*/ 4 w 234"/>
                <a:gd name="T27" fmla="*/ 2 h 233"/>
                <a:gd name="T28" fmla="*/ 4 w 234"/>
                <a:gd name="T29" fmla="*/ 2 h 233"/>
                <a:gd name="T30" fmla="*/ 4 w 234"/>
                <a:gd name="T31" fmla="*/ 2 h 233"/>
                <a:gd name="T32" fmla="*/ 4 w 234"/>
                <a:gd name="T33" fmla="*/ 3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4"/>
                <a:gd name="T52" fmla="*/ 0 h 233"/>
                <a:gd name="T53" fmla="*/ 234 w 234"/>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4" h="233">
                  <a:moveTo>
                    <a:pt x="0" y="0"/>
                  </a:moveTo>
                  <a:lnTo>
                    <a:pt x="24" y="1"/>
                  </a:lnTo>
                  <a:lnTo>
                    <a:pt x="47" y="5"/>
                  </a:lnTo>
                  <a:lnTo>
                    <a:pt x="69" y="10"/>
                  </a:lnTo>
                  <a:lnTo>
                    <a:pt x="91" y="18"/>
                  </a:lnTo>
                  <a:lnTo>
                    <a:pt x="111" y="28"/>
                  </a:lnTo>
                  <a:lnTo>
                    <a:pt x="130" y="40"/>
                  </a:lnTo>
                  <a:lnTo>
                    <a:pt x="148" y="53"/>
                  </a:lnTo>
                  <a:lnTo>
                    <a:pt x="165" y="68"/>
                  </a:lnTo>
                  <a:lnTo>
                    <a:pt x="180" y="85"/>
                  </a:lnTo>
                  <a:lnTo>
                    <a:pt x="194" y="103"/>
                  </a:lnTo>
                  <a:lnTo>
                    <a:pt x="205" y="122"/>
                  </a:lnTo>
                  <a:lnTo>
                    <a:pt x="215" y="142"/>
                  </a:lnTo>
                  <a:lnTo>
                    <a:pt x="223" y="164"/>
                  </a:lnTo>
                  <a:lnTo>
                    <a:pt x="229" y="186"/>
                  </a:lnTo>
                  <a:lnTo>
                    <a:pt x="233" y="209"/>
                  </a:lnTo>
                  <a:lnTo>
                    <a:pt x="234" y="233"/>
                  </a:lnTo>
                </a:path>
              </a:pathLst>
            </a:custGeom>
            <a:solidFill>
              <a:schemeClr val="accent4"/>
            </a:solidFill>
            <a:ln w="3175">
              <a:solidFill>
                <a:schemeClr val="accent4"/>
              </a:solidFill>
              <a:round/>
              <a:headEnd/>
              <a:tailEnd/>
            </a:ln>
          </p:spPr>
          <p:txBody>
            <a:bodyPr/>
            <a:lstStyle/>
            <a:p>
              <a:endParaRPr lang="en-GB"/>
            </a:p>
          </p:txBody>
        </p:sp>
      </p:grpSp>
      <p:sp>
        <p:nvSpPr>
          <p:cNvPr id="25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55"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5649" name="Title 1"/>
          <p:cNvSpPr>
            <a:spLocks noGrp="1"/>
          </p:cNvSpPr>
          <p:nvPr>
            <p:ph type="title"/>
          </p:nvPr>
        </p:nvSpPr>
        <p:spPr/>
        <p:txBody>
          <a:bodyPr/>
          <a:lstStyle/>
          <a:p>
            <a:r>
              <a:rPr lang="en-GB" altLang="ja-JP"/>
              <a:t>Table with traffic lights</a:t>
            </a:r>
            <a:endParaRPr lang="nl-NL"/>
          </a:p>
        </p:txBody>
      </p:sp>
      <p:graphicFrame>
        <p:nvGraphicFramePr>
          <p:cNvPr id="7" name="Group 6"/>
          <p:cNvGraphicFramePr>
            <a:graphicFrameLocks noGrp="1"/>
          </p:cNvGraphicFramePr>
          <p:nvPr/>
        </p:nvGraphicFramePr>
        <p:xfrm>
          <a:off x="366713" y="1584911"/>
          <a:ext cx="7154009" cy="4250279"/>
        </p:xfrm>
        <a:graphic>
          <a:graphicData uri="http://schemas.openxmlformats.org/drawingml/2006/table">
            <a:tbl>
              <a:tblPr/>
              <a:tblGrid>
                <a:gridCol w="1122485"/>
                <a:gridCol w="1005254"/>
                <a:gridCol w="1005254"/>
                <a:gridCol w="1005254"/>
                <a:gridCol w="1005254"/>
                <a:gridCol w="1005254"/>
                <a:gridCol w="1005254"/>
              </a:tblGrid>
              <a:tr h="565689">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cap="none" normalizeH="0" baseline="0" dirty="0">
                        <a:ln>
                          <a:noFill/>
                        </a:ln>
                        <a:solidFill>
                          <a:schemeClr val="tx1"/>
                        </a:solidFill>
                        <a:effectLst/>
                        <a:latin typeface="Arial" charset="0"/>
                      </a:endParaRPr>
                    </a:p>
                  </a:txBody>
                  <a:tcPr marL="67525" marR="67525" marT="73152" marB="73152"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r>
              <a:tr h="73691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tx2"/>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73691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tx2"/>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cap="flat">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73691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tx2"/>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cap="flat">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73691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tx2"/>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cap="flat">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73691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tx2"/>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12700" cap="flat" cmpd="sng" algn="ctr">
                      <a:noFill/>
                      <a:prstDash val="solid"/>
                      <a:round/>
                      <a:headEnd type="none" w="med" len="med"/>
                      <a:tailEnd type="none" w="med" len="med"/>
                    </a:lnL>
                    <a:lnR cap="flat">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r>
            </a:tbl>
          </a:graphicData>
        </a:graphic>
      </p:graphicFrame>
      <p:sp>
        <p:nvSpPr>
          <p:cNvPr id="795651" name="Text Box 3"/>
          <p:cNvSpPr txBox="1">
            <a:spLocks noChangeArrowheads="1"/>
          </p:cNvSpPr>
          <p:nvPr/>
        </p:nvSpPr>
        <p:spPr bwMode="auto">
          <a:xfrm>
            <a:off x="7847587" y="1650719"/>
            <a:ext cx="892175" cy="281713"/>
          </a:xfrm>
          <a:prstGeom prst="rect">
            <a:avLst/>
          </a:prstGeom>
          <a:noFill/>
          <a:ln w="9525">
            <a:noFill/>
            <a:miter lim="800000"/>
            <a:headEnd type="none" w="sm" len="sm"/>
            <a:tailEnd type="none" w="med" len="lg"/>
          </a:ln>
        </p:spPr>
        <p:txBody>
          <a:bodyPr wrap="none">
            <a:spAutoFit/>
          </a:bodyPr>
          <a:lstStyle/>
          <a:p>
            <a:r>
              <a:rPr lang="en-GB" altLang="ja-JP" sz="1400" dirty="0">
                <a:ea typeface="ＭＳ Ｐゴシック" charset="-128"/>
              </a:rPr>
              <a:t>Negative</a:t>
            </a:r>
          </a:p>
        </p:txBody>
      </p:sp>
      <p:sp>
        <p:nvSpPr>
          <p:cNvPr id="795652" name="Text Box 4"/>
          <p:cNvSpPr txBox="1">
            <a:spLocks noChangeArrowheads="1"/>
          </p:cNvSpPr>
          <p:nvPr/>
        </p:nvSpPr>
        <p:spPr bwMode="auto">
          <a:xfrm>
            <a:off x="7847587" y="1977449"/>
            <a:ext cx="762000" cy="281713"/>
          </a:xfrm>
          <a:prstGeom prst="rect">
            <a:avLst/>
          </a:prstGeom>
          <a:noFill/>
          <a:ln w="9525">
            <a:noFill/>
            <a:miter lim="800000"/>
            <a:headEnd type="none" w="sm" len="sm"/>
            <a:tailEnd type="none" w="med" len="lg"/>
          </a:ln>
        </p:spPr>
        <p:txBody>
          <a:bodyPr wrap="none">
            <a:spAutoFit/>
          </a:bodyPr>
          <a:lstStyle/>
          <a:p>
            <a:r>
              <a:rPr lang="en-GB" altLang="ja-JP" sz="1400" dirty="0">
                <a:ea typeface="ＭＳ Ｐゴシック" charset="-128"/>
              </a:rPr>
              <a:t>Neutral</a:t>
            </a:r>
          </a:p>
        </p:txBody>
      </p:sp>
      <p:sp>
        <p:nvSpPr>
          <p:cNvPr id="795653" name="Text Box 5"/>
          <p:cNvSpPr txBox="1">
            <a:spLocks noChangeArrowheads="1"/>
          </p:cNvSpPr>
          <p:nvPr/>
        </p:nvSpPr>
        <p:spPr bwMode="auto">
          <a:xfrm>
            <a:off x="7847587" y="2305631"/>
            <a:ext cx="814387" cy="281713"/>
          </a:xfrm>
          <a:prstGeom prst="rect">
            <a:avLst/>
          </a:prstGeom>
          <a:noFill/>
          <a:ln w="9525">
            <a:noFill/>
            <a:miter lim="800000"/>
            <a:headEnd type="none" w="sm" len="sm"/>
            <a:tailEnd type="none" w="med" len="lg"/>
          </a:ln>
        </p:spPr>
        <p:txBody>
          <a:bodyPr wrap="none">
            <a:spAutoFit/>
          </a:bodyPr>
          <a:lstStyle/>
          <a:p>
            <a:r>
              <a:rPr lang="en-GB" altLang="ja-JP" sz="1400" dirty="0">
                <a:ea typeface="ＭＳ Ｐゴシック" charset="-128"/>
              </a:rPr>
              <a:t>Positive</a:t>
            </a:r>
          </a:p>
        </p:txBody>
      </p:sp>
      <p:grpSp>
        <p:nvGrpSpPr>
          <p:cNvPr id="45" name="Group 44"/>
          <p:cNvGrpSpPr/>
          <p:nvPr/>
        </p:nvGrpSpPr>
        <p:grpSpPr>
          <a:xfrm>
            <a:off x="7701537" y="1746154"/>
            <a:ext cx="134937" cy="779794"/>
            <a:chOff x="7701537" y="1746154"/>
            <a:chExt cx="134937" cy="779794"/>
          </a:xfrm>
        </p:grpSpPr>
        <p:sp>
          <p:nvSpPr>
            <p:cNvPr id="795710" name="Oval 81"/>
            <p:cNvSpPr>
              <a:spLocks noChangeArrowheads="1"/>
            </p:cNvSpPr>
            <p:nvPr/>
          </p:nvSpPr>
          <p:spPr bwMode="gray">
            <a:xfrm>
              <a:off x="7701537" y="2401065"/>
              <a:ext cx="134937" cy="124883"/>
            </a:xfrm>
            <a:prstGeom prst="ellipse">
              <a:avLst/>
            </a:prstGeom>
            <a:solidFill>
              <a:srgbClr val="336600"/>
            </a:solidFill>
            <a:ln w="28575" algn="ctr">
              <a:noFill/>
              <a:round/>
              <a:headEnd/>
              <a:tailEnd/>
            </a:ln>
          </p:spPr>
          <p:txBody>
            <a:bodyPr wrap="none" anchor="ctr"/>
            <a:lstStyle/>
            <a:p>
              <a:endParaRPr lang="en-GB"/>
            </a:p>
          </p:txBody>
        </p:sp>
        <p:sp>
          <p:nvSpPr>
            <p:cNvPr id="795711" name="Oval 82"/>
            <p:cNvSpPr>
              <a:spLocks noChangeArrowheads="1"/>
            </p:cNvSpPr>
            <p:nvPr/>
          </p:nvSpPr>
          <p:spPr bwMode="gray">
            <a:xfrm>
              <a:off x="7701537" y="1746154"/>
              <a:ext cx="134937" cy="124883"/>
            </a:xfrm>
            <a:prstGeom prst="ellipse">
              <a:avLst/>
            </a:prstGeom>
            <a:solidFill>
              <a:srgbClr val="CC3300"/>
            </a:solidFill>
            <a:ln w="28575" algn="ctr">
              <a:noFill/>
              <a:round/>
              <a:headEnd/>
              <a:tailEnd/>
            </a:ln>
          </p:spPr>
          <p:txBody>
            <a:bodyPr wrap="none" anchor="ctr"/>
            <a:lstStyle/>
            <a:p>
              <a:endParaRPr lang="en-GB"/>
            </a:p>
          </p:txBody>
        </p:sp>
        <p:sp>
          <p:nvSpPr>
            <p:cNvPr id="795712" name="Oval 83"/>
            <p:cNvSpPr>
              <a:spLocks noChangeArrowheads="1"/>
            </p:cNvSpPr>
            <p:nvPr/>
          </p:nvSpPr>
          <p:spPr bwMode="gray">
            <a:xfrm>
              <a:off x="7701537" y="2072883"/>
              <a:ext cx="134937" cy="124883"/>
            </a:xfrm>
            <a:prstGeom prst="ellipse">
              <a:avLst/>
            </a:prstGeom>
            <a:solidFill>
              <a:srgbClr val="FF9900"/>
            </a:solidFill>
            <a:ln w="28575" algn="ctr">
              <a:noFill/>
              <a:round/>
              <a:headEnd/>
              <a:tailEnd/>
            </a:ln>
          </p:spPr>
          <p:txBody>
            <a:bodyPr wrap="none" anchor="ctr"/>
            <a:lstStyle/>
            <a:p>
              <a:endParaRPr lang="en-GB"/>
            </a:p>
          </p:txBody>
        </p:sp>
      </p:grpSp>
      <p:sp>
        <p:nvSpPr>
          <p:cNvPr id="795713" name="Oval 84"/>
          <p:cNvSpPr>
            <a:spLocks noChangeArrowheads="1"/>
          </p:cNvSpPr>
          <p:nvPr/>
        </p:nvSpPr>
        <p:spPr bwMode="gray">
          <a:xfrm>
            <a:off x="1938338" y="3851861"/>
            <a:ext cx="311150" cy="314325"/>
          </a:xfrm>
          <a:prstGeom prst="ellipse">
            <a:avLst/>
          </a:prstGeom>
          <a:solidFill>
            <a:srgbClr val="336600"/>
          </a:solidFill>
          <a:ln w="28575" algn="ctr">
            <a:noFill/>
            <a:round/>
            <a:headEnd/>
            <a:tailEnd/>
          </a:ln>
        </p:spPr>
        <p:txBody>
          <a:bodyPr wrap="none" anchor="ctr"/>
          <a:lstStyle/>
          <a:p>
            <a:endParaRPr lang="en-GB"/>
          </a:p>
        </p:txBody>
      </p:sp>
      <p:sp>
        <p:nvSpPr>
          <p:cNvPr id="795714" name="Oval 85"/>
          <p:cNvSpPr>
            <a:spLocks noChangeArrowheads="1"/>
          </p:cNvSpPr>
          <p:nvPr/>
        </p:nvSpPr>
        <p:spPr bwMode="gray">
          <a:xfrm>
            <a:off x="1938338" y="2383424"/>
            <a:ext cx="311150" cy="314325"/>
          </a:xfrm>
          <a:prstGeom prst="ellipse">
            <a:avLst/>
          </a:prstGeom>
          <a:solidFill>
            <a:srgbClr val="CC3300"/>
          </a:solidFill>
          <a:ln w="28575" algn="ctr">
            <a:noFill/>
            <a:round/>
            <a:headEnd/>
            <a:tailEnd/>
          </a:ln>
        </p:spPr>
        <p:txBody>
          <a:bodyPr wrap="none" anchor="ctr"/>
          <a:lstStyle/>
          <a:p>
            <a:endParaRPr lang="en-GB"/>
          </a:p>
        </p:txBody>
      </p:sp>
      <p:sp>
        <p:nvSpPr>
          <p:cNvPr id="795715" name="Oval 86"/>
          <p:cNvSpPr>
            <a:spLocks noChangeArrowheads="1"/>
          </p:cNvSpPr>
          <p:nvPr/>
        </p:nvSpPr>
        <p:spPr bwMode="gray">
          <a:xfrm>
            <a:off x="1938338" y="3116849"/>
            <a:ext cx="311150" cy="314325"/>
          </a:xfrm>
          <a:prstGeom prst="ellipse">
            <a:avLst/>
          </a:prstGeom>
          <a:solidFill>
            <a:srgbClr val="FF9900"/>
          </a:solidFill>
          <a:ln w="28575" algn="ctr">
            <a:noFill/>
            <a:round/>
            <a:headEnd/>
            <a:tailEnd/>
          </a:ln>
        </p:spPr>
        <p:txBody>
          <a:bodyPr wrap="none" anchor="ctr"/>
          <a:lstStyle/>
          <a:p>
            <a:endParaRPr lang="en-GB"/>
          </a:p>
        </p:txBody>
      </p:sp>
      <p:sp>
        <p:nvSpPr>
          <p:cNvPr id="795716" name="Oval 87"/>
          <p:cNvSpPr>
            <a:spLocks noChangeArrowheads="1"/>
          </p:cNvSpPr>
          <p:nvPr/>
        </p:nvSpPr>
        <p:spPr bwMode="gray">
          <a:xfrm>
            <a:off x="1938338" y="4586874"/>
            <a:ext cx="311150" cy="314325"/>
          </a:xfrm>
          <a:prstGeom prst="ellipse">
            <a:avLst/>
          </a:prstGeom>
          <a:solidFill>
            <a:srgbClr val="CC3300"/>
          </a:solidFill>
          <a:ln w="28575" algn="ctr">
            <a:noFill/>
            <a:round/>
            <a:headEnd/>
            <a:tailEnd/>
          </a:ln>
        </p:spPr>
        <p:txBody>
          <a:bodyPr wrap="none" anchor="ctr"/>
          <a:lstStyle/>
          <a:p>
            <a:endParaRPr lang="en-GB"/>
          </a:p>
        </p:txBody>
      </p:sp>
      <p:sp>
        <p:nvSpPr>
          <p:cNvPr id="795717" name="Oval 88"/>
          <p:cNvSpPr>
            <a:spLocks noChangeArrowheads="1"/>
          </p:cNvSpPr>
          <p:nvPr/>
        </p:nvSpPr>
        <p:spPr bwMode="gray">
          <a:xfrm>
            <a:off x="1938338" y="5321886"/>
            <a:ext cx="311150" cy="314325"/>
          </a:xfrm>
          <a:prstGeom prst="ellipse">
            <a:avLst/>
          </a:prstGeom>
          <a:solidFill>
            <a:srgbClr val="FF9900"/>
          </a:solidFill>
          <a:ln w="28575" algn="ctr">
            <a:noFill/>
            <a:round/>
            <a:headEnd/>
            <a:tailEnd/>
          </a:ln>
        </p:spPr>
        <p:txBody>
          <a:bodyPr wrap="none" anchor="ctr"/>
          <a:lstStyle/>
          <a:p>
            <a:endParaRPr lang="en-GB"/>
          </a:p>
        </p:txBody>
      </p:sp>
      <p:sp>
        <p:nvSpPr>
          <p:cNvPr id="795718" name="Oval 89"/>
          <p:cNvSpPr>
            <a:spLocks noChangeArrowheads="1"/>
          </p:cNvSpPr>
          <p:nvPr/>
        </p:nvSpPr>
        <p:spPr bwMode="gray">
          <a:xfrm>
            <a:off x="2930525" y="3851861"/>
            <a:ext cx="311150" cy="314325"/>
          </a:xfrm>
          <a:prstGeom prst="ellipse">
            <a:avLst/>
          </a:prstGeom>
          <a:solidFill>
            <a:srgbClr val="336600"/>
          </a:solidFill>
          <a:ln w="28575" algn="ctr">
            <a:noFill/>
            <a:round/>
            <a:headEnd/>
            <a:tailEnd/>
          </a:ln>
        </p:spPr>
        <p:txBody>
          <a:bodyPr wrap="none" anchor="ctr"/>
          <a:lstStyle/>
          <a:p>
            <a:endParaRPr lang="en-GB"/>
          </a:p>
        </p:txBody>
      </p:sp>
      <p:sp>
        <p:nvSpPr>
          <p:cNvPr id="795719" name="Oval 90"/>
          <p:cNvSpPr>
            <a:spLocks noChangeArrowheads="1"/>
          </p:cNvSpPr>
          <p:nvPr/>
        </p:nvSpPr>
        <p:spPr bwMode="gray">
          <a:xfrm>
            <a:off x="2930525" y="2383424"/>
            <a:ext cx="311150" cy="314325"/>
          </a:xfrm>
          <a:prstGeom prst="ellipse">
            <a:avLst/>
          </a:prstGeom>
          <a:solidFill>
            <a:srgbClr val="CC3300"/>
          </a:solidFill>
          <a:ln w="28575" algn="ctr">
            <a:noFill/>
            <a:round/>
            <a:headEnd/>
            <a:tailEnd/>
          </a:ln>
        </p:spPr>
        <p:txBody>
          <a:bodyPr wrap="none" anchor="ctr"/>
          <a:lstStyle/>
          <a:p>
            <a:endParaRPr lang="en-GB"/>
          </a:p>
        </p:txBody>
      </p:sp>
      <p:sp>
        <p:nvSpPr>
          <p:cNvPr id="795720" name="Oval 91"/>
          <p:cNvSpPr>
            <a:spLocks noChangeArrowheads="1"/>
          </p:cNvSpPr>
          <p:nvPr/>
        </p:nvSpPr>
        <p:spPr bwMode="gray">
          <a:xfrm>
            <a:off x="2930525" y="3116849"/>
            <a:ext cx="311150" cy="314325"/>
          </a:xfrm>
          <a:prstGeom prst="ellipse">
            <a:avLst/>
          </a:prstGeom>
          <a:solidFill>
            <a:srgbClr val="FF9900"/>
          </a:solidFill>
          <a:ln w="28575" algn="ctr">
            <a:noFill/>
            <a:round/>
            <a:headEnd/>
            <a:tailEnd/>
          </a:ln>
        </p:spPr>
        <p:txBody>
          <a:bodyPr wrap="none" anchor="ctr"/>
          <a:lstStyle/>
          <a:p>
            <a:endParaRPr lang="en-GB"/>
          </a:p>
        </p:txBody>
      </p:sp>
      <p:sp>
        <p:nvSpPr>
          <p:cNvPr id="795721" name="Oval 92"/>
          <p:cNvSpPr>
            <a:spLocks noChangeArrowheads="1"/>
          </p:cNvSpPr>
          <p:nvPr/>
        </p:nvSpPr>
        <p:spPr bwMode="gray">
          <a:xfrm>
            <a:off x="2930525" y="4586874"/>
            <a:ext cx="311150" cy="314325"/>
          </a:xfrm>
          <a:prstGeom prst="ellipse">
            <a:avLst/>
          </a:prstGeom>
          <a:solidFill>
            <a:srgbClr val="CC3300"/>
          </a:solidFill>
          <a:ln w="28575" algn="ctr">
            <a:noFill/>
            <a:round/>
            <a:headEnd/>
            <a:tailEnd/>
          </a:ln>
        </p:spPr>
        <p:txBody>
          <a:bodyPr wrap="none" anchor="ctr"/>
          <a:lstStyle/>
          <a:p>
            <a:endParaRPr lang="en-GB"/>
          </a:p>
        </p:txBody>
      </p:sp>
      <p:sp>
        <p:nvSpPr>
          <p:cNvPr id="795722" name="Oval 93"/>
          <p:cNvSpPr>
            <a:spLocks noChangeArrowheads="1"/>
          </p:cNvSpPr>
          <p:nvPr/>
        </p:nvSpPr>
        <p:spPr bwMode="gray">
          <a:xfrm>
            <a:off x="2930525" y="5321886"/>
            <a:ext cx="311150" cy="314325"/>
          </a:xfrm>
          <a:prstGeom prst="ellipse">
            <a:avLst/>
          </a:prstGeom>
          <a:solidFill>
            <a:srgbClr val="FF9900"/>
          </a:solidFill>
          <a:ln w="28575" algn="ctr">
            <a:noFill/>
            <a:round/>
            <a:headEnd/>
            <a:tailEnd/>
          </a:ln>
        </p:spPr>
        <p:txBody>
          <a:bodyPr wrap="none" anchor="ctr"/>
          <a:lstStyle/>
          <a:p>
            <a:endParaRPr lang="en-GB"/>
          </a:p>
        </p:txBody>
      </p:sp>
      <p:sp>
        <p:nvSpPr>
          <p:cNvPr id="795723" name="Oval 94"/>
          <p:cNvSpPr>
            <a:spLocks noChangeArrowheads="1"/>
          </p:cNvSpPr>
          <p:nvPr/>
        </p:nvSpPr>
        <p:spPr bwMode="gray">
          <a:xfrm>
            <a:off x="3922713" y="3851861"/>
            <a:ext cx="311150" cy="314325"/>
          </a:xfrm>
          <a:prstGeom prst="ellipse">
            <a:avLst/>
          </a:prstGeom>
          <a:solidFill>
            <a:srgbClr val="336600"/>
          </a:solidFill>
          <a:ln w="28575" algn="ctr">
            <a:noFill/>
            <a:round/>
            <a:headEnd/>
            <a:tailEnd/>
          </a:ln>
        </p:spPr>
        <p:txBody>
          <a:bodyPr wrap="none" anchor="ctr"/>
          <a:lstStyle/>
          <a:p>
            <a:endParaRPr lang="en-GB"/>
          </a:p>
        </p:txBody>
      </p:sp>
      <p:sp>
        <p:nvSpPr>
          <p:cNvPr id="795724" name="Oval 95"/>
          <p:cNvSpPr>
            <a:spLocks noChangeArrowheads="1"/>
          </p:cNvSpPr>
          <p:nvPr/>
        </p:nvSpPr>
        <p:spPr bwMode="gray">
          <a:xfrm>
            <a:off x="3922713" y="2383424"/>
            <a:ext cx="311150" cy="314325"/>
          </a:xfrm>
          <a:prstGeom prst="ellipse">
            <a:avLst/>
          </a:prstGeom>
          <a:solidFill>
            <a:srgbClr val="CC3300"/>
          </a:solidFill>
          <a:ln w="28575" algn="ctr">
            <a:noFill/>
            <a:round/>
            <a:headEnd/>
            <a:tailEnd/>
          </a:ln>
        </p:spPr>
        <p:txBody>
          <a:bodyPr wrap="none" anchor="ctr"/>
          <a:lstStyle/>
          <a:p>
            <a:endParaRPr lang="en-GB"/>
          </a:p>
        </p:txBody>
      </p:sp>
      <p:sp>
        <p:nvSpPr>
          <p:cNvPr id="795725" name="Oval 96"/>
          <p:cNvSpPr>
            <a:spLocks noChangeArrowheads="1"/>
          </p:cNvSpPr>
          <p:nvPr/>
        </p:nvSpPr>
        <p:spPr bwMode="gray">
          <a:xfrm>
            <a:off x="3922713" y="3116849"/>
            <a:ext cx="311150" cy="314325"/>
          </a:xfrm>
          <a:prstGeom prst="ellipse">
            <a:avLst/>
          </a:prstGeom>
          <a:solidFill>
            <a:srgbClr val="FF9900"/>
          </a:solidFill>
          <a:ln w="28575" algn="ctr">
            <a:noFill/>
            <a:round/>
            <a:headEnd/>
            <a:tailEnd/>
          </a:ln>
        </p:spPr>
        <p:txBody>
          <a:bodyPr wrap="none" anchor="ctr"/>
          <a:lstStyle/>
          <a:p>
            <a:endParaRPr lang="en-GB"/>
          </a:p>
        </p:txBody>
      </p:sp>
      <p:sp>
        <p:nvSpPr>
          <p:cNvPr id="795726" name="Oval 97"/>
          <p:cNvSpPr>
            <a:spLocks noChangeArrowheads="1"/>
          </p:cNvSpPr>
          <p:nvPr/>
        </p:nvSpPr>
        <p:spPr bwMode="gray">
          <a:xfrm>
            <a:off x="3922713" y="4586874"/>
            <a:ext cx="311150" cy="314325"/>
          </a:xfrm>
          <a:prstGeom prst="ellipse">
            <a:avLst/>
          </a:prstGeom>
          <a:solidFill>
            <a:srgbClr val="CC3300"/>
          </a:solidFill>
          <a:ln w="28575" algn="ctr">
            <a:noFill/>
            <a:round/>
            <a:headEnd/>
            <a:tailEnd/>
          </a:ln>
        </p:spPr>
        <p:txBody>
          <a:bodyPr wrap="none" anchor="ctr"/>
          <a:lstStyle/>
          <a:p>
            <a:endParaRPr lang="en-GB"/>
          </a:p>
        </p:txBody>
      </p:sp>
      <p:sp>
        <p:nvSpPr>
          <p:cNvPr id="795727" name="Oval 98"/>
          <p:cNvSpPr>
            <a:spLocks noChangeArrowheads="1"/>
          </p:cNvSpPr>
          <p:nvPr/>
        </p:nvSpPr>
        <p:spPr bwMode="gray">
          <a:xfrm>
            <a:off x="3922713" y="5321886"/>
            <a:ext cx="311150" cy="314325"/>
          </a:xfrm>
          <a:prstGeom prst="ellipse">
            <a:avLst/>
          </a:prstGeom>
          <a:solidFill>
            <a:srgbClr val="FF9900"/>
          </a:solidFill>
          <a:ln w="28575" algn="ctr">
            <a:noFill/>
            <a:round/>
            <a:headEnd/>
            <a:tailEnd/>
          </a:ln>
        </p:spPr>
        <p:txBody>
          <a:bodyPr wrap="none" anchor="ctr"/>
          <a:lstStyle/>
          <a:p>
            <a:endParaRPr lang="en-GB"/>
          </a:p>
        </p:txBody>
      </p:sp>
      <p:sp>
        <p:nvSpPr>
          <p:cNvPr id="795728" name="Oval 99"/>
          <p:cNvSpPr>
            <a:spLocks noChangeArrowheads="1"/>
          </p:cNvSpPr>
          <p:nvPr/>
        </p:nvSpPr>
        <p:spPr bwMode="gray">
          <a:xfrm>
            <a:off x="4916488" y="3851861"/>
            <a:ext cx="311150" cy="314325"/>
          </a:xfrm>
          <a:prstGeom prst="ellipse">
            <a:avLst/>
          </a:prstGeom>
          <a:solidFill>
            <a:srgbClr val="336600"/>
          </a:solidFill>
          <a:ln w="28575" algn="ctr">
            <a:noFill/>
            <a:round/>
            <a:headEnd/>
            <a:tailEnd/>
          </a:ln>
        </p:spPr>
        <p:txBody>
          <a:bodyPr wrap="none" anchor="ctr"/>
          <a:lstStyle/>
          <a:p>
            <a:endParaRPr lang="en-GB"/>
          </a:p>
        </p:txBody>
      </p:sp>
      <p:sp>
        <p:nvSpPr>
          <p:cNvPr id="795729" name="Oval 100"/>
          <p:cNvSpPr>
            <a:spLocks noChangeArrowheads="1"/>
          </p:cNvSpPr>
          <p:nvPr/>
        </p:nvSpPr>
        <p:spPr bwMode="gray">
          <a:xfrm>
            <a:off x="4916488" y="2383424"/>
            <a:ext cx="311150" cy="314325"/>
          </a:xfrm>
          <a:prstGeom prst="ellipse">
            <a:avLst/>
          </a:prstGeom>
          <a:solidFill>
            <a:srgbClr val="CC3300"/>
          </a:solidFill>
          <a:ln w="28575" algn="ctr">
            <a:noFill/>
            <a:round/>
            <a:headEnd/>
            <a:tailEnd/>
          </a:ln>
        </p:spPr>
        <p:txBody>
          <a:bodyPr wrap="none" anchor="ctr"/>
          <a:lstStyle/>
          <a:p>
            <a:endParaRPr lang="en-GB"/>
          </a:p>
        </p:txBody>
      </p:sp>
      <p:sp>
        <p:nvSpPr>
          <p:cNvPr id="795730" name="Oval 101"/>
          <p:cNvSpPr>
            <a:spLocks noChangeArrowheads="1"/>
          </p:cNvSpPr>
          <p:nvPr/>
        </p:nvSpPr>
        <p:spPr bwMode="gray">
          <a:xfrm>
            <a:off x="4916488" y="3116849"/>
            <a:ext cx="311150" cy="314325"/>
          </a:xfrm>
          <a:prstGeom prst="ellipse">
            <a:avLst/>
          </a:prstGeom>
          <a:solidFill>
            <a:srgbClr val="FF9900"/>
          </a:solidFill>
          <a:ln w="28575" algn="ctr">
            <a:noFill/>
            <a:round/>
            <a:headEnd/>
            <a:tailEnd/>
          </a:ln>
        </p:spPr>
        <p:txBody>
          <a:bodyPr wrap="none" anchor="ctr"/>
          <a:lstStyle/>
          <a:p>
            <a:endParaRPr lang="en-GB"/>
          </a:p>
        </p:txBody>
      </p:sp>
      <p:sp>
        <p:nvSpPr>
          <p:cNvPr id="795731" name="Oval 102"/>
          <p:cNvSpPr>
            <a:spLocks noChangeArrowheads="1"/>
          </p:cNvSpPr>
          <p:nvPr/>
        </p:nvSpPr>
        <p:spPr bwMode="gray">
          <a:xfrm>
            <a:off x="4916488" y="4586874"/>
            <a:ext cx="311150" cy="314325"/>
          </a:xfrm>
          <a:prstGeom prst="ellipse">
            <a:avLst/>
          </a:prstGeom>
          <a:solidFill>
            <a:srgbClr val="CC3300"/>
          </a:solidFill>
          <a:ln w="28575" algn="ctr">
            <a:noFill/>
            <a:round/>
            <a:headEnd/>
            <a:tailEnd/>
          </a:ln>
        </p:spPr>
        <p:txBody>
          <a:bodyPr wrap="none" anchor="ctr"/>
          <a:lstStyle/>
          <a:p>
            <a:endParaRPr lang="en-GB"/>
          </a:p>
        </p:txBody>
      </p:sp>
      <p:sp>
        <p:nvSpPr>
          <p:cNvPr id="795732" name="Oval 103"/>
          <p:cNvSpPr>
            <a:spLocks noChangeArrowheads="1"/>
          </p:cNvSpPr>
          <p:nvPr/>
        </p:nvSpPr>
        <p:spPr bwMode="gray">
          <a:xfrm>
            <a:off x="4916488" y="5321886"/>
            <a:ext cx="311150" cy="314325"/>
          </a:xfrm>
          <a:prstGeom prst="ellipse">
            <a:avLst/>
          </a:prstGeom>
          <a:solidFill>
            <a:srgbClr val="FF9900"/>
          </a:solidFill>
          <a:ln w="28575" algn="ctr">
            <a:noFill/>
            <a:round/>
            <a:headEnd/>
            <a:tailEnd/>
          </a:ln>
        </p:spPr>
        <p:txBody>
          <a:bodyPr wrap="none" anchor="ctr"/>
          <a:lstStyle/>
          <a:p>
            <a:endParaRPr lang="en-GB"/>
          </a:p>
        </p:txBody>
      </p:sp>
      <p:sp>
        <p:nvSpPr>
          <p:cNvPr id="795733" name="Oval 104"/>
          <p:cNvSpPr>
            <a:spLocks noChangeArrowheads="1"/>
          </p:cNvSpPr>
          <p:nvPr/>
        </p:nvSpPr>
        <p:spPr bwMode="gray">
          <a:xfrm>
            <a:off x="5908675" y="3851861"/>
            <a:ext cx="311150" cy="314325"/>
          </a:xfrm>
          <a:prstGeom prst="ellipse">
            <a:avLst/>
          </a:prstGeom>
          <a:solidFill>
            <a:srgbClr val="336600"/>
          </a:solidFill>
          <a:ln w="28575" algn="ctr">
            <a:noFill/>
            <a:round/>
            <a:headEnd/>
            <a:tailEnd/>
          </a:ln>
        </p:spPr>
        <p:txBody>
          <a:bodyPr wrap="none" anchor="ctr"/>
          <a:lstStyle/>
          <a:p>
            <a:endParaRPr lang="en-GB"/>
          </a:p>
        </p:txBody>
      </p:sp>
      <p:sp>
        <p:nvSpPr>
          <p:cNvPr id="795734" name="Oval 105"/>
          <p:cNvSpPr>
            <a:spLocks noChangeArrowheads="1"/>
          </p:cNvSpPr>
          <p:nvPr/>
        </p:nvSpPr>
        <p:spPr bwMode="gray">
          <a:xfrm>
            <a:off x="5908675" y="2383424"/>
            <a:ext cx="311150" cy="314325"/>
          </a:xfrm>
          <a:prstGeom prst="ellipse">
            <a:avLst/>
          </a:prstGeom>
          <a:solidFill>
            <a:srgbClr val="CC3300"/>
          </a:solidFill>
          <a:ln w="28575" algn="ctr">
            <a:noFill/>
            <a:round/>
            <a:headEnd/>
            <a:tailEnd/>
          </a:ln>
        </p:spPr>
        <p:txBody>
          <a:bodyPr wrap="none" anchor="ctr"/>
          <a:lstStyle/>
          <a:p>
            <a:endParaRPr lang="en-GB"/>
          </a:p>
        </p:txBody>
      </p:sp>
      <p:sp>
        <p:nvSpPr>
          <p:cNvPr id="795735" name="Oval 106"/>
          <p:cNvSpPr>
            <a:spLocks noChangeArrowheads="1"/>
          </p:cNvSpPr>
          <p:nvPr/>
        </p:nvSpPr>
        <p:spPr bwMode="gray">
          <a:xfrm>
            <a:off x="5908675" y="3116849"/>
            <a:ext cx="311150" cy="314325"/>
          </a:xfrm>
          <a:prstGeom prst="ellipse">
            <a:avLst/>
          </a:prstGeom>
          <a:solidFill>
            <a:srgbClr val="FF9900"/>
          </a:solidFill>
          <a:ln w="28575" algn="ctr">
            <a:noFill/>
            <a:round/>
            <a:headEnd/>
            <a:tailEnd/>
          </a:ln>
        </p:spPr>
        <p:txBody>
          <a:bodyPr wrap="none" anchor="ctr"/>
          <a:lstStyle/>
          <a:p>
            <a:endParaRPr lang="en-GB"/>
          </a:p>
        </p:txBody>
      </p:sp>
      <p:sp>
        <p:nvSpPr>
          <p:cNvPr id="795736" name="Oval 107"/>
          <p:cNvSpPr>
            <a:spLocks noChangeArrowheads="1"/>
          </p:cNvSpPr>
          <p:nvPr/>
        </p:nvSpPr>
        <p:spPr bwMode="gray">
          <a:xfrm>
            <a:off x="5908675" y="4586874"/>
            <a:ext cx="311150" cy="314325"/>
          </a:xfrm>
          <a:prstGeom prst="ellipse">
            <a:avLst/>
          </a:prstGeom>
          <a:solidFill>
            <a:srgbClr val="CC3300"/>
          </a:solidFill>
          <a:ln w="28575" algn="ctr">
            <a:noFill/>
            <a:round/>
            <a:headEnd/>
            <a:tailEnd/>
          </a:ln>
        </p:spPr>
        <p:txBody>
          <a:bodyPr wrap="none" anchor="ctr"/>
          <a:lstStyle/>
          <a:p>
            <a:endParaRPr lang="en-GB"/>
          </a:p>
        </p:txBody>
      </p:sp>
      <p:sp>
        <p:nvSpPr>
          <p:cNvPr id="795737" name="Oval 108"/>
          <p:cNvSpPr>
            <a:spLocks noChangeArrowheads="1"/>
          </p:cNvSpPr>
          <p:nvPr/>
        </p:nvSpPr>
        <p:spPr bwMode="gray">
          <a:xfrm>
            <a:off x="5908675" y="5321886"/>
            <a:ext cx="311150" cy="314325"/>
          </a:xfrm>
          <a:prstGeom prst="ellipse">
            <a:avLst/>
          </a:prstGeom>
          <a:solidFill>
            <a:srgbClr val="FF9900"/>
          </a:solidFill>
          <a:ln w="28575" algn="ctr">
            <a:noFill/>
            <a:round/>
            <a:headEnd/>
            <a:tailEnd/>
          </a:ln>
        </p:spPr>
        <p:txBody>
          <a:bodyPr wrap="none" anchor="ctr"/>
          <a:lstStyle/>
          <a:p>
            <a:endParaRPr lang="en-GB"/>
          </a:p>
        </p:txBody>
      </p:sp>
      <p:sp>
        <p:nvSpPr>
          <p:cNvPr id="795738" name="Oval 109"/>
          <p:cNvSpPr>
            <a:spLocks noChangeArrowheads="1"/>
          </p:cNvSpPr>
          <p:nvPr/>
        </p:nvSpPr>
        <p:spPr bwMode="gray">
          <a:xfrm>
            <a:off x="6902450" y="3851861"/>
            <a:ext cx="309563" cy="314325"/>
          </a:xfrm>
          <a:prstGeom prst="ellipse">
            <a:avLst/>
          </a:prstGeom>
          <a:solidFill>
            <a:srgbClr val="336600"/>
          </a:solidFill>
          <a:ln w="28575" algn="ctr">
            <a:noFill/>
            <a:round/>
            <a:headEnd/>
            <a:tailEnd/>
          </a:ln>
        </p:spPr>
        <p:txBody>
          <a:bodyPr wrap="none" anchor="ctr"/>
          <a:lstStyle/>
          <a:p>
            <a:endParaRPr lang="en-GB"/>
          </a:p>
        </p:txBody>
      </p:sp>
      <p:sp>
        <p:nvSpPr>
          <p:cNvPr id="795739" name="Oval 110"/>
          <p:cNvSpPr>
            <a:spLocks noChangeArrowheads="1"/>
          </p:cNvSpPr>
          <p:nvPr/>
        </p:nvSpPr>
        <p:spPr bwMode="gray">
          <a:xfrm>
            <a:off x="6902450" y="2383424"/>
            <a:ext cx="309563" cy="314325"/>
          </a:xfrm>
          <a:prstGeom prst="ellipse">
            <a:avLst/>
          </a:prstGeom>
          <a:solidFill>
            <a:srgbClr val="CC3300"/>
          </a:solidFill>
          <a:ln w="28575" algn="ctr">
            <a:noFill/>
            <a:round/>
            <a:headEnd/>
            <a:tailEnd/>
          </a:ln>
        </p:spPr>
        <p:txBody>
          <a:bodyPr wrap="none" anchor="ctr"/>
          <a:lstStyle/>
          <a:p>
            <a:endParaRPr lang="en-GB"/>
          </a:p>
        </p:txBody>
      </p:sp>
      <p:sp>
        <p:nvSpPr>
          <p:cNvPr id="795740" name="Oval 111"/>
          <p:cNvSpPr>
            <a:spLocks noChangeArrowheads="1"/>
          </p:cNvSpPr>
          <p:nvPr/>
        </p:nvSpPr>
        <p:spPr bwMode="gray">
          <a:xfrm>
            <a:off x="6902450" y="3116849"/>
            <a:ext cx="309563" cy="314325"/>
          </a:xfrm>
          <a:prstGeom prst="ellipse">
            <a:avLst/>
          </a:prstGeom>
          <a:solidFill>
            <a:srgbClr val="FF9900"/>
          </a:solidFill>
          <a:ln w="28575" algn="ctr">
            <a:noFill/>
            <a:round/>
            <a:headEnd/>
            <a:tailEnd/>
          </a:ln>
        </p:spPr>
        <p:txBody>
          <a:bodyPr wrap="none" anchor="ctr"/>
          <a:lstStyle/>
          <a:p>
            <a:endParaRPr lang="en-GB"/>
          </a:p>
        </p:txBody>
      </p:sp>
      <p:sp>
        <p:nvSpPr>
          <p:cNvPr id="795741" name="Oval 112"/>
          <p:cNvSpPr>
            <a:spLocks noChangeArrowheads="1"/>
          </p:cNvSpPr>
          <p:nvPr/>
        </p:nvSpPr>
        <p:spPr bwMode="gray">
          <a:xfrm>
            <a:off x="6902450" y="4586874"/>
            <a:ext cx="309563" cy="314325"/>
          </a:xfrm>
          <a:prstGeom prst="ellipse">
            <a:avLst/>
          </a:prstGeom>
          <a:solidFill>
            <a:srgbClr val="CC3300"/>
          </a:solidFill>
          <a:ln w="28575" algn="ctr">
            <a:noFill/>
            <a:round/>
            <a:headEnd/>
            <a:tailEnd/>
          </a:ln>
        </p:spPr>
        <p:txBody>
          <a:bodyPr wrap="none" anchor="ctr"/>
          <a:lstStyle/>
          <a:p>
            <a:endParaRPr lang="en-GB"/>
          </a:p>
        </p:txBody>
      </p:sp>
      <p:sp>
        <p:nvSpPr>
          <p:cNvPr id="795742" name="Oval 113"/>
          <p:cNvSpPr>
            <a:spLocks noChangeArrowheads="1"/>
          </p:cNvSpPr>
          <p:nvPr/>
        </p:nvSpPr>
        <p:spPr bwMode="gray">
          <a:xfrm>
            <a:off x="6902450" y="5321886"/>
            <a:ext cx="309563" cy="314325"/>
          </a:xfrm>
          <a:prstGeom prst="ellipse">
            <a:avLst/>
          </a:prstGeom>
          <a:solidFill>
            <a:srgbClr val="FF9900"/>
          </a:solidFill>
          <a:ln w="28575" algn="ctr">
            <a:noFill/>
            <a:round/>
            <a:headEnd/>
            <a:tailEnd/>
          </a:ln>
        </p:spPr>
        <p:txBody>
          <a:bodyPr wrap="none" anchor="ctr"/>
          <a:lstStyle/>
          <a:p>
            <a:endParaRPr lang="en-GB"/>
          </a:p>
        </p:txBody>
      </p:sp>
      <p:sp>
        <p:nvSpPr>
          <p:cNvPr id="4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4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02"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2291" name="think-cell Slide" r:id="rId20" imgW="0" imgH="0" progId="">
                  <p:embed/>
                </p:oleObj>
              </mc:Choice>
              <mc:Fallback>
                <p:oleObj name="think-cell Slide" r:id="rId20"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4803" name="Rectangle 4"/>
          <p:cNvSpPr>
            <a:spLocks noChangeArrowheads="1"/>
          </p:cNvSpPr>
          <p:nvPr>
            <p:custDataLst>
              <p:tags r:id="rId3"/>
            </p:custDataLst>
          </p:nvPr>
        </p:nvSpPr>
        <p:spPr bwMode="auto">
          <a:xfrm>
            <a:off x="414338" y="1131370"/>
            <a:ext cx="8372475" cy="228600"/>
          </a:xfrm>
          <a:prstGeom prst="rect">
            <a:avLst/>
          </a:prstGeom>
          <a:solidFill>
            <a:srgbClr val="00A1DE"/>
          </a:solidFill>
          <a:ln w="12700" algn="ctr">
            <a:noFill/>
            <a:miter lim="800000"/>
            <a:headEnd/>
            <a:tailEnd/>
          </a:ln>
        </p:spPr>
        <p:txBody>
          <a:bodyPr lIns="40118" tIns="18000" rIns="40118" bIns="18000" anchor="ctr">
            <a:spAutoFit/>
          </a:bodyPr>
          <a:lstStyle/>
          <a:p>
            <a:pPr algn="l" defTabSz="1019175"/>
            <a:r>
              <a:rPr lang="en-US" sz="1600" b="1">
                <a:solidFill>
                  <a:srgbClr val="FFFFFF"/>
                </a:solidFill>
              </a:rPr>
              <a:t>1</a:t>
            </a:r>
          </a:p>
        </p:txBody>
      </p:sp>
      <p:sp>
        <p:nvSpPr>
          <p:cNvPr id="204804" name="Title 1"/>
          <p:cNvSpPr>
            <a:spLocks noGrp="1"/>
          </p:cNvSpPr>
          <p:nvPr>
            <p:ph type="title"/>
            <p:custDataLst>
              <p:tags r:id="rId4"/>
            </p:custDataLst>
          </p:nvPr>
        </p:nvSpPr>
        <p:spPr>
          <a:xfrm>
            <a:off x="414338" y="98368"/>
            <a:ext cx="8330184" cy="666849"/>
          </a:xfrm>
        </p:spPr>
        <p:txBody>
          <a:bodyPr/>
          <a:lstStyle/>
          <a:p>
            <a:r>
              <a:rPr lang="en-US" dirty="0"/>
              <a:t>Text boxes — two columns of numbered points </a:t>
            </a:r>
            <a:r>
              <a:rPr lang="en-US" dirty="0" smtClean="0"/>
              <a:t/>
            </a:r>
            <a:br>
              <a:rPr lang="en-US" dirty="0" smtClean="0"/>
            </a:br>
            <a:r>
              <a:rPr lang="en-US" dirty="0" smtClean="0"/>
              <a:t>for </a:t>
            </a:r>
            <a:r>
              <a:rPr lang="en-US" dirty="0"/>
              <a:t>each point</a:t>
            </a:r>
            <a:endParaRPr lang="nl-NL" dirty="0"/>
          </a:p>
        </p:txBody>
      </p:sp>
      <p:sp>
        <p:nvSpPr>
          <p:cNvPr id="204806" name="Rectangle 4"/>
          <p:cNvSpPr>
            <a:spLocks noChangeArrowheads="1"/>
          </p:cNvSpPr>
          <p:nvPr>
            <p:custDataLst>
              <p:tags r:id="rId5"/>
            </p:custDataLst>
          </p:nvPr>
        </p:nvSpPr>
        <p:spPr bwMode="auto">
          <a:xfrm>
            <a:off x="414338" y="3058078"/>
            <a:ext cx="8372475" cy="228600"/>
          </a:xfrm>
          <a:prstGeom prst="rect">
            <a:avLst/>
          </a:prstGeom>
          <a:solidFill>
            <a:srgbClr val="00A1DE"/>
          </a:solidFill>
          <a:ln w="12700" algn="ctr">
            <a:noFill/>
            <a:miter lim="800000"/>
            <a:headEnd/>
            <a:tailEnd/>
          </a:ln>
        </p:spPr>
        <p:txBody>
          <a:bodyPr lIns="40118" tIns="18000" rIns="40118" bIns="18000" anchor="ctr">
            <a:spAutoFit/>
          </a:bodyPr>
          <a:lstStyle/>
          <a:p>
            <a:pPr algn="l" defTabSz="1019175"/>
            <a:r>
              <a:rPr lang="en-US" sz="1600" b="1">
                <a:solidFill>
                  <a:srgbClr val="FFFFFF"/>
                </a:solidFill>
              </a:rPr>
              <a:t>3</a:t>
            </a:r>
          </a:p>
        </p:txBody>
      </p:sp>
      <p:sp>
        <p:nvSpPr>
          <p:cNvPr id="204807" name="Rectangle 4"/>
          <p:cNvSpPr>
            <a:spLocks noChangeArrowheads="1"/>
          </p:cNvSpPr>
          <p:nvPr>
            <p:custDataLst>
              <p:tags r:id="rId6"/>
            </p:custDataLst>
          </p:nvPr>
        </p:nvSpPr>
        <p:spPr bwMode="auto">
          <a:xfrm>
            <a:off x="414338" y="4021829"/>
            <a:ext cx="8372475" cy="228600"/>
          </a:xfrm>
          <a:prstGeom prst="rect">
            <a:avLst/>
          </a:prstGeom>
          <a:solidFill>
            <a:srgbClr val="00A1DE"/>
          </a:solidFill>
          <a:ln w="12700" algn="ctr">
            <a:noFill/>
            <a:miter lim="800000"/>
            <a:headEnd/>
            <a:tailEnd/>
          </a:ln>
        </p:spPr>
        <p:txBody>
          <a:bodyPr lIns="40118" tIns="18000" rIns="40118" bIns="18000" anchor="ctr">
            <a:spAutoFit/>
          </a:bodyPr>
          <a:lstStyle/>
          <a:p>
            <a:pPr algn="l" defTabSz="1019175"/>
            <a:r>
              <a:rPr lang="en-US" sz="1600" b="1">
                <a:solidFill>
                  <a:srgbClr val="FFFFFF"/>
                </a:solidFill>
              </a:rPr>
              <a:t>4</a:t>
            </a:r>
          </a:p>
        </p:txBody>
      </p:sp>
      <p:sp>
        <p:nvSpPr>
          <p:cNvPr id="204808" name="Rectangle 4"/>
          <p:cNvSpPr>
            <a:spLocks noChangeArrowheads="1"/>
          </p:cNvSpPr>
          <p:nvPr>
            <p:custDataLst>
              <p:tags r:id="rId7"/>
            </p:custDataLst>
          </p:nvPr>
        </p:nvSpPr>
        <p:spPr bwMode="auto">
          <a:xfrm>
            <a:off x="414338" y="5018342"/>
            <a:ext cx="8372475" cy="228600"/>
          </a:xfrm>
          <a:prstGeom prst="rect">
            <a:avLst/>
          </a:prstGeom>
          <a:solidFill>
            <a:srgbClr val="00A1DE"/>
          </a:solidFill>
          <a:ln w="12700" algn="ctr">
            <a:noFill/>
            <a:miter lim="800000"/>
            <a:headEnd/>
            <a:tailEnd/>
          </a:ln>
        </p:spPr>
        <p:txBody>
          <a:bodyPr lIns="40118" tIns="18000" rIns="40118" bIns="18000" anchor="ctr">
            <a:spAutoFit/>
          </a:bodyPr>
          <a:lstStyle/>
          <a:p>
            <a:pPr algn="l" defTabSz="1019175"/>
            <a:r>
              <a:rPr lang="en-US" sz="1600" b="1">
                <a:solidFill>
                  <a:srgbClr val="FFFFFF"/>
                </a:solidFill>
              </a:rPr>
              <a:t>5</a:t>
            </a:r>
          </a:p>
        </p:txBody>
      </p:sp>
      <p:sp>
        <p:nvSpPr>
          <p:cNvPr id="204809" name="Rectangle 4"/>
          <p:cNvSpPr>
            <a:spLocks noChangeArrowheads="1"/>
          </p:cNvSpPr>
          <p:nvPr>
            <p:custDataLst>
              <p:tags r:id="rId8"/>
            </p:custDataLst>
          </p:nvPr>
        </p:nvSpPr>
        <p:spPr bwMode="auto">
          <a:xfrm>
            <a:off x="414338" y="2102716"/>
            <a:ext cx="8372475" cy="228600"/>
          </a:xfrm>
          <a:prstGeom prst="rect">
            <a:avLst/>
          </a:prstGeom>
          <a:solidFill>
            <a:srgbClr val="00A1DE"/>
          </a:solidFill>
          <a:ln w="12700" algn="ctr">
            <a:noFill/>
            <a:miter lim="800000"/>
            <a:headEnd/>
            <a:tailEnd/>
          </a:ln>
        </p:spPr>
        <p:txBody>
          <a:bodyPr lIns="40118" tIns="18000" rIns="40118" bIns="18000" anchor="ctr">
            <a:spAutoFit/>
          </a:bodyPr>
          <a:lstStyle/>
          <a:p>
            <a:pPr algn="l" defTabSz="1019175"/>
            <a:r>
              <a:rPr lang="en-US" sz="1600" b="1">
                <a:solidFill>
                  <a:srgbClr val="FFFFFF"/>
                </a:solidFill>
              </a:rPr>
              <a:t>2</a:t>
            </a:r>
          </a:p>
        </p:txBody>
      </p:sp>
      <p:sp>
        <p:nvSpPr>
          <p:cNvPr id="204810" name="Rectangle 3"/>
          <p:cNvSpPr>
            <a:spLocks noChangeArrowheads="1"/>
          </p:cNvSpPr>
          <p:nvPr>
            <p:custDataLst>
              <p:tags r:id="rId9"/>
            </p:custDataLst>
          </p:nvPr>
        </p:nvSpPr>
        <p:spPr bwMode="gray">
          <a:xfrm>
            <a:off x="819151" y="1380930"/>
            <a:ext cx="3614737" cy="790575"/>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204811" name="Rectangle 3"/>
          <p:cNvSpPr>
            <a:spLocks noChangeArrowheads="1"/>
          </p:cNvSpPr>
          <p:nvPr>
            <p:custDataLst>
              <p:tags r:id="rId10"/>
            </p:custDataLst>
          </p:nvPr>
        </p:nvSpPr>
        <p:spPr bwMode="gray">
          <a:xfrm>
            <a:off x="5008563" y="1380930"/>
            <a:ext cx="3778250" cy="790575"/>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204812" name="Rectangle 3"/>
          <p:cNvSpPr>
            <a:spLocks noChangeArrowheads="1"/>
          </p:cNvSpPr>
          <p:nvPr>
            <p:custDataLst>
              <p:tags r:id="rId11"/>
            </p:custDataLst>
          </p:nvPr>
        </p:nvSpPr>
        <p:spPr bwMode="gray">
          <a:xfrm>
            <a:off x="819151" y="2352276"/>
            <a:ext cx="3614737" cy="788988"/>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204813" name="Rectangle 3"/>
          <p:cNvSpPr>
            <a:spLocks noChangeArrowheads="1"/>
          </p:cNvSpPr>
          <p:nvPr>
            <p:custDataLst>
              <p:tags r:id="rId12"/>
            </p:custDataLst>
          </p:nvPr>
        </p:nvSpPr>
        <p:spPr bwMode="gray">
          <a:xfrm>
            <a:off x="5008563" y="2352276"/>
            <a:ext cx="3778250" cy="788988"/>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204814" name="Rectangle 3"/>
          <p:cNvSpPr>
            <a:spLocks noChangeArrowheads="1"/>
          </p:cNvSpPr>
          <p:nvPr>
            <p:custDataLst>
              <p:tags r:id="rId13"/>
            </p:custDataLst>
          </p:nvPr>
        </p:nvSpPr>
        <p:spPr bwMode="gray">
          <a:xfrm>
            <a:off x="819151" y="3316369"/>
            <a:ext cx="3614737" cy="790575"/>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204815" name="Rectangle 3"/>
          <p:cNvSpPr>
            <a:spLocks noChangeArrowheads="1"/>
          </p:cNvSpPr>
          <p:nvPr>
            <p:custDataLst>
              <p:tags r:id="rId14"/>
            </p:custDataLst>
          </p:nvPr>
        </p:nvSpPr>
        <p:spPr bwMode="gray">
          <a:xfrm>
            <a:off x="5008563" y="3316369"/>
            <a:ext cx="3778250" cy="790575"/>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204816" name="Rectangle 3"/>
          <p:cNvSpPr>
            <a:spLocks noChangeArrowheads="1"/>
          </p:cNvSpPr>
          <p:nvPr>
            <p:custDataLst>
              <p:tags r:id="rId15"/>
            </p:custDataLst>
          </p:nvPr>
        </p:nvSpPr>
        <p:spPr bwMode="gray">
          <a:xfrm>
            <a:off x="792163" y="5269489"/>
            <a:ext cx="3614737" cy="790575"/>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204817" name="Rectangle 3"/>
          <p:cNvSpPr>
            <a:spLocks noChangeArrowheads="1"/>
          </p:cNvSpPr>
          <p:nvPr>
            <p:custDataLst>
              <p:tags r:id="rId16"/>
            </p:custDataLst>
          </p:nvPr>
        </p:nvSpPr>
        <p:spPr bwMode="gray">
          <a:xfrm>
            <a:off x="4981575" y="5269489"/>
            <a:ext cx="3778250" cy="790575"/>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204818" name="Rectangle 3"/>
          <p:cNvSpPr>
            <a:spLocks noChangeArrowheads="1"/>
          </p:cNvSpPr>
          <p:nvPr>
            <p:custDataLst>
              <p:tags r:id="rId17"/>
            </p:custDataLst>
          </p:nvPr>
        </p:nvSpPr>
        <p:spPr bwMode="gray">
          <a:xfrm>
            <a:off x="819151" y="4284089"/>
            <a:ext cx="3614737" cy="790575"/>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204819" name="Rectangle 3"/>
          <p:cNvSpPr>
            <a:spLocks noChangeArrowheads="1"/>
          </p:cNvSpPr>
          <p:nvPr>
            <p:custDataLst>
              <p:tags r:id="rId18"/>
            </p:custDataLst>
          </p:nvPr>
        </p:nvSpPr>
        <p:spPr bwMode="gray">
          <a:xfrm>
            <a:off x="5008563" y="4284089"/>
            <a:ext cx="3778250" cy="790575"/>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20"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6673" name="Title 1"/>
          <p:cNvSpPr>
            <a:spLocks noGrp="1"/>
          </p:cNvSpPr>
          <p:nvPr>
            <p:ph type="title"/>
          </p:nvPr>
        </p:nvSpPr>
        <p:spPr/>
        <p:txBody>
          <a:bodyPr/>
          <a:lstStyle/>
          <a:p>
            <a:r>
              <a:rPr lang="en-GB" altLang="ja-JP"/>
              <a:t>Table with arrows</a:t>
            </a:r>
            <a:endParaRPr lang="nl-NL"/>
          </a:p>
        </p:txBody>
      </p:sp>
      <p:sp>
        <p:nvSpPr>
          <p:cNvPr id="796675" name="Text Box 3"/>
          <p:cNvSpPr txBox="1">
            <a:spLocks noChangeArrowheads="1"/>
          </p:cNvSpPr>
          <p:nvPr/>
        </p:nvSpPr>
        <p:spPr bwMode="auto">
          <a:xfrm>
            <a:off x="4020031" y="6030913"/>
            <a:ext cx="812800" cy="307975"/>
          </a:xfrm>
          <a:prstGeom prst="rect">
            <a:avLst/>
          </a:prstGeom>
          <a:noFill/>
          <a:ln w="9525">
            <a:noFill/>
            <a:miter lim="800000"/>
            <a:headEnd type="none" w="sm" len="sm"/>
            <a:tailEnd type="none" w="med" len="lg"/>
          </a:ln>
        </p:spPr>
        <p:txBody>
          <a:bodyPr wrap="none">
            <a:spAutoFit/>
          </a:bodyPr>
          <a:lstStyle/>
          <a:p>
            <a:r>
              <a:rPr lang="en-GB" altLang="ja-JP" sz="1400">
                <a:solidFill>
                  <a:schemeClr val="tx2"/>
                </a:solidFill>
                <a:ea typeface="ＭＳ Ｐゴシック" charset="-128"/>
              </a:rPr>
              <a:t>Positive</a:t>
            </a:r>
          </a:p>
        </p:txBody>
      </p:sp>
      <p:sp>
        <p:nvSpPr>
          <p:cNvPr id="796676" name="Text Box 4"/>
          <p:cNvSpPr txBox="1">
            <a:spLocks noChangeArrowheads="1"/>
          </p:cNvSpPr>
          <p:nvPr/>
        </p:nvSpPr>
        <p:spPr bwMode="auto">
          <a:xfrm>
            <a:off x="5124013" y="6030913"/>
            <a:ext cx="762000" cy="307975"/>
          </a:xfrm>
          <a:prstGeom prst="rect">
            <a:avLst/>
          </a:prstGeom>
          <a:noFill/>
          <a:ln w="9525">
            <a:noFill/>
            <a:miter lim="800000"/>
            <a:headEnd type="none" w="sm" len="sm"/>
            <a:tailEnd type="none" w="med" len="lg"/>
          </a:ln>
        </p:spPr>
        <p:txBody>
          <a:bodyPr wrap="none">
            <a:spAutoFit/>
          </a:bodyPr>
          <a:lstStyle/>
          <a:p>
            <a:r>
              <a:rPr lang="en-GB" altLang="ja-JP" sz="1400">
                <a:solidFill>
                  <a:schemeClr val="tx2"/>
                </a:solidFill>
                <a:ea typeface="ＭＳ Ｐゴシック" charset="-128"/>
              </a:rPr>
              <a:t>Neutral</a:t>
            </a:r>
          </a:p>
        </p:txBody>
      </p:sp>
      <p:sp>
        <p:nvSpPr>
          <p:cNvPr id="796677" name="Text Box 5"/>
          <p:cNvSpPr txBox="1">
            <a:spLocks noChangeArrowheads="1"/>
          </p:cNvSpPr>
          <p:nvPr/>
        </p:nvSpPr>
        <p:spPr bwMode="auto">
          <a:xfrm>
            <a:off x="6298516" y="6030913"/>
            <a:ext cx="892175" cy="307975"/>
          </a:xfrm>
          <a:prstGeom prst="rect">
            <a:avLst/>
          </a:prstGeom>
          <a:noFill/>
          <a:ln w="9525">
            <a:noFill/>
            <a:miter lim="800000"/>
            <a:headEnd type="none" w="sm" len="sm"/>
            <a:tailEnd type="none" w="med" len="lg"/>
          </a:ln>
        </p:spPr>
        <p:txBody>
          <a:bodyPr wrap="none">
            <a:spAutoFit/>
          </a:bodyPr>
          <a:lstStyle/>
          <a:p>
            <a:r>
              <a:rPr lang="en-GB" altLang="ja-JP" sz="1400">
                <a:solidFill>
                  <a:schemeClr val="tx2"/>
                </a:solidFill>
                <a:ea typeface="ＭＳ Ｐゴシック" charset="-128"/>
              </a:rPr>
              <a:t>Negative</a:t>
            </a:r>
          </a:p>
        </p:txBody>
      </p:sp>
      <p:sp>
        <p:nvSpPr>
          <p:cNvPr id="796678" name="AutoShape 6"/>
          <p:cNvSpPr>
            <a:spLocks noChangeArrowheads="1"/>
          </p:cNvSpPr>
          <p:nvPr/>
        </p:nvSpPr>
        <p:spPr bwMode="gray">
          <a:xfrm rot="5400000">
            <a:off x="4859462" y="6087269"/>
            <a:ext cx="387350" cy="204787"/>
          </a:xfrm>
          <a:prstGeom prst="upArrow">
            <a:avLst>
              <a:gd name="adj1" fmla="val 49880"/>
              <a:gd name="adj2" fmla="val 49801"/>
            </a:avLst>
          </a:prstGeom>
          <a:solidFill>
            <a:srgbClr val="FF9900"/>
          </a:solidFill>
          <a:ln w="28575" algn="ctr">
            <a:noFill/>
            <a:miter lim="800000"/>
            <a:headEnd/>
            <a:tailEnd/>
          </a:ln>
        </p:spPr>
        <p:txBody>
          <a:bodyPr rot="10800000" vert="eaVert" wrap="none" anchor="ctr"/>
          <a:lstStyle/>
          <a:p>
            <a:pPr algn="ctr"/>
            <a:endParaRPr lang="en-GB" sz="1400">
              <a:solidFill>
                <a:schemeClr val="tx2"/>
              </a:solidFill>
            </a:endParaRPr>
          </a:p>
        </p:txBody>
      </p:sp>
      <p:sp>
        <p:nvSpPr>
          <p:cNvPr id="796679" name="AutoShape 7"/>
          <p:cNvSpPr>
            <a:spLocks noChangeArrowheads="1"/>
          </p:cNvSpPr>
          <p:nvPr/>
        </p:nvSpPr>
        <p:spPr bwMode="gray">
          <a:xfrm flipV="1">
            <a:off x="5990759" y="6078538"/>
            <a:ext cx="358775" cy="222250"/>
          </a:xfrm>
          <a:prstGeom prst="upArrow">
            <a:avLst>
              <a:gd name="adj1" fmla="val 49880"/>
              <a:gd name="adj2" fmla="val 49801"/>
            </a:avLst>
          </a:prstGeom>
          <a:solidFill>
            <a:srgbClr val="CC3300"/>
          </a:solidFill>
          <a:ln w="28575" algn="ctr">
            <a:noFill/>
            <a:miter lim="800000"/>
            <a:headEnd/>
            <a:tailEnd/>
          </a:ln>
        </p:spPr>
        <p:txBody>
          <a:bodyPr rot="10800000" wrap="none" anchor="ctr"/>
          <a:lstStyle/>
          <a:p>
            <a:pPr algn="ctr"/>
            <a:endParaRPr lang="en-GB" sz="1400">
              <a:solidFill>
                <a:schemeClr val="tx2"/>
              </a:solidFill>
            </a:endParaRPr>
          </a:p>
        </p:txBody>
      </p:sp>
      <p:graphicFrame>
        <p:nvGraphicFramePr>
          <p:cNvPr id="9" name="Group 8"/>
          <p:cNvGraphicFramePr>
            <a:graphicFrameLocks noGrp="1"/>
          </p:cNvGraphicFramePr>
          <p:nvPr/>
        </p:nvGraphicFramePr>
        <p:xfrm>
          <a:off x="366713" y="1572781"/>
          <a:ext cx="8425961" cy="4241803"/>
        </p:xfrm>
        <a:graphic>
          <a:graphicData uri="http://schemas.openxmlformats.org/drawingml/2006/table">
            <a:tbl>
              <a:tblPr/>
              <a:tblGrid>
                <a:gridCol w="1607527"/>
                <a:gridCol w="1135673"/>
                <a:gridCol w="1137138"/>
                <a:gridCol w="1137138"/>
                <a:gridCol w="1135674"/>
                <a:gridCol w="1137138"/>
                <a:gridCol w="1135673"/>
              </a:tblGrid>
              <a:tr h="55721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cap="none" normalizeH="0" baseline="0" dirty="0">
                        <a:ln>
                          <a:noFill/>
                        </a:ln>
                        <a:solidFill>
                          <a:schemeClr val="tx1"/>
                        </a:solidFill>
                        <a:effectLst/>
                        <a:latin typeface="Arial" charset="0"/>
                      </a:endParaRPr>
                    </a:p>
                  </a:txBody>
                  <a:tcPr marL="67525" marR="67525" marT="73152" marB="73152"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r>
              <a:tr h="736918">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tx2"/>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736918">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a:ln>
                            <a:noFill/>
                          </a:ln>
                          <a:solidFill>
                            <a:schemeClr val="tx2"/>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736918">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a:ln>
                            <a:noFill/>
                          </a:ln>
                          <a:solidFill>
                            <a:schemeClr val="tx2"/>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736918">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a:ln>
                            <a:noFill/>
                          </a:ln>
                          <a:solidFill>
                            <a:schemeClr val="tx2"/>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736918">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a:ln>
                            <a:noFill/>
                          </a:ln>
                          <a:solidFill>
                            <a:schemeClr val="tx2"/>
                          </a:solidFill>
                          <a:effectLst/>
                          <a:latin typeface="Arial"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r>
            </a:tbl>
          </a:graphicData>
        </a:graphic>
      </p:graphicFrame>
      <p:sp>
        <p:nvSpPr>
          <p:cNvPr id="796736" name="AutoShape 83"/>
          <p:cNvSpPr>
            <a:spLocks noChangeArrowheads="1"/>
          </p:cNvSpPr>
          <p:nvPr/>
        </p:nvSpPr>
        <p:spPr bwMode="gray">
          <a:xfrm>
            <a:off x="3706813" y="6078538"/>
            <a:ext cx="360362" cy="222250"/>
          </a:xfrm>
          <a:prstGeom prst="upArrow">
            <a:avLst>
              <a:gd name="adj1" fmla="val 49880"/>
              <a:gd name="adj2" fmla="val 49801"/>
            </a:avLst>
          </a:prstGeom>
          <a:solidFill>
            <a:srgbClr val="336600"/>
          </a:solidFill>
          <a:ln w="28575" algn="ctr">
            <a:noFill/>
            <a:miter lim="800000"/>
            <a:headEnd/>
            <a:tailEnd/>
          </a:ln>
        </p:spPr>
        <p:txBody>
          <a:bodyPr wrap="none" anchor="ctr"/>
          <a:lstStyle/>
          <a:p>
            <a:pPr algn="ctr"/>
            <a:endParaRPr lang="en-GB" sz="1400">
              <a:solidFill>
                <a:schemeClr val="tx2"/>
              </a:solidFill>
            </a:endParaRPr>
          </a:p>
        </p:txBody>
      </p:sp>
      <p:sp>
        <p:nvSpPr>
          <p:cNvPr id="796737" name="AutoShape 84"/>
          <p:cNvSpPr>
            <a:spLocks noChangeArrowheads="1"/>
          </p:cNvSpPr>
          <p:nvPr/>
        </p:nvSpPr>
        <p:spPr bwMode="gray">
          <a:xfrm flipV="1">
            <a:off x="2251075" y="3897313"/>
            <a:ext cx="527050" cy="327025"/>
          </a:xfrm>
          <a:prstGeom prst="upArrow">
            <a:avLst>
              <a:gd name="adj1" fmla="val 49880"/>
              <a:gd name="adj2" fmla="val 49801"/>
            </a:avLst>
          </a:prstGeom>
          <a:solidFill>
            <a:srgbClr val="CC3300"/>
          </a:solidFill>
          <a:ln w="28575" algn="ctr">
            <a:noFill/>
            <a:miter lim="800000"/>
            <a:headEnd/>
            <a:tailEnd/>
          </a:ln>
        </p:spPr>
        <p:txBody>
          <a:bodyPr rot="10800000" wrap="none" anchor="ctr"/>
          <a:lstStyle/>
          <a:p>
            <a:pPr algn="ctr"/>
            <a:endParaRPr lang="en-GB" sz="1400"/>
          </a:p>
        </p:txBody>
      </p:sp>
      <p:sp>
        <p:nvSpPr>
          <p:cNvPr id="796738" name="AutoShape 85"/>
          <p:cNvSpPr>
            <a:spLocks noChangeArrowheads="1"/>
          </p:cNvSpPr>
          <p:nvPr/>
        </p:nvSpPr>
        <p:spPr bwMode="gray">
          <a:xfrm>
            <a:off x="2251075" y="2397125"/>
            <a:ext cx="527050" cy="327025"/>
          </a:xfrm>
          <a:prstGeom prst="upArrow">
            <a:avLst>
              <a:gd name="adj1" fmla="val 49880"/>
              <a:gd name="adj2" fmla="val 49801"/>
            </a:avLst>
          </a:prstGeom>
          <a:solidFill>
            <a:srgbClr val="336600"/>
          </a:solidFill>
          <a:ln w="28575" algn="ctr">
            <a:noFill/>
            <a:miter lim="800000"/>
            <a:headEnd/>
            <a:tailEnd/>
          </a:ln>
        </p:spPr>
        <p:txBody>
          <a:bodyPr wrap="none" anchor="ctr"/>
          <a:lstStyle/>
          <a:p>
            <a:pPr algn="ctr"/>
            <a:endParaRPr lang="en-GB" sz="1400"/>
          </a:p>
        </p:txBody>
      </p:sp>
      <p:sp>
        <p:nvSpPr>
          <p:cNvPr id="796739" name="AutoShape 86"/>
          <p:cNvSpPr>
            <a:spLocks noChangeArrowheads="1"/>
          </p:cNvSpPr>
          <p:nvPr/>
        </p:nvSpPr>
        <p:spPr bwMode="gray">
          <a:xfrm rot="5400000">
            <a:off x="2228851" y="3147581"/>
            <a:ext cx="571500" cy="301625"/>
          </a:xfrm>
          <a:prstGeom prst="upArrow">
            <a:avLst>
              <a:gd name="adj1" fmla="val 49880"/>
              <a:gd name="adj2" fmla="val 49801"/>
            </a:avLst>
          </a:prstGeom>
          <a:solidFill>
            <a:srgbClr val="FF9900"/>
          </a:solidFill>
          <a:ln w="28575" algn="ctr">
            <a:noFill/>
            <a:miter lim="800000"/>
            <a:headEnd/>
            <a:tailEnd/>
          </a:ln>
        </p:spPr>
        <p:txBody>
          <a:bodyPr rot="10800000" vert="eaVert" wrap="none" anchor="ctr"/>
          <a:lstStyle/>
          <a:p>
            <a:pPr algn="ctr"/>
            <a:endParaRPr lang="en-GB" sz="1400"/>
          </a:p>
        </p:txBody>
      </p:sp>
      <p:sp>
        <p:nvSpPr>
          <p:cNvPr id="796740" name="AutoShape 87"/>
          <p:cNvSpPr>
            <a:spLocks noChangeArrowheads="1"/>
          </p:cNvSpPr>
          <p:nvPr/>
        </p:nvSpPr>
        <p:spPr bwMode="gray">
          <a:xfrm>
            <a:off x="2251075" y="4613275"/>
            <a:ext cx="527050" cy="327025"/>
          </a:xfrm>
          <a:prstGeom prst="upArrow">
            <a:avLst>
              <a:gd name="adj1" fmla="val 49880"/>
              <a:gd name="adj2" fmla="val 49801"/>
            </a:avLst>
          </a:prstGeom>
          <a:solidFill>
            <a:srgbClr val="336600"/>
          </a:solidFill>
          <a:ln w="28575" algn="ctr">
            <a:noFill/>
            <a:miter lim="800000"/>
            <a:headEnd/>
            <a:tailEnd/>
          </a:ln>
        </p:spPr>
        <p:txBody>
          <a:bodyPr wrap="none" anchor="ctr"/>
          <a:lstStyle/>
          <a:p>
            <a:pPr algn="ctr"/>
            <a:endParaRPr lang="en-GB" sz="1400"/>
          </a:p>
        </p:txBody>
      </p:sp>
      <p:sp>
        <p:nvSpPr>
          <p:cNvPr id="796741" name="AutoShape 88"/>
          <p:cNvSpPr>
            <a:spLocks noChangeArrowheads="1"/>
          </p:cNvSpPr>
          <p:nvPr/>
        </p:nvSpPr>
        <p:spPr bwMode="gray">
          <a:xfrm rot="5400000">
            <a:off x="2228851" y="5389562"/>
            <a:ext cx="571500" cy="301625"/>
          </a:xfrm>
          <a:prstGeom prst="upArrow">
            <a:avLst>
              <a:gd name="adj1" fmla="val 49880"/>
              <a:gd name="adj2" fmla="val 49801"/>
            </a:avLst>
          </a:prstGeom>
          <a:solidFill>
            <a:srgbClr val="FF9900"/>
          </a:solidFill>
          <a:ln w="28575" algn="ctr">
            <a:noFill/>
            <a:miter lim="800000"/>
            <a:headEnd/>
            <a:tailEnd/>
          </a:ln>
        </p:spPr>
        <p:txBody>
          <a:bodyPr rot="10800000" vert="eaVert" wrap="none" anchor="ctr"/>
          <a:lstStyle/>
          <a:p>
            <a:pPr algn="ctr"/>
            <a:endParaRPr lang="en-GB" sz="1400"/>
          </a:p>
        </p:txBody>
      </p:sp>
      <p:sp>
        <p:nvSpPr>
          <p:cNvPr id="796742" name="AutoShape 89"/>
          <p:cNvSpPr>
            <a:spLocks noChangeArrowheads="1"/>
          </p:cNvSpPr>
          <p:nvPr/>
        </p:nvSpPr>
        <p:spPr bwMode="gray">
          <a:xfrm flipV="1">
            <a:off x="3394075" y="3897313"/>
            <a:ext cx="527050" cy="327025"/>
          </a:xfrm>
          <a:prstGeom prst="upArrow">
            <a:avLst>
              <a:gd name="adj1" fmla="val 49880"/>
              <a:gd name="adj2" fmla="val 49801"/>
            </a:avLst>
          </a:prstGeom>
          <a:solidFill>
            <a:srgbClr val="CC3300"/>
          </a:solidFill>
          <a:ln w="28575" algn="ctr">
            <a:noFill/>
            <a:miter lim="800000"/>
            <a:headEnd/>
            <a:tailEnd/>
          </a:ln>
        </p:spPr>
        <p:txBody>
          <a:bodyPr rot="10800000" wrap="none" anchor="ctr"/>
          <a:lstStyle/>
          <a:p>
            <a:pPr algn="ctr"/>
            <a:endParaRPr lang="en-GB" sz="1400"/>
          </a:p>
        </p:txBody>
      </p:sp>
      <p:sp>
        <p:nvSpPr>
          <p:cNvPr id="796743" name="AutoShape 90"/>
          <p:cNvSpPr>
            <a:spLocks noChangeArrowheads="1"/>
          </p:cNvSpPr>
          <p:nvPr/>
        </p:nvSpPr>
        <p:spPr bwMode="gray">
          <a:xfrm>
            <a:off x="3395663" y="2397125"/>
            <a:ext cx="527050" cy="327025"/>
          </a:xfrm>
          <a:prstGeom prst="upArrow">
            <a:avLst>
              <a:gd name="adj1" fmla="val 49880"/>
              <a:gd name="adj2" fmla="val 49801"/>
            </a:avLst>
          </a:prstGeom>
          <a:solidFill>
            <a:srgbClr val="336600"/>
          </a:solidFill>
          <a:ln w="28575" algn="ctr">
            <a:noFill/>
            <a:miter lim="800000"/>
            <a:headEnd/>
            <a:tailEnd/>
          </a:ln>
        </p:spPr>
        <p:txBody>
          <a:bodyPr wrap="none" anchor="ctr"/>
          <a:lstStyle/>
          <a:p>
            <a:pPr algn="ctr"/>
            <a:endParaRPr lang="en-GB" sz="1400"/>
          </a:p>
        </p:txBody>
      </p:sp>
      <p:sp>
        <p:nvSpPr>
          <p:cNvPr id="796744" name="AutoShape 91"/>
          <p:cNvSpPr>
            <a:spLocks noChangeArrowheads="1"/>
          </p:cNvSpPr>
          <p:nvPr/>
        </p:nvSpPr>
        <p:spPr bwMode="gray">
          <a:xfrm rot="5400000">
            <a:off x="3371851" y="3147581"/>
            <a:ext cx="571500" cy="301625"/>
          </a:xfrm>
          <a:prstGeom prst="upArrow">
            <a:avLst>
              <a:gd name="adj1" fmla="val 49880"/>
              <a:gd name="adj2" fmla="val 49801"/>
            </a:avLst>
          </a:prstGeom>
          <a:solidFill>
            <a:srgbClr val="FF9900"/>
          </a:solidFill>
          <a:ln w="28575" algn="ctr">
            <a:noFill/>
            <a:miter lim="800000"/>
            <a:headEnd/>
            <a:tailEnd/>
          </a:ln>
        </p:spPr>
        <p:txBody>
          <a:bodyPr rot="10800000" vert="eaVert" wrap="none" anchor="ctr"/>
          <a:lstStyle/>
          <a:p>
            <a:pPr algn="ctr"/>
            <a:endParaRPr lang="en-GB" sz="1400"/>
          </a:p>
        </p:txBody>
      </p:sp>
      <p:sp>
        <p:nvSpPr>
          <p:cNvPr id="796745" name="AutoShape 92"/>
          <p:cNvSpPr>
            <a:spLocks noChangeArrowheads="1"/>
          </p:cNvSpPr>
          <p:nvPr/>
        </p:nvSpPr>
        <p:spPr bwMode="gray">
          <a:xfrm>
            <a:off x="3394075" y="4613275"/>
            <a:ext cx="527050" cy="327025"/>
          </a:xfrm>
          <a:prstGeom prst="upArrow">
            <a:avLst>
              <a:gd name="adj1" fmla="val 49880"/>
              <a:gd name="adj2" fmla="val 49801"/>
            </a:avLst>
          </a:prstGeom>
          <a:solidFill>
            <a:srgbClr val="336600"/>
          </a:solidFill>
          <a:ln w="28575" algn="ctr">
            <a:noFill/>
            <a:miter lim="800000"/>
            <a:headEnd/>
            <a:tailEnd/>
          </a:ln>
        </p:spPr>
        <p:txBody>
          <a:bodyPr wrap="none" anchor="ctr"/>
          <a:lstStyle/>
          <a:p>
            <a:pPr algn="ctr"/>
            <a:endParaRPr lang="en-GB" sz="1400"/>
          </a:p>
        </p:txBody>
      </p:sp>
      <p:sp>
        <p:nvSpPr>
          <p:cNvPr id="796746" name="AutoShape 93"/>
          <p:cNvSpPr>
            <a:spLocks noChangeArrowheads="1"/>
          </p:cNvSpPr>
          <p:nvPr/>
        </p:nvSpPr>
        <p:spPr bwMode="gray">
          <a:xfrm rot="5400000">
            <a:off x="3371851" y="5389562"/>
            <a:ext cx="571500" cy="301625"/>
          </a:xfrm>
          <a:prstGeom prst="upArrow">
            <a:avLst>
              <a:gd name="adj1" fmla="val 49880"/>
              <a:gd name="adj2" fmla="val 49801"/>
            </a:avLst>
          </a:prstGeom>
          <a:solidFill>
            <a:srgbClr val="FF9900"/>
          </a:solidFill>
          <a:ln w="28575" algn="ctr">
            <a:noFill/>
            <a:miter lim="800000"/>
            <a:headEnd/>
            <a:tailEnd/>
          </a:ln>
        </p:spPr>
        <p:txBody>
          <a:bodyPr rot="10800000" vert="eaVert" wrap="none" anchor="ctr"/>
          <a:lstStyle/>
          <a:p>
            <a:pPr algn="ctr"/>
            <a:endParaRPr lang="en-GB" sz="1400"/>
          </a:p>
        </p:txBody>
      </p:sp>
      <p:sp>
        <p:nvSpPr>
          <p:cNvPr id="796747" name="AutoShape 94"/>
          <p:cNvSpPr>
            <a:spLocks noChangeArrowheads="1"/>
          </p:cNvSpPr>
          <p:nvPr/>
        </p:nvSpPr>
        <p:spPr bwMode="gray">
          <a:xfrm flipV="1">
            <a:off x="4538663" y="3897313"/>
            <a:ext cx="527050" cy="327025"/>
          </a:xfrm>
          <a:prstGeom prst="upArrow">
            <a:avLst>
              <a:gd name="adj1" fmla="val 49880"/>
              <a:gd name="adj2" fmla="val 49801"/>
            </a:avLst>
          </a:prstGeom>
          <a:solidFill>
            <a:srgbClr val="CC3300"/>
          </a:solidFill>
          <a:ln w="28575" algn="ctr">
            <a:noFill/>
            <a:miter lim="800000"/>
            <a:headEnd/>
            <a:tailEnd/>
          </a:ln>
        </p:spPr>
        <p:txBody>
          <a:bodyPr rot="10800000" wrap="none" anchor="ctr"/>
          <a:lstStyle/>
          <a:p>
            <a:pPr algn="ctr"/>
            <a:endParaRPr lang="en-GB" sz="1400"/>
          </a:p>
        </p:txBody>
      </p:sp>
      <p:sp>
        <p:nvSpPr>
          <p:cNvPr id="796748" name="AutoShape 95"/>
          <p:cNvSpPr>
            <a:spLocks noChangeArrowheads="1"/>
          </p:cNvSpPr>
          <p:nvPr/>
        </p:nvSpPr>
        <p:spPr bwMode="gray">
          <a:xfrm>
            <a:off x="4538663" y="2397125"/>
            <a:ext cx="528637" cy="327025"/>
          </a:xfrm>
          <a:prstGeom prst="upArrow">
            <a:avLst>
              <a:gd name="adj1" fmla="val 49880"/>
              <a:gd name="adj2" fmla="val 49801"/>
            </a:avLst>
          </a:prstGeom>
          <a:solidFill>
            <a:srgbClr val="336600"/>
          </a:solidFill>
          <a:ln w="28575" algn="ctr">
            <a:noFill/>
            <a:miter lim="800000"/>
            <a:headEnd/>
            <a:tailEnd/>
          </a:ln>
        </p:spPr>
        <p:txBody>
          <a:bodyPr wrap="none" anchor="ctr"/>
          <a:lstStyle/>
          <a:p>
            <a:pPr algn="ctr"/>
            <a:endParaRPr lang="en-GB" sz="1400"/>
          </a:p>
        </p:txBody>
      </p:sp>
      <p:sp>
        <p:nvSpPr>
          <p:cNvPr id="796749" name="AutoShape 96"/>
          <p:cNvSpPr>
            <a:spLocks noChangeArrowheads="1"/>
          </p:cNvSpPr>
          <p:nvPr/>
        </p:nvSpPr>
        <p:spPr bwMode="gray">
          <a:xfrm rot="5400000">
            <a:off x="4516438" y="3147581"/>
            <a:ext cx="571500" cy="301625"/>
          </a:xfrm>
          <a:prstGeom prst="upArrow">
            <a:avLst>
              <a:gd name="adj1" fmla="val 49880"/>
              <a:gd name="adj2" fmla="val 49801"/>
            </a:avLst>
          </a:prstGeom>
          <a:solidFill>
            <a:srgbClr val="FF9900"/>
          </a:solidFill>
          <a:ln w="28575" algn="ctr">
            <a:noFill/>
            <a:miter lim="800000"/>
            <a:headEnd/>
            <a:tailEnd/>
          </a:ln>
        </p:spPr>
        <p:txBody>
          <a:bodyPr rot="10800000" vert="eaVert" wrap="none" anchor="ctr"/>
          <a:lstStyle/>
          <a:p>
            <a:pPr algn="ctr"/>
            <a:endParaRPr lang="en-GB" sz="1400"/>
          </a:p>
        </p:txBody>
      </p:sp>
      <p:sp>
        <p:nvSpPr>
          <p:cNvPr id="796750" name="AutoShape 97"/>
          <p:cNvSpPr>
            <a:spLocks noChangeArrowheads="1"/>
          </p:cNvSpPr>
          <p:nvPr/>
        </p:nvSpPr>
        <p:spPr bwMode="gray">
          <a:xfrm>
            <a:off x="4538663" y="4613275"/>
            <a:ext cx="527050" cy="327025"/>
          </a:xfrm>
          <a:prstGeom prst="upArrow">
            <a:avLst>
              <a:gd name="adj1" fmla="val 49880"/>
              <a:gd name="adj2" fmla="val 49801"/>
            </a:avLst>
          </a:prstGeom>
          <a:solidFill>
            <a:srgbClr val="336600"/>
          </a:solidFill>
          <a:ln w="28575" algn="ctr">
            <a:noFill/>
            <a:miter lim="800000"/>
            <a:headEnd/>
            <a:tailEnd/>
          </a:ln>
        </p:spPr>
        <p:txBody>
          <a:bodyPr wrap="none" anchor="ctr"/>
          <a:lstStyle/>
          <a:p>
            <a:pPr algn="ctr"/>
            <a:endParaRPr lang="en-GB" sz="1400"/>
          </a:p>
        </p:txBody>
      </p:sp>
      <p:sp>
        <p:nvSpPr>
          <p:cNvPr id="796751" name="AutoShape 98"/>
          <p:cNvSpPr>
            <a:spLocks noChangeArrowheads="1"/>
          </p:cNvSpPr>
          <p:nvPr/>
        </p:nvSpPr>
        <p:spPr bwMode="gray">
          <a:xfrm rot="5400000">
            <a:off x="4516438" y="5389562"/>
            <a:ext cx="571500" cy="301625"/>
          </a:xfrm>
          <a:prstGeom prst="upArrow">
            <a:avLst>
              <a:gd name="adj1" fmla="val 49880"/>
              <a:gd name="adj2" fmla="val 49801"/>
            </a:avLst>
          </a:prstGeom>
          <a:solidFill>
            <a:srgbClr val="FF9900"/>
          </a:solidFill>
          <a:ln w="28575" algn="ctr">
            <a:noFill/>
            <a:miter lim="800000"/>
            <a:headEnd/>
            <a:tailEnd/>
          </a:ln>
        </p:spPr>
        <p:txBody>
          <a:bodyPr rot="10800000" vert="eaVert" wrap="none" anchor="ctr"/>
          <a:lstStyle/>
          <a:p>
            <a:pPr algn="ctr"/>
            <a:endParaRPr lang="en-GB" sz="1400"/>
          </a:p>
        </p:txBody>
      </p:sp>
      <p:sp>
        <p:nvSpPr>
          <p:cNvPr id="796752" name="AutoShape 99"/>
          <p:cNvSpPr>
            <a:spLocks noChangeArrowheads="1"/>
          </p:cNvSpPr>
          <p:nvPr/>
        </p:nvSpPr>
        <p:spPr bwMode="gray">
          <a:xfrm flipV="1">
            <a:off x="5683250" y="3897313"/>
            <a:ext cx="527050" cy="327025"/>
          </a:xfrm>
          <a:prstGeom prst="upArrow">
            <a:avLst>
              <a:gd name="adj1" fmla="val 49880"/>
              <a:gd name="adj2" fmla="val 49801"/>
            </a:avLst>
          </a:prstGeom>
          <a:solidFill>
            <a:srgbClr val="CC3300"/>
          </a:solidFill>
          <a:ln w="28575" algn="ctr">
            <a:noFill/>
            <a:miter lim="800000"/>
            <a:headEnd/>
            <a:tailEnd/>
          </a:ln>
        </p:spPr>
        <p:txBody>
          <a:bodyPr rot="10800000" wrap="none" anchor="ctr"/>
          <a:lstStyle/>
          <a:p>
            <a:pPr algn="ctr"/>
            <a:endParaRPr lang="en-GB" sz="1400"/>
          </a:p>
        </p:txBody>
      </p:sp>
      <p:sp>
        <p:nvSpPr>
          <p:cNvPr id="796753" name="AutoShape 100"/>
          <p:cNvSpPr>
            <a:spLocks noChangeArrowheads="1"/>
          </p:cNvSpPr>
          <p:nvPr/>
        </p:nvSpPr>
        <p:spPr bwMode="gray">
          <a:xfrm>
            <a:off x="5683250" y="2397125"/>
            <a:ext cx="527050" cy="327025"/>
          </a:xfrm>
          <a:prstGeom prst="upArrow">
            <a:avLst>
              <a:gd name="adj1" fmla="val 49880"/>
              <a:gd name="adj2" fmla="val 49801"/>
            </a:avLst>
          </a:prstGeom>
          <a:solidFill>
            <a:srgbClr val="336600"/>
          </a:solidFill>
          <a:ln w="28575" algn="ctr">
            <a:noFill/>
            <a:miter lim="800000"/>
            <a:headEnd/>
            <a:tailEnd/>
          </a:ln>
        </p:spPr>
        <p:txBody>
          <a:bodyPr wrap="none" anchor="ctr"/>
          <a:lstStyle/>
          <a:p>
            <a:pPr algn="ctr"/>
            <a:endParaRPr lang="en-GB" sz="1400"/>
          </a:p>
        </p:txBody>
      </p:sp>
      <p:sp>
        <p:nvSpPr>
          <p:cNvPr id="796754" name="AutoShape 101"/>
          <p:cNvSpPr>
            <a:spLocks noChangeArrowheads="1"/>
          </p:cNvSpPr>
          <p:nvPr/>
        </p:nvSpPr>
        <p:spPr bwMode="gray">
          <a:xfrm rot="5400000">
            <a:off x="5661026" y="3147581"/>
            <a:ext cx="571500" cy="301625"/>
          </a:xfrm>
          <a:prstGeom prst="upArrow">
            <a:avLst>
              <a:gd name="adj1" fmla="val 49880"/>
              <a:gd name="adj2" fmla="val 49801"/>
            </a:avLst>
          </a:prstGeom>
          <a:solidFill>
            <a:srgbClr val="FF9900"/>
          </a:solidFill>
          <a:ln w="28575" algn="ctr">
            <a:noFill/>
            <a:miter lim="800000"/>
            <a:headEnd/>
            <a:tailEnd/>
          </a:ln>
        </p:spPr>
        <p:txBody>
          <a:bodyPr rot="10800000" vert="eaVert" wrap="none" anchor="ctr"/>
          <a:lstStyle/>
          <a:p>
            <a:pPr algn="ctr"/>
            <a:endParaRPr lang="en-GB" sz="1400"/>
          </a:p>
        </p:txBody>
      </p:sp>
      <p:sp>
        <p:nvSpPr>
          <p:cNvPr id="796755" name="AutoShape 102"/>
          <p:cNvSpPr>
            <a:spLocks noChangeArrowheads="1"/>
          </p:cNvSpPr>
          <p:nvPr/>
        </p:nvSpPr>
        <p:spPr bwMode="gray">
          <a:xfrm>
            <a:off x="5683250" y="4613275"/>
            <a:ext cx="527050" cy="327025"/>
          </a:xfrm>
          <a:prstGeom prst="upArrow">
            <a:avLst>
              <a:gd name="adj1" fmla="val 49880"/>
              <a:gd name="adj2" fmla="val 49801"/>
            </a:avLst>
          </a:prstGeom>
          <a:solidFill>
            <a:srgbClr val="336600"/>
          </a:solidFill>
          <a:ln w="28575" algn="ctr">
            <a:noFill/>
            <a:miter lim="800000"/>
            <a:headEnd/>
            <a:tailEnd/>
          </a:ln>
        </p:spPr>
        <p:txBody>
          <a:bodyPr wrap="none" anchor="ctr"/>
          <a:lstStyle/>
          <a:p>
            <a:pPr algn="ctr"/>
            <a:endParaRPr lang="en-GB" sz="1400"/>
          </a:p>
        </p:txBody>
      </p:sp>
      <p:sp>
        <p:nvSpPr>
          <p:cNvPr id="796756" name="AutoShape 103"/>
          <p:cNvSpPr>
            <a:spLocks noChangeArrowheads="1"/>
          </p:cNvSpPr>
          <p:nvPr/>
        </p:nvSpPr>
        <p:spPr bwMode="gray">
          <a:xfrm rot="5400000">
            <a:off x="5661026" y="5389562"/>
            <a:ext cx="571500" cy="301625"/>
          </a:xfrm>
          <a:prstGeom prst="upArrow">
            <a:avLst>
              <a:gd name="adj1" fmla="val 49880"/>
              <a:gd name="adj2" fmla="val 49801"/>
            </a:avLst>
          </a:prstGeom>
          <a:solidFill>
            <a:srgbClr val="FF9900"/>
          </a:solidFill>
          <a:ln w="28575" algn="ctr">
            <a:noFill/>
            <a:miter lim="800000"/>
            <a:headEnd/>
            <a:tailEnd/>
          </a:ln>
        </p:spPr>
        <p:txBody>
          <a:bodyPr rot="10800000" vert="eaVert" wrap="none" anchor="ctr"/>
          <a:lstStyle/>
          <a:p>
            <a:pPr algn="ctr"/>
            <a:endParaRPr lang="en-GB" sz="1400"/>
          </a:p>
        </p:txBody>
      </p:sp>
      <p:sp>
        <p:nvSpPr>
          <p:cNvPr id="796757" name="AutoShape 104"/>
          <p:cNvSpPr>
            <a:spLocks noChangeArrowheads="1"/>
          </p:cNvSpPr>
          <p:nvPr/>
        </p:nvSpPr>
        <p:spPr bwMode="gray">
          <a:xfrm flipV="1">
            <a:off x="6827838" y="3897313"/>
            <a:ext cx="527050" cy="327025"/>
          </a:xfrm>
          <a:prstGeom prst="upArrow">
            <a:avLst>
              <a:gd name="adj1" fmla="val 49880"/>
              <a:gd name="adj2" fmla="val 49801"/>
            </a:avLst>
          </a:prstGeom>
          <a:solidFill>
            <a:srgbClr val="CC3300"/>
          </a:solidFill>
          <a:ln w="28575" algn="ctr">
            <a:noFill/>
            <a:miter lim="800000"/>
            <a:headEnd/>
            <a:tailEnd/>
          </a:ln>
        </p:spPr>
        <p:txBody>
          <a:bodyPr rot="10800000" wrap="none" anchor="ctr"/>
          <a:lstStyle/>
          <a:p>
            <a:pPr algn="ctr"/>
            <a:endParaRPr lang="en-GB" sz="1400"/>
          </a:p>
        </p:txBody>
      </p:sp>
      <p:sp>
        <p:nvSpPr>
          <p:cNvPr id="796758" name="AutoShape 105"/>
          <p:cNvSpPr>
            <a:spLocks noChangeArrowheads="1"/>
          </p:cNvSpPr>
          <p:nvPr/>
        </p:nvSpPr>
        <p:spPr bwMode="gray">
          <a:xfrm>
            <a:off x="6827838" y="2397125"/>
            <a:ext cx="527050" cy="327025"/>
          </a:xfrm>
          <a:prstGeom prst="upArrow">
            <a:avLst>
              <a:gd name="adj1" fmla="val 49880"/>
              <a:gd name="adj2" fmla="val 49801"/>
            </a:avLst>
          </a:prstGeom>
          <a:solidFill>
            <a:srgbClr val="336600"/>
          </a:solidFill>
          <a:ln w="28575" algn="ctr">
            <a:noFill/>
            <a:miter lim="800000"/>
            <a:headEnd/>
            <a:tailEnd/>
          </a:ln>
        </p:spPr>
        <p:txBody>
          <a:bodyPr wrap="none" anchor="ctr"/>
          <a:lstStyle/>
          <a:p>
            <a:pPr algn="ctr"/>
            <a:endParaRPr lang="en-GB" sz="1400"/>
          </a:p>
        </p:txBody>
      </p:sp>
      <p:sp>
        <p:nvSpPr>
          <p:cNvPr id="796759" name="AutoShape 106"/>
          <p:cNvSpPr>
            <a:spLocks noChangeArrowheads="1"/>
          </p:cNvSpPr>
          <p:nvPr/>
        </p:nvSpPr>
        <p:spPr bwMode="gray">
          <a:xfrm rot="5400000">
            <a:off x="6805613" y="3147581"/>
            <a:ext cx="571500" cy="301625"/>
          </a:xfrm>
          <a:prstGeom prst="upArrow">
            <a:avLst>
              <a:gd name="adj1" fmla="val 49880"/>
              <a:gd name="adj2" fmla="val 49801"/>
            </a:avLst>
          </a:prstGeom>
          <a:solidFill>
            <a:srgbClr val="FF9900"/>
          </a:solidFill>
          <a:ln w="28575" algn="ctr">
            <a:noFill/>
            <a:miter lim="800000"/>
            <a:headEnd/>
            <a:tailEnd/>
          </a:ln>
        </p:spPr>
        <p:txBody>
          <a:bodyPr rot="10800000" vert="eaVert" wrap="none" anchor="ctr"/>
          <a:lstStyle/>
          <a:p>
            <a:pPr algn="ctr"/>
            <a:endParaRPr lang="en-GB" sz="1400"/>
          </a:p>
        </p:txBody>
      </p:sp>
      <p:sp>
        <p:nvSpPr>
          <p:cNvPr id="796760" name="AutoShape 107"/>
          <p:cNvSpPr>
            <a:spLocks noChangeArrowheads="1"/>
          </p:cNvSpPr>
          <p:nvPr/>
        </p:nvSpPr>
        <p:spPr bwMode="gray">
          <a:xfrm>
            <a:off x="6827838" y="4613275"/>
            <a:ext cx="527050" cy="327025"/>
          </a:xfrm>
          <a:prstGeom prst="upArrow">
            <a:avLst>
              <a:gd name="adj1" fmla="val 49880"/>
              <a:gd name="adj2" fmla="val 49801"/>
            </a:avLst>
          </a:prstGeom>
          <a:solidFill>
            <a:srgbClr val="336600"/>
          </a:solidFill>
          <a:ln w="28575" algn="ctr">
            <a:noFill/>
            <a:miter lim="800000"/>
            <a:headEnd/>
            <a:tailEnd/>
          </a:ln>
        </p:spPr>
        <p:txBody>
          <a:bodyPr wrap="none" anchor="ctr"/>
          <a:lstStyle/>
          <a:p>
            <a:pPr algn="ctr"/>
            <a:endParaRPr lang="en-GB" sz="1400"/>
          </a:p>
        </p:txBody>
      </p:sp>
      <p:sp>
        <p:nvSpPr>
          <p:cNvPr id="796761" name="AutoShape 108"/>
          <p:cNvSpPr>
            <a:spLocks noChangeArrowheads="1"/>
          </p:cNvSpPr>
          <p:nvPr/>
        </p:nvSpPr>
        <p:spPr bwMode="gray">
          <a:xfrm rot="5400000">
            <a:off x="6805613" y="5389562"/>
            <a:ext cx="571500" cy="301625"/>
          </a:xfrm>
          <a:prstGeom prst="upArrow">
            <a:avLst>
              <a:gd name="adj1" fmla="val 49880"/>
              <a:gd name="adj2" fmla="val 49801"/>
            </a:avLst>
          </a:prstGeom>
          <a:solidFill>
            <a:srgbClr val="FF9900"/>
          </a:solidFill>
          <a:ln w="28575" algn="ctr">
            <a:noFill/>
            <a:miter lim="800000"/>
            <a:headEnd/>
            <a:tailEnd/>
          </a:ln>
        </p:spPr>
        <p:txBody>
          <a:bodyPr rot="10800000" vert="eaVert" wrap="none" anchor="ctr"/>
          <a:lstStyle/>
          <a:p>
            <a:pPr algn="ctr"/>
            <a:endParaRPr lang="en-GB" sz="1400"/>
          </a:p>
        </p:txBody>
      </p:sp>
      <p:sp>
        <p:nvSpPr>
          <p:cNvPr id="796762" name="AutoShape 109"/>
          <p:cNvSpPr>
            <a:spLocks noChangeArrowheads="1"/>
          </p:cNvSpPr>
          <p:nvPr/>
        </p:nvSpPr>
        <p:spPr bwMode="gray">
          <a:xfrm flipV="1">
            <a:off x="7972425" y="3897313"/>
            <a:ext cx="527050" cy="327025"/>
          </a:xfrm>
          <a:prstGeom prst="upArrow">
            <a:avLst>
              <a:gd name="adj1" fmla="val 49880"/>
              <a:gd name="adj2" fmla="val 49801"/>
            </a:avLst>
          </a:prstGeom>
          <a:solidFill>
            <a:srgbClr val="CC3300"/>
          </a:solidFill>
          <a:ln w="28575" algn="ctr">
            <a:noFill/>
            <a:miter lim="800000"/>
            <a:headEnd/>
            <a:tailEnd/>
          </a:ln>
        </p:spPr>
        <p:txBody>
          <a:bodyPr rot="10800000" wrap="none" anchor="ctr"/>
          <a:lstStyle/>
          <a:p>
            <a:pPr algn="ctr"/>
            <a:endParaRPr lang="en-GB" sz="1400"/>
          </a:p>
        </p:txBody>
      </p:sp>
      <p:sp>
        <p:nvSpPr>
          <p:cNvPr id="796763" name="AutoShape 110"/>
          <p:cNvSpPr>
            <a:spLocks noChangeArrowheads="1"/>
          </p:cNvSpPr>
          <p:nvPr/>
        </p:nvSpPr>
        <p:spPr bwMode="gray">
          <a:xfrm>
            <a:off x="7972425" y="2397125"/>
            <a:ext cx="527050" cy="327025"/>
          </a:xfrm>
          <a:prstGeom prst="upArrow">
            <a:avLst>
              <a:gd name="adj1" fmla="val 49880"/>
              <a:gd name="adj2" fmla="val 49801"/>
            </a:avLst>
          </a:prstGeom>
          <a:solidFill>
            <a:srgbClr val="336600"/>
          </a:solidFill>
          <a:ln w="28575" algn="ctr">
            <a:noFill/>
            <a:miter lim="800000"/>
            <a:headEnd/>
            <a:tailEnd/>
          </a:ln>
        </p:spPr>
        <p:txBody>
          <a:bodyPr wrap="none" anchor="ctr"/>
          <a:lstStyle/>
          <a:p>
            <a:pPr algn="ctr"/>
            <a:endParaRPr lang="en-GB" sz="1400"/>
          </a:p>
        </p:txBody>
      </p:sp>
      <p:sp>
        <p:nvSpPr>
          <p:cNvPr id="796764" name="AutoShape 111"/>
          <p:cNvSpPr>
            <a:spLocks noChangeArrowheads="1"/>
          </p:cNvSpPr>
          <p:nvPr/>
        </p:nvSpPr>
        <p:spPr bwMode="gray">
          <a:xfrm rot="5400000">
            <a:off x="7950201" y="3147581"/>
            <a:ext cx="571500" cy="301625"/>
          </a:xfrm>
          <a:prstGeom prst="upArrow">
            <a:avLst>
              <a:gd name="adj1" fmla="val 49880"/>
              <a:gd name="adj2" fmla="val 49801"/>
            </a:avLst>
          </a:prstGeom>
          <a:solidFill>
            <a:srgbClr val="FF9900"/>
          </a:solidFill>
          <a:ln w="28575" algn="ctr">
            <a:noFill/>
            <a:miter lim="800000"/>
            <a:headEnd/>
            <a:tailEnd/>
          </a:ln>
        </p:spPr>
        <p:txBody>
          <a:bodyPr rot="10800000" vert="eaVert" wrap="none" anchor="ctr"/>
          <a:lstStyle/>
          <a:p>
            <a:pPr algn="ctr"/>
            <a:endParaRPr lang="en-GB" sz="1400"/>
          </a:p>
        </p:txBody>
      </p:sp>
      <p:sp>
        <p:nvSpPr>
          <p:cNvPr id="796765" name="AutoShape 112"/>
          <p:cNvSpPr>
            <a:spLocks noChangeArrowheads="1"/>
          </p:cNvSpPr>
          <p:nvPr/>
        </p:nvSpPr>
        <p:spPr bwMode="gray">
          <a:xfrm>
            <a:off x="7972425" y="4613275"/>
            <a:ext cx="527050" cy="327025"/>
          </a:xfrm>
          <a:prstGeom prst="upArrow">
            <a:avLst>
              <a:gd name="adj1" fmla="val 49880"/>
              <a:gd name="adj2" fmla="val 49801"/>
            </a:avLst>
          </a:prstGeom>
          <a:solidFill>
            <a:srgbClr val="336600"/>
          </a:solidFill>
          <a:ln w="28575" algn="ctr">
            <a:noFill/>
            <a:miter lim="800000"/>
            <a:headEnd/>
            <a:tailEnd/>
          </a:ln>
        </p:spPr>
        <p:txBody>
          <a:bodyPr wrap="none" anchor="ctr"/>
          <a:lstStyle/>
          <a:p>
            <a:pPr algn="ctr"/>
            <a:endParaRPr lang="en-GB" sz="1400"/>
          </a:p>
        </p:txBody>
      </p:sp>
      <p:sp>
        <p:nvSpPr>
          <p:cNvPr id="796766" name="AutoShape 113"/>
          <p:cNvSpPr>
            <a:spLocks noChangeArrowheads="1"/>
          </p:cNvSpPr>
          <p:nvPr/>
        </p:nvSpPr>
        <p:spPr bwMode="gray">
          <a:xfrm rot="5400000">
            <a:off x="7950201" y="5389562"/>
            <a:ext cx="571500" cy="301625"/>
          </a:xfrm>
          <a:prstGeom prst="upArrow">
            <a:avLst>
              <a:gd name="adj1" fmla="val 49880"/>
              <a:gd name="adj2" fmla="val 49801"/>
            </a:avLst>
          </a:prstGeom>
          <a:solidFill>
            <a:srgbClr val="FF9900"/>
          </a:solidFill>
          <a:ln w="28575" algn="ctr">
            <a:noFill/>
            <a:miter lim="800000"/>
            <a:headEnd/>
            <a:tailEnd/>
          </a:ln>
        </p:spPr>
        <p:txBody>
          <a:bodyPr rot="10800000" vert="eaVert" wrap="none" anchor="ctr"/>
          <a:lstStyle/>
          <a:p>
            <a:pPr algn="ctr"/>
            <a:endParaRPr lang="en-GB" sz="1400"/>
          </a:p>
        </p:txBody>
      </p:sp>
      <p:sp>
        <p:nvSpPr>
          <p:cNvPr id="4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4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7697" name="Title 1"/>
          <p:cNvSpPr>
            <a:spLocks noGrp="1"/>
          </p:cNvSpPr>
          <p:nvPr>
            <p:ph type="title"/>
          </p:nvPr>
        </p:nvSpPr>
        <p:spPr/>
        <p:txBody>
          <a:bodyPr/>
          <a:lstStyle/>
          <a:p>
            <a:r>
              <a:rPr lang="en-GB" altLang="ja-JP"/>
              <a:t>Heat map</a:t>
            </a:r>
            <a:endParaRPr lang="nl-NL"/>
          </a:p>
        </p:txBody>
      </p:sp>
      <p:sp>
        <p:nvSpPr>
          <p:cNvPr id="4" name="Rectangle 3"/>
          <p:cNvSpPr>
            <a:spLocks noChangeArrowheads="1"/>
          </p:cNvSpPr>
          <p:nvPr/>
        </p:nvSpPr>
        <p:spPr bwMode="auto">
          <a:xfrm>
            <a:off x="7031831" y="425748"/>
            <a:ext cx="1728787" cy="461665"/>
          </a:xfrm>
          <a:prstGeom prst="rect">
            <a:avLst/>
          </a:prstGeom>
          <a:noFill/>
          <a:ln w="12700" algn="ctr">
            <a:solidFill>
              <a:schemeClr val="tx2"/>
            </a:solidFill>
            <a:miter lim="800000"/>
            <a:headEnd/>
            <a:tailEnd/>
          </a:ln>
        </p:spPr>
        <p:txBody>
          <a:bodyPr tIns="91440" bIns="91440">
            <a:spAutoFit/>
          </a:bodyPr>
          <a:lstStyle/>
          <a:p>
            <a:pPr algn="l">
              <a:defRPr/>
            </a:pPr>
            <a:r>
              <a:rPr lang="en-GB" altLang="ja-JP" sz="900" b="0" dirty="0">
                <a:solidFill>
                  <a:schemeClr val="tx2"/>
                </a:solidFill>
                <a:ea typeface="ＭＳ Ｐゴシック" pitchFamily="50" charset="-128"/>
              </a:rPr>
              <a:t>Tip! Copy and paste cells to change cell </a:t>
            </a:r>
            <a:r>
              <a:rPr lang="en-GB" altLang="ja-JP" sz="900" b="0" dirty="0" err="1" smtClean="0">
                <a:solidFill>
                  <a:schemeClr val="tx2"/>
                </a:solidFill>
                <a:ea typeface="ＭＳ Ｐゴシック" pitchFamily="50" charset="-128"/>
              </a:rPr>
              <a:t>colors</a:t>
            </a:r>
            <a:r>
              <a:rPr lang="en-GB" altLang="ja-JP" sz="900" b="0" dirty="0" smtClean="0">
                <a:solidFill>
                  <a:schemeClr val="tx2"/>
                </a:solidFill>
                <a:ea typeface="ＭＳ Ｐゴシック" pitchFamily="50" charset="-128"/>
              </a:rPr>
              <a:t>.</a:t>
            </a:r>
            <a:endParaRPr lang="en-GB" sz="900" b="0" dirty="0">
              <a:solidFill>
                <a:schemeClr val="tx2"/>
              </a:solidFill>
              <a:ea typeface="ＭＳ Ｐゴシック" pitchFamily="50" charset="-128"/>
            </a:endParaRPr>
          </a:p>
        </p:txBody>
      </p:sp>
      <p:sp>
        <p:nvSpPr>
          <p:cNvPr id="797700" name="Text Box 130"/>
          <p:cNvSpPr txBox="1">
            <a:spLocks noChangeArrowheads="1"/>
          </p:cNvSpPr>
          <p:nvPr/>
        </p:nvSpPr>
        <p:spPr bwMode="auto">
          <a:xfrm>
            <a:off x="4186238" y="5886593"/>
            <a:ext cx="721672" cy="276999"/>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Positive</a:t>
            </a:r>
          </a:p>
        </p:txBody>
      </p:sp>
      <p:sp>
        <p:nvSpPr>
          <p:cNvPr id="797701" name="Text Box 131"/>
          <p:cNvSpPr txBox="1">
            <a:spLocks noChangeArrowheads="1"/>
          </p:cNvSpPr>
          <p:nvPr/>
        </p:nvSpPr>
        <p:spPr bwMode="auto">
          <a:xfrm>
            <a:off x="5408613" y="5886593"/>
            <a:ext cx="678391" cy="276999"/>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Neutral</a:t>
            </a:r>
          </a:p>
        </p:txBody>
      </p:sp>
      <p:sp>
        <p:nvSpPr>
          <p:cNvPr id="797702" name="Text Box 132"/>
          <p:cNvSpPr txBox="1">
            <a:spLocks noChangeArrowheads="1"/>
          </p:cNvSpPr>
          <p:nvPr/>
        </p:nvSpPr>
        <p:spPr bwMode="auto">
          <a:xfrm>
            <a:off x="6518275" y="5886593"/>
            <a:ext cx="788999" cy="276999"/>
          </a:xfrm>
          <a:prstGeom prst="rect">
            <a:avLst/>
          </a:prstGeom>
          <a:noFill/>
          <a:ln w="9525">
            <a:noFill/>
            <a:miter lim="800000"/>
            <a:headEnd type="none" w="sm" len="sm"/>
            <a:tailEnd type="none" w="med" len="lg"/>
          </a:ln>
        </p:spPr>
        <p:txBody>
          <a:bodyPr wrap="none">
            <a:spAutoFit/>
          </a:bodyPr>
          <a:lstStyle/>
          <a:p>
            <a:r>
              <a:rPr lang="en-GB" altLang="ja-JP" sz="1200">
                <a:solidFill>
                  <a:schemeClr val="tx2"/>
                </a:solidFill>
                <a:ea typeface="ＭＳ Ｐゴシック" charset="-128"/>
              </a:rPr>
              <a:t>Negative</a:t>
            </a:r>
          </a:p>
        </p:txBody>
      </p:sp>
      <p:sp>
        <p:nvSpPr>
          <p:cNvPr id="797703" name="Rectangle 133"/>
          <p:cNvSpPr>
            <a:spLocks noChangeArrowheads="1"/>
          </p:cNvSpPr>
          <p:nvPr/>
        </p:nvSpPr>
        <p:spPr bwMode="gray">
          <a:xfrm>
            <a:off x="3944938" y="5929455"/>
            <a:ext cx="217487" cy="217488"/>
          </a:xfrm>
          <a:prstGeom prst="rect">
            <a:avLst/>
          </a:prstGeom>
          <a:solidFill>
            <a:srgbClr val="336600"/>
          </a:solidFill>
          <a:ln w="28575" algn="ctr">
            <a:noFill/>
            <a:miter lim="800000"/>
            <a:headEnd/>
            <a:tailEnd/>
          </a:ln>
        </p:spPr>
        <p:txBody>
          <a:bodyPr wrap="none" anchor="ctr"/>
          <a:lstStyle/>
          <a:p>
            <a:endParaRPr lang="en-GB" sz="1200">
              <a:solidFill>
                <a:schemeClr val="tx2"/>
              </a:solidFill>
            </a:endParaRPr>
          </a:p>
        </p:txBody>
      </p:sp>
      <p:sp>
        <p:nvSpPr>
          <p:cNvPr id="797704" name="Rectangle 134"/>
          <p:cNvSpPr>
            <a:spLocks noChangeArrowheads="1"/>
          </p:cNvSpPr>
          <p:nvPr/>
        </p:nvSpPr>
        <p:spPr bwMode="gray">
          <a:xfrm>
            <a:off x="5168900" y="5929455"/>
            <a:ext cx="217488" cy="217488"/>
          </a:xfrm>
          <a:prstGeom prst="rect">
            <a:avLst/>
          </a:prstGeom>
          <a:solidFill>
            <a:srgbClr val="FF9900"/>
          </a:solidFill>
          <a:ln w="28575" algn="ctr">
            <a:noFill/>
            <a:miter lim="800000"/>
            <a:headEnd/>
            <a:tailEnd/>
          </a:ln>
        </p:spPr>
        <p:txBody>
          <a:bodyPr rot="10800000" vert="eaVert" wrap="none" anchor="ctr"/>
          <a:lstStyle/>
          <a:p>
            <a:endParaRPr lang="en-GB" sz="1200">
              <a:solidFill>
                <a:schemeClr val="tx2"/>
              </a:solidFill>
            </a:endParaRPr>
          </a:p>
        </p:txBody>
      </p:sp>
      <p:sp>
        <p:nvSpPr>
          <p:cNvPr id="797705" name="Rectangle 135"/>
          <p:cNvSpPr>
            <a:spLocks noChangeArrowheads="1"/>
          </p:cNvSpPr>
          <p:nvPr/>
        </p:nvSpPr>
        <p:spPr bwMode="gray">
          <a:xfrm>
            <a:off x="6321425" y="5929455"/>
            <a:ext cx="217488" cy="217488"/>
          </a:xfrm>
          <a:prstGeom prst="rect">
            <a:avLst/>
          </a:prstGeom>
          <a:solidFill>
            <a:srgbClr val="CC3300"/>
          </a:solidFill>
          <a:ln w="28575" algn="ctr">
            <a:noFill/>
            <a:miter lim="800000"/>
            <a:headEnd/>
            <a:tailEnd/>
          </a:ln>
        </p:spPr>
        <p:txBody>
          <a:bodyPr rot="10800000" wrap="none" anchor="ctr"/>
          <a:lstStyle/>
          <a:p>
            <a:endParaRPr lang="en-GB" sz="1200">
              <a:solidFill>
                <a:schemeClr val="tx2"/>
              </a:solidFill>
            </a:endParaRPr>
          </a:p>
        </p:txBody>
      </p:sp>
      <p:graphicFrame>
        <p:nvGraphicFramePr>
          <p:cNvPr id="35" name="Group 4"/>
          <p:cNvGraphicFramePr>
            <a:graphicFrameLocks noGrp="1"/>
          </p:cNvGraphicFramePr>
          <p:nvPr/>
        </p:nvGraphicFramePr>
        <p:xfrm>
          <a:off x="396878" y="1581293"/>
          <a:ext cx="8350241" cy="4114800"/>
        </p:xfrm>
        <a:graphic>
          <a:graphicData uri="http://schemas.openxmlformats.org/drawingml/2006/table">
            <a:tbl>
              <a:tblPr/>
              <a:tblGrid>
                <a:gridCol w="1570145"/>
                <a:gridCol w="847512"/>
                <a:gridCol w="847512"/>
                <a:gridCol w="847512"/>
                <a:gridCol w="847512"/>
                <a:gridCol w="847512"/>
                <a:gridCol w="847512"/>
                <a:gridCol w="847512"/>
                <a:gridCol w="847512"/>
              </a:tblGrid>
              <a:tr h="45720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cap="none" normalizeH="0" baseline="0" dirty="0">
                        <a:ln>
                          <a:noFill/>
                        </a:ln>
                        <a:solidFill>
                          <a:schemeClr val="tx1"/>
                        </a:solidFill>
                        <a:effectLst/>
                        <a:latin typeface="Arial" charset="0"/>
                      </a:endParaRPr>
                    </a:p>
                  </a:txBody>
                  <a:tcPr marL="73152" marR="73152" marT="73152" marB="73152"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73152" marR="73152" marT="73152" marB="73152" anchor="ctr"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73152" marR="73152" marT="73152" marB="7315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73152" marR="73152"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73152" marR="73152"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73152" marR="73152"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73152" marR="73152"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73152" marR="73152"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73152" marR="73152" marT="73152" marB="73152" anchor="ctr" anchorCtr="1"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r>
              <a:tr h="457200">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a:ln>
                            <a:noFill/>
                          </a:ln>
                          <a:solidFill>
                            <a:schemeClr val="tx2"/>
                          </a:solidFill>
                          <a:effectLst/>
                          <a:latin typeface="Arial" charset="0"/>
                        </a:rPr>
                        <a:t>Row description</a:t>
                      </a:r>
                    </a:p>
                  </a:txBody>
                  <a:tcPr marL="73152" marR="73152"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366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366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r>
              <a:tr h="457200">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a:ln>
                            <a:noFill/>
                          </a:ln>
                          <a:solidFill>
                            <a:schemeClr val="tx2"/>
                          </a:solidFill>
                          <a:effectLst/>
                          <a:latin typeface="Arial" charset="0"/>
                        </a:rPr>
                        <a:t>Row description</a:t>
                      </a:r>
                    </a:p>
                  </a:txBody>
                  <a:tcPr marL="73152" marR="73152"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366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366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r>
              <a:tr h="457200">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a:ln>
                            <a:noFill/>
                          </a:ln>
                          <a:solidFill>
                            <a:schemeClr val="tx2"/>
                          </a:solidFill>
                          <a:effectLst/>
                          <a:latin typeface="Arial" charset="0"/>
                        </a:rPr>
                        <a:t>Row description</a:t>
                      </a:r>
                    </a:p>
                  </a:txBody>
                  <a:tcPr marL="73152" marR="73152"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366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366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r>
              <a:tr h="457200">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a:ln>
                            <a:noFill/>
                          </a:ln>
                          <a:solidFill>
                            <a:schemeClr val="tx2"/>
                          </a:solidFill>
                          <a:effectLst/>
                          <a:latin typeface="Arial" charset="0"/>
                        </a:rPr>
                        <a:t>Row description</a:t>
                      </a:r>
                    </a:p>
                  </a:txBody>
                  <a:tcPr marL="73152" marR="73152"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366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366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r>
              <a:tr h="457200">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a:ln>
                            <a:noFill/>
                          </a:ln>
                          <a:solidFill>
                            <a:schemeClr val="tx2"/>
                          </a:solidFill>
                          <a:effectLst/>
                          <a:latin typeface="Arial" charset="0"/>
                        </a:rPr>
                        <a:t>Row description</a:t>
                      </a:r>
                    </a:p>
                  </a:txBody>
                  <a:tcPr marL="73152" marR="73152"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366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366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r>
              <a:tr h="457200">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a:ln>
                            <a:noFill/>
                          </a:ln>
                          <a:solidFill>
                            <a:schemeClr val="tx2"/>
                          </a:solidFill>
                          <a:effectLst/>
                          <a:latin typeface="Arial" charset="0"/>
                        </a:rPr>
                        <a:t>Row description</a:t>
                      </a:r>
                    </a:p>
                  </a:txBody>
                  <a:tcPr marL="73152" marR="73152"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366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366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r>
              <a:tr h="457200">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a:ln>
                            <a:noFill/>
                          </a:ln>
                          <a:solidFill>
                            <a:schemeClr val="tx2"/>
                          </a:solidFill>
                          <a:effectLst/>
                          <a:latin typeface="Arial" charset="0"/>
                        </a:rPr>
                        <a:t>Row description</a:t>
                      </a:r>
                    </a:p>
                  </a:txBody>
                  <a:tcPr marL="73152" marR="73152"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366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366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9900"/>
                    </a:solidFill>
                  </a:tcPr>
                </a:tc>
              </a:tr>
              <a:tr h="457200">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a:ln>
                            <a:noFill/>
                          </a:ln>
                          <a:solidFill>
                            <a:schemeClr val="tx2"/>
                          </a:solidFill>
                          <a:effectLst/>
                          <a:latin typeface="Arial" charset="0"/>
                        </a:rPr>
                        <a:t>Row description</a:t>
                      </a:r>
                    </a:p>
                  </a:txBody>
                  <a:tcPr marL="73152" marR="73152" marT="128016" marB="128016" anchor="ctr" horzOverflow="overflow">
                    <a:lnL cap="flat">
                      <a:noFill/>
                    </a:lnL>
                    <a:lnR w="76200" cap="flat" cmpd="sng" algn="ctr">
                      <a:noFill/>
                      <a:prstDash val="solid"/>
                      <a:round/>
                      <a:headEnd type="none" w="med" len="med"/>
                      <a:tailEnd type="none" w="med" len="med"/>
                    </a:lnR>
                    <a:lnT>
                      <a:noFill/>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73152" marR="356616" marT="128016" marB="128016" anchor="ctr"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cap="flat">
                      <a:noFill/>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cap="flat">
                      <a:noFill/>
                    </a:lnB>
                    <a:lnTlToBr>
                      <a:noFill/>
                    </a:lnTlToBr>
                    <a:lnBlToTr>
                      <a:noFill/>
                    </a:lnBlToTr>
                    <a:solidFill>
                      <a:srgbClr val="FF99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cap="flat">
                      <a:noFill/>
                    </a:lnB>
                    <a:lnTlToBr>
                      <a:noFill/>
                    </a:lnTlToBr>
                    <a:lnBlToTr>
                      <a:noFill/>
                    </a:lnBlToTr>
                    <a:solidFill>
                      <a:srgbClr val="3366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cap="flat">
                      <a:noFill/>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cap="flat">
                      <a:noFill/>
                    </a:lnB>
                    <a:lnTlToBr>
                      <a:noFill/>
                    </a:lnTlToBr>
                    <a:lnBlToTr>
                      <a:noFill/>
                    </a:lnBlToTr>
                    <a:solidFill>
                      <a:srgbClr val="FF99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cap="flat">
                      <a:noFill/>
                    </a:lnB>
                    <a:lnTlToBr>
                      <a:noFill/>
                    </a:lnTlToBr>
                    <a:lnBlToTr>
                      <a:noFill/>
                    </a:lnBlToTr>
                    <a:solidFill>
                      <a:srgbClr val="3366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cap="flat">
                      <a:noFill/>
                    </a:lnB>
                    <a:lnTlToBr>
                      <a:noFill/>
                    </a:lnTlToBr>
                    <a:lnBlToTr>
                      <a:noFill/>
                    </a:lnBlToTr>
                    <a:solidFill>
                      <a:srgbClr val="CD3300"/>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tx1"/>
                        </a:solidFill>
                        <a:effectLst/>
                        <a:latin typeface="Arial" charset="0"/>
                      </a:endParaRPr>
                    </a:p>
                  </a:txBody>
                  <a:tcPr marL="73152" marR="356616" marT="128016" marB="128016" anchor="ctr" horzOverflow="overflow">
                    <a:lnL w="1270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cap="flat">
                      <a:noFill/>
                    </a:lnB>
                    <a:lnTlToBr>
                      <a:noFill/>
                    </a:lnTlToBr>
                    <a:lnBlToTr>
                      <a:noFill/>
                    </a:lnBlToTr>
                    <a:solidFill>
                      <a:srgbClr val="FF9900"/>
                    </a:solidFill>
                  </a:tcPr>
                </a:tc>
              </a:tr>
            </a:tbl>
          </a:graphicData>
        </a:graphic>
      </p:graphicFrame>
      <p:sp>
        <p:nvSpPr>
          <p:cNvPr id="1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5"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21" name="Title 1"/>
          <p:cNvSpPr>
            <a:spLocks noGrp="1"/>
          </p:cNvSpPr>
          <p:nvPr>
            <p:ph type="title"/>
          </p:nvPr>
        </p:nvSpPr>
        <p:spPr/>
        <p:txBody>
          <a:bodyPr/>
          <a:lstStyle/>
          <a:p>
            <a:r>
              <a:rPr lang="en-GB"/>
              <a:t>Levels of maturity</a:t>
            </a:r>
            <a:endParaRPr lang="nl-NL"/>
          </a:p>
        </p:txBody>
      </p:sp>
      <p:sp>
        <p:nvSpPr>
          <p:cNvPr id="14" name="Freeform 2"/>
          <p:cNvSpPr>
            <a:spLocks/>
          </p:cNvSpPr>
          <p:nvPr/>
        </p:nvSpPr>
        <p:spPr bwMode="blackWhite">
          <a:xfrm>
            <a:off x="6352301" y="1593997"/>
            <a:ext cx="1782763" cy="3940175"/>
          </a:xfrm>
          <a:custGeom>
            <a:avLst/>
            <a:gdLst>
              <a:gd name="T0" fmla="*/ 0 w 633"/>
              <a:gd name="T1" fmla="*/ 1127378 h 1744"/>
              <a:gd name="T2" fmla="*/ 2816 w 633"/>
              <a:gd name="T3" fmla="*/ 3937916 h 1744"/>
              <a:gd name="T4" fmla="*/ 1779947 w 633"/>
              <a:gd name="T5" fmla="*/ 3937916 h 1744"/>
              <a:gd name="T6" fmla="*/ 1779947 w 633"/>
              <a:gd name="T7" fmla="*/ 0 h 1744"/>
              <a:gd name="T8" fmla="*/ 1664475 w 633"/>
              <a:gd name="T9" fmla="*/ 124260 h 1744"/>
              <a:gd name="T10" fmla="*/ 1512391 w 633"/>
              <a:gd name="T11" fmla="*/ 246261 h 1744"/>
              <a:gd name="T12" fmla="*/ 1318062 w 633"/>
              <a:gd name="T13" fmla="*/ 388595 h 1744"/>
              <a:gd name="T14" fmla="*/ 1064588 w 633"/>
              <a:gd name="T15" fmla="*/ 551263 h 1744"/>
              <a:gd name="T16" fmla="*/ 811115 w 633"/>
              <a:gd name="T17" fmla="*/ 707153 h 1744"/>
              <a:gd name="T18" fmla="*/ 582989 w 633"/>
              <a:gd name="T19" fmla="*/ 829154 h 1744"/>
              <a:gd name="T20" fmla="*/ 253473 w 633"/>
              <a:gd name="T21" fmla="*/ 998599 h 1744"/>
              <a:gd name="T22" fmla="*/ 0 w 633"/>
              <a:gd name="T23" fmla="*/ 1127378 h 17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3"/>
              <a:gd name="T37" fmla="*/ 0 h 1744"/>
              <a:gd name="T38" fmla="*/ 633 w 633"/>
              <a:gd name="T39" fmla="*/ 1744 h 17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3" h="1744">
                <a:moveTo>
                  <a:pt x="0" y="499"/>
                </a:moveTo>
                <a:lnTo>
                  <a:pt x="1" y="1743"/>
                </a:lnTo>
                <a:lnTo>
                  <a:pt x="632" y="1743"/>
                </a:lnTo>
                <a:lnTo>
                  <a:pt x="632" y="0"/>
                </a:lnTo>
                <a:lnTo>
                  <a:pt x="591" y="55"/>
                </a:lnTo>
                <a:lnTo>
                  <a:pt x="537" y="109"/>
                </a:lnTo>
                <a:lnTo>
                  <a:pt x="468" y="172"/>
                </a:lnTo>
                <a:lnTo>
                  <a:pt x="378" y="244"/>
                </a:lnTo>
                <a:lnTo>
                  <a:pt x="288" y="313"/>
                </a:lnTo>
                <a:lnTo>
                  <a:pt x="207" y="367"/>
                </a:lnTo>
                <a:lnTo>
                  <a:pt x="90" y="442"/>
                </a:lnTo>
                <a:lnTo>
                  <a:pt x="0" y="499"/>
                </a:lnTo>
              </a:path>
            </a:pathLst>
          </a:custGeom>
          <a:solidFill>
            <a:schemeClr val="accent4"/>
          </a:solidFill>
          <a:ln w="12700" cap="rnd">
            <a:solidFill>
              <a:schemeClr val="bg1"/>
            </a:solidFill>
            <a:round/>
            <a:headEnd/>
            <a:tailEnd/>
          </a:ln>
        </p:spPr>
        <p:txBody>
          <a:bodyPr lIns="0" tIns="0" rIns="0" bIns="0">
            <a:spAutoFit/>
          </a:bodyPr>
          <a:lstStyle/>
          <a:p>
            <a:pPr>
              <a:defRPr/>
            </a:pPr>
            <a:endParaRPr lang="en-GB"/>
          </a:p>
        </p:txBody>
      </p:sp>
      <p:sp>
        <p:nvSpPr>
          <p:cNvPr id="15" name="Freeform 3"/>
          <p:cNvSpPr>
            <a:spLocks/>
          </p:cNvSpPr>
          <p:nvPr/>
        </p:nvSpPr>
        <p:spPr bwMode="blackWhite">
          <a:xfrm>
            <a:off x="4565675" y="2962422"/>
            <a:ext cx="1784350" cy="2571750"/>
          </a:xfrm>
          <a:custGeom>
            <a:avLst/>
            <a:gdLst>
              <a:gd name="T0" fmla="*/ 0 w 634"/>
              <a:gd name="T1" fmla="*/ 555217 h 1246"/>
              <a:gd name="T2" fmla="*/ 0 w 634"/>
              <a:gd name="T3" fmla="*/ 2569686 h 1246"/>
              <a:gd name="T4" fmla="*/ 1778721 w 634"/>
              <a:gd name="T5" fmla="*/ 2569686 h 1246"/>
              <a:gd name="T6" fmla="*/ 1781536 w 634"/>
              <a:gd name="T7" fmla="*/ 0 h 1246"/>
              <a:gd name="T8" fmla="*/ 1607041 w 634"/>
              <a:gd name="T9" fmla="*/ 70176 h 1246"/>
              <a:gd name="T10" fmla="*/ 1432546 w 634"/>
              <a:gd name="T11" fmla="*/ 136224 h 1246"/>
              <a:gd name="T12" fmla="*/ 1224278 w 634"/>
              <a:gd name="T13" fmla="*/ 206400 h 1246"/>
              <a:gd name="T14" fmla="*/ 1010381 w 634"/>
              <a:gd name="T15" fmla="*/ 276577 h 1246"/>
              <a:gd name="T16" fmla="*/ 723309 w 634"/>
              <a:gd name="T17" fmla="*/ 363265 h 1246"/>
              <a:gd name="T18" fmla="*/ 470010 w 634"/>
              <a:gd name="T19" fmla="*/ 437569 h 1246"/>
              <a:gd name="T20" fmla="*/ 194196 w 634"/>
              <a:gd name="T21" fmla="*/ 507745 h 1246"/>
              <a:gd name="T22" fmla="*/ 0 w 634"/>
              <a:gd name="T23" fmla="*/ 555217 h 12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4"/>
              <a:gd name="T37" fmla="*/ 0 h 1246"/>
              <a:gd name="T38" fmla="*/ 634 w 634"/>
              <a:gd name="T39" fmla="*/ 1246 h 12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4" h="1246">
                <a:moveTo>
                  <a:pt x="0" y="269"/>
                </a:moveTo>
                <a:lnTo>
                  <a:pt x="0" y="1245"/>
                </a:lnTo>
                <a:lnTo>
                  <a:pt x="632" y="1245"/>
                </a:lnTo>
                <a:lnTo>
                  <a:pt x="633" y="0"/>
                </a:lnTo>
                <a:lnTo>
                  <a:pt x="571" y="34"/>
                </a:lnTo>
                <a:lnTo>
                  <a:pt x="509" y="66"/>
                </a:lnTo>
                <a:lnTo>
                  <a:pt x="435" y="100"/>
                </a:lnTo>
                <a:lnTo>
                  <a:pt x="359" y="134"/>
                </a:lnTo>
                <a:lnTo>
                  <a:pt x="257" y="176"/>
                </a:lnTo>
                <a:lnTo>
                  <a:pt x="167" y="212"/>
                </a:lnTo>
                <a:lnTo>
                  <a:pt x="69" y="246"/>
                </a:lnTo>
                <a:lnTo>
                  <a:pt x="0" y="269"/>
                </a:lnTo>
              </a:path>
            </a:pathLst>
          </a:custGeom>
          <a:solidFill>
            <a:schemeClr val="accent3"/>
          </a:solidFill>
          <a:ln w="12700" cap="rnd">
            <a:solidFill>
              <a:schemeClr val="bg1"/>
            </a:solidFill>
            <a:round/>
            <a:headEnd/>
            <a:tailEnd/>
          </a:ln>
        </p:spPr>
        <p:txBody>
          <a:bodyPr lIns="0" tIns="0" rIns="0" bIns="0">
            <a:spAutoFit/>
          </a:bodyPr>
          <a:lstStyle/>
          <a:p>
            <a:pPr>
              <a:defRPr/>
            </a:pPr>
            <a:endParaRPr lang="en-GB"/>
          </a:p>
        </p:txBody>
      </p:sp>
      <p:sp>
        <p:nvSpPr>
          <p:cNvPr id="16" name="Freeform 4"/>
          <p:cNvSpPr>
            <a:spLocks/>
          </p:cNvSpPr>
          <p:nvPr/>
        </p:nvSpPr>
        <p:spPr bwMode="blackWhite">
          <a:xfrm>
            <a:off x="2767038" y="3826022"/>
            <a:ext cx="1800225" cy="1708150"/>
          </a:xfrm>
          <a:custGeom>
            <a:avLst/>
            <a:gdLst>
              <a:gd name="T0" fmla="*/ 0 w 640"/>
              <a:gd name="T1" fmla="*/ 2147483647 h 705"/>
              <a:gd name="T2" fmla="*/ 0 w 640"/>
              <a:gd name="T3" fmla="*/ 2147483647 h 705"/>
              <a:gd name="T4" fmla="*/ 2147483647 w 640"/>
              <a:gd name="T5" fmla="*/ 2147483647 h 705"/>
              <a:gd name="T6" fmla="*/ 2147483647 w 640"/>
              <a:gd name="T7" fmla="*/ 0 h 705"/>
              <a:gd name="T8" fmla="*/ 2147483647 w 640"/>
              <a:gd name="T9" fmla="*/ 2147483647 h 705"/>
              <a:gd name="T10" fmla="*/ 2147483647 w 640"/>
              <a:gd name="T11" fmla="*/ 2147483647 h 705"/>
              <a:gd name="T12" fmla="*/ 2147483647 w 640"/>
              <a:gd name="T13" fmla="*/ 2147483647 h 705"/>
              <a:gd name="T14" fmla="*/ 2147483647 w 640"/>
              <a:gd name="T15" fmla="*/ 2147483647 h 705"/>
              <a:gd name="T16" fmla="*/ 2147483647 w 640"/>
              <a:gd name="T17" fmla="*/ 2147483647 h 705"/>
              <a:gd name="T18" fmla="*/ 2147483647 w 640"/>
              <a:gd name="T19" fmla="*/ 2147483647 h 705"/>
              <a:gd name="T20" fmla="*/ 2147483647 w 640"/>
              <a:gd name="T21" fmla="*/ 2147483647 h 705"/>
              <a:gd name="T22" fmla="*/ 0 w 640"/>
              <a:gd name="T23" fmla="*/ 2147483647 h 70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0"/>
              <a:gd name="T37" fmla="*/ 0 h 705"/>
              <a:gd name="T38" fmla="*/ 640 w 640"/>
              <a:gd name="T39" fmla="*/ 705 h 70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0" h="705">
                <a:moveTo>
                  <a:pt x="0" y="159"/>
                </a:moveTo>
                <a:lnTo>
                  <a:pt x="0" y="704"/>
                </a:lnTo>
                <a:lnTo>
                  <a:pt x="639" y="704"/>
                </a:lnTo>
                <a:lnTo>
                  <a:pt x="639" y="0"/>
                </a:lnTo>
                <a:lnTo>
                  <a:pt x="599" y="16"/>
                </a:lnTo>
                <a:lnTo>
                  <a:pt x="556" y="33"/>
                </a:lnTo>
                <a:lnTo>
                  <a:pt x="493" y="54"/>
                </a:lnTo>
                <a:lnTo>
                  <a:pt x="403" y="78"/>
                </a:lnTo>
                <a:lnTo>
                  <a:pt x="308" y="101"/>
                </a:lnTo>
                <a:lnTo>
                  <a:pt x="218" y="119"/>
                </a:lnTo>
                <a:lnTo>
                  <a:pt x="112" y="138"/>
                </a:lnTo>
                <a:lnTo>
                  <a:pt x="0" y="159"/>
                </a:lnTo>
              </a:path>
            </a:pathLst>
          </a:custGeom>
          <a:solidFill>
            <a:schemeClr val="accent2"/>
          </a:solidFill>
          <a:ln w="12700" cap="rnd">
            <a:solidFill>
              <a:schemeClr val="bg1"/>
            </a:solidFill>
            <a:round/>
            <a:headEnd/>
            <a:tailEnd/>
          </a:ln>
        </p:spPr>
        <p:txBody>
          <a:bodyPr lIns="0" tIns="0" rIns="0" bIns="0">
            <a:spAutoFit/>
          </a:bodyPr>
          <a:lstStyle/>
          <a:p>
            <a:endParaRPr lang="en-GB"/>
          </a:p>
        </p:txBody>
      </p:sp>
      <p:sp>
        <p:nvSpPr>
          <p:cNvPr id="17" name="Freeform 5"/>
          <p:cNvSpPr>
            <a:spLocks/>
          </p:cNvSpPr>
          <p:nvPr/>
        </p:nvSpPr>
        <p:spPr bwMode="blackWhite">
          <a:xfrm>
            <a:off x="952977" y="4402284"/>
            <a:ext cx="1820862" cy="1131888"/>
          </a:xfrm>
          <a:custGeom>
            <a:avLst/>
            <a:gdLst>
              <a:gd name="T0" fmla="*/ 0 w 647"/>
              <a:gd name="T1" fmla="*/ 2147483647 h 548"/>
              <a:gd name="T2" fmla="*/ 0 w 647"/>
              <a:gd name="T3" fmla="*/ 2147483647 h 548"/>
              <a:gd name="T4" fmla="*/ 2147483647 w 647"/>
              <a:gd name="T5" fmla="*/ 2147483647 h 548"/>
              <a:gd name="T6" fmla="*/ 2147483647 w 647"/>
              <a:gd name="T7" fmla="*/ 0 h 548"/>
              <a:gd name="T8" fmla="*/ 2147483647 w 647"/>
              <a:gd name="T9" fmla="*/ 2147483647 h 548"/>
              <a:gd name="T10" fmla="*/ 2147483647 w 647"/>
              <a:gd name="T11" fmla="*/ 2147483647 h 548"/>
              <a:gd name="T12" fmla="*/ 2147483647 w 647"/>
              <a:gd name="T13" fmla="*/ 2147483647 h 548"/>
              <a:gd name="T14" fmla="*/ 2147483647 w 647"/>
              <a:gd name="T15" fmla="*/ 2147483647 h 548"/>
              <a:gd name="T16" fmla="*/ 2147483647 w 647"/>
              <a:gd name="T17" fmla="*/ 2147483647 h 548"/>
              <a:gd name="T18" fmla="*/ 2147483647 w 647"/>
              <a:gd name="T19" fmla="*/ 2147483647 h 548"/>
              <a:gd name="T20" fmla="*/ 2147483647 w 647"/>
              <a:gd name="T21" fmla="*/ 2147483647 h 548"/>
              <a:gd name="T22" fmla="*/ 0 w 647"/>
              <a:gd name="T23" fmla="*/ 2147483647 h 5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7"/>
              <a:gd name="T37" fmla="*/ 0 h 548"/>
              <a:gd name="T38" fmla="*/ 647 w 647"/>
              <a:gd name="T39" fmla="*/ 548 h 5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7" h="548">
                <a:moveTo>
                  <a:pt x="0" y="78"/>
                </a:moveTo>
                <a:lnTo>
                  <a:pt x="0" y="547"/>
                </a:lnTo>
                <a:lnTo>
                  <a:pt x="646" y="546"/>
                </a:lnTo>
                <a:lnTo>
                  <a:pt x="646" y="0"/>
                </a:lnTo>
                <a:lnTo>
                  <a:pt x="582" y="10"/>
                </a:lnTo>
                <a:lnTo>
                  <a:pt x="490" y="24"/>
                </a:lnTo>
                <a:lnTo>
                  <a:pt x="414" y="34"/>
                </a:lnTo>
                <a:lnTo>
                  <a:pt x="348" y="42"/>
                </a:lnTo>
                <a:lnTo>
                  <a:pt x="278" y="50"/>
                </a:lnTo>
                <a:lnTo>
                  <a:pt x="192" y="58"/>
                </a:lnTo>
                <a:lnTo>
                  <a:pt x="82" y="70"/>
                </a:lnTo>
                <a:lnTo>
                  <a:pt x="0" y="78"/>
                </a:lnTo>
              </a:path>
            </a:pathLst>
          </a:custGeom>
          <a:solidFill>
            <a:schemeClr val="accent1"/>
          </a:solidFill>
          <a:ln w="12700" cap="rnd">
            <a:solidFill>
              <a:schemeClr val="bg1"/>
            </a:solidFill>
            <a:round/>
            <a:headEnd/>
            <a:tailEnd/>
          </a:ln>
        </p:spPr>
        <p:txBody>
          <a:bodyPr lIns="0" tIns="0" rIns="0" bIns="0">
            <a:spAutoFit/>
          </a:bodyPr>
          <a:lstStyle/>
          <a:p>
            <a:endParaRPr lang="en-GB"/>
          </a:p>
        </p:txBody>
      </p:sp>
      <p:sp>
        <p:nvSpPr>
          <p:cNvPr id="18" name="Rectangle 6"/>
          <p:cNvSpPr>
            <a:spLocks noChangeArrowheads="1"/>
          </p:cNvSpPr>
          <p:nvPr/>
        </p:nvSpPr>
        <p:spPr bwMode="blackWhite">
          <a:xfrm>
            <a:off x="1288970" y="4149509"/>
            <a:ext cx="1149350" cy="204671"/>
          </a:xfrm>
          <a:prstGeom prst="rect">
            <a:avLst/>
          </a:prstGeom>
          <a:noFill/>
          <a:ln w="9525">
            <a:noFill/>
            <a:miter lim="800000"/>
            <a:headEnd/>
            <a:tailEnd/>
          </a:ln>
        </p:spPr>
        <p:txBody>
          <a:bodyPr lIns="0" tIns="0" rIns="0" bIns="0">
            <a:spAutoFit/>
          </a:bodyPr>
          <a:lstStyle/>
          <a:p>
            <a:pPr algn="ctr" defTabSz="820738">
              <a:lnSpc>
                <a:spcPct val="95000"/>
              </a:lnSpc>
              <a:spcBef>
                <a:spcPct val="0"/>
              </a:spcBef>
            </a:pPr>
            <a:r>
              <a:rPr lang="en-GB" sz="1400" b="1">
                <a:solidFill>
                  <a:schemeClr val="tx2"/>
                </a:solidFill>
                <a:ea typeface="ＭＳ Ｐゴシック" pitchFamily="50" charset="-128"/>
              </a:rPr>
              <a:t>Stage 1 </a:t>
            </a:r>
          </a:p>
        </p:txBody>
      </p:sp>
      <p:sp>
        <p:nvSpPr>
          <p:cNvPr id="19" name="Rectangle 7"/>
          <p:cNvSpPr>
            <a:spLocks noChangeArrowheads="1"/>
          </p:cNvSpPr>
          <p:nvPr/>
        </p:nvSpPr>
        <p:spPr bwMode="blackWhite">
          <a:xfrm>
            <a:off x="3101101" y="3618241"/>
            <a:ext cx="1149350" cy="204671"/>
          </a:xfrm>
          <a:prstGeom prst="rect">
            <a:avLst/>
          </a:prstGeom>
          <a:noFill/>
          <a:ln w="9525">
            <a:noFill/>
            <a:miter lim="800000"/>
            <a:headEnd/>
            <a:tailEnd/>
          </a:ln>
        </p:spPr>
        <p:txBody>
          <a:bodyPr lIns="0" tIns="0" rIns="0" bIns="0">
            <a:spAutoFit/>
          </a:bodyPr>
          <a:lstStyle/>
          <a:p>
            <a:pPr algn="ctr" defTabSz="820738">
              <a:lnSpc>
                <a:spcPct val="95000"/>
              </a:lnSpc>
              <a:spcBef>
                <a:spcPct val="0"/>
              </a:spcBef>
            </a:pPr>
            <a:r>
              <a:rPr lang="en-GB" sz="1400" b="1">
                <a:solidFill>
                  <a:schemeClr val="tx2"/>
                </a:solidFill>
                <a:ea typeface="ＭＳ Ｐゴシック" pitchFamily="50" charset="-128"/>
              </a:rPr>
              <a:t>Stage 2 </a:t>
            </a:r>
          </a:p>
        </p:txBody>
      </p:sp>
      <p:sp>
        <p:nvSpPr>
          <p:cNvPr id="20" name="Rectangle 8"/>
          <p:cNvSpPr>
            <a:spLocks noChangeArrowheads="1"/>
          </p:cNvSpPr>
          <p:nvPr/>
        </p:nvSpPr>
        <p:spPr bwMode="blackWhite">
          <a:xfrm>
            <a:off x="4891008" y="2755833"/>
            <a:ext cx="1150937" cy="204671"/>
          </a:xfrm>
          <a:prstGeom prst="rect">
            <a:avLst/>
          </a:prstGeom>
          <a:noFill/>
          <a:ln w="9525">
            <a:noFill/>
            <a:miter lim="800000"/>
            <a:headEnd/>
            <a:tailEnd/>
          </a:ln>
        </p:spPr>
        <p:txBody>
          <a:bodyPr lIns="0" tIns="0" rIns="0" bIns="0">
            <a:spAutoFit/>
          </a:bodyPr>
          <a:lstStyle/>
          <a:p>
            <a:pPr algn="ctr" defTabSz="820738">
              <a:lnSpc>
                <a:spcPct val="95000"/>
              </a:lnSpc>
              <a:spcBef>
                <a:spcPct val="0"/>
              </a:spcBef>
            </a:pPr>
            <a:r>
              <a:rPr lang="en-GB" sz="1400" b="1">
                <a:solidFill>
                  <a:schemeClr val="tx2"/>
                </a:solidFill>
                <a:ea typeface="ＭＳ Ｐゴシック" pitchFamily="50" charset="-128"/>
              </a:rPr>
              <a:t>Stage 3 </a:t>
            </a:r>
          </a:p>
        </p:txBody>
      </p:sp>
      <p:sp>
        <p:nvSpPr>
          <p:cNvPr id="21" name="Rectangle 9"/>
          <p:cNvSpPr>
            <a:spLocks noChangeArrowheads="1"/>
          </p:cNvSpPr>
          <p:nvPr/>
        </p:nvSpPr>
        <p:spPr bwMode="blackWhite">
          <a:xfrm>
            <a:off x="6668214" y="1664955"/>
            <a:ext cx="1150937" cy="204671"/>
          </a:xfrm>
          <a:prstGeom prst="rect">
            <a:avLst/>
          </a:prstGeom>
          <a:noFill/>
          <a:ln w="9525">
            <a:noFill/>
            <a:miter lim="800000"/>
            <a:headEnd/>
            <a:tailEnd/>
          </a:ln>
        </p:spPr>
        <p:txBody>
          <a:bodyPr lIns="0" tIns="0" rIns="0" bIns="0">
            <a:spAutoFit/>
          </a:bodyPr>
          <a:lstStyle/>
          <a:p>
            <a:pPr algn="ctr" defTabSz="820738">
              <a:lnSpc>
                <a:spcPct val="95000"/>
              </a:lnSpc>
              <a:spcBef>
                <a:spcPct val="0"/>
              </a:spcBef>
            </a:pPr>
            <a:r>
              <a:rPr lang="en-GB" sz="1400" b="1">
                <a:solidFill>
                  <a:schemeClr val="tx2"/>
                </a:solidFill>
                <a:ea typeface="ＭＳ Ｐゴシック" pitchFamily="50" charset="-128"/>
              </a:rPr>
              <a:t>Stage 4 </a:t>
            </a:r>
          </a:p>
        </p:txBody>
      </p:sp>
      <p:sp>
        <p:nvSpPr>
          <p:cNvPr id="2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3"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482"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1987" name="think-cell Slide" r:id="rId13" imgW="0" imgH="0" progId="">
                  <p:embed/>
                </p:oleObj>
              </mc:Choice>
              <mc:Fallback>
                <p:oleObj name="think-cell Slide" r:id="rId1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6483" name="Text Placeholder 15"/>
          <p:cNvSpPr>
            <a:spLocks noGrp="1"/>
          </p:cNvSpPr>
          <p:nvPr>
            <p:ph type="body" sz="quarter" idx="4294967295"/>
            <p:custDataLst>
              <p:tags r:id="rId3"/>
            </p:custDataLst>
          </p:nvPr>
        </p:nvSpPr>
        <p:spPr bwMode="auto">
          <a:xfrm>
            <a:off x="846858" y="3658394"/>
            <a:ext cx="155575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276484" name="Title 1"/>
          <p:cNvSpPr>
            <a:spLocks noGrp="1"/>
          </p:cNvSpPr>
          <p:nvPr>
            <p:ph type="title"/>
            <p:custDataLst>
              <p:tags r:id="rId4"/>
            </p:custDataLst>
          </p:nvPr>
        </p:nvSpPr>
        <p:spPr>
          <a:xfrm>
            <a:off x="384175" y="298450"/>
            <a:ext cx="8362950" cy="584200"/>
          </a:xfrm>
          <a:noFill/>
          <a:ln w="9525">
            <a:noFill/>
            <a:miter lim="800000"/>
            <a:headEnd/>
            <a:tailEnd/>
          </a:ln>
        </p:spPr>
        <p:txBody>
          <a:bodyPr vert="horz" wrap="square" lIns="0" tIns="0" rIns="0" bIns="0" numCol="1" anchor="t" anchorCtr="0" compatLnSpc="1">
            <a:prstTxWarp prst="textNoShape">
              <a:avLst/>
            </a:prstTxWarp>
          </a:bodyPr>
          <a:lstStyle/>
          <a:p>
            <a:r>
              <a:rPr lang="en-GB"/>
              <a:t>Steps</a:t>
            </a:r>
            <a:endParaRPr lang="nl-NL"/>
          </a:p>
        </p:txBody>
      </p:sp>
      <p:sp>
        <p:nvSpPr>
          <p:cNvPr id="276486" name="Text Placeholder 13"/>
          <p:cNvSpPr>
            <a:spLocks noGrp="1"/>
          </p:cNvSpPr>
          <p:nvPr>
            <p:ph type="body" sz="quarter" idx="4294967295"/>
            <p:custDataLst>
              <p:tags r:id="rId5"/>
            </p:custDataLst>
          </p:nvPr>
        </p:nvSpPr>
        <p:spPr bwMode="auto">
          <a:xfrm>
            <a:off x="6077671" y="2062957"/>
            <a:ext cx="155575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276487" name="Text Placeholder 14"/>
          <p:cNvSpPr>
            <a:spLocks noGrp="1"/>
          </p:cNvSpPr>
          <p:nvPr>
            <p:ph type="body" sz="quarter" idx="4294967295"/>
            <p:custDataLst>
              <p:tags r:id="rId6"/>
            </p:custDataLst>
          </p:nvPr>
        </p:nvSpPr>
        <p:spPr bwMode="auto">
          <a:xfrm>
            <a:off x="3477346" y="2867819"/>
            <a:ext cx="1554162"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276488" name="Rectangle 3"/>
          <p:cNvSpPr>
            <a:spLocks noChangeArrowheads="1"/>
          </p:cNvSpPr>
          <p:nvPr>
            <p:custDataLst>
              <p:tags r:id="rId7"/>
            </p:custDataLst>
          </p:nvPr>
        </p:nvSpPr>
        <p:spPr bwMode="auto">
          <a:xfrm>
            <a:off x="675408" y="3325019"/>
            <a:ext cx="2492375"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dirty="0">
                <a:solidFill>
                  <a:schemeClr val="tx2"/>
                </a:solidFill>
                <a:ea typeface="ＭＳ Ｐゴシック" charset="-128"/>
              </a:rPr>
              <a:t>Step 1</a:t>
            </a:r>
          </a:p>
        </p:txBody>
      </p:sp>
      <p:sp>
        <p:nvSpPr>
          <p:cNvPr id="276489" name="Rectangle 4"/>
          <p:cNvSpPr>
            <a:spLocks noChangeArrowheads="1"/>
          </p:cNvSpPr>
          <p:nvPr>
            <p:custDataLst>
              <p:tags r:id="rId8"/>
            </p:custDataLst>
          </p:nvPr>
        </p:nvSpPr>
        <p:spPr bwMode="auto">
          <a:xfrm>
            <a:off x="3334471" y="2516982"/>
            <a:ext cx="2459037"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2</a:t>
            </a:r>
          </a:p>
        </p:txBody>
      </p:sp>
      <p:sp>
        <p:nvSpPr>
          <p:cNvPr id="6" name="Freeform 5"/>
          <p:cNvSpPr>
            <a:spLocks/>
          </p:cNvSpPr>
          <p:nvPr>
            <p:custDataLst>
              <p:tags r:id="rId9"/>
            </p:custDataLst>
          </p:nvPr>
        </p:nvSpPr>
        <p:spPr bwMode="auto">
          <a:xfrm>
            <a:off x="610321" y="1591469"/>
            <a:ext cx="7910512" cy="2433638"/>
          </a:xfrm>
          <a:custGeom>
            <a:avLst/>
            <a:gdLst>
              <a:gd name="T0" fmla="*/ 0 w 5281"/>
              <a:gd name="T1" fmla="*/ 2147483647 h 1635"/>
              <a:gd name="T2" fmla="*/ 0 w 5281"/>
              <a:gd name="T3" fmla="*/ 2147483647 h 1635"/>
              <a:gd name="T4" fmla="*/ 2147483647 w 5281"/>
              <a:gd name="T5" fmla="*/ 2147483647 h 1635"/>
              <a:gd name="T6" fmla="*/ 2147483647 w 5281"/>
              <a:gd name="T7" fmla="*/ 2147483647 h 1635"/>
              <a:gd name="T8" fmla="*/ 2147483647 w 5281"/>
              <a:gd name="T9" fmla="*/ 2147483647 h 1635"/>
              <a:gd name="T10" fmla="*/ 2147483647 w 5281"/>
              <a:gd name="T11" fmla="*/ 0 h 1635"/>
              <a:gd name="T12" fmla="*/ 2147483647 w 5281"/>
              <a:gd name="T13" fmla="*/ 0 h 1635"/>
              <a:gd name="T14" fmla="*/ 0 60000 65536"/>
              <a:gd name="T15" fmla="*/ 0 60000 65536"/>
              <a:gd name="T16" fmla="*/ 0 60000 65536"/>
              <a:gd name="T17" fmla="*/ 0 60000 65536"/>
              <a:gd name="T18" fmla="*/ 0 60000 65536"/>
              <a:gd name="T19" fmla="*/ 0 60000 65536"/>
              <a:gd name="T20" fmla="*/ 0 60000 65536"/>
              <a:gd name="T21" fmla="*/ 0 w 5281"/>
              <a:gd name="T22" fmla="*/ 0 h 1635"/>
              <a:gd name="T23" fmla="*/ 5281 w 5281"/>
              <a:gd name="T24" fmla="*/ 1635 h 16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81" h="1635">
                <a:moveTo>
                  <a:pt x="0" y="1634"/>
                </a:moveTo>
                <a:lnTo>
                  <a:pt x="0" y="1089"/>
                </a:lnTo>
                <a:lnTo>
                  <a:pt x="1760" y="1089"/>
                </a:lnTo>
                <a:lnTo>
                  <a:pt x="1760" y="544"/>
                </a:lnTo>
                <a:lnTo>
                  <a:pt x="3520" y="544"/>
                </a:lnTo>
                <a:lnTo>
                  <a:pt x="3520" y="0"/>
                </a:lnTo>
                <a:lnTo>
                  <a:pt x="5280" y="0"/>
                </a:lnTo>
              </a:path>
            </a:pathLst>
          </a:custGeom>
          <a:noFill/>
          <a:ln w="12700" cap="rnd">
            <a:solidFill>
              <a:schemeClr val="accent3"/>
            </a:solidFill>
            <a:round/>
            <a:headEnd type="none" w="sm" len="sm"/>
            <a:tailEnd type="none" w="sm" len="sm"/>
          </a:ln>
        </p:spPr>
        <p:txBody>
          <a:bodyPr/>
          <a:lstStyle/>
          <a:p>
            <a:pPr>
              <a:defRPr/>
            </a:pPr>
            <a:endParaRPr lang="en-GB"/>
          </a:p>
        </p:txBody>
      </p:sp>
      <p:sp>
        <p:nvSpPr>
          <p:cNvPr id="276491" name="Text Box 6"/>
          <p:cNvSpPr txBox="1">
            <a:spLocks noChangeArrowheads="1"/>
          </p:cNvSpPr>
          <p:nvPr>
            <p:custDataLst>
              <p:tags r:id="rId10"/>
            </p:custDataLst>
          </p:nvPr>
        </p:nvSpPr>
        <p:spPr bwMode="auto">
          <a:xfrm>
            <a:off x="6012583" y="1686719"/>
            <a:ext cx="2392363"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3</a:t>
            </a:r>
          </a:p>
        </p:txBody>
      </p:sp>
      <p:sp>
        <p:nvSpPr>
          <p:cNvPr id="1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5" name="Text Placeholder 12"/>
          <p:cNvSpPr>
            <a:spLocks/>
          </p:cNvSpPr>
          <p:nvPr>
            <p:custDataLst>
              <p:tags r:id="rId1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7506"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3011" name="think-cell Slide" r:id="rId15" imgW="0" imgH="0" progId="">
                  <p:embed/>
                </p:oleObj>
              </mc:Choice>
              <mc:Fallback>
                <p:oleObj name="think-cell Slide" r:id="rId1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7507" name="Title 1"/>
          <p:cNvSpPr>
            <a:spLocks noGrp="1"/>
          </p:cNvSpPr>
          <p:nvPr>
            <p:ph type="title"/>
            <p:custDataLst>
              <p:tags r:id="rId3"/>
            </p:custDataLst>
          </p:nvPr>
        </p:nvSpPr>
        <p:spPr>
          <a:xfrm>
            <a:off x="384175" y="287338"/>
            <a:ext cx="8375650" cy="595312"/>
          </a:xfrm>
          <a:noFill/>
          <a:ln w="9525">
            <a:noFill/>
            <a:miter lim="800000"/>
            <a:headEnd/>
            <a:tailEnd/>
          </a:ln>
        </p:spPr>
        <p:txBody>
          <a:bodyPr vert="horz" wrap="square" lIns="0" tIns="0" rIns="0" bIns="0" numCol="1" anchor="t" anchorCtr="0" compatLnSpc="1">
            <a:prstTxWarp prst="textNoShape">
              <a:avLst/>
            </a:prstTxWarp>
          </a:bodyPr>
          <a:lstStyle/>
          <a:p>
            <a:r>
              <a:rPr lang="en-GB"/>
              <a:t>Steps</a:t>
            </a:r>
            <a:endParaRPr lang="nl-NL"/>
          </a:p>
        </p:txBody>
      </p:sp>
      <p:sp>
        <p:nvSpPr>
          <p:cNvPr id="277509" name="Text Placeholder 31"/>
          <p:cNvSpPr>
            <a:spLocks noGrp="1"/>
          </p:cNvSpPr>
          <p:nvPr>
            <p:ph type="body" sz="quarter" idx="4294967295"/>
            <p:custDataLst>
              <p:tags r:id="rId4"/>
            </p:custDataLst>
          </p:nvPr>
        </p:nvSpPr>
        <p:spPr bwMode="auto">
          <a:xfrm>
            <a:off x="1046163" y="3823925"/>
            <a:ext cx="1562100" cy="718145"/>
          </a:xfrm>
          <a:prstGeom prst="rect">
            <a:avLst/>
          </a:prstGeom>
          <a:noFill/>
          <a:ln>
            <a:miter lim="800000"/>
            <a:headEnd/>
            <a:tailEnd/>
          </a:ln>
        </p:spPr>
        <p:txBody>
          <a:bodyPr/>
          <a:lstStyle/>
          <a:p>
            <a:pPr marL="117475" lvl="1" indent="-117475"/>
            <a:r>
              <a:rPr lang="en-US" sz="1400" dirty="0" smtClean="0">
                <a:solidFill>
                  <a:srgbClr val="002776"/>
                </a:solidFill>
              </a:rPr>
              <a:t>Bullet</a:t>
            </a:r>
          </a:p>
          <a:p>
            <a:pPr marL="285750" lvl="2" indent="-168275"/>
            <a:r>
              <a:rPr lang="en-US" sz="1400" dirty="0" smtClean="0">
                <a:solidFill>
                  <a:srgbClr val="002776"/>
                </a:solidFill>
              </a:rPr>
              <a:t>Dash</a:t>
            </a:r>
          </a:p>
          <a:p>
            <a:pPr marL="403225" lvl="3" indent="-117475"/>
            <a:r>
              <a:rPr lang="en-US" sz="1200" dirty="0" err="1" smtClean="0">
                <a:solidFill>
                  <a:srgbClr val="002776"/>
                </a:solidFill>
              </a:rPr>
              <a:t>Subbullet</a:t>
            </a:r>
            <a:endParaRPr lang="en-US" sz="1200" dirty="0">
              <a:solidFill>
                <a:srgbClr val="002776"/>
              </a:solidFill>
            </a:endParaRPr>
          </a:p>
        </p:txBody>
      </p:sp>
      <p:sp>
        <p:nvSpPr>
          <p:cNvPr id="277510" name="Text Placeholder 32"/>
          <p:cNvSpPr>
            <a:spLocks noGrp="1"/>
          </p:cNvSpPr>
          <p:nvPr>
            <p:ph type="body" sz="quarter" idx="4294967295"/>
            <p:custDataLst>
              <p:tags r:id="rId5"/>
            </p:custDataLst>
          </p:nvPr>
        </p:nvSpPr>
        <p:spPr bwMode="auto">
          <a:xfrm>
            <a:off x="4714875" y="2655525"/>
            <a:ext cx="156210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277511" name="Text Placeholder 35"/>
          <p:cNvSpPr>
            <a:spLocks noGrp="1"/>
          </p:cNvSpPr>
          <p:nvPr>
            <p:ph type="body" sz="quarter" idx="4294967295"/>
            <p:custDataLst>
              <p:tags r:id="rId6"/>
            </p:custDataLst>
          </p:nvPr>
        </p:nvSpPr>
        <p:spPr bwMode="auto">
          <a:xfrm>
            <a:off x="6542088" y="2071325"/>
            <a:ext cx="156210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277512" name="Text Placeholder 36"/>
          <p:cNvSpPr>
            <a:spLocks noGrp="1"/>
          </p:cNvSpPr>
          <p:nvPr>
            <p:ph type="body" sz="quarter" idx="4294967295"/>
            <p:custDataLst>
              <p:tags r:id="rId7"/>
            </p:custDataLst>
          </p:nvPr>
        </p:nvSpPr>
        <p:spPr bwMode="auto">
          <a:xfrm>
            <a:off x="2878138" y="3247663"/>
            <a:ext cx="156210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277513" name="Rectangle 3"/>
          <p:cNvSpPr>
            <a:spLocks noChangeArrowheads="1"/>
          </p:cNvSpPr>
          <p:nvPr>
            <p:custDataLst>
              <p:tags r:id="rId8"/>
            </p:custDataLst>
          </p:nvPr>
        </p:nvSpPr>
        <p:spPr bwMode="auto">
          <a:xfrm>
            <a:off x="915988" y="3458800"/>
            <a:ext cx="1793875"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1</a:t>
            </a:r>
          </a:p>
        </p:txBody>
      </p:sp>
      <p:sp>
        <p:nvSpPr>
          <p:cNvPr id="277514" name="Rectangle 4"/>
          <p:cNvSpPr>
            <a:spLocks noChangeArrowheads="1"/>
          </p:cNvSpPr>
          <p:nvPr>
            <p:custDataLst>
              <p:tags r:id="rId9"/>
            </p:custDataLst>
          </p:nvPr>
        </p:nvSpPr>
        <p:spPr bwMode="auto">
          <a:xfrm>
            <a:off x="2743200" y="2865075"/>
            <a:ext cx="1793875"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2</a:t>
            </a:r>
          </a:p>
        </p:txBody>
      </p:sp>
      <p:sp>
        <p:nvSpPr>
          <p:cNvPr id="277515" name="Rectangle 5"/>
          <p:cNvSpPr>
            <a:spLocks noChangeArrowheads="1"/>
          </p:cNvSpPr>
          <p:nvPr>
            <p:custDataLst>
              <p:tags r:id="rId10"/>
            </p:custDataLst>
          </p:nvPr>
        </p:nvSpPr>
        <p:spPr bwMode="auto">
          <a:xfrm>
            <a:off x="4567238" y="2274525"/>
            <a:ext cx="1795462"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3</a:t>
            </a:r>
          </a:p>
        </p:txBody>
      </p:sp>
      <p:sp>
        <p:nvSpPr>
          <p:cNvPr id="277516" name="Rectangle 6"/>
          <p:cNvSpPr>
            <a:spLocks noChangeArrowheads="1"/>
          </p:cNvSpPr>
          <p:nvPr>
            <p:custDataLst>
              <p:tags r:id="rId11"/>
            </p:custDataLst>
          </p:nvPr>
        </p:nvSpPr>
        <p:spPr bwMode="auto">
          <a:xfrm>
            <a:off x="6394450" y="1680800"/>
            <a:ext cx="1795463"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4</a:t>
            </a:r>
          </a:p>
        </p:txBody>
      </p:sp>
      <p:sp>
        <p:nvSpPr>
          <p:cNvPr id="45" name="Freeform 7"/>
          <p:cNvSpPr>
            <a:spLocks/>
          </p:cNvSpPr>
          <p:nvPr>
            <p:custDataLst>
              <p:tags r:id="rId12"/>
            </p:custDataLst>
          </p:nvPr>
        </p:nvSpPr>
        <p:spPr bwMode="auto">
          <a:xfrm>
            <a:off x="915988" y="1596663"/>
            <a:ext cx="7304087" cy="2373312"/>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12700" cap="rnd">
            <a:solidFill>
              <a:schemeClr val="accent3"/>
            </a:solidFill>
            <a:round/>
            <a:headEnd type="none" w="sm" len="sm"/>
            <a:tailEnd type="none" w="sm" len="sm"/>
          </a:ln>
        </p:spPr>
        <p:txBody>
          <a:bodyPr/>
          <a:lstStyle/>
          <a:p>
            <a:pPr>
              <a:defRPr/>
            </a:pPr>
            <a:endParaRPr lang="en-GB"/>
          </a:p>
        </p:txBody>
      </p:sp>
      <p:sp>
        <p:nvSpPr>
          <p:cNvPr id="16"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7" name="Text Placeholder 12"/>
          <p:cNvSpPr>
            <a:spLocks/>
          </p:cNvSpPr>
          <p:nvPr>
            <p:custDataLst>
              <p:tags r:id="rId13"/>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1793" name="Title 1"/>
          <p:cNvSpPr>
            <a:spLocks noGrp="1"/>
          </p:cNvSpPr>
          <p:nvPr>
            <p:ph type="title"/>
          </p:nvPr>
        </p:nvSpPr>
        <p:spPr>
          <a:xfrm>
            <a:off x="384175" y="287338"/>
            <a:ext cx="8375650" cy="595312"/>
          </a:xfrm>
          <a:noFill/>
          <a:ln w="9525">
            <a:noFill/>
            <a:miter lim="800000"/>
            <a:headEnd/>
            <a:tailEnd/>
          </a:ln>
        </p:spPr>
        <p:txBody>
          <a:bodyPr vert="horz" wrap="square" lIns="0" tIns="0" rIns="0" bIns="0" numCol="1" anchor="t" anchorCtr="0" compatLnSpc="1">
            <a:prstTxWarp prst="textNoShape">
              <a:avLst/>
            </a:prstTxWarp>
          </a:bodyPr>
          <a:lstStyle/>
          <a:p>
            <a:r>
              <a:rPr lang="en-GB"/>
              <a:t>Steps</a:t>
            </a:r>
            <a:endParaRPr lang="nl-NL"/>
          </a:p>
        </p:txBody>
      </p:sp>
      <p:sp>
        <p:nvSpPr>
          <p:cNvPr id="801795" name="Text Placeholder 31"/>
          <p:cNvSpPr>
            <a:spLocks noGrp="1"/>
          </p:cNvSpPr>
          <p:nvPr>
            <p:ph type="body" sz="quarter" idx="4294967295"/>
          </p:nvPr>
        </p:nvSpPr>
        <p:spPr bwMode="auto">
          <a:xfrm>
            <a:off x="1132897" y="3986395"/>
            <a:ext cx="156210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801796" name="Text Placeholder 32"/>
          <p:cNvSpPr>
            <a:spLocks noGrp="1"/>
          </p:cNvSpPr>
          <p:nvPr>
            <p:ph type="body" sz="quarter" idx="4294967295"/>
          </p:nvPr>
        </p:nvSpPr>
        <p:spPr bwMode="auto">
          <a:xfrm>
            <a:off x="3991985" y="3025958"/>
            <a:ext cx="156210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801797" name="Text Placeholder 33"/>
          <p:cNvSpPr>
            <a:spLocks noGrp="1"/>
          </p:cNvSpPr>
          <p:nvPr>
            <p:ph type="body" sz="quarter" idx="4294967295"/>
          </p:nvPr>
        </p:nvSpPr>
        <p:spPr bwMode="auto">
          <a:xfrm>
            <a:off x="5425497" y="2486208"/>
            <a:ext cx="156210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801798" name="Text Placeholder 34"/>
          <p:cNvSpPr>
            <a:spLocks noGrp="1"/>
          </p:cNvSpPr>
          <p:nvPr>
            <p:ph type="body" sz="quarter" idx="4294967295"/>
          </p:nvPr>
        </p:nvSpPr>
        <p:spPr bwMode="auto">
          <a:xfrm>
            <a:off x="6844722" y="1976620"/>
            <a:ext cx="156210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801799" name="Text Placeholder 36"/>
          <p:cNvSpPr>
            <a:spLocks noGrp="1"/>
          </p:cNvSpPr>
          <p:nvPr>
            <p:ph type="body" sz="quarter" idx="4294967295"/>
          </p:nvPr>
        </p:nvSpPr>
        <p:spPr bwMode="auto">
          <a:xfrm>
            <a:off x="2555297" y="3506970"/>
            <a:ext cx="156210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801800" name="Rectangle 3"/>
          <p:cNvSpPr>
            <a:spLocks noChangeArrowheads="1"/>
          </p:cNvSpPr>
          <p:nvPr/>
        </p:nvSpPr>
        <p:spPr bwMode="auto">
          <a:xfrm>
            <a:off x="1028122" y="3665720"/>
            <a:ext cx="1395413"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1</a:t>
            </a:r>
          </a:p>
        </p:txBody>
      </p:sp>
      <p:sp>
        <p:nvSpPr>
          <p:cNvPr id="801801" name="Rectangle 4"/>
          <p:cNvSpPr>
            <a:spLocks noChangeArrowheads="1"/>
          </p:cNvSpPr>
          <p:nvPr/>
        </p:nvSpPr>
        <p:spPr bwMode="auto">
          <a:xfrm>
            <a:off x="2463222" y="3165658"/>
            <a:ext cx="1395413"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2</a:t>
            </a:r>
          </a:p>
        </p:txBody>
      </p:sp>
      <p:sp>
        <p:nvSpPr>
          <p:cNvPr id="27" name="Freeform 5"/>
          <p:cNvSpPr>
            <a:spLocks/>
          </p:cNvSpPr>
          <p:nvPr/>
        </p:nvSpPr>
        <p:spPr bwMode="auto">
          <a:xfrm>
            <a:off x="1028122" y="1595620"/>
            <a:ext cx="7083425" cy="2501900"/>
          </a:xfrm>
          <a:custGeom>
            <a:avLst/>
            <a:gdLst>
              <a:gd name="T0" fmla="*/ 0 w 5713"/>
              <a:gd name="T1" fmla="*/ 2147483647 h 1681"/>
              <a:gd name="T2" fmla="*/ 0 w 5713"/>
              <a:gd name="T3" fmla="*/ 2147483647 h 1681"/>
              <a:gd name="T4" fmla="*/ 2147483647 w 5713"/>
              <a:gd name="T5" fmla="*/ 2147483647 h 1681"/>
              <a:gd name="T6" fmla="*/ 2147483647 w 5713"/>
              <a:gd name="T7" fmla="*/ 2147483647 h 1681"/>
              <a:gd name="T8" fmla="*/ 2147483647 w 5713"/>
              <a:gd name="T9" fmla="*/ 2147483647 h 1681"/>
              <a:gd name="T10" fmla="*/ 2147483647 w 5713"/>
              <a:gd name="T11" fmla="*/ 2147483647 h 1681"/>
              <a:gd name="T12" fmla="*/ 2147483647 w 5713"/>
              <a:gd name="T13" fmla="*/ 2147483647 h 1681"/>
              <a:gd name="T14" fmla="*/ 2147483647 w 5713"/>
              <a:gd name="T15" fmla="*/ 2147483647 h 1681"/>
              <a:gd name="T16" fmla="*/ 2147483647 w 5713"/>
              <a:gd name="T17" fmla="*/ 2147483647 h 1681"/>
              <a:gd name="T18" fmla="*/ 2147483647 w 5713"/>
              <a:gd name="T19" fmla="*/ 0 h 1681"/>
              <a:gd name="T20" fmla="*/ 2147483647 w 5713"/>
              <a:gd name="T21" fmla="*/ 0 h 16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13"/>
              <a:gd name="T34" fmla="*/ 0 h 1681"/>
              <a:gd name="T35" fmla="*/ 5713 w 5713"/>
              <a:gd name="T36" fmla="*/ 1681 h 16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13" h="1681">
                <a:moveTo>
                  <a:pt x="0" y="1680"/>
                </a:moveTo>
                <a:lnTo>
                  <a:pt x="0" y="1344"/>
                </a:lnTo>
                <a:lnTo>
                  <a:pt x="1142" y="1344"/>
                </a:lnTo>
                <a:lnTo>
                  <a:pt x="1142" y="1008"/>
                </a:lnTo>
                <a:lnTo>
                  <a:pt x="2284" y="1008"/>
                </a:lnTo>
                <a:lnTo>
                  <a:pt x="2284" y="672"/>
                </a:lnTo>
                <a:lnTo>
                  <a:pt x="3427" y="672"/>
                </a:lnTo>
                <a:lnTo>
                  <a:pt x="3427" y="336"/>
                </a:lnTo>
                <a:lnTo>
                  <a:pt x="4569" y="336"/>
                </a:lnTo>
                <a:lnTo>
                  <a:pt x="4569" y="0"/>
                </a:lnTo>
                <a:lnTo>
                  <a:pt x="5712" y="0"/>
                </a:lnTo>
              </a:path>
            </a:pathLst>
          </a:custGeom>
          <a:noFill/>
          <a:ln w="12700" cap="rnd">
            <a:solidFill>
              <a:schemeClr val="accent3"/>
            </a:solidFill>
            <a:round/>
            <a:headEnd type="none" w="sm" len="sm"/>
            <a:tailEnd type="none" w="sm" len="sm"/>
          </a:ln>
        </p:spPr>
        <p:txBody>
          <a:bodyPr/>
          <a:lstStyle/>
          <a:p>
            <a:pPr>
              <a:defRPr/>
            </a:pPr>
            <a:endParaRPr lang="en-GB"/>
          </a:p>
        </p:txBody>
      </p:sp>
      <p:sp>
        <p:nvSpPr>
          <p:cNvPr id="801803" name="Rectangle 6"/>
          <p:cNvSpPr>
            <a:spLocks noChangeArrowheads="1"/>
          </p:cNvSpPr>
          <p:nvPr/>
        </p:nvSpPr>
        <p:spPr bwMode="auto">
          <a:xfrm>
            <a:off x="3857047" y="2746558"/>
            <a:ext cx="1397000"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3</a:t>
            </a:r>
          </a:p>
        </p:txBody>
      </p:sp>
      <p:sp>
        <p:nvSpPr>
          <p:cNvPr id="801804" name="Rectangle 7"/>
          <p:cNvSpPr>
            <a:spLocks noChangeArrowheads="1"/>
          </p:cNvSpPr>
          <p:nvPr/>
        </p:nvSpPr>
        <p:spPr bwMode="auto">
          <a:xfrm>
            <a:off x="5252460" y="2171883"/>
            <a:ext cx="1395412"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4</a:t>
            </a:r>
          </a:p>
        </p:txBody>
      </p:sp>
      <p:sp>
        <p:nvSpPr>
          <p:cNvPr id="801805" name="Rectangle 8"/>
          <p:cNvSpPr>
            <a:spLocks noChangeArrowheads="1"/>
          </p:cNvSpPr>
          <p:nvPr/>
        </p:nvSpPr>
        <p:spPr bwMode="auto">
          <a:xfrm>
            <a:off x="6716135" y="1679758"/>
            <a:ext cx="1397000"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5</a:t>
            </a:r>
          </a:p>
        </p:txBody>
      </p:sp>
      <p:sp>
        <p:nvSpPr>
          <p:cNvPr id="17"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8"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2817" name="Title 1"/>
          <p:cNvSpPr>
            <a:spLocks noGrp="1"/>
          </p:cNvSpPr>
          <p:nvPr>
            <p:ph type="title"/>
          </p:nvPr>
        </p:nvSpPr>
        <p:spPr>
          <a:xfrm>
            <a:off x="384175" y="287338"/>
            <a:ext cx="8375650" cy="595312"/>
          </a:xfrm>
          <a:noFill/>
          <a:ln w="9525">
            <a:noFill/>
            <a:miter lim="800000"/>
            <a:headEnd/>
            <a:tailEnd/>
          </a:ln>
        </p:spPr>
        <p:txBody>
          <a:bodyPr vert="horz" wrap="square" lIns="0" tIns="0" rIns="0" bIns="0" numCol="1" anchor="t" anchorCtr="0" compatLnSpc="1">
            <a:prstTxWarp prst="textNoShape">
              <a:avLst/>
            </a:prstTxWarp>
          </a:bodyPr>
          <a:lstStyle/>
          <a:p>
            <a:r>
              <a:rPr lang="en-GB"/>
              <a:t>Steps</a:t>
            </a:r>
            <a:endParaRPr lang="nl-NL"/>
          </a:p>
        </p:txBody>
      </p:sp>
      <p:sp>
        <p:nvSpPr>
          <p:cNvPr id="802819" name="Text Placeholder 31"/>
          <p:cNvSpPr>
            <a:spLocks noGrp="1"/>
          </p:cNvSpPr>
          <p:nvPr>
            <p:ph type="body" sz="quarter" idx="4294967295"/>
          </p:nvPr>
        </p:nvSpPr>
        <p:spPr bwMode="auto">
          <a:xfrm>
            <a:off x="1144156" y="4507942"/>
            <a:ext cx="1038225"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802820" name="Text Placeholder 32"/>
          <p:cNvSpPr>
            <a:spLocks noGrp="1"/>
          </p:cNvSpPr>
          <p:nvPr>
            <p:ph type="body" sz="quarter" idx="4294967295"/>
          </p:nvPr>
        </p:nvSpPr>
        <p:spPr bwMode="auto">
          <a:xfrm>
            <a:off x="3544456" y="3537980"/>
            <a:ext cx="1190625"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802821" name="Text Placeholder 33"/>
          <p:cNvSpPr>
            <a:spLocks noGrp="1"/>
          </p:cNvSpPr>
          <p:nvPr>
            <p:ph type="body" sz="quarter" idx="4294967295"/>
          </p:nvPr>
        </p:nvSpPr>
        <p:spPr bwMode="auto">
          <a:xfrm>
            <a:off x="4741431" y="3049030"/>
            <a:ext cx="1193800"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802822" name="Text Placeholder 34"/>
          <p:cNvSpPr>
            <a:spLocks noGrp="1"/>
          </p:cNvSpPr>
          <p:nvPr>
            <p:ph type="body" sz="quarter" idx="4294967295"/>
          </p:nvPr>
        </p:nvSpPr>
        <p:spPr bwMode="auto">
          <a:xfrm>
            <a:off x="5963806" y="2545792"/>
            <a:ext cx="1076325"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802823" name="Text Placeholder 35"/>
          <p:cNvSpPr>
            <a:spLocks noGrp="1"/>
          </p:cNvSpPr>
          <p:nvPr>
            <p:ph type="body" sz="quarter" idx="4294967295"/>
          </p:nvPr>
        </p:nvSpPr>
        <p:spPr bwMode="auto">
          <a:xfrm>
            <a:off x="7141731" y="2066367"/>
            <a:ext cx="1098550"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802824" name="Text Placeholder 36"/>
          <p:cNvSpPr>
            <a:spLocks noGrp="1"/>
          </p:cNvSpPr>
          <p:nvPr>
            <p:ph type="body" sz="quarter" idx="4294967295"/>
          </p:nvPr>
        </p:nvSpPr>
        <p:spPr bwMode="auto">
          <a:xfrm>
            <a:off x="2342719" y="4023755"/>
            <a:ext cx="1077912" cy="477837"/>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802825" name="Rectangle 3"/>
          <p:cNvSpPr>
            <a:spLocks noChangeArrowheads="1"/>
          </p:cNvSpPr>
          <p:nvPr/>
        </p:nvSpPr>
        <p:spPr bwMode="auto">
          <a:xfrm>
            <a:off x="1012394" y="4168217"/>
            <a:ext cx="1130300"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dirty="0">
                <a:solidFill>
                  <a:schemeClr val="tx2"/>
                </a:solidFill>
                <a:ea typeface="ＭＳ Ｐゴシック" charset="-128"/>
              </a:rPr>
              <a:t>Step 1</a:t>
            </a:r>
          </a:p>
        </p:txBody>
      </p:sp>
      <p:sp>
        <p:nvSpPr>
          <p:cNvPr id="20" name="Freeform 4"/>
          <p:cNvSpPr>
            <a:spLocks/>
          </p:cNvSpPr>
          <p:nvPr/>
        </p:nvSpPr>
        <p:spPr bwMode="auto">
          <a:xfrm>
            <a:off x="1012394" y="1598055"/>
            <a:ext cx="7112000" cy="3001962"/>
          </a:xfrm>
          <a:custGeom>
            <a:avLst/>
            <a:gdLst>
              <a:gd name="T0" fmla="*/ 0 w 5713"/>
              <a:gd name="T1" fmla="*/ 2147483647 h 2017"/>
              <a:gd name="T2" fmla="*/ 0 w 5713"/>
              <a:gd name="T3" fmla="*/ 2147483647 h 2017"/>
              <a:gd name="T4" fmla="*/ 2147483647 w 5713"/>
              <a:gd name="T5" fmla="*/ 2147483647 h 2017"/>
              <a:gd name="T6" fmla="*/ 2147483647 w 5713"/>
              <a:gd name="T7" fmla="*/ 2147483647 h 2017"/>
              <a:gd name="T8" fmla="*/ 2147483647 w 5713"/>
              <a:gd name="T9" fmla="*/ 2147483647 h 2017"/>
              <a:gd name="T10" fmla="*/ 2147483647 w 5713"/>
              <a:gd name="T11" fmla="*/ 2147483647 h 2017"/>
              <a:gd name="T12" fmla="*/ 2147483647 w 5713"/>
              <a:gd name="T13" fmla="*/ 2147483647 h 2017"/>
              <a:gd name="T14" fmla="*/ 2147483647 w 5713"/>
              <a:gd name="T15" fmla="*/ 2147483647 h 2017"/>
              <a:gd name="T16" fmla="*/ 2147483647 w 5713"/>
              <a:gd name="T17" fmla="*/ 2147483647 h 2017"/>
              <a:gd name="T18" fmla="*/ 2147483647 w 5713"/>
              <a:gd name="T19" fmla="*/ 2147483647 h 2017"/>
              <a:gd name="T20" fmla="*/ 2147483647 w 5713"/>
              <a:gd name="T21" fmla="*/ 2147483647 h 2017"/>
              <a:gd name="T22" fmla="*/ 2147483647 w 5713"/>
              <a:gd name="T23" fmla="*/ 0 h 2017"/>
              <a:gd name="T24" fmla="*/ 2147483647 w 5713"/>
              <a:gd name="T25" fmla="*/ 0 h 20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13"/>
              <a:gd name="T40" fmla="*/ 0 h 2017"/>
              <a:gd name="T41" fmla="*/ 5713 w 5713"/>
              <a:gd name="T42" fmla="*/ 2017 h 20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13" h="2017">
                <a:moveTo>
                  <a:pt x="0" y="2016"/>
                </a:moveTo>
                <a:lnTo>
                  <a:pt x="0" y="1680"/>
                </a:lnTo>
                <a:lnTo>
                  <a:pt x="952" y="1680"/>
                </a:lnTo>
                <a:lnTo>
                  <a:pt x="952" y="1344"/>
                </a:lnTo>
                <a:lnTo>
                  <a:pt x="1904" y="1344"/>
                </a:lnTo>
                <a:lnTo>
                  <a:pt x="1904" y="1008"/>
                </a:lnTo>
                <a:lnTo>
                  <a:pt x="2856" y="1008"/>
                </a:lnTo>
                <a:lnTo>
                  <a:pt x="2856" y="672"/>
                </a:lnTo>
                <a:lnTo>
                  <a:pt x="3808" y="672"/>
                </a:lnTo>
                <a:lnTo>
                  <a:pt x="3808" y="336"/>
                </a:lnTo>
                <a:lnTo>
                  <a:pt x="4760" y="336"/>
                </a:lnTo>
                <a:lnTo>
                  <a:pt x="4760" y="0"/>
                </a:lnTo>
                <a:lnTo>
                  <a:pt x="5712" y="0"/>
                </a:lnTo>
              </a:path>
            </a:pathLst>
          </a:custGeom>
          <a:noFill/>
          <a:ln w="12700" cap="rnd">
            <a:solidFill>
              <a:schemeClr val="accent3"/>
            </a:solidFill>
            <a:round/>
            <a:headEnd type="none" w="sm" len="sm"/>
            <a:tailEnd type="none" w="sm" len="sm"/>
          </a:ln>
        </p:spPr>
        <p:txBody>
          <a:bodyPr/>
          <a:lstStyle/>
          <a:p>
            <a:pPr>
              <a:defRPr/>
            </a:pPr>
            <a:endParaRPr lang="en-GB"/>
          </a:p>
        </p:txBody>
      </p:sp>
      <p:sp>
        <p:nvSpPr>
          <p:cNvPr id="802827" name="Rectangle 5"/>
          <p:cNvSpPr>
            <a:spLocks noChangeArrowheads="1"/>
          </p:cNvSpPr>
          <p:nvPr/>
        </p:nvSpPr>
        <p:spPr bwMode="auto">
          <a:xfrm>
            <a:off x="2207781" y="3731655"/>
            <a:ext cx="1130300"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dirty="0">
                <a:solidFill>
                  <a:schemeClr val="tx2"/>
                </a:solidFill>
                <a:ea typeface="ＭＳ Ｐゴシック" charset="-128"/>
              </a:rPr>
              <a:t>Step 2</a:t>
            </a:r>
          </a:p>
        </p:txBody>
      </p:sp>
      <p:sp>
        <p:nvSpPr>
          <p:cNvPr id="802828" name="Rectangle 6"/>
          <p:cNvSpPr>
            <a:spLocks noChangeArrowheads="1"/>
          </p:cNvSpPr>
          <p:nvPr/>
        </p:nvSpPr>
        <p:spPr bwMode="auto">
          <a:xfrm>
            <a:off x="3393644" y="3226830"/>
            <a:ext cx="1131887"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3</a:t>
            </a:r>
          </a:p>
        </p:txBody>
      </p:sp>
      <p:sp>
        <p:nvSpPr>
          <p:cNvPr id="802829" name="Rectangle 7"/>
          <p:cNvSpPr>
            <a:spLocks noChangeArrowheads="1"/>
          </p:cNvSpPr>
          <p:nvPr/>
        </p:nvSpPr>
        <p:spPr bwMode="auto">
          <a:xfrm>
            <a:off x="4579506" y="2756930"/>
            <a:ext cx="1130300"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4</a:t>
            </a:r>
          </a:p>
        </p:txBody>
      </p:sp>
      <p:sp>
        <p:nvSpPr>
          <p:cNvPr id="802830" name="Rectangle 8"/>
          <p:cNvSpPr>
            <a:spLocks noChangeArrowheads="1"/>
          </p:cNvSpPr>
          <p:nvPr/>
        </p:nvSpPr>
        <p:spPr bwMode="auto">
          <a:xfrm>
            <a:off x="5765369" y="2218767"/>
            <a:ext cx="1130300"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5</a:t>
            </a:r>
          </a:p>
        </p:txBody>
      </p:sp>
      <p:sp>
        <p:nvSpPr>
          <p:cNvPr id="802831" name="Rectangle 9"/>
          <p:cNvSpPr>
            <a:spLocks noChangeArrowheads="1"/>
          </p:cNvSpPr>
          <p:nvPr/>
        </p:nvSpPr>
        <p:spPr bwMode="auto">
          <a:xfrm>
            <a:off x="6943294" y="1715530"/>
            <a:ext cx="1128712"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6</a:t>
            </a:r>
          </a:p>
        </p:txBody>
      </p:sp>
      <p:sp>
        <p:nvSpPr>
          <p:cNvPr id="19"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1"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3841" name="Title 1"/>
          <p:cNvSpPr>
            <a:spLocks noGrp="1"/>
          </p:cNvSpPr>
          <p:nvPr>
            <p:ph type="title"/>
          </p:nvPr>
        </p:nvSpPr>
        <p:spPr>
          <a:xfrm>
            <a:off x="384175" y="287338"/>
            <a:ext cx="8375650" cy="595312"/>
          </a:xfrm>
          <a:noFill/>
          <a:ln w="9525">
            <a:noFill/>
            <a:miter lim="800000"/>
            <a:headEnd/>
            <a:tailEnd/>
          </a:ln>
        </p:spPr>
        <p:txBody>
          <a:bodyPr vert="horz" wrap="square" lIns="0" tIns="0" rIns="0" bIns="0" numCol="1" anchor="t" anchorCtr="0" compatLnSpc="1">
            <a:prstTxWarp prst="textNoShape">
              <a:avLst/>
            </a:prstTxWarp>
          </a:bodyPr>
          <a:lstStyle/>
          <a:p>
            <a:r>
              <a:rPr lang="en-GB"/>
              <a:t>Steps</a:t>
            </a:r>
            <a:endParaRPr lang="nl-NL"/>
          </a:p>
        </p:txBody>
      </p:sp>
      <p:sp>
        <p:nvSpPr>
          <p:cNvPr id="803843" name="Text Placeholder 31"/>
          <p:cNvSpPr>
            <a:spLocks noGrp="1"/>
          </p:cNvSpPr>
          <p:nvPr>
            <p:ph type="body" sz="quarter" idx="4294967295"/>
          </p:nvPr>
        </p:nvSpPr>
        <p:spPr bwMode="auto">
          <a:xfrm>
            <a:off x="1000699" y="5008143"/>
            <a:ext cx="1120775"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803844" name="Text Placeholder 32"/>
          <p:cNvSpPr>
            <a:spLocks noGrp="1"/>
          </p:cNvSpPr>
          <p:nvPr>
            <p:ph type="body" sz="quarter" idx="4294967295"/>
          </p:nvPr>
        </p:nvSpPr>
        <p:spPr bwMode="auto">
          <a:xfrm>
            <a:off x="3107312" y="3996906"/>
            <a:ext cx="1157287"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803845" name="Text Placeholder 33"/>
          <p:cNvSpPr>
            <a:spLocks noGrp="1"/>
          </p:cNvSpPr>
          <p:nvPr>
            <p:ph type="body" sz="quarter" idx="4294967295"/>
          </p:nvPr>
        </p:nvSpPr>
        <p:spPr bwMode="auto">
          <a:xfrm>
            <a:off x="4161412" y="3485731"/>
            <a:ext cx="1217612"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803846" name="Text Placeholder 34"/>
          <p:cNvSpPr>
            <a:spLocks noGrp="1"/>
          </p:cNvSpPr>
          <p:nvPr>
            <p:ph type="body" sz="quarter" idx="4294967295"/>
          </p:nvPr>
        </p:nvSpPr>
        <p:spPr bwMode="auto">
          <a:xfrm>
            <a:off x="5215512" y="2995193"/>
            <a:ext cx="1182687"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803847" name="Text Placeholder 35"/>
          <p:cNvSpPr>
            <a:spLocks noGrp="1"/>
          </p:cNvSpPr>
          <p:nvPr>
            <p:ph type="body" sz="quarter" idx="4294967295"/>
          </p:nvPr>
        </p:nvSpPr>
        <p:spPr bwMode="auto">
          <a:xfrm>
            <a:off x="6269612" y="2501481"/>
            <a:ext cx="1128712" cy="451406"/>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200" dirty="0">
                <a:solidFill>
                  <a:srgbClr val="002776"/>
                </a:solidFill>
              </a:rPr>
              <a:t>Dash</a:t>
            </a:r>
          </a:p>
        </p:txBody>
      </p:sp>
      <p:sp>
        <p:nvSpPr>
          <p:cNvPr id="803848" name="Text Placeholder 36"/>
          <p:cNvSpPr>
            <a:spLocks noGrp="1"/>
          </p:cNvSpPr>
          <p:nvPr>
            <p:ph type="body" sz="quarter" idx="4294967295"/>
          </p:nvPr>
        </p:nvSpPr>
        <p:spPr bwMode="auto">
          <a:xfrm>
            <a:off x="2053212" y="4496968"/>
            <a:ext cx="1230312"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803849" name="Rectangle 3"/>
          <p:cNvSpPr>
            <a:spLocks noChangeArrowheads="1"/>
          </p:cNvSpPr>
          <p:nvPr/>
        </p:nvSpPr>
        <p:spPr bwMode="auto">
          <a:xfrm>
            <a:off x="873699" y="4666831"/>
            <a:ext cx="1044575"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1</a:t>
            </a:r>
          </a:p>
        </p:txBody>
      </p:sp>
      <p:sp>
        <p:nvSpPr>
          <p:cNvPr id="40" name="Freeform 4"/>
          <p:cNvSpPr>
            <a:spLocks/>
          </p:cNvSpPr>
          <p:nvPr/>
        </p:nvSpPr>
        <p:spPr bwMode="auto">
          <a:xfrm>
            <a:off x="873699" y="1596606"/>
            <a:ext cx="7389813" cy="3500437"/>
          </a:xfrm>
          <a:custGeom>
            <a:avLst/>
            <a:gdLst>
              <a:gd name="T0" fmla="*/ 0 w 5761"/>
              <a:gd name="T1" fmla="*/ 2147483647 h 2353"/>
              <a:gd name="T2" fmla="*/ 0 w 5761"/>
              <a:gd name="T3" fmla="*/ 2147483647 h 2353"/>
              <a:gd name="T4" fmla="*/ 2147483647 w 5761"/>
              <a:gd name="T5" fmla="*/ 2147483647 h 2353"/>
              <a:gd name="T6" fmla="*/ 2147483647 w 5761"/>
              <a:gd name="T7" fmla="*/ 2147483647 h 2353"/>
              <a:gd name="T8" fmla="*/ 2147483647 w 5761"/>
              <a:gd name="T9" fmla="*/ 2147483647 h 2353"/>
              <a:gd name="T10" fmla="*/ 2147483647 w 5761"/>
              <a:gd name="T11" fmla="*/ 2147483647 h 2353"/>
              <a:gd name="T12" fmla="*/ 2147483647 w 5761"/>
              <a:gd name="T13" fmla="*/ 2147483647 h 2353"/>
              <a:gd name="T14" fmla="*/ 2147483647 w 5761"/>
              <a:gd name="T15" fmla="*/ 2147483647 h 2353"/>
              <a:gd name="T16" fmla="*/ 2147483647 w 5761"/>
              <a:gd name="T17" fmla="*/ 2147483647 h 2353"/>
              <a:gd name="T18" fmla="*/ 2147483647 w 5761"/>
              <a:gd name="T19" fmla="*/ 2147483647 h 2353"/>
              <a:gd name="T20" fmla="*/ 2147483647 w 5761"/>
              <a:gd name="T21" fmla="*/ 2147483647 h 2353"/>
              <a:gd name="T22" fmla="*/ 2147483647 w 5761"/>
              <a:gd name="T23" fmla="*/ 2147483647 h 2353"/>
              <a:gd name="T24" fmla="*/ 2147483647 w 5761"/>
              <a:gd name="T25" fmla="*/ 2147483647 h 2353"/>
              <a:gd name="T26" fmla="*/ 2147483647 w 5761"/>
              <a:gd name="T27" fmla="*/ 0 h 2353"/>
              <a:gd name="T28" fmla="*/ 2147483647 w 5761"/>
              <a:gd name="T29" fmla="*/ 0 h 23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761"/>
              <a:gd name="T46" fmla="*/ 0 h 2353"/>
              <a:gd name="T47" fmla="*/ 5761 w 5761"/>
              <a:gd name="T48" fmla="*/ 2353 h 23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761" h="2353">
                <a:moveTo>
                  <a:pt x="0" y="2352"/>
                </a:moveTo>
                <a:lnTo>
                  <a:pt x="0" y="2016"/>
                </a:lnTo>
                <a:lnTo>
                  <a:pt x="822" y="2016"/>
                </a:lnTo>
                <a:lnTo>
                  <a:pt x="822" y="1680"/>
                </a:lnTo>
                <a:lnTo>
                  <a:pt x="1645" y="1680"/>
                </a:lnTo>
                <a:lnTo>
                  <a:pt x="1645" y="1344"/>
                </a:lnTo>
                <a:lnTo>
                  <a:pt x="2468" y="1344"/>
                </a:lnTo>
                <a:lnTo>
                  <a:pt x="2468" y="1008"/>
                </a:lnTo>
                <a:lnTo>
                  <a:pt x="3291" y="1008"/>
                </a:lnTo>
                <a:lnTo>
                  <a:pt x="3291" y="672"/>
                </a:lnTo>
                <a:lnTo>
                  <a:pt x="4114" y="672"/>
                </a:lnTo>
                <a:lnTo>
                  <a:pt x="4114" y="336"/>
                </a:lnTo>
                <a:lnTo>
                  <a:pt x="4937" y="336"/>
                </a:lnTo>
                <a:lnTo>
                  <a:pt x="4937" y="0"/>
                </a:lnTo>
                <a:lnTo>
                  <a:pt x="5760" y="0"/>
                </a:lnTo>
              </a:path>
            </a:pathLst>
          </a:custGeom>
          <a:noFill/>
          <a:ln w="12700" cap="rnd">
            <a:solidFill>
              <a:schemeClr val="accent3"/>
            </a:solidFill>
            <a:round/>
            <a:headEnd type="none" w="sm" len="sm"/>
            <a:tailEnd type="none" w="sm" len="sm"/>
          </a:ln>
        </p:spPr>
        <p:txBody>
          <a:bodyPr/>
          <a:lstStyle/>
          <a:p>
            <a:pPr>
              <a:defRPr/>
            </a:pPr>
            <a:endParaRPr lang="en-GB"/>
          </a:p>
        </p:txBody>
      </p:sp>
      <p:sp>
        <p:nvSpPr>
          <p:cNvPr id="803851" name="Rectangle 5"/>
          <p:cNvSpPr>
            <a:spLocks noChangeArrowheads="1"/>
          </p:cNvSpPr>
          <p:nvPr/>
        </p:nvSpPr>
        <p:spPr bwMode="auto">
          <a:xfrm>
            <a:off x="1946849" y="4177881"/>
            <a:ext cx="1044575"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2</a:t>
            </a:r>
          </a:p>
        </p:txBody>
      </p:sp>
      <p:sp>
        <p:nvSpPr>
          <p:cNvPr id="803852" name="Rectangle 6"/>
          <p:cNvSpPr>
            <a:spLocks noChangeArrowheads="1"/>
          </p:cNvSpPr>
          <p:nvPr/>
        </p:nvSpPr>
        <p:spPr bwMode="auto">
          <a:xfrm>
            <a:off x="3000949" y="3673056"/>
            <a:ext cx="1044575"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3</a:t>
            </a:r>
          </a:p>
        </p:txBody>
      </p:sp>
      <p:sp>
        <p:nvSpPr>
          <p:cNvPr id="803853" name="Rectangle 7"/>
          <p:cNvSpPr>
            <a:spLocks noChangeArrowheads="1"/>
          </p:cNvSpPr>
          <p:nvPr/>
        </p:nvSpPr>
        <p:spPr bwMode="auto">
          <a:xfrm>
            <a:off x="4055049" y="3169818"/>
            <a:ext cx="1046163"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4</a:t>
            </a:r>
          </a:p>
        </p:txBody>
      </p:sp>
      <p:sp>
        <p:nvSpPr>
          <p:cNvPr id="803854" name="Rectangle 8"/>
          <p:cNvSpPr>
            <a:spLocks noChangeArrowheads="1"/>
          </p:cNvSpPr>
          <p:nvPr/>
        </p:nvSpPr>
        <p:spPr bwMode="auto">
          <a:xfrm>
            <a:off x="5099624" y="2676106"/>
            <a:ext cx="1044575"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5</a:t>
            </a:r>
          </a:p>
        </p:txBody>
      </p:sp>
      <p:sp>
        <p:nvSpPr>
          <p:cNvPr id="803855" name="Rectangle 9"/>
          <p:cNvSpPr>
            <a:spLocks noChangeArrowheads="1"/>
          </p:cNvSpPr>
          <p:nvPr/>
        </p:nvSpPr>
        <p:spPr bwMode="auto">
          <a:xfrm>
            <a:off x="6163249" y="2172868"/>
            <a:ext cx="1044575"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6</a:t>
            </a:r>
          </a:p>
        </p:txBody>
      </p:sp>
      <p:sp>
        <p:nvSpPr>
          <p:cNvPr id="803856" name="Rectangle 10"/>
          <p:cNvSpPr>
            <a:spLocks noChangeArrowheads="1"/>
          </p:cNvSpPr>
          <p:nvPr/>
        </p:nvSpPr>
        <p:spPr bwMode="auto">
          <a:xfrm>
            <a:off x="7214174" y="1685506"/>
            <a:ext cx="1044575"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7</a:t>
            </a:r>
          </a:p>
        </p:txBody>
      </p:sp>
      <p:sp>
        <p:nvSpPr>
          <p:cNvPr id="22" name="Text Placeholder 35"/>
          <p:cNvSpPr txBox="1">
            <a:spLocks/>
          </p:cNvSpPr>
          <p:nvPr/>
        </p:nvSpPr>
        <p:spPr bwMode="auto">
          <a:xfrm>
            <a:off x="7298064" y="2035896"/>
            <a:ext cx="1128712" cy="482183"/>
          </a:xfrm>
          <a:prstGeom prst="rect">
            <a:avLst/>
          </a:prstGeom>
          <a:noFill/>
          <a:ln>
            <a:miter lim="800000"/>
            <a:headEnd/>
            <a:tailEnd/>
          </a:ln>
        </p:spPr>
        <p:txBody>
          <a:bodyPr vert="horz" lIns="0" tIns="0" rIns="0" bIns="0" rtlCol="0">
            <a:spAutoFit/>
          </a:bodyPr>
          <a:lstStyle/>
          <a:p>
            <a:pPr marL="117475" marR="0" lvl="1" indent="-117475" algn="l" defTabSz="914400" rtl="0" eaLnBrk="1" fontAlgn="base" latinLnBrk="0" hangingPunct="1">
              <a:lnSpc>
                <a:spcPct val="100000"/>
              </a:lnSpc>
              <a:spcBef>
                <a:spcPts val="400"/>
              </a:spcBef>
              <a:spcAft>
                <a:spcPct val="0"/>
              </a:spcAft>
              <a:buClrTx/>
              <a:buSzTx/>
              <a:buFont typeface="Arial" pitchFamily="34" charset="0"/>
              <a:buChar char="•"/>
              <a:tabLst/>
              <a:defRPr/>
            </a:pPr>
            <a:r>
              <a:rPr kumimoji="0" lang="en-US" sz="1400" b="0" i="0" u="none" strike="noStrike" kern="1200" cap="none" spc="0" normalizeH="0" baseline="0" noProof="0" dirty="0" smtClean="0">
                <a:ln>
                  <a:noFill/>
                </a:ln>
                <a:solidFill>
                  <a:srgbClr val="002776"/>
                </a:solidFill>
                <a:effectLst/>
                <a:uLnTx/>
                <a:uFillTx/>
                <a:latin typeface="+mn-lt"/>
                <a:ea typeface="+mn-ea"/>
                <a:cs typeface="Arial" pitchFamily="34" charset="0"/>
              </a:rPr>
              <a:t>Bullet</a:t>
            </a:r>
          </a:p>
          <a:p>
            <a:pPr marL="285750" marR="0" lvl="2" indent="-168275" algn="l" defTabSz="914400" rtl="0" eaLnBrk="1" fontAlgn="base" latinLnBrk="0" hangingPunct="1">
              <a:lnSpc>
                <a:spcPct val="100000"/>
              </a:lnSpc>
              <a:spcBef>
                <a:spcPts val="400"/>
              </a:spcBef>
              <a:spcAft>
                <a:spcPct val="0"/>
              </a:spcAft>
              <a:buClrTx/>
              <a:buSzTx/>
              <a:buFont typeface="Arial" pitchFamily="34" charset="0"/>
              <a:buChar char="–"/>
              <a:tabLst/>
              <a:defRPr/>
            </a:pPr>
            <a:r>
              <a:rPr kumimoji="0" lang="en-US" sz="1400" b="0" i="0" u="none" strike="noStrike" kern="1200" cap="none" spc="0" normalizeH="0" baseline="0" noProof="0" dirty="0" smtClean="0">
                <a:ln>
                  <a:noFill/>
                </a:ln>
                <a:solidFill>
                  <a:srgbClr val="002776"/>
                </a:solidFill>
                <a:effectLst/>
                <a:uLnTx/>
                <a:uFillTx/>
                <a:latin typeface="+mn-lt"/>
                <a:ea typeface="+mn-ea"/>
                <a:cs typeface="+mn-cs"/>
              </a:rPr>
              <a:t>Dash</a:t>
            </a:r>
          </a:p>
        </p:txBody>
      </p:sp>
      <p:sp>
        <p:nvSpPr>
          <p:cNvPr id="2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4865" name="Title 1"/>
          <p:cNvSpPr>
            <a:spLocks noGrp="1"/>
          </p:cNvSpPr>
          <p:nvPr>
            <p:ph type="title"/>
          </p:nvPr>
        </p:nvSpPr>
        <p:spPr>
          <a:xfrm>
            <a:off x="414338" y="446038"/>
            <a:ext cx="8330184" cy="333425"/>
          </a:xfrm>
        </p:spPr>
        <p:txBody>
          <a:bodyPr/>
          <a:lstStyle/>
          <a:p>
            <a:r>
              <a:rPr lang="en-GB"/>
              <a:t>Steps </a:t>
            </a:r>
            <a:r>
              <a:rPr lang="en-US"/>
              <a:t>—</a:t>
            </a:r>
            <a:r>
              <a:rPr lang="en-GB" smtClean="0"/>
              <a:t> </a:t>
            </a:r>
            <a:r>
              <a:rPr lang="en-GB"/>
              <a:t>with more flights</a:t>
            </a:r>
            <a:endParaRPr lang="nl-NL"/>
          </a:p>
        </p:txBody>
      </p:sp>
      <p:sp>
        <p:nvSpPr>
          <p:cNvPr id="4" name="Freeform 2"/>
          <p:cNvSpPr>
            <a:spLocks/>
          </p:cNvSpPr>
          <p:nvPr/>
        </p:nvSpPr>
        <p:spPr bwMode="auto">
          <a:xfrm>
            <a:off x="527050" y="1031220"/>
            <a:ext cx="7912100" cy="2373312"/>
          </a:xfrm>
          <a:custGeom>
            <a:avLst/>
            <a:gdLst>
              <a:gd name="T0" fmla="*/ 0 w 5233"/>
              <a:gd name="T1" fmla="*/ 2147483647 h 1595"/>
              <a:gd name="T2" fmla="*/ 0 w 5233"/>
              <a:gd name="T3" fmla="*/ 2147483647 h 1595"/>
              <a:gd name="T4" fmla="*/ 2147483647 w 5233"/>
              <a:gd name="T5" fmla="*/ 2147483647 h 1595"/>
              <a:gd name="T6" fmla="*/ 2147483647 w 5233"/>
              <a:gd name="T7" fmla="*/ 2147483647 h 1595"/>
              <a:gd name="T8" fmla="*/ 2147483647 w 5233"/>
              <a:gd name="T9" fmla="*/ 2147483647 h 1595"/>
              <a:gd name="T10" fmla="*/ 2147483647 w 5233"/>
              <a:gd name="T11" fmla="*/ 2147483647 h 1595"/>
              <a:gd name="T12" fmla="*/ 2147483647 w 5233"/>
              <a:gd name="T13" fmla="*/ 2147483647 h 1595"/>
              <a:gd name="T14" fmla="*/ 2147483647 w 5233"/>
              <a:gd name="T15" fmla="*/ 0 h 1595"/>
              <a:gd name="T16" fmla="*/ 2147483647 w 5233"/>
              <a:gd name="T17" fmla="*/ 0 h 15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33"/>
              <a:gd name="T28" fmla="*/ 0 h 1595"/>
              <a:gd name="T29" fmla="*/ 5233 w 5233"/>
              <a:gd name="T30" fmla="*/ 1595 h 15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33" h="1595">
                <a:moveTo>
                  <a:pt x="0" y="1594"/>
                </a:moveTo>
                <a:lnTo>
                  <a:pt x="0" y="1195"/>
                </a:lnTo>
                <a:lnTo>
                  <a:pt x="1308" y="1195"/>
                </a:lnTo>
                <a:lnTo>
                  <a:pt x="1308" y="797"/>
                </a:lnTo>
                <a:lnTo>
                  <a:pt x="2616" y="797"/>
                </a:lnTo>
                <a:lnTo>
                  <a:pt x="2616" y="398"/>
                </a:lnTo>
                <a:lnTo>
                  <a:pt x="3924" y="398"/>
                </a:lnTo>
                <a:lnTo>
                  <a:pt x="3924" y="0"/>
                </a:lnTo>
                <a:lnTo>
                  <a:pt x="5232" y="0"/>
                </a:lnTo>
              </a:path>
            </a:pathLst>
          </a:custGeom>
          <a:noFill/>
          <a:ln w="12700" cap="rnd">
            <a:solidFill>
              <a:schemeClr val="accent3"/>
            </a:solidFill>
            <a:round/>
            <a:headEnd type="none" w="sm" len="sm"/>
            <a:tailEnd type="none" w="sm" len="sm"/>
          </a:ln>
        </p:spPr>
        <p:txBody>
          <a:bodyPr/>
          <a:lstStyle/>
          <a:p>
            <a:pPr>
              <a:defRPr/>
            </a:pPr>
            <a:endParaRPr lang="en-GB"/>
          </a:p>
        </p:txBody>
      </p:sp>
      <p:sp>
        <p:nvSpPr>
          <p:cNvPr id="5" name="Freeform 4"/>
          <p:cNvSpPr>
            <a:spLocks/>
          </p:cNvSpPr>
          <p:nvPr/>
        </p:nvSpPr>
        <p:spPr bwMode="auto">
          <a:xfrm>
            <a:off x="527050" y="1613832"/>
            <a:ext cx="7900988" cy="2501900"/>
          </a:xfrm>
          <a:custGeom>
            <a:avLst/>
            <a:gdLst>
              <a:gd name="T0" fmla="*/ 0 w 5713"/>
              <a:gd name="T1" fmla="*/ 2147483647 h 1681"/>
              <a:gd name="T2" fmla="*/ 0 w 5713"/>
              <a:gd name="T3" fmla="*/ 2147483647 h 1681"/>
              <a:gd name="T4" fmla="*/ 2147483647 w 5713"/>
              <a:gd name="T5" fmla="*/ 2147483647 h 1681"/>
              <a:gd name="T6" fmla="*/ 2147483647 w 5713"/>
              <a:gd name="T7" fmla="*/ 2147483647 h 1681"/>
              <a:gd name="T8" fmla="*/ 2147483647 w 5713"/>
              <a:gd name="T9" fmla="*/ 2147483647 h 1681"/>
              <a:gd name="T10" fmla="*/ 2147483647 w 5713"/>
              <a:gd name="T11" fmla="*/ 2147483647 h 1681"/>
              <a:gd name="T12" fmla="*/ 2147483647 w 5713"/>
              <a:gd name="T13" fmla="*/ 2147483647 h 1681"/>
              <a:gd name="T14" fmla="*/ 2147483647 w 5713"/>
              <a:gd name="T15" fmla="*/ 2147483647 h 1681"/>
              <a:gd name="T16" fmla="*/ 2147483647 w 5713"/>
              <a:gd name="T17" fmla="*/ 2147483647 h 1681"/>
              <a:gd name="T18" fmla="*/ 2147483647 w 5713"/>
              <a:gd name="T19" fmla="*/ 0 h 1681"/>
              <a:gd name="T20" fmla="*/ 2147483647 w 5713"/>
              <a:gd name="T21" fmla="*/ 0 h 16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13"/>
              <a:gd name="T34" fmla="*/ 0 h 1681"/>
              <a:gd name="T35" fmla="*/ 5713 w 5713"/>
              <a:gd name="T36" fmla="*/ 1681 h 16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13" h="1681">
                <a:moveTo>
                  <a:pt x="0" y="1680"/>
                </a:moveTo>
                <a:lnTo>
                  <a:pt x="0" y="1344"/>
                </a:lnTo>
                <a:lnTo>
                  <a:pt x="1142" y="1344"/>
                </a:lnTo>
                <a:lnTo>
                  <a:pt x="1142" y="1008"/>
                </a:lnTo>
                <a:lnTo>
                  <a:pt x="2284" y="1008"/>
                </a:lnTo>
                <a:lnTo>
                  <a:pt x="2284" y="672"/>
                </a:lnTo>
                <a:lnTo>
                  <a:pt x="3427" y="672"/>
                </a:lnTo>
                <a:lnTo>
                  <a:pt x="3427" y="336"/>
                </a:lnTo>
                <a:lnTo>
                  <a:pt x="4569" y="336"/>
                </a:lnTo>
                <a:lnTo>
                  <a:pt x="4569" y="0"/>
                </a:lnTo>
                <a:lnTo>
                  <a:pt x="5712" y="0"/>
                </a:lnTo>
              </a:path>
            </a:pathLst>
          </a:custGeom>
          <a:noFill/>
          <a:ln w="12700" cap="rnd">
            <a:solidFill>
              <a:schemeClr val="accent3"/>
            </a:solidFill>
            <a:round/>
            <a:headEnd type="none" w="sm" len="sm"/>
            <a:tailEnd type="none" w="sm" len="sm"/>
          </a:ln>
        </p:spPr>
        <p:txBody>
          <a:bodyPr/>
          <a:lstStyle/>
          <a:p>
            <a:pPr>
              <a:defRPr/>
            </a:pPr>
            <a:endParaRPr lang="en-GB"/>
          </a:p>
        </p:txBody>
      </p:sp>
      <p:sp>
        <p:nvSpPr>
          <p:cNvPr id="6" name="Freeform 5"/>
          <p:cNvSpPr>
            <a:spLocks/>
          </p:cNvSpPr>
          <p:nvPr/>
        </p:nvSpPr>
        <p:spPr bwMode="auto">
          <a:xfrm>
            <a:off x="527050" y="2205970"/>
            <a:ext cx="7900988" cy="3001962"/>
          </a:xfrm>
          <a:custGeom>
            <a:avLst/>
            <a:gdLst>
              <a:gd name="T0" fmla="*/ 0 w 5713"/>
              <a:gd name="T1" fmla="*/ 2147483647 h 2017"/>
              <a:gd name="T2" fmla="*/ 0 w 5713"/>
              <a:gd name="T3" fmla="*/ 2147483647 h 2017"/>
              <a:gd name="T4" fmla="*/ 2147483647 w 5713"/>
              <a:gd name="T5" fmla="*/ 2147483647 h 2017"/>
              <a:gd name="T6" fmla="*/ 2147483647 w 5713"/>
              <a:gd name="T7" fmla="*/ 2147483647 h 2017"/>
              <a:gd name="T8" fmla="*/ 2147483647 w 5713"/>
              <a:gd name="T9" fmla="*/ 2147483647 h 2017"/>
              <a:gd name="T10" fmla="*/ 2147483647 w 5713"/>
              <a:gd name="T11" fmla="*/ 2147483647 h 2017"/>
              <a:gd name="T12" fmla="*/ 2147483647 w 5713"/>
              <a:gd name="T13" fmla="*/ 2147483647 h 2017"/>
              <a:gd name="T14" fmla="*/ 2147483647 w 5713"/>
              <a:gd name="T15" fmla="*/ 2147483647 h 2017"/>
              <a:gd name="T16" fmla="*/ 2147483647 w 5713"/>
              <a:gd name="T17" fmla="*/ 2147483647 h 2017"/>
              <a:gd name="T18" fmla="*/ 2147483647 w 5713"/>
              <a:gd name="T19" fmla="*/ 2147483647 h 2017"/>
              <a:gd name="T20" fmla="*/ 2147483647 w 5713"/>
              <a:gd name="T21" fmla="*/ 2147483647 h 2017"/>
              <a:gd name="T22" fmla="*/ 2147483647 w 5713"/>
              <a:gd name="T23" fmla="*/ 0 h 2017"/>
              <a:gd name="T24" fmla="*/ 2147483647 w 5713"/>
              <a:gd name="T25" fmla="*/ 0 h 20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13"/>
              <a:gd name="T40" fmla="*/ 0 h 2017"/>
              <a:gd name="T41" fmla="*/ 5713 w 5713"/>
              <a:gd name="T42" fmla="*/ 2017 h 20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13" h="2017">
                <a:moveTo>
                  <a:pt x="0" y="2016"/>
                </a:moveTo>
                <a:lnTo>
                  <a:pt x="0" y="1680"/>
                </a:lnTo>
                <a:lnTo>
                  <a:pt x="952" y="1680"/>
                </a:lnTo>
                <a:lnTo>
                  <a:pt x="952" y="1344"/>
                </a:lnTo>
                <a:lnTo>
                  <a:pt x="1904" y="1344"/>
                </a:lnTo>
                <a:lnTo>
                  <a:pt x="1904" y="1008"/>
                </a:lnTo>
                <a:lnTo>
                  <a:pt x="2856" y="1008"/>
                </a:lnTo>
                <a:lnTo>
                  <a:pt x="2856" y="672"/>
                </a:lnTo>
                <a:lnTo>
                  <a:pt x="3808" y="672"/>
                </a:lnTo>
                <a:lnTo>
                  <a:pt x="3808" y="336"/>
                </a:lnTo>
                <a:lnTo>
                  <a:pt x="4760" y="336"/>
                </a:lnTo>
                <a:lnTo>
                  <a:pt x="4760" y="0"/>
                </a:lnTo>
                <a:lnTo>
                  <a:pt x="5712" y="0"/>
                </a:lnTo>
              </a:path>
            </a:pathLst>
          </a:custGeom>
          <a:noFill/>
          <a:ln w="12700" cap="rnd">
            <a:solidFill>
              <a:schemeClr val="accent3"/>
            </a:solidFill>
            <a:round/>
            <a:headEnd type="none" w="sm" len="sm"/>
            <a:tailEnd type="none" w="sm" len="sm"/>
          </a:ln>
        </p:spPr>
        <p:txBody>
          <a:bodyPr/>
          <a:lstStyle/>
          <a:p>
            <a:pPr>
              <a:defRPr/>
            </a:pPr>
            <a:endParaRPr lang="en-GB"/>
          </a:p>
        </p:txBody>
      </p:sp>
      <p:sp>
        <p:nvSpPr>
          <p:cNvPr id="7" name="Freeform 6"/>
          <p:cNvSpPr>
            <a:spLocks/>
          </p:cNvSpPr>
          <p:nvPr/>
        </p:nvSpPr>
        <p:spPr bwMode="auto">
          <a:xfrm>
            <a:off x="946499" y="2524912"/>
            <a:ext cx="7900988" cy="3500438"/>
          </a:xfrm>
          <a:custGeom>
            <a:avLst/>
            <a:gdLst>
              <a:gd name="T0" fmla="*/ 0 w 5761"/>
              <a:gd name="T1" fmla="*/ 2147483647 h 2353"/>
              <a:gd name="T2" fmla="*/ 0 w 5761"/>
              <a:gd name="T3" fmla="*/ 2147483647 h 2353"/>
              <a:gd name="T4" fmla="*/ 2147483647 w 5761"/>
              <a:gd name="T5" fmla="*/ 2147483647 h 2353"/>
              <a:gd name="T6" fmla="*/ 2147483647 w 5761"/>
              <a:gd name="T7" fmla="*/ 2147483647 h 2353"/>
              <a:gd name="T8" fmla="*/ 2147483647 w 5761"/>
              <a:gd name="T9" fmla="*/ 2147483647 h 2353"/>
              <a:gd name="T10" fmla="*/ 2147483647 w 5761"/>
              <a:gd name="T11" fmla="*/ 2147483647 h 2353"/>
              <a:gd name="T12" fmla="*/ 2147483647 w 5761"/>
              <a:gd name="T13" fmla="*/ 2147483647 h 2353"/>
              <a:gd name="T14" fmla="*/ 2147483647 w 5761"/>
              <a:gd name="T15" fmla="*/ 2147483647 h 2353"/>
              <a:gd name="T16" fmla="*/ 2147483647 w 5761"/>
              <a:gd name="T17" fmla="*/ 2147483647 h 2353"/>
              <a:gd name="T18" fmla="*/ 2147483647 w 5761"/>
              <a:gd name="T19" fmla="*/ 2147483647 h 2353"/>
              <a:gd name="T20" fmla="*/ 2147483647 w 5761"/>
              <a:gd name="T21" fmla="*/ 2147483647 h 2353"/>
              <a:gd name="T22" fmla="*/ 2147483647 w 5761"/>
              <a:gd name="T23" fmla="*/ 2147483647 h 2353"/>
              <a:gd name="T24" fmla="*/ 2147483647 w 5761"/>
              <a:gd name="T25" fmla="*/ 2147483647 h 2353"/>
              <a:gd name="T26" fmla="*/ 2147483647 w 5761"/>
              <a:gd name="T27" fmla="*/ 0 h 2353"/>
              <a:gd name="T28" fmla="*/ 2147483647 w 5761"/>
              <a:gd name="T29" fmla="*/ 0 h 23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761"/>
              <a:gd name="T46" fmla="*/ 0 h 2353"/>
              <a:gd name="T47" fmla="*/ 5761 w 5761"/>
              <a:gd name="T48" fmla="*/ 2353 h 23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761" h="2353">
                <a:moveTo>
                  <a:pt x="0" y="2352"/>
                </a:moveTo>
                <a:lnTo>
                  <a:pt x="0" y="2016"/>
                </a:lnTo>
                <a:lnTo>
                  <a:pt x="822" y="2016"/>
                </a:lnTo>
                <a:lnTo>
                  <a:pt x="822" y="1680"/>
                </a:lnTo>
                <a:lnTo>
                  <a:pt x="1645" y="1680"/>
                </a:lnTo>
                <a:lnTo>
                  <a:pt x="1645" y="1344"/>
                </a:lnTo>
                <a:lnTo>
                  <a:pt x="2468" y="1344"/>
                </a:lnTo>
                <a:lnTo>
                  <a:pt x="2468" y="1008"/>
                </a:lnTo>
                <a:lnTo>
                  <a:pt x="3291" y="1008"/>
                </a:lnTo>
                <a:lnTo>
                  <a:pt x="3291" y="672"/>
                </a:lnTo>
                <a:lnTo>
                  <a:pt x="4114" y="672"/>
                </a:lnTo>
                <a:lnTo>
                  <a:pt x="4114" y="336"/>
                </a:lnTo>
                <a:lnTo>
                  <a:pt x="4937" y="336"/>
                </a:lnTo>
                <a:lnTo>
                  <a:pt x="4937" y="0"/>
                </a:lnTo>
                <a:lnTo>
                  <a:pt x="5760" y="0"/>
                </a:lnTo>
              </a:path>
            </a:pathLst>
          </a:custGeom>
          <a:noFill/>
          <a:ln w="12700" cap="rnd">
            <a:solidFill>
              <a:schemeClr val="accent3"/>
            </a:solidFill>
            <a:round/>
            <a:headEnd type="none" w="sm" len="sm"/>
            <a:tailEnd type="none" w="sm" len="sm"/>
          </a:ln>
        </p:spPr>
        <p:txBody>
          <a:bodyPr/>
          <a:lstStyle/>
          <a:p>
            <a:pPr>
              <a:defRPr/>
            </a:pPr>
            <a:endParaRPr lang="en-GB"/>
          </a:p>
        </p:txBody>
      </p:sp>
      <p:sp>
        <p:nvSpPr>
          <p:cNvPr id="9"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0"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8530"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4035"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8531" name="Text Placeholder 15"/>
          <p:cNvSpPr>
            <a:spLocks noGrp="1"/>
          </p:cNvSpPr>
          <p:nvPr>
            <p:ph type="body" sz="quarter" idx="4294967295"/>
            <p:custDataLst>
              <p:tags r:id="rId3"/>
            </p:custDataLst>
          </p:nvPr>
        </p:nvSpPr>
        <p:spPr bwMode="auto">
          <a:xfrm>
            <a:off x="897516" y="4133427"/>
            <a:ext cx="155575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278532" name="Title 1"/>
          <p:cNvSpPr>
            <a:spLocks noGrp="1"/>
          </p:cNvSpPr>
          <p:nvPr>
            <p:ph type="title"/>
            <p:custDataLst>
              <p:tags r:id="rId4"/>
            </p:custDataLst>
          </p:nvPr>
        </p:nvSpPr>
        <p:spPr>
          <a:xfrm>
            <a:off x="384175" y="287338"/>
            <a:ext cx="8375650" cy="595312"/>
          </a:xfrm>
          <a:noFill/>
          <a:ln w="9525">
            <a:noFill/>
            <a:miter lim="800000"/>
            <a:headEnd/>
            <a:tailEnd/>
          </a:ln>
        </p:spPr>
        <p:txBody>
          <a:bodyPr vert="horz" wrap="square" lIns="0" tIns="0" rIns="0" bIns="0" numCol="1" anchor="t" anchorCtr="0" compatLnSpc="1">
            <a:prstTxWarp prst="textNoShape">
              <a:avLst/>
            </a:prstTxWarp>
          </a:bodyPr>
          <a:lstStyle/>
          <a:p>
            <a:r>
              <a:rPr lang="en-GB"/>
              <a:t>Diagonal boxes </a:t>
            </a:r>
            <a:endParaRPr lang="nl-NL"/>
          </a:p>
        </p:txBody>
      </p:sp>
      <p:sp>
        <p:nvSpPr>
          <p:cNvPr id="278534" name="Text Placeholder 13"/>
          <p:cNvSpPr>
            <a:spLocks noGrp="1"/>
          </p:cNvSpPr>
          <p:nvPr>
            <p:ph type="body" sz="quarter" idx="4294967295"/>
            <p:custDataLst>
              <p:tags r:id="rId5"/>
            </p:custDataLst>
          </p:nvPr>
        </p:nvSpPr>
        <p:spPr bwMode="auto">
          <a:xfrm>
            <a:off x="5948941" y="2430039"/>
            <a:ext cx="1554162"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278535" name="Text Placeholder 14"/>
          <p:cNvSpPr>
            <a:spLocks noGrp="1"/>
          </p:cNvSpPr>
          <p:nvPr>
            <p:ph type="body" sz="quarter" idx="4294967295"/>
            <p:custDataLst>
              <p:tags r:id="rId6"/>
            </p:custDataLst>
          </p:nvPr>
        </p:nvSpPr>
        <p:spPr bwMode="auto">
          <a:xfrm>
            <a:off x="3423228" y="3299989"/>
            <a:ext cx="155575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13" name="Rectangle 3"/>
          <p:cNvSpPr>
            <a:spLocks noChangeArrowheads="1"/>
          </p:cNvSpPr>
          <p:nvPr/>
        </p:nvSpPr>
        <p:spPr bwMode="blackWhite">
          <a:xfrm>
            <a:off x="3423228" y="2449089"/>
            <a:ext cx="2274888" cy="758825"/>
          </a:xfrm>
          <a:prstGeom prst="rect">
            <a:avLst/>
          </a:prstGeom>
          <a:solidFill>
            <a:schemeClr val="accent3"/>
          </a:solidFill>
          <a:ln w="12700">
            <a:solidFill>
              <a:schemeClr val="bg1"/>
            </a:solidFill>
            <a:miter lim="800000"/>
            <a:headEnd/>
            <a:tailEnd/>
          </a:ln>
        </p:spPr>
        <p:txBody>
          <a:bodyPr lIns="87086" tIns="43544" rIns="87086" bIns="43544" anchor="ctr"/>
          <a:lstStyle/>
          <a:p>
            <a:pPr algn="ctr" defTabSz="865188">
              <a:lnSpc>
                <a:spcPct val="95000"/>
              </a:lnSpc>
              <a:defRPr/>
            </a:pPr>
            <a:r>
              <a:rPr lang="en-GB" sz="1400" b="1">
                <a:solidFill>
                  <a:schemeClr val="bg1"/>
                </a:solidFill>
                <a:ea typeface="ＭＳ Ｐゴシック" pitchFamily="50" charset="-128"/>
              </a:rPr>
              <a:t>Text</a:t>
            </a:r>
          </a:p>
        </p:txBody>
      </p:sp>
      <p:sp>
        <p:nvSpPr>
          <p:cNvPr id="19" name="Rectangle 4"/>
          <p:cNvSpPr>
            <a:spLocks noChangeArrowheads="1"/>
          </p:cNvSpPr>
          <p:nvPr/>
        </p:nvSpPr>
        <p:spPr bwMode="blackWhite">
          <a:xfrm>
            <a:off x="5948941" y="1598189"/>
            <a:ext cx="2274887" cy="758825"/>
          </a:xfrm>
          <a:prstGeom prst="rect">
            <a:avLst/>
          </a:prstGeom>
          <a:solidFill>
            <a:schemeClr val="accent3"/>
          </a:solidFill>
          <a:ln w="12700">
            <a:solidFill>
              <a:schemeClr val="bg1"/>
            </a:solidFill>
            <a:miter lim="800000"/>
            <a:headEnd/>
            <a:tailEnd/>
          </a:ln>
        </p:spPr>
        <p:txBody>
          <a:bodyPr lIns="87086" tIns="43544" rIns="87086" bIns="43544" anchor="ctr"/>
          <a:lstStyle/>
          <a:p>
            <a:pPr algn="ctr" defTabSz="865188">
              <a:lnSpc>
                <a:spcPct val="95000"/>
              </a:lnSpc>
              <a:defRPr/>
            </a:pPr>
            <a:r>
              <a:rPr lang="en-GB" sz="1400" b="1">
                <a:solidFill>
                  <a:schemeClr val="bg1"/>
                </a:solidFill>
                <a:ea typeface="ＭＳ Ｐゴシック" pitchFamily="50" charset="-128"/>
              </a:rPr>
              <a:t>Text</a:t>
            </a:r>
          </a:p>
        </p:txBody>
      </p:sp>
      <p:sp>
        <p:nvSpPr>
          <p:cNvPr id="20" name="Rectangle 5"/>
          <p:cNvSpPr>
            <a:spLocks noChangeArrowheads="1"/>
          </p:cNvSpPr>
          <p:nvPr/>
        </p:nvSpPr>
        <p:spPr bwMode="blackWhite">
          <a:xfrm>
            <a:off x="897516" y="3309514"/>
            <a:ext cx="2273300" cy="755650"/>
          </a:xfrm>
          <a:prstGeom prst="rect">
            <a:avLst/>
          </a:prstGeom>
          <a:solidFill>
            <a:schemeClr val="accent3"/>
          </a:solidFill>
          <a:ln w="12700">
            <a:solidFill>
              <a:schemeClr val="bg1"/>
            </a:solidFill>
            <a:miter lim="800000"/>
            <a:headEnd/>
            <a:tailEnd/>
          </a:ln>
        </p:spPr>
        <p:txBody>
          <a:bodyPr lIns="87086" tIns="43544" rIns="87086" bIns="43544" anchor="ctr"/>
          <a:lstStyle/>
          <a:p>
            <a:pPr algn="ctr" defTabSz="865188">
              <a:lnSpc>
                <a:spcPct val="95000"/>
              </a:lnSpc>
              <a:defRPr/>
            </a:pPr>
            <a:r>
              <a:rPr lang="en-GB" sz="1400" b="1">
                <a:solidFill>
                  <a:schemeClr val="bg1"/>
                </a:solidFill>
                <a:ea typeface="ＭＳ Ｐゴシック" pitchFamily="50" charset="-128"/>
              </a:rPr>
              <a:t>Text</a:t>
            </a:r>
          </a:p>
        </p:txBody>
      </p:sp>
      <p:cxnSp>
        <p:nvCxnSpPr>
          <p:cNvPr id="21" name="AutoShape 6"/>
          <p:cNvCxnSpPr>
            <a:cxnSpLocks noChangeShapeType="1"/>
            <a:stCxn id="20" idx="0"/>
            <a:endCxn id="13" idx="1"/>
          </p:cNvCxnSpPr>
          <p:nvPr/>
        </p:nvCxnSpPr>
        <p:spPr bwMode="auto">
          <a:xfrm rot="5400000" flipH="1" flipV="1">
            <a:off x="2488191" y="2374477"/>
            <a:ext cx="481012" cy="1389062"/>
          </a:xfrm>
          <a:prstGeom prst="bentConnector2">
            <a:avLst/>
          </a:prstGeom>
          <a:noFill/>
          <a:ln w="12700">
            <a:solidFill>
              <a:schemeClr val="accent1"/>
            </a:solidFill>
            <a:miter lim="800000"/>
            <a:headEnd/>
            <a:tailEnd type="triangle" w="med" len="med"/>
          </a:ln>
        </p:spPr>
      </p:cxnSp>
      <p:cxnSp>
        <p:nvCxnSpPr>
          <p:cNvPr id="22" name="AutoShape 7"/>
          <p:cNvCxnSpPr>
            <a:cxnSpLocks noChangeShapeType="1"/>
            <a:stCxn id="13" idx="0"/>
            <a:endCxn id="19" idx="1"/>
          </p:cNvCxnSpPr>
          <p:nvPr/>
        </p:nvCxnSpPr>
        <p:spPr bwMode="auto">
          <a:xfrm rot="5400000" flipH="1" flipV="1">
            <a:off x="5019460" y="1519608"/>
            <a:ext cx="471487" cy="1387475"/>
          </a:xfrm>
          <a:prstGeom prst="bentConnector2">
            <a:avLst/>
          </a:prstGeom>
          <a:noFill/>
          <a:ln w="12700">
            <a:solidFill>
              <a:schemeClr val="accent1"/>
            </a:solidFill>
            <a:miter lim="800000"/>
            <a:headEnd/>
            <a:tailEnd type="triangle" w="med" len="med"/>
          </a:ln>
        </p:spPr>
      </p:cxnSp>
      <p:sp>
        <p:nvSpPr>
          <p:cNvPr id="278541" name="Rectangle 8"/>
          <p:cNvSpPr>
            <a:spLocks noChangeArrowheads="1"/>
          </p:cNvSpPr>
          <p:nvPr/>
        </p:nvSpPr>
        <p:spPr bwMode="auto">
          <a:xfrm>
            <a:off x="906596" y="5306589"/>
            <a:ext cx="2260600"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dirty="0">
                <a:solidFill>
                  <a:schemeClr val="tx2"/>
                </a:solidFill>
                <a:ea typeface="ＭＳ Ｐゴシック" charset="-128"/>
              </a:rPr>
              <a:t>Text</a:t>
            </a:r>
          </a:p>
        </p:txBody>
      </p:sp>
      <p:sp>
        <p:nvSpPr>
          <p:cNvPr id="24" name="AutoShape 9"/>
          <p:cNvSpPr>
            <a:spLocks noChangeArrowheads="1"/>
          </p:cNvSpPr>
          <p:nvPr/>
        </p:nvSpPr>
        <p:spPr bwMode="auto">
          <a:xfrm rot="5400000">
            <a:off x="1910319" y="4971627"/>
            <a:ext cx="265112" cy="315912"/>
          </a:xfrm>
          <a:prstGeom prst="rightArrow">
            <a:avLst>
              <a:gd name="adj1" fmla="val 49630"/>
              <a:gd name="adj2" fmla="val 50616"/>
            </a:avLst>
          </a:prstGeom>
          <a:solidFill>
            <a:schemeClr val="accent3"/>
          </a:solidFill>
          <a:ln w="12700">
            <a:noFill/>
            <a:miter lim="800000"/>
            <a:headEnd/>
            <a:tailEnd/>
          </a:ln>
        </p:spPr>
        <p:txBody>
          <a:bodyPr rot="10800000" vert="eaVert" wrap="none" anchor="ctr"/>
          <a:lstStyle/>
          <a:p>
            <a:pPr algn="ctr">
              <a:defRPr/>
            </a:pPr>
            <a:endParaRPr lang="en-GB"/>
          </a:p>
        </p:txBody>
      </p:sp>
      <p:sp>
        <p:nvSpPr>
          <p:cNvPr id="278543" name="Rectangle 10"/>
          <p:cNvSpPr>
            <a:spLocks noChangeArrowheads="1"/>
          </p:cNvSpPr>
          <p:nvPr/>
        </p:nvSpPr>
        <p:spPr bwMode="auto">
          <a:xfrm>
            <a:off x="3445631" y="5306589"/>
            <a:ext cx="2260600"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dirty="0">
                <a:solidFill>
                  <a:schemeClr val="tx2"/>
                </a:solidFill>
                <a:ea typeface="ＭＳ Ｐゴシック" charset="-128"/>
              </a:rPr>
              <a:t>Text</a:t>
            </a:r>
          </a:p>
        </p:txBody>
      </p:sp>
      <p:sp>
        <p:nvSpPr>
          <p:cNvPr id="26" name="AutoShape 11"/>
          <p:cNvSpPr>
            <a:spLocks noChangeArrowheads="1"/>
          </p:cNvSpPr>
          <p:nvPr/>
        </p:nvSpPr>
        <p:spPr bwMode="auto">
          <a:xfrm rot="5400000">
            <a:off x="4005819" y="4539826"/>
            <a:ext cx="1128710" cy="315913"/>
          </a:xfrm>
          <a:prstGeom prst="rightArrow">
            <a:avLst>
              <a:gd name="adj1" fmla="val 49630"/>
              <a:gd name="adj2" fmla="val 50616"/>
            </a:avLst>
          </a:prstGeom>
          <a:solidFill>
            <a:schemeClr val="accent3"/>
          </a:solidFill>
          <a:ln w="12700" algn="ctr">
            <a:noFill/>
            <a:miter lim="800000"/>
            <a:headEnd/>
            <a:tailEnd/>
          </a:ln>
        </p:spPr>
        <p:txBody>
          <a:bodyPr rot="10800000" vert="eaVert" wrap="none" anchor="ctr"/>
          <a:lstStyle/>
          <a:p>
            <a:pPr algn="ctr">
              <a:defRPr/>
            </a:pPr>
            <a:endParaRPr lang="en-GB"/>
          </a:p>
        </p:txBody>
      </p:sp>
      <p:sp>
        <p:nvSpPr>
          <p:cNvPr id="278545" name="Rectangle 12"/>
          <p:cNvSpPr>
            <a:spLocks noChangeArrowheads="1"/>
          </p:cNvSpPr>
          <p:nvPr/>
        </p:nvSpPr>
        <p:spPr bwMode="auto">
          <a:xfrm>
            <a:off x="5967204" y="5306589"/>
            <a:ext cx="2262188"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dirty="0">
                <a:solidFill>
                  <a:schemeClr val="tx2"/>
                </a:solidFill>
                <a:ea typeface="ＭＳ Ｐゴシック" charset="-128"/>
              </a:rPr>
              <a:t>Text</a:t>
            </a:r>
          </a:p>
        </p:txBody>
      </p:sp>
      <p:sp>
        <p:nvSpPr>
          <p:cNvPr id="28" name="AutoShape 13"/>
          <p:cNvSpPr>
            <a:spLocks noChangeArrowheads="1"/>
          </p:cNvSpPr>
          <p:nvPr/>
        </p:nvSpPr>
        <p:spPr bwMode="auto">
          <a:xfrm rot="5400000">
            <a:off x="6066414" y="4076277"/>
            <a:ext cx="2054225" cy="317500"/>
          </a:xfrm>
          <a:prstGeom prst="rightArrow">
            <a:avLst>
              <a:gd name="adj1" fmla="val 49630"/>
              <a:gd name="adj2" fmla="val 50616"/>
            </a:avLst>
          </a:prstGeom>
          <a:solidFill>
            <a:schemeClr val="accent3"/>
          </a:solidFill>
          <a:ln w="12700" algn="ctr">
            <a:noFill/>
            <a:miter lim="800000"/>
            <a:headEnd/>
            <a:tailEnd/>
          </a:ln>
        </p:spPr>
        <p:txBody>
          <a:bodyPr rot="10800000" vert="eaVert" wrap="none" anchor="ctr"/>
          <a:lstStyle/>
          <a:p>
            <a:pPr algn="ctr">
              <a:defRPr/>
            </a:pPr>
            <a:endParaRPr lang="en-GB"/>
          </a:p>
        </p:txBody>
      </p:sp>
      <p:sp>
        <p:nvSpPr>
          <p:cNvPr id="25"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7" name="Text Placeholder 12"/>
          <p:cNvSpPr>
            <a:spLocks/>
          </p:cNvSpPr>
          <p:nvPr>
            <p:custDataLst>
              <p:tags r:id="rId7"/>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81" name="Title 1"/>
          <p:cNvSpPr>
            <a:spLocks noGrp="1"/>
          </p:cNvSpPr>
          <p:nvPr>
            <p:ph type="title"/>
          </p:nvPr>
        </p:nvSpPr>
        <p:spPr>
          <a:xfrm>
            <a:off x="414338" y="97798"/>
            <a:ext cx="8330184" cy="666849"/>
          </a:xfrm>
        </p:spPr>
        <p:txBody>
          <a:bodyPr/>
          <a:lstStyle/>
          <a:p>
            <a:r>
              <a:rPr lang="en-US" dirty="0"/>
              <a:t>Text boxes — two columns of numbered </a:t>
            </a:r>
            <a:r>
              <a:rPr lang="en-US" dirty="0" smtClean="0"/>
              <a:t>points </a:t>
            </a:r>
            <a:br>
              <a:rPr lang="en-US" dirty="0" smtClean="0"/>
            </a:br>
            <a:r>
              <a:rPr lang="en-US" dirty="0" smtClean="0"/>
              <a:t>for </a:t>
            </a:r>
            <a:r>
              <a:rPr lang="en-US" dirty="0"/>
              <a:t>each point</a:t>
            </a:r>
            <a:endParaRPr lang="nl-NL" dirty="0"/>
          </a:p>
        </p:txBody>
      </p:sp>
      <p:sp>
        <p:nvSpPr>
          <p:cNvPr id="583683" name="Rectangle 4"/>
          <p:cNvSpPr>
            <a:spLocks noChangeArrowheads="1"/>
          </p:cNvSpPr>
          <p:nvPr>
            <p:custDataLst>
              <p:tags r:id="rId1"/>
            </p:custDataLst>
          </p:nvPr>
        </p:nvSpPr>
        <p:spPr bwMode="auto">
          <a:xfrm>
            <a:off x="386929" y="3094955"/>
            <a:ext cx="4052888" cy="228600"/>
          </a:xfrm>
          <a:prstGeom prst="rect">
            <a:avLst/>
          </a:prstGeom>
          <a:solidFill>
            <a:srgbClr val="00A1DE"/>
          </a:solidFill>
          <a:ln w="12700" algn="ctr">
            <a:noFill/>
            <a:miter lim="800000"/>
            <a:headEnd/>
            <a:tailEnd/>
          </a:ln>
        </p:spPr>
        <p:txBody>
          <a:bodyPr lIns="40118" tIns="18000" rIns="40118" bIns="18000" anchor="ctr"/>
          <a:lstStyle/>
          <a:p>
            <a:pPr algn="l" defTabSz="1019175"/>
            <a:r>
              <a:rPr lang="en-US" sz="1600">
                <a:solidFill>
                  <a:srgbClr val="FFFFFF"/>
                </a:solidFill>
              </a:rPr>
              <a:t>3</a:t>
            </a:r>
          </a:p>
        </p:txBody>
      </p:sp>
      <p:sp>
        <p:nvSpPr>
          <p:cNvPr id="583684" name="Rectangle 4"/>
          <p:cNvSpPr>
            <a:spLocks noChangeArrowheads="1"/>
          </p:cNvSpPr>
          <p:nvPr>
            <p:custDataLst>
              <p:tags r:id="rId2"/>
            </p:custDataLst>
          </p:nvPr>
        </p:nvSpPr>
        <p:spPr bwMode="auto">
          <a:xfrm>
            <a:off x="386929" y="4059498"/>
            <a:ext cx="4052888" cy="228600"/>
          </a:xfrm>
          <a:prstGeom prst="rect">
            <a:avLst/>
          </a:prstGeom>
          <a:solidFill>
            <a:srgbClr val="00A1DE"/>
          </a:solidFill>
          <a:ln w="12700" algn="ctr">
            <a:noFill/>
            <a:miter lim="800000"/>
            <a:headEnd/>
            <a:tailEnd/>
          </a:ln>
        </p:spPr>
        <p:txBody>
          <a:bodyPr lIns="40118" tIns="18000" rIns="40118" bIns="18000" anchor="ctr"/>
          <a:lstStyle/>
          <a:p>
            <a:pPr algn="l" defTabSz="1019175"/>
            <a:r>
              <a:rPr lang="en-US" sz="1600">
                <a:solidFill>
                  <a:srgbClr val="FFFFFF"/>
                </a:solidFill>
              </a:rPr>
              <a:t>4</a:t>
            </a:r>
          </a:p>
        </p:txBody>
      </p:sp>
      <p:sp>
        <p:nvSpPr>
          <p:cNvPr id="583685" name="Rectangle 4"/>
          <p:cNvSpPr>
            <a:spLocks noChangeArrowheads="1"/>
          </p:cNvSpPr>
          <p:nvPr>
            <p:custDataLst>
              <p:tags r:id="rId3"/>
            </p:custDataLst>
          </p:nvPr>
        </p:nvSpPr>
        <p:spPr bwMode="auto">
          <a:xfrm>
            <a:off x="386929" y="5047622"/>
            <a:ext cx="4052888" cy="228600"/>
          </a:xfrm>
          <a:prstGeom prst="rect">
            <a:avLst/>
          </a:prstGeom>
          <a:solidFill>
            <a:srgbClr val="00A1DE"/>
          </a:solidFill>
          <a:ln w="12700" algn="ctr">
            <a:noFill/>
            <a:miter lim="800000"/>
            <a:headEnd/>
            <a:tailEnd/>
          </a:ln>
        </p:spPr>
        <p:txBody>
          <a:bodyPr lIns="40118" tIns="18000" rIns="40118" bIns="18000" anchor="ctr"/>
          <a:lstStyle/>
          <a:p>
            <a:pPr algn="l" defTabSz="1019175"/>
            <a:r>
              <a:rPr lang="en-US" sz="1600">
                <a:solidFill>
                  <a:srgbClr val="FFFFFF"/>
                </a:solidFill>
              </a:rPr>
              <a:t>5</a:t>
            </a:r>
          </a:p>
        </p:txBody>
      </p:sp>
      <p:sp>
        <p:nvSpPr>
          <p:cNvPr id="583686" name="Rectangle 4"/>
          <p:cNvSpPr>
            <a:spLocks noChangeArrowheads="1"/>
          </p:cNvSpPr>
          <p:nvPr>
            <p:custDataLst>
              <p:tags r:id="rId4"/>
            </p:custDataLst>
          </p:nvPr>
        </p:nvSpPr>
        <p:spPr bwMode="auto">
          <a:xfrm>
            <a:off x="386929" y="2131998"/>
            <a:ext cx="4052888" cy="228600"/>
          </a:xfrm>
          <a:prstGeom prst="rect">
            <a:avLst/>
          </a:prstGeom>
          <a:solidFill>
            <a:srgbClr val="00A1DE"/>
          </a:solidFill>
          <a:ln w="12700" algn="ctr">
            <a:noFill/>
            <a:miter lim="800000"/>
            <a:headEnd/>
            <a:tailEnd/>
          </a:ln>
        </p:spPr>
        <p:txBody>
          <a:bodyPr lIns="40118" tIns="18000" rIns="40118" bIns="18000" anchor="ctr"/>
          <a:lstStyle/>
          <a:p>
            <a:pPr algn="l" defTabSz="1019175"/>
            <a:r>
              <a:rPr lang="en-US" sz="1600">
                <a:solidFill>
                  <a:srgbClr val="FFFFFF"/>
                </a:solidFill>
              </a:rPr>
              <a:t>2</a:t>
            </a:r>
          </a:p>
        </p:txBody>
      </p:sp>
      <p:sp>
        <p:nvSpPr>
          <p:cNvPr id="583687" name="Rectangle 3"/>
          <p:cNvSpPr>
            <a:spLocks noChangeArrowheads="1"/>
          </p:cNvSpPr>
          <p:nvPr>
            <p:custDataLst>
              <p:tags r:id="rId5"/>
            </p:custDataLst>
          </p:nvPr>
        </p:nvSpPr>
        <p:spPr bwMode="gray">
          <a:xfrm>
            <a:off x="791742" y="1414664"/>
            <a:ext cx="3614737" cy="639762"/>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583688" name="Rectangle 4"/>
          <p:cNvSpPr>
            <a:spLocks noChangeArrowheads="1"/>
          </p:cNvSpPr>
          <p:nvPr>
            <p:custDataLst>
              <p:tags r:id="rId6"/>
            </p:custDataLst>
          </p:nvPr>
        </p:nvSpPr>
        <p:spPr bwMode="auto">
          <a:xfrm>
            <a:off x="386929" y="1169041"/>
            <a:ext cx="4052888" cy="228600"/>
          </a:xfrm>
          <a:prstGeom prst="rect">
            <a:avLst/>
          </a:prstGeom>
          <a:solidFill>
            <a:srgbClr val="00A1DE"/>
          </a:solidFill>
          <a:ln w="12700" algn="ctr">
            <a:noFill/>
            <a:miter lim="800000"/>
            <a:headEnd/>
            <a:tailEnd/>
          </a:ln>
        </p:spPr>
        <p:txBody>
          <a:bodyPr lIns="40118" tIns="18000" rIns="40118" bIns="18000" anchor="ctr"/>
          <a:lstStyle/>
          <a:p>
            <a:pPr algn="l" defTabSz="1019175"/>
            <a:r>
              <a:rPr lang="en-US" sz="1600" dirty="0">
                <a:solidFill>
                  <a:srgbClr val="FFFFFF"/>
                </a:solidFill>
              </a:rPr>
              <a:t>1</a:t>
            </a:r>
          </a:p>
        </p:txBody>
      </p:sp>
      <p:sp>
        <p:nvSpPr>
          <p:cNvPr id="583689" name="Rectangle 3"/>
          <p:cNvSpPr>
            <a:spLocks noChangeArrowheads="1"/>
          </p:cNvSpPr>
          <p:nvPr>
            <p:custDataLst>
              <p:tags r:id="rId7"/>
            </p:custDataLst>
          </p:nvPr>
        </p:nvSpPr>
        <p:spPr bwMode="gray">
          <a:xfrm>
            <a:off x="791742" y="2386247"/>
            <a:ext cx="3614737" cy="639762"/>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583690" name="Rectangle 3"/>
          <p:cNvSpPr>
            <a:spLocks noChangeArrowheads="1"/>
          </p:cNvSpPr>
          <p:nvPr>
            <p:custDataLst>
              <p:tags r:id="rId8"/>
            </p:custDataLst>
          </p:nvPr>
        </p:nvSpPr>
        <p:spPr bwMode="gray">
          <a:xfrm>
            <a:off x="791742" y="3341477"/>
            <a:ext cx="3614737" cy="639762"/>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583691" name="Rectangle 3"/>
          <p:cNvSpPr>
            <a:spLocks noChangeArrowheads="1"/>
          </p:cNvSpPr>
          <p:nvPr>
            <p:custDataLst>
              <p:tags r:id="rId9"/>
            </p:custDataLst>
          </p:nvPr>
        </p:nvSpPr>
        <p:spPr bwMode="gray">
          <a:xfrm>
            <a:off x="791742" y="5303460"/>
            <a:ext cx="3614737" cy="639762"/>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583692" name="Rectangle 3"/>
          <p:cNvSpPr>
            <a:spLocks noChangeArrowheads="1"/>
          </p:cNvSpPr>
          <p:nvPr>
            <p:custDataLst>
              <p:tags r:id="rId10"/>
            </p:custDataLst>
          </p:nvPr>
        </p:nvSpPr>
        <p:spPr bwMode="gray">
          <a:xfrm>
            <a:off x="791742" y="4309196"/>
            <a:ext cx="3614737" cy="639763"/>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583693" name="Rectangle 4"/>
          <p:cNvSpPr>
            <a:spLocks noChangeArrowheads="1"/>
          </p:cNvSpPr>
          <p:nvPr>
            <p:custDataLst>
              <p:tags r:id="rId11"/>
            </p:custDataLst>
          </p:nvPr>
        </p:nvSpPr>
        <p:spPr bwMode="auto">
          <a:xfrm>
            <a:off x="4692229" y="3094955"/>
            <a:ext cx="4054475" cy="228600"/>
          </a:xfrm>
          <a:prstGeom prst="rect">
            <a:avLst/>
          </a:prstGeom>
          <a:solidFill>
            <a:srgbClr val="00A1DE"/>
          </a:solidFill>
          <a:ln w="12700" algn="ctr">
            <a:noFill/>
            <a:miter lim="800000"/>
            <a:headEnd/>
            <a:tailEnd/>
          </a:ln>
        </p:spPr>
        <p:txBody>
          <a:bodyPr lIns="40118" tIns="18000" rIns="40118" bIns="18000" anchor="ctr"/>
          <a:lstStyle/>
          <a:p>
            <a:pPr algn="l" defTabSz="1019175"/>
            <a:r>
              <a:rPr lang="en-US" sz="1600">
                <a:solidFill>
                  <a:srgbClr val="FFFFFF"/>
                </a:solidFill>
              </a:rPr>
              <a:t>8</a:t>
            </a:r>
          </a:p>
        </p:txBody>
      </p:sp>
      <p:sp>
        <p:nvSpPr>
          <p:cNvPr id="583694" name="Rectangle 4"/>
          <p:cNvSpPr>
            <a:spLocks noChangeArrowheads="1"/>
          </p:cNvSpPr>
          <p:nvPr>
            <p:custDataLst>
              <p:tags r:id="rId12"/>
            </p:custDataLst>
          </p:nvPr>
        </p:nvSpPr>
        <p:spPr bwMode="auto">
          <a:xfrm>
            <a:off x="4692229" y="4059498"/>
            <a:ext cx="4054475" cy="228600"/>
          </a:xfrm>
          <a:prstGeom prst="rect">
            <a:avLst/>
          </a:prstGeom>
          <a:solidFill>
            <a:srgbClr val="00A1DE"/>
          </a:solidFill>
          <a:ln w="12700" algn="ctr">
            <a:noFill/>
            <a:miter lim="800000"/>
            <a:headEnd/>
            <a:tailEnd/>
          </a:ln>
        </p:spPr>
        <p:txBody>
          <a:bodyPr lIns="40118" tIns="18000" rIns="40118" bIns="18000" anchor="ctr"/>
          <a:lstStyle/>
          <a:p>
            <a:pPr algn="l" defTabSz="1019175"/>
            <a:r>
              <a:rPr lang="en-US" sz="1600">
                <a:solidFill>
                  <a:srgbClr val="FFFFFF"/>
                </a:solidFill>
              </a:rPr>
              <a:t>9</a:t>
            </a:r>
          </a:p>
        </p:txBody>
      </p:sp>
      <p:sp>
        <p:nvSpPr>
          <p:cNvPr id="583695" name="Rectangle 4"/>
          <p:cNvSpPr>
            <a:spLocks noChangeArrowheads="1"/>
          </p:cNvSpPr>
          <p:nvPr>
            <p:custDataLst>
              <p:tags r:id="rId13"/>
            </p:custDataLst>
          </p:nvPr>
        </p:nvSpPr>
        <p:spPr bwMode="auto">
          <a:xfrm>
            <a:off x="4692229" y="5047622"/>
            <a:ext cx="4054475" cy="228600"/>
          </a:xfrm>
          <a:prstGeom prst="rect">
            <a:avLst/>
          </a:prstGeom>
          <a:solidFill>
            <a:srgbClr val="00A1DE"/>
          </a:solidFill>
          <a:ln w="12700" algn="ctr">
            <a:noFill/>
            <a:miter lim="800000"/>
            <a:headEnd/>
            <a:tailEnd/>
          </a:ln>
        </p:spPr>
        <p:txBody>
          <a:bodyPr lIns="40118" tIns="18000" rIns="40118" bIns="18000" anchor="ctr"/>
          <a:lstStyle/>
          <a:p>
            <a:pPr algn="l" defTabSz="1019175"/>
            <a:r>
              <a:rPr lang="en-US" sz="1600">
                <a:solidFill>
                  <a:srgbClr val="FFFFFF"/>
                </a:solidFill>
              </a:rPr>
              <a:t>10</a:t>
            </a:r>
          </a:p>
        </p:txBody>
      </p:sp>
      <p:sp>
        <p:nvSpPr>
          <p:cNvPr id="583696" name="Rectangle 4"/>
          <p:cNvSpPr>
            <a:spLocks noChangeArrowheads="1"/>
          </p:cNvSpPr>
          <p:nvPr>
            <p:custDataLst>
              <p:tags r:id="rId14"/>
            </p:custDataLst>
          </p:nvPr>
        </p:nvSpPr>
        <p:spPr bwMode="auto">
          <a:xfrm>
            <a:off x="4692229" y="2131998"/>
            <a:ext cx="4054475" cy="228600"/>
          </a:xfrm>
          <a:prstGeom prst="rect">
            <a:avLst/>
          </a:prstGeom>
          <a:solidFill>
            <a:srgbClr val="00A1DE"/>
          </a:solidFill>
          <a:ln w="12700" algn="ctr">
            <a:noFill/>
            <a:miter lim="800000"/>
            <a:headEnd/>
            <a:tailEnd/>
          </a:ln>
        </p:spPr>
        <p:txBody>
          <a:bodyPr lIns="40118" tIns="18000" rIns="40118" bIns="18000" anchor="ctr"/>
          <a:lstStyle/>
          <a:p>
            <a:pPr algn="l" defTabSz="1019175"/>
            <a:r>
              <a:rPr lang="en-US" sz="1600">
                <a:solidFill>
                  <a:srgbClr val="FFFFFF"/>
                </a:solidFill>
              </a:rPr>
              <a:t>7</a:t>
            </a:r>
          </a:p>
        </p:txBody>
      </p:sp>
      <p:sp>
        <p:nvSpPr>
          <p:cNvPr id="583697" name="Rectangle 3"/>
          <p:cNvSpPr>
            <a:spLocks noChangeArrowheads="1"/>
          </p:cNvSpPr>
          <p:nvPr>
            <p:custDataLst>
              <p:tags r:id="rId15"/>
            </p:custDataLst>
          </p:nvPr>
        </p:nvSpPr>
        <p:spPr bwMode="gray">
          <a:xfrm>
            <a:off x="5098629" y="1414664"/>
            <a:ext cx="3613150" cy="639762"/>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583698" name="Rectangle 4"/>
          <p:cNvSpPr>
            <a:spLocks noChangeArrowheads="1"/>
          </p:cNvSpPr>
          <p:nvPr>
            <p:custDataLst>
              <p:tags r:id="rId16"/>
            </p:custDataLst>
          </p:nvPr>
        </p:nvSpPr>
        <p:spPr bwMode="auto">
          <a:xfrm>
            <a:off x="4692229" y="1169041"/>
            <a:ext cx="4054475" cy="228600"/>
          </a:xfrm>
          <a:prstGeom prst="rect">
            <a:avLst/>
          </a:prstGeom>
          <a:solidFill>
            <a:srgbClr val="00A1DE"/>
          </a:solidFill>
          <a:ln w="12700" algn="ctr">
            <a:noFill/>
            <a:miter lim="800000"/>
            <a:headEnd/>
            <a:tailEnd/>
          </a:ln>
        </p:spPr>
        <p:txBody>
          <a:bodyPr lIns="40118" tIns="18000" rIns="40118" bIns="18000" anchor="ctr"/>
          <a:lstStyle/>
          <a:p>
            <a:pPr algn="l" defTabSz="1019175"/>
            <a:r>
              <a:rPr lang="en-US" sz="1600">
                <a:solidFill>
                  <a:srgbClr val="FFFFFF"/>
                </a:solidFill>
              </a:rPr>
              <a:t>6</a:t>
            </a:r>
          </a:p>
        </p:txBody>
      </p:sp>
      <p:sp>
        <p:nvSpPr>
          <p:cNvPr id="583699" name="Rectangle 3"/>
          <p:cNvSpPr>
            <a:spLocks noChangeArrowheads="1"/>
          </p:cNvSpPr>
          <p:nvPr>
            <p:custDataLst>
              <p:tags r:id="rId17"/>
            </p:custDataLst>
          </p:nvPr>
        </p:nvSpPr>
        <p:spPr bwMode="gray">
          <a:xfrm>
            <a:off x="5098629" y="2386247"/>
            <a:ext cx="3613150" cy="639762"/>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583700" name="Rectangle 3"/>
          <p:cNvSpPr>
            <a:spLocks noChangeArrowheads="1"/>
          </p:cNvSpPr>
          <p:nvPr>
            <p:custDataLst>
              <p:tags r:id="rId18"/>
            </p:custDataLst>
          </p:nvPr>
        </p:nvSpPr>
        <p:spPr bwMode="gray">
          <a:xfrm>
            <a:off x="5098629" y="3341477"/>
            <a:ext cx="3613150" cy="639762"/>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583701" name="Rectangle 3"/>
          <p:cNvSpPr>
            <a:spLocks noChangeArrowheads="1"/>
          </p:cNvSpPr>
          <p:nvPr>
            <p:custDataLst>
              <p:tags r:id="rId19"/>
            </p:custDataLst>
          </p:nvPr>
        </p:nvSpPr>
        <p:spPr bwMode="gray">
          <a:xfrm>
            <a:off x="5098629" y="5303460"/>
            <a:ext cx="3613150" cy="639762"/>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583702" name="Rectangle 3"/>
          <p:cNvSpPr>
            <a:spLocks noChangeArrowheads="1"/>
          </p:cNvSpPr>
          <p:nvPr>
            <p:custDataLst>
              <p:tags r:id="rId20"/>
            </p:custDataLst>
          </p:nvPr>
        </p:nvSpPr>
        <p:spPr bwMode="gray">
          <a:xfrm>
            <a:off x="5098629" y="4309196"/>
            <a:ext cx="3613150" cy="639763"/>
          </a:xfrm>
          <a:prstGeom prst="rect">
            <a:avLst/>
          </a:prstGeom>
          <a:noFill/>
          <a:ln w="9525" algn="ctr">
            <a:noFill/>
            <a:miter lim="800000"/>
            <a:headEnd/>
            <a:tailEnd/>
          </a:ln>
        </p:spPr>
        <p:txBody>
          <a:bodyPr lIns="0" tIns="0" rIns="0" bIns="0"/>
          <a:lstStyle/>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174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p>
        </p:txBody>
      </p:sp>
      <p:sp>
        <p:nvSpPr>
          <p:cNvPr id="24" name="Text Placeholder 36"/>
          <p:cNvSpPr txBox="1">
            <a:spLocks/>
          </p:cNvSpPr>
          <p:nvPr/>
        </p:nvSpPr>
        <p:spPr bwMode="gray">
          <a:xfrm>
            <a:off x="411058"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955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5059" name="think-cell Slide" r:id="rId11" imgW="0" imgH="0" progId="">
                  <p:embed/>
                </p:oleObj>
              </mc:Choice>
              <mc:Fallback>
                <p:oleObj name="think-cell Slide" r:id="rId11"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9555" name="Title 1"/>
          <p:cNvSpPr>
            <a:spLocks noGrp="1"/>
          </p:cNvSpPr>
          <p:nvPr>
            <p:ph type="title"/>
            <p:custDataLst>
              <p:tags r:id="rId3"/>
            </p:custDataLst>
          </p:nvPr>
        </p:nvSpPr>
        <p:spPr>
          <a:xfrm>
            <a:off x="384175" y="287338"/>
            <a:ext cx="8375650" cy="595312"/>
          </a:xfrm>
          <a:noFill/>
          <a:ln w="9525">
            <a:noFill/>
            <a:miter lim="800000"/>
            <a:headEnd/>
            <a:tailEnd/>
          </a:ln>
        </p:spPr>
        <p:txBody>
          <a:bodyPr vert="horz" wrap="square" lIns="0" tIns="0" rIns="0" bIns="0" numCol="1" anchor="t" anchorCtr="0" compatLnSpc="1">
            <a:prstTxWarp prst="textNoShape">
              <a:avLst/>
            </a:prstTxWarp>
          </a:bodyPr>
          <a:lstStyle/>
          <a:p>
            <a:r>
              <a:rPr lang="en-GB"/>
              <a:t>Steps</a:t>
            </a:r>
            <a:endParaRPr lang="nl-NL"/>
          </a:p>
        </p:txBody>
      </p:sp>
      <p:sp>
        <p:nvSpPr>
          <p:cNvPr id="279557" name="Text Placeholder 31"/>
          <p:cNvSpPr>
            <a:spLocks noGrp="1"/>
          </p:cNvSpPr>
          <p:nvPr>
            <p:ph type="body" sz="quarter" idx="4294967295"/>
            <p:custDataLst>
              <p:tags r:id="rId4"/>
            </p:custDataLst>
          </p:nvPr>
        </p:nvSpPr>
        <p:spPr bwMode="auto">
          <a:xfrm>
            <a:off x="922338" y="4467225"/>
            <a:ext cx="156210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279558" name="Text Placeholder 32"/>
          <p:cNvSpPr>
            <a:spLocks noGrp="1"/>
          </p:cNvSpPr>
          <p:nvPr>
            <p:ph type="body" sz="quarter" idx="4294967295"/>
            <p:custDataLst>
              <p:tags r:id="rId5"/>
            </p:custDataLst>
          </p:nvPr>
        </p:nvSpPr>
        <p:spPr bwMode="auto">
          <a:xfrm>
            <a:off x="4641850" y="2968625"/>
            <a:ext cx="156210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279559" name="Text Placeholder 35"/>
          <p:cNvSpPr>
            <a:spLocks noGrp="1"/>
          </p:cNvSpPr>
          <p:nvPr>
            <p:ph type="body" sz="quarter" idx="4294967295"/>
            <p:custDataLst>
              <p:tags r:id="rId6"/>
            </p:custDataLst>
          </p:nvPr>
        </p:nvSpPr>
        <p:spPr bwMode="auto">
          <a:xfrm>
            <a:off x="6503988" y="2193925"/>
            <a:ext cx="156210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279560" name="Text Placeholder 36"/>
          <p:cNvSpPr>
            <a:spLocks noGrp="1"/>
          </p:cNvSpPr>
          <p:nvPr>
            <p:ph type="body" sz="quarter" idx="4294967295"/>
            <p:custDataLst>
              <p:tags r:id="rId7"/>
            </p:custDataLst>
          </p:nvPr>
        </p:nvSpPr>
        <p:spPr bwMode="auto">
          <a:xfrm>
            <a:off x="2781300" y="3721100"/>
            <a:ext cx="156210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279561" name="Rectangle 3"/>
          <p:cNvSpPr>
            <a:spLocks noChangeArrowheads="1"/>
          </p:cNvSpPr>
          <p:nvPr>
            <p:custDataLst>
              <p:tags r:id="rId8"/>
            </p:custDataLst>
          </p:nvPr>
        </p:nvSpPr>
        <p:spPr bwMode="auto">
          <a:xfrm>
            <a:off x="915988" y="4133850"/>
            <a:ext cx="1793875"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b="1">
                <a:solidFill>
                  <a:schemeClr val="tx2"/>
                </a:solidFill>
                <a:ea typeface="ＭＳ Ｐゴシック" charset="-128"/>
              </a:rPr>
              <a:t>Step 1</a:t>
            </a:r>
          </a:p>
        </p:txBody>
      </p:sp>
      <p:sp>
        <p:nvSpPr>
          <p:cNvPr id="15" name="Rectangle 3"/>
          <p:cNvSpPr>
            <a:spLocks noChangeArrowheads="1"/>
          </p:cNvSpPr>
          <p:nvPr/>
        </p:nvSpPr>
        <p:spPr bwMode="blackWhite">
          <a:xfrm>
            <a:off x="892175" y="3878263"/>
            <a:ext cx="1814513" cy="520700"/>
          </a:xfrm>
          <a:prstGeom prst="rect">
            <a:avLst/>
          </a:prstGeom>
          <a:solidFill>
            <a:schemeClr val="accent3"/>
          </a:solidFill>
          <a:ln w="12700" algn="ctr">
            <a:solidFill>
              <a:schemeClr val="bg1"/>
            </a:solidFill>
            <a:miter lim="800000"/>
            <a:headEnd/>
            <a:tailEnd/>
          </a:ln>
        </p:spPr>
        <p:txBody>
          <a:bodyPr lIns="87086" tIns="43544" rIns="87086" bIns="43544" anchor="ctr"/>
          <a:lstStyle/>
          <a:p>
            <a:pPr algn="ctr" defTabSz="865188">
              <a:lnSpc>
                <a:spcPct val="95000"/>
              </a:lnSpc>
              <a:defRPr/>
            </a:pPr>
            <a:r>
              <a:rPr lang="en-GB" sz="1400" b="1">
                <a:solidFill>
                  <a:schemeClr val="bg1"/>
                </a:solidFill>
                <a:ea typeface="ＭＳ Ｐゴシック" pitchFamily="50" charset="-128"/>
              </a:rPr>
              <a:t>Text</a:t>
            </a:r>
          </a:p>
        </p:txBody>
      </p:sp>
      <p:sp>
        <p:nvSpPr>
          <p:cNvPr id="16" name="Rectangle 4"/>
          <p:cNvSpPr>
            <a:spLocks noChangeArrowheads="1"/>
          </p:cNvSpPr>
          <p:nvPr/>
        </p:nvSpPr>
        <p:spPr bwMode="blackWhite">
          <a:xfrm>
            <a:off x="2752725" y="3119438"/>
            <a:ext cx="1816100" cy="520700"/>
          </a:xfrm>
          <a:prstGeom prst="rect">
            <a:avLst/>
          </a:prstGeom>
          <a:solidFill>
            <a:schemeClr val="accent3"/>
          </a:solidFill>
          <a:ln w="12700" algn="ctr">
            <a:solidFill>
              <a:schemeClr val="bg1"/>
            </a:solidFill>
            <a:miter lim="800000"/>
            <a:headEnd/>
            <a:tailEnd/>
          </a:ln>
        </p:spPr>
        <p:txBody>
          <a:bodyPr lIns="87086" tIns="43544" rIns="87086" bIns="43544" anchor="ctr"/>
          <a:lstStyle/>
          <a:p>
            <a:pPr algn="ctr" defTabSz="865188">
              <a:lnSpc>
                <a:spcPct val="95000"/>
              </a:lnSpc>
              <a:defRPr/>
            </a:pPr>
            <a:r>
              <a:rPr lang="en-GB" sz="1400" b="1">
                <a:solidFill>
                  <a:schemeClr val="bg1"/>
                </a:solidFill>
                <a:ea typeface="ＭＳ Ｐゴシック" pitchFamily="50" charset="-128"/>
              </a:rPr>
              <a:t>Text</a:t>
            </a:r>
          </a:p>
        </p:txBody>
      </p:sp>
      <p:sp>
        <p:nvSpPr>
          <p:cNvPr id="17" name="Rectangle 5"/>
          <p:cNvSpPr>
            <a:spLocks noChangeArrowheads="1"/>
          </p:cNvSpPr>
          <p:nvPr/>
        </p:nvSpPr>
        <p:spPr bwMode="blackWhite">
          <a:xfrm>
            <a:off x="4613275" y="2368550"/>
            <a:ext cx="1816100" cy="520700"/>
          </a:xfrm>
          <a:prstGeom prst="rect">
            <a:avLst/>
          </a:prstGeom>
          <a:solidFill>
            <a:schemeClr val="accent3"/>
          </a:solidFill>
          <a:ln w="12700" algn="ctr">
            <a:solidFill>
              <a:schemeClr val="bg1"/>
            </a:solidFill>
            <a:miter lim="800000"/>
            <a:headEnd/>
            <a:tailEnd/>
          </a:ln>
        </p:spPr>
        <p:txBody>
          <a:bodyPr lIns="87086" tIns="43544" rIns="87086" bIns="43544" anchor="ctr"/>
          <a:lstStyle/>
          <a:p>
            <a:pPr algn="ctr" defTabSz="865188">
              <a:lnSpc>
                <a:spcPct val="95000"/>
              </a:lnSpc>
              <a:defRPr/>
            </a:pPr>
            <a:r>
              <a:rPr lang="en-GB" sz="1400" b="1">
                <a:solidFill>
                  <a:schemeClr val="bg1"/>
                </a:solidFill>
                <a:ea typeface="ＭＳ Ｐゴシック" pitchFamily="50" charset="-128"/>
              </a:rPr>
              <a:t>Text</a:t>
            </a:r>
          </a:p>
        </p:txBody>
      </p:sp>
      <p:sp>
        <p:nvSpPr>
          <p:cNvPr id="18" name="Rectangle 6"/>
          <p:cNvSpPr>
            <a:spLocks noChangeArrowheads="1"/>
          </p:cNvSpPr>
          <p:nvPr/>
        </p:nvSpPr>
        <p:spPr bwMode="blackWhite">
          <a:xfrm>
            <a:off x="6473825" y="1600200"/>
            <a:ext cx="1814513" cy="520700"/>
          </a:xfrm>
          <a:prstGeom prst="rect">
            <a:avLst/>
          </a:prstGeom>
          <a:solidFill>
            <a:schemeClr val="accent3"/>
          </a:solidFill>
          <a:ln w="12700" algn="ctr">
            <a:solidFill>
              <a:schemeClr val="bg1"/>
            </a:solidFill>
            <a:miter lim="800000"/>
            <a:headEnd/>
            <a:tailEnd/>
          </a:ln>
        </p:spPr>
        <p:txBody>
          <a:bodyPr lIns="87086" tIns="43544" rIns="87086" bIns="43544" anchor="ctr"/>
          <a:lstStyle/>
          <a:p>
            <a:pPr algn="ctr" defTabSz="865188">
              <a:lnSpc>
                <a:spcPct val="95000"/>
              </a:lnSpc>
              <a:defRPr/>
            </a:pPr>
            <a:r>
              <a:rPr lang="en-GB" sz="1400" b="1">
                <a:solidFill>
                  <a:schemeClr val="bg1"/>
                </a:solidFill>
                <a:ea typeface="ＭＳ Ｐゴシック" pitchFamily="50" charset="-128"/>
              </a:rPr>
              <a:t>Text</a:t>
            </a:r>
          </a:p>
        </p:txBody>
      </p:sp>
      <p:cxnSp>
        <p:nvCxnSpPr>
          <p:cNvPr id="19" name="AutoShape 7"/>
          <p:cNvCxnSpPr>
            <a:cxnSpLocks noChangeShapeType="1"/>
            <a:stCxn id="15" idx="0"/>
            <a:endCxn id="16" idx="1"/>
          </p:cNvCxnSpPr>
          <p:nvPr/>
        </p:nvCxnSpPr>
        <p:spPr bwMode="auto">
          <a:xfrm rot="5400000" flipH="1" flipV="1">
            <a:off x="2027237" y="3152776"/>
            <a:ext cx="498475" cy="952500"/>
          </a:xfrm>
          <a:prstGeom prst="bentConnector2">
            <a:avLst/>
          </a:prstGeom>
          <a:noFill/>
          <a:ln w="12700">
            <a:solidFill>
              <a:schemeClr val="accent1"/>
            </a:solidFill>
            <a:miter lim="800000"/>
            <a:headEnd/>
            <a:tailEnd type="triangle" w="med" len="med"/>
          </a:ln>
        </p:spPr>
      </p:cxnSp>
      <p:cxnSp>
        <p:nvCxnSpPr>
          <p:cNvPr id="20" name="AutoShape 8"/>
          <p:cNvCxnSpPr>
            <a:cxnSpLocks noChangeShapeType="1"/>
            <a:stCxn id="16" idx="0"/>
            <a:endCxn id="17" idx="1"/>
          </p:cNvCxnSpPr>
          <p:nvPr/>
        </p:nvCxnSpPr>
        <p:spPr bwMode="auto">
          <a:xfrm rot="5400000" flipH="1" flipV="1">
            <a:off x="3891756" y="2397919"/>
            <a:ext cx="490538" cy="952500"/>
          </a:xfrm>
          <a:prstGeom prst="bentConnector2">
            <a:avLst/>
          </a:prstGeom>
          <a:noFill/>
          <a:ln w="12700">
            <a:solidFill>
              <a:schemeClr val="accent1"/>
            </a:solidFill>
            <a:miter lim="800000"/>
            <a:headEnd/>
            <a:tailEnd type="triangle" w="med" len="med"/>
          </a:ln>
        </p:spPr>
      </p:cxnSp>
      <p:cxnSp>
        <p:nvCxnSpPr>
          <p:cNvPr id="21" name="AutoShape 9"/>
          <p:cNvCxnSpPr>
            <a:cxnSpLocks noChangeShapeType="1"/>
            <a:stCxn id="17" idx="0"/>
            <a:endCxn id="18" idx="1"/>
          </p:cNvCxnSpPr>
          <p:nvPr/>
        </p:nvCxnSpPr>
        <p:spPr bwMode="auto">
          <a:xfrm rot="5400000" flipH="1" flipV="1">
            <a:off x="5743575" y="1638300"/>
            <a:ext cx="508000" cy="952500"/>
          </a:xfrm>
          <a:prstGeom prst="bentConnector2">
            <a:avLst/>
          </a:prstGeom>
          <a:noFill/>
          <a:ln w="12700">
            <a:solidFill>
              <a:schemeClr val="accent1"/>
            </a:solidFill>
            <a:miter lim="800000"/>
            <a:headEnd/>
            <a:tailEnd type="triangle" w="med" len="med"/>
          </a:ln>
        </p:spPr>
      </p:cxnSp>
      <p:sp>
        <p:nvSpPr>
          <p:cNvPr id="279569" name="Rectangle 10"/>
          <p:cNvSpPr>
            <a:spLocks noChangeArrowheads="1"/>
          </p:cNvSpPr>
          <p:nvPr/>
        </p:nvSpPr>
        <p:spPr bwMode="auto">
          <a:xfrm>
            <a:off x="1582738" y="5546725"/>
            <a:ext cx="433387"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a:solidFill>
                  <a:schemeClr val="tx2"/>
                </a:solidFill>
                <a:ea typeface="ＭＳ Ｐゴシック" charset="-128"/>
              </a:rPr>
              <a:t>Text</a:t>
            </a:r>
          </a:p>
        </p:txBody>
      </p:sp>
      <p:sp>
        <p:nvSpPr>
          <p:cNvPr id="23" name="AutoShape 11"/>
          <p:cNvSpPr>
            <a:spLocks noChangeArrowheads="1"/>
          </p:cNvSpPr>
          <p:nvPr/>
        </p:nvSpPr>
        <p:spPr bwMode="auto">
          <a:xfrm rot="5400000">
            <a:off x="1666876" y="5210175"/>
            <a:ext cx="265112" cy="319087"/>
          </a:xfrm>
          <a:prstGeom prst="rightArrow">
            <a:avLst>
              <a:gd name="adj1" fmla="val 49630"/>
              <a:gd name="adj2" fmla="val 50616"/>
            </a:avLst>
          </a:prstGeom>
          <a:solidFill>
            <a:schemeClr val="accent3"/>
          </a:solidFill>
          <a:ln w="12700">
            <a:noFill/>
            <a:miter lim="800000"/>
            <a:headEnd/>
            <a:tailEnd/>
          </a:ln>
        </p:spPr>
        <p:txBody>
          <a:bodyPr rot="10800000" vert="eaVert" wrap="none" anchor="ctr"/>
          <a:lstStyle/>
          <a:p>
            <a:pPr algn="ctr">
              <a:defRPr/>
            </a:pPr>
            <a:endParaRPr lang="en-GB" sz="1400"/>
          </a:p>
        </p:txBody>
      </p:sp>
      <p:sp>
        <p:nvSpPr>
          <p:cNvPr id="279571" name="Rectangle 12"/>
          <p:cNvSpPr>
            <a:spLocks noChangeArrowheads="1"/>
          </p:cNvSpPr>
          <p:nvPr/>
        </p:nvSpPr>
        <p:spPr bwMode="auto">
          <a:xfrm>
            <a:off x="3328988" y="5546725"/>
            <a:ext cx="663575"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a:solidFill>
                  <a:schemeClr val="tx2"/>
                </a:solidFill>
                <a:ea typeface="ＭＳ Ｐゴシック" charset="-128"/>
              </a:rPr>
              <a:t>Text</a:t>
            </a:r>
          </a:p>
        </p:txBody>
      </p:sp>
      <p:sp>
        <p:nvSpPr>
          <p:cNvPr id="25" name="AutoShape 13"/>
          <p:cNvSpPr>
            <a:spLocks noChangeArrowheads="1"/>
          </p:cNvSpPr>
          <p:nvPr/>
        </p:nvSpPr>
        <p:spPr bwMode="auto">
          <a:xfrm rot="5400000">
            <a:off x="3143250" y="4826000"/>
            <a:ext cx="1035050" cy="317500"/>
          </a:xfrm>
          <a:prstGeom prst="rightArrow">
            <a:avLst>
              <a:gd name="adj1" fmla="val 49630"/>
              <a:gd name="adj2" fmla="val 50616"/>
            </a:avLst>
          </a:prstGeom>
          <a:solidFill>
            <a:schemeClr val="accent3"/>
          </a:solidFill>
          <a:ln w="12700" algn="ctr">
            <a:noFill/>
            <a:miter lim="800000"/>
            <a:headEnd/>
            <a:tailEnd/>
          </a:ln>
        </p:spPr>
        <p:txBody>
          <a:bodyPr rot="10800000" vert="eaVert" wrap="none" anchor="ctr"/>
          <a:lstStyle/>
          <a:p>
            <a:pPr algn="ctr">
              <a:defRPr/>
            </a:pPr>
            <a:endParaRPr lang="en-GB" sz="1400"/>
          </a:p>
        </p:txBody>
      </p:sp>
      <p:sp>
        <p:nvSpPr>
          <p:cNvPr id="279573" name="Rectangle 14"/>
          <p:cNvSpPr>
            <a:spLocks noChangeArrowheads="1"/>
          </p:cNvSpPr>
          <p:nvPr/>
        </p:nvSpPr>
        <p:spPr bwMode="auto">
          <a:xfrm>
            <a:off x="5187950" y="5546725"/>
            <a:ext cx="665163"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a:solidFill>
                  <a:schemeClr val="tx2"/>
                </a:solidFill>
                <a:ea typeface="ＭＳ Ｐゴシック" charset="-128"/>
              </a:rPr>
              <a:t>Text</a:t>
            </a:r>
          </a:p>
        </p:txBody>
      </p:sp>
      <p:sp>
        <p:nvSpPr>
          <p:cNvPr id="27" name="AutoShape 15"/>
          <p:cNvSpPr>
            <a:spLocks noChangeArrowheads="1"/>
          </p:cNvSpPr>
          <p:nvPr/>
        </p:nvSpPr>
        <p:spPr bwMode="auto">
          <a:xfrm rot="5400000">
            <a:off x="4630737" y="4452938"/>
            <a:ext cx="1781175" cy="317500"/>
          </a:xfrm>
          <a:prstGeom prst="rightArrow">
            <a:avLst>
              <a:gd name="adj1" fmla="val 49630"/>
              <a:gd name="adj2" fmla="val 50616"/>
            </a:avLst>
          </a:prstGeom>
          <a:solidFill>
            <a:schemeClr val="accent3"/>
          </a:solidFill>
          <a:ln w="12700" algn="ctr">
            <a:noFill/>
            <a:miter lim="800000"/>
            <a:headEnd/>
            <a:tailEnd/>
          </a:ln>
        </p:spPr>
        <p:txBody>
          <a:bodyPr rot="10800000" vert="eaVert" wrap="none" anchor="ctr"/>
          <a:lstStyle/>
          <a:p>
            <a:pPr algn="ctr">
              <a:defRPr/>
            </a:pPr>
            <a:endParaRPr lang="en-GB" sz="1400"/>
          </a:p>
        </p:txBody>
      </p:sp>
      <p:sp>
        <p:nvSpPr>
          <p:cNvPr id="279575" name="Rectangle 16"/>
          <p:cNvSpPr>
            <a:spLocks noChangeArrowheads="1"/>
          </p:cNvSpPr>
          <p:nvPr/>
        </p:nvSpPr>
        <p:spPr bwMode="auto">
          <a:xfrm>
            <a:off x="7048500" y="5546725"/>
            <a:ext cx="665163"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a:solidFill>
                  <a:schemeClr val="tx2"/>
                </a:solidFill>
                <a:ea typeface="ＭＳ Ｐゴシック" charset="-128"/>
              </a:rPr>
              <a:t>Text</a:t>
            </a:r>
          </a:p>
        </p:txBody>
      </p:sp>
      <p:sp>
        <p:nvSpPr>
          <p:cNvPr id="29" name="AutoShape 17"/>
          <p:cNvSpPr>
            <a:spLocks noChangeArrowheads="1"/>
          </p:cNvSpPr>
          <p:nvPr/>
        </p:nvSpPr>
        <p:spPr bwMode="auto">
          <a:xfrm rot="5400000">
            <a:off x="6114258" y="4075907"/>
            <a:ext cx="2533648" cy="319087"/>
          </a:xfrm>
          <a:prstGeom prst="rightArrow">
            <a:avLst>
              <a:gd name="adj1" fmla="val 49630"/>
              <a:gd name="adj2" fmla="val 50616"/>
            </a:avLst>
          </a:prstGeom>
          <a:solidFill>
            <a:schemeClr val="accent3"/>
          </a:solidFill>
          <a:ln w="12700" algn="ctr">
            <a:noFill/>
            <a:miter lim="800000"/>
            <a:headEnd/>
            <a:tailEnd/>
          </a:ln>
        </p:spPr>
        <p:txBody>
          <a:bodyPr rot="10800000" vert="eaVert" wrap="none" anchor="ctr"/>
          <a:lstStyle/>
          <a:p>
            <a:pPr algn="ctr">
              <a:defRPr/>
            </a:pPr>
            <a:endParaRPr lang="en-GB" sz="1400"/>
          </a:p>
        </p:txBody>
      </p:sp>
      <p:sp>
        <p:nvSpPr>
          <p:cNvPr id="30"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31" name="Text Placeholder 12"/>
          <p:cNvSpPr>
            <a:spLocks/>
          </p:cNvSpPr>
          <p:nvPr>
            <p:custDataLst>
              <p:tags r:id="rId9"/>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7937" name="Title 1"/>
          <p:cNvSpPr>
            <a:spLocks noGrp="1"/>
          </p:cNvSpPr>
          <p:nvPr>
            <p:ph type="title"/>
          </p:nvPr>
        </p:nvSpPr>
        <p:spPr>
          <a:xfrm>
            <a:off x="384175" y="287338"/>
            <a:ext cx="8375650" cy="595312"/>
          </a:xfrm>
          <a:noFill/>
          <a:ln w="9525">
            <a:noFill/>
            <a:miter lim="800000"/>
            <a:headEnd/>
            <a:tailEnd/>
          </a:ln>
        </p:spPr>
        <p:txBody>
          <a:bodyPr vert="horz" wrap="square" lIns="0" tIns="0" rIns="0" bIns="0" numCol="1" anchor="t" anchorCtr="0" compatLnSpc="1">
            <a:prstTxWarp prst="textNoShape">
              <a:avLst/>
            </a:prstTxWarp>
          </a:bodyPr>
          <a:lstStyle/>
          <a:p>
            <a:r>
              <a:rPr lang="en-GB"/>
              <a:t>Steps</a:t>
            </a:r>
            <a:endParaRPr lang="nl-NL"/>
          </a:p>
        </p:txBody>
      </p:sp>
      <p:sp>
        <p:nvSpPr>
          <p:cNvPr id="807939" name="Text Placeholder 31"/>
          <p:cNvSpPr>
            <a:spLocks noGrp="1"/>
          </p:cNvSpPr>
          <p:nvPr>
            <p:ph type="body" sz="quarter" idx="4294967295"/>
          </p:nvPr>
        </p:nvSpPr>
        <p:spPr bwMode="auto">
          <a:xfrm>
            <a:off x="911225" y="4683556"/>
            <a:ext cx="1562100"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807940" name="Text Placeholder 33"/>
          <p:cNvSpPr>
            <a:spLocks noGrp="1"/>
          </p:cNvSpPr>
          <p:nvPr>
            <p:ph type="body" sz="quarter" idx="4294967295"/>
          </p:nvPr>
        </p:nvSpPr>
        <p:spPr bwMode="auto">
          <a:xfrm>
            <a:off x="5281613" y="2761094"/>
            <a:ext cx="1562100"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807941" name="Text Placeholder 34"/>
          <p:cNvSpPr>
            <a:spLocks noGrp="1"/>
          </p:cNvSpPr>
          <p:nvPr>
            <p:ph type="body" sz="quarter" idx="4294967295"/>
          </p:nvPr>
        </p:nvSpPr>
        <p:spPr bwMode="auto">
          <a:xfrm>
            <a:off x="6740525" y="2108631"/>
            <a:ext cx="1562100"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807942" name="Text Placeholder 36"/>
          <p:cNvSpPr>
            <a:spLocks noGrp="1"/>
          </p:cNvSpPr>
          <p:nvPr>
            <p:ph type="body" sz="quarter" idx="4294967295"/>
          </p:nvPr>
        </p:nvSpPr>
        <p:spPr bwMode="auto">
          <a:xfrm>
            <a:off x="2366963" y="4043794"/>
            <a:ext cx="1562100"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16" name="Rectangle 3"/>
          <p:cNvSpPr>
            <a:spLocks noChangeArrowheads="1"/>
          </p:cNvSpPr>
          <p:nvPr/>
        </p:nvSpPr>
        <p:spPr bwMode="blackWhite">
          <a:xfrm>
            <a:off x="911225" y="4162856"/>
            <a:ext cx="1387475" cy="522288"/>
          </a:xfrm>
          <a:prstGeom prst="rect">
            <a:avLst/>
          </a:prstGeom>
          <a:solidFill>
            <a:schemeClr val="accent3"/>
          </a:solidFill>
          <a:ln w="12700" algn="ctr">
            <a:solidFill>
              <a:schemeClr val="bg1"/>
            </a:solidFill>
            <a:miter lim="800000"/>
            <a:headEnd/>
            <a:tailEnd/>
          </a:ln>
        </p:spPr>
        <p:txBody>
          <a:bodyPr lIns="87086" tIns="43544" rIns="87086" bIns="43544" anchor="ctr"/>
          <a:lstStyle/>
          <a:p>
            <a:pPr algn="ctr" defTabSz="865188">
              <a:lnSpc>
                <a:spcPct val="95000"/>
              </a:lnSpc>
              <a:defRPr/>
            </a:pPr>
            <a:r>
              <a:rPr lang="en-GB" sz="1400" b="1">
                <a:solidFill>
                  <a:schemeClr val="bg1"/>
                </a:solidFill>
                <a:ea typeface="ＭＳ Ｐゴシック" pitchFamily="50" charset="-128"/>
              </a:rPr>
              <a:t>Text</a:t>
            </a:r>
          </a:p>
        </p:txBody>
      </p:sp>
      <p:sp>
        <p:nvSpPr>
          <p:cNvPr id="17" name="Rectangle 4"/>
          <p:cNvSpPr>
            <a:spLocks noChangeArrowheads="1"/>
          </p:cNvSpPr>
          <p:nvPr/>
        </p:nvSpPr>
        <p:spPr bwMode="blackWhite">
          <a:xfrm>
            <a:off x="2366963" y="3519919"/>
            <a:ext cx="1390650" cy="522287"/>
          </a:xfrm>
          <a:prstGeom prst="rect">
            <a:avLst/>
          </a:prstGeom>
          <a:solidFill>
            <a:schemeClr val="accent3"/>
          </a:solidFill>
          <a:ln w="12700" algn="ctr">
            <a:solidFill>
              <a:schemeClr val="bg1"/>
            </a:solidFill>
            <a:miter lim="800000"/>
            <a:headEnd/>
            <a:tailEnd/>
          </a:ln>
        </p:spPr>
        <p:txBody>
          <a:bodyPr lIns="87086" tIns="43544" rIns="87086" bIns="43544" anchor="ctr"/>
          <a:lstStyle/>
          <a:p>
            <a:pPr algn="ctr" defTabSz="865188">
              <a:lnSpc>
                <a:spcPct val="95000"/>
              </a:lnSpc>
              <a:defRPr/>
            </a:pPr>
            <a:r>
              <a:rPr lang="en-GB" sz="1400" b="1">
                <a:solidFill>
                  <a:schemeClr val="bg1"/>
                </a:solidFill>
                <a:ea typeface="ＭＳ Ｐゴシック" pitchFamily="50" charset="-128"/>
              </a:rPr>
              <a:t>Text</a:t>
            </a:r>
          </a:p>
        </p:txBody>
      </p:sp>
      <p:sp>
        <p:nvSpPr>
          <p:cNvPr id="19" name="Rectangle 5"/>
          <p:cNvSpPr>
            <a:spLocks noChangeArrowheads="1"/>
          </p:cNvSpPr>
          <p:nvPr/>
        </p:nvSpPr>
        <p:spPr bwMode="blackWhite">
          <a:xfrm>
            <a:off x="3825875" y="2876981"/>
            <a:ext cx="1389063" cy="522288"/>
          </a:xfrm>
          <a:prstGeom prst="rect">
            <a:avLst/>
          </a:prstGeom>
          <a:solidFill>
            <a:schemeClr val="accent3"/>
          </a:solidFill>
          <a:ln w="12700" algn="ctr">
            <a:solidFill>
              <a:schemeClr val="bg1"/>
            </a:solidFill>
            <a:miter lim="800000"/>
            <a:headEnd/>
            <a:tailEnd/>
          </a:ln>
        </p:spPr>
        <p:txBody>
          <a:bodyPr lIns="87086" tIns="43544" rIns="87086" bIns="43544" anchor="ctr"/>
          <a:lstStyle/>
          <a:p>
            <a:pPr algn="ctr" defTabSz="865188">
              <a:lnSpc>
                <a:spcPct val="95000"/>
              </a:lnSpc>
              <a:defRPr/>
            </a:pPr>
            <a:r>
              <a:rPr lang="en-GB" sz="1400" b="1">
                <a:solidFill>
                  <a:schemeClr val="bg1"/>
                </a:solidFill>
                <a:ea typeface="ＭＳ Ｐゴシック" pitchFamily="50" charset="-128"/>
              </a:rPr>
              <a:t>Text</a:t>
            </a:r>
          </a:p>
        </p:txBody>
      </p:sp>
      <p:sp>
        <p:nvSpPr>
          <p:cNvPr id="20" name="Rectangle 6"/>
          <p:cNvSpPr>
            <a:spLocks noChangeArrowheads="1"/>
          </p:cNvSpPr>
          <p:nvPr/>
        </p:nvSpPr>
        <p:spPr bwMode="blackWhite">
          <a:xfrm>
            <a:off x="5281613" y="2234044"/>
            <a:ext cx="1390650" cy="522287"/>
          </a:xfrm>
          <a:prstGeom prst="rect">
            <a:avLst/>
          </a:prstGeom>
          <a:solidFill>
            <a:schemeClr val="accent3"/>
          </a:solidFill>
          <a:ln w="12700" algn="ctr">
            <a:solidFill>
              <a:schemeClr val="bg1"/>
            </a:solidFill>
            <a:miter lim="800000"/>
            <a:headEnd/>
            <a:tailEnd/>
          </a:ln>
        </p:spPr>
        <p:txBody>
          <a:bodyPr lIns="87086" tIns="43544" rIns="87086" bIns="43544" anchor="ctr"/>
          <a:lstStyle/>
          <a:p>
            <a:pPr algn="ctr" defTabSz="865188">
              <a:lnSpc>
                <a:spcPct val="95000"/>
              </a:lnSpc>
              <a:defRPr/>
            </a:pPr>
            <a:r>
              <a:rPr lang="en-GB" sz="1400" b="1">
                <a:solidFill>
                  <a:schemeClr val="bg1"/>
                </a:solidFill>
                <a:ea typeface="ＭＳ Ｐゴシック" pitchFamily="50" charset="-128"/>
              </a:rPr>
              <a:t>Text</a:t>
            </a:r>
          </a:p>
        </p:txBody>
      </p:sp>
      <p:sp>
        <p:nvSpPr>
          <p:cNvPr id="21" name="Rectangle 7"/>
          <p:cNvSpPr>
            <a:spLocks noChangeArrowheads="1"/>
          </p:cNvSpPr>
          <p:nvPr/>
        </p:nvSpPr>
        <p:spPr bwMode="blackWhite">
          <a:xfrm>
            <a:off x="6740525" y="1591106"/>
            <a:ext cx="1392238" cy="522288"/>
          </a:xfrm>
          <a:prstGeom prst="rect">
            <a:avLst/>
          </a:prstGeom>
          <a:solidFill>
            <a:schemeClr val="accent3"/>
          </a:solidFill>
          <a:ln w="12700" algn="ctr">
            <a:solidFill>
              <a:schemeClr val="bg1"/>
            </a:solidFill>
            <a:miter lim="800000"/>
            <a:headEnd/>
            <a:tailEnd/>
          </a:ln>
        </p:spPr>
        <p:txBody>
          <a:bodyPr lIns="87086" tIns="43544" rIns="87086" bIns="43544" anchor="ctr"/>
          <a:lstStyle/>
          <a:p>
            <a:pPr algn="ctr" defTabSz="865188">
              <a:lnSpc>
                <a:spcPct val="95000"/>
              </a:lnSpc>
              <a:defRPr/>
            </a:pPr>
            <a:r>
              <a:rPr lang="en-GB" sz="1400" b="1">
                <a:solidFill>
                  <a:schemeClr val="bg1"/>
                </a:solidFill>
                <a:ea typeface="ＭＳ Ｐゴシック" pitchFamily="50" charset="-128"/>
              </a:rPr>
              <a:t>Text</a:t>
            </a:r>
          </a:p>
        </p:txBody>
      </p:sp>
      <p:cxnSp>
        <p:nvCxnSpPr>
          <p:cNvPr id="22" name="AutoShape 8"/>
          <p:cNvCxnSpPr>
            <a:cxnSpLocks noChangeShapeType="1"/>
            <a:stCxn id="16" idx="0"/>
            <a:endCxn id="17" idx="1"/>
          </p:cNvCxnSpPr>
          <p:nvPr/>
        </p:nvCxnSpPr>
        <p:spPr bwMode="auto">
          <a:xfrm rot="5400000" flipH="1" flipV="1">
            <a:off x="1795463" y="3591356"/>
            <a:ext cx="381000" cy="762000"/>
          </a:xfrm>
          <a:prstGeom prst="bentConnector2">
            <a:avLst/>
          </a:prstGeom>
          <a:noFill/>
          <a:ln w="12700">
            <a:solidFill>
              <a:schemeClr val="accent1"/>
            </a:solidFill>
            <a:miter lim="800000"/>
            <a:headEnd/>
            <a:tailEnd type="triangle" w="med" len="med"/>
          </a:ln>
        </p:spPr>
      </p:cxnSp>
      <p:cxnSp>
        <p:nvCxnSpPr>
          <p:cNvPr id="23" name="AutoShape 9"/>
          <p:cNvCxnSpPr>
            <a:cxnSpLocks noChangeShapeType="1"/>
            <a:stCxn id="17" idx="0"/>
            <a:endCxn id="19" idx="1"/>
          </p:cNvCxnSpPr>
          <p:nvPr/>
        </p:nvCxnSpPr>
        <p:spPr bwMode="auto">
          <a:xfrm rot="5400000" flipH="1" flipV="1">
            <a:off x="3253582" y="2947625"/>
            <a:ext cx="381000" cy="763587"/>
          </a:xfrm>
          <a:prstGeom prst="bentConnector2">
            <a:avLst/>
          </a:prstGeom>
          <a:noFill/>
          <a:ln w="12700">
            <a:solidFill>
              <a:schemeClr val="accent1"/>
            </a:solidFill>
            <a:miter lim="800000"/>
            <a:headEnd/>
            <a:tailEnd type="triangle" w="med" len="med"/>
          </a:ln>
        </p:spPr>
      </p:cxnSp>
      <p:cxnSp>
        <p:nvCxnSpPr>
          <p:cNvPr id="24" name="AutoShape 10"/>
          <p:cNvCxnSpPr>
            <a:cxnSpLocks noChangeShapeType="1"/>
            <a:stCxn id="19" idx="0"/>
            <a:endCxn id="20" idx="1"/>
          </p:cNvCxnSpPr>
          <p:nvPr/>
        </p:nvCxnSpPr>
        <p:spPr bwMode="auto">
          <a:xfrm rot="5400000" flipH="1" flipV="1">
            <a:off x="4710113" y="2305481"/>
            <a:ext cx="381000" cy="762000"/>
          </a:xfrm>
          <a:prstGeom prst="bentConnector2">
            <a:avLst/>
          </a:prstGeom>
          <a:noFill/>
          <a:ln w="12700">
            <a:solidFill>
              <a:schemeClr val="accent1"/>
            </a:solidFill>
            <a:miter lim="800000"/>
            <a:headEnd/>
            <a:tailEnd type="triangle" w="med" len="med"/>
          </a:ln>
        </p:spPr>
      </p:cxnSp>
      <p:cxnSp>
        <p:nvCxnSpPr>
          <p:cNvPr id="25" name="AutoShape 11"/>
          <p:cNvCxnSpPr>
            <a:cxnSpLocks noChangeShapeType="1"/>
            <a:stCxn id="20" idx="0"/>
            <a:endCxn id="21" idx="1"/>
          </p:cNvCxnSpPr>
          <p:nvPr/>
        </p:nvCxnSpPr>
        <p:spPr bwMode="auto">
          <a:xfrm rot="5400000" flipH="1" flipV="1">
            <a:off x="6168232" y="1661750"/>
            <a:ext cx="381000" cy="763587"/>
          </a:xfrm>
          <a:prstGeom prst="bentConnector2">
            <a:avLst/>
          </a:prstGeom>
          <a:noFill/>
          <a:ln w="12700">
            <a:solidFill>
              <a:schemeClr val="accent1"/>
            </a:solidFill>
            <a:miter lim="800000"/>
            <a:headEnd/>
            <a:tailEnd type="triangle" w="med" len="med"/>
          </a:ln>
        </p:spPr>
      </p:cxnSp>
      <p:sp>
        <p:nvSpPr>
          <p:cNvPr id="807952" name="Rectangle 12"/>
          <p:cNvSpPr>
            <a:spLocks noChangeArrowheads="1"/>
          </p:cNvSpPr>
          <p:nvPr/>
        </p:nvSpPr>
        <p:spPr bwMode="auto">
          <a:xfrm>
            <a:off x="1389063" y="5613831"/>
            <a:ext cx="431800"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dirty="0">
                <a:solidFill>
                  <a:schemeClr val="tx2"/>
                </a:solidFill>
                <a:ea typeface="ＭＳ Ｐゴシック" charset="-128"/>
              </a:rPr>
              <a:t>Text</a:t>
            </a:r>
          </a:p>
        </p:txBody>
      </p:sp>
      <p:sp>
        <p:nvSpPr>
          <p:cNvPr id="36" name="AutoShape 13"/>
          <p:cNvSpPr>
            <a:spLocks noChangeArrowheads="1"/>
          </p:cNvSpPr>
          <p:nvPr/>
        </p:nvSpPr>
        <p:spPr bwMode="auto">
          <a:xfrm rot="5400000">
            <a:off x="1473201" y="5278868"/>
            <a:ext cx="265112" cy="315913"/>
          </a:xfrm>
          <a:prstGeom prst="rightArrow">
            <a:avLst>
              <a:gd name="adj1" fmla="val 49630"/>
              <a:gd name="adj2" fmla="val 50616"/>
            </a:avLst>
          </a:prstGeom>
          <a:solidFill>
            <a:schemeClr val="accent3"/>
          </a:solidFill>
          <a:ln w="12700" algn="ctr">
            <a:noFill/>
            <a:miter lim="800000"/>
            <a:headEnd/>
            <a:tailEnd/>
          </a:ln>
        </p:spPr>
        <p:txBody>
          <a:bodyPr rot="10800000" vert="eaVert" wrap="none" anchor="ctr"/>
          <a:lstStyle/>
          <a:p>
            <a:pPr algn="ctr">
              <a:defRPr/>
            </a:pPr>
            <a:endParaRPr lang="en-GB" sz="1400">
              <a:solidFill>
                <a:schemeClr val="tx2"/>
              </a:solidFill>
            </a:endParaRPr>
          </a:p>
        </p:txBody>
      </p:sp>
      <p:sp>
        <p:nvSpPr>
          <p:cNvPr id="807954" name="Rectangle 14"/>
          <p:cNvSpPr>
            <a:spLocks noChangeArrowheads="1"/>
          </p:cNvSpPr>
          <p:nvPr/>
        </p:nvSpPr>
        <p:spPr bwMode="auto">
          <a:xfrm>
            <a:off x="2846388" y="5613831"/>
            <a:ext cx="431800"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a:solidFill>
                  <a:schemeClr val="tx2"/>
                </a:solidFill>
                <a:ea typeface="ＭＳ Ｐゴシック" charset="-128"/>
              </a:rPr>
              <a:t>Text</a:t>
            </a:r>
          </a:p>
        </p:txBody>
      </p:sp>
      <p:sp>
        <p:nvSpPr>
          <p:cNvPr id="40" name="AutoShape 15"/>
          <p:cNvSpPr>
            <a:spLocks noChangeArrowheads="1"/>
          </p:cNvSpPr>
          <p:nvPr/>
        </p:nvSpPr>
        <p:spPr bwMode="auto">
          <a:xfrm rot="5400000">
            <a:off x="2929732" y="5278075"/>
            <a:ext cx="265112" cy="317500"/>
          </a:xfrm>
          <a:prstGeom prst="rightArrow">
            <a:avLst>
              <a:gd name="adj1" fmla="val 49630"/>
              <a:gd name="adj2" fmla="val 50616"/>
            </a:avLst>
          </a:prstGeom>
          <a:solidFill>
            <a:schemeClr val="accent3"/>
          </a:solidFill>
          <a:ln w="12700" algn="ctr">
            <a:noFill/>
            <a:miter lim="800000"/>
            <a:headEnd/>
            <a:tailEnd/>
          </a:ln>
        </p:spPr>
        <p:txBody>
          <a:bodyPr rot="10800000" vert="eaVert" wrap="none" anchor="ctr"/>
          <a:lstStyle/>
          <a:p>
            <a:pPr algn="ctr">
              <a:defRPr/>
            </a:pPr>
            <a:endParaRPr lang="en-GB" sz="1400">
              <a:solidFill>
                <a:schemeClr val="tx2"/>
              </a:solidFill>
            </a:endParaRPr>
          </a:p>
        </p:txBody>
      </p:sp>
      <p:sp>
        <p:nvSpPr>
          <p:cNvPr id="807956" name="Rectangle 16"/>
          <p:cNvSpPr>
            <a:spLocks noChangeArrowheads="1"/>
          </p:cNvSpPr>
          <p:nvPr/>
        </p:nvSpPr>
        <p:spPr bwMode="auto">
          <a:xfrm>
            <a:off x="4303713" y="5613831"/>
            <a:ext cx="431800"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dirty="0">
                <a:solidFill>
                  <a:schemeClr val="tx2"/>
                </a:solidFill>
                <a:ea typeface="ＭＳ Ｐゴシック" charset="-128"/>
              </a:rPr>
              <a:t>Text</a:t>
            </a:r>
          </a:p>
        </p:txBody>
      </p:sp>
      <p:sp>
        <p:nvSpPr>
          <p:cNvPr id="42" name="AutoShape 17"/>
          <p:cNvSpPr>
            <a:spLocks noChangeArrowheads="1"/>
          </p:cNvSpPr>
          <p:nvPr/>
        </p:nvSpPr>
        <p:spPr bwMode="auto">
          <a:xfrm rot="5400000">
            <a:off x="4387851" y="5278868"/>
            <a:ext cx="265112" cy="315913"/>
          </a:xfrm>
          <a:prstGeom prst="rightArrow">
            <a:avLst>
              <a:gd name="adj1" fmla="val 49630"/>
              <a:gd name="adj2" fmla="val 50616"/>
            </a:avLst>
          </a:prstGeom>
          <a:solidFill>
            <a:schemeClr val="accent3"/>
          </a:solidFill>
          <a:ln w="12700" algn="ctr">
            <a:noFill/>
            <a:miter lim="800000"/>
            <a:headEnd/>
            <a:tailEnd/>
          </a:ln>
        </p:spPr>
        <p:txBody>
          <a:bodyPr rot="10800000" vert="eaVert" wrap="none" anchor="ctr"/>
          <a:lstStyle/>
          <a:p>
            <a:pPr algn="ctr">
              <a:defRPr/>
            </a:pPr>
            <a:endParaRPr lang="en-GB" sz="1400">
              <a:solidFill>
                <a:schemeClr val="tx2"/>
              </a:solidFill>
            </a:endParaRPr>
          </a:p>
        </p:txBody>
      </p:sp>
      <p:sp>
        <p:nvSpPr>
          <p:cNvPr id="807958" name="Rectangle 18"/>
          <p:cNvSpPr>
            <a:spLocks noChangeArrowheads="1"/>
          </p:cNvSpPr>
          <p:nvPr/>
        </p:nvSpPr>
        <p:spPr bwMode="auto">
          <a:xfrm>
            <a:off x="5761038" y="5613831"/>
            <a:ext cx="433387"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dirty="0">
                <a:solidFill>
                  <a:schemeClr val="tx2"/>
                </a:solidFill>
                <a:ea typeface="ＭＳ Ｐゴシック" charset="-128"/>
              </a:rPr>
              <a:t>Text</a:t>
            </a:r>
          </a:p>
        </p:txBody>
      </p:sp>
      <p:sp>
        <p:nvSpPr>
          <p:cNvPr id="44" name="AutoShape 19"/>
          <p:cNvSpPr>
            <a:spLocks noChangeArrowheads="1"/>
          </p:cNvSpPr>
          <p:nvPr/>
        </p:nvSpPr>
        <p:spPr bwMode="auto">
          <a:xfrm rot="5400000">
            <a:off x="5845176" y="5278868"/>
            <a:ext cx="265112" cy="315913"/>
          </a:xfrm>
          <a:prstGeom prst="rightArrow">
            <a:avLst>
              <a:gd name="adj1" fmla="val 49630"/>
              <a:gd name="adj2" fmla="val 50616"/>
            </a:avLst>
          </a:prstGeom>
          <a:solidFill>
            <a:schemeClr val="accent3"/>
          </a:solidFill>
          <a:ln w="12700" algn="ctr">
            <a:noFill/>
            <a:miter lim="800000"/>
            <a:headEnd/>
            <a:tailEnd/>
          </a:ln>
        </p:spPr>
        <p:txBody>
          <a:bodyPr rot="10800000" vert="eaVert" wrap="none" anchor="ctr"/>
          <a:lstStyle/>
          <a:p>
            <a:pPr algn="ctr">
              <a:defRPr/>
            </a:pPr>
            <a:endParaRPr lang="en-GB" sz="1400">
              <a:solidFill>
                <a:schemeClr val="tx2"/>
              </a:solidFill>
            </a:endParaRPr>
          </a:p>
        </p:txBody>
      </p:sp>
      <p:sp>
        <p:nvSpPr>
          <p:cNvPr id="807960" name="Rectangle 20"/>
          <p:cNvSpPr>
            <a:spLocks noChangeArrowheads="1"/>
          </p:cNvSpPr>
          <p:nvPr/>
        </p:nvSpPr>
        <p:spPr bwMode="auto">
          <a:xfrm>
            <a:off x="7221538" y="5613831"/>
            <a:ext cx="431800"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dirty="0">
                <a:solidFill>
                  <a:schemeClr val="tx2"/>
                </a:solidFill>
                <a:ea typeface="ＭＳ Ｐゴシック" charset="-128"/>
              </a:rPr>
              <a:t>Text</a:t>
            </a:r>
          </a:p>
        </p:txBody>
      </p:sp>
      <p:sp>
        <p:nvSpPr>
          <p:cNvPr id="46" name="AutoShape 21"/>
          <p:cNvSpPr>
            <a:spLocks noChangeArrowheads="1"/>
          </p:cNvSpPr>
          <p:nvPr/>
        </p:nvSpPr>
        <p:spPr bwMode="auto">
          <a:xfrm rot="5400000">
            <a:off x="7304088" y="5278869"/>
            <a:ext cx="265112" cy="315912"/>
          </a:xfrm>
          <a:prstGeom prst="rightArrow">
            <a:avLst>
              <a:gd name="adj1" fmla="val 49630"/>
              <a:gd name="adj2" fmla="val 50616"/>
            </a:avLst>
          </a:prstGeom>
          <a:solidFill>
            <a:schemeClr val="accent3"/>
          </a:solidFill>
          <a:ln w="12700" algn="ctr">
            <a:noFill/>
            <a:miter lim="800000"/>
            <a:headEnd/>
            <a:tailEnd/>
          </a:ln>
        </p:spPr>
        <p:txBody>
          <a:bodyPr rot="10800000" vert="eaVert" wrap="none" anchor="ctr"/>
          <a:lstStyle/>
          <a:p>
            <a:pPr algn="ctr">
              <a:defRPr/>
            </a:pPr>
            <a:endParaRPr lang="en-GB" sz="1400">
              <a:solidFill>
                <a:schemeClr val="tx2"/>
              </a:solidFill>
            </a:endParaRPr>
          </a:p>
        </p:txBody>
      </p:sp>
      <p:sp>
        <p:nvSpPr>
          <p:cNvPr id="807962" name="Text Placeholder 32"/>
          <p:cNvSpPr>
            <a:spLocks noGrp="1"/>
          </p:cNvSpPr>
          <p:nvPr>
            <p:ph type="body" sz="quarter" idx="4294967295"/>
          </p:nvPr>
        </p:nvSpPr>
        <p:spPr bwMode="auto">
          <a:xfrm>
            <a:off x="3825875" y="3397681"/>
            <a:ext cx="1562100"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30"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31"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61" name="Title 1"/>
          <p:cNvSpPr>
            <a:spLocks noGrp="1"/>
          </p:cNvSpPr>
          <p:nvPr>
            <p:ph type="title"/>
          </p:nvPr>
        </p:nvSpPr>
        <p:spPr>
          <a:xfrm>
            <a:off x="384175" y="287338"/>
            <a:ext cx="8375650" cy="595312"/>
          </a:xfrm>
          <a:noFill/>
          <a:ln w="9525">
            <a:noFill/>
            <a:miter lim="800000"/>
            <a:headEnd/>
            <a:tailEnd/>
          </a:ln>
        </p:spPr>
        <p:txBody>
          <a:bodyPr vert="horz" wrap="square" lIns="0" tIns="0" rIns="0" bIns="0" numCol="1" anchor="t" anchorCtr="0" compatLnSpc="1">
            <a:prstTxWarp prst="textNoShape">
              <a:avLst/>
            </a:prstTxWarp>
          </a:bodyPr>
          <a:lstStyle/>
          <a:p>
            <a:r>
              <a:rPr lang="en-GB"/>
              <a:t>Steps</a:t>
            </a:r>
            <a:endParaRPr lang="nl-NL"/>
          </a:p>
        </p:txBody>
      </p:sp>
      <p:sp>
        <p:nvSpPr>
          <p:cNvPr id="808963" name="Text Placeholder 31"/>
          <p:cNvSpPr>
            <a:spLocks noGrp="1"/>
          </p:cNvSpPr>
          <p:nvPr>
            <p:ph type="body" sz="quarter" idx="4294967295"/>
          </p:nvPr>
        </p:nvSpPr>
        <p:spPr bwMode="auto">
          <a:xfrm>
            <a:off x="1127125" y="4713426"/>
            <a:ext cx="1130300"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808964" name="Text Placeholder 33"/>
          <p:cNvSpPr>
            <a:spLocks noGrp="1"/>
          </p:cNvSpPr>
          <p:nvPr>
            <p:ph type="body" sz="quarter" idx="4294967295"/>
          </p:nvPr>
        </p:nvSpPr>
        <p:spPr bwMode="auto">
          <a:xfrm>
            <a:off x="4727575" y="3165613"/>
            <a:ext cx="1101725"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808965" name="Text Placeholder 34"/>
          <p:cNvSpPr>
            <a:spLocks noGrp="1"/>
          </p:cNvSpPr>
          <p:nvPr>
            <p:ph type="body" sz="quarter" idx="4294967295"/>
          </p:nvPr>
        </p:nvSpPr>
        <p:spPr bwMode="auto">
          <a:xfrm>
            <a:off x="5926138" y="2671901"/>
            <a:ext cx="1179512"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808966" name="Text Placeholder 36"/>
          <p:cNvSpPr>
            <a:spLocks noGrp="1"/>
          </p:cNvSpPr>
          <p:nvPr>
            <p:ph type="body" sz="quarter" idx="4294967295"/>
          </p:nvPr>
        </p:nvSpPr>
        <p:spPr bwMode="auto">
          <a:xfrm>
            <a:off x="2327275" y="4192726"/>
            <a:ext cx="1206500"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808967" name="Text Placeholder 32"/>
          <p:cNvSpPr>
            <a:spLocks noGrp="1"/>
          </p:cNvSpPr>
          <p:nvPr>
            <p:ph type="body" sz="quarter" idx="4294967295"/>
          </p:nvPr>
        </p:nvSpPr>
        <p:spPr bwMode="auto">
          <a:xfrm>
            <a:off x="3527425" y="3689488"/>
            <a:ext cx="1139825"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76" name="Rectangle 3"/>
          <p:cNvSpPr>
            <a:spLocks noChangeArrowheads="1"/>
          </p:cNvSpPr>
          <p:nvPr/>
        </p:nvSpPr>
        <p:spPr bwMode="blackWhite">
          <a:xfrm>
            <a:off x="1084263" y="4114938"/>
            <a:ext cx="1120775" cy="542925"/>
          </a:xfrm>
          <a:prstGeom prst="rect">
            <a:avLst/>
          </a:prstGeom>
          <a:solidFill>
            <a:schemeClr val="accent3"/>
          </a:solidFill>
          <a:ln w="12700" algn="ctr">
            <a:solidFill>
              <a:schemeClr val="bg1"/>
            </a:solidFill>
            <a:miter lim="800000"/>
            <a:headEnd/>
            <a:tailEnd/>
          </a:ln>
        </p:spPr>
        <p:txBody>
          <a:bodyPr lIns="87086" tIns="43544" rIns="87086" bIns="43544" anchor="ctr"/>
          <a:lstStyle/>
          <a:p>
            <a:pPr algn="ctr" defTabSz="865188">
              <a:lnSpc>
                <a:spcPct val="95000"/>
              </a:lnSpc>
              <a:defRPr/>
            </a:pPr>
            <a:r>
              <a:rPr lang="en-GB" sz="1400" b="1">
                <a:solidFill>
                  <a:schemeClr val="bg1"/>
                </a:solidFill>
                <a:ea typeface="ＭＳ Ｐゴシック" pitchFamily="50" charset="-128"/>
              </a:rPr>
              <a:t>Text</a:t>
            </a:r>
          </a:p>
        </p:txBody>
      </p:sp>
      <p:cxnSp>
        <p:nvCxnSpPr>
          <p:cNvPr id="808969" name="AutoShape 4"/>
          <p:cNvCxnSpPr>
            <a:cxnSpLocks noChangeShapeType="1"/>
            <a:stCxn id="76" idx="0"/>
          </p:cNvCxnSpPr>
          <p:nvPr/>
        </p:nvCxnSpPr>
        <p:spPr bwMode="auto">
          <a:xfrm rot="16200000" flipV="1">
            <a:off x="1066800" y="3537088"/>
            <a:ext cx="454025" cy="701675"/>
          </a:xfrm>
          <a:prstGeom prst="bentConnector2">
            <a:avLst/>
          </a:prstGeom>
          <a:noFill/>
          <a:ln w="9525">
            <a:noFill/>
            <a:miter lim="800000"/>
            <a:headEnd/>
            <a:tailEnd type="triangle" w="med" len="med"/>
          </a:ln>
        </p:spPr>
      </p:cxnSp>
      <p:sp>
        <p:nvSpPr>
          <p:cNvPr id="808970" name="Rectangle 5"/>
          <p:cNvSpPr>
            <a:spLocks noChangeArrowheads="1"/>
          </p:cNvSpPr>
          <p:nvPr/>
        </p:nvSpPr>
        <p:spPr bwMode="auto">
          <a:xfrm>
            <a:off x="1346200" y="5686999"/>
            <a:ext cx="598488" cy="204787"/>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a:solidFill>
                  <a:schemeClr val="tx2"/>
                </a:solidFill>
                <a:ea typeface="ＭＳ Ｐゴシック" charset="-128"/>
              </a:rPr>
              <a:t>Text</a:t>
            </a:r>
          </a:p>
        </p:txBody>
      </p:sp>
      <p:sp>
        <p:nvSpPr>
          <p:cNvPr id="79" name="AutoShape 6"/>
          <p:cNvSpPr>
            <a:spLocks noChangeArrowheads="1"/>
          </p:cNvSpPr>
          <p:nvPr/>
        </p:nvSpPr>
        <p:spPr bwMode="auto">
          <a:xfrm rot="5400000">
            <a:off x="1512093" y="5351243"/>
            <a:ext cx="265113" cy="317500"/>
          </a:xfrm>
          <a:prstGeom prst="rightArrow">
            <a:avLst>
              <a:gd name="adj1" fmla="val 49630"/>
              <a:gd name="adj2" fmla="val 50616"/>
            </a:avLst>
          </a:prstGeom>
          <a:solidFill>
            <a:schemeClr val="accent3"/>
          </a:solidFill>
          <a:ln w="12700" algn="ctr">
            <a:noFill/>
            <a:miter lim="800000"/>
            <a:headEnd/>
            <a:tailEnd/>
          </a:ln>
        </p:spPr>
        <p:txBody>
          <a:bodyPr rot="10800000" vert="eaVert" wrap="none" anchor="ctr"/>
          <a:lstStyle/>
          <a:p>
            <a:pPr algn="ctr">
              <a:defRPr/>
            </a:pPr>
            <a:endParaRPr lang="en-GB">
              <a:solidFill>
                <a:schemeClr val="bg1"/>
              </a:solidFill>
            </a:endParaRPr>
          </a:p>
        </p:txBody>
      </p:sp>
      <p:sp>
        <p:nvSpPr>
          <p:cNvPr id="808972" name="Rectangle 7"/>
          <p:cNvSpPr>
            <a:spLocks noChangeArrowheads="1"/>
          </p:cNvSpPr>
          <p:nvPr/>
        </p:nvSpPr>
        <p:spPr bwMode="auto">
          <a:xfrm>
            <a:off x="2541588" y="5685411"/>
            <a:ext cx="598487"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a:solidFill>
                  <a:schemeClr val="tx2"/>
                </a:solidFill>
                <a:ea typeface="ＭＳ Ｐゴシック" charset="-128"/>
              </a:rPr>
              <a:t>Text</a:t>
            </a:r>
          </a:p>
        </p:txBody>
      </p:sp>
      <p:sp>
        <p:nvSpPr>
          <p:cNvPr id="81" name="AutoShape 8"/>
          <p:cNvSpPr>
            <a:spLocks noChangeArrowheads="1"/>
          </p:cNvSpPr>
          <p:nvPr/>
        </p:nvSpPr>
        <p:spPr bwMode="auto">
          <a:xfrm rot="5400000">
            <a:off x="2708276" y="5350448"/>
            <a:ext cx="265112" cy="315913"/>
          </a:xfrm>
          <a:prstGeom prst="rightArrow">
            <a:avLst>
              <a:gd name="adj1" fmla="val 49630"/>
              <a:gd name="adj2" fmla="val 50616"/>
            </a:avLst>
          </a:prstGeom>
          <a:solidFill>
            <a:schemeClr val="accent3"/>
          </a:solidFill>
          <a:ln w="12700" algn="ctr">
            <a:noFill/>
            <a:miter lim="800000"/>
            <a:headEnd/>
            <a:tailEnd/>
          </a:ln>
        </p:spPr>
        <p:txBody>
          <a:bodyPr rot="10800000" vert="eaVert" wrap="none" anchor="ctr"/>
          <a:lstStyle/>
          <a:p>
            <a:pPr algn="ctr">
              <a:defRPr/>
            </a:pPr>
            <a:endParaRPr lang="en-GB">
              <a:solidFill>
                <a:schemeClr val="bg1"/>
              </a:solidFill>
            </a:endParaRPr>
          </a:p>
        </p:txBody>
      </p:sp>
      <p:sp>
        <p:nvSpPr>
          <p:cNvPr id="808974" name="Rectangle 9"/>
          <p:cNvSpPr>
            <a:spLocks noChangeArrowheads="1"/>
          </p:cNvSpPr>
          <p:nvPr/>
        </p:nvSpPr>
        <p:spPr bwMode="auto">
          <a:xfrm>
            <a:off x="3736975" y="5685411"/>
            <a:ext cx="598488"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a:solidFill>
                  <a:schemeClr val="tx2"/>
                </a:solidFill>
                <a:ea typeface="ＭＳ Ｐゴシック" charset="-128"/>
              </a:rPr>
              <a:t>Text</a:t>
            </a:r>
          </a:p>
        </p:txBody>
      </p:sp>
      <p:sp>
        <p:nvSpPr>
          <p:cNvPr id="83" name="AutoShape 10"/>
          <p:cNvSpPr>
            <a:spLocks noChangeArrowheads="1"/>
          </p:cNvSpPr>
          <p:nvPr/>
        </p:nvSpPr>
        <p:spPr bwMode="auto">
          <a:xfrm rot="5400000">
            <a:off x="3903663" y="5350449"/>
            <a:ext cx="265112" cy="315912"/>
          </a:xfrm>
          <a:prstGeom prst="rightArrow">
            <a:avLst>
              <a:gd name="adj1" fmla="val 49630"/>
              <a:gd name="adj2" fmla="val 50616"/>
            </a:avLst>
          </a:prstGeom>
          <a:solidFill>
            <a:schemeClr val="accent3"/>
          </a:solidFill>
          <a:ln w="12700" algn="ctr">
            <a:noFill/>
            <a:miter lim="800000"/>
            <a:headEnd/>
            <a:tailEnd/>
          </a:ln>
        </p:spPr>
        <p:txBody>
          <a:bodyPr rot="10800000" vert="eaVert" wrap="none" anchor="ctr"/>
          <a:lstStyle/>
          <a:p>
            <a:pPr algn="ctr">
              <a:defRPr/>
            </a:pPr>
            <a:endParaRPr lang="en-GB">
              <a:solidFill>
                <a:schemeClr val="bg1"/>
              </a:solidFill>
            </a:endParaRPr>
          </a:p>
        </p:txBody>
      </p:sp>
      <p:sp>
        <p:nvSpPr>
          <p:cNvPr id="808976" name="Rectangle 11"/>
          <p:cNvSpPr>
            <a:spLocks noChangeArrowheads="1"/>
          </p:cNvSpPr>
          <p:nvPr/>
        </p:nvSpPr>
        <p:spPr bwMode="auto">
          <a:xfrm>
            <a:off x="4932363" y="5685411"/>
            <a:ext cx="598487"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a:solidFill>
                  <a:schemeClr val="tx2"/>
                </a:solidFill>
                <a:ea typeface="ＭＳ Ｐゴシック" charset="-128"/>
              </a:rPr>
              <a:t>Text</a:t>
            </a:r>
          </a:p>
        </p:txBody>
      </p:sp>
      <p:sp>
        <p:nvSpPr>
          <p:cNvPr id="85" name="AutoShape 12"/>
          <p:cNvSpPr>
            <a:spLocks noChangeArrowheads="1"/>
          </p:cNvSpPr>
          <p:nvPr/>
        </p:nvSpPr>
        <p:spPr bwMode="auto">
          <a:xfrm rot="5400000">
            <a:off x="5099844" y="5349655"/>
            <a:ext cx="265112" cy="317500"/>
          </a:xfrm>
          <a:prstGeom prst="rightArrow">
            <a:avLst>
              <a:gd name="adj1" fmla="val 49630"/>
              <a:gd name="adj2" fmla="val 50616"/>
            </a:avLst>
          </a:prstGeom>
          <a:solidFill>
            <a:schemeClr val="accent3"/>
          </a:solidFill>
          <a:ln w="12700" algn="ctr">
            <a:noFill/>
            <a:miter lim="800000"/>
            <a:headEnd/>
            <a:tailEnd/>
          </a:ln>
        </p:spPr>
        <p:txBody>
          <a:bodyPr rot="10800000" vert="eaVert" wrap="none" anchor="ctr"/>
          <a:lstStyle/>
          <a:p>
            <a:pPr algn="ctr">
              <a:defRPr/>
            </a:pPr>
            <a:endParaRPr lang="en-GB">
              <a:solidFill>
                <a:schemeClr val="bg1"/>
              </a:solidFill>
            </a:endParaRPr>
          </a:p>
        </p:txBody>
      </p:sp>
      <p:sp>
        <p:nvSpPr>
          <p:cNvPr id="808978" name="Rectangle 13"/>
          <p:cNvSpPr>
            <a:spLocks noChangeArrowheads="1"/>
          </p:cNvSpPr>
          <p:nvPr/>
        </p:nvSpPr>
        <p:spPr bwMode="auto">
          <a:xfrm>
            <a:off x="6129338" y="5685411"/>
            <a:ext cx="596900"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a:solidFill>
                  <a:schemeClr val="tx2"/>
                </a:solidFill>
                <a:ea typeface="ＭＳ Ｐゴシック" charset="-128"/>
              </a:rPr>
              <a:t>Text</a:t>
            </a:r>
          </a:p>
        </p:txBody>
      </p:sp>
      <p:sp>
        <p:nvSpPr>
          <p:cNvPr id="87" name="AutoShape 14"/>
          <p:cNvSpPr>
            <a:spLocks noChangeArrowheads="1"/>
          </p:cNvSpPr>
          <p:nvPr/>
        </p:nvSpPr>
        <p:spPr bwMode="auto">
          <a:xfrm rot="5400000">
            <a:off x="6295232" y="5349655"/>
            <a:ext cx="265112" cy="317500"/>
          </a:xfrm>
          <a:prstGeom prst="rightArrow">
            <a:avLst>
              <a:gd name="adj1" fmla="val 49630"/>
              <a:gd name="adj2" fmla="val 50616"/>
            </a:avLst>
          </a:prstGeom>
          <a:solidFill>
            <a:schemeClr val="accent3"/>
          </a:solidFill>
          <a:ln w="12700" algn="ctr">
            <a:noFill/>
            <a:miter lim="800000"/>
            <a:headEnd/>
            <a:tailEnd/>
          </a:ln>
        </p:spPr>
        <p:txBody>
          <a:bodyPr rot="10800000" vert="eaVert" wrap="none" anchor="ctr"/>
          <a:lstStyle/>
          <a:p>
            <a:pPr algn="ctr">
              <a:defRPr/>
            </a:pPr>
            <a:endParaRPr lang="en-GB">
              <a:solidFill>
                <a:schemeClr val="bg1"/>
              </a:solidFill>
            </a:endParaRPr>
          </a:p>
        </p:txBody>
      </p:sp>
      <p:sp>
        <p:nvSpPr>
          <p:cNvPr id="808980" name="Rectangle 15"/>
          <p:cNvSpPr>
            <a:spLocks noChangeArrowheads="1"/>
          </p:cNvSpPr>
          <p:nvPr/>
        </p:nvSpPr>
        <p:spPr bwMode="auto">
          <a:xfrm>
            <a:off x="7324725" y="5685411"/>
            <a:ext cx="598488" cy="204788"/>
          </a:xfrm>
          <a:prstGeom prst="rect">
            <a:avLst/>
          </a:prstGeom>
          <a:noFill/>
          <a:ln w="12700" algn="ctr">
            <a:noFill/>
            <a:miter lim="800000"/>
            <a:headEnd/>
            <a:tailEnd/>
          </a:ln>
        </p:spPr>
        <p:txBody>
          <a:bodyPr lIns="0" tIns="0" rIns="0" bIns="0">
            <a:spAutoFit/>
          </a:bodyPr>
          <a:lstStyle/>
          <a:p>
            <a:pPr algn="ctr" defTabSz="762000">
              <a:lnSpc>
                <a:spcPct val="95000"/>
              </a:lnSpc>
            </a:pPr>
            <a:r>
              <a:rPr lang="en-GB" sz="1400">
                <a:solidFill>
                  <a:schemeClr val="tx2"/>
                </a:solidFill>
                <a:ea typeface="ＭＳ Ｐゴシック" charset="-128"/>
              </a:rPr>
              <a:t>Text</a:t>
            </a:r>
          </a:p>
        </p:txBody>
      </p:sp>
      <p:sp>
        <p:nvSpPr>
          <p:cNvPr id="89" name="AutoShape 16"/>
          <p:cNvSpPr>
            <a:spLocks noChangeArrowheads="1"/>
          </p:cNvSpPr>
          <p:nvPr/>
        </p:nvSpPr>
        <p:spPr bwMode="auto">
          <a:xfrm rot="5400000">
            <a:off x="7492207" y="5351242"/>
            <a:ext cx="265112" cy="314325"/>
          </a:xfrm>
          <a:prstGeom prst="rightArrow">
            <a:avLst>
              <a:gd name="adj1" fmla="val 49630"/>
              <a:gd name="adj2" fmla="val 50616"/>
            </a:avLst>
          </a:prstGeom>
          <a:solidFill>
            <a:schemeClr val="accent3"/>
          </a:solidFill>
          <a:ln w="12700" algn="ctr">
            <a:noFill/>
            <a:miter lim="800000"/>
            <a:headEnd/>
            <a:tailEnd/>
          </a:ln>
        </p:spPr>
        <p:txBody>
          <a:bodyPr rot="10800000" vert="eaVert" wrap="none" anchor="ctr"/>
          <a:lstStyle/>
          <a:p>
            <a:pPr algn="ctr">
              <a:defRPr/>
            </a:pPr>
            <a:endParaRPr lang="en-GB">
              <a:solidFill>
                <a:schemeClr val="bg1"/>
              </a:solidFill>
            </a:endParaRPr>
          </a:p>
        </p:txBody>
      </p:sp>
      <p:sp>
        <p:nvSpPr>
          <p:cNvPr id="90" name="Rectangle 17"/>
          <p:cNvSpPr>
            <a:spLocks noChangeArrowheads="1"/>
          </p:cNvSpPr>
          <p:nvPr/>
        </p:nvSpPr>
        <p:spPr bwMode="blackWhite">
          <a:xfrm>
            <a:off x="2279650" y="3610113"/>
            <a:ext cx="1120775" cy="542925"/>
          </a:xfrm>
          <a:prstGeom prst="rect">
            <a:avLst/>
          </a:prstGeom>
          <a:solidFill>
            <a:schemeClr val="accent3"/>
          </a:solidFill>
          <a:ln w="12700" algn="ctr">
            <a:solidFill>
              <a:schemeClr val="bg1"/>
            </a:solidFill>
            <a:miter lim="800000"/>
            <a:headEnd/>
            <a:tailEnd/>
          </a:ln>
        </p:spPr>
        <p:txBody>
          <a:bodyPr lIns="87086" tIns="43544" rIns="87086" bIns="43544" anchor="ctr"/>
          <a:lstStyle/>
          <a:p>
            <a:pPr algn="ctr" defTabSz="865188">
              <a:lnSpc>
                <a:spcPct val="95000"/>
              </a:lnSpc>
              <a:defRPr/>
            </a:pPr>
            <a:r>
              <a:rPr lang="en-GB" sz="1400" b="1">
                <a:solidFill>
                  <a:schemeClr val="bg1"/>
                </a:solidFill>
                <a:ea typeface="ＭＳ Ｐゴシック" pitchFamily="50" charset="-128"/>
              </a:rPr>
              <a:t>Text</a:t>
            </a:r>
          </a:p>
        </p:txBody>
      </p:sp>
      <p:sp>
        <p:nvSpPr>
          <p:cNvPr id="91" name="Rectangle 18"/>
          <p:cNvSpPr>
            <a:spLocks noChangeArrowheads="1"/>
          </p:cNvSpPr>
          <p:nvPr/>
        </p:nvSpPr>
        <p:spPr bwMode="blackWhite">
          <a:xfrm>
            <a:off x="3476625" y="3105288"/>
            <a:ext cx="1120775" cy="542925"/>
          </a:xfrm>
          <a:prstGeom prst="rect">
            <a:avLst/>
          </a:prstGeom>
          <a:solidFill>
            <a:schemeClr val="accent3"/>
          </a:solidFill>
          <a:ln w="12700" algn="ctr">
            <a:solidFill>
              <a:schemeClr val="bg1"/>
            </a:solidFill>
            <a:miter lim="800000"/>
            <a:headEnd/>
            <a:tailEnd/>
          </a:ln>
        </p:spPr>
        <p:txBody>
          <a:bodyPr lIns="87086" tIns="43544" rIns="87086" bIns="43544" anchor="ctr"/>
          <a:lstStyle/>
          <a:p>
            <a:pPr algn="ctr" defTabSz="865188">
              <a:lnSpc>
                <a:spcPct val="95000"/>
              </a:lnSpc>
              <a:defRPr/>
            </a:pPr>
            <a:r>
              <a:rPr lang="en-GB" sz="1400" b="1">
                <a:solidFill>
                  <a:schemeClr val="bg1"/>
                </a:solidFill>
                <a:ea typeface="ＭＳ Ｐゴシック" pitchFamily="50" charset="-128"/>
              </a:rPr>
              <a:t>Text</a:t>
            </a:r>
          </a:p>
        </p:txBody>
      </p:sp>
      <p:sp>
        <p:nvSpPr>
          <p:cNvPr id="92" name="Rectangle 19"/>
          <p:cNvSpPr>
            <a:spLocks noChangeArrowheads="1"/>
          </p:cNvSpPr>
          <p:nvPr/>
        </p:nvSpPr>
        <p:spPr bwMode="blackWhite">
          <a:xfrm>
            <a:off x="4672013" y="2600463"/>
            <a:ext cx="1120775" cy="542925"/>
          </a:xfrm>
          <a:prstGeom prst="rect">
            <a:avLst/>
          </a:prstGeom>
          <a:solidFill>
            <a:schemeClr val="accent3"/>
          </a:solidFill>
          <a:ln w="12700" algn="ctr">
            <a:solidFill>
              <a:schemeClr val="bg1"/>
            </a:solidFill>
            <a:miter lim="800000"/>
            <a:headEnd/>
            <a:tailEnd/>
          </a:ln>
        </p:spPr>
        <p:txBody>
          <a:bodyPr lIns="87086" tIns="43544" rIns="87086" bIns="43544" anchor="ctr"/>
          <a:lstStyle/>
          <a:p>
            <a:pPr algn="ctr" defTabSz="865188">
              <a:lnSpc>
                <a:spcPct val="95000"/>
              </a:lnSpc>
              <a:defRPr/>
            </a:pPr>
            <a:r>
              <a:rPr lang="en-GB" sz="1400" b="1">
                <a:solidFill>
                  <a:schemeClr val="bg1"/>
                </a:solidFill>
                <a:ea typeface="ＭＳ Ｐゴシック" pitchFamily="50" charset="-128"/>
              </a:rPr>
              <a:t>Text</a:t>
            </a:r>
          </a:p>
        </p:txBody>
      </p:sp>
      <p:sp>
        <p:nvSpPr>
          <p:cNvPr id="93" name="Rectangle 20"/>
          <p:cNvSpPr>
            <a:spLocks noChangeArrowheads="1"/>
          </p:cNvSpPr>
          <p:nvPr/>
        </p:nvSpPr>
        <p:spPr bwMode="blackWhite">
          <a:xfrm>
            <a:off x="5867400" y="2095638"/>
            <a:ext cx="1120775" cy="542925"/>
          </a:xfrm>
          <a:prstGeom prst="rect">
            <a:avLst/>
          </a:prstGeom>
          <a:solidFill>
            <a:schemeClr val="accent3"/>
          </a:solidFill>
          <a:ln w="12700" algn="ctr">
            <a:solidFill>
              <a:schemeClr val="bg1"/>
            </a:solidFill>
            <a:miter lim="800000"/>
            <a:headEnd/>
            <a:tailEnd/>
          </a:ln>
        </p:spPr>
        <p:txBody>
          <a:bodyPr lIns="87086" tIns="43544" rIns="87086" bIns="43544" anchor="ctr"/>
          <a:lstStyle/>
          <a:p>
            <a:pPr algn="ctr" defTabSz="865188">
              <a:lnSpc>
                <a:spcPct val="95000"/>
              </a:lnSpc>
              <a:defRPr/>
            </a:pPr>
            <a:r>
              <a:rPr lang="en-GB" sz="1400" b="1">
                <a:solidFill>
                  <a:schemeClr val="bg1"/>
                </a:solidFill>
                <a:ea typeface="ＭＳ Ｐゴシック" pitchFamily="50" charset="-128"/>
              </a:rPr>
              <a:t>Text</a:t>
            </a:r>
          </a:p>
        </p:txBody>
      </p:sp>
      <p:sp>
        <p:nvSpPr>
          <p:cNvPr id="94" name="Rectangle 21"/>
          <p:cNvSpPr>
            <a:spLocks noChangeArrowheads="1"/>
          </p:cNvSpPr>
          <p:nvPr/>
        </p:nvSpPr>
        <p:spPr bwMode="blackWhite">
          <a:xfrm>
            <a:off x="7062788" y="1590813"/>
            <a:ext cx="1122362" cy="542925"/>
          </a:xfrm>
          <a:prstGeom prst="rect">
            <a:avLst/>
          </a:prstGeom>
          <a:solidFill>
            <a:schemeClr val="accent3"/>
          </a:solidFill>
          <a:ln w="12700" algn="ctr">
            <a:solidFill>
              <a:schemeClr val="bg1"/>
            </a:solidFill>
            <a:miter lim="800000"/>
            <a:headEnd/>
            <a:tailEnd/>
          </a:ln>
        </p:spPr>
        <p:txBody>
          <a:bodyPr lIns="87086" tIns="43544" rIns="87086" bIns="43544" anchor="ctr"/>
          <a:lstStyle/>
          <a:p>
            <a:pPr algn="ctr" defTabSz="865188">
              <a:lnSpc>
                <a:spcPct val="95000"/>
              </a:lnSpc>
              <a:defRPr/>
            </a:pPr>
            <a:r>
              <a:rPr lang="en-GB" sz="1400" b="1" dirty="0">
                <a:solidFill>
                  <a:schemeClr val="bg1"/>
                </a:solidFill>
                <a:ea typeface="ＭＳ Ｐゴシック" pitchFamily="50" charset="-128"/>
              </a:rPr>
              <a:t>Text</a:t>
            </a:r>
          </a:p>
        </p:txBody>
      </p:sp>
      <p:cxnSp>
        <p:nvCxnSpPr>
          <p:cNvPr id="95" name="AutoShape 22"/>
          <p:cNvCxnSpPr>
            <a:cxnSpLocks noChangeShapeType="1"/>
            <a:stCxn id="76" idx="0"/>
            <a:endCxn id="90" idx="1"/>
          </p:cNvCxnSpPr>
          <p:nvPr/>
        </p:nvCxnSpPr>
        <p:spPr bwMode="auto">
          <a:xfrm rot="5400000" flipH="1" flipV="1">
            <a:off x="1845469" y="3680757"/>
            <a:ext cx="233362" cy="635000"/>
          </a:xfrm>
          <a:prstGeom prst="bentConnector2">
            <a:avLst/>
          </a:prstGeom>
          <a:noFill/>
          <a:ln w="12700">
            <a:solidFill>
              <a:schemeClr val="accent1"/>
            </a:solidFill>
            <a:miter lim="800000"/>
            <a:headEnd/>
            <a:tailEnd type="triangle" w="med" len="med"/>
          </a:ln>
        </p:spPr>
      </p:cxnSp>
      <p:cxnSp>
        <p:nvCxnSpPr>
          <p:cNvPr id="96" name="AutoShape 23"/>
          <p:cNvCxnSpPr>
            <a:cxnSpLocks noChangeShapeType="1"/>
            <a:stCxn id="90" idx="0"/>
            <a:endCxn id="91" idx="1"/>
          </p:cNvCxnSpPr>
          <p:nvPr/>
        </p:nvCxnSpPr>
        <p:spPr bwMode="auto">
          <a:xfrm rot="5400000" flipH="1" flipV="1">
            <a:off x="3041651" y="3175138"/>
            <a:ext cx="233362" cy="636587"/>
          </a:xfrm>
          <a:prstGeom prst="bentConnector2">
            <a:avLst/>
          </a:prstGeom>
          <a:noFill/>
          <a:ln w="12700">
            <a:solidFill>
              <a:schemeClr val="accent1"/>
            </a:solidFill>
            <a:miter lim="800000"/>
            <a:headEnd/>
            <a:tailEnd type="triangle" w="med" len="med"/>
          </a:ln>
        </p:spPr>
      </p:cxnSp>
      <p:cxnSp>
        <p:nvCxnSpPr>
          <p:cNvPr id="97" name="AutoShape 24"/>
          <p:cNvCxnSpPr>
            <a:cxnSpLocks noChangeShapeType="1"/>
            <a:stCxn id="91" idx="0"/>
            <a:endCxn id="92" idx="1"/>
          </p:cNvCxnSpPr>
          <p:nvPr/>
        </p:nvCxnSpPr>
        <p:spPr bwMode="auto">
          <a:xfrm rot="5400000" flipH="1" flipV="1">
            <a:off x="4237832" y="2671107"/>
            <a:ext cx="233362" cy="635000"/>
          </a:xfrm>
          <a:prstGeom prst="bentConnector2">
            <a:avLst/>
          </a:prstGeom>
          <a:noFill/>
          <a:ln w="12700">
            <a:solidFill>
              <a:schemeClr val="accent1"/>
            </a:solidFill>
            <a:miter lim="800000"/>
            <a:headEnd/>
            <a:tailEnd type="triangle" w="med" len="med"/>
          </a:ln>
        </p:spPr>
      </p:cxnSp>
      <p:cxnSp>
        <p:nvCxnSpPr>
          <p:cNvPr id="98" name="AutoShape 25"/>
          <p:cNvCxnSpPr>
            <a:cxnSpLocks noChangeShapeType="1"/>
            <a:stCxn id="92" idx="0"/>
            <a:endCxn id="93" idx="1"/>
          </p:cNvCxnSpPr>
          <p:nvPr/>
        </p:nvCxnSpPr>
        <p:spPr bwMode="auto">
          <a:xfrm rot="5400000" flipH="1" flipV="1">
            <a:off x="5433219" y="2166282"/>
            <a:ext cx="233362" cy="635000"/>
          </a:xfrm>
          <a:prstGeom prst="bentConnector2">
            <a:avLst/>
          </a:prstGeom>
          <a:noFill/>
          <a:ln w="12700">
            <a:solidFill>
              <a:schemeClr val="accent1"/>
            </a:solidFill>
            <a:miter lim="800000"/>
            <a:headEnd/>
            <a:tailEnd type="triangle" w="med" len="med"/>
          </a:ln>
        </p:spPr>
      </p:cxnSp>
      <p:cxnSp>
        <p:nvCxnSpPr>
          <p:cNvPr id="99" name="AutoShape 26"/>
          <p:cNvCxnSpPr>
            <a:cxnSpLocks noChangeShapeType="1"/>
            <a:stCxn id="93" idx="0"/>
            <a:endCxn id="94" idx="1"/>
          </p:cNvCxnSpPr>
          <p:nvPr/>
        </p:nvCxnSpPr>
        <p:spPr bwMode="auto">
          <a:xfrm rot="5400000" flipH="1" flipV="1">
            <a:off x="6628607" y="1661457"/>
            <a:ext cx="233362" cy="635000"/>
          </a:xfrm>
          <a:prstGeom prst="bentConnector2">
            <a:avLst/>
          </a:prstGeom>
          <a:noFill/>
          <a:ln w="12700">
            <a:solidFill>
              <a:schemeClr val="accent1"/>
            </a:solidFill>
            <a:miter lim="800000"/>
            <a:headEnd/>
            <a:tailEnd type="triangle" w="med" len="med"/>
          </a:ln>
        </p:spPr>
      </p:cxnSp>
      <p:sp>
        <p:nvSpPr>
          <p:cNvPr id="808992" name="Text Placeholder 34"/>
          <p:cNvSpPr>
            <a:spLocks noGrp="1"/>
          </p:cNvSpPr>
          <p:nvPr>
            <p:ph type="body" sz="quarter" idx="4294967295"/>
          </p:nvPr>
        </p:nvSpPr>
        <p:spPr bwMode="auto">
          <a:xfrm>
            <a:off x="7126288" y="2186126"/>
            <a:ext cx="1198562" cy="482183"/>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p:txBody>
      </p:sp>
      <p:sp>
        <p:nvSpPr>
          <p:cNvPr id="36"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37"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985" name="Title 1"/>
          <p:cNvSpPr>
            <a:spLocks noGrp="1"/>
          </p:cNvSpPr>
          <p:nvPr>
            <p:ph type="title"/>
          </p:nvPr>
        </p:nvSpPr>
        <p:spPr>
          <a:xfrm>
            <a:off x="384175" y="287338"/>
            <a:ext cx="8375650" cy="595312"/>
          </a:xfrm>
          <a:noFill/>
          <a:ln w="9525">
            <a:noFill/>
            <a:miter lim="800000"/>
            <a:headEnd/>
            <a:tailEnd/>
          </a:ln>
        </p:spPr>
        <p:txBody>
          <a:bodyPr vert="horz" wrap="square" lIns="0" tIns="0" rIns="0" bIns="0" numCol="1" anchor="t" anchorCtr="0" compatLnSpc="1">
            <a:prstTxWarp prst="textNoShape">
              <a:avLst/>
            </a:prstTxWarp>
          </a:bodyPr>
          <a:lstStyle/>
          <a:p>
            <a:r>
              <a:rPr lang="en-GB"/>
              <a:t>Linear texts</a:t>
            </a:r>
            <a:endParaRPr lang="nl-NL"/>
          </a:p>
        </p:txBody>
      </p:sp>
      <p:sp>
        <p:nvSpPr>
          <p:cNvPr id="4" name="Freeform 2"/>
          <p:cNvSpPr>
            <a:spLocks/>
          </p:cNvSpPr>
          <p:nvPr/>
        </p:nvSpPr>
        <p:spPr bwMode="blackWhite">
          <a:xfrm>
            <a:off x="5480197" y="1597176"/>
            <a:ext cx="2155825" cy="4195762"/>
          </a:xfrm>
          <a:custGeom>
            <a:avLst/>
            <a:gdLst>
              <a:gd name="T0" fmla="*/ 0 w 1331"/>
              <a:gd name="T1" fmla="*/ 2147483647 h 2591"/>
              <a:gd name="T2" fmla="*/ 2147483647 w 1331"/>
              <a:gd name="T3" fmla="*/ 2147483647 h 2591"/>
              <a:gd name="T4" fmla="*/ 2147483647 w 1331"/>
              <a:gd name="T5" fmla="*/ 2147483647 h 2591"/>
              <a:gd name="T6" fmla="*/ 2147483647 w 1331"/>
              <a:gd name="T7" fmla="*/ 2147483647 h 2591"/>
              <a:gd name="T8" fmla="*/ 2147483647 w 1331"/>
              <a:gd name="T9" fmla="*/ 0 h 2591"/>
              <a:gd name="T10" fmla="*/ 2147483647 w 1331"/>
              <a:gd name="T11" fmla="*/ 2147483647 h 2591"/>
              <a:gd name="T12" fmla="*/ 0 w 1331"/>
              <a:gd name="T13" fmla="*/ 2147483647 h 2591"/>
              <a:gd name="T14" fmla="*/ 2147483647 w 1331"/>
              <a:gd name="T15" fmla="*/ 2147483647 h 2591"/>
              <a:gd name="T16" fmla="*/ 0 w 1331"/>
              <a:gd name="T17" fmla="*/ 2147483647 h 25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31"/>
              <a:gd name="T28" fmla="*/ 0 h 2591"/>
              <a:gd name="T29" fmla="*/ 1331 w 1331"/>
              <a:gd name="T30" fmla="*/ 2591 h 25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31" h="2591">
                <a:moveTo>
                  <a:pt x="0" y="2187"/>
                </a:moveTo>
                <a:lnTo>
                  <a:pt x="784" y="2187"/>
                </a:lnTo>
                <a:lnTo>
                  <a:pt x="784" y="2590"/>
                </a:lnTo>
                <a:lnTo>
                  <a:pt x="1330" y="1295"/>
                </a:lnTo>
                <a:lnTo>
                  <a:pt x="784" y="0"/>
                </a:lnTo>
                <a:lnTo>
                  <a:pt x="784" y="393"/>
                </a:lnTo>
                <a:lnTo>
                  <a:pt x="0" y="393"/>
                </a:lnTo>
                <a:lnTo>
                  <a:pt x="352" y="1295"/>
                </a:lnTo>
                <a:lnTo>
                  <a:pt x="0" y="2187"/>
                </a:lnTo>
              </a:path>
            </a:pathLst>
          </a:custGeom>
          <a:solidFill>
            <a:schemeClr val="accent3"/>
          </a:solidFill>
          <a:ln w="12700" cap="rnd">
            <a:solidFill>
              <a:schemeClr val="bg1"/>
            </a:solidFill>
            <a:round/>
            <a:headEnd/>
            <a:tailEnd/>
          </a:ln>
        </p:spPr>
        <p:txBody>
          <a:bodyPr/>
          <a:lstStyle/>
          <a:p>
            <a:pPr>
              <a:defRPr/>
            </a:pPr>
            <a:endParaRPr lang="en-GB" sz="1400">
              <a:solidFill>
                <a:schemeClr val="bg1"/>
              </a:solidFill>
            </a:endParaRPr>
          </a:p>
        </p:txBody>
      </p:sp>
      <p:sp>
        <p:nvSpPr>
          <p:cNvPr id="5" name="Freeform 3"/>
          <p:cNvSpPr>
            <a:spLocks/>
          </p:cNvSpPr>
          <p:nvPr/>
        </p:nvSpPr>
        <p:spPr bwMode="blackWhite">
          <a:xfrm>
            <a:off x="3252250" y="2233763"/>
            <a:ext cx="2649537" cy="1403350"/>
          </a:xfrm>
          <a:custGeom>
            <a:avLst/>
            <a:gdLst>
              <a:gd name="T0" fmla="*/ 2147483647 w 1636"/>
              <a:gd name="T1" fmla="*/ 0 h 867"/>
              <a:gd name="T2" fmla="*/ 2147483647 w 1636"/>
              <a:gd name="T3" fmla="*/ 2147483647 h 867"/>
              <a:gd name="T4" fmla="*/ 2147483647 w 1636"/>
              <a:gd name="T5" fmla="*/ 2147483647 h 867"/>
              <a:gd name="T6" fmla="*/ 0 w 1636"/>
              <a:gd name="T7" fmla="*/ 0 h 867"/>
              <a:gd name="T8" fmla="*/ 2147483647 w 1636"/>
              <a:gd name="T9" fmla="*/ 0 h 867"/>
              <a:gd name="T10" fmla="*/ 0 60000 65536"/>
              <a:gd name="T11" fmla="*/ 0 60000 65536"/>
              <a:gd name="T12" fmla="*/ 0 60000 65536"/>
              <a:gd name="T13" fmla="*/ 0 60000 65536"/>
              <a:gd name="T14" fmla="*/ 0 60000 65536"/>
              <a:gd name="T15" fmla="*/ 0 w 1636"/>
              <a:gd name="T16" fmla="*/ 0 h 867"/>
              <a:gd name="T17" fmla="*/ 1636 w 1636"/>
              <a:gd name="T18" fmla="*/ 867 h 867"/>
            </a:gdLst>
            <a:ahLst/>
            <a:cxnLst>
              <a:cxn ang="T10">
                <a:pos x="T0" y="T1"/>
              </a:cxn>
              <a:cxn ang="T11">
                <a:pos x="T2" y="T3"/>
              </a:cxn>
              <a:cxn ang="T12">
                <a:pos x="T4" y="T5"/>
              </a:cxn>
              <a:cxn ang="T13">
                <a:pos x="T6" y="T7"/>
              </a:cxn>
              <a:cxn ang="T14">
                <a:pos x="T8" y="T9"/>
              </a:cxn>
            </a:cxnLst>
            <a:rect l="T15" t="T16" r="T17" b="T18"/>
            <a:pathLst>
              <a:path w="1636" h="867">
                <a:moveTo>
                  <a:pt x="1298" y="0"/>
                </a:moveTo>
                <a:lnTo>
                  <a:pt x="1635" y="866"/>
                </a:lnTo>
                <a:lnTo>
                  <a:pt x="368" y="866"/>
                </a:lnTo>
                <a:lnTo>
                  <a:pt x="0" y="0"/>
                </a:lnTo>
                <a:lnTo>
                  <a:pt x="1298" y="0"/>
                </a:lnTo>
              </a:path>
            </a:pathLst>
          </a:custGeom>
          <a:solidFill>
            <a:schemeClr val="accent3"/>
          </a:solidFill>
          <a:ln w="12700" cap="rnd">
            <a:solidFill>
              <a:schemeClr val="bg1"/>
            </a:solidFill>
            <a:round/>
            <a:headEnd/>
            <a:tailEnd/>
          </a:ln>
        </p:spPr>
        <p:txBody>
          <a:bodyPr/>
          <a:lstStyle/>
          <a:p>
            <a:pPr>
              <a:defRPr/>
            </a:pPr>
            <a:endParaRPr lang="en-GB" sz="1400">
              <a:solidFill>
                <a:schemeClr val="bg1"/>
              </a:solidFill>
            </a:endParaRPr>
          </a:p>
        </p:txBody>
      </p:sp>
      <p:sp>
        <p:nvSpPr>
          <p:cNvPr id="6" name="Freeform 4"/>
          <p:cNvSpPr>
            <a:spLocks/>
          </p:cNvSpPr>
          <p:nvPr/>
        </p:nvSpPr>
        <p:spPr bwMode="blackWhite">
          <a:xfrm>
            <a:off x="3252250" y="3738713"/>
            <a:ext cx="2649537" cy="1403350"/>
          </a:xfrm>
          <a:custGeom>
            <a:avLst/>
            <a:gdLst>
              <a:gd name="T0" fmla="*/ 2147483647 w 1636"/>
              <a:gd name="T1" fmla="*/ 2147483647 h 867"/>
              <a:gd name="T2" fmla="*/ 2147483647 w 1636"/>
              <a:gd name="T3" fmla="*/ 0 h 867"/>
              <a:gd name="T4" fmla="*/ 2147483647 w 1636"/>
              <a:gd name="T5" fmla="*/ 0 h 867"/>
              <a:gd name="T6" fmla="*/ 0 w 1636"/>
              <a:gd name="T7" fmla="*/ 2147483647 h 867"/>
              <a:gd name="T8" fmla="*/ 2147483647 w 1636"/>
              <a:gd name="T9" fmla="*/ 2147483647 h 867"/>
              <a:gd name="T10" fmla="*/ 0 60000 65536"/>
              <a:gd name="T11" fmla="*/ 0 60000 65536"/>
              <a:gd name="T12" fmla="*/ 0 60000 65536"/>
              <a:gd name="T13" fmla="*/ 0 60000 65536"/>
              <a:gd name="T14" fmla="*/ 0 60000 65536"/>
              <a:gd name="T15" fmla="*/ 0 w 1636"/>
              <a:gd name="T16" fmla="*/ 0 h 867"/>
              <a:gd name="T17" fmla="*/ 1636 w 1636"/>
              <a:gd name="T18" fmla="*/ 867 h 867"/>
            </a:gdLst>
            <a:ahLst/>
            <a:cxnLst>
              <a:cxn ang="T10">
                <a:pos x="T0" y="T1"/>
              </a:cxn>
              <a:cxn ang="T11">
                <a:pos x="T2" y="T3"/>
              </a:cxn>
              <a:cxn ang="T12">
                <a:pos x="T4" y="T5"/>
              </a:cxn>
              <a:cxn ang="T13">
                <a:pos x="T6" y="T7"/>
              </a:cxn>
              <a:cxn ang="T14">
                <a:pos x="T8" y="T9"/>
              </a:cxn>
            </a:cxnLst>
            <a:rect l="T15" t="T16" r="T17" b="T18"/>
            <a:pathLst>
              <a:path w="1636" h="867">
                <a:moveTo>
                  <a:pt x="1298" y="866"/>
                </a:moveTo>
                <a:lnTo>
                  <a:pt x="1635" y="0"/>
                </a:lnTo>
                <a:lnTo>
                  <a:pt x="352" y="0"/>
                </a:lnTo>
                <a:lnTo>
                  <a:pt x="0" y="866"/>
                </a:lnTo>
                <a:lnTo>
                  <a:pt x="1298" y="866"/>
                </a:lnTo>
              </a:path>
            </a:pathLst>
          </a:custGeom>
          <a:solidFill>
            <a:schemeClr val="accent3"/>
          </a:solidFill>
          <a:ln w="12700" cap="rnd">
            <a:solidFill>
              <a:schemeClr val="bg1"/>
            </a:solidFill>
            <a:round/>
            <a:headEnd/>
            <a:tailEnd/>
          </a:ln>
        </p:spPr>
        <p:txBody>
          <a:bodyPr/>
          <a:lstStyle/>
          <a:p>
            <a:pPr>
              <a:defRPr/>
            </a:pPr>
            <a:endParaRPr lang="en-GB" sz="1400">
              <a:solidFill>
                <a:schemeClr val="bg1"/>
              </a:solidFill>
            </a:endParaRPr>
          </a:p>
        </p:txBody>
      </p:sp>
      <p:sp>
        <p:nvSpPr>
          <p:cNvPr id="7" name="Freeform 5"/>
          <p:cNvSpPr>
            <a:spLocks/>
          </p:cNvSpPr>
          <p:nvPr/>
        </p:nvSpPr>
        <p:spPr bwMode="blackWhite">
          <a:xfrm>
            <a:off x="1454515" y="2233763"/>
            <a:ext cx="2271713" cy="2894013"/>
          </a:xfrm>
          <a:custGeom>
            <a:avLst/>
            <a:gdLst>
              <a:gd name="T0" fmla="*/ 2147483647 w 1402"/>
              <a:gd name="T1" fmla="*/ 2147483647 h 1787"/>
              <a:gd name="T2" fmla="*/ 2147483647 w 1402"/>
              <a:gd name="T3" fmla="*/ 0 h 1787"/>
              <a:gd name="T4" fmla="*/ 0 w 1402"/>
              <a:gd name="T5" fmla="*/ 0 h 1787"/>
              <a:gd name="T6" fmla="*/ 0 w 1402"/>
              <a:gd name="T7" fmla="*/ 2147483647 h 1787"/>
              <a:gd name="T8" fmla="*/ 2147483647 w 1402"/>
              <a:gd name="T9" fmla="*/ 2147483647 h 1787"/>
              <a:gd name="T10" fmla="*/ 2147483647 w 1402"/>
              <a:gd name="T11" fmla="*/ 2147483647 h 1787"/>
              <a:gd name="T12" fmla="*/ 0 60000 65536"/>
              <a:gd name="T13" fmla="*/ 0 60000 65536"/>
              <a:gd name="T14" fmla="*/ 0 60000 65536"/>
              <a:gd name="T15" fmla="*/ 0 60000 65536"/>
              <a:gd name="T16" fmla="*/ 0 60000 65536"/>
              <a:gd name="T17" fmla="*/ 0 60000 65536"/>
              <a:gd name="T18" fmla="*/ 0 w 1402"/>
              <a:gd name="T19" fmla="*/ 0 h 1787"/>
              <a:gd name="T20" fmla="*/ 1402 w 1402"/>
              <a:gd name="T21" fmla="*/ 1787 h 1787"/>
            </a:gdLst>
            <a:ahLst/>
            <a:cxnLst>
              <a:cxn ang="T12">
                <a:pos x="T0" y="T1"/>
              </a:cxn>
              <a:cxn ang="T13">
                <a:pos x="T2" y="T3"/>
              </a:cxn>
              <a:cxn ang="T14">
                <a:pos x="T4" y="T5"/>
              </a:cxn>
              <a:cxn ang="T15">
                <a:pos x="T6" y="T7"/>
              </a:cxn>
              <a:cxn ang="T16">
                <a:pos x="T8" y="T9"/>
              </a:cxn>
              <a:cxn ang="T17">
                <a:pos x="T10" y="T11"/>
              </a:cxn>
            </a:cxnLst>
            <a:rect l="T18" t="T19" r="T20" b="T21"/>
            <a:pathLst>
              <a:path w="1402" h="1787">
                <a:moveTo>
                  <a:pt x="1401" y="884"/>
                </a:moveTo>
                <a:lnTo>
                  <a:pt x="1032" y="0"/>
                </a:lnTo>
                <a:lnTo>
                  <a:pt x="0" y="0"/>
                </a:lnTo>
                <a:lnTo>
                  <a:pt x="0" y="1786"/>
                </a:lnTo>
                <a:lnTo>
                  <a:pt x="1032" y="1786"/>
                </a:lnTo>
                <a:lnTo>
                  <a:pt x="1401" y="884"/>
                </a:lnTo>
              </a:path>
            </a:pathLst>
          </a:custGeom>
          <a:solidFill>
            <a:schemeClr val="accent3"/>
          </a:solidFill>
          <a:ln w="12700" cap="rnd">
            <a:solidFill>
              <a:schemeClr val="bg1"/>
            </a:solidFill>
            <a:round/>
            <a:headEnd/>
            <a:tailEnd/>
          </a:ln>
        </p:spPr>
        <p:txBody>
          <a:bodyPr/>
          <a:lstStyle/>
          <a:p>
            <a:pPr>
              <a:defRPr/>
            </a:pPr>
            <a:endParaRPr lang="en-GB" sz="1400">
              <a:solidFill>
                <a:schemeClr val="bg1"/>
              </a:solidFill>
            </a:endParaRPr>
          </a:p>
        </p:txBody>
      </p:sp>
      <p:sp>
        <p:nvSpPr>
          <p:cNvPr id="809991" name="Text Placeholder 15"/>
          <p:cNvSpPr>
            <a:spLocks noGrp="1"/>
          </p:cNvSpPr>
          <p:nvPr>
            <p:ph type="body" sz="quarter" idx="4294967295"/>
            <p:custDataLst>
              <p:tags r:id="rId1"/>
            </p:custDataLst>
          </p:nvPr>
        </p:nvSpPr>
        <p:spPr bwMode="auto">
          <a:xfrm>
            <a:off x="1646384" y="3305326"/>
            <a:ext cx="1555750" cy="872034"/>
          </a:xfrm>
          <a:prstGeom prst="rect">
            <a:avLst/>
          </a:prstGeom>
          <a:noFill/>
          <a:ln>
            <a:miter lim="800000"/>
            <a:headEnd/>
            <a:tailEnd/>
          </a:ln>
        </p:spPr>
        <p:txBody>
          <a:bodyPr/>
          <a:lstStyle/>
          <a:p>
            <a:pPr lvl="1"/>
            <a:r>
              <a:rPr lang="nl-NL" dirty="0" smtClean="0">
                <a:solidFill>
                  <a:schemeClr val="bg1"/>
                </a:solidFill>
              </a:rPr>
              <a:t>Bullet</a:t>
            </a:r>
          </a:p>
          <a:p>
            <a:pPr marL="344488" lvl="2" indent="-174625"/>
            <a:r>
              <a:rPr lang="nl-NL" dirty="0" smtClean="0">
                <a:solidFill>
                  <a:schemeClr val="bg1"/>
                </a:solidFill>
              </a:rPr>
              <a:t>Dash</a:t>
            </a:r>
          </a:p>
          <a:p>
            <a:pPr lvl="3"/>
            <a:r>
              <a:rPr lang="nl-NL" dirty="0" smtClean="0">
                <a:solidFill>
                  <a:schemeClr val="bg1"/>
                </a:solidFill>
              </a:rPr>
              <a:t>Subbullet</a:t>
            </a:r>
            <a:endParaRPr lang="nl-NL" dirty="0">
              <a:solidFill>
                <a:schemeClr val="bg1"/>
              </a:solidFill>
            </a:endParaRPr>
          </a:p>
        </p:txBody>
      </p:sp>
      <p:sp>
        <p:nvSpPr>
          <p:cNvPr id="809992" name="Text Placeholder 15"/>
          <p:cNvSpPr>
            <a:spLocks noGrp="1"/>
          </p:cNvSpPr>
          <p:nvPr>
            <p:ph type="body" sz="quarter" idx="4294967295"/>
            <p:custDataLst>
              <p:tags r:id="rId2"/>
            </p:custDataLst>
          </p:nvPr>
        </p:nvSpPr>
        <p:spPr bwMode="auto">
          <a:xfrm>
            <a:off x="3843484" y="2559201"/>
            <a:ext cx="1557338" cy="872034"/>
          </a:xfrm>
          <a:prstGeom prst="rect">
            <a:avLst/>
          </a:prstGeom>
          <a:noFill/>
          <a:ln>
            <a:miter lim="800000"/>
            <a:headEnd/>
            <a:tailEnd/>
          </a:ln>
        </p:spPr>
        <p:txBody>
          <a:bodyPr/>
          <a:lstStyle/>
          <a:p>
            <a:pPr lvl="1"/>
            <a:r>
              <a:rPr lang="nl-NL" dirty="0">
                <a:solidFill>
                  <a:schemeClr val="bg1"/>
                </a:solidFill>
              </a:rPr>
              <a:t>Bullet</a:t>
            </a:r>
          </a:p>
          <a:p>
            <a:pPr marL="344488" lvl="2" indent="-174625"/>
            <a:r>
              <a:rPr lang="nl-NL" dirty="0">
                <a:solidFill>
                  <a:schemeClr val="bg1"/>
                </a:solidFill>
              </a:rPr>
              <a:t>Dash</a:t>
            </a:r>
          </a:p>
          <a:p>
            <a:pPr lvl="3"/>
            <a:r>
              <a:rPr lang="nl-NL" dirty="0">
                <a:solidFill>
                  <a:schemeClr val="bg1"/>
                </a:solidFill>
              </a:rPr>
              <a:t>Subbullet</a:t>
            </a:r>
          </a:p>
        </p:txBody>
      </p:sp>
      <p:sp>
        <p:nvSpPr>
          <p:cNvPr id="809993" name="Text Placeholder 15"/>
          <p:cNvSpPr>
            <a:spLocks noGrp="1"/>
          </p:cNvSpPr>
          <p:nvPr>
            <p:ph type="body" sz="quarter" idx="4294967295"/>
            <p:custDataLst>
              <p:tags r:id="rId3"/>
            </p:custDataLst>
          </p:nvPr>
        </p:nvSpPr>
        <p:spPr bwMode="auto">
          <a:xfrm>
            <a:off x="3860262" y="4064151"/>
            <a:ext cx="1557338" cy="872034"/>
          </a:xfrm>
          <a:prstGeom prst="rect">
            <a:avLst/>
          </a:prstGeom>
          <a:noFill/>
          <a:ln>
            <a:miter lim="800000"/>
            <a:headEnd/>
            <a:tailEnd/>
          </a:ln>
        </p:spPr>
        <p:txBody>
          <a:bodyPr/>
          <a:lstStyle/>
          <a:p>
            <a:pPr lvl="1"/>
            <a:r>
              <a:rPr lang="nl-NL" dirty="0">
                <a:solidFill>
                  <a:schemeClr val="bg1"/>
                </a:solidFill>
              </a:rPr>
              <a:t>Bullet</a:t>
            </a:r>
          </a:p>
          <a:p>
            <a:pPr marL="344488" lvl="2" indent="-174625"/>
            <a:r>
              <a:rPr lang="nl-NL" dirty="0">
                <a:solidFill>
                  <a:schemeClr val="bg1"/>
                </a:solidFill>
              </a:rPr>
              <a:t>Dash</a:t>
            </a:r>
          </a:p>
          <a:p>
            <a:pPr lvl="3"/>
            <a:r>
              <a:rPr lang="nl-NL" dirty="0">
                <a:solidFill>
                  <a:schemeClr val="bg1"/>
                </a:solidFill>
              </a:rPr>
              <a:t>Subbullet</a:t>
            </a:r>
          </a:p>
        </p:txBody>
      </p:sp>
      <p:sp>
        <p:nvSpPr>
          <p:cNvPr id="809994" name="Text Placeholder 15"/>
          <p:cNvSpPr>
            <a:spLocks noGrp="1"/>
          </p:cNvSpPr>
          <p:nvPr>
            <p:ph type="body" sz="quarter" idx="4294967295"/>
            <p:custDataLst>
              <p:tags r:id="rId4"/>
            </p:custDataLst>
          </p:nvPr>
        </p:nvSpPr>
        <p:spPr bwMode="auto">
          <a:xfrm>
            <a:off x="6088034" y="3179585"/>
            <a:ext cx="1547988" cy="872034"/>
          </a:xfrm>
          <a:prstGeom prst="rect">
            <a:avLst/>
          </a:prstGeom>
          <a:noFill/>
          <a:ln>
            <a:miter lim="800000"/>
            <a:headEnd/>
            <a:tailEnd/>
          </a:ln>
        </p:spPr>
        <p:txBody>
          <a:bodyPr/>
          <a:lstStyle/>
          <a:p>
            <a:pPr lvl="1"/>
            <a:r>
              <a:rPr lang="nl-NL" dirty="0">
                <a:solidFill>
                  <a:schemeClr val="bg1"/>
                </a:solidFill>
              </a:rPr>
              <a:t>Bullet</a:t>
            </a:r>
          </a:p>
          <a:p>
            <a:pPr marL="344488" lvl="2" indent="-174625"/>
            <a:r>
              <a:rPr lang="nl-NL" dirty="0">
                <a:solidFill>
                  <a:schemeClr val="bg1"/>
                </a:solidFill>
              </a:rPr>
              <a:t>Dash</a:t>
            </a:r>
          </a:p>
          <a:p>
            <a:pPr lvl="3"/>
            <a:r>
              <a:rPr lang="nl-NL" dirty="0">
                <a:solidFill>
                  <a:schemeClr val="bg1"/>
                </a:solidFill>
              </a:rPr>
              <a:t>Subbullet</a:t>
            </a:r>
          </a:p>
        </p:txBody>
      </p:sp>
      <p:sp>
        <p:nvSpPr>
          <p:cNvPr id="1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5" name="Text Placeholder 12"/>
          <p:cNvSpPr>
            <a:spLocks/>
          </p:cNvSpPr>
          <p:nvPr>
            <p:custDataLst>
              <p:tags r:id="rId5"/>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1009" name="Title 1"/>
          <p:cNvSpPr>
            <a:spLocks noGrp="1"/>
          </p:cNvSpPr>
          <p:nvPr>
            <p:ph type="title"/>
          </p:nvPr>
        </p:nvSpPr>
        <p:spPr>
          <a:xfrm>
            <a:off x="384175" y="287338"/>
            <a:ext cx="8375650" cy="595312"/>
          </a:xfrm>
          <a:noFill/>
          <a:ln w="9525">
            <a:noFill/>
            <a:miter lim="800000"/>
            <a:headEnd/>
            <a:tailEnd/>
          </a:ln>
        </p:spPr>
        <p:txBody>
          <a:bodyPr vert="horz" wrap="square" lIns="0" tIns="0" rIns="0" bIns="0" numCol="1" anchor="t" anchorCtr="0" compatLnSpc="1">
            <a:prstTxWarp prst="textNoShape">
              <a:avLst/>
            </a:prstTxWarp>
          </a:bodyPr>
          <a:lstStyle/>
          <a:p>
            <a:r>
              <a:rPr lang="en-GB"/>
              <a:t>Expansion</a:t>
            </a:r>
            <a:endParaRPr lang="nl-NL"/>
          </a:p>
        </p:txBody>
      </p:sp>
      <p:sp>
        <p:nvSpPr>
          <p:cNvPr id="4" name="Freeform 2"/>
          <p:cNvSpPr>
            <a:spLocks/>
          </p:cNvSpPr>
          <p:nvPr/>
        </p:nvSpPr>
        <p:spPr bwMode="blackWhite">
          <a:xfrm>
            <a:off x="5153025" y="1597754"/>
            <a:ext cx="2981325" cy="4103687"/>
          </a:xfrm>
          <a:custGeom>
            <a:avLst/>
            <a:gdLst>
              <a:gd name="T0" fmla="*/ 0 w 1448"/>
              <a:gd name="T1" fmla="*/ 3315273 h 1879"/>
              <a:gd name="T2" fmla="*/ 0 w 1448"/>
              <a:gd name="T3" fmla="*/ 1430503 h 1879"/>
              <a:gd name="T4" fmla="*/ 2423961 w 1448"/>
              <a:gd name="T5" fmla="*/ 856118 h 1879"/>
              <a:gd name="T6" fmla="*/ 2423961 w 1448"/>
              <a:gd name="T7" fmla="*/ 0 h 1879"/>
              <a:gd name="T8" fmla="*/ 3226745 w 1448"/>
              <a:gd name="T9" fmla="*/ 1954657 h 1879"/>
              <a:gd name="T10" fmla="*/ 2423961 w 1448"/>
              <a:gd name="T11" fmla="*/ 4101503 h 1879"/>
              <a:gd name="T12" fmla="*/ 2423961 w 1448"/>
              <a:gd name="T13" fmla="*/ 3315273 h 1879"/>
              <a:gd name="T14" fmla="*/ 0 w 1448"/>
              <a:gd name="T15" fmla="*/ 3315273 h 1879"/>
              <a:gd name="T16" fmla="*/ 0 60000 65536"/>
              <a:gd name="T17" fmla="*/ 0 60000 65536"/>
              <a:gd name="T18" fmla="*/ 0 60000 65536"/>
              <a:gd name="T19" fmla="*/ 0 60000 65536"/>
              <a:gd name="T20" fmla="*/ 0 60000 65536"/>
              <a:gd name="T21" fmla="*/ 0 60000 65536"/>
              <a:gd name="T22" fmla="*/ 0 60000 65536"/>
              <a:gd name="T23" fmla="*/ 0 60000 65536"/>
              <a:gd name="T24" fmla="*/ 0 w 1448"/>
              <a:gd name="T25" fmla="*/ 0 h 1879"/>
              <a:gd name="T26" fmla="*/ 1448 w 1448"/>
              <a:gd name="T27" fmla="*/ 1879 h 18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48" h="1879">
                <a:moveTo>
                  <a:pt x="0" y="1518"/>
                </a:moveTo>
                <a:lnTo>
                  <a:pt x="0" y="655"/>
                </a:lnTo>
                <a:lnTo>
                  <a:pt x="1087" y="392"/>
                </a:lnTo>
                <a:lnTo>
                  <a:pt x="1087" y="0"/>
                </a:lnTo>
                <a:lnTo>
                  <a:pt x="1447" y="895"/>
                </a:lnTo>
                <a:lnTo>
                  <a:pt x="1087" y="1878"/>
                </a:lnTo>
                <a:lnTo>
                  <a:pt x="1087" y="1518"/>
                </a:lnTo>
                <a:lnTo>
                  <a:pt x="0" y="1518"/>
                </a:lnTo>
              </a:path>
            </a:pathLst>
          </a:custGeom>
          <a:solidFill>
            <a:schemeClr val="accent3"/>
          </a:solidFill>
          <a:ln w="12700" cap="rnd">
            <a:solidFill>
              <a:schemeClr val="bg1"/>
            </a:solidFill>
            <a:round/>
            <a:headEnd/>
            <a:tailEnd/>
          </a:ln>
        </p:spPr>
        <p:txBody>
          <a:bodyPr/>
          <a:lstStyle/>
          <a:p>
            <a:pPr>
              <a:defRPr/>
            </a:pPr>
            <a:endParaRPr lang="en-GB"/>
          </a:p>
        </p:txBody>
      </p:sp>
      <p:sp>
        <p:nvSpPr>
          <p:cNvPr id="811012" name="Freeform 3"/>
          <p:cNvSpPr>
            <a:spLocks/>
          </p:cNvSpPr>
          <p:nvPr/>
        </p:nvSpPr>
        <p:spPr bwMode="blackWhite">
          <a:xfrm>
            <a:off x="3060700" y="2453416"/>
            <a:ext cx="2786063" cy="3109913"/>
          </a:xfrm>
          <a:custGeom>
            <a:avLst/>
            <a:gdLst>
              <a:gd name="T0" fmla="*/ 0 w 1353"/>
              <a:gd name="T1" fmla="*/ 2147483647 h 1423"/>
              <a:gd name="T2" fmla="*/ 73478142 w 1353"/>
              <a:gd name="T3" fmla="*/ 2147483647 h 1423"/>
              <a:gd name="T4" fmla="*/ 2147483647 w 1353"/>
              <a:gd name="T5" fmla="*/ 1256153639 h 1423"/>
              <a:gd name="T6" fmla="*/ 2147483647 w 1353"/>
              <a:gd name="T7" fmla="*/ 0 h 1423"/>
              <a:gd name="T8" fmla="*/ 2147483647 w 1353"/>
              <a:gd name="T9" fmla="*/ 2147483647 h 1423"/>
              <a:gd name="T10" fmla="*/ 2147483647 w 1353"/>
              <a:gd name="T11" fmla="*/ 2147483647 h 1423"/>
              <a:gd name="T12" fmla="*/ 2147483647 w 1353"/>
              <a:gd name="T13" fmla="*/ 2147483647 h 1423"/>
              <a:gd name="T14" fmla="*/ 0 w 1353"/>
              <a:gd name="T15" fmla="*/ 2147483647 h 1423"/>
              <a:gd name="T16" fmla="*/ 0 60000 65536"/>
              <a:gd name="T17" fmla="*/ 0 60000 65536"/>
              <a:gd name="T18" fmla="*/ 0 60000 65536"/>
              <a:gd name="T19" fmla="*/ 0 60000 65536"/>
              <a:gd name="T20" fmla="*/ 0 60000 65536"/>
              <a:gd name="T21" fmla="*/ 0 60000 65536"/>
              <a:gd name="T22" fmla="*/ 0 60000 65536"/>
              <a:gd name="T23" fmla="*/ 0 60000 65536"/>
              <a:gd name="T24" fmla="*/ 0 w 1353"/>
              <a:gd name="T25" fmla="*/ 0 h 1423"/>
              <a:gd name="T26" fmla="*/ 1353 w 1353"/>
              <a:gd name="T27" fmla="*/ 1423 h 14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53" h="1423">
                <a:moveTo>
                  <a:pt x="0" y="1118"/>
                </a:moveTo>
                <a:lnTo>
                  <a:pt x="16" y="511"/>
                </a:lnTo>
                <a:lnTo>
                  <a:pt x="1016" y="263"/>
                </a:lnTo>
                <a:lnTo>
                  <a:pt x="1016" y="0"/>
                </a:lnTo>
                <a:lnTo>
                  <a:pt x="1352" y="679"/>
                </a:lnTo>
                <a:lnTo>
                  <a:pt x="1016" y="1422"/>
                </a:lnTo>
                <a:lnTo>
                  <a:pt x="1016" y="1118"/>
                </a:lnTo>
                <a:lnTo>
                  <a:pt x="0" y="1118"/>
                </a:lnTo>
              </a:path>
            </a:pathLst>
          </a:custGeom>
          <a:solidFill>
            <a:schemeClr val="accent2"/>
          </a:solidFill>
          <a:ln w="12700" cap="rnd">
            <a:solidFill>
              <a:schemeClr val="bg1"/>
            </a:solidFill>
            <a:round/>
            <a:headEnd/>
            <a:tailEnd/>
          </a:ln>
        </p:spPr>
        <p:txBody>
          <a:bodyPr/>
          <a:lstStyle/>
          <a:p>
            <a:endParaRPr lang="en-GB"/>
          </a:p>
        </p:txBody>
      </p:sp>
      <p:sp>
        <p:nvSpPr>
          <p:cNvPr id="811013" name="Freeform 4"/>
          <p:cNvSpPr>
            <a:spLocks/>
          </p:cNvSpPr>
          <p:nvPr/>
        </p:nvSpPr>
        <p:spPr bwMode="blackWhite">
          <a:xfrm>
            <a:off x="971550" y="3167791"/>
            <a:ext cx="2784475" cy="2184400"/>
          </a:xfrm>
          <a:custGeom>
            <a:avLst/>
            <a:gdLst>
              <a:gd name="T0" fmla="*/ 0 w 1352"/>
              <a:gd name="T1" fmla="*/ 2147483647 h 1000"/>
              <a:gd name="T2" fmla="*/ 0 w 1352"/>
              <a:gd name="T3" fmla="*/ 2147483647 h 1000"/>
              <a:gd name="T4" fmla="*/ 2147483647 w 1352"/>
              <a:gd name="T5" fmla="*/ 2147483647 h 1000"/>
              <a:gd name="T6" fmla="*/ 2147483647 w 1352"/>
              <a:gd name="T7" fmla="*/ 0 h 1000"/>
              <a:gd name="T8" fmla="*/ 2147483647 w 1352"/>
              <a:gd name="T9" fmla="*/ 2147483647 h 1000"/>
              <a:gd name="T10" fmla="*/ 2147483647 w 1352"/>
              <a:gd name="T11" fmla="*/ 2147483647 h 1000"/>
              <a:gd name="T12" fmla="*/ 2147483647 w 1352"/>
              <a:gd name="T13" fmla="*/ 2147483647 h 1000"/>
              <a:gd name="T14" fmla="*/ 0 w 1352"/>
              <a:gd name="T15" fmla="*/ 2147483647 h 1000"/>
              <a:gd name="T16" fmla="*/ 0 60000 65536"/>
              <a:gd name="T17" fmla="*/ 0 60000 65536"/>
              <a:gd name="T18" fmla="*/ 0 60000 65536"/>
              <a:gd name="T19" fmla="*/ 0 60000 65536"/>
              <a:gd name="T20" fmla="*/ 0 60000 65536"/>
              <a:gd name="T21" fmla="*/ 0 60000 65536"/>
              <a:gd name="T22" fmla="*/ 0 60000 65536"/>
              <a:gd name="T23" fmla="*/ 0 60000 65536"/>
              <a:gd name="T24" fmla="*/ 0 w 1352"/>
              <a:gd name="T25" fmla="*/ 0 h 1000"/>
              <a:gd name="T26" fmla="*/ 1352 w 1352"/>
              <a:gd name="T27" fmla="*/ 1000 h 1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52" h="1000">
                <a:moveTo>
                  <a:pt x="0" y="791"/>
                </a:moveTo>
                <a:lnTo>
                  <a:pt x="0" y="440"/>
                </a:lnTo>
                <a:lnTo>
                  <a:pt x="1023" y="184"/>
                </a:lnTo>
                <a:lnTo>
                  <a:pt x="1023" y="0"/>
                </a:lnTo>
                <a:lnTo>
                  <a:pt x="1351" y="480"/>
                </a:lnTo>
                <a:lnTo>
                  <a:pt x="1023" y="999"/>
                </a:lnTo>
                <a:lnTo>
                  <a:pt x="1023" y="791"/>
                </a:lnTo>
                <a:lnTo>
                  <a:pt x="0" y="791"/>
                </a:lnTo>
              </a:path>
            </a:pathLst>
          </a:custGeom>
          <a:solidFill>
            <a:schemeClr val="accent1"/>
          </a:solidFill>
          <a:ln w="12700" cap="rnd">
            <a:solidFill>
              <a:schemeClr val="bg1"/>
            </a:solidFill>
            <a:round/>
            <a:headEnd/>
            <a:tailEnd/>
          </a:ln>
        </p:spPr>
        <p:txBody>
          <a:bodyPr/>
          <a:lstStyle/>
          <a:p>
            <a:endParaRPr lang="en-GB"/>
          </a:p>
        </p:txBody>
      </p:sp>
      <p:sp>
        <p:nvSpPr>
          <p:cNvPr id="811014" name="Text Placeholder 15"/>
          <p:cNvSpPr>
            <a:spLocks noGrp="1"/>
          </p:cNvSpPr>
          <p:nvPr>
            <p:ph type="body" sz="quarter" idx="4294967295"/>
            <p:custDataLst>
              <p:tags r:id="rId1"/>
            </p:custDataLst>
          </p:nvPr>
        </p:nvSpPr>
        <p:spPr bwMode="auto">
          <a:xfrm>
            <a:off x="1171575" y="4070394"/>
            <a:ext cx="1555750" cy="779701"/>
          </a:xfrm>
          <a:prstGeom prst="rect">
            <a:avLst/>
          </a:prstGeom>
          <a:noFill/>
          <a:ln>
            <a:miter lim="800000"/>
            <a:headEnd/>
            <a:tailEnd/>
          </a:ln>
        </p:spPr>
        <p:txBody>
          <a:bodyPr/>
          <a:lstStyle/>
          <a:p>
            <a:pPr lvl="1"/>
            <a:r>
              <a:rPr lang="nl-NL" sz="1600" dirty="0">
                <a:solidFill>
                  <a:schemeClr val="bg1"/>
                </a:solidFill>
              </a:rPr>
              <a:t>Bullet</a:t>
            </a:r>
          </a:p>
          <a:p>
            <a:pPr marL="344488" lvl="2" indent="-174625"/>
            <a:r>
              <a:rPr lang="nl-NL" sz="1400" dirty="0">
                <a:solidFill>
                  <a:schemeClr val="bg1"/>
                </a:solidFill>
              </a:rPr>
              <a:t>Dash</a:t>
            </a:r>
          </a:p>
          <a:p>
            <a:pPr lvl="3"/>
            <a:r>
              <a:rPr lang="nl-NL" sz="1400" dirty="0">
                <a:solidFill>
                  <a:schemeClr val="bg1"/>
                </a:solidFill>
              </a:rPr>
              <a:t>Subbullet</a:t>
            </a:r>
          </a:p>
        </p:txBody>
      </p:sp>
      <p:sp>
        <p:nvSpPr>
          <p:cNvPr id="811015" name="Text Placeholder 15"/>
          <p:cNvSpPr>
            <a:spLocks noGrp="1"/>
          </p:cNvSpPr>
          <p:nvPr>
            <p:ph type="body" sz="quarter" idx="4294967295"/>
            <p:custDataLst>
              <p:tags r:id="rId2"/>
            </p:custDataLst>
          </p:nvPr>
        </p:nvSpPr>
        <p:spPr bwMode="auto">
          <a:xfrm>
            <a:off x="3859213" y="4053616"/>
            <a:ext cx="1555750" cy="779701"/>
          </a:xfrm>
          <a:prstGeom prst="rect">
            <a:avLst/>
          </a:prstGeom>
          <a:noFill/>
          <a:ln>
            <a:miter lim="800000"/>
            <a:headEnd/>
            <a:tailEnd/>
          </a:ln>
        </p:spPr>
        <p:txBody>
          <a:bodyPr/>
          <a:lstStyle/>
          <a:p>
            <a:pPr lvl="1"/>
            <a:r>
              <a:rPr lang="nl-NL" sz="1600" dirty="0">
                <a:solidFill>
                  <a:schemeClr val="bg1"/>
                </a:solidFill>
              </a:rPr>
              <a:t>Bullet</a:t>
            </a:r>
          </a:p>
          <a:p>
            <a:pPr marL="344488" lvl="2" indent="-174625"/>
            <a:r>
              <a:rPr lang="nl-NL" sz="1400" dirty="0">
                <a:solidFill>
                  <a:schemeClr val="bg1"/>
                </a:solidFill>
              </a:rPr>
              <a:t>Dash</a:t>
            </a:r>
          </a:p>
          <a:p>
            <a:pPr lvl="3"/>
            <a:r>
              <a:rPr lang="nl-NL" sz="1400" dirty="0">
                <a:solidFill>
                  <a:schemeClr val="bg1"/>
                </a:solidFill>
              </a:rPr>
              <a:t>Subbullet</a:t>
            </a:r>
          </a:p>
        </p:txBody>
      </p:sp>
      <p:sp>
        <p:nvSpPr>
          <p:cNvPr id="811016" name="Text Placeholder 15"/>
          <p:cNvSpPr>
            <a:spLocks noGrp="1"/>
          </p:cNvSpPr>
          <p:nvPr>
            <p:ph type="body" sz="quarter" idx="4294967295"/>
            <p:custDataLst>
              <p:tags r:id="rId3"/>
            </p:custDataLst>
          </p:nvPr>
        </p:nvSpPr>
        <p:spPr bwMode="auto">
          <a:xfrm>
            <a:off x="5978525" y="4053616"/>
            <a:ext cx="1555750" cy="779701"/>
          </a:xfrm>
          <a:prstGeom prst="rect">
            <a:avLst/>
          </a:prstGeom>
          <a:noFill/>
          <a:ln>
            <a:miter lim="800000"/>
            <a:headEnd/>
            <a:tailEnd/>
          </a:ln>
        </p:spPr>
        <p:txBody>
          <a:bodyPr/>
          <a:lstStyle/>
          <a:p>
            <a:pPr lvl="1"/>
            <a:r>
              <a:rPr lang="nl-NL" sz="1600" dirty="0">
                <a:solidFill>
                  <a:schemeClr val="bg1"/>
                </a:solidFill>
              </a:rPr>
              <a:t>Bullet</a:t>
            </a:r>
          </a:p>
          <a:p>
            <a:pPr marL="344488" lvl="2" indent="-174625"/>
            <a:r>
              <a:rPr lang="nl-NL" sz="1400" dirty="0">
                <a:solidFill>
                  <a:schemeClr val="bg1"/>
                </a:solidFill>
              </a:rPr>
              <a:t>Dash</a:t>
            </a:r>
          </a:p>
          <a:p>
            <a:pPr lvl="3"/>
            <a:r>
              <a:rPr lang="nl-NL" sz="1400" dirty="0">
                <a:solidFill>
                  <a:schemeClr val="bg1"/>
                </a:solidFill>
              </a:rPr>
              <a:t>Subbullet</a:t>
            </a:r>
          </a:p>
        </p:txBody>
      </p:sp>
      <p:sp>
        <p:nvSpPr>
          <p:cNvPr id="1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3" name="Text Placeholder 12"/>
          <p:cNvSpPr>
            <a:spLocks/>
          </p:cNvSpPr>
          <p:nvPr>
            <p:custDataLst>
              <p:tags r:id="rId4"/>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2033" name="Title 1"/>
          <p:cNvSpPr>
            <a:spLocks noGrp="1"/>
          </p:cNvSpPr>
          <p:nvPr>
            <p:ph type="title"/>
          </p:nvPr>
        </p:nvSpPr>
        <p:spPr>
          <a:xfrm>
            <a:off x="384175" y="287338"/>
            <a:ext cx="8375650" cy="595312"/>
          </a:xfrm>
          <a:noFill/>
          <a:ln w="9525">
            <a:noFill/>
            <a:miter lim="800000"/>
            <a:headEnd/>
            <a:tailEnd/>
          </a:ln>
        </p:spPr>
        <p:txBody>
          <a:bodyPr vert="horz" wrap="square" lIns="0" tIns="0" rIns="0" bIns="0" numCol="1" anchor="t" anchorCtr="0" compatLnSpc="1">
            <a:prstTxWarp prst="textNoShape">
              <a:avLst/>
            </a:prstTxWarp>
          </a:bodyPr>
          <a:lstStyle/>
          <a:p>
            <a:r>
              <a:rPr lang="en-GB"/>
              <a:t>Diversion</a:t>
            </a:r>
            <a:endParaRPr lang="nl-NL"/>
          </a:p>
        </p:txBody>
      </p:sp>
      <p:sp>
        <p:nvSpPr>
          <p:cNvPr id="4" name="Freeform 2"/>
          <p:cNvSpPr>
            <a:spLocks/>
          </p:cNvSpPr>
          <p:nvPr/>
        </p:nvSpPr>
        <p:spPr bwMode="blackWhite">
          <a:xfrm>
            <a:off x="908050" y="1597727"/>
            <a:ext cx="7292975" cy="3170237"/>
          </a:xfrm>
          <a:custGeom>
            <a:avLst/>
            <a:gdLst>
              <a:gd name="T0" fmla="*/ 0 w 3447"/>
              <a:gd name="T1" fmla="*/ 2147483647 h 1499"/>
              <a:gd name="T2" fmla="*/ 0 w 3447"/>
              <a:gd name="T3" fmla="*/ 2147483647 h 1499"/>
              <a:gd name="T4" fmla="*/ 2147483647 w 3447"/>
              <a:gd name="T5" fmla="*/ 2147483647 h 1499"/>
              <a:gd name="T6" fmla="*/ 2147483647 w 3447"/>
              <a:gd name="T7" fmla="*/ 2147483647 h 1499"/>
              <a:gd name="T8" fmla="*/ 2147483647 w 3447"/>
              <a:gd name="T9" fmla="*/ 2147483647 h 1499"/>
              <a:gd name="T10" fmla="*/ 2147483647 w 3447"/>
              <a:gd name="T11" fmla="*/ 2147483647 h 1499"/>
              <a:gd name="T12" fmla="*/ 2147483647 w 3447"/>
              <a:gd name="T13" fmla="*/ 2147483647 h 1499"/>
              <a:gd name="T14" fmla="*/ 2147483647 w 3447"/>
              <a:gd name="T15" fmla="*/ 2147483647 h 1499"/>
              <a:gd name="T16" fmla="*/ 2147483647 w 3447"/>
              <a:gd name="T17" fmla="*/ 2147483647 h 1499"/>
              <a:gd name="T18" fmla="*/ 2147483647 w 3447"/>
              <a:gd name="T19" fmla="*/ 2147483647 h 1499"/>
              <a:gd name="T20" fmla="*/ 2147483647 w 3447"/>
              <a:gd name="T21" fmla="*/ 2147483647 h 1499"/>
              <a:gd name="T22" fmla="*/ 2147483647 w 3447"/>
              <a:gd name="T23" fmla="*/ 2147483647 h 1499"/>
              <a:gd name="T24" fmla="*/ 2147483647 w 3447"/>
              <a:gd name="T25" fmla="*/ 2147483647 h 1499"/>
              <a:gd name="T26" fmla="*/ 2147483647 w 3447"/>
              <a:gd name="T27" fmla="*/ 2147483647 h 1499"/>
              <a:gd name="T28" fmla="*/ 2147483647 w 3447"/>
              <a:gd name="T29" fmla="*/ 2147483647 h 1499"/>
              <a:gd name="T30" fmla="*/ 2147483647 w 3447"/>
              <a:gd name="T31" fmla="*/ 2147483647 h 1499"/>
              <a:gd name="T32" fmla="*/ 2147483647 w 3447"/>
              <a:gd name="T33" fmla="*/ 2147483647 h 1499"/>
              <a:gd name="T34" fmla="*/ 2147483647 w 3447"/>
              <a:gd name="T35" fmla="*/ 2147483647 h 1499"/>
              <a:gd name="T36" fmla="*/ 2147483647 w 3447"/>
              <a:gd name="T37" fmla="*/ 2147483647 h 1499"/>
              <a:gd name="T38" fmla="*/ 2147483647 w 3447"/>
              <a:gd name="T39" fmla="*/ 2147483647 h 1499"/>
              <a:gd name="T40" fmla="*/ 2147483647 w 3447"/>
              <a:gd name="T41" fmla="*/ 2147483647 h 1499"/>
              <a:gd name="T42" fmla="*/ 2147483647 w 3447"/>
              <a:gd name="T43" fmla="*/ 2147483647 h 1499"/>
              <a:gd name="T44" fmla="*/ 2147483647 w 3447"/>
              <a:gd name="T45" fmla="*/ 2147483647 h 1499"/>
              <a:gd name="T46" fmla="*/ 2147483647 w 3447"/>
              <a:gd name="T47" fmla="*/ 2147483647 h 1499"/>
              <a:gd name="T48" fmla="*/ 2147483647 w 3447"/>
              <a:gd name="T49" fmla="*/ 2147483647 h 1499"/>
              <a:gd name="T50" fmla="*/ 2147483647 w 3447"/>
              <a:gd name="T51" fmla="*/ 2147483647 h 1499"/>
              <a:gd name="T52" fmla="*/ 2147483647 w 3447"/>
              <a:gd name="T53" fmla="*/ 2147483647 h 1499"/>
              <a:gd name="T54" fmla="*/ 2147483647 w 3447"/>
              <a:gd name="T55" fmla="*/ 2147483647 h 1499"/>
              <a:gd name="T56" fmla="*/ 2147483647 w 3447"/>
              <a:gd name="T57" fmla="*/ 2147483647 h 1499"/>
              <a:gd name="T58" fmla="*/ 2147483647 w 3447"/>
              <a:gd name="T59" fmla="*/ 2147483647 h 1499"/>
              <a:gd name="T60" fmla="*/ 2147483647 w 3447"/>
              <a:gd name="T61" fmla="*/ 2147483647 h 1499"/>
              <a:gd name="T62" fmla="*/ 2147483647 w 3447"/>
              <a:gd name="T63" fmla="*/ 2147483647 h 1499"/>
              <a:gd name="T64" fmla="*/ 2147483647 w 3447"/>
              <a:gd name="T65" fmla="*/ 2147483647 h 1499"/>
              <a:gd name="T66" fmla="*/ 2147483647 w 3447"/>
              <a:gd name="T67" fmla="*/ 2147483647 h 1499"/>
              <a:gd name="T68" fmla="*/ 2147483647 w 3447"/>
              <a:gd name="T69" fmla="*/ 2147483647 h 1499"/>
              <a:gd name="T70" fmla="*/ 2147483647 w 3447"/>
              <a:gd name="T71" fmla="*/ 2147483647 h 1499"/>
              <a:gd name="T72" fmla="*/ 2147483647 w 3447"/>
              <a:gd name="T73" fmla="*/ 2147483647 h 1499"/>
              <a:gd name="T74" fmla="*/ 2147483647 w 3447"/>
              <a:gd name="T75" fmla="*/ 2147483647 h 1499"/>
              <a:gd name="T76" fmla="*/ 2147483647 w 3447"/>
              <a:gd name="T77" fmla="*/ 2147483647 h 1499"/>
              <a:gd name="T78" fmla="*/ 2147483647 w 3447"/>
              <a:gd name="T79" fmla="*/ 2147483647 h 1499"/>
              <a:gd name="T80" fmla="*/ 2147483647 w 3447"/>
              <a:gd name="T81" fmla="*/ 0 h 1499"/>
              <a:gd name="T82" fmla="*/ 2147483647 w 3447"/>
              <a:gd name="T83" fmla="*/ 2147483647 h 1499"/>
              <a:gd name="T84" fmla="*/ 2147483647 w 3447"/>
              <a:gd name="T85" fmla="*/ 2147483647 h 1499"/>
              <a:gd name="T86" fmla="*/ 2147483647 w 3447"/>
              <a:gd name="T87" fmla="*/ 2147483647 h 1499"/>
              <a:gd name="T88" fmla="*/ 2147483647 w 3447"/>
              <a:gd name="T89" fmla="*/ 2147483647 h 1499"/>
              <a:gd name="T90" fmla="*/ 2147483647 w 3447"/>
              <a:gd name="T91" fmla="*/ 2147483647 h 1499"/>
              <a:gd name="T92" fmla="*/ 2147483647 w 3447"/>
              <a:gd name="T93" fmla="*/ 2147483647 h 1499"/>
              <a:gd name="T94" fmla="*/ 2147483647 w 3447"/>
              <a:gd name="T95" fmla="*/ 2147483647 h 1499"/>
              <a:gd name="T96" fmla="*/ 2147483647 w 3447"/>
              <a:gd name="T97" fmla="*/ 2147483647 h 1499"/>
              <a:gd name="T98" fmla="*/ 2147483647 w 3447"/>
              <a:gd name="T99" fmla="*/ 2147483647 h 1499"/>
              <a:gd name="T100" fmla="*/ 2147483647 w 3447"/>
              <a:gd name="T101" fmla="*/ 2147483647 h 1499"/>
              <a:gd name="T102" fmla="*/ 2147483647 w 3447"/>
              <a:gd name="T103" fmla="*/ 2147483647 h 1499"/>
              <a:gd name="T104" fmla="*/ 2147483647 w 3447"/>
              <a:gd name="T105" fmla="*/ 2147483647 h 1499"/>
              <a:gd name="T106" fmla="*/ 2147483647 w 3447"/>
              <a:gd name="T107" fmla="*/ 2147483647 h 1499"/>
              <a:gd name="T108" fmla="*/ 2147483647 w 3447"/>
              <a:gd name="T109" fmla="*/ 2147483647 h 1499"/>
              <a:gd name="T110" fmla="*/ 2147483647 w 3447"/>
              <a:gd name="T111" fmla="*/ 2147483647 h 1499"/>
              <a:gd name="T112" fmla="*/ 2147483647 w 3447"/>
              <a:gd name="T113" fmla="*/ 2147483647 h 1499"/>
              <a:gd name="T114" fmla="*/ 2147483647 w 3447"/>
              <a:gd name="T115" fmla="*/ 2147483647 h 1499"/>
              <a:gd name="T116" fmla="*/ 2147483647 w 3447"/>
              <a:gd name="T117" fmla="*/ 2147483647 h 1499"/>
              <a:gd name="T118" fmla="*/ 2147483647 w 3447"/>
              <a:gd name="T119" fmla="*/ 2147483647 h 1499"/>
              <a:gd name="T120" fmla="*/ 0 w 3447"/>
              <a:gd name="T121" fmla="*/ 2147483647 h 149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447"/>
              <a:gd name="T184" fmla="*/ 0 h 1499"/>
              <a:gd name="T185" fmla="*/ 3447 w 3447"/>
              <a:gd name="T186" fmla="*/ 1499 h 149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447" h="1499">
                <a:moveTo>
                  <a:pt x="0" y="411"/>
                </a:moveTo>
                <a:lnTo>
                  <a:pt x="0" y="1360"/>
                </a:lnTo>
                <a:lnTo>
                  <a:pt x="3127" y="1359"/>
                </a:lnTo>
                <a:lnTo>
                  <a:pt x="3125" y="1498"/>
                </a:lnTo>
                <a:lnTo>
                  <a:pt x="3446" y="1121"/>
                </a:lnTo>
                <a:lnTo>
                  <a:pt x="3124" y="726"/>
                </a:lnTo>
                <a:lnTo>
                  <a:pt x="3124" y="871"/>
                </a:lnTo>
                <a:lnTo>
                  <a:pt x="2663" y="872"/>
                </a:lnTo>
                <a:lnTo>
                  <a:pt x="2202" y="872"/>
                </a:lnTo>
                <a:lnTo>
                  <a:pt x="1741" y="871"/>
                </a:lnTo>
                <a:lnTo>
                  <a:pt x="1880" y="861"/>
                </a:lnTo>
                <a:lnTo>
                  <a:pt x="2019" y="849"/>
                </a:lnTo>
                <a:lnTo>
                  <a:pt x="2157" y="834"/>
                </a:lnTo>
                <a:lnTo>
                  <a:pt x="2295" y="816"/>
                </a:lnTo>
                <a:lnTo>
                  <a:pt x="2432" y="796"/>
                </a:lnTo>
                <a:lnTo>
                  <a:pt x="2570" y="772"/>
                </a:lnTo>
                <a:lnTo>
                  <a:pt x="2706" y="747"/>
                </a:lnTo>
                <a:lnTo>
                  <a:pt x="2843" y="718"/>
                </a:lnTo>
                <a:lnTo>
                  <a:pt x="2858" y="781"/>
                </a:lnTo>
                <a:lnTo>
                  <a:pt x="2874" y="843"/>
                </a:lnTo>
                <a:lnTo>
                  <a:pt x="3037" y="496"/>
                </a:lnTo>
                <a:lnTo>
                  <a:pt x="2728" y="260"/>
                </a:lnTo>
                <a:lnTo>
                  <a:pt x="2766" y="399"/>
                </a:lnTo>
                <a:lnTo>
                  <a:pt x="2598" y="437"/>
                </a:lnTo>
                <a:lnTo>
                  <a:pt x="2431" y="473"/>
                </a:lnTo>
                <a:lnTo>
                  <a:pt x="2262" y="505"/>
                </a:lnTo>
                <a:lnTo>
                  <a:pt x="2093" y="537"/>
                </a:lnTo>
                <a:lnTo>
                  <a:pt x="1923" y="565"/>
                </a:lnTo>
                <a:lnTo>
                  <a:pt x="1754" y="591"/>
                </a:lnTo>
                <a:lnTo>
                  <a:pt x="1806" y="566"/>
                </a:lnTo>
                <a:lnTo>
                  <a:pt x="1855" y="538"/>
                </a:lnTo>
                <a:lnTo>
                  <a:pt x="1904" y="509"/>
                </a:lnTo>
                <a:lnTo>
                  <a:pt x="1951" y="476"/>
                </a:lnTo>
                <a:lnTo>
                  <a:pt x="1996" y="441"/>
                </a:lnTo>
                <a:lnTo>
                  <a:pt x="2036" y="404"/>
                </a:lnTo>
                <a:lnTo>
                  <a:pt x="2072" y="366"/>
                </a:lnTo>
                <a:lnTo>
                  <a:pt x="2107" y="324"/>
                </a:lnTo>
                <a:lnTo>
                  <a:pt x="2138" y="281"/>
                </a:lnTo>
                <a:lnTo>
                  <a:pt x="2168" y="235"/>
                </a:lnTo>
                <a:lnTo>
                  <a:pt x="2251" y="307"/>
                </a:lnTo>
                <a:lnTo>
                  <a:pt x="2181" y="0"/>
                </a:lnTo>
                <a:lnTo>
                  <a:pt x="1872" y="6"/>
                </a:lnTo>
                <a:lnTo>
                  <a:pt x="1965" y="85"/>
                </a:lnTo>
                <a:lnTo>
                  <a:pt x="1939" y="125"/>
                </a:lnTo>
                <a:lnTo>
                  <a:pt x="1911" y="163"/>
                </a:lnTo>
                <a:lnTo>
                  <a:pt x="1880" y="198"/>
                </a:lnTo>
                <a:lnTo>
                  <a:pt x="1847" y="231"/>
                </a:lnTo>
                <a:lnTo>
                  <a:pt x="1811" y="262"/>
                </a:lnTo>
                <a:lnTo>
                  <a:pt x="1773" y="290"/>
                </a:lnTo>
                <a:lnTo>
                  <a:pt x="1732" y="315"/>
                </a:lnTo>
                <a:lnTo>
                  <a:pt x="1691" y="338"/>
                </a:lnTo>
                <a:lnTo>
                  <a:pt x="1648" y="358"/>
                </a:lnTo>
                <a:lnTo>
                  <a:pt x="1605" y="375"/>
                </a:lnTo>
                <a:lnTo>
                  <a:pt x="1559" y="388"/>
                </a:lnTo>
                <a:lnTo>
                  <a:pt x="1514" y="399"/>
                </a:lnTo>
                <a:lnTo>
                  <a:pt x="1468" y="406"/>
                </a:lnTo>
                <a:lnTo>
                  <a:pt x="1420" y="410"/>
                </a:lnTo>
                <a:lnTo>
                  <a:pt x="1373" y="411"/>
                </a:lnTo>
                <a:lnTo>
                  <a:pt x="808" y="412"/>
                </a:lnTo>
                <a:lnTo>
                  <a:pt x="808" y="411"/>
                </a:lnTo>
                <a:lnTo>
                  <a:pt x="0" y="411"/>
                </a:lnTo>
              </a:path>
            </a:pathLst>
          </a:custGeom>
          <a:solidFill>
            <a:schemeClr val="accent3"/>
          </a:solidFill>
          <a:ln w="12700" cap="rnd">
            <a:solidFill>
              <a:schemeClr val="bg1"/>
            </a:solidFill>
            <a:round/>
            <a:headEnd/>
            <a:tailEnd/>
          </a:ln>
        </p:spPr>
        <p:txBody>
          <a:bodyPr/>
          <a:lstStyle/>
          <a:p>
            <a:pPr>
              <a:defRPr/>
            </a:pPr>
            <a:endParaRPr lang="en-GB"/>
          </a:p>
        </p:txBody>
      </p:sp>
      <p:sp>
        <p:nvSpPr>
          <p:cNvPr id="812036" name="Text Placeholder 15"/>
          <p:cNvSpPr>
            <a:spLocks noGrp="1"/>
          </p:cNvSpPr>
          <p:nvPr>
            <p:ph type="body" sz="quarter" idx="4294967295"/>
            <p:custDataLst>
              <p:tags r:id="rId1"/>
            </p:custDataLst>
          </p:nvPr>
        </p:nvSpPr>
        <p:spPr bwMode="auto">
          <a:xfrm>
            <a:off x="1017835" y="3201318"/>
            <a:ext cx="1557338" cy="872034"/>
          </a:xfrm>
          <a:prstGeom prst="rect">
            <a:avLst/>
          </a:prstGeom>
          <a:noFill/>
          <a:ln>
            <a:miter lim="800000"/>
            <a:headEnd/>
            <a:tailEnd/>
          </a:ln>
        </p:spPr>
        <p:txBody>
          <a:bodyPr/>
          <a:lstStyle/>
          <a:p>
            <a:pPr lvl="1"/>
            <a:r>
              <a:rPr lang="nl-NL" dirty="0">
                <a:solidFill>
                  <a:schemeClr val="bg1"/>
                </a:solidFill>
              </a:rPr>
              <a:t>Bullet</a:t>
            </a:r>
          </a:p>
          <a:p>
            <a:pPr marL="344488" lvl="2" indent="-174625"/>
            <a:r>
              <a:rPr lang="nl-NL" dirty="0">
                <a:solidFill>
                  <a:schemeClr val="bg1"/>
                </a:solidFill>
              </a:rPr>
              <a:t>Dash</a:t>
            </a:r>
          </a:p>
          <a:p>
            <a:pPr lvl="3"/>
            <a:r>
              <a:rPr lang="nl-NL" dirty="0">
                <a:solidFill>
                  <a:schemeClr val="bg1"/>
                </a:solidFill>
              </a:rPr>
              <a:t>Subbullet</a:t>
            </a:r>
          </a:p>
        </p:txBody>
      </p:sp>
      <p:sp>
        <p:nvSpPr>
          <p:cNvPr id="9"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0" name="Text Placeholder 12"/>
          <p:cNvSpPr>
            <a:spLocks/>
          </p:cNvSpPr>
          <p:nvPr>
            <p:custDataLst>
              <p:tags r:id="rId2"/>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3057" name="Title 1"/>
          <p:cNvSpPr>
            <a:spLocks noGrp="1"/>
          </p:cNvSpPr>
          <p:nvPr>
            <p:ph type="title"/>
          </p:nvPr>
        </p:nvSpPr>
        <p:spPr>
          <a:noFill/>
          <a:ln w="9525">
            <a:noFill/>
            <a:miter lim="800000"/>
            <a:headEnd/>
            <a:tailEnd/>
          </a:ln>
        </p:spPr>
        <p:txBody>
          <a:bodyPr vert="horz" wrap="square" lIns="0" tIns="0" rIns="0" bIns="0" numCol="1" anchor="t" anchorCtr="0" compatLnSpc="1">
            <a:prstTxWarp prst="textNoShape">
              <a:avLst/>
            </a:prstTxWarp>
          </a:bodyPr>
          <a:lstStyle/>
          <a:p>
            <a:r>
              <a:rPr lang="en-GB"/>
              <a:t>Continuous</a:t>
            </a:r>
            <a:endParaRPr lang="nl-NL"/>
          </a:p>
        </p:txBody>
      </p:sp>
      <p:sp>
        <p:nvSpPr>
          <p:cNvPr id="5" name="Freeform 2"/>
          <p:cNvSpPr>
            <a:spLocks/>
          </p:cNvSpPr>
          <p:nvPr/>
        </p:nvSpPr>
        <p:spPr bwMode="blackWhite">
          <a:xfrm>
            <a:off x="4579938" y="3823522"/>
            <a:ext cx="1574800" cy="942975"/>
          </a:xfrm>
          <a:custGeom>
            <a:avLst/>
            <a:gdLst>
              <a:gd name="T0" fmla="*/ 2147483647 w 836"/>
              <a:gd name="T1" fmla="*/ 2147483647 h 475"/>
              <a:gd name="T2" fmla="*/ 2147483647 w 836"/>
              <a:gd name="T3" fmla="*/ 0 h 475"/>
              <a:gd name="T4" fmla="*/ 2147483647 w 836"/>
              <a:gd name="T5" fmla="*/ 0 h 475"/>
              <a:gd name="T6" fmla="*/ 2147483647 w 836"/>
              <a:gd name="T7" fmla="*/ 2147483647 h 475"/>
              <a:gd name="T8" fmla="*/ 0 w 836"/>
              <a:gd name="T9" fmla="*/ 2147483647 h 475"/>
              <a:gd name="T10" fmla="*/ 2147483647 w 836"/>
              <a:gd name="T11" fmla="*/ 2147483647 h 475"/>
              <a:gd name="T12" fmla="*/ 2147483647 w 836"/>
              <a:gd name="T13" fmla="*/ 2147483647 h 475"/>
              <a:gd name="T14" fmla="*/ 0 60000 65536"/>
              <a:gd name="T15" fmla="*/ 0 60000 65536"/>
              <a:gd name="T16" fmla="*/ 0 60000 65536"/>
              <a:gd name="T17" fmla="*/ 0 60000 65536"/>
              <a:gd name="T18" fmla="*/ 0 60000 65536"/>
              <a:gd name="T19" fmla="*/ 0 60000 65536"/>
              <a:gd name="T20" fmla="*/ 0 60000 65536"/>
              <a:gd name="T21" fmla="*/ 0 w 836"/>
              <a:gd name="T22" fmla="*/ 0 h 475"/>
              <a:gd name="T23" fmla="*/ 836 w 836"/>
              <a:gd name="T24" fmla="*/ 475 h 4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6" h="475">
                <a:moveTo>
                  <a:pt x="835" y="232"/>
                </a:moveTo>
                <a:lnTo>
                  <a:pt x="748" y="0"/>
                </a:lnTo>
                <a:lnTo>
                  <a:pt x="2" y="0"/>
                </a:lnTo>
                <a:lnTo>
                  <a:pt x="79" y="233"/>
                </a:lnTo>
                <a:lnTo>
                  <a:pt x="0" y="473"/>
                </a:lnTo>
                <a:lnTo>
                  <a:pt x="741" y="474"/>
                </a:lnTo>
                <a:lnTo>
                  <a:pt x="835" y="232"/>
                </a:lnTo>
              </a:path>
            </a:pathLst>
          </a:custGeom>
          <a:solidFill>
            <a:schemeClr val="accent3"/>
          </a:solidFill>
          <a:ln w="12700" cap="rnd">
            <a:solidFill>
              <a:schemeClr val="bg1"/>
            </a:solidFill>
            <a:round/>
            <a:headEnd/>
            <a:tailEnd/>
          </a:ln>
        </p:spPr>
        <p:txBody>
          <a:bodyPr/>
          <a:lstStyle/>
          <a:p>
            <a:pPr>
              <a:defRPr/>
            </a:pPr>
            <a:endParaRPr lang="en-GB" sz="1400">
              <a:solidFill>
                <a:schemeClr val="bg1"/>
              </a:solidFill>
            </a:endParaRPr>
          </a:p>
        </p:txBody>
      </p:sp>
      <p:sp>
        <p:nvSpPr>
          <p:cNvPr id="6" name="Freeform 3"/>
          <p:cNvSpPr>
            <a:spLocks/>
          </p:cNvSpPr>
          <p:nvPr/>
        </p:nvSpPr>
        <p:spPr bwMode="blackWhite">
          <a:xfrm>
            <a:off x="3379788" y="3123434"/>
            <a:ext cx="1301750" cy="1643063"/>
          </a:xfrm>
          <a:custGeom>
            <a:avLst/>
            <a:gdLst>
              <a:gd name="T0" fmla="*/ 2147483647 w 691"/>
              <a:gd name="T1" fmla="*/ 2147483647 h 828"/>
              <a:gd name="T2" fmla="*/ 2147483647 w 691"/>
              <a:gd name="T3" fmla="*/ 2147483647 h 828"/>
              <a:gd name="T4" fmla="*/ 2147483647 w 691"/>
              <a:gd name="T5" fmla="*/ 2147483647 h 828"/>
              <a:gd name="T6" fmla="*/ 0 w 691"/>
              <a:gd name="T7" fmla="*/ 0 h 828"/>
              <a:gd name="T8" fmla="*/ 0 w 691"/>
              <a:gd name="T9" fmla="*/ 2147483647 h 828"/>
              <a:gd name="T10" fmla="*/ 0 w 691"/>
              <a:gd name="T11" fmla="*/ 2147483647 h 828"/>
              <a:gd name="T12" fmla="*/ 0 w 691"/>
              <a:gd name="T13" fmla="*/ 2147483647 h 828"/>
              <a:gd name="T14" fmla="*/ 2147483647 w 691"/>
              <a:gd name="T15" fmla="*/ 2147483647 h 828"/>
              <a:gd name="T16" fmla="*/ 2147483647 w 691"/>
              <a:gd name="T17" fmla="*/ 2147483647 h 828"/>
              <a:gd name="T18" fmla="*/ 2147483647 w 691"/>
              <a:gd name="T19" fmla="*/ 2147483647 h 828"/>
              <a:gd name="T20" fmla="*/ 2147483647 w 691"/>
              <a:gd name="T21" fmla="*/ 2147483647 h 828"/>
              <a:gd name="T22" fmla="*/ 2147483647 w 691"/>
              <a:gd name="T23" fmla="*/ 2147483647 h 828"/>
              <a:gd name="T24" fmla="*/ 2147483647 w 691"/>
              <a:gd name="T25" fmla="*/ 2147483647 h 828"/>
              <a:gd name="T26" fmla="*/ 2147483647 w 691"/>
              <a:gd name="T27" fmla="*/ 2147483647 h 828"/>
              <a:gd name="T28" fmla="*/ 2147483647 w 691"/>
              <a:gd name="T29" fmla="*/ 2147483647 h 828"/>
              <a:gd name="T30" fmla="*/ 2147483647 w 691"/>
              <a:gd name="T31" fmla="*/ 2147483647 h 828"/>
              <a:gd name="T32" fmla="*/ 2147483647 w 691"/>
              <a:gd name="T33" fmla="*/ 2147483647 h 828"/>
              <a:gd name="T34" fmla="*/ 2147483647 w 691"/>
              <a:gd name="T35" fmla="*/ 2147483647 h 828"/>
              <a:gd name="T36" fmla="*/ 2147483647 w 691"/>
              <a:gd name="T37" fmla="*/ 2147483647 h 828"/>
              <a:gd name="T38" fmla="*/ 2147483647 w 691"/>
              <a:gd name="T39" fmla="*/ 2147483647 h 828"/>
              <a:gd name="T40" fmla="*/ 2147483647 w 691"/>
              <a:gd name="T41" fmla="*/ 2147483647 h 828"/>
              <a:gd name="T42" fmla="*/ 2147483647 w 691"/>
              <a:gd name="T43" fmla="*/ 2147483647 h 828"/>
              <a:gd name="T44" fmla="*/ 2147483647 w 691"/>
              <a:gd name="T45" fmla="*/ 2147483647 h 828"/>
              <a:gd name="T46" fmla="*/ 2147483647 w 691"/>
              <a:gd name="T47" fmla="*/ 2147483647 h 828"/>
              <a:gd name="T48" fmla="*/ 2147483647 w 691"/>
              <a:gd name="T49" fmla="*/ 2147483647 h 828"/>
              <a:gd name="T50" fmla="*/ 2147483647 w 691"/>
              <a:gd name="T51" fmla="*/ 2147483647 h 828"/>
              <a:gd name="T52" fmla="*/ 2147483647 w 691"/>
              <a:gd name="T53" fmla="*/ 2147483647 h 828"/>
              <a:gd name="T54" fmla="*/ 2147483647 w 691"/>
              <a:gd name="T55" fmla="*/ 2147483647 h 828"/>
              <a:gd name="T56" fmla="*/ 2147483647 w 691"/>
              <a:gd name="T57" fmla="*/ 2147483647 h 828"/>
              <a:gd name="T58" fmla="*/ 2147483647 w 691"/>
              <a:gd name="T59" fmla="*/ 2147483647 h 828"/>
              <a:gd name="T60" fmla="*/ 2147483647 w 691"/>
              <a:gd name="T61" fmla="*/ 2147483647 h 82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91"/>
              <a:gd name="T94" fmla="*/ 0 h 828"/>
              <a:gd name="T95" fmla="*/ 691 w 691"/>
              <a:gd name="T96" fmla="*/ 828 h 82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91" h="828">
                <a:moveTo>
                  <a:pt x="472" y="310"/>
                </a:moveTo>
                <a:lnTo>
                  <a:pt x="474" y="6"/>
                </a:lnTo>
                <a:lnTo>
                  <a:pt x="243" y="98"/>
                </a:lnTo>
                <a:lnTo>
                  <a:pt x="0" y="0"/>
                </a:lnTo>
                <a:lnTo>
                  <a:pt x="0" y="309"/>
                </a:lnTo>
                <a:lnTo>
                  <a:pt x="0" y="618"/>
                </a:lnTo>
                <a:lnTo>
                  <a:pt x="0" y="640"/>
                </a:lnTo>
                <a:lnTo>
                  <a:pt x="4" y="661"/>
                </a:lnTo>
                <a:lnTo>
                  <a:pt x="9" y="681"/>
                </a:lnTo>
                <a:lnTo>
                  <a:pt x="17" y="701"/>
                </a:lnTo>
                <a:lnTo>
                  <a:pt x="28" y="720"/>
                </a:lnTo>
                <a:lnTo>
                  <a:pt x="41" y="738"/>
                </a:lnTo>
                <a:lnTo>
                  <a:pt x="58" y="754"/>
                </a:lnTo>
                <a:lnTo>
                  <a:pt x="75" y="768"/>
                </a:lnTo>
                <a:lnTo>
                  <a:pt x="95" y="782"/>
                </a:lnTo>
                <a:lnTo>
                  <a:pt x="118" y="794"/>
                </a:lnTo>
                <a:lnTo>
                  <a:pt x="142" y="804"/>
                </a:lnTo>
                <a:lnTo>
                  <a:pt x="167" y="812"/>
                </a:lnTo>
                <a:lnTo>
                  <a:pt x="194" y="819"/>
                </a:lnTo>
                <a:lnTo>
                  <a:pt x="223" y="824"/>
                </a:lnTo>
                <a:lnTo>
                  <a:pt x="252" y="827"/>
                </a:lnTo>
                <a:lnTo>
                  <a:pt x="614" y="827"/>
                </a:lnTo>
                <a:lnTo>
                  <a:pt x="690" y="586"/>
                </a:lnTo>
                <a:lnTo>
                  <a:pt x="609" y="355"/>
                </a:lnTo>
                <a:lnTo>
                  <a:pt x="512" y="355"/>
                </a:lnTo>
                <a:lnTo>
                  <a:pt x="501" y="352"/>
                </a:lnTo>
                <a:lnTo>
                  <a:pt x="492" y="346"/>
                </a:lnTo>
                <a:lnTo>
                  <a:pt x="484" y="339"/>
                </a:lnTo>
                <a:lnTo>
                  <a:pt x="478" y="330"/>
                </a:lnTo>
                <a:lnTo>
                  <a:pt x="474" y="321"/>
                </a:lnTo>
                <a:lnTo>
                  <a:pt x="472" y="310"/>
                </a:lnTo>
              </a:path>
            </a:pathLst>
          </a:custGeom>
          <a:solidFill>
            <a:schemeClr val="accent3"/>
          </a:solidFill>
          <a:ln w="12700" cap="rnd">
            <a:solidFill>
              <a:schemeClr val="bg1"/>
            </a:solidFill>
            <a:round/>
            <a:headEnd/>
            <a:tailEnd/>
          </a:ln>
        </p:spPr>
        <p:txBody>
          <a:bodyPr/>
          <a:lstStyle/>
          <a:p>
            <a:pPr>
              <a:defRPr/>
            </a:pPr>
            <a:endParaRPr lang="en-GB" sz="1400">
              <a:solidFill>
                <a:schemeClr val="bg1"/>
              </a:solidFill>
            </a:endParaRPr>
          </a:p>
        </p:txBody>
      </p:sp>
      <p:sp>
        <p:nvSpPr>
          <p:cNvPr id="7" name="Freeform 4"/>
          <p:cNvSpPr>
            <a:spLocks/>
          </p:cNvSpPr>
          <p:nvPr/>
        </p:nvSpPr>
        <p:spPr bwMode="blackWhite">
          <a:xfrm>
            <a:off x="6032500" y="3402834"/>
            <a:ext cx="1557338" cy="1362075"/>
          </a:xfrm>
          <a:custGeom>
            <a:avLst/>
            <a:gdLst>
              <a:gd name="T0" fmla="*/ 2147483647 w 824"/>
              <a:gd name="T1" fmla="*/ 2147483647 h 687"/>
              <a:gd name="T2" fmla="*/ 2147483647 w 824"/>
              <a:gd name="T3" fmla="*/ 2147483647 h 687"/>
              <a:gd name="T4" fmla="*/ 2147483647 w 824"/>
              <a:gd name="T5" fmla="*/ 2147483647 h 687"/>
              <a:gd name="T6" fmla="*/ 2147483647 w 824"/>
              <a:gd name="T7" fmla="*/ 2147483647 h 687"/>
              <a:gd name="T8" fmla="*/ 0 w 824"/>
              <a:gd name="T9" fmla="*/ 2147483647 h 687"/>
              <a:gd name="T10" fmla="*/ 2147483647 w 824"/>
              <a:gd name="T11" fmla="*/ 2147483647 h 687"/>
              <a:gd name="T12" fmla="*/ 2147483647 w 824"/>
              <a:gd name="T13" fmla="*/ 2147483647 h 687"/>
              <a:gd name="T14" fmla="*/ 2147483647 w 824"/>
              <a:gd name="T15" fmla="*/ 2147483647 h 687"/>
              <a:gd name="T16" fmla="*/ 2147483647 w 824"/>
              <a:gd name="T17" fmla="*/ 2147483647 h 687"/>
              <a:gd name="T18" fmla="*/ 2147483647 w 824"/>
              <a:gd name="T19" fmla="*/ 2147483647 h 687"/>
              <a:gd name="T20" fmla="*/ 2147483647 w 824"/>
              <a:gd name="T21" fmla="*/ 2147483647 h 687"/>
              <a:gd name="T22" fmla="*/ 2147483647 w 824"/>
              <a:gd name="T23" fmla="*/ 2147483647 h 687"/>
              <a:gd name="T24" fmla="*/ 2147483647 w 824"/>
              <a:gd name="T25" fmla="*/ 2147483647 h 687"/>
              <a:gd name="T26" fmla="*/ 2147483647 w 824"/>
              <a:gd name="T27" fmla="*/ 2147483647 h 687"/>
              <a:gd name="T28" fmla="*/ 2147483647 w 824"/>
              <a:gd name="T29" fmla="*/ 2147483647 h 687"/>
              <a:gd name="T30" fmla="*/ 2147483647 w 824"/>
              <a:gd name="T31" fmla="*/ 2147483647 h 687"/>
              <a:gd name="T32" fmla="*/ 2147483647 w 824"/>
              <a:gd name="T33" fmla="*/ 2147483647 h 687"/>
              <a:gd name="T34" fmla="*/ 2147483647 w 824"/>
              <a:gd name="T35" fmla="*/ 2147483647 h 687"/>
              <a:gd name="T36" fmla="*/ 2147483647 w 824"/>
              <a:gd name="T37" fmla="*/ 2147483647 h 687"/>
              <a:gd name="T38" fmla="*/ 2147483647 w 824"/>
              <a:gd name="T39" fmla="*/ 2147483647 h 687"/>
              <a:gd name="T40" fmla="*/ 2147483647 w 824"/>
              <a:gd name="T41" fmla="*/ 2147483647 h 687"/>
              <a:gd name="T42" fmla="*/ 2147483647 w 824"/>
              <a:gd name="T43" fmla="*/ 0 h 687"/>
              <a:gd name="T44" fmla="*/ 2147483647 w 824"/>
              <a:gd name="T45" fmla="*/ 2147483647 h 687"/>
              <a:gd name="T46" fmla="*/ 2147483647 w 824"/>
              <a:gd name="T47" fmla="*/ 2147483647 h 687"/>
              <a:gd name="T48" fmla="*/ 2147483647 w 824"/>
              <a:gd name="T49" fmla="*/ 2147483647 h 687"/>
              <a:gd name="T50" fmla="*/ 2147483647 w 824"/>
              <a:gd name="T51" fmla="*/ 2147483647 h 687"/>
              <a:gd name="T52" fmla="*/ 2147483647 w 824"/>
              <a:gd name="T53" fmla="*/ 2147483647 h 687"/>
              <a:gd name="T54" fmla="*/ 2147483647 w 824"/>
              <a:gd name="T55" fmla="*/ 2147483647 h 687"/>
              <a:gd name="T56" fmla="*/ 2147483647 w 824"/>
              <a:gd name="T57" fmla="*/ 2147483647 h 687"/>
              <a:gd name="T58" fmla="*/ 2147483647 w 824"/>
              <a:gd name="T59" fmla="*/ 2147483647 h 6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24"/>
              <a:gd name="T91" fmla="*/ 0 h 687"/>
              <a:gd name="T92" fmla="*/ 824 w 824"/>
              <a:gd name="T93" fmla="*/ 687 h 68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24" h="687">
                <a:moveTo>
                  <a:pt x="292" y="213"/>
                </a:moveTo>
                <a:lnTo>
                  <a:pt x="149" y="213"/>
                </a:lnTo>
                <a:lnTo>
                  <a:pt x="6" y="213"/>
                </a:lnTo>
                <a:lnTo>
                  <a:pt x="89" y="439"/>
                </a:lnTo>
                <a:lnTo>
                  <a:pt x="0" y="686"/>
                </a:lnTo>
                <a:lnTo>
                  <a:pt x="659" y="686"/>
                </a:lnTo>
                <a:lnTo>
                  <a:pt x="682" y="682"/>
                </a:lnTo>
                <a:lnTo>
                  <a:pt x="703" y="676"/>
                </a:lnTo>
                <a:lnTo>
                  <a:pt x="724" y="668"/>
                </a:lnTo>
                <a:lnTo>
                  <a:pt x="742" y="658"/>
                </a:lnTo>
                <a:lnTo>
                  <a:pt x="758" y="645"/>
                </a:lnTo>
                <a:lnTo>
                  <a:pt x="773" y="629"/>
                </a:lnTo>
                <a:lnTo>
                  <a:pt x="786" y="611"/>
                </a:lnTo>
                <a:lnTo>
                  <a:pt x="797" y="592"/>
                </a:lnTo>
                <a:lnTo>
                  <a:pt x="806" y="569"/>
                </a:lnTo>
                <a:lnTo>
                  <a:pt x="813" y="545"/>
                </a:lnTo>
                <a:lnTo>
                  <a:pt x="818" y="519"/>
                </a:lnTo>
                <a:lnTo>
                  <a:pt x="822" y="490"/>
                </a:lnTo>
                <a:lnTo>
                  <a:pt x="823" y="460"/>
                </a:lnTo>
                <a:lnTo>
                  <a:pt x="823" y="428"/>
                </a:lnTo>
                <a:lnTo>
                  <a:pt x="823" y="82"/>
                </a:lnTo>
                <a:lnTo>
                  <a:pt x="580" y="0"/>
                </a:lnTo>
                <a:lnTo>
                  <a:pt x="352" y="80"/>
                </a:lnTo>
                <a:lnTo>
                  <a:pt x="352" y="171"/>
                </a:lnTo>
                <a:lnTo>
                  <a:pt x="346" y="183"/>
                </a:lnTo>
                <a:lnTo>
                  <a:pt x="339" y="193"/>
                </a:lnTo>
                <a:lnTo>
                  <a:pt x="329" y="202"/>
                </a:lnTo>
                <a:lnTo>
                  <a:pt x="318" y="209"/>
                </a:lnTo>
                <a:lnTo>
                  <a:pt x="305" y="213"/>
                </a:lnTo>
                <a:lnTo>
                  <a:pt x="292" y="213"/>
                </a:lnTo>
              </a:path>
            </a:pathLst>
          </a:custGeom>
          <a:solidFill>
            <a:schemeClr val="accent3"/>
          </a:solidFill>
          <a:ln w="12700" cap="rnd">
            <a:solidFill>
              <a:schemeClr val="bg1"/>
            </a:solidFill>
            <a:round/>
            <a:headEnd/>
            <a:tailEnd/>
          </a:ln>
        </p:spPr>
        <p:txBody>
          <a:bodyPr/>
          <a:lstStyle/>
          <a:p>
            <a:pPr>
              <a:defRPr/>
            </a:pPr>
            <a:endParaRPr lang="en-GB" sz="1400">
              <a:solidFill>
                <a:schemeClr val="bg1"/>
              </a:solidFill>
            </a:endParaRPr>
          </a:p>
        </p:txBody>
      </p:sp>
      <p:sp>
        <p:nvSpPr>
          <p:cNvPr id="8" name="Freeform 5"/>
          <p:cNvSpPr>
            <a:spLocks/>
          </p:cNvSpPr>
          <p:nvPr/>
        </p:nvSpPr>
        <p:spPr bwMode="blackWhite">
          <a:xfrm>
            <a:off x="4875213" y="2229672"/>
            <a:ext cx="1555750" cy="1363662"/>
          </a:xfrm>
          <a:custGeom>
            <a:avLst/>
            <a:gdLst>
              <a:gd name="T0" fmla="*/ 2147483647 w 824"/>
              <a:gd name="T1" fmla="*/ 2147483647 h 688"/>
              <a:gd name="T2" fmla="*/ 2147483647 w 824"/>
              <a:gd name="T3" fmla="*/ 2147483647 h 688"/>
              <a:gd name="T4" fmla="*/ 2147483647 w 824"/>
              <a:gd name="T5" fmla="*/ 2147483647 h 688"/>
              <a:gd name="T6" fmla="*/ 2147483647 w 824"/>
              <a:gd name="T7" fmla="*/ 2147483647 h 688"/>
              <a:gd name="T8" fmla="*/ 2147483647 w 824"/>
              <a:gd name="T9" fmla="*/ 0 h 688"/>
              <a:gd name="T10" fmla="*/ 2147483647 w 824"/>
              <a:gd name="T11" fmla="*/ 0 h 688"/>
              <a:gd name="T12" fmla="*/ 2147483647 w 824"/>
              <a:gd name="T13" fmla="*/ 2147483647 h 688"/>
              <a:gd name="T14" fmla="*/ 2147483647 w 824"/>
              <a:gd name="T15" fmla="*/ 2147483647 h 688"/>
              <a:gd name="T16" fmla="*/ 2147483647 w 824"/>
              <a:gd name="T17" fmla="*/ 2147483647 h 688"/>
              <a:gd name="T18" fmla="*/ 2147483647 w 824"/>
              <a:gd name="T19" fmla="*/ 2147483647 h 688"/>
              <a:gd name="T20" fmla="*/ 2147483647 w 824"/>
              <a:gd name="T21" fmla="*/ 2147483647 h 688"/>
              <a:gd name="T22" fmla="*/ 2147483647 w 824"/>
              <a:gd name="T23" fmla="*/ 2147483647 h 688"/>
              <a:gd name="T24" fmla="*/ 2147483647 w 824"/>
              <a:gd name="T25" fmla="*/ 2147483647 h 688"/>
              <a:gd name="T26" fmla="*/ 2147483647 w 824"/>
              <a:gd name="T27" fmla="*/ 2147483647 h 688"/>
              <a:gd name="T28" fmla="*/ 2147483647 w 824"/>
              <a:gd name="T29" fmla="*/ 2147483647 h 688"/>
              <a:gd name="T30" fmla="*/ 2147483647 w 824"/>
              <a:gd name="T31" fmla="*/ 2147483647 h 688"/>
              <a:gd name="T32" fmla="*/ 2147483647 w 824"/>
              <a:gd name="T33" fmla="*/ 2147483647 h 688"/>
              <a:gd name="T34" fmla="*/ 2147483647 w 824"/>
              <a:gd name="T35" fmla="*/ 2147483647 h 688"/>
              <a:gd name="T36" fmla="*/ 0 w 824"/>
              <a:gd name="T37" fmla="*/ 2147483647 h 688"/>
              <a:gd name="T38" fmla="*/ 2147483647 w 824"/>
              <a:gd name="T39" fmla="*/ 2147483647 h 688"/>
              <a:gd name="T40" fmla="*/ 2147483647 w 824"/>
              <a:gd name="T41" fmla="*/ 2147483647 h 688"/>
              <a:gd name="T42" fmla="*/ 2147483647 w 824"/>
              <a:gd name="T43" fmla="*/ 2147483647 h 688"/>
              <a:gd name="T44" fmla="*/ 2147483647 w 824"/>
              <a:gd name="T45" fmla="*/ 2147483647 h 688"/>
              <a:gd name="T46" fmla="*/ 2147483647 w 824"/>
              <a:gd name="T47" fmla="*/ 2147483647 h 688"/>
              <a:gd name="T48" fmla="*/ 2147483647 w 824"/>
              <a:gd name="T49" fmla="*/ 2147483647 h 688"/>
              <a:gd name="T50" fmla="*/ 2147483647 w 824"/>
              <a:gd name="T51" fmla="*/ 2147483647 h 688"/>
              <a:gd name="T52" fmla="*/ 2147483647 w 824"/>
              <a:gd name="T53" fmla="*/ 2147483647 h 688"/>
              <a:gd name="T54" fmla="*/ 2147483647 w 824"/>
              <a:gd name="T55" fmla="*/ 2147483647 h 688"/>
              <a:gd name="T56" fmla="*/ 2147483647 w 824"/>
              <a:gd name="T57" fmla="*/ 2147483647 h 688"/>
              <a:gd name="T58" fmla="*/ 2147483647 w 824"/>
              <a:gd name="T59" fmla="*/ 2147483647 h 68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24"/>
              <a:gd name="T91" fmla="*/ 0 h 688"/>
              <a:gd name="T92" fmla="*/ 824 w 824"/>
              <a:gd name="T93" fmla="*/ 688 h 68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24" h="688">
                <a:moveTo>
                  <a:pt x="531" y="473"/>
                </a:moveTo>
                <a:lnTo>
                  <a:pt x="675" y="474"/>
                </a:lnTo>
                <a:lnTo>
                  <a:pt x="819" y="473"/>
                </a:lnTo>
                <a:lnTo>
                  <a:pt x="729" y="244"/>
                </a:lnTo>
                <a:lnTo>
                  <a:pt x="823" y="0"/>
                </a:lnTo>
                <a:lnTo>
                  <a:pt x="164" y="0"/>
                </a:lnTo>
                <a:lnTo>
                  <a:pt x="141" y="4"/>
                </a:lnTo>
                <a:lnTo>
                  <a:pt x="120" y="10"/>
                </a:lnTo>
                <a:lnTo>
                  <a:pt x="100" y="19"/>
                </a:lnTo>
                <a:lnTo>
                  <a:pt x="82" y="30"/>
                </a:lnTo>
                <a:lnTo>
                  <a:pt x="66" y="43"/>
                </a:lnTo>
                <a:lnTo>
                  <a:pt x="51" y="58"/>
                </a:lnTo>
                <a:lnTo>
                  <a:pt x="38" y="76"/>
                </a:lnTo>
                <a:lnTo>
                  <a:pt x="27" y="96"/>
                </a:lnTo>
                <a:lnTo>
                  <a:pt x="18" y="118"/>
                </a:lnTo>
                <a:lnTo>
                  <a:pt x="10" y="142"/>
                </a:lnTo>
                <a:lnTo>
                  <a:pt x="5" y="168"/>
                </a:lnTo>
                <a:lnTo>
                  <a:pt x="1" y="196"/>
                </a:lnTo>
                <a:lnTo>
                  <a:pt x="0" y="227"/>
                </a:lnTo>
                <a:lnTo>
                  <a:pt x="1" y="259"/>
                </a:lnTo>
                <a:lnTo>
                  <a:pt x="1" y="611"/>
                </a:lnTo>
                <a:lnTo>
                  <a:pt x="244" y="687"/>
                </a:lnTo>
                <a:lnTo>
                  <a:pt x="472" y="607"/>
                </a:lnTo>
                <a:lnTo>
                  <a:pt x="472" y="517"/>
                </a:lnTo>
                <a:lnTo>
                  <a:pt x="477" y="504"/>
                </a:lnTo>
                <a:lnTo>
                  <a:pt x="485" y="493"/>
                </a:lnTo>
                <a:lnTo>
                  <a:pt x="495" y="485"/>
                </a:lnTo>
                <a:lnTo>
                  <a:pt x="506" y="479"/>
                </a:lnTo>
                <a:lnTo>
                  <a:pt x="519" y="475"/>
                </a:lnTo>
                <a:lnTo>
                  <a:pt x="531" y="473"/>
                </a:lnTo>
              </a:path>
            </a:pathLst>
          </a:custGeom>
          <a:solidFill>
            <a:schemeClr val="accent3"/>
          </a:solidFill>
          <a:ln w="12700" cap="rnd">
            <a:solidFill>
              <a:schemeClr val="bg1"/>
            </a:solidFill>
            <a:round/>
            <a:headEnd/>
            <a:tailEnd/>
          </a:ln>
        </p:spPr>
        <p:txBody>
          <a:bodyPr/>
          <a:lstStyle/>
          <a:p>
            <a:pPr>
              <a:defRPr/>
            </a:pPr>
            <a:endParaRPr lang="en-GB" sz="1400">
              <a:solidFill>
                <a:schemeClr val="bg1"/>
              </a:solidFill>
            </a:endParaRPr>
          </a:p>
        </p:txBody>
      </p:sp>
      <p:sp>
        <p:nvSpPr>
          <p:cNvPr id="9" name="Freeform 6"/>
          <p:cNvSpPr>
            <a:spLocks/>
          </p:cNvSpPr>
          <p:nvPr/>
        </p:nvSpPr>
        <p:spPr bwMode="blackWhite">
          <a:xfrm>
            <a:off x="6307138" y="2228084"/>
            <a:ext cx="1282700" cy="1292225"/>
          </a:xfrm>
          <a:custGeom>
            <a:avLst/>
            <a:gdLst>
              <a:gd name="T0" fmla="*/ 2147483647 w 678"/>
              <a:gd name="T1" fmla="*/ 2147483647 h 652"/>
              <a:gd name="T2" fmla="*/ 2147483647 w 678"/>
              <a:gd name="T3" fmla="*/ 2147483647 h 652"/>
              <a:gd name="T4" fmla="*/ 2147483647 w 678"/>
              <a:gd name="T5" fmla="*/ 2147483647 h 652"/>
              <a:gd name="T6" fmla="*/ 2147483647 w 678"/>
              <a:gd name="T7" fmla="*/ 2147483647 h 652"/>
              <a:gd name="T8" fmla="*/ 2147483647 w 678"/>
              <a:gd name="T9" fmla="*/ 2147483647 h 652"/>
              <a:gd name="T10" fmla="*/ 2147483647 w 678"/>
              <a:gd name="T11" fmla="*/ 2147483647 h 652"/>
              <a:gd name="T12" fmla="*/ 2147483647 w 678"/>
              <a:gd name="T13" fmla="*/ 2147483647 h 652"/>
              <a:gd name="T14" fmla="*/ 2147483647 w 678"/>
              <a:gd name="T15" fmla="*/ 2147483647 h 652"/>
              <a:gd name="T16" fmla="*/ 2147483647 w 678"/>
              <a:gd name="T17" fmla="*/ 2147483647 h 652"/>
              <a:gd name="T18" fmla="*/ 2147483647 w 678"/>
              <a:gd name="T19" fmla="*/ 2147483647 h 652"/>
              <a:gd name="T20" fmla="*/ 2147483647 w 678"/>
              <a:gd name="T21" fmla="*/ 2147483647 h 652"/>
              <a:gd name="T22" fmla="*/ 2147483647 w 678"/>
              <a:gd name="T23" fmla="*/ 2147483647 h 652"/>
              <a:gd name="T24" fmla="*/ 2147483647 w 678"/>
              <a:gd name="T25" fmla="*/ 2147483647 h 652"/>
              <a:gd name="T26" fmla="*/ 2147483647 w 678"/>
              <a:gd name="T27" fmla="*/ 2147483647 h 652"/>
              <a:gd name="T28" fmla="*/ 2147483647 w 678"/>
              <a:gd name="T29" fmla="*/ 2147483647 h 652"/>
              <a:gd name="T30" fmla="*/ 2147483647 w 678"/>
              <a:gd name="T31" fmla="*/ 2147483647 h 652"/>
              <a:gd name="T32" fmla="*/ 2147483647 w 678"/>
              <a:gd name="T33" fmla="*/ 2147483647 h 652"/>
              <a:gd name="T34" fmla="*/ 2147483647 w 678"/>
              <a:gd name="T35" fmla="*/ 2147483647 h 652"/>
              <a:gd name="T36" fmla="*/ 2147483647 w 678"/>
              <a:gd name="T37" fmla="*/ 2147483647 h 652"/>
              <a:gd name="T38" fmla="*/ 2147483647 w 678"/>
              <a:gd name="T39" fmla="*/ 0 h 652"/>
              <a:gd name="T40" fmla="*/ 0 w 678"/>
              <a:gd name="T41" fmla="*/ 2147483647 h 652"/>
              <a:gd name="T42" fmla="*/ 2147483647 w 678"/>
              <a:gd name="T43" fmla="*/ 2147483647 h 652"/>
              <a:gd name="T44" fmla="*/ 2147483647 w 678"/>
              <a:gd name="T45" fmla="*/ 2147483647 h 652"/>
              <a:gd name="T46" fmla="*/ 2147483647 w 678"/>
              <a:gd name="T47" fmla="*/ 2147483647 h 652"/>
              <a:gd name="T48" fmla="*/ 2147483647 w 678"/>
              <a:gd name="T49" fmla="*/ 2147483647 h 652"/>
              <a:gd name="T50" fmla="*/ 2147483647 w 678"/>
              <a:gd name="T51" fmla="*/ 2147483647 h 652"/>
              <a:gd name="T52" fmla="*/ 2147483647 w 678"/>
              <a:gd name="T53" fmla="*/ 2147483647 h 652"/>
              <a:gd name="T54" fmla="*/ 2147483647 w 678"/>
              <a:gd name="T55" fmla="*/ 2147483647 h 652"/>
              <a:gd name="T56" fmla="*/ 2147483647 w 678"/>
              <a:gd name="T57" fmla="*/ 2147483647 h 652"/>
              <a:gd name="T58" fmla="*/ 2147483647 w 678"/>
              <a:gd name="T59" fmla="*/ 2147483647 h 652"/>
              <a:gd name="T60" fmla="*/ 2147483647 w 678"/>
              <a:gd name="T61" fmla="*/ 2147483647 h 652"/>
              <a:gd name="T62" fmla="*/ 2147483647 w 678"/>
              <a:gd name="T63" fmla="*/ 2147483647 h 6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8"/>
              <a:gd name="T97" fmla="*/ 0 h 652"/>
              <a:gd name="T98" fmla="*/ 678 w 678"/>
              <a:gd name="T99" fmla="*/ 652 h 6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8" h="652">
                <a:moveTo>
                  <a:pt x="205" y="545"/>
                </a:moveTo>
                <a:lnTo>
                  <a:pt x="205" y="651"/>
                </a:lnTo>
                <a:lnTo>
                  <a:pt x="435" y="569"/>
                </a:lnTo>
                <a:lnTo>
                  <a:pt x="677" y="649"/>
                </a:lnTo>
                <a:lnTo>
                  <a:pt x="677" y="180"/>
                </a:lnTo>
                <a:lnTo>
                  <a:pt x="674" y="156"/>
                </a:lnTo>
                <a:lnTo>
                  <a:pt x="669" y="133"/>
                </a:lnTo>
                <a:lnTo>
                  <a:pt x="661" y="113"/>
                </a:lnTo>
                <a:lnTo>
                  <a:pt x="650" y="93"/>
                </a:lnTo>
                <a:lnTo>
                  <a:pt x="637" y="75"/>
                </a:lnTo>
                <a:lnTo>
                  <a:pt x="622" y="60"/>
                </a:lnTo>
                <a:lnTo>
                  <a:pt x="604" y="46"/>
                </a:lnTo>
                <a:lnTo>
                  <a:pt x="583" y="34"/>
                </a:lnTo>
                <a:lnTo>
                  <a:pt x="561" y="24"/>
                </a:lnTo>
                <a:lnTo>
                  <a:pt x="536" y="15"/>
                </a:lnTo>
                <a:lnTo>
                  <a:pt x="508" y="8"/>
                </a:lnTo>
                <a:lnTo>
                  <a:pt x="479" y="4"/>
                </a:lnTo>
                <a:lnTo>
                  <a:pt x="448" y="1"/>
                </a:lnTo>
                <a:lnTo>
                  <a:pt x="414" y="1"/>
                </a:lnTo>
                <a:lnTo>
                  <a:pt x="89" y="0"/>
                </a:lnTo>
                <a:lnTo>
                  <a:pt x="0" y="245"/>
                </a:lnTo>
                <a:lnTo>
                  <a:pt x="86" y="475"/>
                </a:lnTo>
                <a:lnTo>
                  <a:pt x="136" y="475"/>
                </a:lnTo>
                <a:lnTo>
                  <a:pt x="149" y="475"/>
                </a:lnTo>
                <a:lnTo>
                  <a:pt x="161" y="477"/>
                </a:lnTo>
                <a:lnTo>
                  <a:pt x="173" y="482"/>
                </a:lnTo>
                <a:lnTo>
                  <a:pt x="183" y="489"/>
                </a:lnTo>
                <a:lnTo>
                  <a:pt x="192" y="498"/>
                </a:lnTo>
                <a:lnTo>
                  <a:pt x="199" y="508"/>
                </a:lnTo>
                <a:lnTo>
                  <a:pt x="203" y="520"/>
                </a:lnTo>
                <a:lnTo>
                  <a:pt x="206" y="532"/>
                </a:lnTo>
                <a:lnTo>
                  <a:pt x="205" y="545"/>
                </a:lnTo>
              </a:path>
            </a:pathLst>
          </a:custGeom>
          <a:solidFill>
            <a:schemeClr val="accent3"/>
          </a:solidFill>
          <a:ln w="12700" cap="rnd">
            <a:solidFill>
              <a:schemeClr val="bg1"/>
            </a:solidFill>
            <a:round/>
            <a:headEnd/>
            <a:tailEnd/>
          </a:ln>
        </p:spPr>
        <p:txBody>
          <a:bodyPr/>
          <a:lstStyle/>
          <a:p>
            <a:pPr>
              <a:defRPr/>
            </a:pPr>
            <a:endParaRPr lang="en-GB" sz="1400">
              <a:solidFill>
                <a:schemeClr val="bg1"/>
              </a:solidFill>
            </a:endParaRPr>
          </a:p>
        </p:txBody>
      </p:sp>
      <p:sp>
        <p:nvSpPr>
          <p:cNvPr id="10" name="Freeform 7"/>
          <p:cNvSpPr>
            <a:spLocks/>
          </p:cNvSpPr>
          <p:nvPr/>
        </p:nvSpPr>
        <p:spPr bwMode="blackWhite">
          <a:xfrm>
            <a:off x="2693988" y="1885184"/>
            <a:ext cx="1577975" cy="1379538"/>
          </a:xfrm>
          <a:custGeom>
            <a:avLst/>
            <a:gdLst>
              <a:gd name="T0" fmla="*/ 2147483647 w 836"/>
              <a:gd name="T1" fmla="*/ 2147483647 h 696"/>
              <a:gd name="T2" fmla="*/ 2147483647 w 836"/>
              <a:gd name="T3" fmla="*/ 2147483647 h 696"/>
              <a:gd name="T4" fmla="*/ 2147483647 w 836"/>
              <a:gd name="T5" fmla="*/ 2147483647 h 696"/>
              <a:gd name="T6" fmla="*/ 2147483647 w 836"/>
              <a:gd name="T7" fmla="*/ 2147483647 h 696"/>
              <a:gd name="T8" fmla="*/ 2147483647 w 836"/>
              <a:gd name="T9" fmla="*/ 2147483647 h 696"/>
              <a:gd name="T10" fmla="*/ 2147483647 w 836"/>
              <a:gd name="T11" fmla="*/ 2147483647 h 696"/>
              <a:gd name="T12" fmla="*/ 2147483647 w 836"/>
              <a:gd name="T13" fmla="*/ 2147483647 h 696"/>
              <a:gd name="T14" fmla="*/ 2147483647 w 836"/>
              <a:gd name="T15" fmla="*/ 2147483647 h 696"/>
              <a:gd name="T16" fmla="*/ 2147483647 w 836"/>
              <a:gd name="T17" fmla="*/ 2147483647 h 696"/>
              <a:gd name="T18" fmla="*/ 2147483647 w 836"/>
              <a:gd name="T19" fmla="*/ 2147483647 h 696"/>
              <a:gd name="T20" fmla="*/ 2147483647 w 836"/>
              <a:gd name="T21" fmla="*/ 2147483647 h 696"/>
              <a:gd name="T22" fmla="*/ 2147483647 w 836"/>
              <a:gd name="T23" fmla="*/ 2147483647 h 696"/>
              <a:gd name="T24" fmla="*/ 2147483647 w 836"/>
              <a:gd name="T25" fmla="*/ 2147483647 h 696"/>
              <a:gd name="T26" fmla="*/ 2147483647 w 836"/>
              <a:gd name="T27" fmla="*/ 2147483647 h 696"/>
              <a:gd name="T28" fmla="*/ 2147483647 w 836"/>
              <a:gd name="T29" fmla="*/ 2147483647 h 696"/>
              <a:gd name="T30" fmla="*/ 2147483647 w 836"/>
              <a:gd name="T31" fmla="*/ 2147483647 h 696"/>
              <a:gd name="T32" fmla="*/ 2147483647 w 836"/>
              <a:gd name="T33" fmla="*/ 2147483647 h 696"/>
              <a:gd name="T34" fmla="*/ 2147483647 w 836"/>
              <a:gd name="T35" fmla="*/ 2147483647 h 696"/>
              <a:gd name="T36" fmla="*/ 2147483647 w 836"/>
              <a:gd name="T37" fmla="*/ 2147483647 h 696"/>
              <a:gd name="T38" fmla="*/ 2147483647 w 836"/>
              <a:gd name="T39" fmla="*/ 2147483647 h 696"/>
              <a:gd name="T40" fmla="*/ 2147483647 w 836"/>
              <a:gd name="T41" fmla="*/ 2147483647 h 696"/>
              <a:gd name="T42" fmla="*/ 2147483647 w 836"/>
              <a:gd name="T43" fmla="*/ 2147483647 h 696"/>
              <a:gd name="T44" fmla="*/ 2147483647 w 836"/>
              <a:gd name="T45" fmla="*/ 2147483647 h 696"/>
              <a:gd name="T46" fmla="*/ 2147483647 w 836"/>
              <a:gd name="T47" fmla="*/ 2147483647 h 696"/>
              <a:gd name="T48" fmla="*/ 2147483647 w 836"/>
              <a:gd name="T49" fmla="*/ 2147483647 h 696"/>
              <a:gd name="T50" fmla="*/ 2147483647 w 836"/>
              <a:gd name="T51" fmla="*/ 2147483647 h 696"/>
              <a:gd name="T52" fmla="*/ 2147483647 w 836"/>
              <a:gd name="T53" fmla="*/ 0 h 696"/>
              <a:gd name="T54" fmla="*/ 2147483647 w 836"/>
              <a:gd name="T55" fmla="*/ 0 h 696"/>
              <a:gd name="T56" fmla="*/ 2147483647 w 836"/>
              <a:gd name="T57" fmla="*/ 2147483647 h 696"/>
              <a:gd name="T58" fmla="*/ 0 w 836"/>
              <a:gd name="T59" fmla="*/ 2147483647 h 696"/>
              <a:gd name="T60" fmla="*/ 2147483647 w 836"/>
              <a:gd name="T61" fmla="*/ 2147483647 h 696"/>
              <a:gd name="T62" fmla="*/ 2147483647 w 836"/>
              <a:gd name="T63" fmla="*/ 2147483647 h 69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6"/>
              <a:gd name="T97" fmla="*/ 0 h 696"/>
              <a:gd name="T98" fmla="*/ 836 w 836"/>
              <a:gd name="T99" fmla="*/ 696 h 69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6" h="696">
                <a:moveTo>
                  <a:pt x="304" y="473"/>
                </a:moveTo>
                <a:lnTo>
                  <a:pt x="316" y="475"/>
                </a:lnTo>
                <a:lnTo>
                  <a:pt x="327" y="478"/>
                </a:lnTo>
                <a:lnTo>
                  <a:pt x="338" y="484"/>
                </a:lnTo>
                <a:lnTo>
                  <a:pt x="347" y="491"/>
                </a:lnTo>
                <a:lnTo>
                  <a:pt x="355" y="501"/>
                </a:lnTo>
                <a:lnTo>
                  <a:pt x="361" y="512"/>
                </a:lnTo>
                <a:lnTo>
                  <a:pt x="363" y="523"/>
                </a:lnTo>
                <a:lnTo>
                  <a:pt x="365" y="535"/>
                </a:lnTo>
                <a:lnTo>
                  <a:pt x="365" y="602"/>
                </a:lnTo>
                <a:lnTo>
                  <a:pt x="604" y="695"/>
                </a:lnTo>
                <a:lnTo>
                  <a:pt x="834" y="610"/>
                </a:lnTo>
                <a:lnTo>
                  <a:pt x="834" y="259"/>
                </a:lnTo>
                <a:lnTo>
                  <a:pt x="835" y="227"/>
                </a:lnTo>
                <a:lnTo>
                  <a:pt x="833" y="197"/>
                </a:lnTo>
                <a:lnTo>
                  <a:pt x="830" y="168"/>
                </a:lnTo>
                <a:lnTo>
                  <a:pt x="825" y="142"/>
                </a:lnTo>
                <a:lnTo>
                  <a:pt x="817" y="117"/>
                </a:lnTo>
                <a:lnTo>
                  <a:pt x="808" y="96"/>
                </a:lnTo>
                <a:lnTo>
                  <a:pt x="797" y="76"/>
                </a:lnTo>
                <a:lnTo>
                  <a:pt x="784" y="58"/>
                </a:lnTo>
                <a:lnTo>
                  <a:pt x="769" y="43"/>
                </a:lnTo>
                <a:lnTo>
                  <a:pt x="753" y="29"/>
                </a:lnTo>
                <a:lnTo>
                  <a:pt x="735" y="19"/>
                </a:lnTo>
                <a:lnTo>
                  <a:pt x="715" y="10"/>
                </a:lnTo>
                <a:lnTo>
                  <a:pt x="694" y="4"/>
                </a:lnTo>
                <a:lnTo>
                  <a:pt x="671" y="0"/>
                </a:lnTo>
                <a:lnTo>
                  <a:pt x="12" y="0"/>
                </a:lnTo>
                <a:lnTo>
                  <a:pt x="97" y="231"/>
                </a:lnTo>
                <a:lnTo>
                  <a:pt x="0" y="473"/>
                </a:lnTo>
                <a:lnTo>
                  <a:pt x="152" y="474"/>
                </a:lnTo>
                <a:lnTo>
                  <a:pt x="304" y="473"/>
                </a:lnTo>
              </a:path>
            </a:pathLst>
          </a:custGeom>
          <a:solidFill>
            <a:schemeClr val="accent3"/>
          </a:solidFill>
          <a:ln w="12700" cap="rnd">
            <a:solidFill>
              <a:schemeClr val="bg1"/>
            </a:solidFill>
            <a:round/>
            <a:headEnd/>
            <a:tailEnd/>
          </a:ln>
        </p:spPr>
        <p:txBody>
          <a:bodyPr/>
          <a:lstStyle/>
          <a:p>
            <a:pPr>
              <a:defRPr/>
            </a:pPr>
            <a:endParaRPr lang="en-GB" sz="1400">
              <a:solidFill>
                <a:schemeClr val="bg1"/>
              </a:solidFill>
            </a:endParaRPr>
          </a:p>
        </p:txBody>
      </p:sp>
      <p:sp>
        <p:nvSpPr>
          <p:cNvPr id="11" name="Freeform 8"/>
          <p:cNvSpPr>
            <a:spLocks/>
          </p:cNvSpPr>
          <p:nvPr/>
        </p:nvSpPr>
        <p:spPr bwMode="blackWhite">
          <a:xfrm>
            <a:off x="1525588" y="3075809"/>
            <a:ext cx="1766887" cy="1379538"/>
          </a:xfrm>
          <a:custGeom>
            <a:avLst/>
            <a:gdLst>
              <a:gd name="T0" fmla="*/ 2147483647 w 936"/>
              <a:gd name="T1" fmla="*/ 2147483647 h 696"/>
              <a:gd name="T2" fmla="*/ 2147483647 w 936"/>
              <a:gd name="T3" fmla="*/ 2147483647 h 696"/>
              <a:gd name="T4" fmla="*/ 2147483647 w 936"/>
              <a:gd name="T5" fmla="*/ 2147483647 h 696"/>
              <a:gd name="T6" fmla="*/ 2147483647 w 936"/>
              <a:gd name="T7" fmla="*/ 2147483647 h 696"/>
              <a:gd name="T8" fmla="*/ 2147483647 w 936"/>
              <a:gd name="T9" fmla="*/ 2147483647 h 696"/>
              <a:gd name="T10" fmla="*/ 2147483647 w 936"/>
              <a:gd name="T11" fmla="*/ 2147483647 h 696"/>
              <a:gd name="T12" fmla="*/ 2147483647 w 936"/>
              <a:gd name="T13" fmla="*/ 2147483647 h 696"/>
              <a:gd name="T14" fmla="*/ 2147483647 w 936"/>
              <a:gd name="T15" fmla="*/ 2147483647 h 696"/>
              <a:gd name="T16" fmla="*/ 2147483647 w 936"/>
              <a:gd name="T17" fmla="*/ 2147483647 h 696"/>
              <a:gd name="T18" fmla="*/ 2147483647 w 936"/>
              <a:gd name="T19" fmla="*/ 0 h 696"/>
              <a:gd name="T20" fmla="*/ 0 w 936"/>
              <a:gd name="T21" fmla="*/ 2147483647 h 696"/>
              <a:gd name="T22" fmla="*/ 2147483647 w 936"/>
              <a:gd name="T23" fmla="*/ 2147483647 h 696"/>
              <a:gd name="T24" fmla="*/ 2147483647 w 936"/>
              <a:gd name="T25" fmla="*/ 2147483647 h 696"/>
              <a:gd name="T26" fmla="*/ 2147483647 w 936"/>
              <a:gd name="T27" fmla="*/ 2147483647 h 696"/>
              <a:gd name="T28" fmla="*/ 2147483647 w 936"/>
              <a:gd name="T29" fmla="*/ 2147483647 h 696"/>
              <a:gd name="T30" fmla="*/ 2147483647 w 936"/>
              <a:gd name="T31" fmla="*/ 2147483647 h 696"/>
              <a:gd name="T32" fmla="*/ 2147483647 w 936"/>
              <a:gd name="T33" fmla="*/ 2147483647 h 696"/>
              <a:gd name="T34" fmla="*/ 2147483647 w 936"/>
              <a:gd name="T35" fmla="*/ 2147483647 h 696"/>
              <a:gd name="T36" fmla="*/ 2147483647 w 936"/>
              <a:gd name="T37" fmla="*/ 2147483647 h 696"/>
              <a:gd name="T38" fmla="*/ 2147483647 w 936"/>
              <a:gd name="T39" fmla="*/ 2147483647 h 696"/>
              <a:gd name="T40" fmla="*/ 2147483647 w 936"/>
              <a:gd name="T41" fmla="*/ 2147483647 h 696"/>
              <a:gd name="T42" fmla="*/ 2147483647 w 936"/>
              <a:gd name="T43" fmla="*/ 2147483647 h 696"/>
              <a:gd name="T44" fmla="*/ 2147483647 w 936"/>
              <a:gd name="T45" fmla="*/ 2147483647 h 696"/>
              <a:gd name="T46" fmla="*/ 2147483647 w 936"/>
              <a:gd name="T47" fmla="*/ 2147483647 h 696"/>
              <a:gd name="T48" fmla="*/ 2147483647 w 936"/>
              <a:gd name="T49" fmla="*/ 2147483647 h 696"/>
              <a:gd name="T50" fmla="*/ 2147483647 w 936"/>
              <a:gd name="T51" fmla="*/ 2147483647 h 696"/>
              <a:gd name="T52" fmla="*/ 2147483647 w 936"/>
              <a:gd name="T53" fmla="*/ 2147483647 h 696"/>
              <a:gd name="T54" fmla="*/ 2147483647 w 936"/>
              <a:gd name="T55" fmla="*/ 2147483647 h 696"/>
              <a:gd name="T56" fmla="*/ 2147483647 w 936"/>
              <a:gd name="T57" fmla="*/ 2147483647 h 696"/>
              <a:gd name="T58" fmla="*/ 2147483647 w 936"/>
              <a:gd name="T59" fmla="*/ 2147483647 h 69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36"/>
              <a:gd name="T91" fmla="*/ 0 h 696"/>
              <a:gd name="T92" fmla="*/ 936 w 936"/>
              <a:gd name="T93" fmla="*/ 696 h 69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36" h="696">
                <a:moveTo>
                  <a:pt x="532" y="222"/>
                </a:moveTo>
                <a:lnTo>
                  <a:pt x="519" y="220"/>
                </a:lnTo>
                <a:lnTo>
                  <a:pt x="507" y="216"/>
                </a:lnTo>
                <a:lnTo>
                  <a:pt x="496" y="210"/>
                </a:lnTo>
                <a:lnTo>
                  <a:pt x="487" y="201"/>
                </a:lnTo>
                <a:lnTo>
                  <a:pt x="479" y="190"/>
                </a:lnTo>
                <a:lnTo>
                  <a:pt x="474" y="179"/>
                </a:lnTo>
                <a:lnTo>
                  <a:pt x="472" y="165"/>
                </a:lnTo>
                <a:lnTo>
                  <a:pt x="472" y="94"/>
                </a:lnTo>
                <a:lnTo>
                  <a:pt x="231" y="0"/>
                </a:lnTo>
                <a:lnTo>
                  <a:pt x="0" y="91"/>
                </a:lnTo>
                <a:lnTo>
                  <a:pt x="1" y="435"/>
                </a:lnTo>
                <a:lnTo>
                  <a:pt x="1" y="468"/>
                </a:lnTo>
                <a:lnTo>
                  <a:pt x="2" y="498"/>
                </a:lnTo>
                <a:lnTo>
                  <a:pt x="5" y="527"/>
                </a:lnTo>
                <a:lnTo>
                  <a:pt x="11" y="553"/>
                </a:lnTo>
                <a:lnTo>
                  <a:pt x="18" y="577"/>
                </a:lnTo>
                <a:lnTo>
                  <a:pt x="28" y="599"/>
                </a:lnTo>
                <a:lnTo>
                  <a:pt x="39" y="619"/>
                </a:lnTo>
                <a:lnTo>
                  <a:pt x="52" y="637"/>
                </a:lnTo>
                <a:lnTo>
                  <a:pt x="66" y="652"/>
                </a:lnTo>
                <a:lnTo>
                  <a:pt x="82" y="665"/>
                </a:lnTo>
                <a:lnTo>
                  <a:pt x="100" y="676"/>
                </a:lnTo>
                <a:lnTo>
                  <a:pt x="120" y="685"/>
                </a:lnTo>
                <a:lnTo>
                  <a:pt x="142" y="691"/>
                </a:lnTo>
                <a:lnTo>
                  <a:pt x="165" y="694"/>
                </a:lnTo>
                <a:lnTo>
                  <a:pt x="935" y="695"/>
                </a:lnTo>
                <a:lnTo>
                  <a:pt x="935" y="221"/>
                </a:lnTo>
                <a:lnTo>
                  <a:pt x="734" y="220"/>
                </a:lnTo>
                <a:lnTo>
                  <a:pt x="532" y="222"/>
                </a:lnTo>
              </a:path>
            </a:pathLst>
          </a:custGeom>
          <a:solidFill>
            <a:schemeClr val="accent3"/>
          </a:solidFill>
          <a:ln w="12700" cap="rnd">
            <a:solidFill>
              <a:schemeClr val="bg1"/>
            </a:solidFill>
            <a:round/>
            <a:headEnd/>
            <a:tailEnd/>
          </a:ln>
        </p:spPr>
        <p:txBody>
          <a:bodyPr/>
          <a:lstStyle/>
          <a:p>
            <a:pPr>
              <a:defRPr/>
            </a:pPr>
            <a:endParaRPr lang="en-GB" sz="1400">
              <a:solidFill>
                <a:schemeClr val="bg1"/>
              </a:solidFill>
            </a:endParaRPr>
          </a:p>
        </p:txBody>
      </p:sp>
      <p:sp>
        <p:nvSpPr>
          <p:cNvPr id="12" name="Freeform 9"/>
          <p:cNvSpPr>
            <a:spLocks/>
          </p:cNvSpPr>
          <p:nvPr/>
        </p:nvSpPr>
        <p:spPr bwMode="blackWhite">
          <a:xfrm>
            <a:off x="1527175" y="1886772"/>
            <a:ext cx="1296988" cy="1335087"/>
          </a:xfrm>
          <a:custGeom>
            <a:avLst/>
            <a:gdLst>
              <a:gd name="T0" fmla="*/ 2147483647 w 686"/>
              <a:gd name="T1" fmla="*/ 2147483647 h 673"/>
              <a:gd name="T2" fmla="*/ 2147483647 w 686"/>
              <a:gd name="T3" fmla="*/ 2147483647 h 673"/>
              <a:gd name="T4" fmla="*/ 2147483647 w 686"/>
              <a:gd name="T5" fmla="*/ 2147483647 h 673"/>
              <a:gd name="T6" fmla="*/ 2147483647 w 686"/>
              <a:gd name="T7" fmla="*/ 2147483647 h 673"/>
              <a:gd name="T8" fmla="*/ 2147483647 w 686"/>
              <a:gd name="T9" fmla="*/ 2147483647 h 673"/>
              <a:gd name="T10" fmla="*/ 2147483647 w 686"/>
              <a:gd name="T11" fmla="*/ 2147483647 h 673"/>
              <a:gd name="T12" fmla="*/ 2147483647 w 686"/>
              <a:gd name="T13" fmla="*/ 2147483647 h 673"/>
              <a:gd name="T14" fmla="*/ 2147483647 w 686"/>
              <a:gd name="T15" fmla="*/ 2147483647 h 673"/>
              <a:gd name="T16" fmla="*/ 2147483647 w 686"/>
              <a:gd name="T17" fmla="*/ 2147483647 h 673"/>
              <a:gd name="T18" fmla="*/ 2147483647 w 686"/>
              <a:gd name="T19" fmla="*/ 2147483647 h 673"/>
              <a:gd name="T20" fmla="*/ 2147483647 w 686"/>
              <a:gd name="T21" fmla="*/ 2147483647 h 673"/>
              <a:gd name="T22" fmla="*/ 2147483647 w 686"/>
              <a:gd name="T23" fmla="*/ 2147483647 h 673"/>
              <a:gd name="T24" fmla="*/ 2147483647 w 686"/>
              <a:gd name="T25" fmla="*/ 0 h 673"/>
              <a:gd name="T26" fmla="*/ 2147483647 w 686"/>
              <a:gd name="T27" fmla="*/ 2147483647 h 673"/>
              <a:gd name="T28" fmla="*/ 2147483647 w 686"/>
              <a:gd name="T29" fmla="*/ 2147483647 h 673"/>
              <a:gd name="T30" fmla="*/ 2147483647 w 686"/>
              <a:gd name="T31" fmla="*/ 2147483647 h 673"/>
              <a:gd name="T32" fmla="*/ 2147483647 w 686"/>
              <a:gd name="T33" fmla="*/ 2147483647 h 673"/>
              <a:gd name="T34" fmla="*/ 2147483647 w 686"/>
              <a:gd name="T35" fmla="*/ 2147483647 h 673"/>
              <a:gd name="T36" fmla="*/ 2147483647 w 686"/>
              <a:gd name="T37" fmla="*/ 2147483647 h 673"/>
              <a:gd name="T38" fmla="*/ 2147483647 w 686"/>
              <a:gd name="T39" fmla="*/ 2147483647 h 673"/>
              <a:gd name="T40" fmla="*/ 2147483647 w 686"/>
              <a:gd name="T41" fmla="*/ 2147483647 h 673"/>
              <a:gd name="T42" fmla="*/ 2147483647 w 686"/>
              <a:gd name="T43" fmla="*/ 2147483647 h 673"/>
              <a:gd name="T44" fmla="*/ 2147483647 w 686"/>
              <a:gd name="T45" fmla="*/ 2147483647 h 673"/>
              <a:gd name="T46" fmla="*/ 2147483647 w 686"/>
              <a:gd name="T47" fmla="*/ 2147483647 h 673"/>
              <a:gd name="T48" fmla="*/ 2147483647 w 686"/>
              <a:gd name="T49" fmla="*/ 2147483647 h 673"/>
              <a:gd name="T50" fmla="*/ 0 w 686"/>
              <a:gd name="T51" fmla="*/ 2147483647 h 673"/>
              <a:gd name="T52" fmla="*/ 0 w 686"/>
              <a:gd name="T53" fmla="*/ 2147483647 h 673"/>
              <a:gd name="T54" fmla="*/ 2147483647 w 686"/>
              <a:gd name="T55" fmla="*/ 2147483647 h 673"/>
              <a:gd name="T56" fmla="*/ 2147483647 w 686"/>
              <a:gd name="T57" fmla="*/ 2147483647 h 673"/>
              <a:gd name="T58" fmla="*/ 2147483647 w 686"/>
              <a:gd name="T59" fmla="*/ 2147483647 h 6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86"/>
              <a:gd name="T91" fmla="*/ 0 h 673"/>
              <a:gd name="T92" fmla="*/ 686 w 686"/>
              <a:gd name="T93" fmla="*/ 673 h 6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86" h="673">
                <a:moveTo>
                  <a:pt x="466" y="525"/>
                </a:moveTo>
                <a:lnTo>
                  <a:pt x="468" y="514"/>
                </a:lnTo>
                <a:lnTo>
                  <a:pt x="473" y="502"/>
                </a:lnTo>
                <a:lnTo>
                  <a:pt x="479" y="492"/>
                </a:lnTo>
                <a:lnTo>
                  <a:pt x="489" y="484"/>
                </a:lnTo>
                <a:lnTo>
                  <a:pt x="499" y="477"/>
                </a:lnTo>
                <a:lnTo>
                  <a:pt x="511" y="474"/>
                </a:lnTo>
                <a:lnTo>
                  <a:pt x="523" y="472"/>
                </a:lnTo>
                <a:lnTo>
                  <a:pt x="592" y="471"/>
                </a:lnTo>
                <a:lnTo>
                  <a:pt x="685" y="231"/>
                </a:lnTo>
                <a:lnTo>
                  <a:pt x="601" y="1"/>
                </a:lnTo>
                <a:lnTo>
                  <a:pt x="255" y="1"/>
                </a:lnTo>
                <a:lnTo>
                  <a:pt x="223" y="0"/>
                </a:lnTo>
                <a:lnTo>
                  <a:pt x="194" y="1"/>
                </a:lnTo>
                <a:lnTo>
                  <a:pt x="166" y="4"/>
                </a:lnTo>
                <a:lnTo>
                  <a:pt x="140" y="10"/>
                </a:lnTo>
                <a:lnTo>
                  <a:pt x="116" y="18"/>
                </a:lnTo>
                <a:lnTo>
                  <a:pt x="93" y="27"/>
                </a:lnTo>
                <a:lnTo>
                  <a:pt x="75" y="38"/>
                </a:lnTo>
                <a:lnTo>
                  <a:pt x="57" y="50"/>
                </a:lnTo>
                <a:lnTo>
                  <a:pt x="42" y="64"/>
                </a:lnTo>
                <a:lnTo>
                  <a:pt x="30" y="81"/>
                </a:lnTo>
                <a:lnTo>
                  <a:pt x="19" y="99"/>
                </a:lnTo>
                <a:lnTo>
                  <a:pt x="10" y="119"/>
                </a:lnTo>
                <a:lnTo>
                  <a:pt x="4" y="141"/>
                </a:lnTo>
                <a:lnTo>
                  <a:pt x="0" y="164"/>
                </a:lnTo>
                <a:lnTo>
                  <a:pt x="0" y="666"/>
                </a:lnTo>
                <a:lnTo>
                  <a:pt x="224" y="575"/>
                </a:lnTo>
                <a:lnTo>
                  <a:pt x="466" y="672"/>
                </a:lnTo>
                <a:lnTo>
                  <a:pt x="466" y="525"/>
                </a:lnTo>
              </a:path>
            </a:pathLst>
          </a:custGeom>
          <a:solidFill>
            <a:schemeClr val="accent3"/>
          </a:solidFill>
          <a:ln w="12700" cap="rnd">
            <a:solidFill>
              <a:schemeClr val="bg1"/>
            </a:solidFill>
            <a:round/>
            <a:headEnd/>
            <a:tailEnd/>
          </a:ln>
        </p:spPr>
        <p:txBody>
          <a:bodyPr/>
          <a:lstStyle/>
          <a:p>
            <a:pPr>
              <a:defRPr/>
            </a:pPr>
            <a:endParaRPr lang="en-GB" sz="1400">
              <a:solidFill>
                <a:schemeClr val="bg1"/>
              </a:solidFill>
            </a:endParaRPr>
          </a:p>
        </p:txBody>
      </p:sp>
      <p:sp>
        <p:nvSpPr>
          <p:cNvPr id="13" name="Rectangle 10"/>
          <p:cNvSpPr>
            <a:spLocks noChangeArrowheads="1"/>
          </p:cNvSpPr>
          <p:nvPr/>
        </p:nvSpPr>
        <p:spPr bwMode="auto">
          <a:xfrm>
            <a:off x="1616075" y="3829872"/>
            <a:ext cx="1363663" cy="204787"/>
          </a:xfrm>
          <a:prstGeom prst="rect">
            <a:avLst/>
          </a:prstGeom>
          <a:noFill/>
          <a:ln w="9525">
            <a:noFill/>
            <a:miter lim="800000"/>
            <a:headEnd/>
            <a:tailEnd/>
          </a:ln>
        </p:spPr>
        <p:txBody>
          <a:bodyPr lIns="0" tIns="0" rIns="0" bIns="0" anchor="ctr">
            <a:spAutoFit/>
          </a:bodyPr>
          <a:lstStyle/>
          <a:p>
            <a:pPr algn="ctr" defTabSz="787400">
              <a:lnSpc>
                <a:spcPct val="95000"/>
              </a:lnSpc>
              <a:spcBef>
                <a:spcPct val="80000"/>
              </a:spcBef>
              <a:buClr>
                <a:schemeClr val="tx1"/>
              </a:buClr>
              <a:buFont typeface="Wingdings 2" pitchFamily="18" charset="2"/>
              <a:buNone/>
              <a:defRPr/>
            </a:pPr>
            <a:r>
              <a:rPr lang="en-GB" sz="1400">
                <a:solidFill>
                  <a:schemeClr val="bg1"/>
                </a:solidFill>
              </a:rPr>
              <a:t>Text</a:t>
            </a:r>
          </a:p>
        </p:txBody>
      </p:sp>
      <p:sp>
        <p:nvSpPr>
          <p:cNvPr id="14" name="Rectangle 11"/>
          <p:cNvSpPr>
            <a:spLocks noChangeArrowheads="1"/>
          </p:cNvSpPr>
          <p:nvPr/>
        </p:nvSpPr>
        <p:spPr bwMode="auto">
          <a:xfrm>
            <a:off x="1616075" y="2248722"/>
            <a:ext cx="860425" cy="204787"/>
          </a:xfrm>
          <a:prstGeom prst="rect">
            <a:avLst/>
          </a:prstGeom>
          <a:noFill/>
          <a:ln w="9525">
            <a:noFill/>
            <a:miter lim="800000"/>
            <a:headEnd/>
            <a:tailEnd/>
          </a:ln>
        </p:spPr>
        <p:txBody>
          <a:bodyPr lIns="0" tIns="0" rIns="0" bIns="0" anchor="ctr">
            <a:spAutoFit/>
          </a:bodyPr>
          <a:lstStyle/>
          <a:p>
            <a:pPr algn="ctr" defTabSz="787400">
              <a:lnSpc>
                <a:spcPct val="95000"/>
              </a:lnSpc>
              <a:spcBef>
                <a:spcPct val="80000"/>
              </a:spcBef>
              <a:buClr>
                <a:schemeClr val="tx1"/>
              </a:buClr>
              <a:buFont typeface="Wingdings 2" pitchFamily="18" charset="2"/>
              <a:buNone/>
              <a:defRPr/>
            </a:pPr>
            <a:r>
              <a:rPr lang="en-GB" sz="1400">
                <a:solidFill>
                  <a:schemeClr val="bg1"/>
                </a:solidFill>
              </a:rPr>
              <a:t>Text</a:t>
            </a:r>
          </a:p>
        </p:txBody>
      </p:sp>
      <p:sp>
        <p:nvSpPr>
          <p:cNvPr id="15" name="Rectangle 12"/>
          <p:cNvSpPr>
            <a:spLocks noChangeArrowheads="1"/>
          </p:cNvSpPr>
          <p:nvPr/>
        </p:nvSpPr>
        <p:spPr bwMode="auto">
          <a:xfrm>
            <a:off x="2967038" y="2248722"/>
            <a:ext cx="1098550" cy="204787"/>
          </a:xfrm>
          <a:prstGeom prst="rect">
            <a:avLst/>
          </a:prstGeom>
          <a:noFill/>
          <a:ln w="9525">
            <a:noFill/>
            <a:miter lim="800000"/>
            <a:headEnd/>
            <a:tailEnd/>
          </a:ln>
        </p:spPr>
        <p:txBody>
          <a:bodyPr lIns="0" tIns="0" rIns="0" bIns="0" anchor="ctr">
            <a:spAutoFit/>
          </a:bodyPr>
          <a:lstStyle/>
          <a:p>
            <a:pPr algn="ctr" defTabSz="787400">
              <a:lnSpc>
                <a:spcPct val="95000"/>
              </a:lnSpc>
              <a:spcBef>
                <a:spcPct val="80000"/>
              </a:spcBef>
              <a:buClr>
                <a:schemeClr val="tx1"/>
              </a:buClr>
              <a:buFont typeface="Wingdings 2" pitchFamily="18" charset="2"/>
              <a:buNone/>
              <a:defRPr/>
            </a:pPr>
            <a:r>
              <a:rPr lang="en-GB" sz="1400">
                <a:solidFill>
                  <a:schemeClr val="bg1"/>
                </a:solidFill>
              </a:rPr>
              <a:t>Text</a:t>
            </a:r>
          </a:p>
        </p:txBody>
      </p:sp>
      <p:sp>
        <p:nvSpPr>
          <p:cNvPr id="16" name="Rectangle 13"/>
          <p:cNvSpPr>
            <a:spLocks noChangeArrowheads="1"/>
          </p:cNvSpPr>
          <p:nvPr/>
        </p:nvSpPr>
        <p:spPr bwMode="auto">
          <a:xfrm>
            <a:off x="3467100" y="4193409"/>
            <a:ext cx="1100138" cy="204788"/>
          </a:xfrm>
          <a:prstGeom prst="rect">
            <a:avLst/>
          </a:prstGeom>
          <a:noFill/>
          <a:ln w="9525">
            <a:noFill/>
            <a:miter lim="800000"/>
            <a:headEnd/>
            <a:tailEnd/>
          </a:ln>
        </p:spPr>
        <p:txBody>
          <a:bodyPr lIns="0" tIns="0" rIns="0" bIns="0" anchor="ctr">
            <a:spAutoFit/>
          </a:bodyPr>
          <a:lstStyle/>
          <a:p>
            <a:pPr algn="ctr" defTabSz="787400">
              <a:lnSpc>
                <a:spcPct val="95000"/>
              </a:lnSpc>
              <a:spcBef>
                <a:spcPct val="80000"/>
              </a:spcBef>
              <a:buClr>
                <a:schemeClr val="tx1"/>
              </a:buClr>
              <a:buFont typeface="Wingdings 2" pitchFamily="18" charset="2"/>
              <a:buNone/>
              <a:defRPr/>
            </a:pPr>
            <a:r>
              <a:rPr lang="en-GB" sz="1400">
                <a:solidFill>
                  <a:schemeClr val="bg1"/>
                </a:solidFill>
              </a:rPr>
              <a:t>Text</a:t>
            </a:r>
          </a:p>
        </p:txBody>
      </p:sp>
      <p:sp>
        <p:nvSpPr>
          <p:cNvPr id="17" name="Rectangle 14"/>
          <p:cNvSpPr>
            <a:spLocks noChangeArrowheads="1"/>
          </p:cNvSpPr>
          <p:nvPr/>
        </p:nvSpPr>
        <p:spPr bwMode="auto">
          <a:xfrm>
            <a:off x="4819650" y="4193409"/>
            <a:ext cx="1098550" cy="204788"/>
          </a:xfrm>
          <a:prstGeom prst="rect">
            <a:avLst/>
          </a:prstGeom>
          <a:noFill/>
          <a:ln w="9525">
            <a:noFill/>
            <a:miter lim="800000"/>
            <a:headEnd/>
            <a:tailEnd/>
          </a:ln>
        </p:spPr>
        <p:txBody>
          <a:bodyPr lIns="0" tIns="0" rIns="0" bIns="0" anchor="ctr">
            <a:spAutoFit/>
          </a:bodyPr>
          <a:lstStyle/>
          <a:p>
            <a:pPr algn="ctr" defTabSz="787400">
              <a:lnSpc>
                <a:spcPct val="95000"/>
              </a:lnSpc>
              <a:spcBef>
                <a:spcPct val="80000"/>
              </a:spcBef>
              <a:buClr>
                <a:schemeClr val="tx1"/>
              </a:buClr>
              <a:buFont typeface="Wingdings 2" pitchFamily="18" charset="2"/>
              <a:buNone/>
              <a:defRPr/>
            </a:pPr>
            <a:r>
              <a:rPr lang="en-GB" sz="1400">
                <a:solidFill>
                  <a:schemeClr val="bg1"/>
                </a:solidFill>
              </a:rPr>
              <a:t>Text</a:t>
            </a:r>
          </a:p>
        </p:txBody>
      </p:sp>
      <p:sp>
        <p:nvSpPr>
          <p:cNvPr id="18" name="Rectangle 15"/>
          <p:cNvSpPr>
            <a:spLocks noChangeArrowheads="1"/>
          </p:cNvSpPr>
          <p:nvPr/>
        </p:nvSpPr>
        <p:spPr bwMode="auto">
          <a:xfrm>
            <a:off x="6294438" y="4193409"/>
            <a:ext cx="1100137" cy="204788"/>
          </a:xfrm>
          <a:prstGeom prst="rect">
            <a:avLst/>
          </a:prstGeom>
          <a:noFill/>
          <a:ln w="9525">
            <a:noFill/>
            <a:miter lim="800000"/>
            <a:headEnd/>
            <a:tailEnd/>
          </a:ln>
        </p:spPr>
        <p:txBody>
          <a:bodyPr lIns="0" tIns="0" rIns="0" bIns="0" anchor="ctr">
            <a:spAutoFit/>
          </a:bodyPr>
          <a:lstStyle/>
          <a:p>
            <a:pPr algn="ctr" defTabSz="787400">
              <a:lnSpc>
                <a:spcPct val="95000"/>
              </a:lnSpc>
              <a:spcBef>
                <a:spcPct val="80000"/>
              </a:spcBef>
              <a:buClr>
                <a:schemeClr val="tx1"/>
              </a:buClr>
              <a:buFont typeface="Wingdings 2" pitchFamily="18" charset="2"/>
              <a:buNone/>
              <a:defRPr/>
            </a:pPr>
            <a:r>
              <a:rPr lang="en-GB" sz="1400">
                <a:solidFill>
                  <a:schemeClr val="bg1"/>
                </a:solidFill>
              </a:rPr>
              <a:t>Text</a:t>
            </a:r>
          </a:p>
        </p:txBody>
      </p:sp>
      <p:sp>
        <p:nvSpPr>
          <p:cNvPr id="19" name="Rectangle 16"/>
          <p:cNvSpPr>
            <a:spLocks noChangeArrowheads="1"/>
          </p:cNvSpPr>
          <p:nvPr/>
        </p:nvSpPr>
        <p:spPr bwMode="auto">
          <a:xfrm>
            <a:off x="6543675" y="2629722"/>
            <a:ext cx="909638" cy="204787"/>
          </a:xfrm>
          <a:prstGeom prst="rect">
            <a:avLst/>
          </a:prstGeom>
          <a:noFill/>
          <a:ln w="9525">
            <a:noFill/>
            <a:miter lim="800000"/>
            <a:headEnd/>
            <a:tailEnd/>
          </a:ln>
        </p:spPr>
        <p:txBody>
          <a:bodyPr lIns="0" tIns="0" rIns="0" bIns="0" anchor="ctr">
            <a:spAutoFit/>
          </a:bodyPr>
          <a:lstStyle/>
          <a:p>
            <a:pPr algn="ctr" defTabSz="787400">
              <a:lnSpc>
                <a:spcPct val="95000"/>
              </a:lnSpc>
              <a:spcBef>
                <a:spcPct val="80000"/>
              </a:spcBef>
              <a:buClr>
                <a:schemeClr val="tx1"/>
              </a:buClr>
              <a:buFont typeface="Wingdings 2" pitchFamily="18" charset="2"/>
              <a:buNone/>
              <a:defRPr/>
            </a:pPr>
            <a:r>
              <a:rPr lang="en-GB" sz="1400">
                <a:solidFill>
                  <a:schemeClr val="bg1"/>
                </a:solidFill>
              </a:rPr>
              <a:t>Text</a:t>
            </a:r>
          </a:p>
        </p:txBody>
      </p:sp>
      <p:sp>
        <p:nvSpPr>
          <p:cNvPr id="20" name="Rectangle 17"/>
          <p:cNvSpPr>
            <a:spLocks noChangeArrowheads="1"/>
          </p:cNvSpPr>
          <p:nvPr/>
        </p:nvSpPr>
        <p:spPr bwMode="auto">
          <a:xfrm>
            <a:off x="4964113" y="2629722"/>
            <a:ext cx="1101725" cy="204787"/>
          </a:xfrm>
          <a:prstGeom prst="rect">
            <a:avLst/>
          </a:prstGeom>
          <a:noFill/>
          <a:ln w="9525">
            <a:noFill/>
            <a:miter lim="800000"/>
            <a:headEnd/>
            <a:tailEnd/>
          </a:ln>
        </p:spPr>
        <p:txBody>
          <a:bodyPr lIns="0" tIns="0" rIns="0" bIns="0" anchor="ctr">
            <a:spAutoFit/>
          </a:bodyPr>
          <a:lstStyle/>
          <a:p>
            <a:pPr algn="ctr" defTabSz="787400">
              <a:lnSpc>
                <a:spcPct val="95000"/>
              </a:lnSpc>
              <a:spcBef>
                <a:spcPct val="80000"/>
              </a:spcBef>
              <a:buClr>
                <a:schemeClr val="tx1"/>
              </a:buClr>
              <a:buFont typeface="Wingdings 2" pitchFamily="18" charset="2"/>
              <a:buNone/>
              <a:defRPr/>
            </a:pPr>
            <a:r>
              <a:rPr lang="en-GB" sz="1400">
                <a:solidFill>
                  <a:schemeClr val="bg1"/>
                </a:solidFill>
              </a:rPr>
              <a:t>Text</a:t>
            </a:r>
          </a:p>
        </p:txBody>
      </p:sp>
      <p:sp>
        <p:nvSpPr>
          <p:cNvPr id="2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3"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4081" name="Title 1"/>
          <p:cNvSpPr>
            <a:spLocks noGrp="1"/>
          </p:cNvSpPr>
          <p:nvPr>
            <p:ph type="title"/>
          </p:nvPr>
        </p:nvSpPr>
        <p:spPr/>
        <p:txBody>
          <a:bodyPr/>
          <a:lstStyle/>
          <a:p>
            <a:r>
              <a:rPr lang="nl-NL"/>
              <a:t>Cutout</a:t>
            </a:r>
          </a:p>
        </p:txBody>
      </p:sp>
      <p:sp>
        <p:nvSpPr>
          <p:cNvPr id="4" name="Freeform 2"/>
          <p:cNvSpPr>
            <a:spLocks/>
          </p:cNvSpPr>
          <p:nvPr/>
        </p:nvSpPr>
        <p:spPr bwMode="blackWhite">
          <a:xfrm>
            <a:off x="2277196" y="1606147"/>
            <a:ext cx="4575175" cy="3162300"/>
          </a:xfrm>
          <a:custGeom>
            <a:avLst/>
            <a:gdLst>
              <a:gd name="T0" fmla="*/ 0 w 3059"/>
              <a:gd name="T1" fmla="*/ 0 h 1952"/>
              <a:gd name="T2" fmla="*/ 2147483647 w 3059"/>
              <a:gd name="T3" fmla="*/ 0 h 1952"/>
              <a:gd name="T4" fmla="*/ 2147483647 w 3059"/>
              <a:gd name="T5" fmla="*/ 2147483647 h 1952"/>
              <a:gd name="T6" fmla="*/ 2147483647 w 3059"/>
              <a:gd name="T7" fmla="*/ 2147483647 h 1952"/>
              <a:gd name="T8" fmla="*/ 2147483647 w 3059"/>
              <a:gd name="T9" fmla="*/ 2147483647 h 1952"/>
              <a:gd name="T10" fmla="*/ 2147483647 w 3059"/>
              <a:gd name="T11" fmla="*/ 2147483647 h 1952"/>
              <a:gd name="T12" fmla="*/ 2147483647 w 3059"/>
              <a:gd name="T13" fmla="*/ 2147483647 h 1952"/>
              <a:gd name="T14" fmla="*/ 2147483647 w 3059"/>
              <a:gd name="T15" fmla="*/ 2147483647 h 1952"/>
              <a:gd name="T16" fmla="*/ 2147483647 w 3059"/>
              <a:gd name="T17" fmla="*/ 2147483647 h 1952"/>
              <a:gd name="T18" fmla="*/ 2147483647 w 3059"/>
              <a:gd name="T19" fmla="*/ 2147483647 h 1952"/>
              <a:gd name="T20" fmla="*/ 2147483647 w 3059"/>
              <a:gd name="T21" fmla="*/ 2147483647 h 1952"/>
              <a:gd name="T22" fmla="*/ 0 w 3059"/>
              <a:gd name="T23" fmla="*/ 2147483647 h 1952"/>
              <a:gd name="T24" fmla="*/ 0 w 3059"/>
              <a:gd name="T25" fmla="*/ 2147483647 h 1952"/>
              <a:gd name="T26" fmla="*/ 2147483647 w 3059"/>
              <a:gd name="T27" fmla="*/ 2147483647 h 1952"/>
              <a:gd name="T28" fmla="*/ 2147483647 w 3059"/>
              <a:gd name="T29" fmla="*/ 2147483647 h 1952"/>
              <a:gd name="T30" fmla="*/ 2147483647 w 3059"/>
              <a:gd name="T31" fmla="*/ 2147483647 h 1952"/>
              <a:gd name="T32" fmla="*/ 2147483647 w 3059"/>
              <a:gd name="T33" fmla="*/ 2147483647 h 1952"/>
              <a:gd name="T34" fmla="*/ 2147483647 w 3059"/>
              <a:gd name="T35" fmla="*/ 2147483647 h 1952"/>
              <a:gd name="T36" fmla="*/ 0 w 3059"/>
              <a:gd name="T37" fmla="*/ 2147483647 h 1952"/>
              <a:gd name="T38" fmla="*/ 0 w 3059"/>
              <a:gd name="T39" fmla="*/ 0 h 19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59"/>
              <a:gd name="T61" fmla="*/ 0 h 1952"/>
              <a:gd name="T62" fmla="*/ 3059 w 3059"/>
              <a:gd name="T63" fmla="*/ 1952 h 19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59" h="1952">
                <a:moveTo>
                  <a:pt x="0" y="0"/>
                </a:moveTo>
                <a:lnTo>
                  <a:pt x="2250" y="0"/>
                </a:lnTo>
                <a:lnTo>
                  <a:pt x="2250" y="478"/>
                </a:lnTo>
                <a:lnTo>
                  <a:pt x="2855" y="478"/>
                </a:lnTo>
                <a:lnTo>
                  <a:pt x="2855" y="243"/>
                </a:lnTo>
                <a:lnTo>
                  <a:pt x="3058" y="971"/>
                </a:lnTo>
                <a:lnTo>
                  <a:pt x="2848" y="1684"/>
                </a:lnTo>
                <a:lnTo>
                  <a:pt x="2841" y="1684"/>
                </a:lnTo>
                <a:lnTo>
                  <a:pt x="2841" y="1450"/>
                </a:lnTo>
                <a:lnTo>
                  <a:pt x="2250" y="1450"/>
                </a:lnTo>
                <a:lnTo>
                  <a:pt x="2250" y="1951"/>
                </a:lnTo>
                <a:lnTo>
                  <a:pt x="0" y="1951"/>
                </a:lnTo>
                <a:lnTo>
                  <a:pt x="0" y="1450"/>
                </a:lnTo>
                <a:lnTo>
                  <a:pt x="606" y="1450"/>
                </a:lnTo>
                <a:lnTo>
                  <a:pt x="606" y="1676"/>
                </a:lnTo>
                <a:lnTo>
                  <a:pt x="807" y="971"/>
                </a:lnTo>
                <a:lnTo>
                  <a:pt x="606" y="250"/>
                </a:lnTo>
                <a:lnTo>
                  <a:pt x="606" y="478"/>
                </a:lnTo>
                <a:lnTo>
                  <a:pt x="0" y="478"/>
                </a:lnTo>
                <a:lnTo>
                  <a:pt x="0" y="0"/>
                </a:lnTo>
              </a:path>
            </a:pathLst>
          </a:custGeom>
          <a:solidFill>
            <a:schemeClr val="accent3"/>
          </a:solidFill>
          <a:ln w="12700" cap="rnd">
            <a:solidFill>
              <a:schemeClr val="bg1"/>
            </a:solidFill>
            <a:round/>
            <a:headEnd/>
            <a:tailEnd/>
          </a:ln>
        </p:spPr>
        <p:txBody>
          <a:bodyPr/>
          <a:lstStyle/>
          <a:p>
            <a:pPr>
              <a:defRPr/>
            </a:pPr>
            <a:endParaRPr lang="en-GB"/>
          </a:p>
        </p:txBody>
      </p:sp>
      <p:sp>
        <p:nvSpPr>
          <p:cNvPr id="814084" name="Rectangle 3"/>
          <p:cNvSpPr>
            <a:spLocks noChangeArrowheads="1"/>
          </p:cNvSpPr>
          <p:nvPr/>
        </p:nvSpPr>
        <p:spPr bwMode="auto">
          <a:xfrm>
            <a:off x="2277196" y="1775529"/>
            <a:ext cx="3359150" cy="204787"/>
          </a:xfrm>
          <a:prstGeom prst="rect">
            <a:avLst/>
          </a:prstGeom>
          <a:noFill/>
          <a:ln w="9525">
            <a:noFill/>
            <a:miter lim="800000"/>
            <a:headEnd/>
            <a:tailEnd/>
          </a:ln>
        </p:spPr>
        <p:txBody>
          <a:bodyPr wrap="square" lIns="0" tIns="0" rIns="0" bIns="0">
            <a:spAutoFit/>
          </a:bodyPr>
          <a:lstStyle/>
          <a:p>
            <a:pPr defTabSz="787400">
              <a:lnSpc>
                <a:spcPct val="95000"/>
              </a:lnSpc>
              <a:spcBef>
                <a:spcPct val="80000"/>
              </a:spcBef>
              <a:buClr>
                <a:schemeClr val="tx1"/>
              </a:buClr>
              <a:buFont typeface="Wingdings 2" pitchFamily="18" charset="2"/>
              <a:buNone/>
            </a:pPr>
            <a:r>
              <a:rPr lang="en-GB" sz="1400" dirty="0">
                <a:solidFill>
                  <a:schemeClr val="bg1"/>
                </a:solidFill>
              </a:rPr>
              <a:t>Text</a:t>
            </a:r>
          </a:p>
        </p:txBody>
      </p:sp>
      <p:sp>
        <p:nvSpPr>
          <p:cNvPr id="814085" name="Rectangle 4"/>
          <p:cNvSpPr>
            <a:spLocks noChangeArrowheads="1"/>
          </p:cNvSpPr>
          <p:nvPr/>
        </p:nvSpPr>
        <p:spPr bwMode="auto">
          <a:xfrm>
            <a:off x="2416896" y="3085697"/>
            <a:ext cx="850900" cy="203200"/>
          </a:xfrm>
          <a:prstGeom prst="rect">
            <a:avLst/>
          </a:prstGeom>
          <a:noFill/>
          <a:ln w="9525">
            <a:noFill/>
            <a:miter lim="800000"/>
            <a:headEnd/>
            <a:tailEnd/>
          </a:ln>
        </p:spPr>
        <p:txBody>
          <a:bodyPr lIns="0" tIns="0" rIns="0" bIns="0">
            <a:spAutoFit/>
          </a:bodyPr>
          <a:lstStyle/>
          <a:p>
            <a:pPr defTabSz="787400">
              <a:lnSpc>
                <a:spcPct val="95000"/>
              </a:lnSpc>
              <a:spcBef>
                <a:spcPct val="80000"/>
              </a:spcBef>
              <a:buClr>
                <a:schemeClr val="tx1"/>
              </a:buClr>
              <a:buFont typeface="Wingdings 2" pitchFamily="18" charset="2"/>
              <a:buNone/>
            </a:pPr>
            <a:r>
              <a:rPr lang="en-GB" sz="1400">
                <a:solidFill>
                  <a:schemeClr val="tx2"/>
                </a:solidFill>
              </a:rPr>
              <a:t>Text</a:t>
            </a:r>
          </a:p>
        </p:txBody>
      </p:sp>
      <p:sp>
        <p:nvSpPr>
          <p:cNvPr id="814086" name="Rectangle 5"/>
          <p:cNvSpPr>
            <a:spLocks noChangeArrowheads="1"/>
          </p:cNvSpPr>
          <p:nvPr/>
        </p:nvSpPr>
        <p:spPr bwMode="auto">
          <a:xfrm>
            <a:off x="4956624" y="3085697"/>
            <a:ext cx="1895747" cy="204671"/>
          </a:xfrm>
          <a:prstGeom prst="rect">
            <a:avLst/>
          </a:prstGeom>
          <a:noFill/>
          <a:ln w="9525">
            <a:noFill/>
            <a:miter lim="800000"/>
            <a:headEnd/>
            <a:tailEnd/>
          </a:ln>
        </p:spPr>
        <p:txBody>
          <a:bodyPr wrap="square" lIns="0" tIns="0" rIns="0" bIns="0">
            <a:spAutoFit/>
          </a:bodyPr>
          <a:lstStyle/>
          <a:p>
            <a:pPr defTabSz="787400">
              <a:lnSpc>
                <a:spcPct val="95000"/>
              </a:lnSpc>
              <a:spcBef>
                <a:spcPct val="80000"/>
              </a:spcBef>
              <a:buClr>
                <a:schemeClr val="tx1"/>
              </a:buClr>
              <a:buFont typeface="Wingdings 2" pitchFamily="18" charset="2"/>
              <a:buNone/>
            </a:pPr>
            <a:r>
              <a:rPr lang="en-GB" sz="1400" dirty="0">
                <a:solidFill>
                  <a:schemeClr val="bg1"/>
                </a:solidFill>
              </a:rPr>
              <a:t>Text</a:t>
            </a:r>
          </a:p>
        </p:txBody>
      </p:sp>
      <p:sp>
        <p:nvSpPr>
          <p:cNvPr id="814087" name="Rectangle 6"/>
          <p:cNvSpPr>
            <a:spLocks noChangeArrowheads="1"/>
          </p:cNvSpPr>
          <p:nvPr/>
        </p:nvSpPr>
        <p:spPr bwMode="auto">
          <a:xfrm>
            <a:off x="2277196" y="4386653"/>
            <a:ext cx="3359150" cy="204787"/>
          </a:xfrm>
          <a:prstGeom prst="rect">
            <a:avLst/>
          </a:prstGeom>
          <a:noFill/>
          <a:ln w="9525">
            <a:noFill/>
            <a:miter lim="800000"/>
            <a:headEnd/>
            <a:tailEnd/>
          </a:ln>
        </p:spPr>
        <p:txBody>
          <a:bodyPr wrap="square" lIns="0" tIns="0" rIns="0" bIns="0" anchor="b">
            <a:spAutoFit/>
          </a:bodyPr>
          <a:lstStyle/>
          <a:p>
            <a:pPr defTabSz="787400">
              <a:lnSpc>
                <a:spcPct val="95000"/>
              </a:lnSpc>
              <a:spcBef>
                <a:spcPct val="80000"/>
              </a:spcBef>
              <a:buClr>
                <a:schemeClr val="tx1"/>
              </a:buClr>
              <a:buFont typeface="Wingdings 2" pitchFamily="18" charset="2"/>
              <a:buNone/>
            </a:pPr>
            <a:r>
              <a:rPr lang="en-GB" sz="1400" dirty="0">
                <a:solidFill>
                  <a:schemeClr val="bg1"/>
                </a:solidFill>
              </a:rPr>
              <a:t>Text</a:t>
            </a:r>
          </a:p>
        </p:txBody>
      </p:sp>
      <p:sp>
        <p:nvSpPr>
          <p:cNvPr id="1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2"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5105" name="Title 1"/>
          <p:cNvSpPr>
            <a:spLocks noGrp="1"/>
          </p:cNvSpPr>
          <p:nvPr>
            <p:ph type="title"/>
          </p:nvPr>
        </p:nvSpPr>
        <p:spPr/>
        <p:txBody>
          <a:bodyPr/>
          <a:lstStyle/>
          <a:p>
            <a:r>
              <a:rPr lang="nl-NL"/>
              <a:t>Linear</a:t>
            </a:r>
          </a:p>
        </p:txBody>
      </p:sp>
      <p:sp>
        <p:nvSpPr>
          <p:cNvPr id="5" name="Freeform 3"/>
          <p:cNvSpPr>
            <a:spLocks/>
          </p:cNvSpPr>
          <p:nvPr/>
        </p:nvSpPr>
        <p:spPr bwMode="blackWhite">
          <a:xfrm>
            <a:off x="2312746" y="1588676"/>
            <a:ext cx="2259254" cy="3057525"/>
          </a:xfrm>
          <a:custGeom>
            <a:avLst/>
            <a:gdLst>
              <a:gd name="T0" fmla="*/ 0 w 1978"/>
              <a:gd name="T1" fmla="*/ 368 h 2696"/>
              <a:gd name="T2" fmla="*/ 1695 w 1978"/>
              <a:gd name="T3" fmla="*/ 368 h 2696"/>
              <a:gd name="T4" fmla="*/ 1695 w 1978"/>
              <a:gd name="T5" fmla="*/ 0 h 2696"/>
              <a:gd name="T6" fmla="*/ 2142 w 1978"/>
              <a:gd name="T7" fmla="*/ 1473 h 2696"/>
              <a:gd name="T8" fmla="*/ 1695 w 1978"/>
              <a:gd name="T9" fmla="*/ 2917 h 2696"/>
              <a:gd name="T10" fmla="*/ 1695 w 1978"/>
              <a:gd name="T11" fmla="*/ 2590 h 2696"/>
              <a:gd name="T12" fmla="*/ 0 w 1978"/>
              <a:gd name="T13" fmla="*/ 2590 h 2696"/>
              <a:gd name="T14" fmla="*/ 0 60000 65536"/>
              <a:gd name="T15" fmla="*/ 0 60000 65536"/>
              <a:gd name="T16" fmla="*/ 0 60000 65536"/>
              <a:gd name="T17" fmla="*/ 0 60000 65536"/>
              <a:gd name="T18" fmla="*/ 0 60000 65536"/>
              <a:gd name="T19" fmla="*/ 0 60000 65536"/>
              <a:gd name="T20" fmla="*/ 0 60000 65536"/>
              <a:gd name="T21" fmla="*/ 0 w 1978"/>
              <a:gd name="T22" fmla="*/ 0 h 2696"/>
              <a:gd name="T23" fmla="*/ 1978 w 1978"/>
              <a:gd name="T24" fmla="*/ 2696 h 26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78" h="2696">
                <a:moveTo>
                  <a:pt x="0" y="340"/>
                </a:moveTo>
                <a:lnTo>
                  <a:pt x="1564" y="340"/>
                </a:lnTo>
                <a:lnTo>
                  <a:pt x="1564" y="0"/>
                </a:lnTo>
                <a:lnTo>
                  <a:pt x="1977" y="1361"/>
                </a:lnTo>
                <a:lnTo>
                  <a:pt x="1564" y="2695"/>
                </a:lnTo>
                <a:lnTo>
                  <a:pt x="1564" y="2392"/>
                </a:lnTo>
                <a:lnTo>
                  <a:pt x="0" y="2392"/>
                </a:lnTo>
              </a:path>
            </a:pathLst>
          </a:custGeom>
          <a:solidFill>
            <a:schemeClr val="bg1"/>
          </a:solidFill>
          <a:ln w="12700" cap="rnd">
            <a:solidFill>
              <a:schemeClr val="accent3"/>
            </a:solidFill>
            <a:round/>
            <a:headEnd type="none" w="sm" len="sm"/>
            <a:tailEnd type="none" w="sm" len="sm"/>
          </a:ln>
        </p:spPr>
        <p:txBody>
          <a:bodyPr/>
          <a:lstStyle/>
          <a:p>
            <a:pPr>
              <a:defRPr/>
            </a:pPr>
            <a:endParaRPr lang="en-GB"/>
          </a:p>
        </p:txBody>
      </p:sp>
      <p:sp>
        <p:nvSpPr>
          <p:cNvPr id="6" name="Freeform 4"/>
          <p:cNvSpPr>
            <a:spLocks/>
          </p:cNvSpPr>
          <p:nvPr/>
        </p:nvSpPr>
        <p:spPr bwMode="blackWhite">
          <a:xfrm>
            <a:off x="439738" y="1974480"/>
            <a:ext cx="2311872" cy="1127393"/>
          </a:xfrm>
          <a:custGeom>
            <a:avLst/>
            <a:gdLst>
              <a:gd name="T0" fmla="*/ 1775 w 2024"/>
              <a:gd name="T1" fmla="*/ 470 h 994"/>
              <a:gd name="T2" fmla="*/ 1775 w 2024"/>
              <a:gd name="T3" fmla="*/ 0 h 994"/>
              <a:gd name="T4" fmla="*/ 2193 w 2024"/>
              <a:gd name="T5" fmla="*/ 1075 h 994"/>
              <a:gd name="T6" fmla="*/ 0 w 2024"/>
              <a:gd name="T7" fmla="*/ 1075 h 994"/>
              <a:gd name="T8" fmla="*/ 0 w 2024"/>
              <a:gd name="T9" fmla="*/ 470 h 994"/>
              <a:gd name="T10" fmla="*/ 1775 w 2024"/>
              <a:gd name="T11" fmla="*/ 470 h 994"/>
              <a:gd name="T12" fmla="*/ 0 60000 65536"/>
              <a:gd name="T13" fmla="*/ 0 60000 65536"/>
              <a:gd name="T14" fmla="*/ 0 60000 65536"/>
              <a:gd name="T15" fmla="*/ 0 60000 65536"/>
              <a:gd name="T16" fmla="*/ 0 60000 65536"/>
              <a:gd name="T17" fmla="*/ 0 60000 65536"/>
              <a:gd name="T18" fmla="*/ 0 w 2024"/>
              <a:gd name="T19" fmla="*/ 0 h 994"/>
              <a:gd name="T20" fmla="*/ 2024 w 2024"/>
              <a:gd name="T21" fmla="*/ 994 h 994"/>
            </a:gdLst>
            <a:ahLst/>
            <a:cxnLst>
              <a:cxn ang="T12">
                <a:pos x="T0" y="T1"/>
              </a:cxn>
              <a:cxn ang="T13">
                <a:pos x="T2" y="T3"/>
              </a:cxn>
              <a:cxn ang="T14">
                <a:pos x="T4" y="T5"/>
              </a:cxn>
              <a:cxn ang="T15">
                <a:pos x="T6" y="T7"/>
              </a:cxn>
              <a:cxn ang="T16">
                <a:pos x="T8" y="T9"/>
              </a:cxn>
              <a:cxn ang="T17">
                <a:pos x="T10" y="T11"/>
              </a:cxn>
            </a:cxnLst>
            <a:rect l="T18" t="T19" r="T20" b="T21"/>
            <a:pathLst>
              <a:path w="2024" h="994">
                <a:moveTo>
                  <a:pt x="1638" y="434"/>
                </a:moveTo>
                <a:lnTo>
                  <a:pt x="1638" y="0"/>
                </a:lnTo>
                <a:lnTo>
                  <a:pt x="2023" y="993"/>
                </a:lnTo>
                <a:lnTo>
                  <a:pt x="0" y="993"/>
                </a:lnTo>
                <a:lnTo>
                  <a:pt x="0" y="434"/>
                </a:lnTo>
                <a:lnTo>
                  <a:pt x="1638" y="434"/>
                </a:lnTo>
              </a:path>
            </a:pathLst>
          </a:custGeom>
          <a:solidFill>
            <a:schemeClr val="accent3"/>
          </a:solidFill>
          <a:ln w="12700" cap="rnd">
            <a:solidFill>
              <a:schemeClr val="bg1"/>
            </a:solidFill>
            <a:round/>
            <a:headEnd/>
            <a:tailEnd/>
          </a:ln>
        </p:spPr>
        <p:txBody>
          <a:bodyPr/>
          <a:lstStyle/>
          <a:p>
            <a:pPr>
              <a:defRPr/>
            </a:pPr>
            <a:endParaRPr lang="en-GB"/>
          </a:p>
        </p:txBody>
      </p:sp>
      <p:sp>
        <p:nvSpPr>
          <p:cNvPr id="7" name="Freeform 5"/>
          <p:cNvSpPr>
            <a:spLocks/>
          </p:cNvSpPr>
          <p:nvPr/>
        </p:nvSpPr>
        <p:spPr bwMode="blackWhite">
          <a:xfrm>
            <a:off x="439738" y="3177477"/>
            <a:ext cx="2311872" cy="1125169"/>
          </a:xfrm>
          <a:custGeom>
            <a:avLst/>
            <a:gdLst>
              <a:gd name="T0" fmla="*/ 1775 w 2024"/>
              <a:gd name="T1" fmla="*/ 604 h 993"/>
              <a:gd name="T2" fmla="*/ 1775 w 2024"/>
              <a:gd name="T3" fmla="*/ 1074 h 993"/>
              <a:gd name="T4" fmla="*/ 2193 w 2024"/>
              <a:gd name="T5" fmla="*/ 0 h 993"/>
              <a:gd name="T6" fmla="*/ 0 w 2024"/>
              <a:gd name="T7" fmla="*/ 0 h 993"/>
              <a:gd name="T8" fmla="*/ 0 w 2024"/>
              <a:gd name="T9" fmla="*/ 604 h 993"/>
              <a:gd name="T10" fmla="*/ 1775 w 2024"/>
              <a:gd name="T11" fmla="*/ 604 h 993"/>
              <a:gd name="T12" fmla="*/ 0 60000 65536"/>
              <a:gd name="T13" fmla="*/ 0 60000 65536"/>
              <a:gd name="T14" fmla="*/ 0 60000 65536"/>
              <a:gd name="T15" fmla="*/ 0 60000 65536"/>
              <a:gd name="T16" fmla="*/ 0 60000 65536"/>
              <a:gd name="T17" fmla="*/ 0 60000 65536"/>
              <a:gd name="T18" fmla="*/ 0 w 2024"/>
              <a:gd name="T19" fmla="*/ 0 h 993"/>
              <a:gd name="T20" fmla="*/ 2024 w 2024"/>
              <a:gd name="T21" fmla="*/ 993 h 993"/>
            </a:gdLst>
            <a:ahLst/>
            <a:cxnLst>
              <a:cxn ang="T12">
                <a:pos x="T0" y="T1"/>
              </a:cxn>
              <a:cxn ang="T13">
                <a:pos x="T2" y="T3"/>
              </a:cxn>
              <a:cxn ang="T14">
                <a:pos x="T4" y="T5"/>
              </a:cxn>
              <a:cxn ang="T15">
                <a:pos x="T6" y="T7"/>
              </a:cxn>
              <a:cxn ang="T16">
                <a:pos x="T8" y="T9"/>
              </a:cxn>
              <a:cxn ang="T17">
                <a:pos x="T10" y="T11"/>
              </a:cxn>
            </a:cxnLst>
            <a:rect l="T18" t="T19" r="T20" b="T21"/>
            <a:pathLst>
              <a:path w="2024" h="993">
                <a:moveTo>
                  <a:pt x="1638" y="558"/>
                </a:moveTo>
                <a:lnTo>
                  <a:pt x="1638" y="992"/>
                </a:lnTo>
                <a:lnTo>
                  <a:pt x="2023" y="0"/>
                </a:lnTo>
                <a:lnTo>
                  <a:pt x="0" y="0"/>
                </a:lnTo>
                <a:lnTo>
                  <a:pt x="0" y="558"/>
                </a:lnTo>
                <a:lnTo>
                  <a:pt x="1638" y="558"/>
                </a:lnTo>
              </a:path>
            </a:pathLst>
          </a:custGeom>
          <a:solidFill>
            <a:schemeClr val="accent3"/>
          </a:solidFill>
          <a:ln w="12700" cap="rnd">
            <a:solidFill>
              <a:schemeClr val="bg1"/>
            </a:solidFill>
            <a:round/>
            <a:headEnd/>
            <a:tailEnd/>
          </a:ln>
        </p:spPr>
        <p:txBody>
          <a:bodyPr/>
          <a:lstStyle/>
          <a:p>
            <a:pPr>
              <a:defRPr/>
            </a:pPr>
            <a:endParaRPr lang="en-GB"/>
          </a:p>
        </p:txBody>
      </p:sp>
      <p:sp>
        <p:nvSpPr>
          <p:cNvPr id="815118" name="Rectangle 6"/>
          <p:cNvSpPr>
            <a:spLocks noChangeArrowheads="1"/>
          </p:cNvSpPr>
          <p:nvPr/>
        </p:nvSpPr>
        <p:spPr bwMode="auto">
          <a:xfrm>
            <a:off x="528183" y="2693334"/>
            <a:ext cx="1405036" cy="204576"/>
          </a:xfrm>
          <a:prstGeom prst="rect">
            <a:avLst/>
          </a:prstGeom>
          <a:noFill/>
          <a:ln w="9525">
            <a:noFill/>
            <a:miter lim="800000"/>
            <a:headEnd/>
            <a:tailEnd/>
          </a:ln>
        </p:spPr>
        <p:txBody>
          <a:bodyPr lIns="0" tIns="0" rIns="0" bIns="0">
            <a:spAutoFit/>
          </a:bodyPr>
          <a:lstStyle/>
          <a:p>
            <a:pPr defTabSz="787400">
              <a:lnSpc>
                <a:spcPct val="95000"/>
              </a:lnSpc>
              <a:spcBef>
                <a:spcPct val="80000"/>
              </a:spcBef>
              <a:buClr>
                <a:schemeClr val="tx1"/>
              </a:buClr>
              <a:buFont typeface="Wingdings 2" pitchFamily="18" charset="2"/>
              <a:buNone/>
            </a:pPr>
            <a:r>
              <a:rPr lang="en-GB" sz="1400" dirty="0">
                <a:solidFill>
                  <a:schemeClr val="bg1"/>
                </a:solidFill>
              </a:rPr>
              <a:t>Text</a:t>
            </a:r>
          </a:p>
        </p:txBody>
      </p:sp>
      <p:sp>
        <p:nvSpPr>
          <p:cNvPr id="815119" name="Rectangle 7"/>
          <p:cNvSpPr>
            <a:spLocks noChangeArrowheads="1"/>
          </p:cNvSpPr>
          <p:nvPr/>
        </p:nvSpPr>
        <p:spPr bwMode="auto">
          <a:xfrm>
            <a:off x="528183" y="3408631"/>
            <a:ext cx="1405036" cy="204576"/>
          </a:xfrm>
          <a:prstGeom prst="rect">
            <a:avLst/>
          </a:prstGeom>
          <a:noFill/>
          <a:ln w="9525">
            <a:noFill/>
            <a:miter lim="800000"/>
            <a:headEnd/>
            <a:tailEnd/>
          </a:ln>
        </p:spPr>
        <p:txBody>
          <a:bodyPr lIns="0" tIns="0" rIns="0" bIns="0">
            <a:spAutoFit/>
          </a:bodyPr>
          <a:lstStyle/>
          <a:p>
            <a:pPr defTabSz="787400">
              <a:lnSpc>
                <a:spcPct val="95000"/>
              </a:lnSpc>
              <a:spcBef>
                <a:spcPct val="80000"/>
              </a:spcBef>
              <a:buClr>
                <a:schemeClr val="tx1"/>
              </a:buClr>
              <a:buFont typeface="Wingdings 2" pitchFamily="18" charset="2"/>
              <a:buNone/>
            </a:pPr>
            <a:r>
              <a:rPr lang="en-GB" sz="1400" dirty="0">
                <a:solidFill>
                  <a:schemeClr val="bg1"/>
                </a:solidFill>
              </a:rPr>
              <a:t>Text</a:t>
            </a:r>
          </a:p>
        </p:txBody>
      </p:sp>
      <p:sp>
        <p:nvSpPr>
          <p:cNvPr id="815120" name="Rectangle 8"/>
          <p:cNvSpPr>
            <a:spLocks noChangeArrowheads="1"/>
          </p:cNvSpPr>
          <p:nvPr/>
        </p:nvSpPr>
        <p:spPr bwMode="auto">
          <a:xfrm>
            <a:off x="2832218" y="3023745"/>
            <a:ext cx="1283005" cy="204576"/>
          </a:xfrm>
          <a:prstGeom prst="rect">
            <a:avLst/>
          </a:prstGeom>
          <a:noFill/>
          <a:ln w="9525">
            <a:noFill/>
            <a:miter lim="800000"/>
            <a:headEnd/>
            <a:tailEnd/>
          </a:ln>
        </p:spPr>
        <p:txBody>
          <a:bodyPr lIns="0" tIns="0" rIns="0" bIns="0">
            <a:spAutoFit/>
          </a:bodyPr>
          <a:lstStyle/>
          <a:p>
            <a:pPr defTabSz="787400">
              <a:lnSpc>
                <a:spcPct val="95000"/>
              </a:lnSpc>
              <a:spcBef>
                <a:spcPct val="80000"/>
              </a:spcBef>
              <a:buClr>
                <a:schemeClr val="tx1"/>
              </a:buClr>
              <a:buFont typeface="Wingdings 2" pitchFamily="18" charset="2"/>
              <a:buNone/>
            </a:pPr>
            <a:r>
              <a:rPr lang="en-GB" sz="1400" dirty="0">
                <a:solidFill>
                  <a:schemeClr val="tx2"/>
                </a:solidFill>
              </a:rPr>
              <a:t>Text</a:t>
            </a:r>
          </a:p>
        </p:txBody>
      </p:sp>
      <p:sp>
        <p:nvSpPr>
          <p:cNvPr id="12" name="Freeform 11"/>
          <p:cNvSpPr>
            <a:spLocks/>
          </p:cNvSpPr>
          <p:nvPr/>
        </p:nvSpPr>
        <p:spPr bwMode="blackWhite">
          <a:xfrm>
            <a:off x="4748213" y="3175914"/>
            <a:ext cx="3833812" cy="1441712"/>
          </a:xfrm>
          <a:custGeom>
            <a:avLst/>
            <a:gdLst>
              <a:gd name="T0" fmla="*/ 0 w 3656"/>
              <a:gd name="T1" fmla="*/ 307 h 1272"/>
              <a:gd name="T2" fmla="*/ 0 w 3656"/>
              <a:gd name="T3" fmla="*/ 1020 h 1272"/>
              <a:gd name="T4" fmla="*/ 3583 w 3656"/>
              <a:gd name="T5" fmla="*/ 1017 h 1272"/>
              <a:gd name="T6" fmla="*/ 3583 w 3656"/>
              <a:gd name="T7" fmla="*/ 1379 h 1272"/>
              <a:gd name="T8" fmla="*/ 3965 w 3656"/>
              <a:gd name="T9" fmla="*/ 0 h 1272"/>
              <a:gd name="T10" fmla="*/ 3583 w 3656"/>
              <a:gd name="T11" fmla="*/ 0 h 1272"/>
              <a:gd name="T12" fmla="*/ 3365 w 3656"/>
              <a:gd name="T13" fmla="*/ 668 h 1272"/>
              <a:gd name="T14" fmla="*/ 3365 w 3656"/>
              <a:gd name="T15" fmla="*/ 310 h 1272"/>
              <a:gd name="T16" fmla="*/ 0 w 3656"/>
              <a:gd name="T17" fmla="*/ 307 h 1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6"/>
              <a:gd name="T28" fmla="*/ 0 h 1272"/>
              <a:gd name="T29" fmla="*/ 3656 w 3656"/>
              <a:gd name="T30" fmla="*/ 1272 h 1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6" h="1272">
                <a:moveTo>
                  <a:pt x="0" y="283"/>
                </a:moveTo>
                <a:lnTo>
                  <a:pt x="0" y="941"/>
                </a:lnTo>
                <a:lnTo>
                  <a:pt x="3303" y="938"/>
                </a:lnTo>
                <a:lnTo>
                  <a:pt x="3303" y="1271"/>
                </a:lnTo>
                <a:lnTo>
                  <a:pt x="3655" y="0"/>
                </a:lnTo>
                <a:lnTo>
                  <a:pt x="3303" y="0"/>
                </a:lnTo>
                <a:lnTo>
                  <a:pt x="3102" y="616"/>
                </a:lnTo>
                <a:lnTo>
                  <a:pt x="3102" y="286"/>
                </a:lnTo>
                <a:lnTo>
                  <a:pt x="0" y="283"/>
                </a:lnTo>
              </a:path>
            </a:pathLst>
          </a:custGeom>
          <a:solidFill>
            <a:schemeClr val="accent3"/>
          </a:solidFill>
          <a:ln w="12700" cap="rnd">
            <a:solidFill>
              <a:schemeClr val="accent3"/>
            </a:solidFill>
            <a:round/>
            <a:headEnd type="none" w="sm" len="sm"/>
            <a:tailEnd type="none" w="sm" len="sm"/>
          </a:ln>
        </p:spPr>
        <p:txBody>
          <a:bodyPr/>
          <a:lstStyle/>
          <a:p>
            <a:pPr>
              <a:defRPr/>
            </a:pPr>
            <a:endParaRPr lang="en-GB"/>
          </a:p>
        </p:txBody>
      </p:sp>
      <p:sp>
        <p:nvSpPr>
          <p:cNvPr id="13" name="Freeform 12"/>
          <p:cNvSpPr>
            <a:spLocks/>
          </p:cNvSpPr>
          <p:nvPr/>
        </p:nvSpPr>
        <p:spPr bwMode="blackWhite">
          <a:xfrm>
            <a:off x="4748213" y="1633126"/>
            <a:ext cx="3833812" cy="1441712"/>
          </a:xfrm>
          <a:custGeom>
            <a:avLst/>
            <a:gdLst>
              <a:gd name="T0" fmla="*/ 0 w 3656"/>
              <a:gd name="T1" fmla="*/ 1070 h 1272"/>
              <a:gd name="T2" fmla="*/ 0 w 3656"/>
              <a:gd name="T3" fmla="*/ 357 h 1272"/>
              <a:gd name="T4" fmla="*/ 3583 w 3656"/>
              <a:gd name="T5" fmla="*/ 359 h 1272"/>
              <a:gd name="T6" fmla="*/ 3583 w 3656"/>
              <a:gd name="T7" fmla="*/ 0 h 1272"/>
              <a:gd name="T8" fmla="*/ 3965 w 3656"/>
              <a:gd name="T9" fmla="*/ 1379 h 1272"/>
              <a:gd name="T10" fmla="*/ 3583 w 3656"/>
              <a:gd name="T11" fmla="*/ 1379 h 1272"/>
              <a:gd name="T12" fmla="*/ 3365 w 3656"/>
              <a:gd name="T13" fmla="*/ 709 h 1272"/>
              <a:gd name="T14" fmla="*/ 3365 w 3656"/>
              <a:gd name="T15" fmla="*/ 1068 h 1272"/>
              <a:gd name="T16" fmla="*/ 0 w 3656"/>
              <a:gd name="T17" fmla="*/ 1070 h 1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6"/>
              <a:gd name="T28" fmla="*/ 0 h 1272"/>
              <a:gd name="T29" fmla="*/ 3656 w 3656"/>
              <a:gd name="T30" fmla="*/ 1272 h 1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6" h="1272">
                <a:moveTo>
                  <a:pt x="0" y="987"/>
                </a:moveTo>
                <a:lnTo>
                  <a:pt x="0" y="329"/>
                </a:lnTo>
                <a:lnTo>
                  <a:pt x="3303" y="331"/>
                </a:lnTo>
                <a:lnTo>
                  <a:pt x="3303" y="0"/>
                </a:lnTo>
                <a:lnTo>
                  <a:pt x="3655" y="1271"/>
                </a:lnTo>
                <a:lnTo>
                  <a:pt x="3303" y="1271"/>
                </a:lnTo>
                <a:lnTo>
                  <a:pt x="3102" y="654"/>
                </a:lnTo>
                <a:lnTo>
                  <a:pt x="3102" y="985"/>
                </a:lnTo>
                <a:lnTo>
                  <a:pt x="0" y="987"/>
                </a:lnTo>
              </a:path>
            </a:pathLst>
          </a:custGeom>
          <a:solidFill>
            <a:schemeClr val="accent3"/>
          </a:solidFill>
          <a:ln w="12700" cap="rnd">
            <a:solidFill>
              <a:schemeClr val="accent3"/>
            </a:solidFill>
            <a:round/>
            <a:headEnd type="none" w="sm" len="sm"/>
            <a:tailEnd type="none" w="sm" len="sm"/>
          </a:ln>
        </p:spPr>
        <p:txBody>
          <a:bodyPr/>
          <a:lstStyle/>
          <a:p>
            <a:pPr>
              <a:defRPr/>
            </a:pPr>
            <a:endParaRPr lang="en-GB"/>
          </a:p>
        </p:txBody>
      </p:sp>
      <p:sp>
        <p:nvSpPr>
          <p:cNvPr id="815112" name="Rectangle 13"/>
          <p:cNvSpPr>
            <a:spLocks noChangeArrowheads="1"/>
          </p:cNvSpPr>
          <p:nvPr/>
        </p:nvSpPr>
        <p:spPr bwMode="auto">
          <a:xfrm>
            <a:off x="4869465" y="2286524"/>
            <a:ext cx="2626434" cy="204372"/>
          </a:xfrm>
          <a:prstGeom prst="rect">
            <a:avLst/>
          </a:prstGeom>
          <a:noFill/>
          <a:ln w="9525">
            <a:noFill/>
            <a:miter lim="800000"/>
            <a:headEnd/>
            <a:tailEnd/>
          </a:ln>
        </p:spPr>
        <p:txBody>
          <a:bodyPr lIns="0" tIns="0" rIns="0" bIns="0">
            <a:spAutoFit/>
          </a:bodyPr>
          <a:lstStyle/>
          <a:p>
            <a:pPr defTabSz="787400">
              <a:lnSpc>
                <a:spcPct val="95000"/>
              </a:lnSpc>
              <a:spcBef>
                <a:spcPct val="80000"/>
              </a:spcBef>
              <a:buClr>
                <a:schemeClr val="tx1"/>
              </a:buClr>
              <a:buFont typeface="Wingdings 2" pitchFamily="18" charset="2"/>
              <a:buNone/>
            </a:pPr>
            <a:r>
              <a:rPr lang="en-GB" sz="1400" dirty="0">
                <a:solidFill>
                  <a:schemeClr val="bg1"/>
                </a:solidFill>
              </a:rPr>
              <a:t>Text</a:t>
            </a:r>
          </a:p>
        </p:txBody>
      </p:sp>
      <p:sp>
        <p:nvSpPr>
          <p:cNvPr id="815113" name="Rectangle 14"/>
          <p:cNvSpPr>
            <a:spLocks noChangeArrowheads="1"/>
          </p:cNvSpPr>
          <p:nvPr/>
        </p:nvSpPr>
        <p:spPr bwMode="auto">
          <a:xfrm>
            <a:off x="4869465" y="3023745"/>
            <a:ext cx="2626434" cy="204372"/>
          </a:xfrm>
          <a:prstGeom prst="rect">
            <a:avLst/>
          </a:prstGeom>
          <a:noFill/>
          <a:ln w="9525">
            <a:noFill/>
            <a:miter lim="800000"/>
            <a:headEnd/>
            <a:tailEnd/>
          </a:ln>
        </p:spPr>
        <p:txBody>
          <a:bodyPr lIns="0" tIns="0" rIns="0" bIns="0" anchor="ctr">
            <a:spAutoFit/>
          </a:bodyPr>
          <a:lstStyle/>
          <a:p>
            <a:pPr defTabSz="787400">
              <a:lnSpc>
                <a:spcPct val="95000"/>
              </a:lnSpc>
              <a:spcBef>
                <a:spcPct val="80000"/>
              </a:spcBef>
              <a:buClr>
                <a:schemeClr val="tx1"/>
              </a:buClr>
              <a:buFont typeface="Wingdings 2" pitchFamily="18" charset="2"/>
              <a:buNone/>
            </a:pPr>
            <a:r>
              <a:rPr lang="en-GB" sz="1400">
                <a:solidFill>
                  <a:schemeClr val="tx2"/>
                </a:solidFill>
              </a:rPr>
              <a:t>Text</a:t>
            </a:r>
          </a:p>
        </p:txBody>
      </p:sp>
      <p:sp>
        <p:nvSpPr>
          <p:cNvPr id="815114" name="Rectangle 15"/>
          <p:cNvSpPr>
            <a:spLocks noChangeArrowheads="1"/>
          </p:cNvSpPr>
          <p:nvPr/>
        </p:nvSpPr>
        <p:spPr bwMode="auto">
          <a:xfrm>
            <a:off x="4869465" y="3788333"/>
            <a:ext cx="2626434" cy="204372"/>
          </a:xfrm>
          <a:prstGeom prst="rect">
            <a:avLst/>
          </a:prstGeom>
          <a:noFill/>
          <a:ln w="9525">
            <a:noFill/>
            <a:miter lim="800000"/>
            <a:headEnd/>
            <a:tailEnd/>
          </a:ln>
        </p:spPr>
        <p:txBody>
          <a:bodyPr lIns="0" tIns="0" rIns="0" bIns="0">
            <a:spAutoFit/>
          </a:bodyPr>
          <a:lstStyle/>
          <a:p>
            <a:pPr defTabSz="787400">
              <a:lnSpc>
                <a:spcPct val="95000"/>
              </a:lnSpc>
              <a:spcBef>
                <a:spcPct val="80000"/>
              </a:spcBef>
              <a:buClr>
                <a:schemeClr val="tx1"/>
              </a:buClr>
              <a:buFont typeface="Wingdings 2" pitchFamily="18" charset="2"/>
              <a:buNone/>
            </a:pPr>
            <a:r>
              <a:rPr lang="en-GB" sz="1400" dirty="0">
                <a:solidFill>
                  <a:schemeClr val="bg1"/>
                </a:solidFill>
              </a:rPr>
              <a:t>Text</a:t>
            </a:r>
          </a:p>
        </p:txBody>
      </p:sp>
      <p:sp>
        <p:nvSpPr>
          <p:cNvPr id="19"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0"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6129" name="Title 1"/>
          <p:cNvSpPr>
            <a:spLocks noGrp="1"/>
          </p:cNvSpPr>
          <p:nvPr>
            <p:ph type="title"/>
          </p:nvPr>
        </p:nvSpPr>
        <p:spPr/>
        <p:txBody>
          <a:bodyPr/>
          <a:lstStyle/>
          <a:p>
            <a:r>
              <a:rPr lang="en-GB"/>
              <a:t>Linear</a:t>
            </a:r>
            <a:endParaRPr lang="nl-NL"/>
          </a:p>
        </p:txBody>
      </p:sp>
      <p:grpSp>
        <p:nvGrpSpPr>
          <p:cNvPr id="2" name="Group 2"/>
          <p:cNvGrpSpPr>
            <a:grpSpLocks/>
          </p:cNvGrpSpPr>
          <p:nvPr/>
        </p:nvGrpSpPr>
        <p:grpSpPr bwMode="auto">
          <a:xfrm>
            <a:off x="1361208" y="1559511"/>
            <a:ext cx="6410325" cy="2105025"/>
            <a:chOff x="736" y="1219"/>
            <a:chExt cx="4274" cy="2619"/>
          </a:xfrm>
        </p:grpSpPr>
        <p:sp>
          <p:nvSpPr>
            <p:cNvPr id="5" name="Freeform 3"/>
            <p:cNvSpPr>
              <a:spLocks/>
            </p:cNvSpPr>
            <p:nvPr/>
          </p:nvSpPr>
          <p:spPr bwMode="blackWhite">
            <a:xfrm>
              <a:off x="3316" y="1219"/>
              <a:ext cx="1694" cy="2619"/>
            </a:xfrm>
            <a:custGeom>
              <a:avLst/>
              <a:gdLst>
                <a:gd name="T0" fmla="*/ 0 w 1660"/>
                <a:gd name="T1" fmla="*/ 261 h 2567"/>
                <a:gd name="T2" fmla="*/ 1102 w 1660"/>
                <a:gd name="T3" fmla="*/ 261 h 2567"/>
                <a:gd name="T4" fmla="*/ 1102 w 1660"/>
                <a:gd name="T5" fmla="*/ 0 h 2567"/>
                <a:gd name="T6" fmla="*/ 1693 w 1660"/>
                <a:gd name="T7" fmla="*/ 1309 h 2567"/>
                <a:gd name="T8" fmla="*/ 1102 w 1660"/>
                <a:gd name="T9" fmla="*/ 2618 h 2567"/>
                <a:gd name="T10" fmla="*/ 1102 w 1660"/>
                <a:gd name="T11" fmla="*/ 2356 h 2567"/>
                <a:gd name="T12" fmla="*/ 0 w 1660"/>
                <a:gd name="T13" fmla="*/ 2356 h 2567"/>
                <a:gd name="T14" fmla="*/ 0 w 1660"/>
                <a:gd name="T15" fmla="*/ 1309 h 2567"/>
                <a:gd name="T16" fmla="*/ 0 w 1660"/>
                <a:gd name="T17" fmla="*/ 261 h 25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60"/>
                <a:gd name="T28" fmla="*/ 0 h 2567"/>
                <a:gd name="T29" fmla="*/ 1660 w 1660"/>
                <a:gd name="T30" fmla="*/ 2567 h 25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60" h="2567">
                  <a:moveTo>
                    <a:pt x="0" y="256"/>
                  </a:moveTo>
                  <a:lnTo>
                    <a:pt x="1080" y="256"/>
                  </a:lnTo>
                  <a:lnTo>
                    <a:pt x="1080" y="0"/>
                  </a:lnTo>
                  <a:lnTo>
                    <a:pt x="1659" y="1283"/>
                  </a:lnTo>
                  <a:lnTo>
                    <a:pt x="1080" y="2566"/>
                  </a:lnTo>
                  <a:lnTo>
                    <a:pt x="1080" y="2309"/>
                  </a:lnTo>
                  <a:lnTo>
                    <a:pt x="0" y="2309"/>
                  </a:lnTo>
                  <a:lnTo>
                    <a:pt x="0" y="1283"/>
                  </a:lnTo>
                  <a:lnTo>
                    <a:pt x="0" y="256"/>
                  </a:lnTo>
                </a:path>
              </a:pathLst>
            </a:custGeom>
            <a:solidFill>
              <a:schemeClr val="accent4"/>
            </a:solidFill>
            <a:ln w="12700" cap="rnd">
              <a:solidFill>
                <a:schemeClr val="bg1"/>
              </a:solidFill>
              <a:round/>
              <a:headEnd/>
              <a:tailEnd/>
            </a:ln>
          </p:spPr>
          <p:txBody>
            <a:bodyPr/>
            <a:lstStyle/>
            <a:p>
              <a:pPr>
                <a:defRPr/>
              </a:pPr>
              <a:endParaRPr lang="en-GB">
                <a:solidFill>
                  <a:schemeClr val="bg1"/>
                </a:solidFill>
              </a:endParaRPr>
            </a:p>
          </p:txBody>
        </p:sp>
        <p:sp>
          <p:nvSpPr>
            <p:cNvPr id="6" name="Freeform 4"/>
            <p:cNvSpPr>
              <a:spLocks/>
            </p:cNvSpPr>
            <p:nvPr/>
          </p:nvSpPr>
          <p:spPr bwMode="blackWhite">
            <a:xfrm>
              <a:off x="2247" y="1480"/>
              <a:ext cx="1541" cy="2096"/>
            </a:xfrm>
            <a:custGeom>
              <a:avLst/>
              <a:gdLst>
                <a:gd name="T0" fmla="*/ 0 w 1511"/>
                <a:gd name="T1" fmla="*/ 207 h 2054"/>
                <a:gd name="T2" fmla="*/ 1070 w 1511"/>
                <a:gd name="T3" fmla="*/ 207 h 2054"/>
                <a:gd name="T4" fmla="*/ 1070 w 1511"/>
                <a:gd name="T5" fmla="*/ 0 h 2054"/>
                <a:gd name="T6" fmla="*/ 1541 w 1511"/>
                <a:gd name="T7" fmla="*/ 1047 h 2054"/>
                <a:gd name="T8" fmla="*/ 1070 w 1511"/>
                <a:gd name="T9" fmla="*/ 2095 h 2054"/>
                <a:gd name="T10" fmla="*/ 1070 w 1511"/>
                <a:gd name="T11" fmla="*/ 1887 h 2054"/>
                <a:gd name="T12" fmla="*/ 0 w 1511"/>
                <a:gd name="T13" fmla="*/ 1887 h 2054"/>
                <a:gd name="T14" fmla="*/ 0 w 1511"/>
                <a:gd name="T15" fmla="*/ 1047 h 2054"/>
                <a:gd name="T16" fmla="*/ 0 w 1511"/>
                <a:gd name="T17" fmla="*/ 207 h 20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11"/>
                <a:gd name="T28" fmla="*/ 0 h 2054"/>
                <a:gd name="T29" fmla="*/ 1511 w 1511"/>
                <a:gd name="T30" fmla="*/ 2054 h 20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11" h="2054">
                  <a:moveTo>
                    <a:pt x="0" y="203"/>
                  </a:moveTo>
                  <a:lnTo>
                    <a:pt x="1048" y="203"/>
                  </a:lnTo>
                  <a:lnTo>
                    <a:pt x="1048" y="0"/>
                  </a:lnTo>
                  <a:lnTo>
                    <a:pt x="1510" y="1026"/>
                  </a:lnTo>
                  <a:lnTo>
                    <a:pt x="1048" y="2053"/>
                  </a:lnTo>
                  <a:lnTo>
                    <a:pt x="1048" y="1849"/>
                  </a:lnTo>
                  <a:lnTo>
                    <a:pt x="0" y="1849"/>
                  </a:lnTo>
                  <a:lnTo>
                    <a:pt x="0" y="1026"/>
                  </a:lnTo>
                  <a:lnTo>
                    <a:pt x="0" y="203"/>
                  </a:lnTo>
                </a:path>
              </a:pathLst>
            </a:custGeom>
            <a:solidFill>
              <a:schemeClr val="accent3"/>
            </a:solidFill>
            <a:ln w="12700" cap="rnd">
              <a:solidFill>
                <a:schemeClr val="bg1"/>
              </a:solidFill>
              <a:round/>
              <a:headEnd/>
              <a:tailEnd/>
            </a:ln>
          </p:spPr>
          <p:txBody>
            <a:bodyPr/>
            <a:lstStyle/>
            <a:p>
              <a:pPr>
                <a:defRPr/>
              </a:pPr>
              <a:endParaRPr lang="en-GB">
                <a:solidFill>
                  <a:schemeClr val="bg1"/>
                </a:solidFill>
              </a:endParaRPr>
            </a:p>
          </p:txBody>
        </p:sp>
        <p:sp>
          <p:nvSpPr>
            <p:cNvPr id="816142" name="Freeform 5"/>
            <p:cNvSpPr>
              <a:spLocks/>
            </p:cNvSpPr>
            <p:nvPr/>
          </p:nvSpPr>
          <p:spPr bwMode="blackWhite">
            <a:xfrm>
              <a:off x="1394" y="1700"/>
              <a:ext cx="1232" cy="1669"/>
            </a:xfrm>
            <a:custGeom>
              <a:avLst/>
              <a:gdLst>
                <a:gd name="T0" fmla="*/ 0 w 1207"/>
                <a:gd name="T1" fmla="*/ 269 h 1636"/>
                <a:gd name="T2" fmla="*/ 927 w 1207"/>
                <a:gd name="T3" fmla="*/ 269 h 1636"/>
                <a:gd name="T4" fmla="*/ 927 w 1207"/>
                <a:gd name="T5" fmla="*/ 0 h 1636"/>
                <a:gd name="T6" fmla="*/ 1336 w 1207"/>
                <a:gd name="T7" fmla="*/ 897 h 1636"/>
                <a:gd name="T8" fmla="*/ 927 w 1207"/>
                <a:gd name="T9" fmla="*/ 1807 h 1636"/>
                <a:gd name="T10" fmla="*/ 927 w 1207"/>
                <a:gd name="T11" fmla="*/ 1536 h 1636"/>
                <a:gd name="T12" fmla="*/ 0 w 1207"/>
                <a:gd name="T13" fmla="*/ 1536 h 1636"/>
                <a:gd name="T14" fmla="*/ 0 w 1207"/>
                <a:gd name="T15" fmla="*/ 897 h 1636"/>
                <a:gd name="T16" fmla="*/ 0 w 1207"/>
                <a:gd name="T17" fmla="*/ 269 h 16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07"/>
                <a:gd name="T28" fmla="*/ 0 h 1636"/>
                <a:gd name="T29" fmla="*/ 1207 w 1207"/>
                <a:gd name="T30" fmla="*/ 1636 h 16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07" h="1636">
                  <a:moveTo>
                    <a:pt x="0" y="244"/>
                  </a:moveTo>
                  <a:lnTo>
                    <a:pt x="837" y="244"/>
                  </a:lnTo>
                  <a:lnTo>
                    <a:pt x="837" y="0"/>
                  </a:lnTo>
                  <a:lnTo>
                    <a:pt x="1206" y="812"/>
                  </a:lnTo>
                  <a:lnTo>
                    <a:pt x="837" y="1635"/>
                  </a:lnTo>
                  <a:lnTo>
                    <a:pt x="837" y="1390"/>
                  </a:lnTo>
                  <a:lnTo>
                    <a:pt x="0" y="1390"/>
                  </a:lnTo>
                  <a:lnTo>
                    <a:pt x="0" y="812"/>
                  </a:lnTo>
                  <a:lnTo>
                    <a:pt x="0" y="244"/>
                  </a:lnTo>
                </a:path>
              </a:pathLst>
            </a:custGeom>
            <a:solidFill>
              <a:schemeClr val="accent2"/>
            </a:solidFill>
            <a:ln w="12700" cap="rnd">
              <a:solidFill>
                <a:schemeClr val="bg1"/>
              </a:solidFill>
              <a:round/>
              <a:headEnd/>
              <a:tailEnd/>
            </a:ln>
          </p:spPr>
          <p:txBody>
            <a:bodyPr/>
            <a:lstStyle/>
            <a:p>
              <a:endParaRPr lang="en-GB">
                <a:solidFill>
                  <a:schemeClr val="bg1"/>
                </a:solidFill>
              </a:endParaRPr>
            </a:p>
          </p:txBody>
        </p:sp>
        <p:sp>
          <p:nvSpPr>
            <p:cNvPr id="816143" name="Freeform 6"/>
            <p:cNvSpPr>
              <a:spLocks/>
            </p:cNvSpPr>
            <p:nvPr/>
          </p:nvSpPr>
          <p:spPr bwMode="blackWhite">
            <a:xfrm>
              <a:off x="736" y="1950"/>
              <a:ext cx="924" cy="1169"/>
            </a:xfrm>
            <a:custGeom>
              <a:avLst/>
              <a:gdLst>
                <a:gd name="T0" fmla="*/ 0 w 906"/>
                <a:gd name="T1" fmla="*/ 248 h 1146"/>
                <a:gd name="T2" fmla="*/ 712 w 906"/>
                <a:gd name="T3" fmla="*/ 248 h 1146"/>
                <a:gd name="T4" fmla="*/ 712 w 906"/>
                <a:gd name="T5" fmla="*/ 0 h 1146"/>
                <a:gd name="T6" fmla="*/ 998 w 906"/>
                <a:gd name="T7" fmla="*/ 626 h 1146"/>
                <a:gd name="T8" fmla="*/ 712 w 906"/>
                <a:gd name="T9" fmla="*/ 1264 h 1146"/>
                <a:gd name="T10" fmla="*/ 712 w 906"/>
                <a:gd name="T11" fmla="*/ 1016 h 1146"/>
                <a:gd name="T12" fmla="*/ 0 w 906"/>
                <a:gd name="T13" fmla="*/ 1016 h 1146"/>
                <a:gd name="T14" fmla="*/ 0 w 906"/>
                <a:gd name="T15" fmla="*/ 626 h 1146"/>
                <a:gd name="T16" fmla="*/ 0 w 906"/>
                <a:gd name="T17" fmla="*/ 248 h 11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6"/>
                <a:gd name="T28" fmla="*/ 0 h 1146"/>
                <a:gd name="T29" fmla="*/ 906 w 906"/>
                <a:gd name="T30" fmla="*/ 1146 h 11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6" h="1146">
                  <a:moveTo>
                    <a:pt x="0" y="224"/>
                  </a:moveTo>
                  <a:lnTo>
                    <a:pt x="645" y="224"/>
                  </a:lnTo>
                  <a:lnTo>
                    <a:pt x="645" y="0"/>
                  </a:lnTo>
                  <a:lnTo>
                    <a:pt x="905" y="567"/>
                  </a:lnTo>
                  <a:lnTo>
                    <a:pt x="645" y="1145"/>
                  </a:lnTo>
                  <a:lnTo>
                    <a:pt x="645" y="920"/>
                  </a:lnTo>
                  <a:lnTo>
                    <a:pt x="0" y="920"/>
                  </a:lnTo>
                  <a:lnTo>
                    <a:pt x="0" y="567"/>
                  </a:lnTo>
                  <a:lnTo>
                    <a:pt x="0" y="224"/>
                  </a:lnTo>
                </a:path>
              </a:pathLst>
            </a:custGeom>
            <a:solidFill>
              <a:schemeClr val="accent1"/>
            </a:solidFill>
            <a:ln w="12700" cap="rnd">
              <a:solidFill>
                <a:schemeClr val="bg1"/>
              </a:solidFill>
              <a:round/>
              <a:headEnd/>
              <a:tailEnd/>
            </a:ln>
          </p:spPr>
          <p:txBody>
            <a:bodyPr/>
            <a:lstStyle/>
            <a:p>
              <a:endParaRPr lang="en-GB">
                <a:solidFill>
                  <a:schemeClr val="bg1"/>
                </a:solidFill>
              </a:endParaRPr>
            </a:p>
          </p:txBody>
        </p:sp>
        <p:sp>
          <p:nvSpPr>
            <p:cNvPr id="816144" name="Rectangle 7"/>
            <p:cNvSpPr>
              <a:spLocks noChangeArrowheads="1"/>
            </p:cNvSpPr>
            <p:nvPr/>
          </p:nvSpPr>
          <p:spPr bwMode="auto">
            <a:xfrm>
              <a:off x="798" y="2404"/>
              <a:ext cx="511" cy="255"/>
            </a:xfrm>
            <a:prstGeom prst="rect">
              <a:avLst/>
            </a:prstGeom>
            <a:noFill/>
            <a:ln w="9525">
              <a:noFill/>
              <a:miter lim="800000"/>
              <a:headEnd/>
              <a:tailEnd/>
            </a:ln>
          </p:spPr>
          <p:txBody>
            <a:bodyPr lIns="0" tIns="0" rIns="0" bIns="0" anchor="ctr">
              <a:spAutoFit/>
            </a:bodyPr>
            <a:lstStyle/>
            <a:p>
              <a:pPr defTabSz="787400">
                <a:lnSpc>
                  <a:spcPct val="95000"/>
                </a:lnSpc>
                <a:spcBef>
                  <a:spcPct val="80000"/>
                </a:spcBef>
                <a:buClr>
                  <a:schemeClr val="tx1"/>
                </a:buClr>
                <a:buFont typeface="Wingdings 2" pitchFamily="18" charset="2"/>
                <a:buNone/>
              </a:pPr>
              <a:r>
                <a:rPr lang="en-GB" sz="1400">
                  <a:solidFill>
                    <a:schemeClr val="bg1"/>
                  </a:solidFill>
                </a:rPr>
                <a:t>Text</a:t>
              </a:r>
            </a:p>
          </p:txBody>
        </p:sp>
        <p:sp>
          <p:nvSpPr>
            <p:cNvPr id="816145" name="Rectangle 8"/>
            <p:cNvSpPr>
              <a:spLocks noChangeArrowheads="1"/>
            </p:cNvSpPr>
            <p:nvPr/>
          </p:nvSpPr>
          <p:spPr bwMode="auto">
            <a:xfrm>
              <a:off x="1726" y="2404"/>
              <a:ext cx="659" cy="255"/>
            </a:xfrm>
            <a:prstGeom prst="rect">
              <a:avLst/>
            </a:prstGeom>
            <a:noFill/>
            <a:ln w="9525">
              <a:noFill/>
              <a:miter lim="800000"/>
              <a:headEnd/>
              <a:tailEnd/>
            </a:ln>
          </p:spPr>
          <p:txBody>
            <a:bodyPr lIns="0" tIns="0" rIns="0" bIns="0" anchor="ctr">
              <a:spAutoFit/>
            </a:bodyPr>
            <a:lstStyle/>
            <a:p>
              <a:pPr defTabSz="787400">
                <a:lnSpc>
                  <a:spcPct val="95000"/>
                </a:lnSpc>
                <a:spcBef>
                  <a:spcPct val="80000"/>
                </a:spcBef>
                <a:buClr>
                  <a:schemeClr val="tx1"/>
                </a:buClr>
                <a:buFont typeface="Wingdings 2" pitchFamily="18" charset="2"/>
                <a:buNone/>
              </a:pPr>
              <a:r>
                <a:rPr lang="en-GB" sz="1400">
                  <a:solidFill>
                    <a:schemeClr val="bg1"/>
                  </a:solidFill>
                </a:rPr>
                <a:t>Text</a:t>
              </a:r>
            </a:p>
          </p:txBody>
        </p:sp>
        <p:sp>
          <p:nvSpPr>
            <p:cNvPr id="816146" name="Rectangle 9"/>
            <p:cNvSpPr>
              <a:spLocks noChangeArrowheads="1"/>
            </p:cNvSpPr>
            <p:nvPr/>
          </p:nvSpPr>
          <p:spPr bwMode="auto">
            <a:xfrm>
              <a:off x="2689" y="2404"/>
              <a:ext cx="799" cy="255"/>
            </a:xfrm>
            <a:prstGeom prst="rect">
              <a:avLst/>
            </a:prstGeom>
            <a:noFill/>
            <a:ln w="9525">
              <a:noFill/>
              <a:miter lim="800000"/>
              <a:headEnd/>
              <a:tailEnd/>
            </a:ln>
          </p:spPr>
          <p:txBody>
            <a:bodyPr lIns="0" tIns="0" rIns="0" bIns="0" anchor="ctr">
              <a:spAutoFit/>
            </a:bodyPr>
            <a:lstStyle/>
            <a:p>
              <a:pPr defTabSz="787400">
                <a:lnSpc>
                  <a:spcPct val="95000"/>
                </a:lnSpc>
                <a:spcBef>
                  <a:spcPct val="80000"/>
                </a:spcBef>
                <a:buClr>
                  <a:schemeClr val="tx1"/>
                </a:buClr>
                <a:buFont typeface="Wingdings 2" pitchFamily="18" charset="2"/>
                <a:buNone/>
              </a:pPr>
              <a:r>
                <a:rPr lang="en-GB" sz="1400">
                  <a:solidFill>
                    <a:schemeClr val="bg1"/>
                  </a:solidFill>
                </a:rPr>
                <a:t>Text</a:t>
              </a:r>
            </a:p>
          </p:txBody>
        </p:sp>
        <p:sp>
          <p:nvSpPr>
            <p:cNvPr id="816147" name="Rectangle 10"/>
            <p:cNvSpPr>
              <a:spLocks noChangeArrowheads="1"/>
            </p:cNvSpPr>
            <p:nvPr/>
          </p:nvSpPr>
          <p:spPr bwMode="auto">
            <a:xfrm>
              <a:off x="3852" y="2404"/>
              <a:ext cx="799" cy="255"/>
            </a:xfrm>
            <a:prstGeom prst="rect">
              <a:avLst/>
            </a:prstGeom>
            <a:noFill/>
            <a:ln w="9525">
              <a:noFill/>
              <a:miter lim="800000"/>
              <a:headEnd/>
              <a:tailEnd/>
            </a:ln>
          </p:spPr>
          <p:txBody>
            <a:bodyPr lIns="0" tIns="0" rIns="0" bIns="0" anchor="ctr">
              <a:spAutoFit/>
            </a:bodyPr>
            <a:lstStyle/>
            <a:p>
              <a:pPr defTabSz="787400">
                <a:lnSpc>
                  <a:spcPct val="95000"/>
                </a:lnSpc>
                <a:spcBef>
                  <a:spcPct val="80000"/>
                </a:spcBef>
                <a:buClr>
                  <a:schemeClr val="tx1"/>
                </a:buClr>
                <a:buFont typeface="Wingdings 2" pitchFamily="18" charset="2"/>
                <a:buNone/>
              </a:pPr>
              <a:r>
                <a:rPr lang="en-GB" sz="1400">
                  <a:solidFill>
                    <a:schemeClr val="bg1"/>
                  </a:solidFill>
                </a:rPr>
                <a:t>Text</a:t>
              </a:r>
            </a:p>
          </p:txBody>
        </p:sp>
      </p:grpSp>
      <p:grpSp>
        <p:nvGrpSpPr>
          <p:cNvPr id="3" name="Group 12"/>
          <p:cNvGrpSpPr>
            <a:grpSpLocks/>
          </p:cNvGrpSpPr>
          <p:nvPr/>
        </p:nvGrpSpPr>
        <p:grpSpPr bwMode="auto">
          <a:xfrm>
            <a:off x="1416046" y="3870040"/>
            <a:ext cx="6297613" cy="2212975"/>
            <a:chOff x="748" y="1573"/>
            <a:chExt cx="4298" cy="1585"/>
          </a:xfrm>
        </p:grpSpPr>
        <p:sp>
          <p:nvSpPr>
            <p:cNvPr id="14" name="Freeform 13"/>
            <p:cNvSpPr>
              <a:spLocks/>
            </p:cNvSpPr>
            <p:nvPr/>
          </p:nvSpPr>
          <p:spPr bwMode="blackWhite">
            <a:xfrm>
              <a:off x="2930" y="1573"/>
              <a:ext cx="2116" cy="1486"/>
            </a:xfrm>
            <a:custGeom>
              <a:avLst/>
              <a:gdLst>
                <a:gd name="T0" fmla="*/ 0 w 1800"/>
                <a:gd name="T1" fmla="*/ 146 h 1303"/>
                <a:gd name="T2" fmla="*/ 1673 w 1800"/>
                <a:gd name="T3" fmla="*/ 146 h 1303"/>
                <a:gd name="T4" fmla="*/ 1673 w 1800"/>
                <a:gd name="T5" fmla="*/ 0 h 1303"/>
                <a:gd name="T6" fmla="*/ 2115 w 1800"/>
                <a:gd name="T7" fmla="*/ 747 h 1303"/>
                <a:gd name="T8" fmla="*/ 1673 w 1800"/>
                <a:gd name="T9" fmla="*/ 1485 h 1303"/>
                <a:gd name="T10" fmla="*/ 1673 w 1800"/>
                <a:gd name="T11" fmla="*/ 1339 h 1303"/>
                <a:gd name="T12" fmla="*/ 0 w 1800"/>
                <a:gd name="T13" fmla="*/ 1339 h 1303"/>
                <a:gd name="T14" fmla="*/ 0 w 1800"/>
                <a:gd name="T15" fmla="*/ 747 h 1303"/>
                <a:gd name="T16" fmla="*/ 0 w 1800"/>
                <a:gd name="T17" fmla="*/ 146 h 13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00"/>
                <a:gd name="T28" fmla="*/ 0 h 1303"/>
                <a:gd name="T29" fmla="*/ 1800 w 1800"/>
                <a:gd name="T30" fmla="*/ 1303 h 13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00" h="1303">
                  <a:moveTo>
                    <a:pt x="0" y="128"/>
                  </a:moveTo>
                  <a:lnTo>
                    <a:pt x="1423" y="128"/>
                  </a:lnTo>
                  <a:lnTo>
                    <a:pt x="1423" y="0"/>
                  </a:lnTo>
                  <a:lnTo>
                    <a:pt x="1799" y="655"/>
                  </a:lnTo>
                  <a:lnTo>
                    <a:pt x="1423" y="1302"/>
                  </a:lnTo>
                  <a:lnTo>
                    <a:pt x="1423" y="1174"/>
                  </a:lnTo>
                  <a:lnTo>
                    <a:pt x="0" y="1174"/>
                  </a:lnTo>
                  <a:lnTo>
                    <a:pt x="0" y="655"/>
                  </a:lnTo>
                  <a:lnTo>
                    <a:pt x="0" y="128"/>
                  </a:lnTo>
                </a:path>
              </a:pathLst>
            </a:custGeom>
            <a:solidFill>
              <a:schemeClr val="accent3"/>
            </a:solidFill>
            <a:ln w="12700" cap="rnd">
              <a:solidFill>
                <a:schemeClr val="bg1"/>
              </a:solidFill>
              <a:round/>
              <a:headEnd/>
              <a:tailEnd/>
            </a:ln>
          </p:spPr>
          <p:txBody>
            <a:bodyPr/>
            <a:lstStyle/>
            <a:p>
              <a:pPr>
                <a:defRPr/>
              </a:pPr>
              <a:endParaRPr lang="en-GB">
                <a:solidFill>
                  <a:schemeClr val="bg1"/>
                </a:solidFill>
              </a:endParaRPr>
            </a:p>
          </p:txBody>
        </p:sp>
        <p:sp>
          <p:nvSpPr>
            <p:cNvPr id="15" name="Freeform 14"/>
            <p:cNvSpPr>
              <a:spLocks/>
            </p:cNvSpPr>
            <p:nvPr/>
          </p:nvSpPr>
          <p:spPr bwMode="blackWhite">
            <a:xfrm>
              <a:off x="1651" y="1717"/>
              <a:ext cx="1693" cy="1403"/>
            </a:xfrm>
            <a:custGeom>
              <a:avLst/>
              <a:gdLst>
                <a:gd name="T0" fmla="*/ 0 w 1440"/>
                <a:gd name="T1" fmla="*/ 208 h 1239"/>
                <a:gd name="T2" fmla="*/ 1269 w 1440"/>
                <a:gd name="T3" fmla="*/ 208 h 1239"/>
                <a:gd name="T4" fmla="*/ 1269 w 1440"/>
                <a:gd name="T5" fmla="*/ 0 h 1239"/>
                <a:gd name="T6" fmla="*/ 1692 w 1440"/>
                <a:gd name="T7" fmla="*/ 696 h 1239"/>
                <a:gd name="T8" fmla="*/ 1269 w 1440"/>
                <a:gd name="T9" fmla="*/ 1402 h 1239"/>
                <a:gd name="T10" fmla="*/ 1269 w 1440"/>
                <a:gd name="T11" fmla="*/ 1194 h 1239"/>
                <a:gd name="T12" fmla="*/ 0 w 1440"/>
                <a:gd name="T13" fmla="*/ 1194 h 1239"/>
                <a:gd name="T14" fmla="*/ 0 w 1440"/>
                <a:gd name="T15" fmla="*/ 696 h 1239"/>
                <a:gd name="T16" fmla="*/ 0 w 1440"/>
                <a:gd name="T17" fmla="*/ 208 h 12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40"/>
                <a:gd name="T28" fmla="*/ 0 h 1239"/>
                <a:gd name="T29" fmla="*/ 1440 w 1440"/>
                <a:gd name="T30" fmla="*/ 1239 h 12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40" h="1239">
                  <a:moveTo>
                    <a:pt x="0" y="184"/>
                  </a:moveTo>
                  <a:lnTo>
                    <a:pt x="1079" y="184"/>
                  </a:lnTo>
                  <a:lnTo>
                    <a:pt x="1079" y="0"/>
                  </a:lnTo>
                  <a:lnTo>
                    <a:pt x="1439" y="615"/>
                  </a:lnTo>
                  <a:lnTo>
                    <a:pt x="1079" y="1238"/>
                  </a:lnTo>
                  <a:lnTo>
                    <a:pt x="1079" y="1054"/>
                  </a:lnTo>
                  <a:lnTo>
                    <a:pt x="0" y="1054"/>
                  </a:lnTo>
                  <a:lnTo>
                    <a:pt x="0" y="615"/>
                  </a:lnTo>
                  <a:lnTo>
                    <a:pt x="0" y="184"/>
                  </a:lnTo>
                </a:path>
              </a:pathLst>
            </a:custGeom>
            <a:solidFill>
              <a:schemeClr val="accent2"/>
            </a:solidFill>
            <a:ln w="12700" cap="rnd">
              <a:solidFill>
                <a:schemeClr val="bg1"/>
              </a:solidFill>
              <a:round/>
              <a:headEnd/>
              <a:tailEnd/>
            </a:ln>
          </p:spPr>
          <p:txBody>
            <a:bodyPr/>
            <a:lstStyle/>
            <a:p>
              <a:pPr>
                <a:defRPr/>
              </a:pPr>
              <a:endParaRPr lang="en-GB">
                <a:solidFill>
                  <a:schemeClr val="bg1"/>
                </a:solidFill>
              </a:endParaRPr>
            </a:p>
          </p:txBody>
        </p:sp>
        <p:sp>
          <p:nvSpPr>
            <p:cNvPr id="816136" name="Freeform 15"/>
            <p:cNvSpPr>
              <a:spLocks/>
            </p:cNvSpPr>
            <p:nvPr/>
          </p:nvSpPr>
          <p:spPr bwMode="blackWhite">
            <a:xfrm>
              <a:off x="748" y="1928"/>
              <a:ext cx="1270" cy="1230"/>
            </a:xfrm>
            <a:custGeom>
              <a:avLst/>
              <a:gdLst>
                <a:gd name="T0" fmla="*/ 0 w 1080"/>
                <a:gd name="T1" fmla="*/ 414 h 1079"/>
                <a:gd name="T2" fmla="*/ 1727 w 1080"/>
                <a:gd name="T3" fmla="*/ 414 h 1079"/>
                <a:gd name="T4" fmla="*/ 1727 w 1080"/>
                <a:gd name="T5" fmla="*/ 0 h 1079"/>
                <a:gd name="T6" fmla="*/ 2426 w 1080"/>
                <a:gd name="T7" fmla="*/ 1046 h 1079"/>
                <a:gd name="T8" fmla="*/ 1727 w 1080"/>
                <a:gd name="T9" fmla="*/ 2075 h 1079"/>
                <a:gd name="T10" fmla="*/ 1727 w 1080"/>
                <a:gd name="T11" fmla="*/ 1661 h 1079"/>
                <a:gd name="T12" fmla="*/ 0 w 1080"/>
                <a:gd name="T13" fmla="*/ 1661 h 1079"/>
                <a:gd name="T14" fmla="*/ 0 w 1080"/>
                <a:gd name="T15" fmla="*/ 1046 h 1079"/>
                <a:gd name="T16" fmla="*/ 0 w 1080"/>
                <a:gd name="T17" fmla="*/ 414 h 10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80"/>
                <a:gd name="T28" fmla="*/ 0 h 1079"/>
                <a:gd name="T29" fmla="*/ 1080 w 1080"/>
                <a:gd name="T30" fmla="*/ 1079 h 107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80" h="1079">
                  <a:moveTo>
                    <a:pt x="0" y="215"/>
                  </a:moveTo>
                  <a:lnTo>
                    <a:pt x="768" y="215"/>
                  </a:lnTo>
                  <a:lnTo>
                    <a:pt x="768" y="0"/>
                  </a:lnTo>
                  <a:lnTo>
                    <a:pt x="1079" y="543"/>
                  </a:lnTo>
                  <a:lnTo>
                    <a:pt x="768" y="1078"/>
                  </a:lnTo>
                  <a:lnTo>
                    <a:pt x="768" y="862"/>
                  </a:lnTo>
                  <a:lnTo>
                    <a:pt x="0" y="862"/>
                  </a:lnTo>
                  <a:lnTo>
                    <a:pt x="0" y="543"/>
                  </a:lnTo>
                  <a:lnTo>
                    <a:pt x="0" y="215"/>
                  </a:lnTo>
                </a:path>
              </a:pathLst>
            </a:custGeom>
            <a:solidFill>
              <a:schemeClr val="accent1"/>
            </a:solidFill>
            <a:ln w="12700" cap="rnd">
              <a:solidFill>
                <a:schemeClr val="bg1"/>
              </a:solidFill>
              <a:round/>
              <a:headEnd/>
              <a:tailEnd/>
            </a:ln>
          </p:spPr>
          <p:txBody>
            <a:bodyPr/>
            <a:lstStyle/>
            <a:p>
              <a:endParaRPr lang="en-GB" dirty="0">
                <a:solidFill>
                  <a:schemeClr val="accent1"/>
                </a:solidFill>
              </a:endParaRPr>
            </a:p>
          </p:txBody>
        </p:sp>
        <p:sp>
          <p:nvSpPr>
            <p:cNvPr id="816137" name="Rectangle 16"/>
            <p:cNvSpPr>
              <a:spLocks noChangeArrowheads="1"/>
            </p:cNvSpPr>
            <p:nvPr/>
          </p:nvSpPr>
          <p:spPr bwMode="auto">
            <a:xfrm>
              <a:off x="826" y="2471"/>
              <a:ext cx="972" cy="147"/>
            </a:xfrm>
            <a:prstGeom prst="rect">
              <a:avLst/>
            </a:prstGeom>
            <a:noFill/>
            <a:ln w="9525">
              <a:noFill/>
              <a:miter lim="800000"/>
              <a:headEnd/>
              <a:tailEnd/>
            </a:ln>
          </p:spPr>
          <p:txBody>
            <a:bodyPr lIns="0" tIns="0" rIns="0" bIns="0" anchor="ctr">
              <a:spAutoFit/>
            </a:bodyPr>
            <a:lstStyle/>
            <a:p>
              <a:pPr defTabSz="787400">
                <a:lnSpc>
                  <a:spcPct val="95000"/>
                </a:lnSpc>
                <a:spcBef>
                  <a:spcPct val="80000"/>
                </a:spcBef>
                <a:buClr>
                  <a:schemeClr val="tx1"/>
                </a:buClr>
                <a:buFont typeface="Wingdings 2" pitchFamily="18" charset="2"/>
                <a:buNone/>
              </a:pPr>
              <a:r>
                <a:rPr lang="en-GB" sz="1400">
                  <a:solidFill>
                    <a:schemeClr val="bg1"/>
                  </a:solidFill>
                </a:rPr>
                <a:t>Text</a:t>
              </a:r>
            </a:p>
          </p:txBody>
        </p:sp>
        <p:sp>
          <p:nvSpPr>
            <p:cNvPr id="816138" name="Rectangle 17"/>
            <p:cNvSpPr>
              <a:spLocks noChangeArrowheads="1"/>
            </p:cNvSpPr>
            <p:nvPr/>
          </p:nvSpPr>
          <p:spPr bwMode="auto">
            <a:xfrm>
              <a:off x="2108" y="2342"/>
              <a:ext cx="971" cy="147"/>
            </a:xfrm>
            <a:prstGeom prst="rect">
              <a:avLst/>
            </a:prstGeom>
            <a:noFill/>
            <a:ln w="9525">
              <a:noFill/>
              <a:miter lim="800000"/>
              <a:headEnd/>
              <a:tailEnd/>
            </a:ln>
          </p:spPr>
          <p:txBody>
            <a:bodyPr lIns="0" tIns="0" rIns="0" bIns="0" anchor="ctr">
              <a:spAutoFit/>
            </a:bodyPr>
            <a:lstStyle/>
            <a:p>
              <a:pPr defTabSz="787400">
                <a:lnSpc>
                  <a:spcPct val="95000"/>
                </a:lnSpc>
                <a:spcBef>
                  <a:spcPct val="80000"/>
                </a:spcBef>
                <a:buClr>
                  <a:schemeClr val="tx1"/>
                </a:buClr>
                <a:buFont typeface="Wingdings 2" pitchFamily="18" charset="2"/>
                <a:buNone/>
              </a:pPr>
              <a:r>
                <a:rPr lang="en-GB" sz="1400">
                  <a:solidFill>
                    <a:schemeClr val="bg1"/>
                  </a:solidFill>
                </a:rPr>
                <a:t>Text</a:t>
              </a:r>
            </a:p>
          </p:txBody>
        </p:sp>
        <p:sp>
          <p:nvSpPr>
            <p:cNvPr id="816139" name="Rectangle 18"/>
            <p:cNvSpPr>
              <a:spLocks noChangeArrowheads="1"/>
            </p:cNvSpPr>
            <p:nvPr/>
          </p:nvSpPr>
          <p:spPr bwMode="auto">
            <a:xfrm>
              <a:off x="3417" y="2245"/>
              <a:ext cx="1353" cy="147"/>
            </a:xfrm>
            <a:prstGeom prst="rect">
              <a:avLst/>
            </a:prstGeom>
            <a:noFill/>
            <a:ln w="9525">
              <a:noFill/>
              <a:miter lim="800000"/>
              <a:headEnd/>
              <a:tailEnd/>
            </a:ln>
          </p:spPr>
          <p:txBody>
            <a:bodyPr lIns="0" tIns="0" rIns="0" bIns="0" anchor="ctr">
              <a:spAutoFit/>
            </a:bodyPr>
            <a:lstStyle/>
            <a:p>
              <a:pPr defTabSz="787400">
                <a:lnSpc>
                  <a:spcPct val="95000"/>
                </a:lnSpc>
                <a:spcBef>
                  <a:spcPct val="80000"/>
                </a:spcBef>
                <a:buClr>
                  <a:schemeClr val="tx1"/>
                </a:buClr>
                <a:buFont typeface="Wingdings 2" pitchFamily="18" charset="2"/>
                <a:buNone/>
              </a:pPr>
              <a:r>
                <a:rPr lang="en-GB" sz="1400">
                  <a:solidFill>
                    <a:schemeClr val="bg1"/>
                  </a:solidFill>
                </a:rPr>
                <a:t>Text</a:t>
              </a:r>
            </a:p>
          </p:txBody>
        </p:sp>
      </p:grpSp>
      <p:sp>
        <p:nvSpPr>
          <p:cNvPr id="2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3"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2961"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099"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52963" name="Title 2"/>
          <p:cNvSpPr>
            <a:spLocks noGrp="1"/>
          </p:cNvSpPr>
          <p:nvPr>
            <p:ph type="title"/>
            <p:custDataLst>
              <p:tags r:id="rId3"/>
            </p:custDataLst>
          </p:nvPr>
        </p:nvSpPr>
        <p:spPr>
          <a:xfrm>
            <a:off x="414338" y="421704"/>
            <a:ext cx="8330184" cy="329184"/>
          </a:xfrm>
        </p:spPr>
        <p:txBody>
          <a:bodyPr/>
          <a:lstStyle/>
          <a:p>
            <a:r>
              <a:rPr lang="en-US" dirty="0"/>
              <a:t>Purpose of this document</a:t>
            </a:r>
          </a:p>
        </p:txBody>
      </p:sp>
      <p:sp>
        <p:nvSpPr>
          <p:cNvPr id="6" name="Content Placeholder 5"/>
          <p:cNvSpPr>
            <a:spLocks noGrp="1"/>
          </p:cNvSpPr>
          <p:nvPr>
            <p:ph sz="quarter" idx="4294967295"/>
          </p:nvPr>
        </p:nvSpPr>
        <p:spPr>
          <a:xfrm>
            <a:off x="414338" y="1398588"/>
            <a:ext cx="8331200" cy="2246769"/>
          </a:xfrm>
        </p:spPr>
        <p:txBody>
          <a:bodyPr/>
          <a:lstStyle/>
          <a:p>
            <a:pPr lvl="1"/>
            <a:r>
              <a:rPr lang="en-US" dirty="0"/>
              <a:t>This document contains over 200 preformatted charts which you can use for copying and pasting into your PowerPoint presentations</a:t>
            </a:r>
          </a:p>
          <a:p>
            <a:pPr lvl="2"/>
            <a:r>
              <a:rPr lang="en-US" dirty="0"/>
              <a:t>It will save you time, ensure brand consistency, and result in a more polished and powerful </a:t>
            </a:r>
            <a:r>
              <a:rPr lang="en-US" dirty="0" smtClean="0"/>
              <a:t>end-product</a:t>
            </a:r>
            <a:endParaRPr lang="en-US" dirty="0"/>
          </a:p>
          <a:p>
            <a:pPr lvl="1"/>
            <a:r>
              <a:rPr lang="en-US" dirty="0"/>
              <a:t>All charts are fully consistent with the U.S. PowerPoint templates and visual identity system</a:t>
            </a:r>
          </a:p>
          <a:p>
            <a:pPr lvl="2"/>
            <a:r>
              <a:rPr lang="en-US" dirty="0"/>
              <a:t>Be sure you are using this template before pasting charts from this file into </a:t>
            </a:r>
            <a:r>
              <a:rPr lang="en-US" dirty="0" smtClean="0"/>
              <a:t/>
            </a:r>
            <a:br>
              <a:rPr lang="en-US" dirty="0" smtClean="0"/>
            </a:br>
            <a:r>
              <a:rPr lang="en-US" dirty="0" smtClean="0"/>
              <a:t>your presentation</a:t>
            </a:r>
            <a:endParaRPr lang="en-US" dirty="0"/>
          </a:p>
        </p:txBody>
      </p:sp>
      <p:sp>
        <p:nvSpPr>
          <p:cNvPr id="5" name="AutoShape 4"/>
          <p:cNvSpPr>
            <a:spLocks/>
          </p:cNvSpPr>
          <p:nvPr/>
        </p:nvSpPr>
        <p:spPr bwMode="gray">
          <a:xfrm>
            <a:off x="2100304" y="5694462"/>
            <a:ext cx="3609892" cy="307777"/>
          </a:xfrm>
          <a:prstGeom prst="borderCallout2">
            <a:avLst>
              <a:gd name="adj1" fmla="val 16266"/>
              <a:gd name="adj2" fmla="val 102906"/>
              <a:gd name="adj3" fmla="val 15330"/>
              <a:gd name="adj4" fmla="val 114425"/>
              <a:gd name="adj5" fmla="val 300740"/>
              <a:gd name="adj6" fmla="val 129184"/>
            </a:avLst>
          </a:prstGeom>
          <a:solidFill>
            <a:schemeClr val="bg1"/>
          </a:solidFill>
          <a:ln w="12700" algn="ctr">
            <a:solidFill>
              <a:schemeClr val="hlink"/>
            </a:solidFill>
            <a:miter lim="800000"/>
            <a:headEnd/>
            <a:tailEnd/>
          </a:ln>
          <a:effectLst/>
        </p:spPr>
        <p:txBody>
          <a:bodyPr wrap="square" lIns="45720" rIns="45720" anchor="ctr">
            <a:spAutoFit/>
          </a:bodyP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lgn="l">
              <a:spcBef>
                <a:spcPct val="100000"/>
              </a:spcBef>
            </a:pPr>
            <a:r>
              <a:rPr lang="en-US" sz="700" b="0" dirty="0" smtClean="0">
                <a:solidFill>
                  <a:srgbClr val="000000"/>
                </a:solidFill>
                <a:cs typeface="Times New Roman" pitchFamily="18" charset="0"/>
              </a:rPr>
              <a:t>Make sure the copyright date is correct. To change the date go to View &gt; Slide Master </a:t>
            </a:r>
            <a:br>
              <a:rPr lang="en-US" sz="700" b="0" dirty="0" smtClean="0">
                <a:solidFill>
                  <a:srgbClr val="000000"/>
                </a:solidFill>
                <a:cs typeface="Times New Roman" pitchFamily="18" charset="0"/>
              </a:rPr>
            </a:br>
            <a:r>
              <a:rPr lang="en-US" sz="700" b="0" dirty="0" smtClean="0">
                <a:solidFill>
                  <a:srgbClr val="000000"/>
                </a:solidFill>
                <a:cs typeface="Times New Roman" pitchFamily="18" charset="0"/>
              </a:rPr>
              <a:t>[First master slide] and change the date and save. </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4705" name="Title 1"/>
          <p:cNvSpPr>
            <a:spLocks noGrp="1"/>
          </p:cNvSpPr>
          <p:nvPr>
            <p:ph type="title"/>
          </p:nvPr>
        </p:nvSpPr>
        <p:spPr/>
        <p:txBody>
          <a:bodyPr/>
          <a:lstStyle/>
          <a:p>
            <a:r>
              <a:rPr lang="en-GB"/>
              <a:t>Snapshot boxes</a:t>
            </a:r>
            <a:endParaRPr lang="nl-NL"/>
          </a:p>
        </p:txBody>
      </p:sp>
      <p:sp>
        <p:nvSpPr>
          <p:cNvPr id="10" name="Rectangle 9"/>
          <p:cNvSpPr/>
          <p:nvPr/>
        </p:nvSpPr>
        <p:spPr bwMode="auto">
          <a:xfrm>
            <a:off x="812800" y="1591117"/>
            <a:ext cx="1649413" cy="687388"/>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dirty="0">
                <a:solidFill>
                  <a:schemeClr val="accent3"/>
                </a:solidFill>
              </a:rPr>
              <a:t>No. 1</a:t>
            </a:r>
          </a:p>
          <a:p>
            <a:pPr algn="l" eaLnBrk="0" hangingPunct="0">
              <a:spcBef>
                <a:spcPts val="0"/>
              </a:spcBef>
              <a:defRPr/>
            </a:pPr>
            <a:r>
              <a:rPr lang="en-GB" sz="1800" b="0" dirty="0">
                <a:solidFill>
                  <a:schemeClr val="accent3"/>
                </a:solidFill>
              </a:rPr>
              <a:t>In the market</a:t>
            </a:r>
          </a:p>
        </p:txBody>
      </p:sp>
      <p:sp>
        <p:nvSpPr>
          <p:cNvPr id="11" name="Rectangle 10"/>
          <p:cNvSpPr/>
          <p:nvPr/>
        </p:nvSpPr>
        <p:spPr bwMode="auto">
          <a:xfrm>
            <a:off x="2770188" y="1591117"/>
            <a:ext cx="1647825" cy="687388"/>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a:solidFill>
                  <a:schemeClr val="accent3"/>
                </a:solidFill>
              </a:rPr>
              <a:t>100B</a:t>
            </a:r>
          </a:p>
          <a:p>
            <a:pPr algn="l" eaLnBrk="0" hangingPunct="0">
              <a:spcBef>
                <a:spcPts val="0"/>
              </a:spcBef>
              <a:defRPr/>
            </a:pPr>
            <a:r>
              <a:rPr lang="en-GB" sz="1800" b="0">
                <a:solidFill>
                  <a:schemeClr val="accent3"/>
                </a:solidFill>
              </a:rPr>
              <a:t>In revenues</a:t>
            </a:r>
          </a:p>
        </p:txBody>
      </p:sp>
      <p:sp>
        <p:nvSpPr>
          <p:cNvPr id="12" name="Rectangle 11"/>
          <p:cNvSpPr/>
          <p:nvPr/>
        </p:nvSpPr>
        <p:spPr bwMode="auto">
          <a:xfrm>
            <a:off x="4725988" y="1591117"/>
            <a:ext cx="1647825" cy="687388"/>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a:solidFill>
                  <a:schemeClr val="accent3"/>
                </a:solidFill>
              </a:rPr>
              <a:t>200M</a:t>
            </a:r>
          </a:p>
          <a:p>
            <a:pPr algn="l" eaLnBrk="0" hangingPunct="0">
              <a:spcBef>
                <a:spcPts val="0"/>
              </a:spcBef>
              <a:defRPr/>
            </a:pPr>
            <a:r>
              <a:rPr lang="en-GB" sz="1800" b="0">
                <a:solidFill>
                  <a:schemeClr val="accent3"/>
                </a:solidFill>
              </a:rPr>
              <a:t>Customers</a:t>
            </a:r>
          </a:p>
        </p:txBody>
      </p:sp>
      <p:sp>
        <p:nvSpPr>
          <p:cNvPr id="13" name="Rectangle 12"/>
          <p:cNvSpPr/>
          <p:nvPr/>
        </p:nvSpPr>
        <p:spPr bwMode="auto">
          <a:xfrm>
            <a:off x="6681788" y="1591117"/>
            <a:ext cx="1649412" cy="687388"/>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a:solidFill>
                  <a:schemeClr val="accent3"/>
                </a:solidFill>
              </a:rPr>
              <a:t>50,000</a:t>
            </a:r>
          </a:p>
          <a:p>
            <a:pPr algn="l" eaLnBrk="0" hangingPunct="0">
              <a:spcBef>
                <a:spcPts val="0"/>
              </a:spcBef>
              <a:defRPr/>
            </a:pPr>
            <a:r>
              <a:rPr lang="en-GB" sz="1800" b="0">
                <a:solidFill>
                  <a:schemeClr val="accent3"/>
                </a:solidFill>
              </a:rPr>
              <a:t>Suppliers</a:t>
            </a:r>
          </a:p>
        </p:txBody>
      </p:sp>
      <p:sp>
        <p:nvSpPr>
          <p:cNvPr id="14" name="Rectangle 13"/>
          <p:cNvSpPr/>
          <p:nvPr/>
        </p:nvSpPr>
        <p:spPr bwMode="auto">
          <a:xfrm>
            <a:off x="4725988" y="2461096"/>
            <a:ext cx="1647825" cy="687388"/>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a:solidFill>
                  <a:schemeClr val="accent3"/>
                </a:solidFill>
              </a:rPr>
              <a:t>200M</a:t>
            </a:r>
          </a:p>
          <a:p>
            <a:pPr algn="l" eaLnBrk="0" hangingPunct="0">
              <a:spcBef>
                <a:spcPts val="0"/>
              </a:spcBef>
              <a:defRPr/>
            </a:pPr>
            <a:r>
              <a:rPr lang="en-GB" sz="1800" b="0">
                <a:solidFill>
                  <a:schemeClr val="accent3"/>
                </a:solidFill>
              </a:rPr>
              <a:t>Customers</a:t>
            </a:r>
          </a:p>
        </p:txBody>
      </p:sp>
      <p:sp>
        <p:nvSpPr>
          <p:cNvPr id="15" name="Rectangle 14"/>
          <p:cNvSpPr/>
          <p:nvPr/>
        </p:nvSpPr>
        <p:spPr bwMode="auto">
          <a:xfrm>
            <a:off x="6681788" y="2461096"/>
            <a:ext cx="1649412" cy="687388"/>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a:solidFill>
                  <a:schemeClr val="accent3"/>
                </a:solidFill>
              </a:rPr>
              <a:t>50,000</a:t>
            </a:r>
          </a:p>
          <a:p>
            <a:pPr algn="l" eaLnBrk="0" hangingPunct="0">
              <a:spcBef>
                <a:spcPts val="0"/>
              </a:spcBef>
              <a:defRPr/>
            </a:pPr>
            <a:r>
              <a:rPr lang="en-GB" sz="1800" b="0">
                <a:solidFill>
                  <a:schemeClr val="accent3"/>
                </a:solidFill>
              </a:rPr>
              <a:t>Suppliers</a:t>
            </a:r>
          </a:p>
        </p:txBody>
      </p:sp>
      <p:sp>
        <p:nvSpPr>
          <p:cNvPr id="16" name="Rectangle 15"/>
          <p:cNvSpPr/>
          <p:nvPr/>
        </p:nvSpPr>
        <p:spPr bwMode="auto">
          <a:xfrm>
            <a:off x="4725988" y="3349441"/>
            <a:ext cx="1647825" cy="687387"/>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a:solidFill>
                  <a:schemeClr val="accent3"/>
                </a:solidFill>
              </a:rPr>
              <a:t>200M</a:t>
            </a:r>
          </a:p>
          <a:p>
            <a:pPr algn="l" eaLnBrk="0" hangingPunct="0">
              <a:spcBef>
                <a:spcPts val="0"/>
              </a:spcBef>
              <a:defRPr/>
            </a:pPr>
            <a:r>
              <a:rPr lang="en-GB" sz="1800" b="0">
                <a:solidFill>
                  <a:schemeClr val="accent3"/>
                </a:solidFill>
              </a:rPr>
              <a:t>Customers</a:t>
            </a:r>
          </a:p>
        </p:txBody>
      </p:sp>
      <p:sp>
        <p:nvSpPr>
          <p:cNvPr id="17" name="Rectangle 16"/>
          <p:cNvSpPr/>
          <p:nvPr/>
        </p:nvSpPr>
        <p:spPr bwMode="auto">
          <a:xfrm>
            <a:off x="6681788" y="3349441"/>
            <a:ext cx="1649412" cy="687387"/>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a:solidFill>
                  <a:schemeClr val="accent3"/>
                </a:solidFill>
              </a:rPr>
              <a:t>50,000</a:t>
            </a:r>
          </a:p>
          <a:p>
            <a:pPr algn="l" eaLnBrk="0" hangingPunct="0">
              <a:spcBef>
                <a:spcPts val="0"/>
              </a:spcBef>
              <a:defRPr/>
            </a:pPr>
            <a:r>
              <a:rPr lang="en-GB" sz="1800" b="0">
                <a:solidFill>
                  <a:schemeClr val="accent3"/>
                </a:solidFill>
              </a:rPr>
              <a:t>Suppliers</a:t>
            </a:r>
          </a:p>
        </p:txBody>
      </p:sp>
      <p:sp>
        <p:nvSpPr>
          <p:cNvPr id="18" name="Rectangle 17"/>
          <p:cNvSpPr/>
          <p:nvPr/>
        </p:nvSpPr>
        <p:spPr bwMode="auto">
          <a:xfrm>
            <a:off x="4725988" y="4236198"/>
            <a:ext cx="1647825" cy="687387"/>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a:solidFill>
                  <a:schemeClr val="accent3"/>
                </a:solidFill>
              </a:rPr>
              <a:t>200M</a:t>
            </a:r>
          </a:p>
          <a:p>
            <a:pPr algn="l" eaLnBrk="0" hangingPunct="0">
              <a:spcBef>
                <a:spcPts val="0"/>
              </a:spcBef>
              <a:defRPr/>
            </a:pPr>
            <a:r>
              <a:rPr lang="en-GB" sz="1800" b="0">
                <a:solidFill>
                  <a:schemeClr val="accent3"/>
                </a:solidFill>
              </a:rPr>
              <a:t>Customers</a:t>
            </a:r>
          </a:p>
        </p:txBody>
      </p:sp>
      <p:sp>
        <p:nvSpPr>
          <p:cNvPr id="19" name="Rectangle 18"/>
          <p:cNvSpPr/>
          <p:nvPr/>
        </p:nvSpPr>
        <p:spPr bwMode="auto">
          <a:xfrm>
            <a:off x="6681788" y="4236198"/>
            <a:ext cx="1649412" cy="687387"/>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a:solidFill>
                  <a:schemeClr val="accent3"/>
                </a:solidFill>
              </a:rPr>
              <a:t>50,000</a:t>
            </a:r>
          </a:p>
          <a:p>
            <a:pPr algn="l" eaLnBrk="0" hangingPunct="0">
              <a:spcBef>
                <a:spcPts val="0"/>
              </a:spcBef>
              <a:defRPr/>
            </a:pPr>
            <a:r>
              <a:rPr lang="en-GB" sz="1800" b="0">
                <a:solidFill>
                  <a:schemeClr val="accent3"/>
                </a:solidFill>
              </a:rPr>
              <a:t>Suppliers</a:t>
            </a:r>
          </a:p>
        </p:txBody>
      </p:sp>
      <p:sp>
        <p:nvSpPr>
          <p:cNvPr id="20" name="Rectangle 19"/>
          <p:cNvSpPr/>
          <p:nvPr/>
        </p:nvSpPr>
        <p:spPr bwMode="auto">
          <a:xfrm>
            <a:off x="4725988" y="5131344"/>
            <a:ext cx="1647825" cy="687387"/>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a:solidFill>
                  <a:schemeClr val="accent3"/>
                </a:solidFill>
              </a:rPr>
              <a:t>200M</a:t>
            </a:r>
          </a:p>
          <a:p>
            <a:pPr algn="l" eaLnBrk="0" hangingPunct="0">
              <a:spcBef>
                <a:spcPts val="0"/>
              </a:spcBef>
              <a:defRPr/>
            </a:pPr>
            <a:r>
              <a:rPr lang="en-GB" sz="1800" b="0">
                <a:solidFill>
                  <a:schemeClr val="accent3"/>
                </a:solidFill>
              </a:rPr>
              <a:t>Customers</a:t>
            </a:r>
          </a:p>
        </p:txBody>
      </p:sp>
      <p:sp>
        <p:nvSpPr>
          <p:cNvPr id="21" name="Rectangle 20"/>
          <p:cNvSpPr/>
          <p:nvPr/>
        </p:nvSpPr>
        <p:spPr bwMode="auto">
          <a:xfrm>
            <a:off x="6681788" y="5131344"/>
            <a:ext cx="1649412" cy="687387"/>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a:solidFill>
                  <a:schemeClr val="accent3"/>
                </a:solidFill>
              </a:rPr>
              <a:t>50,000</a:t>
            </a:r>
          </a:p>
          <a:p>
            <a:pPr algn="l" eaLnBrk="0" hangingPunct="0">
              <a:spcBef>
                <a:spcPts val="0"/>
              </a:spcBef>
              <a:defRPr/>
            </a:pPr>
            <a:r>
              <a:rPr lang="en-GB" sz="1800" b="0">
                <a:solidFill>
                  <a:schemeClr val="accent3"/>
                </a:solidFill>
              </a:rPr>
              <a:t>Suppliers</a:t>
            </a:r>
          </a:p>
        </p:txBody>
      </p:sp>
      <p:sp>
        <p:nvSpPr>
          <p:cNvPr id="22" name="Rectangle 21"/>
          <p:cNvSpPr/>
          <p:nvPr/>
        </p:nvSpPr>
        <p:spPr bwMode="auto">
          <a:xfrm>
            <a:off x="812800" y="2461096"/>
            <a:ext cx="1649413" cy="687388"/>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dirty="0">
                <a:solidFill>
                  <a:schemeClr val="accent3"/>
                </a:solidFill>
              </a:rPr>
              <a:t>No. 1</a:t>
            </a:r>
          </a:p>
          <a:p>
            <a:pPr algn="l" eaLnBrk="0" hangingPunct="0">
              <a:spcBef>
                <a:spcPts val="0"/>
              </a:spcBef>
              <a:defRPr/>
            </a:pPr>
            <a:r>
              <a:rPr lang="en-GB" sz="1800" b="0" dirty="0">
                <a:solidFill>
                  <a:schemeClr val="accent3"/>
                </a:solidFill>
              </a:rPr>
              <a:t>In the market</a:t>
            </a:r>
          </a:p>
        </p:txBody>
      </p:sp>
      <p:sp>
        <p:nvSpPr>
          <p:cNvPr id="23" name="Rectangle 22"/>
          <p:cNvSpPr/>
          <p:nvPr/>
        </p:nvSpPr>
        <p:spPr bwMode="auto">
          <a:xfrm>
            <a:off x="2770188" y="2461096"/>
            <a:ext cx="1647825" cy="687388"/>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a:solidFill>
                  <a:schemeClr val="accent3"/>
                </a:solidFill>
              </a:rPr>
              <a:t>100B</a:t>
            </a:r>
          </a:p>
          <a:p>
            <a:pPr algn="l" eaLnBrk="0" hangingPunct="0">
              <a:spcBef>
                <a:spcPts val="0"/>
              </a:spcBef>
              <a:defRPr/>
            </a:pPr>
            <a:r>
              <a:rPr lang="en-GB" sz="1800" b="0">
                <a:solidFill>
                  <a:schemeClr val="accent3"/>
                </a:solidFill>
              </a:rPr>
              <a:t>In revenues</a:t>
            </a:r>
          </a:p>
        </p:txBody>
      </p:sp>
      <p:sp>
        <p:nvSpPr>
          <p:cNvPr id="24" name="Rectangle 23"/>
          <p:cNvSpPr/>
          <p:nvPr/>
        </p:nvSpPr>
        <p:spPr bwMode="auto">
          <a:xfrm>
            <a:off x="812800" y="3357830"/>
            <a:ext cx="1649413" cy="687387"/>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a:solidFill>
                  <a:schemeClr val="accent3"/>
                </a:solidFill>
              </a:rPr>
              <a:t>No. 1</a:t>
            </a:r>
          </a:p>
          <a:p>
            <a:pPr algn="l" eaLnBrk="0" hangingPunct="0">
              <a:spcBef>
                <a:spcPts val="0"/>
              </a:spcBef>
              <a:defRPr/>
            </a:pPr>
            <a:r>
              <a:rPr lang="en-GB" sz="1800" b="0">
                <a:solidFill>
                  <a:schemeClr val="accent3"/>
                </a:solidFill>
              </a:rPr>
              <a:t>In the market</a:t>
            </a:r>
          </a:p>
        </p:txBody>
      </p:sp>
      <p:sp>
        <p:nvSpPr>
          <p:cNvPr id="25" name="Rectangle 24"/>
          <p:cNvSpPr/>
          <p:nvPr/>
        </p:nvSpPr>
        <p:spPr bwMode="auto">
          <a:xfrm>
            <a:off x="2770188" y="3349441"/>
            <a:ext cx="1647825" cy="687387"/>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a:solidFill>
                  <a:schemeClr val="accent3"/>
                </a:solidFill>
              </a:rPr>
              <a:t>100B</a:t>
            </a:r>
          </a:p>
          <a:p>
            <a:pPr algn="l" eaLnBrk="0" hangingPunct="0">
              <a:spcBef>
                <a:spcPts val="0"/>
              </a:spcBef>
              <a:defRPr/>
            </a:pPr>
            <a:r>
              <a:rPr lang="en-GB" sz="1800" b="0">
                <a:solidFill>
                  <a:schemeClr val="accent3"/>
                </a:solidFill>
              </a:rPr>
              <a:t>In revenues</a:t>
            </a:r>
          </a:p>
        </p:txBody>
      </p:sp>
      <p:sp>
        <p:nvSpPr>
          <p:cNvPr id="26" name="Rectangle 25"/>
          <p:cNvSpPr/>
          <p:nvPr/>
        </p:nvSpPr>
        <p:spPr bwMode="auto">
          <a:xfrm>
            <a:off x="812800" y="4236198"/>
            <a:ext cx="1649413" cy="687387"/>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a:solidFill>
                  <a:schemeClr val="accent3"/>
                </a:solidFill>
              </a:rPr>
              <a:t>No. 1</a:t>
            </a:r>
          </a:p>
          <a:p>
            <a:pPr algn="l" eaLnBrk="0" hangingPunct="0">
              <a:spcBef>
                <a:spcPts val="0"/>
              </a:spcBef>
              <a:defRPr/>
            </a:pPr>
            <a:r>
              <a:rPr lang="en-GB" sz="1800" b="0">
                <a:solidFill>
                  <a:schemeClr val="accent3"/>
                </a:solidFill>
              </a:rPr>
              <a:t>In the market</a:t>
            </a:r>
          </a:p>
        </p:txBody>
      </p:sp>
      <p:sp>
        <p:nvSpPr>
          <p:cNvPr id="27" name="Rectangle 26"/>
          <p:cNvSpPr/>
          <p:nvPr/>
        </p:nvSpPr>
        <p:spPr bwMode="auto">
          <a:xfrm>
            <a:off x="2770188" y="4236198"/>
            <a:ext cx="1647825" cy="687387"/>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a:solidFill>
                  <a:schemeClr val="accent3"/>
                </a:solidFill>
              </a:rPr>
              <a:t>100B</a:t>
            </a:r>
          </a:p>
          <a:p>
            <a:pPr algn="l" eaLnBrk="0" hangingPunct="0">
              <a:spcBef>
                <a:spcPts val="0"/>
              </a:spcBef>
              <a:defRPr/>
            </a:pPr>
            <a:r>
              <a:rPr lang="en-GB" sz="1800" b="0">
                <a:solidFill>
                  <a:schemeClr val="accent3"/>
                </a:solidFill>
              </a:rPr>
              <a:t>In revenues</a:t>
            </a:r>
          </a:p>
        </p:txBody>
      </p:sp>
      <p:sp>
        <p:nvSpPr>
          <p:cNvPr id="28" name="Rectangle 27"/>
          <p:cNvSpPr/>
          <p:nvPr/>
        </p:nvSpPr>
        <p:spPr bwMode="auto">
          <a:xfrm>
            <a:off x="812800" y="5131344"/>
            <a:ext cx="1649413" cy="687387"/>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a:solidFill>
                  <a:schemeClr val="accent3"/>
                </a:solidFill>
              </a:rPr>
              <a:t>No. 1</a:t>
            </a:r>
          </a:p>
          <a:p>
            <a:pPr algn="l" eaLnBrk="0" hangingPunct="0">
              <a:spcBef>
                <a:spcPts val="0"/>
              </a:spcBef>
              <a:defRPr/>
            </a:pPr>
            <a:r>
              <a:rPr lang="en-GB" sz="1800" b="0">
                <a:solidFill>
                  <a:schemeClr val="accent3"/>
                </a:solidFill>
              </a:rPr>
              <a:t>In the market</a:t>
            </a:r>
          </a:p>
        </p:txBody>
      </p:sp>
      <p:sp>
        <p:nvSpPr>
          <p:cNvPr id="29" name="Rectangle 28"/>
          <p:cNvSpPr/>
          <p:nvPr/>
        </p:nvSpPr>
        <p:spPr bwMode="auto">
          <a:xfrm>
            <a:off x="2770188" y="5131344"/>
            <a:ext cx="1647825" cy="687387"/>
          </a:xfrm>
          <a:prstGeom prst="rect">
            <a:avLst/>
          </a:prstGeom>
          <a:noFill/>
          <a:ln w="12700" cap="flat" cmpd="sng" algn="ctr">
            <a:solidFill>
              <a:schemeClr val="accent3"/>
            </a:solidFill>
            <a:prstDash val="solid"/>
            <a:round/>
            <a:headEnd type="none" w="med" len="med"/>
            <a:tailEnd type="none" w="med" len="med"/>
          </a:ln>
          <a:effectLst/>
        </p:spPr>
        <p:txBody>
          <a:bodyPr lIns="46800" tIns="46800" rIns="46800" bIns="46800" anchor="ctr"/>
          <a:lstStyle/>
          <a:p>
            <a:pPr algn="l" eaLnBrk="0" hangingPunct="0">
              <a:spcBef>
                <a:spcPts val="0"/>
              </a:spcBef>
              <a:defRPr/>
            </a:pPr>
            <a:r>
              <a:rPr lang="en-GB" sz="1800" b="0">
                <a:solidFill>
                  <a:schemeClr val="accent3"/>
                </a:solidFill>
              </a:rPr>
              <a:t>100B</a:t>
            </a:r>
          </a:p>
          <a:p>
            <a:pPr algn="l" eaLnBrk="0" hangingPunct="0">
              <a:spcBef>
                <a:spcPts val="0"/>
              </a:spcBef>
              <a:defRPr/>
            </a:pPr>
            <a:r>
              <a:rPr lang="en-GB" sz="1800" b="0">
                <a:solidFill>
                  <a:schemeClr val="accent3"/>
                </a:solidFill>
              </a:rPr>
              <a:t>In revenues</a:t>
            </a:r>
          </a:p>
        </p:txBody>
      </p:sp>
      <p:sp>
        <p:nvSpPr>
          <p:cNvPr id="30"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7153" name="Title 1"/>
          <p:cNvSpPr>
            <a:spLocks noGrp="1"/>
          </p:cNvSpPr>
          <p:nvPr>
            <p:ph type="title"/>
          </p:nvPr>
        </p:nvSpPr>
        <p:spPr/>
        <p:txBody>
          <a:bodyPr/>
          <a:lstStyle/>
          <a:p>
            <a:r>
              <a:rPr lang="en-GB"/>
              <a:t>Radiating outward</a:t>
            </a:r>
            <a:endParaRPr lang="nl-NL"/>
          </a:p>
        </p:txBody>
      </p:sp>
      <p:sp>
        <p:nvSpPr>
          <p:cNvPr id="5" name="Arc 3"/>
          <p:cNvSpPr>
            <a:spLocks/>
          </p:cNvSpPr>
          <p:nvPr/>
        </p:nvSpPr>
        <p:spPr bwMode="auto">
          <a:xfrm>
            <a:off x="1480849" y="2675955"/>
            <a:ext cx="4646612" cy="2795588"/>
          </a:xfrm>
          <a:custGeom>
            <a:avLst/>
            <a:gdLst>
              <a:gd name="T0" fmla="*/ 0 w 21606"/>
              <a:gd name="T1" fmla="*/ 0 h 21600"/>
              <a:gd name="T2" fmla="*/ 1172857969 w 21606"/>
              <a:gd name="T3" fmla="*/ 361669101 h 21600"/>
              <a:gd name="T4" fmla="*/ 325719 w 21606"/>
              <a:gd name="T5" fmla="*/ 361820011 h 21600"/>
              <a:gd name="T6" fmla="*/ 0 60000 65536"/>
              <a:gd name="T7" fmla="*/ 0 60000 65536"/>
              <a:gd name="T8" fmla="*/ 0 60000 65536"/>
              <a:gd name="T9" fmla="*/ 0 w 21606"/>
              <a:gd name="T10" fmla="*/ 0 h 21600"/>
              <a:gd name="T11" fmla="*/ 21606 w 21606"/>
              <a:gd name="T12" fmla="*/ 21600 h 21600"/>
            </a:gdLst>
            <a:ahLst/>
            <a:cxnLst>
              <a:cxn ang="T6">
                <a:pos x="T0" y="T1"/>
              </a:cxn>
              <a:cxn ang="T7">
                <a:pos x="T2" y="T3"/>
              </a:cxn>
              <a:cxn ang="T8">
                <a:pos x="T4" y="T5"/>
              </a:cxn>
            </a:cxnLst>
            <a:rect l="T9" t="T10" r="T11" b="T12"/>
            <a:pathLst>
              <a:path w="21606" h="21600" fill="none" extrusionOk="0">
                <a:moveTo>
                  <a:pt x="0" y="0"/>
                </a:moveTo>
                <a:cubicBezTo>
                  <a:pt x="2" y="0"/>
                  <a:pt x="4" y="-1"/>
                  <a:pt x="6" y="0"/>
                </a:cubicBezTo>
                <a:cubicBezTo>
                  <a:pt x="11931" y="0"/>
                  <a:pt x="21601" y="9665"/>
                  <a:pt x="21605" y="21591"/>
                </a:cubicBezTo>
              </a:path>
              <a:path w="21606" h="21600" stroke="0" extrusionOk="0">
                <a:moveTo>
                  <a:pt x="0" y="0"/>
                </a:moveTo>
                <a:cubicBezTo>
                  <a:pt x="2" y="0"/>
                  <a:pt x="4" y="-1"/>
                  <a:pt x="6" y="0"/>
                </a:cubicBezTo>
                <a:cubicBezTo>
                  <a:pt x="11931" y="0"/>
                  <a:pt x="21601" y="9665"/>
                  <a:pt x="21605" y="21591"/>
                </a:cubicBezTo>
                <a:lnTo>
                  <a:pt x="6" y="21600"/>
                </a:lnTo>
                <a:close/>
              </a:path>
            </a:pathLst>
          </a:custGeom>
          <a:solidFill>
            <a:schemeClr val="accent3"/>
          </a:solidFill>
          <a:ln w="12700" cap="rnd">
            <a:solidFill>
              <a:srgbClr val="FFFFFF"/>
            </a:solidFill>
            <a:round/>
            <a:headEnd type="none" w="sm" len="sm"/>
            <a:tailEnd type="none" w="sm" len="sm"/>
          </a:ln>
        </p:spPr>
        <p:txBody>
          <a:bodyPr wrap="none" anchor="ctr"/>
          <a:lstStyle/>
          <a:p>
            <a:pPr algn="ctr">
              <a:defRPr/>
            </a:pPr>
            <a:endParaRPr lang="en-GB"/>
          </a:p>
        </p:txBody>
      </p:sp>
      <p:sp>
        <p:nvSpPr>
          <p:cNvPr id="817157" name="Arc 4"/>
          <p:cNvSpPr>
            <a:spLocks/>
          </p:cNvSpPr>
          <p:nvPr/>
        </p:nvSpPr>
        <p:spPr bwMode="auto">
          <a:xfrm>
            <a:off x="1475797" y="3662371"/>
            <a:ext cx="3021013" cy="1806575"/>
          </a:xfrm>
          <a:custGeom>
            <a:avLst/>
            <a:gdLst>
              <a:gd name="T0" fmla="*/ 2147483647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51" y="0"/>
                </a:moveTo>
                <a:cubicBezTo>
                  <a:pt x="11955" y="28"/>
                  <a:pt x="21592" y="9682"/>
                  <a:pt x="21599" y="21586"/>
                </a:cubicBezTo>
              </a:path>
              <a:path w="21600" h="21600" stroke="0" extrusionOk="0">
                <a:moveTo>
                  <a:pt x="51" y="0"/>
                </a:moveTo>
                <a:cubicBezTo>
                  <a:pt x="11955" y="28"/>
                  <a:pt x="21592" y="9682"/>
                  <a:pt x="21599" y="21586"/>
                </a:cubicBezTo>
                <a:lnTo>
                  <a:pt x="0" y="21600"/>
                </a:lnTo>
                <a:close/>
              </a:path>
            </a:pathLst>
          </a:custGeom>
          <a:solidFill>
            <a:schemeClr val="accent2"/>
          </a:solidFill>
          <a:ln w="12700" cap="rnd">
            <a:solidFill>
              <a:srgbClr val="FFFFFF"/>
            </a:solidFill>
            <a:round/>
            <a:headEnd type="none" w="sm" len="sm"/>
            <a:tailEnd type="none" w="sm" len="sm"/>
          </a:ln>
        </p:spPr>
        <p:txBody>
          <a:bodyPr wrap="none" anchor="ctr"/>
          <a:lstStyle/>
          <a:p>
            <a:pPr algn="ctr"/>
            <a:endParaRPr lang="en-GB"/>
          </a:p>
        </p:txBody>
      </p:sp>
      <p:sp>
        <p:nvSpPr>
          <p:cNvPr id="817158" name="Arc 5"/>
          <p:cNvSpPr>
            <a:spLocks/>
          </p:cNvSpPr>
          <p:nvPr/>
        </p:nvSpPr>
        <p:spPr bwMode="auto">
          <a:xfrm>
            <a:off x="1482436" y="4600005"/>
            <a:ext cx="1311275" cy="871538"/>
          </a:xfrm>
          <a:custGeom>
            <a:avLst/>
            <a:gdLst>
              <a:gd name="T0" fmla="*/ 0 w 21620"/>
              <a:gd name="T1" fmla="*/ 0 h 21600"/>
              <a:gd name="T2" fmla="*/ 2147483647 w 21620"/>
              <a:gd name="T3" fmla="*/ 2147483647 h 21600"/>
              <a:gd name="T4" fmla="*/ 2147483647 w 21620"/>
              <a:gd name="T5" fmla="*/ 2147483647 h 21600"/>
              <a:gd name="T6" fmla="*/ 0 60000 65536"/>
              <a:gd name="T7" fmla="*/ 0 60000 65536"/>
              <a:gd name="T8" fmla="*/ 0 60000 65536"/>
              <a:gd name="T9" fmla="*/ 0 w 21620"/>
              <a:gd name="T10" fmla="*/ 0 h 21600"/>
              <a:gd name="T11" fmla="*/ 21620 w 21620"/>
              <a:gd name="T12" fmla="*/ 21600 h 21600"/>
            </a:gdLst>
            <a:ahLst/>
            <a:cxnLst>
              <a:cxn ang="T6">
                <a:pos x="T0" y="T1"/>
              </a:cxn>
              <a:cxn ang="T7">
                <a:pos x="T2" y="T3"/>
              </a:cxn>
              <a:cxn ang="T8">
                <a:pos x="T4" y="T5"/>
              </a:cxn>
            </a:cxnLst>
            <a:rect l="T9" t="T10" r="T11" b="T12"/>
            <a:pathLst>
              <a:path w="21620" h="21600" fill="none" extrusionOk="0">
                <a:moveTo>
                  <a:pt x="0" y="0"/>
                </a:moveTo>
                <a:cubicBezTo>
                  <a:pt x="6" y="0"/>
                  <a:pt x="13" y="-1"/>
                  <a:pt x="20" y="0"/>
                </a:cubicBezTo>
                <a:cubicBezTo>
                  <a:pt x="11937" y="0"/>
                  <a:pt x="21603" y="9652"/>
                  <a:pt x="21619" y="21570"/>
                </a:cubicBezTo>
              </a:path>
              <a:path w="21620" h="21600" stroke="0" extrusionOk="0">
                <a:moveTo>
                  <a:pt x="0" y="0"/>
                </a:moveTo>
                <a:cubicBezTo>
                  <a:pt x="6" y="0"/>
                  <a:pt x="13" y="-1"/>
                  <a:pt x="20" y="0"/>
                </a:cubicBezTo>
                <a:cubicBezTo>
                  <a:pt x="11937" y="0"/>
                  <a:pt x="21603" y="9652"/>
                  <a:pt x="21619" y="21570"/>
                </a:cubicBezTo>
                <a:lnTo>
                  <a:pt x="20" y="21600"/>
                </a:lnTo>
                <a:close/>
              </a:path>
            </a:pathLst>
          </a:custGeom>
          <a:solidFill>
            <a:schemeClr val="accent1"/>
          </a:solidFill>
          <a:ln w="12700" cap="rnd">
            <a:solidFill>
              <a:srgbClr val="FFFFFF"/>
            </a:solidFill>
            <a:round/>
            <a:headEnd type="none" w="sm" len="sm"/>
            <a:tailEnd type="none" w="sm" len="sm"/>
          </a:ln>
        </p:spPr>
        <p:txBody>
          <a:bodyPr wrap="none" anchor="ctr"/>
          <a:lstStyle/>
          <a:p>
            <a:pPr algn="ctr"/>
            <a:endParaRPr lang="en-GB"/>
          </a:p>
        </p:txBody>
      </p:sp>
      <p:sp>
        <p:nvSpPr>
          <p:cNvPr id="817159" name="Rectangle 6"/>
          <p:cNvSpPr>
            <a:spLocks noChangeArrowheads="1"/>
          </p:cNvSpPr>
          <p:nvPr/>
        </p:nvSpPr>
        <p:spPr bwMode="auto">
          <a:xfrm>
            <a:off x="923925" y="1550418"/>
            <a:ext cx="368300" cy="204787"/>
          </a:xfrm>
          <a:prstGeom prst="rect">
            <a:avLst/>
          </a:prstGeom>
          <a:noFill/>
          <a:ln w="9525">
            <a:noFill/>
            <a:miter lim="800000"/>
            <a:headEnd/>
            <a:tailEnd/>
          </a:ln>
        </p:spPr>
        <p:txBody>
          <a:bodyPr wrap="none" lIns="0" tIns="0" rIns="0" bIns="0">
            <a:spAutoFit/>
          </a:bodyPr>
          <a:lstStyle/>
          <a:p>
            <a:pPr algn="r" defTabSz="954088">
              <a:lnSpc>
                <a:spcPct val="95000"/>
              </a:lnSpc>
            </a:pPr>
            <a:r>
              <a:rPr lang="en-GB" sz="1400">
                <a:solidFill>
                  <a:schemeClr val="tx2"/>
                </a:solidFill>
                <a:ea typeface="ＭＳ Ｐゴシック" charset="-128"/>
              </a:rPr>
              <a:t>High</a:t>
            </a:r>
          </a:p>
        </p:txBody>
      </p:sp>
      <p:sp>
        <p:nvSpPr>
          <p:cNvPr id="817160" name="Rectangle 7"/>
          <p:cNvSpPr>
            <a:spLocks noChangeArrowheads="1"/>
          </p:cNvSpPr>
          <p:nvPr/>
        </p:nvSpPr>
        <p:spPr bwMode="auto">
          <a:xfrm>
            <a:off x="963613" y="5249293"/>
            <a:ext cx="328612" cy="204787"/>
          </a:xfrm>
          <a:prstGeom prst="rect">
            <a:avLst/>
          </a:prstGeom>
          <a:noFill/>
          <a:ln w="9525" algn="ctr">
            <a:noFill/>
            <a:miter lim="800000"/>
            <a:headEnd/>
            <a:tailEnd/>
          </a:ln>
        </p:spPr>
        <p:txBody>
          <a:bodyPr wrap="none" lIns="0" tIns="0" rIns="0" bIns="0">
            <a:spAutoFit/>
          </a:bodyPr>
          <a:lstStyle/>
          <a:p>
            <a:pPr algn="r" defTabSz="954088">
              <a:lnSpc>
                <a:spcPct val="95000"/>
              </a:lnSpc>
            </a:pPr>
            <a:r>
              <a:rPr lang="en-GB" sz="1400">
                <a:solidFill>
                  <a:schemeClr val="tx2"/>
                </a:solidFill>
                <a:ea typeface="ＭＳ Ｐゴシック" charset="-128"/>
              </a:rPr>
              <a:t>Low</a:t>
            </a:r>
          </a:p>
        </p:txBody>
      </p:sp>
      <p:sp>
        <p:nvSpPr>
          <p:cNvPr id="817161" name="Rectangle 8"/>
          <p:cNvSpPr>
            <a:spLocks noChangeArrowheads="1"/>
          </p:cNvSpPr>
          <p:nvPr/>
        </p:nvSpPr>
        <p:spPr bwMode="auto">
          <a:xfrm>
            <a:off x="7307263" y="5563618"/>
            <a:ext cx="328612" cy="204787"/>
          </a:xfrm>
          <a:prstGeom prst="rect">
            <a:avLst/>
          </a:prstGeom>
          <a:noFill/>
          <a:ln w="9525" algn="ctr">
            <a:noFill/>
            <a:miter lim="800000"/>
            <a:headEnd/>
            <a:tailEnd/>
          </a:ln>
        </p:spPr>
        <p:txBody>
          <a:bodyPr wrap="none" lIns="0" tIns="0" rIns="0" bIns="0">
            <a:spAutoFit/>
          </a:bodyPr>
          <a:lstStyle/>
          <a:p>
            <a:pPr algn="r" defTabSz="954088">
              <a:lnSpc>
                <a:spcPct val="95000"/>
              </a:lnSpc>
            </a:pPr>
            <a:r>
              <a:rPr lang="en-GB" sz="1400">
                <a:solidFill>
                  <a:schemeClr val="tx2"/>
                </a:solidFill>
                <a:ea typeface="ＭＳ Ｐゴシック" charset="-128"/>
              </a:rPr>
              <a:t>Low</a:t>
            </a:r>
          </a:p>
        </p:txBody>
      </p:sp>
      <p:sp>
        <p:nvSpPr>
          <p:cNvPr id="817162" name="Rectangle 9"/>
          <p:cNvSpPr>
            <a:spLocks noChangeArrowheads="1"/>
          </p:cNvSpPr>
          <p:nvPr/>
        </p:nvSpPr>
        <p:spPr bwMode="auto">
          <a:xfrm>
            <a:off x="1593850" y="5563618"/>
            <a:ext cx="368300" cy="204787"/>
          </a:xfrm>
          <a:prstGeom prst="rect">
            <a:avLst/>
          </a:prstGeom>
          <a:noFill/>
          <a:ln w="9525" algn="ctr">
            <a:noFill/>
            <a:miter lim="800000"/>
            <a:headEnd/>
            <a:tailEnd/>
          </a:ln>
        </p:spPr>
        <p:txBody>
          <a:bodyPr wrap="none" lIns="0" tIns="0" rIns="0" bIns="0">
            <a:spAutoFit/>
          </a:bodyPr>
          <a:lstStyle/>
          <a:p>
            <a:pPr algn="r" defTabSz="954088">
              <a:lnSpc>
                <a:spcPct val="95000"/>
              </a:lnSpc>
            </a:pPr>
            <a:r>
              <a:rPr lang="en-GB" sz="1400">
                <a:solidFill>
                  <a:schemeClr val="tx2"/>
                </a:solidFill>
                <a:ea typeface="ＭＳ Ｐゴシック" charset="-128"/>
              </a:rPr>
              <a:t>High</a:t>
            </a:r>
          </a:p>
        </p:txBody>
      </p:sp>
      <p:grpSp>
        <p:nvGrpSpPr>
          <p:cNvPr id="2" name="Group 10"/>
          <p:cNvGrpSpPr>
            <a:grpSpLocks/>
          </p:cNvGrpSpPr>
          <p:nvPr/>
        </p:nvGrpSpPr>
        <p:grpSpPr bwMode="auto">
          <a:xfrm>
            <a:off x="1476462" y="2990280"/>
            <a:ext cx="3960726" cy="2479180"/>
            <a:chOff x="2429" y="2356"/>
            <a:chExt cx="2442" cy="1590"/>
          </a:xfrm>
        </p:grpSpPr>
        <p:sp>
          <p:nvSpPr>
            <p:cNvPr id="13" name="AutoShape 11"/>
            <p:cNvSpPr>
              <a:spLocks noChangeArrowheads="1"/>
            </p:cNvSpPr>
            <p:nvPr/>
          </p:nvSpPr>
          <p:spPr bwMode="auto">
            <a:xfrm rot="3300000">
              <a:off x="4745" y="2367"/>
              <a:ext cx="137" cy="115"/>
            </a:xfrm>
            <a:prstGeom prst="triangle">
              <a:avLst>
                <a:gd name="adj" fmla="val 49995"/>
              </a:avLst>
            </a:prstGeom>
            <a:solidFill>
              <a:schemeClr val="accent1"/>
            </a:solidFill>
            <a:ln w="12700">
              <a:solidFill>
                <a:schemeClr val="accent1">
                  <a:lumMod val="75000"/>
                </a:schemeClr>
              </a:solidFill>
              <a:miter lim="800000"/>
              <a:headEnd/>
              <a:tailEnd/>
            </a:ln>
          </p:spPr>
          <p:txBody>
            <a:bodyPr wrap="none" anchor="ctr"/>
            <a:lstStyle/>
            <a:p>
              <a:pPr algn="ctr">
                <a:defRPr/>
              </a:pPr>
              <a:endParaRPr lang="en-GB"/>
            </a:p>
          </p:txBody>
        </p:sp>
        <p:sp>
          <p:nvSpPr>
            <p:cNvPr id="14" name="Line 12"/>
            <p:cNvSpPr>
              <a:spLocks noChangeShapeType="1"/>
            </p:cNvSpPr>
            <p:nvPr/>
          </p:nvSpPr>
          <p:spPr bwMode="auto">
            <a:xfrm flipH="1">
              <a:off x="2429" y="2449"/>
              <a:ext cx="2343" cy="1497"/>
            </a:xfrm>
            <a:prstGeom prst="line">
              <a:avLst/>
            </a:prstGeom>
            <a:noFill/>
            <a:ln w="25400">
              <a:solidFill>
                <a:schemeClr val="tx2"/>
              </a:solidFill>
              <a:round/>
              <a:headEnd type="none" w="sm" len="sm"/>
              <a:tailEnd type="none" w="sm" len="sm"/>
            </a:ln>
          </p:spPr>
          <p:txBody>
            <a:bodyPr wrap="none" anchor="ctr"/>
            <a:lstStyle/>
            <a:p>
              <a:pPr>
                <a:defRPr/>
              </a:pPr>
              <a:endParaRPr lang="en-GB"/>
            </a:p>
          </p:txBody>
        </p:sp>
      </p:grpSp>
      <p:sp>
        <p:nvSpPr>
          <p:cNvPr id="817164" name="Freeform 13"/>
          <p:cNvSpPr>
            <a:spLocks/>
          </p:cNvSpPr>
          <p:nvPr/>
        </p:nvSpPr>
        <p:spPr bwMode="auto">
          <a:xfrm>
            <a:off x="1473200" y="1591982"/>
            <a:ext cx="6175375" cy="3879850"/>
          </a:xfrm>
          <a:custGeom>
            <a:avLst/>
            <a:gdLst>
              <a:gd name="T0" fmla="*/ 0 w 4992"/>
              <a:gd name="T1" fmla="*/ 0 h 3188"/>
              <a:gd name="T2" fmla="*/ 0 w 4992"/>
              <a:gd name="T3" fmla="*/ 2147483647 h 3188"/>
              <a:gd name="T4" fmla="*/ 2147483647 w 4992"/>
              <a:gd name="T5" fmla="*/ 2147483647 h 3188"/>
              <a:gd name="T6" fmla="*/ 0 60000 65536"/>
              <a:gd name="T7" fmla="*/ 0 60000 65536"/>
              <a:gd name="T8" fmla="*/ 0 60000 65536"/>
              <a:gd name="T9" fmla="*/ 0 w 4992"/>
              <a:gd name="T10" fmla="*/ 0 h 3188"/>
              <a:gd name="T11" fmla="*/ 4992 w 4992"/>
              <a:gd name="T12" fmla="*/ 3188 h 3188"/>
            </a:gdLst>
            <a:ahLst/>
            <a:cxnLst>
              <a:cxn ang="T6">
                <a:pos x="T0" y="T1"/>
              </a:cxn>
              <a:cxn ang="T7">
                <a:pos x="T2" y="T3"/>
              </a:cxn>
              <a:cxn ang="T8">
                <a:pos x="T4" y="T5"/>
              </a:cxn>
            </a:cxnLst>
            <a:rect l="T9" t="T10" r="T11" b="T12"/>
            <a:pathLst>
              <a:path w="4992" h="3188">
                <a:moveTo>
                  <a:pt x="0" y="0"/>
                </a:moveTo>
                <a:lnTo>
                  <a:pt x="0" y="3187"/>
                </a:lnTo>
                <a:lnTo>
                  <a:pt x="4991" y="3187"/>
                </a:lnTo>
              </a:path>
            </a:pathLst>
          </a:custGeom>
          <a:noFill/>
          <a:ln w="12700" cap="rnd">
            <a:solidFill>
              <a:schemeClr val="tx2"/>
            </a:solidFill>
            <a:round/>
            <a:headEnd type="none" w="sm" len="sm"/>
            <a:tailEnd type="none" w="sm" len="sm"/>
          </a:ln>
        </p:spPr>
        <p:txBody>
          <a:bodyPr/>
          <a:lstStyle/>
          <a:p>
            <a:endParaRPr lang="en-GB"/>
          </a:p>
        </p:txBody>
      </p:sp>
      <p:sp>
        <p:nvSpPr>
          <p:cNvPr id="1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9"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8177" name="Title 1"/>
          <p:cNvSpPr>
            <a:spLocks noGrp="1"/>
          </p:cNvSpPr>
          <p:nvPr>
            <p:ph type="title"/>
          </p:nvPr>
        </p:nvSpPr>
        <p:spPr/>
        <p:txBody>
          <a:bodyPr/>
          <a:lstStyle/>
          <a:p>
            <a:r>
              <a:rPr lang="en-GB" altLang="ja-JP"/>
              <a:t>Expansion</a:t>
            </a:r>
            <a:endParaRPr lang="nl-NL"/>
          </a:p>
        </p:txBody>
      </p:sp>
      <p:sp>
        <p:nvSpPr>
          <p:cNvPr id="818191" name="Text Placeholder 15"/>
          <p:cNvSpPr>
            <a:spLocks noGrp="1"/>
          </p:cNvSpPr>
          <p:nvPr>
            <p:ph type="body" sz="quarter" idx="4294967295"/>
            <p:custDataLst>
              <p:tags r:id="rId1"/>
            </p:custDataLst>
          </p:nvPr>
        </p:nvSpPr>
        <p:spPr bwMode="auto">
          <a:xfrm>
            <a:off x="3101237" y="5357674"/>
            <a:ext cx="1555750" cy="872034"/>
          </a:xfrm>
          <a:prstGeom prst="rect">
            <a:avLst/>
          </a:prstGeom>
          <a:noFill/>
          <a:ln>
            <a:miter lim="800000"/>
            <a:headEnd/>
            <a:tailEnd/>
          </a:ln>
        </p:spPr>
        <p:txBody>
          <a:bodyPr/>
          <a:lstStyle/>
          <a:p>
            <a:pPr lvl="1"/>
            <a:r>
              <a:rPr lang="nl-NL" dirty="0" smtClean="0">
                <a:solidFill>
                  <a:srgbClr val="002776"/>
                </a:solidFill>
              </a:rPr>
              <a:t>Bullet</a:t>
            </a:r>
          </a:p>
          <a:p>
            <a:pPr lvl="2"/>
            <a:r>
              <a:rPr lang="nl-NL" dirty="0" smtClean="0">
                <a:solidFill>
                  <a:srgbClr val="002776"/>
                </a:solidFill>
              </a:rPr>
              <a:t>Dash</a:t>
            </a:r>
          </a:p>
          <a:p>
            <a:pPr lvl="3"/>
            <a:r>
              <a:rPr lang="nl-NL" dirty="0" smtClean="0">
                <a:solidFill>
                  <a:srgbClr val="002776"/>
                </a:solidFill>
              </a:rPr>
              <a:t>Subbullet</a:t>
            </a:r>
            <a:endParaRPr lang="nl-NL" dirty="0">
              <a:solidFill>
                <a:srgbClr val="002776"/>
              </a:solidFill>
            </a:endParaRPr>
          </a:p>
        </p:txBody>
      </p:sp>
      <p:sp>
        <p:nvSpPr>
          <p:cNvPr id="818192" name="Text Placeholder 15"/>
          <p:cNvSpPr>
            <a:spLocks noGrp="1"/>
          </p:cNvSpPr>
          <p:nvPr>
            <p:ph type="body" sz="quarter" idx="4294967295"/>
            <p:custDataLst>
              <p:tags r:id="rId2"/>
            </p:custDataLst>
          </p:nvPr>
        </p:nvSpPr>
        <p:spPr bwMode="auto">
          <a:xfrm>
            <a:off x="4526074" y="4522649"/>
            <a:ext cx="1555750" cy="872034"/>
          </a:xfrm>
          <a:prstGeom prst="rect">
            <a:avLst/>
          </a:prstGeom>
          <a:noFill/>
          <a:ln>
            <a:miter lim="800000"/>
            <a:headEnd/>
            <a:tailEnd/>
          </a:ln>
        </p:spPr>
        <p:txBody>
          <a:bodyPr/>
          <a:lstStyle/>
          <a:p>
            <a:pPr lvl="1"/>
            <a:r>
              <a:rPr lang="nl-NL" dirty="0">
                <a:solidFill>
                  <a:srgbClr val="002776"/>
                </a:solidFill>
              </a:rPr>
              <a:t>Bullet</a:t>
            </a:r>
          </a:p>
          <a:p>
            <a:pPr lvl="2"/>
            <a:r>
              <a:rPr lang="nl-NL" dirty="0">
                <a:solidFill>
                  <a:srgbClr val="002776"/>
                </a:solidFill>
              </a:rPr>
              <a:t>Dash</a:t>
            </a:r>
          </a:p>
          <a:p>
            <a:pPr lvl="3"/>
            <a:r>
              <a:rPr lang="nl-NL" dirty="0">
                <a:solidFill>
                  <a:srgbClr val="002776"/>
                </a:solidFill>
              </a:rPr>
              <a:t>Subbullet</a:t>
            </a:r>
          </a:p>
        </p:txBody>
      </p:sp>
      <p:sp>
        <p:nvSpPr>
          <p:cNvPr id="818193" name="Text Placeholder 15"/>
          <p:cNvSpPr>
            <a:spLocks noGrp="1"/>
          </p:cNvSpPr>
          <p:nvPr>
            <p:ph type="body" sz="quarter" idx="4294967295"/>
            <p:custDataLst>
              <p:tags r:id="rId3"/>
            </p:custDataLst>
          </p:nvPr>
        </p:nvSpPr>
        <p:spPr bwMode="auto">
          <a:xfrm>
            <a:off x="5685023" y="3593962"/>
            <a:ext cx="1555750" cy="872034"/>
          </a:xfrm>
          <a:prstGeom prst="rect">
            <a:avLst/>
          </a:prstGeom>
          <a:noFill/>
          <a:ln>
            <a:miter lim="800000"/>
            <a:headEnd/>
            <a:tailEnd/>
          </a:ln>
        </p:spPr>
        <p:txBody>
          <a:bodyPr/>
          <a:lstStyle/>
          <a:p>
            <a:pPr lvl="1"/>
            <a:r>
              <a:rPr lang="nl-NL" dirty="0">
                <a:solidFill>
                  <a:srgbClr val="002776"/>
                </a:solidFill>
              </a:rPr>
              <a:t>Bullet</a:t>
            </a:r>
          </a:p>
          <a:p>
            <a:pPr lvl="2"/>
            <a:r>
              <a:rPr lang="nl-NL" dirty="0">
                <a:solidFill>
                  <a:srgbClr val="002776"/>
                </a:solidFill>
              </a:rPr>
              <a:t>Dash</a:t>
            </a:r>
          </a:p>
          <a:p>
            <a:pPr lvl="3"/>
            <a:r>
              <a:rPr lang="nl-NL" dirty="0">
                <a:solidFill>
                  <a:srgbClr val="002776"/>
                </a:solidFill>
              </a:rPr>
              <a:t>Subbullet</a:t>
            </a:r>
          </a:p>
        </p:txBody>
      </p:sp>
      <p:sp>
        <p:nvSpPr>
          <p:cNvPr id="818194" name="Text Placeholder 15"/>
          <p:cNvSpPr>
            <a:spLocks noGrp="1"/>
          </p:cNvSpPr>
          <p:nvPr>
            <p:ph type="body" sz="quarter" idx="4294967295"/>
            <p:custDataLst>
              <p:tags r:id="rId4"/>
            </p:custDataLst>
          </p:nvPr>
        </p:nvSpPr>
        <p:spPr bwMode="auto">
          <a:xfrm>
            <a:off x="6534040" y="2014399"/>
            <a:ext cx="1557337" cy="872034"/>
          </a:xfrm>
          <a:prstGeom prst="rect">
            <a:avLst/>
          </a:prstGeom>
          <a:noFill/>
          <a:ln>
            <a:miter lim="800000"/>
            <a:headEnd/>
            <a:tailEnd/>
          </a:ln>
        </p:spPr>
        <p:txBody>
          <a:bodyPr/>
          <a:lstStyle/>
          <a:p>
            <a:pPr lvl="1"/>
            <a:r>
              <a:rPr lang="nl-NL" dirty="0">
                <a:solidFill>
                  <a:srgbClr val="002776"/>
                </a:solidFill>
              </a:rPr>
              <a:t>Bullet</a:t>
            </a:r>
          </a:p>
          <a:p>
            <a:pPr lvl="2"/>
            <a:r>
              <a:rPr lang="nl-NL" dirty="0">
                <a:solidFill>
                  <a:srgbClr val="002776"/>
                </a:solidFill>
              </a:rPr>
              <a:t>Dash</a:t>
            </a:r>
          </a:p>
          <a:p>
            <a:pPr lvl="3"/>
            <a:r>
              <a:rPr lang="nl-NL" dirty="0">
                <a:solidFill>
                  <a:srgbClr val="002776"/>
                </a:solidFill>
              </a:rPr>
              <a:t>Subbullet</a:t>
            </a:r>
          </a:p>
        </p:txBody>
      </p:sp>
      <p:sp>
        <p:nvSpPr>
          <p:cNvPr id="21" name="Oval 3"/>
          <p:cNvSpPr>
            <a:spLocks noChangeArrowheads="1"/>
          </p:cNvSpPr>
          <p:nvPr/>
        </p:nvSpPr>
        <p:spPr bwMode="auto">
          <a:xfrm rot="3480929">
            <a:off x="2427288" y="398035"/>
            <a:ext cx="2476500" cy="6292850"/>
          </a:xfrm>
          <a:prstGeom prst="ellipse">
            <a:avLst/>
          </a:prstGeom>
          <a:solidFill>
            <a:schemeClr val="accent4"/>
          </a:solidFill>
          <a:ln w="9525">
            <a:solidFill>
              <a:schemeClr val="bg1"/>
            </a:solidFill>
            <a:round/>
            <a:headEnd/>
            <a:tailEnd/>
          </a:ln>
        </p:spPr>
        <p:txBody>
          <a:bodyPr rot="10800000" vert="eaVert" wrap="none" anchor="ctr"/>
          <a:lstStyle/>
          <a:p>
            <a:pPr algn="ctr">
              <a:defRPr/>
            </a:pPr>
            <a:endParaRPr lang="en-GB"/>
          </a:p>
        </p:txBody>
      </p:sp>
      <p:sp>
        <p:nvSpPr>
          <p:cNvPr id="22" name="Oval 4"/>
          <p:cNvSpPr>
            <a:spLocks noChangeArrowheads="1"/>
          </p:cNvSpPr>
          <p:nvPr/>
        </p:nvSpPr>
        <p:spPr bwMode="auto">
          <a:xfrm rot="3480929">
            <a:off x="1947069" y="1715155"/>
            <a:ext cx="2001838" cy="4606925"/>
          </a:xfrm>
          <a:prstGeom prst="ellipse">
            <a:avLst/>
          </a:prstGeom>
          <a:solidFill>
            <a:schemeClr val="accent3"/>
          </a:solidFill>
          <a:ln w="12700" algn="ctr">
            <a:solidFill>
              <a:schemeClr val="bg1"/>
            </a:solidFill>
            <a:round/>
            <a:headEnd/>
            <a:tailEnd/>
          </a:ln>
        </p:spPr>
        <p:txBody>
          <a:bodyPr rot="10800000" vert="eaVert" tIns="91440" bIns="91440" anchor="ctr"/>
          <a:lstStyle/>
          <a:p>
            <a:pPr algn="ctr">
              <a:defRPr/>
            </a:pPr>
            <a:endParaRPr lang="en-GB">
              <a:ea typeface="ＭＳ Ｐゴシック" pitchFamily="50" charset="-128"/>
            </a:endParaRPr>
          </a:p>
        </p:txBody>
      </p:sp>
      <p:sp>
        <p:nvSpPr>
          <p:cNvPr id="818181" name="Oval 5"/>
          <p:cNvSpPr>
            <a:spLocks noChangeArrowheads="1"/>
          </p:cNvSpPr>
          <p:nvPr/>
        </p:nvSpPr>
        <p:spPr bwMode="auto">
          <a:xfrm rot="3480929">
            <a:off x="1541463" y="3176449"/>
            <a:ext cx="1266825" cy="2765425"/>
          </a:xfrm>
          <a:prstGeom prst="ellipse">
            <a:avLst/>
          </a:prstGeom>
          <a:solidFill>
            <a:schemeClr val="accent2"/>
          </a:solidFill>
          <a:ln w="12700" algn="ctr">
            <a:solidFill>
              <a:schemeClr val="bg1"/>
            </a:solidFill>
            <a:round/>
            <a:headEnd/>
            <a:tailEnd/>
          </a:ln>
        </p:spPr>
        <p:txBody>
          <a:bodyPr rot="10800000" vert="eaVert" tIns="91440" bIns="91440" anchor="ctr"/>
          <a:lstStyle/>
          <a:p>
            <a:pPr algn="ctr"/>
            <a:endParaRPr lang="en-GB" sz="1400" b="1"/>
          </a:p>
        </p:txBody>
      </p:sp>
      <p:sp>
        <p:nvSpPr>
          <p:cNvPr id="818182" name="Oval 6"/>
          <p:cNvSpPr>
            <a:spLocks noChangeArrowheads="1"/>
          </p:cNvSpPr>
          <p:nvPr/>
        </p:nvSpPr>
        <p:spPr bwMode="auto">
          <a:xfrm rot="3480929">
            <a:off x="1322839" y="4092437"/>
            <a:ext cx="731837" cy="1601788"/>
          </a:xfrm>
          <a:prstGeom prst="ellipse">
            <a:avLst/>
          </a:prstGeom>
          <a:solidFill>
            <a:schemeClr val="accent1"/>
          </a:solidFill>
          <a:ln w="12700" algn="ctr">
            <a:solidFill>
              <a:schemeClr val="bg1"/>
            </a:solidFill>
            <a:round/>
            <a:headEnd/>
            <a:tailEnd/>
          </a:ln>
        </p:spPr>
        <p:txBody>
          <a:bodyPr rot="10800000" vert="eaVert" lIns="18000" tIns="18000" rIns="18000" bIns="18000" anchor="ctr"/>
          <a:lstStyle/>
          <a:p>
            <a:pPr algn="ctr"/>
            <a:endParaRPr lang="en-GB">
              <a:solidFill>
                <a:schemeClr val="bg1"/>
              </a:solidFill>
              <a:ea typeface="ＭＳ Ｐゴシック" charset="-128"/>
            </a:endParaRPr>
          </a:p>
        </p:txBody>
      </p:sp>
      <p:sp>
        <p:nvSpPr>
          <p:cNvPr id="818183" name="Text Box 7"/>
          <p:cNvSpPr txBox="1">
            <a:spLocks noChangeArrowheads="1"/>
          </p:cNvSpPr>
          <p:nvPr/>
        </p:nvSpPr>
        <p:spPr bwMode="auto">
          <a:xfrm>
            <a:off x="1290638" y="4741724"/>
            <a:ext cx="512762" cy="307975"/>
          </a:xfrm>
          <a:prstGeom prst="rect">
            <a:avLst/>
          </a:prstGeom>
          <a:noFill/>
          <a:ln w="9525" algn="ctr">
            <a:noFill/>
            <a:miter lim="800000"/>
            <a:headEnd/>
            <a:tailEnd/>
          </a:ln>
        </p:spPr>
        <p:txBody>
          <a:bodyPr wrap="none">
            <a:spAutoFit/>
          </a:bodyPr>
          <a:lstStyle/>
          <a:p>
            <a:pPr algn="ctr"/>
            <a:r>
              <a:rPr lang="en-GB" altLang="ja-JP" sz="1400" dirty="0">
                <a:solidFill>
                  <a:srgbClr val="FFFFFF"/>
                </a:solidFill>
                <a:ea typeface="ＭＳ Ｐゴシック" charset="-128"/>
              </a:rPr>
              <a:t>Text</a:t>
            </a:r>
          </a:p>
        </p:txBody>
      </p:sp>
      <p:sp>
        <p:nvSpPr>
          <p:cNvPr id="818184" name="Text Box 8"/>
          <p:cNvSpPr txBox="1">
            <a:spLocks noChangeArrowheads="1"/>
          </p:cNvSpPr>
          <p:nvPr/>
        </p:nvSpPr>
        <p:spPr bwMode="auto">
          <a:xfrm>
            <a:off x="2457450" y="3927337"/>
            <a:ext cx="512763" cy="307975"/>
          </a:xfrm>
          <a:prstGeom prst="rect">
            <a:avLst/>
          </a:prstGeom>
          <a:noFill/>
          <a:ln w="9525" algn="ctr">
            <a:noFill/>
            <a:miter lim="800000"/>
            <a:headEnd/>
            <a:tailEnd/>
          </a:ln>
        </p:spPr>
        <p:txBody>
          <a:bodyPr wrap="none">
            <a:spAutoFit/>
          </a:bodyPr>
          <a:lstStyle/>
          <a:p>
            <a:pPr algn="ctr"/>
            <a:r>
              <a:rPr lang="en-GB" altLang="ja-JP" sz="1400">
                <a:solidFill>
                  <a:schemeClr val="bg1"/>
                </a:solidFill>
                <a:ea typeface="ＭＳ Ｐゴシック" charset="-128"/>
              </a:rPr>
              <a:t>Text</a:t>
            </a:r>
          </a:p>
        </p:txBody>
      </p:sp>
      <p:sp>
        <p:nvSpPr>
          <p:cNvPr id="818185" name="Text Box 9"/>
          <p:cNvSpPr txBox="1">
            <a:spLocks noChangeArrowheads="1"/>
          </p:cNvSpPr>
          <p:nvPr/>
        </p:nvSpPr>
        <p:spPr bwMode="auto">
          <a:xfrm>
            <a:off x="3476625" y="3043099"/>
            <a:ext cx="512763" cy="307975"/>
          </a:xfrm>
          <a:prstGeom prst="rect">
            <a:avLst/>
          </a:prstGeom>
          <a:noFill/>
          <a:ln w="9525" algn="ctr">
            <a:noFill/>
            <a:miter lim="800000"/>
            <a:headEnd/>
            <a:tailEnd/>
          </a:ln>
        </p:spPr>
        <p:txBody>
          <a:bodyPr wrap="none">
            <a:spAutoFit/>
          </a:bodyPr>
          <a:lstStyle/>
          <a:p>
            <a:pPr algn="ctr"/>
            <a:r>
              <a:rPr lang="en-GB" altLang="ja-JP" sz="1400">
                <a:solidFill>
                  <a:schemeClr val="bg1"/>
                </a:solidFill>
                <a:ea typeface="ＭＳ Ｐゴシック" charset="-128"/>
              </a:rPr>
              <a:t>Text</a:t>
            </a:r>
          </a:p>
        </p:txBody>
      </p:sp>
      <p:sp>
        <p:nvSpPr>
          <p:cNvPr id="818186" name="Text Box 10"/>
          <p:cNvSpPr txBox="1">
            <a:spLocks noChangeArrowheads="1"/>
          </p:cNvSpPr>
          <p:nvPr/>
        </p:nvSpPr>
        <p:spPr bwMode="auto">
          <a:xfrm>
            <a:off x="5159375" y="2022337"/>
            <a:ext cx="512763" cy="307975"/>
          </a:xfrm>
          <a:prstGeom prst="rect">
            <a:avLst/>
          </a:prstGeom>
          <a:noFill/>
          <a:ln w="9525" algn="ctr">
            <a:noFill/>
            <a:miter lim="800000"/>
            <a:headEnd/>
            <a:tailEnd/>
          </a:ln>
        </p:spPr>
        <p:txBody>
          <a:bodyPr wrap="none">
            <a:spAutoFit/>
          </a:bodyPr>
          <a:lstStyle/>
          <a:p>
            <a:pPr algn="ctr"/>
            <a:r>
              <a:rPr lang="en-GB" altLang="ja-JP" sz="1400">
                <a:solidFill>
                  <a:schemeClr val="bg1"/>
                </a:solidFill>
                <a:ea typeface="ＭＳ Ｐゴシック" charset="-128"/>
              </a:rPr>
              <a:t>Text</a:t>
            </a:r>
          </a:p>
        </p:txBody>
      </p:sp>
      <p:sp>
        <p:nvSpPr>
          <p:cNvPr id="29" name="Line 11"/>
          <p:cNvSpPr>
            <a:spLocks noChangeShapeType="1"/>
          </p:cNvSpPr>
          <p:nvPr/>
        </p:nvSpPr>
        <p:spPr bwMode="auto">
          <a:xfrm flipH="1" flipV="1">
            <a:off x="1817688" y="5008424"/>
            <a:ext cx="1255712" cy="544513"/>
          </a:xfrm>
          <a:prstGeom prst="line">
            <a:avLst/>
          </a:prstGeom>
          <a:noFill/>
          <a:ln w="9525">
            <a:solidFill>
              <a:schemeClr val="accent1">
                <a:lumMod val="75000"/>
              </a:schemeClr>
            </a:solidFill>
            <a:round/>
            <a:headEnd/>
            <a:tailEnd type="triangle" w="med" len="med"/>
          </a:ln>
        </p:spPr>
        <p:txBody>
          <a:bodyPr anchor="ctr"/>
          <a:lstStyle/>
          <a:p>
            <a:pPr>
              <a:defRPr/>
            </a:pPr>
            <a:endParaRPr lang="en-GB"/>
          </a:p>
        </p:txBody>
      </p:sp>
      <p:sp>
        <p:nvSpPr>
          <p:cNvPr id="30" name="Line 12"/>
          <p:cNvSpPr>
            <a:spLocks noChangeShapeType="1"/>
          </p:cNvSpPr>
          <p:nvPr/>
        </p:nvSpPr>
        <p:spPr bwMode="auto">
          <a:xfrm flipH="1" flipV="1">
            <a:off x="2949575" y="4192449"/>
            <a:ext cx="1504950" cy="544513"/>
          </a:xfrm>
          <a:prstGeom prst="line">
            <a:avLst/>
          </a:prstGeom>
          <a:noFill/>
          <a:ln w="9525">
            <a:solidFill>
              <a:schemeClr val="accent1">
                <a:lumMod val="75000"/>
              </a:schemeClr>
            </a:solidFill>
            <a:round/>
            <a:headEnd type="none" w="sm" len="sm"/>
            <a:tailEnd type="triangle" w="med" len="lg"/>
          </a:ln>
        </p:spPr>
        <p:txBody>
          <a:bodyPr anchor="ctr"/>
          <a:lstStyle/>
          <a:p>
            <a:pPr>
              <a:defRPr/>
            </a:pPr>
            <a:endParaRPr lang="en-GB"/>
          </a:p>
        </p:txBody>
      </p:sp>
      <p:sp>
        <p:nvSpPr>
          <p:cNvPr id="31" name="Line 13"/>
          <p:cNvSpPr>
            <a:spLocks noChangeShapeType="1"/>
          </p:cNvSpPr>
          <p:nvPr/>
        </p:nvSpPr>
        <p:spPr bwMode="auto">
          <a:xfrm flipH="1" flipV="1">
            <a:off x="4252913" y="3265349"/>
            <a:ext cx="1381125" cy="544513"/>
          </a:xfrm>
          <a:prstGeom prst="line">
            <a:avLst/>
          </a:prstGeom>
          <a:noFill/>
          <a:ln w="9525">
            <a:solidFill>
              <a:schemeClr val="accent1">
                <a:lumMod val="75000"/>
              </a:schemeClr>
            </a:solidFill>
            <a:round/>
            <a:headEnd type="none" w="sm" len="sm"/>
            <a:tailEnd type="triangle" w="med" len="lg"/>
          </a:ln>
        </p:spPr>
        <p:txBody>
          <a:bodyPr anchor="ctr"/>
          <a:lstStyle/>
          <a:p>
            <a:pPr>
              <a:defRPr/>
            </a:pPr>
            <a:endParaRPr lang="en-GB"/>
          </a:p>
        </p:txBody>
      </p:sp>
      <p:sp>
        <p:nvSpPr>
          <p:cNvPr id="32" name="Line 14"/>
          <p:cNvSpPr>
            <a:spLocks noChangeShapeType="1"/>
          </p:cNvSpPr>
          <p:nvPr/>
        </p:nvSpPr>
        <p:spPr bwMode="auto">
          <a:xfrm flipH="1" flipV="1">
            <a:off x="5895975" y="2181087"/>
            <a:ext cx="565150" cy="66675"/>
          </a:xfrm>
          <a:prstGeom prst="line">
            <a:avLst/>
          </a:prstGeom>
          <a:noFill/>
          <a:ln w="9525">
            <a:solidFill>
              <a:schemeClr val="accent1">
                <a:lumMod val="75000"/>
              </a:schemeClr>
            </a:solidFill>
            <a:round/>
            <a:headEnd type="none" w="sm" len="sm"/>
            <a:tailEnd type="triangle" w="med" len="lg"/>
          </a:ln>
        </p:spPr>
        <p:txBody>
          <a:bodyPr anchor="ctr"/>
          <a:lstStyle/>
          <a:p>
            <a:pPr>
              <a:defRPr/>
            </a:pPr>
            <a:endParaRPr lang="en-GB"/>
          </a:p>
        </p:txBody>
      </p:sp>
      <p:sp>
        <p:nvSpPr>
          <p:cNvPr id="2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5" name="Text Placeholder 12"/>
          <p:cNvSpPr>
            <a:spLocks/>
          </p:cNvSpPr>
          <p:nvPr>
            <p:custDataLst>
              <p:tags r:id="rId5"/>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01" name="Title 1"/>
          <p:cNvSpPr>
            <a:spLocks noGrp="1"/>
          </p:cNvSpPr>
          <p:nvPr>
            <p:ph type="title"/>
          </p:nvPr>
        </p:nvSpPr>
        <p:spPr/>
        <p:txBody>
          <a:bodyPr/>
          <a:lstStyle/>
          <a:p>
            <a:r>
              <a:rPr lang="en-GB"/>
              <a:t>Step by step actions</a:t>
            </a:r>
            <a:endParaRPr lang="nl-NL"/>
          </a:p>
        </p:txBody>
      </p:sp>
      <p:grpSp>
        <p:nvGrpSpPr>
          <p:cNvPr id="10" name="Group 9"/>
          <p:cNvGrpSpPr/>
          <p:nvPr/>
        </p:nvGrpSpPr>
        <p:grpSpPr>
          <a:xfrm>
            <a:off x="932583" y="1590687"/>
            <a:ext cx="7273925" cy="3838575"/>
            <a:chOff x="932583" y="1895475"/>
            <a:chExt cx="7273925" cy="3838575"/>
          </a:xfrm>
        </p:grpSpPr>
        <p:sp>
          <p:nvSpPr>
            <p:cNvPr id="4" name="AutoShape 3"/>
            <p:cNvSpPr>
              <a:spLocks noChangeArrowheads="1"/>
            </p:cNvSpPr>
            <p:nvPr/>
          </p:nvSpPr>
          <p:spPr bwMode="auto">
            <a:xfrm rot="-5400000">
              <a:off x="6650758" y="3292475"/>
              <a:ext cx="2066925" cy="10445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accent5"/>
            </a:solidFill>
            <a:ln w="12700">
              <a:solidFill>
                <a:schemeClr val="bg1"/>
              </a:solidFill>
              <a:miter lim="800000"/>
              <a:headEnd/>
              <a:tailEnd/>
            </a:ln>
          </p:spPr>
          <p:txBody>
            <a:bodyPr vert="eaVert" lIns="9144" tIns="9144" rIns="9144" bIns="9144" anchor="ctr"/>
            <a:lstStyle/>
            <a:p>
              <a:pPr algn="ctr">
                <a:defRPr/>
              </a:pPr>
              <a:r>
                <a:rPr lang="en-GB" altLang="ja-JP" sz="1400" b="1">
                  <a:solidFill>
                    <a:schemeClr val="bg1"/>
                  </a:solidFill>
                  <a:ea typeface="ＭＳ Ｐゴシック" pitchFamily="50" charset="-128"/>
                </a:rPr>
                <a:t>Step 6</a:t>
              </a:r>
            </a:p>
          </p:txBody>
        </p:sp>
        <p:sp>
          <p:nvSpPr>
            <p:cNvPr id="5" name="AutoShape 4"/>
            <p:cNvSpPr>
              <a:spLocks noChangeArrowheads="1"/>
            </p:cNvSpPr>
            <p:nvPr/>
          </p:nvSpPr>
          <p:spPr bwMode="auto">
            <a:xfrm rot="-5400000">
              <a:off x="5352184" y="3162300"/>
              <a:ext cx="2355850" cy="1304925"/>
            </a:xfrm>
            <a:custGeom>
              <a:avLst/>
              <a:gdLst>
                <a:gd name="T0" fmla="*/ 252318315 w 21600"/>
                <a:gd name="T1" fmla="*/ 46312661 h 21600"/>
                <a:gd name="T2" fmla="*/ 128472907 w 21600"/>
                <a:gd name="T3" fmla="*/ 92625257 h 21600"/>
                <a:gd name="T4" fmla="*/ 4627391 w 21600"/>
                <a:gd name="T5" fmla="*/ 46312661 h 21600"/>
                <a:gd name="T6" fmla="*/ 12847290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accent4"/>
            </a:solidFill>
            <a:ln w="12700">
              <a:solidFill>
                <a:schemeClr val="bg1"/>
              </a:solidFill>
              <a:miter lim="800000"/>
              <a:headEnd/>
              <a:tailEnd/>
            </a:ln>
          </p:spPr>
          <p:txBody>
            <a:bodyPr vert="eaVert" lIns="9144" tIns="9144" rIns="9144" bIns="9144" anchor="ctr"/>
            <a:lstStyle/>
            <a:p>
              <a:pPr algn="ctr">
                <a:defRPr/>
              </a:pPr>
              <a:r>
                <a:rPr lang="en-GB" altLang="ja-JP" sz="1400" b="1">
                  <a:solidFill>
                    <a:schemeClr val="bg1"/>
                  </a:solidFill>
                  <a:ea typeface="ＭＳ Ｐゴシック" pitchFamily="50" charset="-128"/>
                </a:rPr>
                <a:t>Step 4</a:t>
              </a:r>
            </a:p>
          </p:txBody>
        </p:sp>
        <p:sp>
          <p:nvSpPr>
            <p:cNvPr id="6" name="AutoShape 5"/>
            <p:cNvSpPr>
              <a:spLocks noChangeArrowheads="1"/>
            </p:cNvSpPr>
            <p:nvPr/>
          </p:nvSpPr>
          <p:spPr bwMode="auto">
            <a:xfrm rot="-5400000">
              <a:off x="3721821" y="3030538"/>
              <a:ext cx="2787650" cy="1568450"/>
            </a:xfrm>
            <a:custGeom>
              <a:avLst/>
              <a:gdLst>
                <a:gd name="T0" fmla="*/ 353288952 w 21600"/>
                <a:gd name="T1" fmla="*/ 66790009 h 21600"/>
                <a:gd name="T2" fmla="*/ 179884086 w 21600"/>
                <a:gd name="T3" fmla="*/ 133579940 h 21600"/>
                <a:gd name="T4" fmla="*/ 6479221 w 21600"/>
                <a:gd name="T5" fmla="*/ 66790009 h 21600"/>
                <a:gd name="T6" fmla="*/ 179884086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accent3"/>
            </a:solidFill>
            <a:ln w="12700">
              <a:solidFill>
                <a:schemeClr val="bg1"/>
              </a:solidFill>
              <a:miter lim="800000"/>
              <a:headEnd/>
              <a:tailEnd/>
            </a:ln>
          </p:spPr>
          <p:txBody>
            <a:bodyPr vert="eaVert" lIns="9144" tIns="9144" rIns="9144" bIns="9144" anchor="ctr"/>
            <a:lstStyle/>
            <a:p>
              <a:pPr algn="ctr">
                <a:defRPr/>
              </a:pPr>
              <a:r>
                <a:rPr lang="en-GB" altLang="ja-JP" sz="1400" b="1">
                  <a:solidFill>
                    <a:schemeClr val="bg1"/>
                  </a:solidFill>
                  <a:ea typeface="ＭＳ Ｐゴシック" pitchFamily="50" charset="-128"/>
                </a:rPr>
                <a:t>Step 3</a:t>
              </a:r>
            </a:p>
          </p:txBody>
        </p:sp>
        <p:sp>
          <p:nvSpPr>
            <p:cNvPr id="819206" name="AutoShape 6"/>
            <p:cNvSpPr>
              <a:spLocks noChangeArrowheads="1"/>
            </p:cNvSpPr>
            <p:nvPr/>
          </p:nvSpPr>
          <p:spPr bwMode="auto">
            <a:xfrm rot="-5400000">
              <a:off x="1881115" y="2988469"/>
              <a:ext cx="3290887" cy="16541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accent2"/>
            </a:solidFill>
            <a:ln w="12700">
              <a:solidFill>
                <a:schemeClr val="bg1"/>
              </a:solidFill>
              <a:miter lim="800000"/>
              <a:headEnd/>
              <a:tailEnd/>
            </a:ln>
          </p:spPr>
          <p:txBody>
            <a:bodyPr vert="eaVert" lIns="9144" tIns="9144" rIns="9144" bIns="9144" anchor="ctr"/>
            <a:lstStyle/>
            <a:p>
              <a:pPr algn="ctr"/>
              <a:r>
                <a:rPr lang="en-GB" altLang="ja-JP" sz="1400" b="1">
                  <a:solidFill>
                    <a:schemeClr val="bg1"/>
                  </a:solidFill>
                  <a:ea typeface="ＭＳ Ｐゴシック" charset="-128"/>
                </a:rPr>
                <a:t>Step 2</a:t>
              </a:r>
            </a:p>
          </p:txBody>
        </p:sp>
        <p:sp>
          <p:nvSpPr>
            <p:cNvPr id="819207" name="AutoShape 7"/>
            <p:cNvSpPr>
              <a:spLocks noChangeArrowheads="1"/>
            </p:cNvSpPr>
            <p:nvPr/>
          </p:nvSpPr>
          <p:spPr bwMode="auto">
            <a:xfrm rot="-5400000">
              <a:off x="-91355" y="2919413"/>
              <a:ext cx="3838575" cy="1790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accent1"/>
            </a:solidFill>
            <a:ln w="12700">
              <a:solidFill>
                <a:schemeClr val="bg1"/>
              </a:solidFill>
              <a:miter lim="800000"/>
              <a:headEnd/>
              <a:tailEnd/>
            </a:ln>
          </p:spPr>
          <p:txBody>
            <a:bodyPr vert="eaVert" lIns="9144" tIns="9144" rIns="9144" bIns="9144" anchor="ctr"/>
            <a:lstStyle/>
            <a:p>
              <a:pPr algn="ctr"/>
              <a:r>
                <a:rPr lang="en-GB" altLang="ja-JP" sz="1400" b="1" dirty="0">
                  <a:solidFill>
                    <a:schemeClr val="bg1"/>
                  </a:solidFill>
                  <a:ea typeface="ＭＳ Ｐゴシック" charset="-128"/>
                </a:rPr>
                <a:t>Step 1</a:t>
              </a:r>
            </a:p>
          </p:txBody>
        </p:sp>
      </p:grpSp>
      <p:sp>
        <p:nvSpPr>
          <p:cNvPr id="1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2"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0225" name="Title 1"/>
          <p:cNvSpPr>
            <a:spLocks noGrp="1"/>
          </p:cNvSpPr>
          <p:nvPr>
            <p:ph type="title"/>
          </p:nvPr>
        </p:nvSpPr>
        <p:spPr/>
        <p:txBody>
          <a:bodyPr/>
          <a:lstStyle/>
          <a:p>
            <a:r>
              <a:rPr lang="en-GB" altLang="ja-JP"/>
              <a:t>Interrelated stages</a:t>
            </a:r>
            <a:endParaRPr lang="nl-NL"/>
          </a:p>
        </p:txBody>
      </p:sp>
      <p:sp>
        <p:nvSpPr>
          <p:cNvPr id="5" name="Freeform 3"/>
          <p:cNvSpPr>
            <a:spLocks/>
          </p:cNvSpPr>
          <p:nvPr/>
        </p:nvSpPr>
        <p:spPr bwMode="auto">
          <a:xfrm>
            <a:off x="6231389" y="3232602"/>
            <a:ext cx="2060575" cy="1236662"/>
          </a:xfrm>
          <a:custGeom>
            <a:avLst/>
            <a:gdLst>
              <a:gd name="T0" fmla="*/ 0 w 1297"/>
              <a:gd name="T1" fmla="*/ 0 h 779"/>
              <a:gd name="T2" fmla="*/ 1486869 w 1297"/>
              <a:gd name="T3" fmla="*/ 0 h 779"/>
              <a:gd name="T4" fmla="*/ 1486869 w 1297"/>
              <a:gd name="T5" fmla="*/ 544512 h 779"/>
              <a:gd name="T6" fmla="*/ 1930865 w 1297"/>
              <a:gd name="T7" fmla="*/ 550862 h 779"/>
              <a:gd name="T8" fmla="*/ 1930865 w 1297"/>
              <a:gd name="T9" fmla="*/ 411162 h 779"/>
              <a:gd name="T10" fmla="*/ 2230304 w 1297"/>
              <a:gd name="T11" fmla="*/ 800100 h 779"/>
              <a:gd name="T12" fmla="*/ 1930865 w 1297"/>
              <a:gd name="T13" fmla="*/ 1235075 h 779"/>
              <a:gd name="T14" fmla="*/ 1932586 w 1297"/>
              <a:gd name="T15" fmla="*/ 1098550 h 779"/>
              <a:gd name="T16" fmla="*/ 817434 w 1297"/>
              <a:gd name="T17" fmla="*/ 1093787 h 779"/>
              <a:gd name="T18" fmla="*/ 817434 w 1297"/>
              <a:gd name="T19" fmla="*/ 549275 h 779"/>
              <a:gd name="T20" fmla="*/ 0 w 1297"/>
              <a:gd name="T21" fmla="*/ 549275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accent3"/>
          </a:solidFill>
          <a:ln w="12700">
            <a:solidFill>
              <a:schemeClr val="bg2"/>
            </a:solidFill>
            <a:round/>
            <a:headEnd type="none" w="sm" len="sm"/>
            <a:tailEnd type="none" w="sm" len="sm"/>
          </a:ln>
        </p:spPr>
        <p:txBody>
          <a:bodyPr tIns="91440" bIns="91440" anchor="ctr"/>
          <a:lstStyle/>
          <a:p>
            <a:pPr>
              <a:defRPr/>
            </a:pPr>
            <a:endParaRPr lang="en-GB"/>
          </a:p>
        </p:txBody>
      </p:sp>
      <p:sp>
        <p:nvSpPr>
          <p:cNvPr id="820228" name="Rectangle 4"/>
          <p:cNvSpPr>
            <a:spLocks noChangeArrowheads="1"/>
          </p:cNvSpPr>
          <p:nvPr/>
        </p:nvSpPr>
        <p:spPr bwMode="auto">
          <a:xfrm>
            <a:off x="6486977" y="3381827"/>
            <a:ext cx="985837" cy="265112"/>
          </a:xfrm>
          <a:prstGeom prst="rect">
            <a:avLst/>
          </a:prstGeom>
          <a:noFill/>
          <a:ln w="9525">
            <a:noFill/>
            <a:miter lim="800000"/>
            <a:headEnd/>
            <a:tailEnd/>
          </a:ln>
        </p:spPr>
        <p:txBody>
          <a:bodyPr lIns="69850" tIns="36512" rIns="69850" bIns="36512">
            <a:spAutoFit/>
          </a:bodyPr>
          <a:lstStyle/>
          <a:p>
            <a:pPr algn="ctr" defTabSz="536575">
              <a:lnSpc>
                <a:spcPct val="90000"/>
              </a:lnSpc>
            </a:pPr>
            <a:r>
              <a:rPr lang="en-GB" altLang="ja-JP" sz="1400">
                <a:solidFill>
                  <a:schemeClr val="bg1"/>
                </a:solidFill>
                <a:ea typeface="ＭＳ Ｐゴシック" charset="-128"/>
              </a:rPr>
              <a:t>Text</a:t>
            </a:r>
          </a:p>
        </p:txBody>
      </p:sp>
      <p:sp>
        <p:nvSpPr>
          <p:cNvPr id="7" name="Freeform 5"/>
          <p:cNvSpPr>
            <a:spLocks/>
          </p:cNvSpPr>
          <p:nvPr/>
        </p:nvSpPr>
        <p:spPr bwMode="auto">
          <a:xfrm>
            <a:off x="4450214" y="2684914"/>
            <a:ext cx="2058988" cy="1235075"/>
          </a:xfrm>
          <a:custGeom>
            <a:avLst/>
            <a:gdLst>
              <a:gd name="T0" fmla="*/ 0 w 1297"/>
              <a:gd name="T1" fmla="*/ 0 h 778"/>
              <a:gd name="T2" fmla="*/ 1485811 w 1297"/>
              <a:gd name="T3" fmla="*/ 0 h 778"/>
              <a:gd name="T4" fmla="*/ 1485811 w 1297"/>
              <a:gd name="T5" fmla="*/ 544513 h 778"/>
              <a:gd name="T6" fmla="*/ 1929491 w 1297"/>
              <a:gd name="T7" fmla="*/ 549275 h 778"/>
              <a:gd name="T8" fmla="*/ 1929491 w 1297"/>
              <a:gd name="T9" fmla="*/ 411163 h 778"/>
              <a:gd name="T10" fmla="*/ 2228717 w 1297"/>
              <a:gd name="T11" fmla="*/ 800100 h 778"/>
              <a:gd name="T12" fmla="*/ 1929491 w 1297"/>
              <a:gd name="T13" fmla="*/ 1233488 h 778"/>
              <a:gd name="T14" fmla="*/ 1931211 w 1297"/>
              <a:gd name="T15" fmla="*/ 1096963 h 778"/>
              <a:gd name="T16" fmla="*/ 816852 w 1297"/>
              <a:gd name="T17" fmla="*/ 1092200 h 778"/>
              <a:gd name="T18" fmla="*/ 816852 w 1297"/>
              <a:gd name="T19" fmla="*/ 547688 h 778"/>
              <a:gd name="T20" fmla="*/ 0 w 1297"/>
              <a:gd name="T21" fmla="*/ 547688 h 778"/>
              <a:gd name="T22" fmla="*/ 0 w 1297"/>
              <a:gd name="T23" fmla="*/ 0 h 7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8"/>
              <a:gd name="T38" fmla="*/ 1297 w 1297"/>
              <a:gd name="T39" fmla="*/ 778 h 7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8">
                <a:moveTo>
                  <a:pt x="0" y="0"/>
                </a:moveTo>
                <a:lnTo>
                  <a:pt x="864" y="0"/>
                </a:lnTo>
                <a:lnTo>
                  <a:pt x="864" y="343"/>
                </a:lnTo>
                <a:lnTo>
                  <a:pt x="1122" y="346"/>
                </a:lnTo>
                <a:lnTo>
                  <a:pt x="1122" y="259"/>
                </a:lnTo>
                <a:lnTo>
                  <a:pt x="1296" y="504"/>
                </a:lnTo>
                <a:lnTo>
                  <a:pt x="1122" y="777"/>
                </a:lnTo>
                <a:lnTo>
                  <a:pt x="1123" y="691"/>
                </a:lnTo>
                <a:lnTo>
                  <a:pt x="475" y="688"/>
                </a:lnTo>
                <a:lnTo>
                  <a:pt x="475" y="345"/>
                </a:lnTo>
                <a:lnTo>
                  <a:pt x="0" y="345"/>
                </a:lnTo>
                <a:lnTo>
                  <a:pt x="0" y="0"/>
                </a:lnTo>
              </a:path>
            </a:pathLst>
          </a:custGeom>
          <a:solidFill>
            <a:schemeClr val="accent3"/>
          </a:solidFill>
          <a:ln w="12700">
            <a:solidFill>
              <a:schemeClr val="bg2"/>
            </a:solidFill>
            <a:round/>
            <a:headEnd type="none" w="sm" len="sm"/>
            <a:tailEnd type="none" w="sm" len="sm"/>
          </a:ln>
        </p:spPr>
        <p:txBody>
          <a:bodyPr wrap="none" anchor="ctr"/>
          <a:lstStyle/>
          <a:p>
            <a:pPr>
              <a:defRPr/>
            </a:pPr>
            <a:endParaRPr lang="en-GB"/>
          </a:p>
        </p:txBody>
      </p:sp>
      <p:sp>
        <p:nvSpPr>
          <p:cNvPr id="820230" name="Rectangle 6"/>
          <p:cNvSpPr>
            <a:spLocks noChangeArrowheads="1"/>
          </p:cNvSpPr>
          <p:nvPr/>
        </p:nvSpPr>
        <p:spPr bwMode="auto">
          <a:xfrm>
            <a:off x="4643889" y="2829377"/>
            <a:ext cx="1117600" cy="265112"/>
          </a:xfrm>
          <a:prstGeom prst="rect">
            <a:avLst/>
          </a:prstGeom>
          <a:noFill/>
          <a:ln w="9525">
            <a:noFill/>
            <a:miter lim="800000"/>
            <a:headEnd/>
            <a:tailEnd/>
          </a:ln>
        </p:spPr>
        <p:txBody>
          <a:bodyPr lIns="69850" tIns="36512" rIns="69850" bIns="36512">
            <a:spAutoFit/>
          </a:bodyPr>
          <a:lstStyle/>
          <a:p>
            <a:pPr algn="ctr" defTabSz="536575">
              <a:lnSpc>
                <a:spcPct val="90000"/>
              </a:lnSpc>
            </a:pPr>
            <a:r>
              <a:rPr lang="en-GB" altLang="ja-JP" sz="1400">
                <a:solidFill>
                  <a:schemeClr val="bg1"/>
                </a:solidFill>
                <a:ea typeface="ＭＳ Ｐゴシック" charset="-128"/>
              </a:rPr>
              <a:t>Text</a:t>
            </a:r>
          </a:p>
        </p:txBody>
      </p:sp>
      <p:sp>
        <p:nvSpPr>
          <p:cNvPr id="820231" name="Freeform 7"/>
          <p:cNvSpPr>
            <a:spLocks/>
          </p:cNvSpPr>
          <p:nvPr/>
        </p:nvSpPr>
        <p:spPr bwMode="auto">
          <a:xfrm>
            <a:off x="2665864" y="2135639"/>
            <a:ext cx="2058988" cy="1236663"/>
          </a:xfrm>
          <a:custGeom>
            <a:avLst/>
            <a:gdLst>
              <a:gd name="T0" fmla="*/ 0 w 1297"/>
              <a:gd name="T1" fmla="*/ 0 h 779"/>
              <a:gd name="T2" fmla="*/ 2147483647 w 1297"/>
              <a:gd name="T3" fmla="*/ 0 h 779"/>
              <a:gd name="T4" fmla="*/ 2147483647 w 1297"/>
              <a:gd name="T5" fmla="*/ 2147483647 h 779"/>
              <a:gd name="T6" fmla="*/ 2147483647 w 1297"/>
              <a:gd name="T7" fmla="*/ 2147483647 h 779"/>
              <a:gd name="T8" fmla="*/ 2147483647 w 1297"/>
              <a:gd name="T9" fmla="*/ 2147483647 h 779"/>
              <a:gd name="T10" fmla="*/ 2147483647 w 1297"/>
              <a:gd name="T11" fmla="*/ 2147483647 h 779"/>
              <a:gd name="T12" fmla="*/ 2147483647 w 1297"/>
              <a:gd name="T13" fmla="*/ 2147483647 h 779"/>
              <a:gd name="T14" fmla="*/ 2147483647 w 1297"/>
              <a:gd name="T15" fmla="*/ 2147483647 h 779"/>
              <a:gd name="T16" fmla="*/ 2147483647 w 1297"/>
              <a:gd name="T17" fmla="*/ 2147483647 h 779"/>
              <a:gd name="T18" fmla="*/ 2147483647 w 1297"/>
              <a:gd name="T19" fmla="*/ 2147483647 h 779"/>
              <a:gd name="T20" fmla="*/ 0 w 1297"/>
              <a:gd name="T21" fmla="*/ 2147483647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accent3"/>
          </a:solidFill>
          <a:ln w="12700">
            <a:solidFill>
              <a:schemeClr val="bg2"/>
            </a:solidFill>
            <a:round/>
            <a:headEnd type="none" w="sm" len="sm"/>
            <a:tailEnd type="none" w="sm" len="sm"/>
          </a:ln>
        </p:spPr>
        <p:txBody>
          <a:bodyPr wrap="none" anchor="ctr"/>
          <a:lstStyle/>
          <a:p>
            <a:endParaRPr lang="en-GB"/>
          </a:p>
        </p:txBody>
      </p:sp>
      <p:sp>
        <p:nvSpPr>
          <p:cNvPr id="820232" name="Rectangle 8"/>
          <p:cNvSpPr>
            <a:spLocks noChangeArrowheads="1"/>
          </p:cNvSpPr>
          <p:nvPr/>
        </p:nvSpPr>
        <p:spPr bwMode="auto">
          <a:xfrm>
            <a:off x="2989714" y="2280102"/>
            <a:ext cx="885825" cy="265112"/>
          </a:xfrm>
          <a:prstGeom prst="rect">
            <a:avLst/>
          </a:prstGeom>
          <a:noFill/>
          <a:ln w="9525">
            <a:noFill/>
            <a:miter lim="800000"/>
            <a:headEnd/>
            <a:tailEnd/>
          </a:ln>
        </p:spPr>
        <p:txBody>
          <a:bodyPr lIns="69850" tIns="36512" rIns="69850" bIns="36512">
            <a:spAutoFit/>
          </a:bodyPr>
          <a:lstStyle/>
          <a:p>
            <a:pPr algn="ctr" defTabSz="536575">
              <a:lnSpc>
                <a:spcPct val="90000"/>
              </a:lnSpc>
            </a:pPr>
            <a:r>
              <a:rPr lang="en-GB" altLang="ja-JP" sz="1400">
                <a:solidFill>
                  <a:schemeClr val="bg1"/>
                </a:solidFill>
                <a:ea typeface="ＭＳ Ｐゴシック" charset="-128"/>
              </a:rPr>
              <a:t>Text</a:t>
            </a:r>
          </a:p>
        </p:txBody>
      </p:sp>
      <p:sp>
        <p:nvSpPr>
          <p:cNvPr id="820233" name="Freeform 9"/>
          <p:cNvSpPr>
            <a:spLocks/>
          </p:cNvSpPr>
          <p:nvPr/>
        </p:nvSpPr>
        <p:spPr bwMode="auto">
          <a:xfrm>
            <a:off x="876300" y="1586364"/>
            <a:ext cx="2058988" cy="1236663"/>
          </a:xfrm>
          <a:custGeom>
            <a:avLst/>
            <a:gdLst>
              <a:gd name="T0" fmla="*/ 0 w 1297"/>
              <a:gd name="T1" fmla="*/ 0 h 779"/>
              <a:gd name="T2" fmla="*/ 2147483647 w 1297"/>
              <a:gd name="T3" fmla="*/ 0 h 779"/>
              <a:gd name="T4" fmla="*/ 2147483647 w 1297"/>
              <a:gd name="T5" fmla="*/ 2147483647 h 779"/>
              <a:gd name="T6" fmla="*/ 2147483647 w 1297"/>
              <a:gd name="T7" fmla="*/ 2147483647 h 779"/>
              <a:gd name="T8" fmla="*/ 2147483647 w 1297"/>
              <a:gd name="T9" fmla="*/ 2147483647 h 779"/>
              <a:gd name="T10" fmla="*/ 2147483647 w 1297"/>
              <a:gd name="T11" fmla="*/ 2147483647 h 779"/>
              <a:gd name="T12" fmla="*/ 2147483647 w 1297"/>
              <a:gd name="T13" fmla="*/ 2147483647 h 779"/>
              <a:gd name="T14" fmla="*/ 2147483647 w 1297"/>
              <a:gd name="T15" fmla="*/ 2147483647 h 779"/>
              <a:gd name="T16" fmla="*/ 2147483647 w 1297"/>
              <a:gd name="T17" fmla="*/ 2147483647 h 779"/>
              <a:gd name="T18" fmla="*/ 2147483647 w 1297"/>
              <a:gd name="T19" fmla="*/ 2147483647 h 779"/>
              <a:gd name="T20" fmla="*/ 0 w 1297"/>
              <a:gd name="T21" fmla="*/ 2147483647 h 779"/>
              <a:gd name="T22" fmla="*/ 0 w 1297"/>
              <a:gd name="T23" fmla="*/ 0 h 7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7"/>
              <a:gd name="T37" fmla="*/ 0 h 779"/>
              <a:gd name="T38" fmla="*/ 1297 w 1297"/>
              <a:gd name="T39" fmla="*/ 779 h 7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7" h="779">
                <a:moveTo>
                  <a:pt x="0" y="0"/>
                </a:moveTo>
                <a:lnTo>
                  <a:pt x="864" y="0"/>
                </a:lnTo>
                <a:lnTo>
                  <a:pt x="864" y="343"/>
                </a:lnTo>
                <a:lnTo>
                  <a:pt x="1122" y="347"/>
                </a:lnTo>
                <a:lnTo>
                  <a:pt x="1122" y="259"/>
                </a:lnTo>
                <a:lnTo>
                  <a:pt x="1296" y="504"/>
                </a:lnTo>
                <a:lnTo>
                  <a:pt x="1122" y="778"/>
                </a:lnTo>
                <a:lnTo>
                  <a:pt x="1123" y="692"/>
                </a:lnTo>
                <a:lnTo>
                  <a:pt x="475" y="689"/>
                </a:lnTo>
                <a:lnTo>
                  <a:pt x="475" y="346"/>
                </a:lnTo>
                <a:lnTo>
                  <a:pt x="0" y="346"/>
                </a:lnTo>
                <a:lnTo>
                  <a:pt x="0" y="0"/>
                </a:lnTo>
              </a:path>
            </a:pathLst>
          </a:custGeom>
          <a:solidFill>
            <a:schemeClr val="accent3"/>
          </a:solidFill>
          <a:ln w="12700">
            <a:solidFill>
              <a:schemeClr val="bg2"/>
            </a:solidFill>
            <a:round/>
            <a:headEnd type="none" w="sm" len="sm"/>
            <a:tailEnd type="none" w="sm" len="sm"/>
          </a:ln>
        </p:spPr>
        <p:txBody>
          <a:bodyPr tIns="91440" bIns="91440" anchor="ctr"/>
          <a:lstStyle/>
          <a:p>
            <a:endParaRPr lang="en-GB"/>
          </a:p>
        </p:txBody>
      </p:sp>
      <p:sp>
        <p:nvSpPr>
          <p:cNvPr id="820234" name="Rectangle 10"/>
          <p:cNvSpPr>
            <a:spLocks noChangeArrowheads="1"/>
          </p:cNvSpPr>
          <p:nvPr/>
        </p:nvSpPr>
        <p:spPr bwMode="auto">
          <a:xfrm>
            <a:off x="1044575" y="1732414"/>
            <a:ext cx="1176338" cy="265113"/>
          </a:xfrm>
          <a:prstGeom prst="rect">
            <a:avLst/>
          </a:prstGeom>
          <a:noFill/>
          <a:ln w="9525">
            <a:noFill/>
            <a:miter lim="800000"/>
            <a:headEnd/>
            <a:tailEnd/>
          </a:ln>
        </p:spPr>
        <p:txBody>
          <a:bodyPr lIns="69850" tIns="36512" rIns="69850" bIns="36512">
            <a:spAutoFit/>
          </a:bodyPr>
          <a:lstStyle/>
          <a:p>
            <a:pPr algn="ctr" defTabSz="536575">
              <a:lnSpc>
                <a:spcPct val="90000"/>
              </a:lnSpc>
            </a:pPr>
            <a:r>
              <a:rPr lang="en-GB" altLang="ja-JP" sz="1400">
                <a:solidFill>
                  <a:schemeClr val="bg1"/>
                </a:solidFill>
                <a:ea typeface="ＭＳ Ｐゴシック" charset="-128"/>
              </a:rPr>
              <a:t>Text</a:t>
            </a:r>
          </a:p>
        </p:txBody>
      </p:sp>
      <p:sp>
        <p:nvSpPr>
          <p:cNvPr id="1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5"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1250" name="Title 1"/>
          <p:cNvSpPr>
            <a:spLocks noGrp="1"/>
          </p:cNvSpPr>
          <p:nvPr>
            <p:ph type="title"/>
          </p:nvPr>
        </p:nvSpPr>
        <p:spPr/>
        <p:txBody>
          <a:bodyPr/>
          <a:lstStyle/>
          <a:p>
            <a:r>
              <a:rPr lang="nl-NL"/>
              <a:t>Diamond</a:t>
            </a:r>
          </a:p>
        </p:txBody>
      </p:sp>
      <p:sp>
        <p:nvSpPr>
          <p:cNvPr id="54" name="Oval 2"/>
          <p:cNvSpPr>
            <a:spLocks noChangeArrowheads="1"/>
          </p:cNvSpPr>
          <p:nvPr/>
        </p:nvSpPr>
        <p:spPr bwMode="gray">
          <a:xfrm>
            <a:off x="5557192" y="3486740"/>
            <a:ext cx="1666875" cy="766763"/>
          </a:xfrm>
          <a:prstGeom prst="ellipse">
            <a:avLst/>
          </a:prstGeom>
          <a:solidFill>
            <a:schemeClr val="accent3"/>
          </a:solidFill>
          <a:ln w="9525" algn="ctr">
            <a:noFill/>
            <a:round/>
            <a:headEnd/>
            <a:tailEnd/>
          </a:ln>
        </p:spPr>
        <p:txBody>
          <a:bodyPr anchor="ctr" anchorCtr="1"/>
          <a:lstStyle/>
          <a:p>
            <a:pPr algn="ctr" eaLnBrk="1" hangingPunct="1">
              <a:lnSpc>
                <a:spcPct val="106000"/>
              </a:lnSpc>
              <a:spcBef>
                <a:spcPct val="80000"/>
              </a:spcBef>
              <a:buClr>
                <a:schemeClr val="bg1"/>
              </a:buClr>
              <a:buFont typeface="Wingdings 2" pitchFamily="18" charset="2"/>
              <a:buNone/>
            </a:pPr>
            <a:r>
              <a:rPr lang="en-GB" altLang="ja-JP" sz="1400">
                <a:solidFill>
                  <a:schemeClr val="bg1"/>
                </a:solidFill>
                <a:ea typeface="ＭＳ Ｐゴシック" pitchFamily="50" charset="-128"/>
              </a:rPr>
              <a:t>Text</a:t>
            </a:r>
          </a:p>
        </p:txBody>
      </p:sp>
      <p:sp>
        <p:nvSpPr>
          <p:cNvPr id="55" name="Rectangle 54"/>
          <p:cNvSpPr>
            <a:spLocks noChangeArrowheads="1"/>
          </p:cNvSpPr>
          <p:nvPr/>
        </p:nvSpPr>
        <p:spPr bwMode="auto">
          <a:xfrm>
            <a:off x="5265092" y="2381840"/>
            <a:ext cx="1949450" cy="212725"/>
          </a:xfrm>
          <a:prstGeom prst="rect">
            <a:avLst/>
          </a:prstGeom>
          <a:noFill/>
          <a:ln w="9525">
            <a:noFill/>
            <a:miter lim="800000"/>
            <a:headEnd/>
            <a:tailEnd/>
          </a:ln>
        </p:spPr>
        <p:txBody>
          <a:bodyPr lIns="0" tIns="0" rIns="0" bIns="0" anchor="ctr">
            <a:spAutoFit/>
          </a:bodyPr>
          <a:lstStyle/>
          <a:p>
            <a:pPr marL="114300" indent="-114300">
              <a:spcBef>
                <a:spcPct val="0"/>
              </a:spcBef>
              <a:buSzPct val="70000"/>
              <a:buFont typeface="Marlett" pitchFamily="2" charset="2"/>
              <a:buChar char="8"/>
            </a:pPr>
            <a:endParaRPr lang="en-GB" sz="1400">
              <a:ea typeface="ＭＳ Ｐゴシック" pitchFamily="50" charset="-128"/>
            </a:endParaRPr>
          </a:p>
        </p:txBody>
      </p:sp>
      <p:sp>
        <p:nvSpPr>
          <p:cNvPr id="56" name="Rectangle 55"/>
          <p:cNvSpPr>
            <a:spLocks noChangeArrowheads="1"/>
          </p:cNvSpPr>
          <p:nvPr/>
        </p:nvSpPr>
        <p:spPr bwMode="auto">
          <a:xfrm>
            <a:off x="5504805" y="3905840"/>
            <a:ext cx="1701800" cy="212725"/>
          </a:xfrm>
          <a:prstGeom prst="rect">
            <a:avLst/>
          </a:prstGeom>
          <a:noFill/>
          <a:ln w="9525">
            <a:noFill/>
            <a:miter lim="800000"/>
            <a:headEnd/>
            <a:tailEnd/>
          </a:ln>
        </p:spPr>
        <p:txBody>
          <a:bodyPr lIns="0" tIns="0" rIns="0" bIns="0" anchor="ctr">
            <a:spAutoFit/>
          </a:bodyPr>
          <a:lstStyle/>
          <a:p>
            <a:pPr marL="114300" indent="-114300">
              <a:spcBef>
                <a:spcPct val="0"/>
              </a:spcBef>
              <a:buSzPct val="70000"/>
              <a:buFont typeface="Marlett" pitchFamily="2" charset="2"/>
              <a:buChar char="8"/>
            </a:pPr>
            <a:endParaRPr lang="en-GB" sz="1400">
              <a:ea typeface="ＭＳ Ｐゴシック" pitchFamily="50" charset="-128"/>
            </a:endParaRPr>
          </a:p>
        </p:txBody>
      </p:sp>
      <p:sp>
        <p:nvSpPr>
          <p:cNvPr id="57" name="Oval 56"/>
          <p:cNvSpPr>
            <a:spLocks noChangeArrowheads="1"/>
          </p:cNvSpPr>
          <p:nvPr/>
        </p:nvSpPr>
        <p:spPr bwMode="gray">
          <a:xfrm>
            <a:off x="2737792" y="4426540"/>
            <a:ext cx="1666875" cy="766763"/>
          </a:xfrm>
          <a:prstGeom prst="ellipse">
            <a:avLst/>
          </a:prstGeom>
          <a:solidFill>
            <a:schemeClr val="accent3"/>
          </a:solidFill>
          <a:ln w="9525" algn="ctr">
            <a:noFill/>
            <a:round/>
            <a:headEnd/>
            <a:tailEnd/>
          </a:ln>
        </p:spPr>
        <p:txBody>
          <a:bodyPr anchor="ctr" anchorCtr="1"/>
          <a:lstStyle/>
          <a:p>
            <a:pPr algn="ctr" eaLnBrk="1" hangingPunct="1">
              <a:lnSpc>
                <a:spcPct val="106000"/>
              </a:lnSpc>
              <a:spcBef>
                <a:spcPct val="80000"/>
              </a:spcBef>
              <a:buClr>
                <a:schemeClr val="bg1"/>
              </a:buClr>
              <a:buFont typeface="Wingdings 2" pitchFamily="18" charset="2"/>
              <a:buNone/>
            </a:pPr>
            <a:r>
              <a:rPr lang="en-GB" altLang="ja-JP" sz="1400">
                <a:solidFill>
                  <a:schemeClr val="bg1"/>
                </a:solidFill>
                <a:ea typeface="ＭＳ Ｐゴシック" pitchFamily="50" charset="-128"/>
              </a:rPr>
              <a:t>Text</a:t>
            </a:r>
          </a:p>
        </p:txBody>
      </p:sp>
      <p:sp>
        <p:nvSpPr>
          <p:cNvPr id="58" name="Oval 57"/>
          <p:cNvSpPr>
            <a:spLocks noChangeArrowheads="1"/>
          </p:cNvSpPr>
          <p:nvPr/>
        </p:nvSpPr>
        <p:spPr bwMode="gray">
          <a:xfrm>
            <a:off x="4750742" y="4426540"/>
            <a:ext cx="1668463" cy="766763"/>
          </a:xfrm>
          <a:prstGeom prst="ellipse">
            <a:avLst/>
          </a:prstGeom>
          <a:solidFill>
            <a:schemeClr val="accent3"/>
          </a:solidFill>
          <a:ln w="9525" algn="ctr">
            <a:noFill/>
            <a:round/>
            <a:headEnd/>
            <a:tailEnd/>
          </a:ln>
        </p:spPr>
        <p:txBody>
          <a:bodyPr anchor="ctr" anchorCtr="1"/>
          <a:lstStyle/>
          <a:p>
            <a:pPr algn="ctr" eaLnBrk="1" hangingPunct="1">
              <a:lnSpc>
                <a:spcPct val="106000"/>
              </a:lnSpc>
              <a:spcBef>
                <a:spcPct val="80000"/>
              </a:spcBef>
              <a:buClr>
                <a:schemeClr val="bg1"/>
              </a:buClr>
              <a:buFont typeface="Wingdings 2" pitchFamily="18" charset="2"/>
              <a:buNone/>
            </a:pPr>
            <a:r>
              <a:rPr lang="en-GB" altLang="ja-JP" sz="1400">
                <a:solidFill>
                  <a:schemeClr val="bg1"/>
                </a:solidFill>
                <a:ea typeface="ＭＳ Ｐゴシック" pitchFamily="50" charset="-128"/>
              </a:rPr>
              <a:t>Text</a:t>
            </a:r>
          </a:p>
        </p:txBody>
      </p:sp>
      <p:sp>
        <p:nvSpPr>
          <p:cNvPr id="59" name="Oval 58"/>
          <p:cNvSpPr>
            <a:spLocks noChangeArrowheads="1"/>
          </p:cNvSpPr>
          <p:nvPr/>
        </p:nvSpPr>
        <p:spPr bwMode="gray">
          <a:xfrm>
            <a:off x="3629967" y="2694578"/>
            <a:ext cx="1919288" cy="1233487"/>
          </a:xfrm>
          <a:prstGeom prst="ellipse">
            <a:avLst/>
          </a:prstGeom>
          <a:solidFill>
            <a:schemeClr val="accent3"/>
          </a:solidFill>
          <a:ln w="28575">
            <a:noFill/>
            <a:round/>
            <a:headEnd/>
            <a:tailEnd/>
          </a:ln>
        </p:spPr>
        <p:txBody>
          <a:bodyPr anchor="ctr" anchorCtr="1"/>
          <a:lstStyle/>
          <a:p>
            <a:pPr algn="ctr" eaLnBrk="1" hangingPunct="1">
              <a:lnSpc>
                <a:spcPct val="106000"/>
              </a:lnSpc>
              <a:spcBef>
                <a:spcPct val="80000"/>
              </a:spcBef>
              <a:buClr>
                <a:schemeClr val="bg1"/>
              </a:buClr>
              <a:buFont typeface="Wingdings 2" pitchFamily="18" charset="2"/>
              <a:buNone/>
              <a:defRPr/>
            </a:pPr>
            <a:r>
              <a:rPr lang="en-GB" altLang="ja-JP" sz="1400" b="1">
                <a:solidFill>
                  <a:schemeClr val="bg1"/>
                </a:solidFill>
                <a:ea typeface="ＭＳ Ｐゴシック" pitchFamily="50" charset="-128"/>
              </a:rPr>
              <a:t>Text</a:t>
            </a:r>
          </a:p>
        </p:txBody>
      </p:sp>
      <p:sp>
        <p:nvSpPr>
          <p:cNvPr id="60" name="Oval 59"/>
          <p:cNvSpPr>
            <a:spLocks noChangeArrowheads="1"/>
          </p:cNvSpPr>
          <p:nvPr/>
        </p:nvSpPr>
        <p:spPr bwMode="gray">
          <a:xfrm>
            <a:off x="3742680" y="1592853"/>
            <a:ext cx="1666875" cy="766762"/>
          </a:xfrm>
          <a:prstGeom prst="ellipse">
            <a:avLst/>
          </a:prstGeom>
          <a:solidFill>
            <a:schemeClr val="accent3"/>
          </a:solidFill>
          <a:ln w="9525" algn="ctr">
            <a:noFill/>
            <a:round/>
            <a:headEnd/>
            <a:tailEnd/>
          </a:ln>
        </p:spPr>
        <p:txBody>
          <a:bodyPr anchor="ctr" anchorCtr="1"/>
          <a:lstStyle/>
          <a:p>
            <a:pPr algn="ctr" eaLnBrk="1" hangingPunct="1">
              <a:lnSpc>
                <a:spcPct val="106000"/>
              </a:lnSpc>
              <a:spcBef>
                <a:spcPct val="80000"/>
              </a:spcBef>
              <a:buClr>
                <a:schemeClr val="bg1"/>
              </a:buClr>
              <a:buFont typeface="Wingdings 2" pitchFamily="18" charset="2"/>
              <a:buNone/>
            </a:pPr>
            <a:r>
              <a:rPr lang="en-GB" altLang="ja-JP" sz="1400">
                <a:solidFill>
                  <a:schemeClr val="bg1"/>
                </a:solidFill>
                <a:ea typeface="ＭＳ Ｐゴシック" pitchFamily="50" charset="-128"/>
              </a:rPr>
              <a:t>Text</a:t>
            </a:r>
          </a:p>
        </p:txBody>
      </p:sp>
      <p:sp>
        <p:nvSpPr>
          <p:cNvPr id="61" name="Oval 60"/>
          <p:cNvSpPr>
            <a:spLocks noChangeArrowheads="1"/>
          </p:cNvSpPr>
          <p:nvPr/>
        </p:nvSpPr>
        <p:spPr bwMode="gray">
          <a:xfrm>
            <a:off x="5557192" y="2358028"/>
            <a:ext cx="1666875" cy="768350"/>
          </a:xfrm>
          <a:prstGeom prst="ellipse">
            <a:avLst/>
          </a:prstGeom>
          <a:solidFill>
            <a:schemeClr val="accent3"/>
          </a:solidFill>
          <a:ln w="9525" algn="ctr">
            <a:noFill/>
            <a:round/>
            <a:headEnd/>
            <a:tailEnd/>
          </a:ln>
        </p:spPr>
        <p:txBody>
          <a:bodyPr anchor="ctr" anchorCtr="1"/>
          <a:lstStyle/>
          <a:p>
            <a:pPr algn="ctr" eaLnBrk="1" hangingPunct="1">
              <a:lnSpc>
                <a:spcPct val="106000"/>
              </a:lnSpc>
              <a:spcBef>
                <a:spcPct val="80000"/>
              </a:spcBef>
              <a:buClr>
                <a:schemeClr val="bg1"/>
              </a:buClr>
              <a:buFont typeface="Wingdings 2" pitchFamily="18" charset="2"/>
              <a:buNone/>
            </a:pPr>
            <a:r>
              <a:rPr lang="en-GB" altLang="ja-JP" sz="1400">
                <a:solidFill>
                  <a:schemeClr val="bg1"/>
                </a:solidFill>
                <a:ea typeface="ＭＳ Ｐゴシック" pitchFamily="50" charset="-128"/>
              </a:rPr>
              <a:t>Text</a:t>
            </a:r>
          </a:p>
        </p:txBody>
      </p:sp>
      <p:sp>
        <p:nvSpPr>
          <p:cNvPr id="62" name="Oval 61"/>
          <p:cNvSpPr>
            <a:spLocks noChangeArrowheads="1"/>
          </p:cNvSpPr>
          <p:nvPr/>
        </p:nvSpPr>
        <p:spPr bwMode="gray">
          <a:xfrm>
            <a:off x="1928167" y="2358028"/>
            <a:ext cx="1666875" cy="768350"/>
          </a:xfrm>
          <a:prstGeom prst="ellipse">
            <a:avLst/>
          </a:prstGeom>
          <a:solidFill>
            <a:schemeClr val="accent3"/>
          </a:solidFill>
          <a:ln w="9525" algn="ctr">
            <a:noFill/>
            <a:round/>
            <a:headEnd/>
            <a:tailEnd/>
          </a:ln>
        </p:spPr>
        <p:txBody>
          <a:bodyPr anchor="ctr" anchorCtr="1"/>
          <a:lstStyle/>
          <a:p>
            <a:pPr algn="ctr" eaLnBrk="1" hangingPunct="1">
              <a:lnSpc>
                <a:spcPct val="106000"/>
              </a:lnSpc>
              <a:spcBef>
                <a:spcPct val="80000"/>
              </a:spcBef>
              <a:buClr>
                <a:schemeClr val="bg1"/>
              </a:buClr>
              <a:buFont typeface="Wingdings 2" pitchFamily="18" charset="2"/>
              <a:buNone/>
            </a:pPr>
            <a:r>
              <a:rPr lang="en-GB" altLang="ja-JP" sz="1400">
                <a:solidFill>
                  <a:schemeClr val="bg1"/>
                </a:solidFill>
                <a:ea typeface="ＭＳ Ｐゴシック" pitchFamily="50" charset="-128"/>
              </a:rPr>
              <a:t>Text</a:t>
            </a:r>
          </a:p>
        </p:txBody>
      </p:sp>
      <p:sp>
        <p:nvSpPr>
          <p:cNvPr id="63" name="Oval 62"/>
          <p:cNvSpPr>
            <a:spLocks noChangeArrowheads="1"/>
          </p:cNvSpPr>
          <p:nvPr/>
        </p:nvSpPr>
        <p:spPr bwMode="gray">
          <a:xfrm>
            <a:off x="1928167" y="3486740"/>
            <a:ext cx="1666875" cy="766763"/>
          </a:xfrm>
          <a:prstGeom prst="ellipse">
            <a:avLst/>
          </a:prstGeom>
          <a:solidFill>
            <a:schemeClr val="accent3"/>
          </a:solidFill>
          <a:ln w="9525" algn="ctr">
            <a:noFill/>
            <a:round/>
            <a:headEnd/>
            <a:tailEnd/>
          </a:ln>
        </p:spPr>
        <p:txBody>
          <a:bodyPr anchor="ctr" anchorCtr="1"/>
          <a:lstStyle/>
          <a:p>
            <a:pPr algn="ctr" eaLnBrk="1" hangingPunct="1">
              <a:lnSpc>
                <a:spcPct val="106000"/>
              </a:lnSpc>
              <a:spcBef>
                <a:spcPct val="80000"/>
              </a:spcBef>
              <a:buClr>
                <a:schemeClr val="bg1"/>
              </a:buClr>
              <a:buFont typeface="Wingdings 2" pitchFamily="18" charset="2"/>
              <a:buNone/>
            </a:pPr>
            <a:r>
              <a:rPr lang="en-GB" altLang="ja-JP" sz="1400">
                <a:solidFill>
                  <a:schemeClr val="bg1"/>
                </a:solidFill>
                <a:ea typeface="ＭＳ Ｐゴシック" pitchFamily="50" charset="-128"/>
              </a:rPr>
              <a:t>Text</a:t>
            </a:r>
          </a:p>
        </p:txBody>
      </p:sp>
      <p:cxnSp>
        <p:nvCxnSpPr>
          <p:cNvPr id="64" name="AutoShape 13"/>
          <p:cNvCxnSpPr>
            <a:cxnSpLocks noChangeShapeType="1"/>
            <a:stCxn id="59" idx="0"/>
            <a:endCxn id="60" idx="4"/>
          </p:cNvCxnSpPr>
          <p:nvPr/>
        </p:nvCxnSpPr>
        <p:spPr bwMode="gray">
          <a:xfrm flipH="1" flipV="1">
            <a:off x="4576117" y="2359615"/>
            <a:ext cx="14288" cy="334963"/>
          </a:xfrm>
          <a:prstGeom prst="straightConnector1">
            <a:avLst/>
          </a:prstGeom>
          <a:noFill/>
          <a:ln w="12700">
            <a:solidFill>
              <a:schemeClr val="accent1"/>
            </a:solidFill>
            <a:round/>
            <a:headEnd type="triangle" w="med" len="med"/>
            <a:tailEnd type="triangle" w="med" len="med"/>
          </a:ln>
        </p:spPr>
      </p:cxnSp>
      <p:cxnSp>
        <p:nvCxnSpPr>
          <p:cNvPr id="65" name="AutoShape 14"/>
          <p:cNvCxnSpPr>
            <a:cxnSpLocks noChangeShapeType="1"/>
            <a:stCxn id="58" idx="2"/>
            <a:endCxn id="57" idx="6"/>
          </p:cNvCxnSpPr>
          <p:nvPr/>
        </p:nvCxnSpPr>
        <p:spPr bwMode="gray">
          <a:xfrm flipH="1">
            <a:off x="4404667" y="4810715"/>
            <a:ext cx="346075" cy="0"/>
          </a:xfrm>
          <a:prstGeom prst="straightConnector1">
            <a:avLst/>
          </a:prstGeom>
          <a:noFill/>
          <a:ln w="12700">
            <a:solidFill>
              <a:schemeClr val="accent1"/>
            </a:solidFill>
            <a:round/>
            <a:headEnd type="triangle" w="med" len="med"/>
            <a:tailEnd type="triangle" w="med" len="med"/>
          </a:ln>
        </p:spPr>
      </p:cxnSp>
      <p:cxnSp>
        <p:nvCxnSpPr>
          <p:cNvPr id="66" name="AutoShape 15"/>
          <p:cNvCxnSpPr>
            <a:cxnSpLocks noChangeShapeType="1"/>
            <a:stCxn id="60" idx="6"/>
            <a:endCxn id="61" idx="0"/>
          </p:cNvCxnSpPr>
          <p:nvPr/>
        </p:nvCxnSpPr>
        <p:spPr bwMode="gray">
          <a:xfrm>
            <a:off x="5409555" y="1977028"/>
            <a:ext cx="981075" cy="381000"/>
          </a:xfrm>
          <a:prstGeom prst="straightConnector1">
            <a:avLst/>
          </a:prstGeom>
          <a:noFill/>
          <a:ln w="12700">
            <a:solidFill>
              <a:schemeClr val="accent1"/>
            </a:solidFill>
            <a:round/>
            <a:headEnd type="triangle" w="med" len="med"/>
            <a:tailEnd type="triangle" w="med" len="med"/>
          </a:ln>
        </p:spPr>
      </p:cxnSp>
      <p:cxnSp>
        <p:nvCxnSpPr>
          <p:cNvPr id="67" name="AutoShape 16"/>
          <p:cNvCxnSpPr>
            <a:cxnSpLocks noChangeShapeType="1"/>
            <a:stCxn id="61" idx="4"/>
            <a:endCxn id="54" idx="0"/>
          </p:cNvCxnSpPr>
          <p:nvPr/>
        </p:nvCxnSpPr>
        <p:spPr bwMode="gray">
          <a:xfrm>
            <a:off x="6390630" y="3126378"/>
            <a:ext cx="0" cy="360362"/>
          </a:xfrm>
          <a:prstGeom prst="straightConnector1">
            <a:avLst/>
          </a:prstGeom>
          <a:noFill/>
          <a:ln w="12700">
            <a:solidFill>
              <a:schemeClr val="accent1"/>
            </a:solidFill>
            <a:round/>
            <a:headEnd type="triangle" w="med" len="med"/>
            <a:tailEnd type="triangle" w="med" len="med"/>
          </a:ln>
        </p:spPr>
      </p:cxnSp>
      <p:cxnSp>
        <p:nvCxnSpPr>
          <p:cNvPr id="68" name="AutoShape 17"/>
          <p:cNvCxnSpPr>
            <a:cxnSpLocks noChangeShapeType="1"/>
            <a:stCxn id="54" idx="3"/>
            <a:endCxn id="58" idx="0"/>
          </p:cNvCxnSpPr>
          <p:nvPr/>
        </p:nvCxnSpPr>
        <p:spPr bwMode="gray">
          <a:xfrm flipH="1">
            <a:off x="5585767" y="4140790"/>
            <a:ext cx="215900" cy="285750"/>
          </a:xfrm>
          <a:prstGeom prst="straightConnector1">
            <a:avLst/>
          </a:prstGeom>
          <a:noFill/>
          <a:ln w="12700">
            <a:solidFill>
              <a:schemeClr val="accent1"/>
            </a:solidFill>
            <a:round/>
            <a:headEnd type="triangle" w="med" len="med"/>
            <a:tailEnd type="triangle" w="med" len="med"/>
          </a:ln>
        </p:spPr>
      </p:cxnSp>
      <p:cxnSp>
        <p:nvCxnSpPr>
          <p:cNvPr id="69" name="AutoShape 18"/>
          <p:cNvCxnSpPr>
            <a:cxnSpLocks noChangeShapeType="1"/>
            <a:stCxn id="57" idx="1"/>
            <a:endCxn id="63" idx="4"/>
          </p:cNvCxnSpPr>
          <p:nvPr/>
        </p:nvCxnSpPr>
        <p:spPr bwMode="gray">
          <a:xfrm flipH="1" flipV="1">
            <a:off x="2761605" y="4253503"/>
            <a:ext cx="220662" cy="285750"/>
          </a:xfrm>
          <a:prstGeom prst="straightConnector1">
            <a:avLst/>
          </a:prstGeom>
          <a:noFill/>
          <a:ln w="12700">
            <a:solidFill>
              <a:schemeClr val="accent1"/>
            </a:solidFill>
            <a:round/>
            <a:headEnd type="triangle" w="med" len="med"/>
            <a:tailEnd type="triangle" w="med" len="med"/>
          </a:ln>
        </p:spPr>
      </p:cxnSp>
      <p:cxnSp>
        <p:nvCxnSpPr>
          <p:cNvPr id="70" name="AutoShape 19"/>
          <p:cNvCxnSpPr>
            <a:cxnSpLocks noChangeShapeType="1"/>
            <a:stCxn id="62" idx="4"/>
            <a:endCxn id="63" idx="0"/>
          </p:cNvCxnSpPr>
          <p:nvPr/>
        </p:nvCxnSpPr>
        <p:spPr bwMode="gray">
          <a:xfrm rot="5400000">
            <a:off x="2581424" y="3306559"/>
            <a:ext cx="360362" cy="1588"/>
          </a:xfrm>
          <a:prstGeom prst="straightConnector1">
            <a:avLst/>
          </a:prstGeom>
          <a:noFill/>
          <a:ln w="12700">
            <a:solidFill>
              <a:schemeClr val="accent1"/>
            </a:solidFill>
            <a:round/>
            <a:headEnd type="triangle" w="med" len="med"/>
            <a:tailEnd type="triangle" w="med" len="med"/>
          </a:ln>
        </p:spPr>
      </p:cxnSp>
      <p:cxnSp>
        <p:nvCxnSpPr>
          <p:cNvPr id="71" name="AutoShape 20"/>
          <p:cNvCxnSpPr>
            <a:cxnSpLocks noChangeShapeType="1"/>
            <a:stCxn id="62" idx="0"/>
            <a:endCxn id="60" idx="2"/>
          </p:cNvCxnSpPr>
          <p:nvPr/>
        </p:nvCxnSpPr>
        <p:spPr bwMode="auto">
          <a:xfrm rot="5400000" flipH="1" flipV="1">
            <a:off x="3061245" y="1676594"/>
            <a:ext cx="381794" cy="981075"/>
          </a:xfrm>
          <a:prstGeom prst="straightConnector1">
            <a:avLst/>
          </a:prstGeom>
          <a:noFill/>
          <a:ln w="12700">
            <a:solidFill>
              <a:schemeClr val="accent1"/>
            </a:solidFill>
            <a:round/>
            <a:headEnd type="triangle" w="med" len="med"/>
            <a:tailEnd type="triangle" w="med" len="med"/>
          </a:ln>
        </p:spPr>
      </p:cxnSp>
      <p:cxnSp>
        <p:nvCxnSpPr>
          <p:cNvPr id="72" name="AutoShape 21"/>
          <p:cNvCxnSpPr>
            <a:cxnSpLocks noChangeShapeType="1"/>
            <a:stCxn id="59" idx="3"/>
            <a:endCxn id="63" idx="6"/>
          </p:cNvCxnSpPr>
          <p:nvPr/>
        </p:nvCxnSpPr>
        <p:spPr bwMode="gray">
          <a:xfrm flipH="1">
            <a:off x="3595042" y="3747090"/>
            <a:ext cx="315913" cy="123825"/>
          </a:xfrm>
          <a:prstGeom prst="straightConnector1">
            <a:avLst/>
          </a:prstGeom>
          <a:noFill/>
          <a:ln w="12700">
            <a:solidFill>
              <a:schemeClr val="accent1"/>
            </a:solidFill>
            <a:round/>
            <a:headEnd type="triangle" w="med" len="med"/>
            <a:tailEnd type="triangle" w="med" len="med"/>
          </a:ln>
        </p:spPr>
      </p:cxnSp>
      <p:cxnSp>
        <p:nvCxnSpPr>
          <p:cNvPr id="73" name="AutoShape 22"/>
          <p:cNvCxnSpPr>
            <a:cxnSpLocks noChangeShapeType="1"/>
            <a:stCxn id="59" idx="5"/>
            <a:endCxn id="54" idx="2"/>
          </p:cNvCxnSpPr>
          <p:nvPr/>
        </p:nvCxnSpPr>
        <p:spPr bwMode="gray">
          <a:xfrm>
            <a:off x="5268267" y="3747090"/>
            <a:ext cx="288925" cy="123825"/>
          </a:xfrm>
          <a:prstGeom prst="straightConnector1">
            <a:avLst/>
          </a:prstGeom>
          <a:noFill/>
          <a:ln w="12700">
            <a:solidFill>
              <a:schemeClr val="accent1"/>
            </a:solidFill>
            <a:round/>
            <a:headEnd type="triangle" w="med" len="med"/>
            <a:tailEnd type="triangle" w="med" len="med"/>
          </a:ln>
        </p:spPr>
      </p:cxnSp>
      <p:cxnSp>
        <p:nvCxnSpPr>
          <p:cNvPr id="74" name="AutoShape 23"/>
          <p:cNvCxnSpPr>
            <a:cxnSpLocks noChangeShapeType="1"/>
            <a:stCxn id="59" idx="7"/>
            <a:endCxn id="61" idx="2"/>
          </p:cNvCxnSpPr>
          <p:nvPr/>
        </p:nvCxnSpPr>
        <p:spPr bwMode="gray">
          <a:xfrm flipV="1">
            <a:off x="5268267" y="2742203"/>
            <a:ext cx="288925" cy="133350"/>
          </a:xfrm>
          <a:prstGeom prst="straightConnector1">
            <a:avLst/>
          </a:prstGeom>
          <a:noFill/>
          <a:ln w="12700">
            <a:solidFill>
              <a:schemeClr val="accent1"/>
            </a:solidFill>
            <a:round/>
            <a:headEnd type="triangle" w="med" len="med"/>
            <a:tailEnd type="triangle" w="med" len="med"/>
          </a:ln>
        </p:spPr>
      </p:cxnSp>
      <p:cxnSp>
        <p:nvCxnSpPr>
          <p:cNvPr id="75" name="AutoShape 24"/>
          <p:cNvCxnSpPr>
            <a:cxnSpLocks noChangeShapeType="1"/>
            <a:stCxn id="62" idx="6"/>
            <a:endCxn id="59" idx="1"/>
          </p:cNvCxnSpPr>
          <p:nvPr/>
        </p:nvCxnSpPr>
        <p:spPr bwMode="gray">
          <a:xfrm>
            <a:off x="3595042" y="2742203"/>
            <a:ext cx="315998" cy="133015"/>
          </a:xfrm>
          <a:prstGeom prst="straightConnector1">
            <a:avLst/>
          </a:prstGeom>
          <a:noFill/>
          <a:ln w="12700">
            <a:solidFill>
              <a:schemeClr val="accent1"/>
            </a:solidFill>
            <a:round/>
            <a:headEnd type="triangle" w="med" len="med"/>
            <a:tailEnd type="triangle" w="med" len="med"/>
          </a:ln>
        </p:spPr>
      </p:cxnSp>
      <p:cxnSp>
        <p:nvCxnSpPr>
          <p:cNvPr id="76" name="AutoShape 25"/>
          <p:cNvCxnSpPr>
            <a:cxnSpLocks noChangeShapeType="1"/>
            <a:stCxn id="57" idx="7"/>
            <a:endCxn id="59" idx="4"/>
          </p:cNvCxnSpPr>
          <p:nvPr/>
        </p:nvCxnSpPr>
        <p:spPr bwMode="gray">
          <a:xfrm flipV="1">
            <a:off x="4160192" y="3928065"/>
            <a:ext cx="430213" cy="611188"/>
          </a:xfrm>
          <a:prstGeom prst="straightConnector1">
            <a:avLst/>
          </a:prstGeom>
          <a:noFill/>
          <a:ln w="12700">
            <a:solidFill>
              <a:schemeClr val="accent1"/>
            </a:solidFill>
            <a:round/>
            <a:headEnd type="triangle" w="med" len="med"/>
            <a:tailEnd type="triangle" w="med" len="med"/>
          </a:ln>
        </p:spPr>
      </p:cxnSp>
      <p:cxnSp>
        <p:nvCxnSpPr>
          <p:cNvPr id="77" name="AutoShape 26"/>
          <p:cNvCxnSpPr>
            <a:cxnSpLocks noChangeShapeType="1"/>
            <a:stCxn id="58" idx="1"/>
            <a:endCxn id="59" idx="4"/>
          </p:cNvCxnSpPr>
          <p:nvPr/>
        </p:nvCxnSpPr>
        <p:spPr bwMode="gray">
          <a:xfrm flipH="1" flipV="1">
            <a:off x="4590405" y="3928065"/>
            <a:ext cx="404812" cy="611188"/>
          </a:xfrm>
          <a:prstGeom prst="straightConnector1">
            <a:avLst/>
          </a:prstGeom>
          <a:noFill/>
          <a:ln w="12700">
            <a:solidFill>
              <a:schemeClr val="accent1"/>
            </a:solidFill>
            <a:round/>
            <a:headEnd type="triangle" w="med" len="med"/>
            <a:tailEnd type="triangle" w="med" len="med"/>
          </a:ln>
        </p:spPr>
      </p:cxnSp>
      <p:sp>
        <p:nvSpPr>
          <p:cNvPr id="30"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31"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2273" name="Title 1"/>
          <p:cNvSpPr>
            <a:spLocks noGrp="1"/>
          </p:cNvSpPr>
          <p:nvPr>
            <p:ph type="title"/>
          </p:nvPr>
        </p:nvSpPr>
        <p:spPr/>
        <p:txBody>
          <a:bodyPr/>
          <a:lstStyle/>
          <a:p>
            <a:r>
              <a:rPr lang="en-GB"/>
              <a:t>Leverage</a:t>
            </a:r>
            <a:endParaRPr lang="nl-NL"/>
          </a:p>
        </p:txBody>
      </p:sp>
      <p:sp>
        <p:nvSpPr>
          <p:cNvPr id="10" name="Freeform 3"/>
          <p:cNvSpPr>
            <a:spLocks/>
          </p:cNvSpPr>
          <p:nvPr/>
        </p:nvSpPr>
        <p:spPr bwMode="blackWhite">
          <a:xfrm>
            <a:off x="4167188" y="4519478"/>
            <a:ext cx="561975" cy="439738"/>
          </a:xfrm>
          <a:custGeom>
            <a:avLst/>
            <a:gdLst>
              <a:gd name="T0" fmla="*/ 0 w 321"/>
              <a:gd name="T1" fmla="*/ 2147483647 h 241"/>
              <a:gd name="T2" fmla="*/ 2147483647 w 321"/>
              <a:gd name="T3" fmla="*/ 2147483647 h 241"/>
              <a:gd name="T4" fmla="*/ 2147483647 w 321"/>
              <a:gd name="T5" fmla="*/ 0 h 241"/>
              <a:gd name="T6" fmla="*/ 0 w 321"/>
              <a:gd name="T7" fmla="*/ 2147483647 h 241"/>
              <a:gd name="T8" fmla="*/ 0 60000 65536"/>
              <a:gd name="T9" fmla="*/ 0 60000 65536"/>
              <a:gd name="T10" fmla="*/ 0 60000 65536"/>
              <a:gd name="T11" fmla="*/ 0 60000 65536"/>
              <a:gd name="T12" fmla="*/ 0 w 321"/>
              <a:gd name="T13" fmla="*/ 0 h 241"/>
              <a:gd name="T14" fmla="*/ 321 w 321"/>
              <a:gd name="T15" fmla="*/ 241 h 241"/>
            </a:gdLst>
            <a:ahLst/>
            <a:cxnLst>
              <a:cxn ang="T8">
                <a:pos x="T0" y="T1"/>
              </a:cxn>
              <a:cxn ang="T9">
                <a:pos x="T2" y="T3"/>
              </a:cxn>
              <a:cxn ang="T10">
                <a:pos x="T4" y="T5"/>
              </a:cxn>
              <a:cxn ang="T11">
                <a:pos x="T6" y="T7"/>
              </a:cxn>
            </a:cxnLst>
            <a:rect l="T12" t="T13" r="T14" b="T15"/>
            <a:pathLst>
              <a:path w="321" h="241">
                <a:moveTo>
                  <a:pt x="0" y="240"/>
                </a:moveTo>
                <a:lnTo>
                  <a:pt x="320" y="240"/>
                </a:lnTo>
                <a:lnTo>
                  <a:pt x="160" y="0"/>
                </a:lnTo>
                <a:lnTo>
                  <a:pt x="0" y="240"/>
                </a:lnTo>
              </a:path>
            </a:pathLst>
          </a:custGeom>
          <a:solidFill>
            <a:schemeClr val="accent2"/>
          </a:solidFill>
          <a:ln w="12700" cap="rnd">
            <a:solidFill>
              <a:schemeClr val="bg1"/>
            </a:solidFill>
            <a:round/>
            <a:headEnd/>
            <a:tailEnd/>
          </a:ln>
        </p:spPr>
        <p:txBody>
          <a:bodyPr/>
          <a:lstStyle/>
          <a:p>
            <a:pPr>
              <a:defRPr/>
            </a:pPr>
            <a:endParaRPr lang="en-GB"/>
          </a:p>
        </p:txBody>
      </p:sp>
      <p:sp>
        <p:nvSpPr>
          <p:cNvPr id="11" name="Freeform 4"/>
          <p:cNvSpPr>
            <a:spLocks/>
          </p:cNvSpPr>
          <p:nvPr/>
        </p:nvSpPr>
        <p:spPr bwMode="blackWhite">
          <a:xfrm>
            <a:off x="2116138" y="3727316"/>
            <a:ext cx="4537075" cy="1292225"/>
          </a:xfrm>
          <a:custGeom>
            <a:avLst/>
            <a:gdLst>
              <a:gd name="T0" fmla="*/ 2147483647 w 2599"/>
              <a:gd name="T1" fmla="*/ 0 h 704"/>
              <a:gd name="T2" fmla="*/ 0 w 2599"/>
              <a:gd name="T3" fmla="*/ 2147483647 h 704"/>
              <a:gd name="T4" fmla="*/ 2147483647 w 2599"/>
              <a:gd name="T5" fmla="*/ 2147483647 h 704"/>
              <a:gd name="T6" fmla="*/ 2147483647 w 2599"/>
              <a:gd name="T7" fmla="*/ 2147483647 h 704"/>
              <a:gd name="T8" fmla="*/ 2147483647 w 2599"/>
              <a:gd name="T9" fmla="*/ 0 h 704"/>
              <a:gd name="T10" fmla="*/ 0 60000 65536"/>
              <a:gd name="T11" fmla="*/ 0 60000 65536"/>
              <a:gd name="T12" fmla="*/ 0 60000 65536"/>
              <a:gd name="T13" fmla="*/ 0 60000 65536"/>
              <a:gd name="T14" fmla="*/ 0 60000 65536"/>
              <a:gd name="T15" fmla="*/ 0 w 2599"/>
              <a:gd name="T16" fmla="*/ 0 h 704"/>
              <a:gd name="T17" fmla="*/ 2599 w 2599"/>
              <a:gd name="T18" fmla="*/ 704 h 704"/>
            </a:gdLst>
            <a:ahLst/>
            <a:cxnLst>
              <a:cxn ang="T10">
                <a:pos x="T0" y="T1"/>
              </a:cxn>
              <a:cxn ang="T11">
                <a:pos x="T2" y="T3"/>
              </a:cxn>
              <a:cxn ang="T12">
                <a:pos x="T4" y="T5"/>
              </a:cxn>
              <a:cxn ang="T13">
                <a:pos x="T6" y="T7"/>
              </a:cxn>
              <a:cxn ang="T14">
                <a:pos x="T8" y="T9"/>
              </a:cxn>
            </a:cxnLst>
            <a:rect l="T15" t="T16" r="T17" b="T18"/>
            <a:pathLst>
              <a:path w="2599" h="704">
                <a:moveTo>
                  <a:pt x="16" y="0"/>
                </a:moveTo>
                <a:lnTo>
                  <a:pt x="0" y="72"/>
                </a:lnTo>
                <a:lnTo>
                  <a:pt x="2582" y="703"/>
                </a:lnTo>
                <a:lnTo>
                  <a:pt x="2598" y="631"/>
                </a:lnTo>
                <a:lnTo>
                  <a:pt x="16" y="0"/>
                </a:lnTo>
              </a:path>
            </a:pathLst>
          </a:custGeom>
          <a:solidFill>
            <a:schemeClr val="accent3"/>
          </a:solidFill>
          <a:ln w="12700" cap="rnd">
            <a:solidFill>
              <a:schemeClr val="bg1"/>
            </a:solidFill>
            <a:round/>
            <a:headEnd/>
            <a:tailEnd/>
          </a:ln>
        </p:spPr>
        <p:txBody>
          <a:bodyPr/>
          <a:lstStyle/>
          <a:p>
            <a:pPr>
              <a:defRPr/>
            </a:pPr>
            <a:endParaRPr lang="en-GB"/>
          </a:p>
        </p:txBody>
      </p:sp>
      <p:sp>
        <p:nvSpPr>
          <p:cNvPr id="822277" name="Oval 5"/>
          <p:cNvSpPr>
            <a:spLocks noChangeArrowheads="1"/>
          </p:cNvSpPr>
          <p:nvPr/>
        </p:nvSpPr>
        <p:spPr bwMode="blackWhite">
          <a:xfrm>
            <a:off x="5808663" y="3479666"/>
            <a:ext cx="1203325" cy="1266825"/>
          </a:xfrm>
          <a:prstGeom prst="ellipse">
            <a:avLst/>
          </a:prstGeom>
          <a:solidFill>
            <a:schemeClr val="tx2"/>
          </a:solidFill>
          <a:ln w="12700">
            <a:solidFill>
              <a:schemeClr val="bg1"/>
            </a:solidFill>
            <a:round/>
            <a:headEnd/>
            <a:tailEnd/>
          </a:ln>
        </p:spPr>
        <p:txBody>
          <a:bodyPr wrap="none" anchor="ctr"/>
          <a:lstStyle/>
          <a:p>
            <a:pPr algn="ctr"/>
            <a:r>
              <a:rPr lang="en-GB" sz="1400">
                <a:solidFill>
                  <a:schemeClr val="bg1"/>
                </a:solidFill>
              </a:rPr>
              <a:t>Text</a:t>
            </a:r>
          </a:p>
        </p:txBody>
      </p:sp>
      <p:sp>
        <p:nvSpPr>
          <p:cNvPr id="13" name="Arc 6"/>
          <p:cNvSpPr>
            <a:spLocks/>
          </p:cNvSpPr>
          <p:nvPr/>
        </p:nvSpPr>
        <p:spPr bwMode="blackWhite">
          <a:xfrm>
            <a:off x="2235200" y="2328728"/>
            <a:ext cx="1449388" cy="1981200"/>
          </a:xfrm>
          <a:custGeom>
            <a:avLst/>
            <a:gdLst>
              <a:gd name="T0" fmla="*/ 0 w 20759"/>
              <a:gd name="T1" fmla="*/ 2147483647 h 20020"/>
              <a:gd name="T2" fmla="*/ 2147483647 w 20759"/>
              <a:gd name="T3" fmla="*/ 0 h 20020"/>
              <a:gd name="T4" fmla="*/ 2147483647 w 20759"/>
              <a:gd name="T5" fmla="*/ 2147483647 h 20020"/>
              <a:gd name="T6" fmla="*/ 0 60000 65536"/>
              <a:gd name="T7" fmla="*/ 0 60000 65536"/>
              <a:gd name="T8" fmla="*/ 0 60000 65536"/>
              <a:gd name="T9" fmla="*/ 0 w 20759"/>
              <a:gd name="T10" fmla="*/ 0 h 20020"/>
              <a:gd name="T11" fmla="*/ 20759 w 20759"/>
              <a:gd name="T12" fmla="*/ 20020 h 20020"/>
            </a:gdLst>
            <a:ahLst/>
            <a:cxnLst>
              <a:cxn ang="T6">
                <a:pos x="T0" y="T1"/>
              </a:cxn>
              <a:cxn ang="T7">
                <a:pos x="T2" y="T3"/>
              </a:cxn>
              <a:cxn ang="T8">
                <a:pos x="T4" y="T5"/>
              </a:cxn>
            </a:cxnLst>
            <a:rect l="T9" t="T10" r="T11" b="T12"/>
            <a:pathLst>
              <a:path w="20759" h="20020" fill="none" extrusionOk="0">
                <a:moveTo>
                  <a:pt x="0" y="14051"/>
                </a:moveTo>
                <a:cubicBezTo>
                  <a:pt x="1834" y="7672"/>
                  <a:pt x="6499" y="2491"/>
                  <a:pt x="12650" y="-1"/>
                </a:cubicBezTo>
              </a:path>
              <a:path w="20759" h="20020" stroke="0" extrusionOk="0">
                <a:moveTo>
                  <a:pt x="0" y="14051"/>
                </a:moveTo>
                <a:cubicBezTo>
                  <a:pt x="1834" y="7672"/>
                  <a:pt x="6499" y="2491"/>
                  <a:pt x="12650" y="-1"/>
                </a:cubicBezTo>
                <a:lnTo>
                  <a:pt x="20759" y="20020"/>
                </a:lnTo>
                <a:close/>
              </a:path>
            </a:pathLst>
          </a:custGeom>
          <a:noFill/>
          <a:ln w="19050" cap="rnd">
            <a:solidFill>
              <a:schemeClr val="accent3"/>
            </a:solidFill>
            <a:prstDash val="sysDot"/>
            <a:round/>
            <a:headEnd type="none" w="sm" len="sm"/>
            <a:tailEnd type="none" w="sm" len="sm"/>
          </a:ln>
        </p:spPr>
        <p:txBody>
          <a:bodyPr wrap="none" anchor="ctr"/>
          <a:lstStyle/>
          <a:p>
            <a:pPr algn="ctr">
              <a:defRPr/>
            </a:pPr>
            <a:endParaRPr lang="en-GB" sz="1400"/>
          </a:p>
        </p:txBody>
      </p:sp>
      <p:sp>
        <p:nvSpPr>
          <p:cNvPr id="822279" name="Oval 7"/>
          <p:cNvSpPr>
            <a:spLocks noChangeArrowheads="1"/>
          </p:cNvSpPr>
          <p:nvPr/>
        </p:nvSpPr>
        <p:spPr bwMode="blackWhite">
          <a:xfrm>
            <a:off x="3098800" y="2060441"/>
            <a:ext cx="338138" cy="355600"/>
          </a:xfrm>
          <a:prstGeom prst="ellipse">
            <a:avLst/>
          </a:prstGeom>
          <a:solidFill>
            <a:schemeClr val="tx2"/>
          </a:solidFill>
          <a:ln w="12700">
            <a:solidFill>
              <a:schemeClr val="bg1"/>
            </a:solidFill>
            <a:round/>
            <a:headEnd/>
            <a:tailEnd/>
          </a:ln>
        </p:spPr>
        <p:txBody>
          <a:bodyPr wrap="none" anchor="ctr"/>
          <a:lstStyle/>
          <a:p>
            <a:pPr algn="ctr"/>
            <a:endParaRPr lang="en-GB" sz="1400"/>
          </a:p>
        </p:txBody>
      </p:sp>
      <p:sp>
        <p:nvSpPr>
          <p:cNvPr id="822280" name="Rectangle 8"/>
          <p:cNvSpPr>
            <a:spLocks noChangeArrowheads="1"/>
          </p:cNvSpPr>
          <p:nvPr/>
        </p:nvSpPr>
        <p:spPr bwMode="auto">
          <a:xfrm>
            <a:off x="2901950" y="1666741"/>
            <a:ext cx="731838" cy="204787"/>
          </a:xfrm>
          <a:prstGeom prst="rect">
            <a:avLst/>
          </a:prstGeom>
          <a:noFill/>
          <a:ln w="9525">
            <a:noFill/>
            <a:miter lim="800000"/>
            <a:headEnd/>
            <a:tailEnd/>
          </a:ln>
        </p:spPr>
        <p:txBody>
          <a:bodyPr lIns="0" tIns="0" rIns="0" bIns="0">
            <a:spAutoFit/>
          </a:bodyPr>
          <a:lstStyle/>
          <a:p>
            <a:pPr algn="ctr" defTabSz="787400">
              <a:lnSpc>
                <a:spcPct val="95000"/>
              </a:lnSpc>
              <a:spcBef>
                <a:spcPct val="80000"/>
              </a:spcBef>
              <a:buClr>
                <a:schemeClr val="tx1"/>
              </a:buClr>
              <a:buFont typeface="Wingdings 2" pitchFamily="18" charset="2"/>
              <a:buNone/>
            </a:pPr>
            <a:r>
              <a:rPr lang="en-GB" sz="1400">
                <a:solidFill>
                  <a:schemeClr val="tx2"/>
                </a:solidFill>
              </a:rPr>
              <a:t>Text</a:t>
            </a:r>
          </a:p>
        </p:txBody>
      </p:sp>
      <p:sp>
        <p:nvSpPr>
          <p:cNvPr id="1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5"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3297" name="Title 1"/>
          <p:cNvSpPr>
            <a:spLocks noGrp="1"/>
          </p:cNvSpPr>
          <p:nvPr>
            <p:ph type="title"/>
          </p:nvPr>
        </p:nvSpPr>
        <p:spPr/>
        <p:txBody>
          <a:bodyPr/>
          <a:lstStyle/>
          <a:p>
            <a:r>
              <a:rPr lang="nl-NL"/>
              <a:t>Balance one</a:t>
            </a:r>
          </a:p>
        </p:txBody>
      </p:sp>
      <p:sp>
        <p:nvSpPr>
          <p:cNvPr id="5" name="AutoShape 3"/>
          <p:cNvSpPr>
            <a:spLocks noChangeArrowheads="1"/>
          </p:cNvSpPr>
          <p:nvPr/>
        </p:nvSpPr>
        <p:spPr bwMode="auto">
          <a:xfrm flipV="1">
            <a:off x="4266384" y="5500688"/>
            <a:ext cx="598488" cy="520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6772 w 21600"/>
              <a:gd name="T13" fmla="*/ 6772 h 21600"/>
              <a:gd name="T14" fmla="*/ 14828 w 21600"/>
              <a:gd name="T15" fmla="*/ 14828 h 21600"/>
            </a:gdLst>
            <a:ahLst/>
            <a:cxnLst>
              <a:cxn ang="T8">
                <a:pos x="T0" y="T1"/>
              </a:cxn>
              <a:cxn ang="T9">
                <a:pos x="T2" y="T3"/>
              </a:cxn>
              <a:cxn ang="T10">
                <a:pos x="T4" y="T5"/>
              </a:cxn>
              <a:cxn ang="T11">
                <a:pos x="T6" y="T7"/>
              </a:cxn>
            </a:cxnLst>
            <a:rect l="T12" t="T13" r="T14" b="T15"/>
            <a:pathLst>
              <a:path w="21600" h="21600">
                <a:moveTo>
                  <a:pt x="0" y="0"/>
                </a:moveTo>
                <a:lnTo>
                  <a:pt x="9943" y="21600"/>
                </a:lnTo>
                <a:lnTo>
                  <a:pt x="11657" y="21600"/>
                </a:lnTo>
                <a:lnTo>
                  <a:pt x="21600" y="0"/>
                </a:lnTo>
                <a:close/>
              </a:path>
            </a:pathLst>
          </a:custGeom>
          <a:solidFill>
            <a:schemeClr val="accent3"/>
          </a:solidFill>
          <a:ln w="12700">
            <a:noFill/>
            <a:miter lim="800000"/>
            <a:headEnd/>
            <a:tailEnd/>
          </a:ln>
        </p:spPr>
        <p:txBody>
          <a:bodyPr rot="10800000" wrap="none" anchor="ctr"/>
          <a:lstStyle/>
          <a:p>
            <a:pPr algn="ctr">
              <a:defRPr/>
            </a:pPr>
            <a:endParaRPr lang="en-GB" sz="1400"/>
          </a:p>
        </p:txBody>
      </p:sp>
      <p:sp>
        <p:nvSpPr>
          <p:cNvPr id="6" name="Line 4"/>
          <p:cNvSpPr>
            <a:spLocks noChangeShapeType="1"/>
          </p:cNvSpPr>
          <p:nvPr/>
        </p:nvSpPr>
        <p:spPr bwMode="auto">
          <a:xfrm>
            <a:off x="836324" y="5494338"/>
            <a:ext cx="2892425" cy="0"/>
          </a:xfrm>
          <a:prstGeom prst="line">
            <a:avLst/>
          </a:prstGeom>
          <a:noFill/>
          <a:ln w="50800">
            <a:solidFill>
              <a:schemeClr val="accent3"/>
            </a:solidFill>
            <a:round/>
            <a:headEnd type="none" w="sm" len="sm"/>
            <a:tailEnd type="none" w="sm" len="sm"/>
          </a:ln>
        </p:spPr>
        <p:txBody>
          <a:bodyPr wrap="none" anchor="ctr"/>
          <a:lstStyle/>
          <a:p>
            <a:pPr>
              <a:defRPr/>
            </a:pPr>
            <a:endParaRPr lang="en-GB"/>
          </a:p>
        </p:txBody>
      </p:sp>
      <p:sp>
        <p:nvSpPr>
          <p:cNvPr id="7" name="Line 5"/>
          <p:cNvSpPr>
            <a:spLocks noChangeShapeType="1"/>
          </p:cNvSpPr>
          <p:nvPr/>
        </p:nvSpPr>
        <p:spPr bwMode="auto">
          <a:xfrm>
            <a:off x="5483729" y="4657290"/>
            <a:ext cx="2894013" cy="0"/>
          </a:xfrm>
          <a:prstGeom prst="line">
            <a:avLst/>
          </a:prstGeom>
          <a:noFill/>
          <a:ln w="50800">
            <a:solidFill>
              <a:schemeClr val="accent3"/>
            </a:solidFill>
            <a:round/>
            <a:headEnd type="none" w="sm" len="sm"/>
            <a:tailEnd type="none" w="sm" len="sm"/>
          </a:ln>
        </p:spPr>
        <p:txBody>
          <a:bodyPr wrap="none" anchor="ctr"/>
          <a:lstStyle/>
          <a:p>
            <a:pPr>
              <a:defRPr/>
            </a:pPr>
            <a:endParaRPr lang="en-GB"/>
          </a:p>
        </p:txBody>
      </p:sp>
      <p:grpSp>
        <p:nvGrpSpPr>
          <p:cNvPr id="2" name="Group 6"/>
          <p:cNvGrpSpPr>
            <a:grpSpLocks/>
          </p:cNvGrpSpPr>
          <p:nvPr/>
        </p:nvGrpSpPr>
        <p:grpSpPr bwMode="auto">
          <a:xfrm>
            <a:off x="2271713" y="4656138"/>
            <a:ext cx="4649787" cy="1220787"/>
            <a:chOff x="1390" y="2928"/>
            <a:chExt cx="2929" cy="769"/>
          </a:xfrm>
        </p:grpSpPr>
        <p:sp>
          <p:nvSpPr>
            <p:cNvPr id="9" name="Freeform 7"/>
            <p:cNvSpPr>
              <a:spLocks/>
            </p:cNvSpPr>
            <p:nvPr/>
          </p:nvSpPr>
          <p:spPr bwMode="auto">
            <a:xfrm>
              <a:off x="1390" y="2928"/>
              <a:ext cx="2929" cy="769"/>
            </a:xfrm>
            <a:custGeom>
              <a:avLst/>
              <a:gdLst>
                <a:gd name="T0" fmla="*/ 0 w 2929"/>
                <a:gd name="T1" fmla="*/ 528 h 769"/>
                <a:gd name="T2" fmla="*/ 0 w 2929"/>
                <a:gd name="T3" fmla="*/ 768 h 769"/>
                <a:gd name="T4" fmla="*/ 2928 w 2929"/>
                <a:gd name="T5" fmla="*/ 240 h 769"/>
                <a:gd name="T6" fmla="*/ 2928 w 2929"/>
                <a:gd name="T7" fmla="*/ 0 h 769"/>
                <a:gd name="T8" fmla="*/ 0 60000 65536"/>
                <a:gd name="T9" fmla="*/ 0 60000 65536"/>
                <a:gd name="T10" fmla="*/ 0 60000 65536"/>
                <a:gd name="T11" fmla="*/ 0 60000 65536"/>
                <a:gd name="T12" fmla="*/ 0 w 2929"/>
                <a:gd name="T13" fmla="*/ 0 h 769"/>
                <a:gd name="T14" fmla="*/ 2929 w 2929"/>
                <a:gd name="T15" fmla="*/ 769 h 769"/>
              </a:gdLst>
              <a:ahLst/>
              <a:cxnLst>
                <a:cxn ang="T8">
                  <a:pos x="T0" y="T1"/>
                </a:cxn>
                <a:cxn ang="T9">
                  <a:pos x="T2" y="T3"/>
                </a:cxn>
                <a:cxn ang="T10">
                  <a:pos x="T4" y="T5"/>
                </a:cxn>
                <a:cxn ang="T11">
                  <a:pos x="T6" y="T7"/>
                </a:cxn>
              </a:cxnLst>
              <a:rect l="T12" t="T13" r="T14" b="T15"/>
              <a:pathLst>
                <a:path w="2929" h="769">
                  <a:moveTo>
                    <a:pt x="0" y="528"/>
                  </a:moveTo>
                  <a:lnTo>
                    <a:pt x="0" y="768"/>
                  </a:lnTo>
                  <a:lnTo>
                    <a:pt x="2928" y="240"/>
                  </a:lnTo>
                  <a:lnTo>
                    <a:pt x="2928" y="0"/>
                  </a:lnTo>
                </a:path>
              </a:pathLst>
            </a:custGeom>
            <a:noFill/>
            <a:ln w="50800" cap="rnd">
              <a:solidFill>
                <a:schemeClr val="accent3"/>
              </a:solidFill>
              <a:round/>
              <a:headEnd type="none" w="sm" len="sm"/>
              <a:tailEnd type="none" w="sm" len="sm"/>
            </a:ln>
          </p:spPr>
          <p:txBody>
            <a:bodyPr/>
            <a:lstStyle/>
            <a:p>
              <a:pPr>
                <a:defRPr/>
              </a:pPr>
              <a:endParaRPr lang="en-GB"/>
            </a:p>
          </p:txBody>
        </p:sp>
        <p:sp>
          <p:nvSpPr>
            <p:cNvPr id="10" name="Line 8"/>
            <p:cNvSpPr>
              <a:spLocks noChangeShapeType="1"/>
            </p:cNvSpPr>
            <p:nvPr/>
          </p:nvSpPr>
          <p:spPr bwMode="auto">
            <a:xfrm rot="20993914" flipV="1">
              <a:off x="2822" y="3168"/>
              <a:ext cx="0" cy="480"/>
            </a:xfrm>
            <a:prstGeom prst="line">
              <a:avLst/>
            </a:prstGeom>
            <a:noFill/>
            <a:ln w="76200">
              <a:solidFill>
                <a:schemeClr val="accent3"/>
              </a:solidFill>
              <a:round/>
              <a:headEnd/>
              <a:tailEnd type="triangle" w="med" len="med"/>
            </a:ln>
          </p:spPr>
          <p:txBody>
            <a:bodyPr wrap="none" lIns="90000" tIns="46800" rIns="90000" bIns="46800" anchor="ctr"/>
            <a:lstStyle/>
            <a:p>
              <a:pPr>
                <a:defRPr/>
              </a:pPr>
              <a:endParaRPr lang="en-GB"/>
            </a:p>
          </p:txBody>
        </p:sp>
      </p:grpSp>
      <p:sp>
        <p:nvSpPr>
          <p:cNvPr id="823309" name="Text Box 10"/>
          <p:cNvSpPr txBox="1">
            <a:spLocks noChangeArrowheads="1"/>
          </p:cNvSpPr>
          <p:nvPr/>
        </p:nvSpPr>
        <p:spPr bwMode="auto">
          <a:xfrm>
            <a:off x="835025" y="2255022"/>
            <a:ext cx="2894013" cy="272108"/>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algn="ctr" defTabSz="957263"/>
            <a:r>
              <a:rPr lang="en-US" sz="1400" b="1" dirty="0">
                <a:solidFill>
                  <a:srgbClr val="FFFFFF"/>
                </a:solidFill>
              </a:rPr>
              <a:t>Costs</a:t>
            </a:r>
          </a:p>
        </p:txBody>
      </p:sp>
      <p:sp>
        <p:nvSpPr>
          <p:cNvPr id="19" name="Rectangle 18"/>
          <p:cNvSpPr>
            <a:spLocks noChangeArrowheads="1"/>
          </p:cNvSpPr>
          <p:nvPr/>
        </p:nvSpPr>
        <p:spPr bwMode="auto">
          <a:xfrm>
            <a:off x="835025" y="2527130"/>
            <a:ext cx="2894013" cy="2893367"/>
          </a:xfrm>
          <a:prstGeom prst="rect">
            <a:avLst/>
          </a:prstGeom>
          <a:noFill/>
          <a:ln w="12700" algn="ctr">
            <a:solidFill>
              <a:srgbClr val="00A1DE"/>
            </a:solidFill>
            <a:miter lim="800000"/>
            <a:headEnd/>
            <a:tailEnd/>
          </a:ln>
        </p:spPr>
        <p:txBody>
          <a:bodyPr lIns="40118" tIns="40118" rIns="40118" bIns="40118"/>
          <a:lstStyle/>
          <a:p>
            <a:pPr marL="0" indent="0" algn="l">
              <a:spcBef>
                <a:spcPts val="400"/>
              </a:spcBef>
              <a:buFont typeface="Wingdings 2" pitchFamily="18" charset="2"/>
              <a:buNone/>
            </a:pPr>
            <a:endParaRPr lang="en-US" dirty="0"/>
          </a:p>
        </p:txBody>
      </p:sp>
      <p:sp>
        <p:nvSpPr>
          <p:cNvPr id="823307" name="Text Box 10"/>
          <p:cNvSpPr txBox="1">
            <a:spLocks noChangeArrowheads="1"/>
          </p:cNvSpPr>
          <p:nvPr/>
        </p:nvSpPr>
        <p:spPr bwMode="auto">
          <a:xfrm>
            <a:off x="5491163" y="1418454"/>
            <a:ext cx="2894012" cy="272108"/>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en-US" sz="1400" b="1" dirty="0">
                <a:solidFill>
                  <a:srgbClr val="FFFFFF"/>
                </a:solidFill>
              </a:rPr>
              <a:t>Benefits</a:t>
            </a:r>
          </a:p>
        </p:txBody>
      </p:sp>
      <p:sp>
        <p:nvSpPr>
          <p:cNvPr id="22" name="Rectangle 21"/>
          <p:cNvSpPr>
            <a:spLocks noChangeArrowheads="1"/>
          </p:cNvSpPr>
          <p:nvPr/>
        </p:nvSpPr>
        <p:spPr bwMode="auto">
          <a:xfrm>
            <a:off x="5491163" y="1690562"/>
            <a:ext cx="2894012" cy="2893367"/>
          </a:xfrm>
          <a:prstGeom prst="rect">
            <a:avLst/>
          </a:prstGeom>
          <a:noFill/>
          <a:ln w="12700" algn="ctr">
            <a:solidFill>
              <a:srgbClr val="00A1DE"/>
            </a:solidFill>
            <a:miter lim="800000"/>
            <a:headEnd/>
            <a:tailEnd/>
          </a:ln>
        </p:spPr>
        <p:txBody>
          <a:bodyPr lIns="40118" tIns="40118" rIns="40118" bIns="40118"/>
          <a:lstStyle/>
          <a:p>
            <a:pPr marL="359623" indent="-359623" defTabSz="957998">
              <a:lnSpc>
                <a:spcPct val="106000"/>
              </a:lnSpc>
              <a:spcBef>
                <a:spcPts val="1344"/>
              </a:spcBef>
              <a:spcAft>
                <a:spcPts val="0"/>
              </a:spcAft>
              <a:defRPr/>
            </a:pPr>
            <a:endParaRPr lang="nl-NL" sz="1400" dirty="0">
              <a:solidFill>
                <a:srgbClr val="002776"/>
              </a:solidFill>
              <a:latin typeface="Arial"/>
              <a:cs typeface="+mn-cs"/>
            </a:endParaRPr>
          </a:p>
        </p:txBody>
      </p:sp>
      <p:sp>
        <p:nvSpPr>
          <p:cNvPr id="20"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1"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4" name="Rectangle 23"/>
          <p:cNvSpPr/>
          <p:nvPr/>
        </p:nvSpPr>
        <p:spPr>
          <a:xfrm>
            <a:off x="919163" y="2550822"/>
            <a:ext cx="2800350" cy="1569660"/>
          </a:xfrm>
          <a:prstGeom prst="rect">
            <a:avLst/>
          </a:prstGeom>
        </p:spPr>
        <p:txBody>
          <a:bodyPr wrap="square">
            <a:spAutoFit/>
          </a:bodyPr>
          <a:lstStyle/>
          <a:p>
            <a:pPr algn="l">
              <a:spcBef>
                <a:spcPts val="400"/>
              </a:spcBef>
            </a:pPr>
            <a:r>
              <a:rPr lang="en-US" sz="1800" b="0" dirty="0" smtClean="0">
                <a:solidFill>
                  <a:srgbClr val="002776"/>
                </a:solidFill>
              </a:rPr>
              <a:t>Paragraph </a:t>
            </a:r>
            <a:br>
              <a:rPr lang="en-US" sz="1800" b="0" dirty="0" smtClean="0">
                <a:solidFill>
                  <a:srgbClr val="002776"/>
                </a:solidFill>
              </a:rPr>
            </a:br>
            <a:r>
              <a:rPr lang="en-US" sz="1800" b="0" dirty="0" smtClean="0">
                <a:solidFill>
                  <a:srgbClr val="002776"/>
                </a:solidFill>
              </a:rPr>
              <a:t>(if not needed, delete)</a:t>
            </a:r>
          </a:p>
          <a:p>
            <a:pPr marL="168275" lvl="1" indent="-168275" algn="l">
              <a:spcBef>
                <a:spcPts val="400"/>
              </a:spcBef>
              <a:buFont typeface="Arial" charset="0"/>
              <a:buChar char="•"/>
            </a:pPr>
            <a:r>
              <a:rPr lang="en-US" sz="1800" b="0" dirty="0" smtClean="0">
                <a:solidFill>
                  <a:srgbClr val="002776"/>
                </a:solidFill>
              </a:rPr>
              <a:t>Bullet</a:t>
            </a:r>
          </a:p>
          <a:p>
            <a:pPr marL="344488" lvl="2" indent="-176213" algn="l">
              <a:spcBef>
                <a:spcPts val="400"/>
              </a:spcBef>
              <a:buFont typeface="Arial" charset="0"/>
              <a:buChar char="‒"/>
            </a:pPr>
            <a:r>
              <a:rPr lang="en-US" sz="1600" b="0" dirty="0" smtClean="0">
                <a:solidFill>
                  <a:srgbClr val="002776"/>
                </a:solidFill>
              </a:rPr>
              <a:t>Dash</a:t>
            </a:r>
          </a:p>
          <a:p>
            <a:pPr marL="511175" lvl="3" indent="-166688" algn="l">
              <a:spcBef>
                <a:spcPts val="400"/>
              </a:spcBef>
              <a:buFont typeface="Arial" charset="0"/>
              <a:buChar char="•"/>
            </a:pPr>
            <a:r>
              <a:rPr lang="en-US" sz="1600" b="0" dirty="0" err="1" smtClean="0">
                <a:solidFill>
                  <a:srgbClr val="002776"/>
                </a:solidFill>
              </a:rPr>
              <a:t>Subbullet</a:t>
            </a:r>
            <a:endParaRPr lang="en-US" sz="1600" b="0" dirty="0">
              <a:solidFill>
                <a:srgbClr val="002776"/>
              </a:solidFill>
            </a:endParaRPr>
          </a:p>
        </p:txBody>
      </p:sp>
      <p:sp>
        <p:nvSpPr>
          <p:cNvPr id="25" name="Rectangle 24"/>
          <p:cNvSpPr/>
          <p:nvPr/>
        </p:nvSpPr>
        <p:spPr>
          <a:xfrm>
            <a:off x="5529714" y="1755893"/>
            <a:ext cx="2800350" cy="1569660"/>
          </a:xfrm>
          <a:prstGeom prst="rect">
            <a:avLst/>
          </a:prstGeom>
        </p:spPr>
        <p:txBody>
          <a:bodyPr wrap="square">
            <a:spAutoFit/>
          </a:bodyPr>
          <a:lstStyle/>
          <a:p>
            <a:pPr algn="l">
              <a:spcBef>
                <a:spcPts val="400"/>
              </a:spcBef>
            </a:pPr>
            <a:r>
              <a:rPr lang="en-US" sz="1800" b="0" dirty="0" smtClean="0">
                <a:solidFill>
                  <a:srgbClr val="002776"/>
                </a:solidFill>
              </a:rPr>
              <a:t>Paragraph </a:t>
            </a:r>
            <a:br>
              <a:rPr lang="en-US" sz="1800" b="0" dirty="0" smtClean="0">
                <a:solidFill>
                  <a:srgbClr val="002776"/>
                </a:solidFill>
              </a:rPr>
            </a:br>
            <a:r>
              <a:rPr lang="en-US" sz="1800" b="0" dirty="0" smtClean="0">
                <a:solidFill>
                  <a:srgbClr val="002776"/>
                </a:solidFill>
              </a:rPr>
              <a:t>(if not needed, delete)</a:t>
            </a:r>
          </a:p>
          <a:p>
            <a:pPr marL="168275" lvl="1" indent="-168275" algn="l">
              <a:spcBef>
                <a:spcPts val="400"/>
              </a:spcBef>
              <a:buFont typeface="Arial" charset="0"/>
              <a:buChar char="•"/>
            </a:pPr>
            <a:r>
              <a:rPr lang="en-US" sz="1800" b="0" dirty="0" smtClean="0">
                <a:solidFill>
                  <a:srgbClr val="002776"/>
                </a:solidFill>
              </a:rPr>
              <a:t>Bullet</a:t>
            </a:r>
          </a:p>
          <a:p>
            <a:pPr marL="344488" lvl="2" indent="-176213" algn="l">
              <a:spcBef>
                <a:spcPts val="400"/>
              </a:spcBef>
              <a:buFont typeface="Arial" charset="0"/>
              <a:buChar char="‒"/>
            </a:pPr>
            <a:r>
              <a:rPr lang="en-US" sz="1600" b="0" dirty="0" smtClean="0">
                <a:solidFill>
                  <a:srgbClr val="002776"/>
                </a:solidFill>
              </a:rPr>
              <a:t>Dash</a:t>
            </a:r>
          </a:p>
          <a:p>
            <a:pPr marL="511175" lvl="3" indent="-166688" algn="l">
              <a:spcBef>
                <a:spcPts val="400"/>
              </a:spcBef>
              <a:buFont typeface="Arial" charset="0"/>
              <a:buChar char="•"/>
            </a:pPr>
            <a:r>
              <a:rPr lang="en-US" sz="1600" b="0" dirty="0" err="1" smtClean="0">
                <a:solidFill>
                  <a:srgbClr val="002776"/>
                </a:solidFill>
              </a:rPr>
              <a:t>Subbullet</a:t>
            </a:r>
            <a:endParaRPr lang="en-US" sz="1600" b="0" dirty="0">
              <a:solidFill>
                <a:srgbClr val="002776"/>
              </a:solidFill>
            </a:endParaRPr>
          </a:p>
        </p:txBody>
      </p:sp>
    </p:spTree>
  </p:cSld>
  <p:clrMapOvr>
    <a:masterClrMapping/>
  </p:clrMapOvr>
  <p:timing>
    <p:tnLst>
      <p:par>
        <p:cTn id="1" dur="indefinite" restart="never" nodeType="tmRoot"/>
      </p:par>
    </p:tn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4321" name="Title 1"/>
          <p:cNvSpPr>
            <a:spLocks noGrp="1"/>
          </p:cNvSpPr>
          <p:nvPr>
            <p:ph type="title"/>
          </p:nvPr>
        </p:nvSpPr>
        <p:spPr/>
        <p:txBody>
          <a:bodyPr/>
          <a:lstStyle/>
          <a:p>
            <a:r>
              <a:rPr lang="en-GB"/>
              <a:t>Jumping point</a:t>
            </a:r>
            <a:endParaRPr lang="nl-NL"/>
          </a:p>
        </p:txBody>
      </p:sp>
      <p:sp>
        <p:nvSpPr>
          <p:cNvPr id="25"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6"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grpSp>
        <p:nvGrpSpPr>
          <p:cNvPr id="2" name="Group 15"/>
          <p:cNvGrpSpPr>
            <a:grpSpLocks/>
          </p:cNvGrpSpPr>
          <p:nvPr/>
        </p:nvGrpSpPr>
        <p:grpSpPr bwMode="auto">
          <a:xfrm>
            <a:off x="2256420" y="1662552"/>
            <a:ext cx="2349500" cy="3048000"/>
            <a:chOff x="2574925" y="2636838"/>
            <a:chExt cx="2544763" cy="3048000"/>
          </a:xfrm>
        </p:grpSpPr>
        <p:sp>
          <p:nvSpPr>
            <p:cNvPr id="7" name="Arc 5"/>
            <p:cNvSpPr>
              <a:spLocks/>
            </p:cNvSpPr>
            <p:nvPr/>
          </p:nvSpPr>
          <p:spPr bwMode="auto">
            <a:xfrm>
              <a:off x="2574925" y="4278313"/>
              <a:ext cx="854558" cy="1406525"/>
            </a:xfrm>
            <a:custGeom>
              <a:avLst/>
              <a:gdLst>
                <a:gd name="T0" fmla="*/ 0 w 28334"/>
                <a:gd name="T1" fmla="*/ 791053597 h 21600"/>
                <a:gd name="T2" fmla="*/ 444155411 w 28334"/>
                <a:gd name="T3" fmla="*/ 2147483647 h 21600"/>
                <a:gd name="T4" fmla="*/ 105663734 w 28334"/>
                <a:gd name="T5" fmla="*/ 2147483647 h 21600"/>
                <a:gd name="T6" fmla="*/ 0 60000 65536"/>
                <a:gd name="T7" fmla="*/ 0 60000 65536"/>
                <a:gd name="T8" fmla="*/ 0 60000 65536"/>
                <a:gd name="T9" fmla="*/ 0 w 28334"/>
                <a:gd name="T10" fmla="*/ 0 h 21600"/>
                <a:gd name="T11" fmla="*/ 28334 w 28334"/>
                <a:gd name="T12" fmla="*/ 21600 h 21600"/>
              </a:gdLst>
              <a:ahLst/>
              <a:cxnLst>
                <a:cxn ang="T6">
                  <a:pos x="T0" y="T1"/>
                </a:cxn>
                <a:cxn ang="T7">
                  <a:pos x="T2" y="T3"/>
                </a:cxn>
                <a:cxn ang="T8">
                  <a:pos x="T4" y="T5"/>
                </a:cxn>
              </a:cxnLst>
              <a:rect l="T9" t="T10" r="T11" b="T12"/>
              <a:pathLst>
                <a:path w="28334" h="21600" fill="none" extrusionOk="0">
                  <a:moveTo>
                    <a:pt x="-1" y="1076"/>
                  </a:moveTo>
                  <a:cubicBezTo>
                    <a:pt x="2173" y="363"/>
                    <a:pt x="4446" y="-1"/>
                    <a:pt x="6734" y="0"/>
                  </a:cubicBezTo>
                  <a:cubicBezTo>
                    <a:pt x="18663" y="0"/>
                    <a:pt x="28334" y="9670"/>
                    <a:pt x="28334" y="21600"/>
                  </a:cubicBezTo>
                </a:path>
                <a:path w="28334" h="21600" stroke="0" extrusionOk="0">
                  <a:moveTo>
                    <a:pt x="-1" y="1076"/>
                  </a:moveTo>
                  <a:cubicBezTo>
                    <a:pt x="2173" y="363"/>
                    <a:pt x="4446" y="-1"/>
                    <a:pt x="6734" y="0"/>
                  </a:cubicBezTo>
                  <a:cubicBezTo>
                    <a:pt x="18663" y="0"/>
                    <a:pt x="28334" y="9670"/>
                    <a:pt x="28334" y="21600"/>
                  </a:cubicBezTo>
                  <a:lnTo>
                    <a:pt x="6734" y="21600"/>
                  </a:lnTo>
                  <a:close/>
                </a:path>
              </a:pathLst>
            </a:custGeom>
            <a:noFill/>
            <a:ln w="28575" cap="rnd">
              <a:solidFill>
                <a:schemeClr val="accent3"/>
              </a:solidFill>
              <a:prstDash val="sysDot"/>
              <a:round/>
              <a:headEnd type="none" w="sm" len="sm"/>
              <a:tailEnd type="none" w="sm" len="sm"/>
            </a:ln>
          </p:spPr>
          <p:txBody>
            <a:bodyPr wrap="none" anchor="ctr"/>
            <a:lstStyle/>
            <a:p>
              <a:pPr algn="ctr">
                <a:defRPr/>
              </a:pPr>
              <a:endParaRPr lang="en-GB" sz="1400"/>
            </a:p>
          </p:txBody>
        </p:sp>
        <p:sp>
          <p:nvSpPr>
            <p:cNvPr id="8" name="Arc 6"/>
            <p:cNvSpPr>
              <a:spLocks/>
            </p:cNvSpPr>
            <p:nvPr/>
          </p:nvSpPr>
          <p:spPr bwMode="auto">
            <a:xfrm>
              <a:off x="3429483" y="2636838"/>
              <a:ext cx="1690205" cy="3048000"/>
            </a:xfrm>
            <a:custGeom>
              <a:avLst/>
              <a:gdLst>
                <a:gd name="T0" fmla="*/ 0 w 28293"/>
                <a:gd name="T1" fmla="*/ 2147483647 h 21600"/>
                <a:gd name="T2" fmla="*/ 2147483647 w 28293"/>
                <a:gd name="T3" fmla="*/ 2147483647 h 21600"/>
                <a:gd name="T4" fmla="*/ 2147483647 w 28293"/>
                <a:gd name="T5" fmla="*/ 2147483647 h 21600"/>
                <a:gd name="T6" fmla="*/ 0 60000 65536"/>
                <a:gd name="T7" fmla="*/ 0 60000 65536"/>
                <a:gd name="T8" fmla="*/ 0 60000 65536"/>
                <a:gd name="T9" fmla="*/ 0 w 28293"/>
                <a:gd name="T10" fmla="*/ 0 h 21600"/>
                <a:gd name="T11" fmla="*/ 28293 w 28293"/>
                <a:gd name="T12" fmla="*/ 21600 h 21600"/>
              </a:gdLst>
              <a:ahLst/>
              <a:cxnLst>
                <a:cxn ang="T6">
                  <a:pos x="T0" y="T1"/>
                </a:cxn>
                <a:cxn ang="T7">
                  <a:pos x="T2" y="T3"/>
                </a:cxn>
                <a:cxn ang="T8">
                  <a:pos x="T4" y="T5"/>
                </a:cxn>
              </a:cxnLst>
              <a:rect l="T9" t="T10" r="T11" b="T12"/>
              <a:pathLst>
                <a:path w="28293" h="21600" fill="none" extrusionOk="0">
                  <a:moveTo>
                    <a:pt x="0" y="21544"/>
                  </a:moveTo>
                  <a:cubicBezTo>
                    <a:pt x="30" y="9636"/>
                    <a:pt x="9692" y="-1"/>
                    <a:pt x="21600" y="0"/>
                  </a:cubicBezTo>
                  <a:cubicBezTo>
                    <a:pt x="23873" y="0"/>
                    <a:pt x="26131" y="358"/>
                    <a:pt x="28292" y="1063"/>
                  </a:cubicBezTo>
                </a:path>
                <a:path w="28293" h="21600" stroke="0" extrusionOk="0">
                  <a:moveTo>
                    <a:pt x="0" y="21544"/>
                  </a:moveTo>
                  <a:cubicBezTo>
                    <a:pt x="30" y="9636"/>
                    <a:pt x="9692" y="-1"/>
                    <a:pt x="21600" y="0"/>
                  </a:cubicBezTo>
                  <a:cubicBezTo>
                    <a:pt x="23873" y="0"/>
                    <a:pt x="26131" y="358"/>
                    <a:pt x="28292" y="1063"/>
                  </a:cubicBezTo>
                  <a:lnTo>
                    <a:pt x="21600" y="21600"/>
                  </a:lnTo>
                  <a:close/>
                </a:path>
              </a:pathLst>
            </a:custGeom>
            <a:noFill/>
            <a:ln w="28575" cap="rnd">
              <a:solidFill>
                <a:schemeClr val="accent3"/>
              </a:solidFill>
              <a:prstDash val="sysDot"/>
              <a:round/>
              <a:headEnd type="none" w="sm" len="sm"/>
              <a:tailEnd type="none" w="sm" len="sm"/>
            </a:ln>
          </p:spPr>
          <p:txBody>
            <a:bodyPr wrap="none" anchor="ctr"/>
            <a:lstStyle/>
            <a:p>
              <a:pPr algn="ctr">
                <a:defRPr/>
              </a:pPr>
              <a:endParaRPr lang="en-GB" sz="1400"/>
            </a:p>
          </p:txBody>
        </p:sp>
      </p:grpSp>
      <p:sp>
        <p:nvSpPr>
          <p:cNvPr id="9" name="Line 7"/>
          <p:cNvSpPr>
            <a:spLocks noChangeShapeType="1"/>
          </p:cNvSpPr>
          <p:nvPr/>
        </p:nvSpPr>
        <p:spPr bwMode="auto">
          <a:xfrm flipH="1">
            <a:off x="2253676" y="4858189"/>
            <a:ext cx="4640263" cy="0"/>
          </a:xfrm>
          <a:prstGeom prst="line">
            <a:avLst/>
          </a:prstGeom>
          <a:noFill/>
          <a:ln w="50800">
            <a:solidFill>
              <a:schemeClr val="accent3"/>
            </a:solidFill>
            <a:round/>
            <a:headEnd type="none" w="sm" len="sm"/>
            <a:tailEnd type="none" w="sm" len="sm"/>
          </a:ln>
        </p:spPr>
        <p:txBody>
          <a:bodyPr wrap="none" anchor="ctr"/>
          <a:lstStyle/>
          <a:p>
            <a:pPr>
              <a:defRPr/>
            </a:pPr>
            <a:endParaRPr lang="en-GB"/>
          </a:p>
        </p:txBody>
      </p:sp>
      <p:sp>
        <p:nvSpPr>
          <p:cNvPr id="824326" name="Text Box 10"/>
          <p:cNvSpPr txBox="1">
            <a:spLocks noChangeArrowheads="1"/>
          </p:cNvSpPr>
          <p:nvPr/>
        </p:nvSpPr>
        <p:spPr bwMode="gray">
          <a:xfrm>
            <a:off x="5569532" y="2511864"/>
            <a:ext cx="500063" cy="228600"/>
          </a:xfrm>
          <a:prstGeom prst="rect">
            <a:avLst/>
          </a:prstGeom>
          <a:solidFill>
            <a:srgbClr val="FFFFFF"/>
          </a:solidFill>
          <a:ln w="12700" algn="ctr">
            <a:noFill/>
            <a:miter lim="800000"/>
            <a:headEnd/>
            <a:tailEnd type="none" w="sm" len="med"/>
          </a:ln>
        </p:spPr>
        <p:txBody>
          <a:bodyPr wrap="none" lIns="72000" tIns="0" rIns="72000" bIns="0" anchor="ctr" anchorCtr="1">
            <a:spAutoFit/>
          </a:bodyPr>
          <a:lstStyle/>
          <a:p>
            <a:pPr algn="ctr">
              <a:lnSpc>
                <a:spcPct val="106000"/>
              </a:lnSpc>
            </a:pPr>
            <a:r>
              <a:rPr lang="en-US" sz="1400" b="1"/>
              <a:t>Text</a:t>
            </a:r>
          </a:p>
        </p:txBody>
      </p:sp>
      <p:grpSp>
        <p:nvGrpSpPr>
          <p:cNvPr id="3" name="Group 12"/>
          <p:cNvGrpSpPr>
            <a:grpSpLocks/>
          </p:cNvGrpSpPr>
          <p:nvPr/>
        </p:nvGrpSpPr>
        <p:grpSpPr bwMode="auto">
          <a:xfrm>
            <a:off x="4818645" y="2543614"/>
            <a:ext cx="2049462" cy="2201863"/>
            <a:chOff x="300" y="872"/>
            <a:chExt cx="1847" cy="1611"/>
          </a:xfrm>
        </p:grpSpPr>
        <p:sp>
          <p:nvSpPr>
            <p:cNvPr id="824329" name="Text Box 10"/>
            <p:cNvSpPr txBox="1">
              <a:spLocks noChangeArrowheads="1"/>
            </p:cNvSpPr>
            <p:nvPr/>
          </p:nvSpPr>
          <p:spPr bwMode="auto">
            <a:xfrm>
              <a:off x="300" y="872"/>
              <a:ext cx="1847" cy="199"/>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algn="ctr" defTabSz="957263"/>
              <a:r>
                <a:rPr lang="en-US" sz="1400" b="1">
                  <a:solidFill>
                    <a:srgbClr val="FFFFFF"/>
                  </a:solidFill>
                </a:rPr>
                <a:t>Text</a:t>
              </a:r>
            </a:p>
          </p:txBody>
        </p:sp>
        <p:sp>
          <p:nvSpPr>
            <p:cNvPr id="15" name="Rectangle 14"/>
            <p:cNvSpPr>
              <a:spLocks noChangeArrowheads="1"/>
            </p:cNvSpPr>
            <p:nvPr/>
          </p:nvSpPr>
          <p:spPr bwMode="auto">
            <a:xfrm>
              <a:off x="300" y="1071"/>
              <a:ext cx="1847" cy="1412"/>
            </a:xfrm>
            <a:prstGeom prst="rect">
              <a:avLst/>
            </a:prstGeom>
            <a:noFill/>
            <a:ln w="12700" algn="ctr">
              <a:solidFill>
                <a:schemeClr val="accent3"/>
              </a:solidFill>
              <a:miter lim="800000"/>
              <a:headEnd/>
              <a:tailEnd/>
            </a:ln>
          </p:spPr>
          <p:txBody>
            <a:bodyPr lIns="40118" tIns="40118" rIns="40118" bIns="40118"/>
            <a:lstStyle/>
            <a:p>
              <a:pPr marL="359623" indent="-359623" defTabSz="957998">
                <a:lnSpc>
                  <a:spcPct val="106000"/>
                </a:lnSpc>
                <a:spcBef>
                  <a:spcPts val="1344"/>
                </a:spcBef>
                <a:spcAft>
                  <a:spcPts val="0"/>
                </a:spcAft>
                <a:defRPr/>
              </a:pPr>
              <a:endParaRPr lang="nl-NL" sz="1400" dirty="0">
                <a:solidFill>
                  <a:srgbClr val="002776"/>
                </a:solidFill>
                <a:latin typeface="Arial"/>
                <a:cs typeface="+mn-cs"/>
              </a:endParaRPr>
            </a:p>
          </p:txBody>
        </p:sp>
      </p:grpSp>
      <p:sp>
        <p:nvSpPr>
          <p:cNvPr id="27" name="Rectangle 26"/>
          <p:cNvSpPr/>
          <p:nvPr/>
        </p:nvSpPr>
        <p:spPr>
          <a:xfrm>
            <a:off x="4818645" y="2832378"/>
            <a:ext cx="2038350" cy="1261884"/>
          </a:xfrm>
          <a:prstGeom prst="rect">
            <a:avLst/>
          </a:prstGeom>
        </p:spPr>
        <p:txBody>
          <a:bodyPr wrap="square">
            <a:spAutoFit/>
          </a:bodyPr>
          <a:lstStyle/>
          <a:p>
            <a:pPr algn="l">
              <a:spcBef>
                <a:spcPts val="400"/>
              </a:spcBef>
            </a:pPr>
            <a:r>
              <a:rPr lang="en-US" sz="1400" b="0" dirty="0" smtClean="0">
                <a:solidFill>
                  <a:srgbClr val="002776"/>
                </a:solidFill>
              </a:rPr>
              <a:t>Paragraph </a:t>
            </a:r>
            <a:br>
              <a:rPr lang="en-US" sz="1400" b="0" dirty="0" smtClean="0">
                <a:solidFill>
                  <a:srgbClr val="002776"/>
                </a:solidFill>
              </a:rPr>
            </a:br>
            <a:r>
              <a:rPr lang="en-US" sz="1400" b="0" dirty="0" smtClean="0">
                <a:solidFill>
                  <a:srgbClr val="002776"/>
                </a:solidFill>
              </a:rPr>
              <a:t>(if not needed, delete)</a:t>
            </a:r>
          </a:p>
          <a:p>
            <a:pPr marL="168275" lvl="1" indent="-168275" algn="l">
              <a:spcBef>
                <a:spcPts val="400"/>
              </a:spcBef>
              <a:buFont typeface="Arial" charset="0"/>
              <a:buChar char="•"/>
            </a:pPr>
            <a:r>
              <a:rPr lang="en-US" sz="1400" b="0" dirty="0" smtClean="0">
                <a:solidFill>
                  <a:srgbClr val="002776"/>
                </a:solidFill>
              </a:rPr>
              <a:t>Bullet</a:t>
            </a:r>
          </a:p>
          <a:p>
            <a:pPr marL="344488" lvl="2" indent="-176213" algn="l">
              <a:spcBef>
                <a:spcPts val="400"/>
              </a:spcBef>
              <a:buFont typeface="Arial" charset="0"/>
              <a:buChar char="‒"/>
            </a:pPr>
            <a:r>
              <a:rPr lang="en-US" sz="1200" b="0" dirty="0" smtClean="0">
                <a:solidFill>
                  <a:srgbClr val="002776"/>
                </a:solidFill>
              </a:rPr>
              <a:t>Dash</a:t>
            </a:r>
          </a:p>
          <a:p>
            <a:pPr marL="511175" lvl="3" indent="-166688" algn="l">
              <a:spcBef>
                <a:spcPts val="400"/>
              </a:spcBef>
              <a:buFont typeface="Arial" charset="0"/>
              <a:buChar char="•"/>
            </a:pPr>
            <a:r>
              <a:rPr lang="en-US" sz="1200" b="0" dirty="0" err="1" smtClean="0">
                <a:solidFill>
                  <a:srgbClr val="002776"/>
                </a:solidFill>
              </a:rPr>
              <a:t>Subbullet</a:t>
            </a:r>
            <a:endParaRPr lang="en-US" sz="1200" b="0" dirty="0">
              <a:solidFill>
                <a:srgbClr val="002776"/>
              </a:solidFill>
            </a:endParaRPr>
          </a:p>
        </p:txBody>
      </p:sp>
      <p:sp>
        <p:nvSpPr>
          <p:cNvPr id="17" name="Oval 16"/>
          <p:cNvSpPr/>
          <p:nvPr/>
        </p:nvSpPr>
        <p:spPr>
          <a:xfrm>
            <a:off x="4498941" y="1831020"/>
            <a:ext cx="500063" cy="500063"/>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800" b="0" dirty="0" smtClean="0"/>
          </a:p>
        </p:txBody>
      </p:sp>
    </p:spTree>
  </p:cSld>
  <p:clrMapOvr>
    <a:masterClrMapping/>
  </p:clrMapOvr>
  <p:timing>
    <p:tnLst>
      <p:par>
        <p:cTn id="1" dur="indefinite" restart="never" nodeType="tmRoot"/>
      </p:par>
    </p:tnLst>
  </p:timing>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083" name="think-cell Slide" r:id="rId16" imgW="0" imgH="0" progId="">
                  <p:embed/>
                </p:oleObj>
              </mc:Choice>
              <mc:Fallback>
                <p:oleObj name="think-cell Slide" r:id="rId1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reeform 2"/>
          <p:cNvSpPr>
            <a:spLocks/>
          </p:cNvSpPr>
          <p:nvPr>
            <p:custDataLst>
              <p:tags r:id="rId3"/>
            </p:custDataLst>
          </p:nvPr>
        </p:nvSpPr>
        <p:spPr bwMode="blackWhite">
          <a:xfrm>
            <a:off x="3198813" y="2481477"/>
            <a:ext cx="2747962" cy="2686050"/>
          </a:xfrm>
          <a:custGeom>
            <a:avLst/>
            <a:gdLst>
              <a:gd name="T0" fmla="*/ 0 w 1749"/>
              <a:gd name="T1" fmla="*/ 0 h 1710"/>
              <a:gd name="T2" fmla="*/ 0 w 1749"/>
              <a:gd name="T3" fmla="*/ 2147483647 h 1710"/>
              <a:gd name="T4" fmla="*/ 2147483647 w 1749"/>
              <a:gd name="T5" fmla="*/ 2147483647 h 1710"/>
              <a:gd name="T6" fmla="*/ 0 w 1749"/>
              <a:gd name="T7" fmla="*/ 2147483647 h 1710"/>
              <a:gd name="T8" fmla="*/ 0 w 1749"/>
              <a:gd name="T9" fmla="*/ 2147483647 h 1710"/>
              <a:gd name="T10" fmla="*/ 2147483647 w 1749"/>
              <a:gd name="T11" fmla="*/ 2147483647 h 1710"/>
              <a:gd name="T12" fmla="*/ 2147483647 w 1749"/>
              <a:gd name="T13" fmla="*/ 0 h 1710"/>
              <a:gd name="T14" fmla="*/ 0 w 1749"/>
              <a:gd name="T15" fmla="*/ 0 h 1710"/>
              <a:gd name="T16" fmla="*/ 0 60000 65536"/>
              <a:gd name="T17" fmla="*/ 0 60000 65536"/>
              <a:gd name="T18" fmla="*/ 0 60000 65536"/>
              <a:gd name="T19" fmla="*/ 0 60000 65536"/>
              <a:gd name="T20" fmla="*/ 0 60000 65536"/>
              <a:gd name="T21" fmla="*/ 0 60000 65536"/>
              <a:gd name="T22" fmla="*/ 0 60000 65536"/>
              <a:gd name="T23" fmla="*/ 0 60000 65536"/>
              <a:gd name="T24" fmla="*/ 0 w 1749"/>
              <a:gd name="T25" fmla="*/ 0 h 1710"/>
              <a:gd name="T26" fmla="*/ 1749 w 1749"/>
              <a:gd name="T27" fmla="*/ 1710 h 17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49" h="1710">
                <a:moveTo>
                  <a:pt x="0" y="0"/>
                </a:moveTo>
                <a:lnTo>
                  <a:pt x="0" y="352"/>
                </a:lnTo>
                <a:lnTo>
                  <a:pt x="299" y="853"/>
                </a:lnTo>
                <a:lnTo>
                  <a:pt x="0" y="1368"/>
                </a:lnTo>
                <a:lnTo>
                  <a:pt x="0" y="1708"/>
                </a:lnTo>
                <a:lnTo>
                  <a:pt x="1748" y="1710"/>
                </a:lnTo>
                <a:lnTo>
                  <a:pt x="1749" y="0"/>
                </a:lnTo>
                <a:lnTo>
                  <a:pt x="0" y="0"/>
                </a:lnTo>
              </a:path>
            </a:pathLst>
          </a:custGeom>
          <a:solidFill>
            <a:schemeClr val="bg1"/>
          </a:solidFill>
          <a:ln w="12700" cap="rnd">
            <a:solidFill>
              <a:schemeClr val="accent3"/>
            </a:solidFill>
            <a:round/>
            <a:headEnd/>
            <a:tailEnd/>
          </a:ln>
        </p:spPr>
        <p:txBody>
          <a:bodyPr/>
          <a:lstStyle/>
          <a:p>
            <a:pPr>
              <a:defRPr/>
            </a:pPr>
            <a:endParaRPr lang="en-GB" sz="1400"/>
          </a:p>
        </p:txBody>
      </p:sp>
      <p:sp>
        <p:nvSpPr>
          <p:cNvPr id="825345" name="Title 1"/>
          <p:cNvSpPr>
            <a:spLocks noGrp="1"/>
          </p:cNvSpPr>
          <p:nvPr>
            <p:ph type="title"/>
            <p:custDataLst>
              <p:tags r:id="rId4"/>
            </p:custDataLst>
          </p:nvPr>
        </p:nvSpPr>
        <p:spPr/>
        <p:txBody>
          <a:bodyPr/>
          <a:lstStyle/>
          <a:p>
            <a:r>
              <a:rPr lang="en-GB"/>
              <a:t>Forces at work</a:t>
            </a:r>
            <a:endParaRPr lang="nl-NL"/>
          </a:p>
        </p:txBody>
      </p:sp>
      <p:sp>
        <p:nvSpPr>
          <p:cNvPr id="825352" name="Text Placeholder 15"/>
          <p:cNvSpPr>
            <a:spLocks noGrp="1"/>
          </p:cNvSpPr>
          <p:nvPr>
            <p:ph type="body" sz="quarter" idx="4294967295"/>
            <p:custDataLst>
              <p:tags r:id="rId5"/>
            </p:custDataLst>
          </p:nvPr>
        </p:nvSpPr>
        <p:spPr bwMode="auto">
          <a:xfrm>
            <a:off x="1079392" y="3456202"/>
            <a:ext cx="1557338" cy="872034"/>
          </a:xfrm>
          <a:prstGeom prst="rect">
            <a:avLst/>
          </a:prstGeom>
          <a:noFill/>
          <a:ln>
            <a:miter lim="800000"/>
            <a:headEnd/>
            <a:tailEnd/>
          </a:ln>
        </p:spPr>
        <p:txBody>
          <a:bodyPr/>
          <a:lstStyle/>
          <a:p>
            <a:pPr marL="168275" lvl="1" indent="-168275">
              <a:buFont typeface="Arial" charset="0"/>
              <a:buChar char="•"/>
            </a:pPr>
            <a:r>
              <a:rPr lang="en-US" dirty="0">
                <a:solidFill>
                  <a:srgbClr val="002776"/>
                </a:solidFill>
              </a:rPr>
              <a:t>Bullet</a:t>
            </a:r>
          </a:p>
          <a:p>
            <a:pPr marL="344488" lvl="2" indent="-176213">
              <a:buFont typeface="Arial" charset="0"/>
              <a:buChar char="‒"/>
            </a:pPr>
            <a:r>
              <a:rPr lang="en-US" dirty="0">
                <a:solidFill>
                  <a:srgbClr val="002776"/>
                </a:solidFill>
              </a:rPr>
              <a:t>Dash</a:t>
            </a:r>
          </a:p>
          <a:p>
            <a:pPr marL="511175" lvl="3" indent="-166688">
              <a:buFont typeface="Arial" charset="0"/>
              <a:buChar char="•"/>
            </a:pPr>
            <a:r>
              <a:rPr lang="en-US" dirty="0" err="1">
                <a:solidFill>
                  <a:srgbClr val="002776"/>
                </a:solidFill>
              </a:rPr>
              <a:t>Subbullet</a:t>
            </a:r>
            <a:endParaRPr lang="en-US" dirty="0">
              <a:solidFill>
                <a:srgbClr val="002776"/>
              </a:solidFill>
            </a:endParaRPr>
          </a:p>
        </p:txBody>
      </p:sp>
      <p:sp>
        <p:nvSpPr>
          <p:cNvPr id="825353" name="Text Placeholder 15"/>
          <p:cNvSpPr>
            <a:spLocks noGrp="1"/>
          </p:cNvSpPr>
          <p:nvPr>
            <p:ph type="body" sz="quarter" idx="4294967295"/>
            <p:custDataLst>
              <p:tags r:id="rId6"/>
            </p:custDataLst>
          </p:nvPr>
        </p:nvSpPr>
        <p:spPr bwMode="auto">
          <a:xfrm>
            <a:off x="3792425" y="5444189"/>
            <a:ext cx="1555750" cy="872034"/>
          </a:xfrm>
          <a:prstGeom prst="rect">
            <a:avLst/>
          </a:prstGeom>
          <a:noFill/>
          <a:ln>
            <a:miter lim="800000"/>
            <a:headEnd/>
            <a:tailEnd/>
          </a:ln>
        </p:spPr>
        <p:txBody>
          <a:bodyPr/>
          <a:lstStyle/>
          <a:p>
            <a:pPr marL="168275" lvl="1" indent="-168275">
              <a:buFont typeface="Arial" charset="0"/>
              <a:buChar char="•"/>
            </a:pPr>
            <a:r>
              <a:rPr lang="en-US" dirty="0">
                <a:solidFill>
                  <a:srgbClr val="002776"/>
                </a:solidFill>
              </a:rPr>
              <a:t>Bullet</a:t>
            </a:r>
          </a:p>
          <a:p>
            <a:pPr marL="344488" lvl="2" indent="-176213">
              <a:buFont typeface="Arial" charset="0"/>
              <a:buChar char="‒"/>
            </a:pPr>
            <a:r>
              <a:rPr lang="en-US" dirty="0">
                <a:solidFill>
                  <a:srgbClr val="002776"/>
                </a:solidFill>
              </a:rPr>
              <a:t>Dash</a:t>
            </a:r>
          </a:p>
          <a:p>
            <a:pPr marL="511175" lvl="3" indent="-166688">
              <a:buFont typeface="Arial" charset="0"/>
              <a:buChar char="•"/>
            </a:pPr>
            <a:r>
              <a:rPr lang="en-US" dirty="0" err="1">
                <a:solidFill>
                  <a:srgbClr val="002776"/>
                </a:solidFill>
              </a:rPr>
              <a:t>Subbullet</a:t>
            </a:r>
            <a:endParaRPr lang="en-US" dirty="0">
              <a:solidFill>
                <a:srgbClr val="002776"/>
              </a:solidFill>
            </a:endParaRPr>
          </a:p>
        </p:txBody>
      </p:sp>
      <p:sp>
        <p:nvSpPr>
          <p:cNvPr id="825354" name="Text Placeholder 15"/>
          <p:cNvSpPr>
            <a:spLocks noGrp="1"/>
          </p:cNvSpPr>
          <p:nvPr>
            <p:ph type="body" sz="quarter" idx="4294967295"/>
            <p:custDataLst>
              <p:tags r:id="rId7"/>
            </p:custDataLst>
          </p:nvPr>
        </p:nvSpPr>
        <p:spPr bwMode="auto">
          <a:xfrm>
            <a:off x="3803058" y="1340759"/>
            <a:ext cx="1555750" cy="872034"/>
          </a:xfrm>
          <a:prstGeom prst="rect">
            <a:avLst/>
          </a:prstGeom>
          <a:noFill/>
          <a:ln>
            <a:miter lim="800000"/>
            <a:headEnd/>
            <a:tailEnd/>
          </a:ln>
        </p:spPr>
        <p:txBody>
          <a:bodyPr/>
          <a:lstStyle/>
          <a:p>
            <a:pPr marL="168275" lvl="1" indent="-168275">
              <a:buFont typeface="Arial" charset="0"/>
              <a:buChar char="•"/>
            </a:pPr>
            <a:r>
              <a:rPr lang="en-US" dirty="0">
                <a:solidFill>
                  <a:srgbClr val="002776"/>
                </a:solidFill>
              </a:rPr>
              <a:t>Bullet</a:t>
            </a:r>
          </a:p>
          <a:p>
            <a:pPr marL="344488" lvl="2" indent="-176213">
              <a:buFont typeface="Arial" charset="0"/>
              <a:buChar char="‒"/>
            </a:pPr>
            <a:r>
              <a:rPr lang="en-US" dirty="0">
                <a:solidFill>
                  <a:srgbClr val="002776"/>
                </a:solidFill>
              </a:rPr>
              <a:t>Dash</a:t>
            </a:r>
          </a:p>
          <a:p>
            <a:pPr marL="511175" lvl="3" indent="-166688">
              <a:buFont typeface="Arial" charset="0"/>
              <a:buChar char="•"/>
            </a:pPr>
            <a:r>
              <a:rPr lang="en-US" dirty="0" err="1">
                <a:solidFill>
                  <a:srgbClr val="002776"/>
                </a:solidFill>
              </a:rPr>
              <a:t>Subbullet</a:t>
            </a:r>
            <a:endParaRPr lang="en-US" dirty="0">
              <a:solidFill>
                <a:srgbClr val="002776"/>
              </a:solidFill>
            </a:endParaRPr>
          </a:p>
        </p:txBody>
      </p:sp>
      <p:sp>
        <p:nvSpPr>
          <p:cNvPr id="825355" name="Text Placeholder 15"/>
          <p:cNvSpPr>
            <a:spLocks noGrp="1"/>
          </p:cNvSpPr>
          <p:nvPr>
            <p:ph type="body" sz="quarter" idx="4294967295"/>
            <p:custDataLst>
              <p:tags r:id="rId8"/>
            </p:custDataLst>
          </p:nvPr>
        </p:nvSpPr>
        <p:spPr bwMode="auto">
          <a:xfrm>
            <a:off x="6493167" y="3456202"/>
            <a:ext cx="1557337" cy="872034"/>
          </a:xfrm>
          <a:prstGeom prst="rect">
            <a:avLst/>
          </a:prstGeom>
          <a:noFill/>
          <a:ln>
            <a:miter lim="800000"/>
            <a:headEnd/>
            <a:tailEnd/>
          </a:ln>
        </p:spPr>
        <p:txBody>
          <a:bodyPr/>
          <a:lstStyle/>
          <a:p>
            <a:pPr marL="168275" lvl="1" indent="-168275">
              <a:buFont typeface="Arial" charset="0"/>
              <a:buChar char="•"/>
            </a:pPr>
            <a:r>
              <a:rPr lang="en-US" dirty="0">
                <a:solidFill>
                  <a:srgbClr val="002776"/>
                </a:solidFill>
              </a:rPr>
              <a:t>Bullet</a:t>
            </a:r>
          </a:p>
          <a:p>
            <a:pPr marL="344488" lvl="2" indent="-176213">
              <a:buFont typeface="Arial" charset="0"/>
              <a:buChar char="‒"/>
            </a:pPr>
            <a:r>
              <a:rPr lang="en-US" dirty="0">
                <a:solidFill>
                  <a:srgbClr val="002776"/>
                </a:solidFill>
              </a:rPr>
              <a:t>Dash</a:t>
            </a:r>
          </a:p>
          <a:p>
            <a:pPr marL="511175" lvl="3" indent="-166688">
              <a:buFont typeface="Arial" charset="0"/>
              <a:buChar char="•"/>
            </a:pPr>
            <a:r>
              <a:rPr lang="en-US" dirty="0" err="1">
                <a:solidFill>
                  <a:srgbClr val="002776"/>
                </a:solidFill>
              </a:rPr>
              <a:t>Subbullet</a:t>
            </a:r>
            <a:endParaRPr lang="en-US" dirty="0">
              <a:solidFill>
                <a:srgbClr val="002776"/>
              </a:solidFill>
            </a:endParaRPr>
          </a:p>
        </p:txBody>
      </p:sp>
      <p:sp>
        <p:nvSpPr>
          <p:cNvPr id="825356" name="Text Placeholder 15"/>
          <p:cNvSpPr>
            <a:spLocks noGrp="1"/>
          </p:cNvSpPr>
          <p:nvPr>
            <p:ph type="body" sz="quarter" idx="4294967295"/>
            <p:custDataLst>
              <p:tags r:id="rId9"/>
            </p:custDataLst>
          </p:nvPr>
        </p:nvSpPr>
        <p:spPr bwMode="auto">
          <a:xfrm>
            <a:off x="3801472" y="3213315"/>
            <a:ext cx="1557337" cy="872034"/>
          </a:xfrm>
          <a:prstGeom prst="rect">
            <a:avLst/>
          </a:prstGeom>
          <a:noFill/>
          <a:ln>
            <a:miter lim="800000"/>
            <a:headEnd/>
            <a:tailEnd/>
          </a:ln>
        </p:spPr>
        <p:txBody>
          <a:bodyPr/>
          <a:lstStyle/>
          <a:p>
            <a:pPr marL="168275" lvl="1" indent="-168275">
              <a:buFont typeface="Arial" charset="0"/>
              <a:buChar char="•"/>
            </a:pPr>
            <a:r>
              <a:rPr lang="en-US" dirty="0">
                <a:solidFill>
                  <a:srgbClr val="002776"/>
                </a:solidFill>
              </a:rPr>
              <a:t>Bullet</a:t>
            </a:r>
          </a:p>
          <a:p>
            <a:pPr marL="344488" lvl="2" indent="-176213">
              <a:buFont typeface="Arial" charset="0"/>
              <a:buChar char="‒"/>
            </a:pPr>
            <a:r>
              <a:rPr lang="en-US" dirty="0">
                <a:solidFill>
                  <a:srgbClr val="002776"/>
                </a:solidFill>
              </a:rPr>
              <a:t>Dash</a:t>
            </a:r>
          </a:p>
          <a:p>
            <a:pPr marL="511175" lvl="3" indent="-166688">
              <a:buFont typeface="Arial" charset="0"/>
              <a:buChar char="•"/>
            </a:pPr>
            <a:r>
              <a:rPr lang="en-US" dirty="0" err="1">
                <a:solidFill>
                  <a:srgbClr val="002776"/>
                </a:solidFill>
              </a:rPr>
              <a:t>Subbullet</a:t>
            </a:r>
            <a:endParaRPr lang="en-US" dirty="0">
              <a:solidFill>
                <a:srgbClr val="002776"/>
              </a:solidFill>
            </a:endParaRPr>
          </a:p>
        </p:txBody>
      </p:sp>
      <p:sp>
        <p:nvSpPr>
          <p:cNvPr id="6" name="AutoShape 3"/>
          <p:cNvSpPr>
            <a:spLocks noChangeArrowheads="1"/>
          </p:cNvSpPr>
          <p:nvPr>
            <p:custDataLst>
              <p:tags r:id="rId10"/>
            </p:custDataLst>
          </p:nvPr>
        </p:nvSpPr>
        <p:spPr bwMode="blackWhite">
          <a:xfrm>
            <a:off x="2669724" y="3603840"/>
            <a:ext cx="1008062" cy="441325"/>
          </a:xfrm>
          <a:prstGeom prst="rightArrow">
            <a:avLst>
              <a:gd name="adj1" fmla="val 48481"/>
              <a:gd name="adj2" fmla="val 123114"/>
            </a:avLst>
          </a:prstGeom>
          <a:solidFill>
            <a:schemeClr val="accent3"/>
          </a:solidFill>
          <a:ln w="12700">
            <a:solidFill>
              <a:schemeClr val="bg1"/>
            </a:solidFill>
            <a:miter lim="800000"/>
            <a:headEnd type="none" w="sm" len="sm"/>
            <a:tailEnd type="none" w="sm" len="sm"/>
          </a:ln>
        </p:spPr>
        <p:txBody>
          <a:bodyPr lIns="0" tIns="0" rIns="0" bIns="0" anchor="ctr">
            <a:spAutoFit/>
          </a:bodyPr>
          <a:lstStyle/>
          <a:p>
            <a:pPr algn="ctr">
              <a:buFont typeface="Wingdings 2" pitchFamily="18" charset="2"/>
              <a:buChar char="¡"/>
              <a:defRPr/>
            </a:pPr>
            <a:endParaRPr lang="en-GB" sz="1400"/>
          </a:p>
        </p:txBody>
      </p:sp>
      <p:sp>
        <p:nvSpPr>
          <p:cNvPr id="7" name="AutoShape 4"/>
          <p:cNvSpPr>
            <a:spLocks noChangeArrowheads="1"/>
          </p:cNvSpPr>
          <p:nvPr>
            <p:custDataLst>
              <p:tags r:id="rId11"/>
            </p:custDataLst>
          </p:nvPr>
        </p:nvSpPr>
        <p:spPr bwMode="blackWhite">
          <a:xfrm flipH="1">
            <a:off x="5456238" y="3603840"/>
            <a:ext cx="1008062" cy="441325"/>
          </a:xfrm>
          <a:prstGeom prst="rightArrow">
            <a:avLst>
              <a:gd name="adj1" fmla="val 48481"/>
              <a:gd name="adj2" fmla="val 123114"/>
            </a:avLst>
          </a:prstGeom>
          <a:solidFill>
            <a:schemeClr val="accent3"/>
          </a:solidFill>
          <a:ln w="12700">
            <a:solidFill>
              <a:schemeClr val="bg1"/>
            </a:solidFill>
            <a:miter lim="800000"/>
            <a:headEnd type="none" w="sm" len="sm"/>
            <a:tailEnd type="none" w="sm" len="sm"/>
          </a:ln>
        </p:spPr>
        <p:txBody>
          <a:bodyPr lIns="0" tIns="0" rIns="0" bIns="0" anchor="ctr">
            <a:spAutoFit/>
          </a:bodyPr>
          <a:lstStyle/>
          <a:p>
            <a:pPr algn="ctr">
              <a:buFont typeface="Wingdings 2" pitchFamily="18" charset="2"/>
              <a:buChar char="¡"/>
              <a:defRPr/>
            </a:pPr>
            <a:endParaRPr lang="en-GB" sz="1400"/>
          </a:p>
        </p:txBody>
      </p:sp>
      <p:sp>
        <p:nvSpPr>
          <p:cNvPr id="8" name="AutoShape 5"/>
          <p:cNvSpPr>
            <a:spLocks noChangeArrowheads="1"/>
          </p:cNvSpPr>
          <p:nvPr>
            <p:custDataLst>
              <p:tags r:id="rId12"/>
            </p:custDataLst>
          </p:nvPr>
        </p:nvSpPr>
        <p:spPr bwMode="blackWhite">
          <a:xfrm rot="16200000" flipH="1">
            <a:off x="4431506" y="2191759"/>
            <a:ext cx="282575" cy="404812"/>
          </a:xfrm>
          <a:prstGeom prst="rightArrow">
            <a:avLst>
              <a:gd name="adj1" fmla="val 48481"/>
              <a:gd name="adj2" fmla="val 49389"/>
            </a:avLst>
          </a:prstGeom>
          <a:solidFill>
            <a:schemeClr val="accent3"/>
          </a:solidFill>
          <a:ln w="12700">
            <a:solidFill>
              <a:schemeClr val="bg1"/>
            </a:solidFill>
            <a:miter lim="800000"/>
            <a:headEnd type="none" w="sm" len="sm"/>
            <a:tailEnd type="none" w="sm" len="sm"/>
          </a:ln>
        </p:spPr>
        <p:txBody>
          <a:bodyPr vert="eaVert" lIns="0" tIns="0" rIns="0" bIns="0" anchor="ctr">
            <a:spAutoFit/>
          </a:bodyPr>
          <a:lstStyle/>
          <a:p>
            <a:pPr algn="ctr">
              <a:buFont typeface="Wingdings 2" pitchFamily="18" charset="2"/>
              <a:buChar char="¡"/>
              <a:defRPr/>
            </a:pPr>
            <a:endParaRPr lang="en-GB" sz="1400"/>
          </a:p>
        </p:txBody>
      </p:sp>
      <p:sp>
        <p:nvSpPr>
          <p:cNvPr id="9" name="AutoShape 6"/>
          <p:cNvSpPr>
            <a:spLocks noChangeArrowheads="1"/>
          </p:cNvSpPr>
          <p:nvPr>
            <p:custDataLst>
              <p:tags r:id="rId13"/>
            </p:custDataLst>
          </p:nvPr>
        </p:nvSpPr>
        <p:spPr bwMode="blackWhite">
          <a:xfrm rot="5400000" flipH="1" flipV="1">
            <a:off x="4431506" y="5055609"/>
            <a:ext cx="282575" cy="404812"/>
          </a:xfrm>
          <a:prstGeom prst="rightArrow">
            <a:avLst>
              <a:gd name="adj1" fmla="val 48481"/>
              <a:gd name="adj2" fmla="val 49389"/>
            </a:avLst>
          </a:prstGeom>
          <a:solidFill>
            <a:schemeClr val="accent3"/>
          </a:solidFill>
          <a:ln w="12700">
            <a:solidFill>
              <a:schemeClr val="bg1"/>
            </a:solidFill>
            <a:miter lim="800000"/>
            <a:headEnd type="none" w="sm" len="sm"/>
            <a:tailEnd type="none" w="sm" len="sm"/>
          </a:ln>
        </p:spPr>
        <p:txBody>
          <a:bodyPr vert="eaVert" lIns="0" tIns="0" rIns="0" bIns="0" anchor="ctr">
            <a:spAutoFit/>
          </a:bodyPr>
          <a:lstStyle/>
          <a:p>
            <a:pPr algn="ctr">
              <a:buFont typeface="Wingdings 2" pitchFamily="18" charset="2"/>
              <a:buChar char="¡"/>
              <a:defRPr/>
            </a:pPr>
            <a:endParaRPr lang="en-GB" sz="1400"/>
          </a:p>
        </p:txBody>
      </p:sp>
      <p:sp>
        <p:nvSpPr>
          <p:cNvPr id="17"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8" name="Text Placeholder 12"/>
          <p:cNvSpPr>
            <a:spLocks/>
          </p:cNvSpPr>
          <p:nvPr>
            <p:custDataLst>
              <p:tags r:id="rId14"/>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0578"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7107" name="think-cell Slide" r:id="rId15" imgW="0" imgH="0" progId="">
                  <p:embed/>
                </p:oleObj>
              </mc:Choice>
              <mc:Fallback>
                <p:oleObj name="think-cell Slide" r:id="rId1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80580" name="Title 1"/>
          <p:cNvSpPr>
            <a:spLocks noGrp="1"/>
          </p:cNvSpPr>
          <p:nvPr>
            <p:ph type="title"/>
            <p:custDataLst>
              <p:tags r:id="rId3"/>
            </p:custDataLst>
          </p:nvPr>
        </p:nvSpPr>
        <p:spPr/>
        <p:txBody>
          <a:bodyPr/>
          <a:lstStyle/>
          <a:p>
            <a:r>
              <a:rPr lang="en-GB"/>
              <a:t>Force</a:t>
            </a:r>
            <a:r>
              <a:rPr lang="en-GB" altLang="ja-JP"/>
              <a:t>d</a:t>
            </a:r>
            <a:endParaRPr lang="nl-NL"/>
          </a:p>
        </p:txBody>
      </p:sp>
      <p:sp>
        <p:nvSpPr>
          <p:cNvPr id="16" name="Text Placeholder 12"/>
          <p:cNvSpPr>
            <a:spLocks/>
          </p:cNvSpPr>
          <p:nvPr>
            <p:custDataLst>
              <p:tags r:id="rId4"/>
            </p:custDataLst>
          </p:nvPr>
        </p:nvSpPr>
        <p:spPr bwMode="auto">
          <a:xfrm>
            <a:off x="3179429" y="3392094"/>
            <a:ext cx="2776754" cy="276999"/>
          </a:xfrm>
          <a:prstGeom prst="rect">
            <a:avLst/>
          </a:prstGeom>
          <a:noFill/>
          <a:ln w="9525">
            <a:noFill/>
            <a:miter lim="800000"/>
            <a:headEnd/>
            <a:tailEnd/>
          </a:ln>
        </p:spPr>
        <p:txBody>
          <a:bodyPr wrap="square" lIns="0" tIns="0" rIns="0" bIns="0">
            <a:spAutoFit/>
          </a:bodyPr>
          <a:lstStyle/>
          <a:p>
            <a:pPr defTabSz="1019175">
              <a:spcAft>
                <a:spcPts val="300"/>
              </a:spcAft>
            </a:pPr>
            <a:r>
              <a:rPr lang="en-US" sz="1800" b="1" dirty="0">
                <a:solidFill>
                  <a:schemeClr val="tx2"/>
                </a:solidFill>
              </a:rPr>
              <a:t>Text</a:t>
            </a:r>
          </a:p>
        </p:txBody>
      </p:sp>
      <p:sp>
        <p:nvSpPr>
          <p:cNvPr id="17" name="Freeform 3"/>
          <p:cNvSpPr>
            <a:spLocks/>
          </p:cNvSpPr>
          <p:nvPr>
            <p:custDataLst>
              <p:tags r:id="rId5"/>
            </p:custDataLst>
          </p:nvPr>
        </p:nvSpPr>
        <p:spPr bwMode="blackWhite">
          <a:xfrm>
            <a:off x="4900760" y="1823649"/>
            <a:ext cx="1446212" cy="1373187"/>
          </a:xfrm>
          <a:custGeom>
            <a:avLst/>
            <a:gdLst>
              <a:gd name="T0" fmla="*/ 2147483647 w 671"/>
              <a:gd name="T1" fmla="*/ 2147483647 h 658"/>
              <a:gd name="T2" fmla="*/ 2147483647 w 671"/>
              <a:gd name="T3" fmla="*/ 2147483647 h 658"/>
              <a:gd name="T4" fmla="*/ 0 w 671"/>
              <a:gd name="T5" fmla="*/ 2147483647 h 658"/>
              <a:gd name="T6" fmla="*/ 0 w 671"/>
              <a:gd name="T7" fmla="*/ 2147483647 h 658"/>
              <a:gd name="T8" fmla="*/ 2147483647 w 671"/>
              <a:gd name="T9" fmla="*/ 2147483647 h 658"/>
              <a:gd name="T10" fmla="*/ 2147483647 w 671"/>
              <a:gd name="T11" fmla="*/ 2147483647 h 658"/>
              <a:gd name="T12" fmla="*/ 2147483647 w 671"/>
              <a:gd name="T13" fmla="*/ 0 h 658"/>
              <a:gd name="T14" fmla="*/ 2147483647 w 671"/>
              <a:gd name="T15" fmla="*/ 2147483647 h 658"/>
              <a:gd name="T16" fmla="*/ 2147483647 w 671"/>
              <a:gd name="T17" fmla="*/ 2147483647 h 658"/>
              <a:gd name="T18" fmla="*/ 2147483647 w 671"/>
              <a:gd name="T19" fmla="*/ 2147483647 h 658"/>
              <a:gd name="T20" fmla="*/ 2147483647 w 671"/>
              <a:gd name="T21" fmla="*/ 2147483647 h 658"/>
              <a:gd name="T22" fmla="*/ 2147483647 w 671"/>
              <a:gd name="T23" fmla="*/ 2147483647 h 6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1"/>
              <a:gd name="T37" fmla="*/ 0 h 658"/>
              <a:gd name="T38" fmla="*/ 671 w 671"/>
              <a:gd name="T39" fmla="*/ 658 h 6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1" h="658">
                <a:moveTo>
                  <a:pt x="491" y="578"/>
                </a:moveTo>
                <a:lnTo>
                  <a:pt x="491" y="657"/>
                </a:lnTo>
                <a:lnTo>
                  <a:pt x="0" y="657"/>
                </a:lnTo>
                <a:lnTo>
                  <a:pt x="0" y="166"/>
                </a:lnTo>
                <a:lnTo>
                  <a:pt x="95" y="166"/>
                </a:lnTo>
                <a:lnTo>
                  <a:pt x="95" y="506"/>
                </a:lnTo>
                <a:lnTo>
                  <a:pt x="602" y="0"/>
                </a:lnTo>
                <a:lnTo>
                  <a:pt x="670" y="63"/>
                </a:lnTo>
                <a:lnTo>
                  <a:pt x="166" y="570"/>
                </a:lnTo>
                <a:lnTo>
                  <a:pt x="491" y="570"/>
                </a:lnTo>
                <a:lnTo>
                  <a:pt x="491" y="657"/>
                </a:lnTo>
                <a:lnTo>
                  <a:pt x="491" y="578"/>
                </a:lnTo>
              </a:path>
            </a:pathLst>
          </a:custGeom>
          <a:solidFill>
            <a:schemeClr val="accent3"/>
          </a:solidFill>
          <a:ln w="12700" cap="rnd">
            <a:solidFill>
              <a:schemeClr val="bg1"/>
            </a:solidFill>
            <a:round/>
            <a:headEnd/>
            <a:tailEnd/>
          </a:ln>
        </p:spPr>
        <p:txBody>
          <a:bodyPr/>
          <a:lstStyle/>
          <a:p>
            <a:endParaRPr lang="en-GB"/>
          </a:p>
        </p:txBody>
      </p:sp>
      <p:sp>
        <p:nvSpPr>
          <p:cNvPr id="18" name="Freeform 4"/>
          <p:cNvSpPr>
            <a:spLocks/>
          </p:cNvSpPr>
          <p:nvPr>
            <p:custDataLst>
              <p:tags r:id="rId6"/>
            </p:custDataLst>
          </p:nvPr>
        </p:nvSpPr>
        <p:spPr bwMode="blackWhite">
          <a:xfrm>
            <a:off x="4900760" y="3839774"/>
            <a:ext cx="1454150" cy="1389062"/>
          </a:xfrm>
          <a:custGeom>
            <a:avLst/>
            <a:gdLst>
              <a:gd name="T0" fmla="*/ 2147483647 w 674"/>
              <a:gd name="T1" fmla="*/ 2147483647 h 666"/>
              <a:gd name="T2" fmla="*/ 2147483647 w 674"/>
              <a:gd name="T3" fmla="*/ 0 h 666"/>
              <a:gd name="T4" fmla="*/ 0 w 674"/>
              <a:gd name="T5" fmla="*/ 0 h 666"/>
              <a:gd name="T6" fmla="*/ 0 w 674"/>
              <a:gd name="T7" fmla="*/ 2147483647 h 666"/>
              <a:gd name="T8" fmla="*/ 2147483647 w 674"/>
              <a:gd name="T9" fmla="*/ 2147483647 h 666"/>
              <a:gd name="T10" fmla="*/ 2147483647 w 674"/>
              <a:gd name="T11" fmla="*/ 2147483647 h 666"/>
              <a:gd name="T12" fmla="*/ 2147483647 w 674"/>
              <a:gd name="T13" fmla="*/ 2147483647 h 666"/>
              <a:gd name="T14" fmla="*/ 2147483647 w 674"/>
              <a:gd name="T15" fmla="*/ 2147483647 h 666"/>
              <a:gd name="T16" fmla="*/ 2147483647 w 674"/>
              <a:gd name="T17" fmla="*/ 2147483647 h 666"/>
              <a:gd name="T18" fmla="*/ 2147483647 w 674"/>
              <a:gd name="T19" fmla="*/ 2147483647 h 666"/>
              <a:gd name="T20" fmla="*/ 2147483647 w 674"/>
              <a:gd name="T21" fmla="*/ 0 h 666"/>
              <a:gd name="T22" fmla="*/ 2147483647 w 674"/>
              <a:gd name="T23" fmla="*/ 2147483647 h 6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4"/>
              <a:gd name="T37" fmla="*/ 0 h 666"/>
              <a:gd name="T38" fmla="*/ 674 w 674"/>
              <a:gd name="T39" fmla="*/ 666 h 6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4" h="666">
                <a:moveTo>
                  <a:pt x="491" y="79"/>
                </a:moveTo>
                <a:lnTo>
                  <a:pt x="491" y="0"/>
                </a:lnTo>
                <a:lnTo>
                  <a:pt x="0" y="0"/>
                </a:lnTo>
                <a:lnTo>
                  <a:pt x="0" y="491"/>
                </a:lnTo>
                <a:lnTo>
                  <a:pt x="95" y="491"/>
                </a:lnTo>
                <a:lnTo>
                  <a:pt x="95" y="159"/>
                </a:lnTo>
                <a:lnTo>
                  <a:pt x="602" y="665"/>
                </a:lnTo>
                <a:lnTo>
                  <a:pt x="673" y="594"/>
                </a:lnTo>
                <a:lnTo>
                  <a:pt x="174" y="95"/>
                </a:lnTo>
                <a:lnTo>
                  <a:pt x="491" y="95"/>
                </a:lnTo>
                <a:lnTo>
                  <a:pt x="491" y="0"/>
                </a:lnTo>
                <a:lnTo>
                  <a:pt x="491" y="79"/>
                </a:lnTo>
              </a:path>
            </a:pathLst>
          </a:custGeom>
          <a:solidFill>
            <a:schemeClr val="accent3"/>
          </a:solidFill>
          <a:ln w="12700" cap="rnd">
            <a:solidFill>
              <a:schemeClr val="bg1"/>
            </a:solidFill>
            <a:round/>
            <a:headEnd/>
            <a:tailEnd/>
          </a:ln>
        </p:spPr>
        <p:txBody>
          <a:bodyPr/>
          <a:lstStyle/>
          <a:p>
            <a:endParaRPr lang="en-GB"/>
          </a:p>
        </p:txBody>
      </p:sp>
      <p:sp>
        <p:nvSpPr>
          <p:cNvPr id="19" name="Freeform 5"/>
          <p:cNvSpPr>
            <a:spLocks/>
          </p:cNvSpPr>
          <p:nvPr>
            <p:custDataLst>
              <p:tags r:id="rId7"/>
            </p:custDataLst>
          </p:nvPr>
        </p:nvSpPr>
        <p:spPr bwMode="blackWhite">
          <a:xfrm>
            <a:off x="2783035" y="3839774"/>
            <a:ext cx="1465262" cy="1403350"/>
          </a:xfrm>
          <a:custGeom>
            <a:avLst/>
            <a:gdLst>
              <a:gd name="T0" fmla="*/ 2147483647 w 680"/>
              <a:gd name="T1" fmla="*/ 2147483647 h 672"/>
              <a:gd name="T2" fmla="*/ 2147483647 w 680"/>
              <a:gd name="T3" fmla="*/ 0 h 672"/>
              <a:gd name="T4" fmla="*/ 2147483647 w 680"/>
              <a:gd name="T5" fmla="*/ 0 h 672"/>
              <a:gd name="T6" fmla="*/ 2147483647 w 680"/>
              <a:gd name="T7" fmla="*/ 2147483647 h 672"/>
              <a:gd name="T8" fmla="*/ 2147483647 w 680"/>
              <a:gd name="T9" fmla="*/ 2147483647 h 672"/>
              <a:gd name="T10" fmla="*/ 2147483647 w 680"/>
              <a:gd name="T11" fmla="*/ 2147483647 h 672"/>
              <a:gd name="T12" fmla="*/ 2147483647 w 680"/>
              <a:gd name="T13" fmla="*/ 2147483647 h 672"/>
              <a:gd name="T14" fmla="*/ 0 w 680"/>
              <a:gd name="T15" fmla="*/ 2147483647 h 672"/>
              <a:gd name="T16" fmla="*/ 2147483647 w 680"/>
              <a:gd name="T17" fmla="*/ 2147483647 h 672"/>
              <a:gd name="T18" fmla="*/ 2147483647 w 680"/>
              <a:gd name="T19" fmla="*/ 2147483647 h 672"/>
              <a:gd name="T20" fmla="*/ 2147483647 w 680"/>
              <a:gd name="T21" fmla="*/ 0 h 6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72"/>
              <a:gd name="T35" fmla="*/ 680 w 680"/>
              <a:gd name="T36" fmla="*/ 672 h 6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72">
                <a:moveTo>
                  <a:pt x="184" y="80"/>
                </a:moveTo>
                <a:lnTo>
                  <a:pt x="184" y="0"/>
                </a:lnTo>
                <a:lnTo>
                  <a:pt x="679" y="0"/>
                </a:lnTo>
                <a:lnTo>
                  <a:pt x="679" y="495"/>
                </a:lnTo>
                <a:lnTo>
                  <a:pt x="583" y="495"/>
                </a:lnTo>
                <a:lnTo>
                  <a:pt x="583" y="160"/>
                </a:lnTo>
                <a:lnTo>
                  <a:pt x="72" y="671"/>
                </a:lnTo>
                <a:lnTo>
                  <a:pt x="0" y="599"/>
                </a:lnTo>
                <a:lnTo>
                  <a:pt x="503" y="96"/>
                </a:lnTo>
                <a:lnTo>
                  <a:pt x="184" y="96"/>
                </a:lnTo>
                <a:lnTo>
                  <a:pt x="184" y="0"/>
                </a:lnTo>
              </a:path>
            </a:pathLst>
          </a:custGeom>
          <a:solidFill>
            <a:schemeClr val="accent3"/>
          </a:solidFill>
          <a:ln w="12700" cap="rnd">
            <a:solidFill>
              <a:schemeClr val="bg1"/>
            </a:solidFill>
            <a:round/>
            <a:headEnd type="none" w="sm" len="sm"/>
            <a:tailEnd type="none" w="sm" len="sm"/>
          </a:ln>
        </p:spPr>
        <p:txBody>
          <a:bodyPr/>
          <a:lstStyle/>
          <a:p>
            <a:endParaRPr lang="en-GB"/>
          </a:p>
        </p:txBody>
      </p:sp>
      <p:sp>
        <p:nvSpPr>
          <p:cNvPr id="20" name="Freeform 6"/>
          <p:cNvSpPr>
            <a:spLocks/>
          </p:cNvSpPr>
          <p:nvPr>
            <p:custDataLst>
              <p:tags r:id="rId8"/>
            </p:custDataLst>
          </p:nvPr>
        </p:nvSpPr>
        <p:spPr bwMode="blackWhite">
          <a:xfrm>
            <a:off x="2783035" y="1810949"/>
            <a:ext cx="1465262" cy="1385887"/>
          </a:xfrm>
          <a:custGeom>
            <a:avLst/>
            <a:gdLst>
              <a:gd name="T0" fmla="*/ 2147483647 w 680"/>
              <a:gd name="T1" fmla="*/ 2147483647 h 664"/>
              <a:gd name="T2" fmla="*/ 2147483647 w 680"/>
              <a:gd name="T3" fmla="*/ 2147483647 h 664"/>
              <a:gd name="T4" fmla="*/ 2147483647 w 680"/>
              <a:gd name="T5" fmla="*/ 2147483647 h 664"/>
              <a:gd name="T6" fmla="*/ 2147483647 w 680"/>
              <a:gd name="T7" fmla="*/ 2147483647 h 664"/>
              <a:gd name="T8" fmla="*/ 2147483647 w 680"/>
              <a:gd name="T9" fmla="*/ 2147483647 h 664"/>
              <a:gd name="T10" fmla="*/ 2147483647 w 680"/>
              <a:gd name="T11" fmla="*/ 2147483647 h 664"/>
              <a:gd name="T12" fmla="*/ 2147483647 w 680"/>
              <a:gd name="T13" fmla="*/ 0 h 664"/>
              <a:gd name="T14" fmla="*/ 0 w 680"/>
              <a:gd name="T15" fmla="*/ 2147483647 h 664"/>
              <a:gd name="T16" fmla="*/ 2147483647 w 680"/>
              <a:gd name="T17" fmla="*/ 2147483647 h 664"/>
              <a:gd name="T18" fmla="*/ 2147483647 w 680"/>
              <a:gd name="T19" fmla="*/ 2147483647 h 664"/>
              <a:gd name="T20" fmla="*/ 2147483647 w 680"/>
              <a:gd name="T21" fmla="*/ 2147483647 h 6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64"/>
              <a:gd name="T35" fmla="*/ 680 w 680"/>
              <a:gd name="T36" fmla="*/ 664 h 6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64">
                <a:moveTo>
                  <a:pt x="184" y="583"/>
                </a:moveTo>
                <a:lnTo>
                  <a:pt x="184" y="663"/>
                </a:lnTo>
                <a:lnTo>
                  <a:pt x="679" y="663"/>
                </a:lnTo>
                <a:lnTo>
                  <a:pt x="679" y="168"/>
                </a:lnTo>
                <a:lnTo>
                  <a:pt x="583" y="168"/>
                </a:lnTo>
                <a:lnTo>
                  <a:pt x="583" y="511"/>
                </a:lnTo>
                <a:lnTo>
                  <a:pt x="72" y="0"/>
                </a:lnTo>
                <a:lnTo>
                  <a:pt x="0" y="72"/>
                </a:lnTo>
                <a:lnTo>
                  <a:pt x="511" y="575"/>
                </a:lnTo>
                <a:lnTo>
                  <a:pt x="184" y="575"/>
                </a:lnTo>
                <a:lnTo>
                  <a:pt x="184" y="663"/>
                </a:lnTo>
              </a:path>
            </a:pathLst>
          </a:custGeom>
          <a:solidFill>
            <a:schemeClr val="accent3"/>
          </a:solidFill>
          <a:ln w="12700" cap="rnd">
            <a:solidFill>
              <a:schemeClr val="bg1"/>
            </a:solidFill>
            <a:round/>
            <a:headEnd type="none" w="sm" len="sm"/>
            <a:tailEnd type="none" w="sm" len="sm"/>
          </a:ln>
        </p:spPr>
        <p:txBody>
          <a:bodyPr/>
          <a:lstStyle/>
          <a:p>
            <a:endParaRPr lang="en-GB"/>
          </a:p>
        </p:txBody>
      </p:sp>
      <p:sp>
        <p:nvSpPr>
          <p:cNvPr id="21" name="Text Placeholder 15"/>
          <p:cNvSpPr txBox="1">
            <a:spLocks/>
          </p:cNvSpPr>
          <p:nvPr>
            <p:custDataLst>
              <p:tags r:id="rId9"/>
            </p:custDataLst>
          </p:nvPr>
        </p:nvSpPr>
        <p:spPr>
          <a:xfrm>
            <a:off x="1087905" y="1594790"/>
            <a:ext cx="1686148" cy="751881"/>
          </a:xfrm>
          <a:prstGeom prst="rect">
            <a:avLst/>
          </a:prstGeom>
        </p:spPr>
        <p:txBody>
          <a:bodyPr/>
          <a:lstStyle/>
          <a:p>
            <a:pPr marL="168275" lvl="1" indent="-168275" algn="l">
              <a:spcBef>
                <a:spcPts val="400"/>
              </a:spcBef>
              <a:buFont typeface="Arial" charset="0"/>
              <a:buChar char="•"/>
            </a:pPr>
            <a:r>
              <a:rPr lang="en-US" sz="1800" b="0" dirty="0" smtClean="0">
                <a:solidFill>
                  <a:srgbClr val="002776"/>
                </a:solidFill>
              </a:rPr>
              <a:t>Bullet</a:t>
            </a:r>
          </a:p>
          <a:p>
            <a:pPr marL="344488" lvl="2" indent="-176213" algn="l">
              <a:spcBef>
                <a:spcPts val="400"/>
              </a:spcBef>
              <a:buFont typeface="Arial" charset="0"/>
              <a:buChar char="‒"/>
            </a:pPr>
            <a:r>
              <a:rPr lang="en-US" sz="1600" b="0" dirty="0" smtClean="0">
                <a:solidFill>
                  <a:srgbClr val="002776"/>
                </a:solidFill>
              </a:rPr>
              <a:t>Dash</a:t>
            </a:r>
          </a:p>
          <a:p>
            <a:pPr marL="511175" lvl="3" indent="-166688" algn="l">
              <a:spcBef>
                <a:spcPts val="400"/>
              </a:spcBef>
              <a:buFont typeface="Arial" charset="0"/>
              <a:buChar char="•"/>
            </a:pPr>
            <a:r>
              <a:rPr lang="en-US" sz="1600" b="0" dirty="0" err="1" smtClean="0">
                <a:solidFill>
                  <a:srgbClr val="002776"/>
                </a:solidFill>
              </a:rPr>
              <a:t>Subbullet</a:t>
            </a:r>
            <a:endParaRPr lang="en-US" sz="1600" b="0" dirty="0">
              <a:solidFill>
                <a:srgbClr val="002776"/>
              </a:solidFill>
            </a:endParaRPr>
          </a:p>
        </p:txBody>
      </p:sp>
      <p:sp>
        <p:nvSpPr>
          <p:cNvPr id="22" name="Text Placeholder 15"/>
          <p:cNvSpPr txBox="1">
            <a:spLocks/>
          </p:cNvSpPr>
          <p:nvPr>
            <p:custDataLst>
              <p:tags r:id="rId10"/>
            </p:custDataLst>
          </p:nvPr>
        </p:nvSpPr>
        <p:spPr>
          <a:xfrm>
            <a:off x="1087905" y="4502167"/>
            <a:ext cx="1686148" cy="751881"/>
          </a:xfrm>
          <a:prstGeom prst="rect">
            <a:avLst/>
          </a:prstGeom>
        </p:spPr>
        <p:txBody>
          <a:bodyPr/>
          <a:lstStyle/>
          <a:p>
            <a:pPr marL="168275" lvl="1" indent="-168275" algn="l">
              <a:spcBef>
                <a:spcPts val="400"/>
              </a:spcBef>
              <a:buFont typeface="Arial" charset="0"/>
              <a:buChar char="•"/>
            </a:pPr>
            <a:r>
              <a:rPr lang="en-US" sz="1800" b="0" dirty="0" smtClean="0">
                <a:solidFill>
                  <a:srgbClr val="002776"/>
                </a:solidFill>
              </a:rPr>
              <a:t>Bullet</a:t>
            </a:r>
          </a:p>
          <a:p>
            <a:pPr marL="344488" lvl="2" indent="-176213" algn="l">
              <a:spcBef>
                <a:spcPts val="400"/>
              </a:spcBef>
              <a:buFont typeface="Arial" charset="0"/>
              <a:buChar char="‒"/>
            </a:pPr>
            <a:r>
              <a:rPr lang="en-US" sz="1600" b="0" dirty="0" smtClean="0">
                <a:solidFill>
                  <a:srgbClr val="002776"/>
                </a:solidFill>
              </a:rPr>
              <a:t>Dash</a:t>
            </a:r>
          </a:p>
          <a:p>
            <a:pPr marL="511175" lvl="3" indent="-166688" algn="l">
              <a:spcBef>
                <a:spcPts val="400"/>
              </a:spcBef>
              <a:buFont typeface="Arial" charset="0"/>
              <a:buChar char="•"/>
            </a:pPr>
            <a:r>
              <a:rPr lang="en-US" sz="1600" b="0" dirty="0" err="1" smtClean="0">
                <a:solidFill>
                  <a:srgbClr val="002776"/>
                </a:solidFill>
              </a:rPr>
              <a:t>Subbullet</a:t>
            </a:r>
            <a:endParaRPr lang="en-US" sz="1600" b="0" dirty="0">
              <a:solidFill>
                <a:srgbClr val="002776"/>
              </a:solidFill>
            </a:endParaRPr>
          </a:p>
        </p:txBody>
      </p:sp>
      <p:sp>
        <p:nvSpPr>
          <p:cNvPr id="23" name="Text Placeholder 15"/>
          <p:cNvSpPr txBox="1">
            <a:spLocks/>
          </p:cNvSpPr>
          <p:nvPr>
            <p:custDataLst>
              <p:tags r:id="rId11"/>
            </p:custDataLst>
          </p:nvPr>
        </p:nvSpPr>
        <p:spPr>
          <a:xfrm>
            <a:off x="6464593" y="1605425"/>
            <a:ext cx="1686148" cy="751881"/>
          </a:xfrm>
          <a:prstGeom prst="rect">
            <a:avLst/>
          </a:prstGeom>
        </p:spPr>
        <p:txBody>
          <a:bodyPr/>
          <a:lstStyle/>
          <a:p>
            <a:pPr marL="168275" lvl="1" indent="-168275" algn="l">
              <a:spcBef>
                <a:spcPts val="400"/>
              </a:spcBef>
              <a:buFont typeface="Arial" charset="0"/>
              <a:buChar char="•"/>
            </a:pPr>
            <a:r>
              <a:rPr lang="en-US" sz="1800" b="0" dirty="0" smtClean="0">
                <a:solidFill>
                  <a:srgbClr val="002776"/>
                </a:solidFill>
              </a:rPr>
              <a:t>Bullet</a:t>
            </a:r>
          </a:p>
          <a:p>
            <a:pPr marL="344488" lvl="2" indent="-176213" algn="l">
              <a:spcBef>
                <a:spcPts val="400"/>
              </a:spcBef>
              <a:buFont typeface="Arial" charset="0"/>
              <a:buChar char="‒"/>
            </a:pPr>
            <a:r>
              <a:rPr lang="en-US" sz="1600" b="0" dirty="0" smtClean="0">
                <a:solidFill>
                  <a:srgbClr val="002776"/>
                </a:solidFill>
              </a:rPr>
              <a:t>Dash</a:t>
            </a:r>
          </a:p>
          <a:p>
            <a:pPr marL="511175" lvl="3" indent="-166688" algn="l">
              <a:spcBef>
                <a:spcPts val="400"/>
              </a:spcBef>
              <a:buFont typeface="Arial" charset="0"/>
              <a:buChar char="•"/>
            </a:pPr>
            <a:r>
              <a:rPr lang="en-US" sz="1600" b="0" dirty="0" err="1" smtClean="0">
                <a:solidFill>
                  <a:srgbClr val="002776"/>
                </a:solidFill>
              </a:rPr>
              <a:t>Subbullet</a:t>
            </a:r>
            <a:endParaRPr lang="en-US" sz="1600" b="0" dirty="0">
              <a:solidFill>
                <a:srgbClr val="002776"/>
              </a:solidFill>
            </a:endParaRPr>
          </a:p>
        </p:txBody>
      </p:sp>
      <p:sp>
        <p:nvSpPr>
          <p:cNvPr id="24" name="Text Placeholder 15"/>
          <p:cNvSpPr txBox="1">
            <a:spLocks/>
          </p:cNvSpPr>
          <p:nvPr>
            <p:custDataLst>
              <p:tags r:id="rId12"/>
            </p:custDataLst>
          </p:nvPr>
        </p:nvSpPr>
        <p:spPr>
          <a:xfrm>
            <a:off x="6464593" y="4497476"/>
            <a:ext cx="1686148" cy="751881"/>
          </a:xfrm>
          <a:prstGeom prst="rect">
            <a:avLst/>
          </a:prstGeom>
        </p:spPr>
        <p:txBody>
          <a:bodyPr/>
          <a:lstStyle/>
          <a:p>
            <a:pPr marL="168275" lvl="1" indent="-168275" algn="l">
              <a:spcBef>
                <a:spcPts val="400"/>
              </a:spcBef>
              <a:buFont typeface="Arial" charset="0"/>
              <a:buChar char="•"/>
            </a:pPr>
            <a:r>
              <a:rPr lang="en-US" sz="1800" b="0" dirty="0" smtClean="0">
                <a:solidFill>
                  <a:srgbClr val="002776"/>
                </a:solidFill>
              </a:rPr>
              <a:t>Bullet</a:t>
            </a:r>
          </a:p>
          <a:p>
            <a:pPr marL="344488" lvl="2" indent="-176213" algn="l">
              <a:spcBef>
                <a:spcPts val="400"/>
              </a:spcBef>
              <a:buFont typeface="Arial" charset="0"/>
              <a:buChar char="‒"/>
            </a:pPr>
            <a:r>
              <a:rPr lang="en-US" sz="1600" b="0" dirty="0" smtClean="0">
                <a:solidFill>
                  <a:srgbClr val="002776"/>
                </a:solidFill>
              </a:rPr>
              <a:t>Dash</a:t>
            </a:r>
          </a:p>
          <a:p>
            <a:pPr marL="511175" lvl="3" indent="-166688" algn="l">
              <a:spcBef>
                <a:spcPts val="400"/>
              </a:spcBef>
              <a:buFont typeface="Arial" charset="0"/>
              <a:buChar char="•"/>
            </a:pPr>
            <a:r>
              <a:rPr lang="en-US" sz="1600" b="0" dirty="0" err="1" smtClean="0">
                <a:solidFill>
                  <a:srgbClr val="002776"/>
                </a:solidFill>
              </a:rPr>
              <a:t>Subbullet</a:t>
            </a:r>
            <a:endParaRPr lang="en-US" sz="1600" b="0" dirty="0">
              <a:solidFill>
                <a:srgbClr val="002776"/>
              </a:solidFill>
            </a:endParaRPr>
          </a:p>
        </p:txBody>
      </p:sp>
      <p:sp>
        <p:nvSpPr>
          <p:cNvPr id="25"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6" name="Text Placeholder 12"/>
          <p:cNvSpPr>
            <a:spLocks/>
          </p:cNvSpPr>
          <p:nvPr>
            <p:custDataLst>
              <p:tags r:id="rId13"/>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5729" name="Title 2"/>
          <p:cNvSpPr>
            <a:spLocks noGrp="1"/>
          </p:cNvSpPr>
          <p:nvPr>
            <p:ph type="title"/>
          </p:nvPr>
        </p:nvSpPr>
        <p:spPr>
          <a:xfrm>
            <a:off x="414338" y="446038"/>
            <a:ext cx="8330184" cy="333425"/>
          </a:xfrm>
        </p:spPr>
        <p:txBody>
          <a:bodyPr/>
          <a:lstStyle/>
          <a:p>
            <a:r>
              <a:rPr lang="en-US"/>
              <a:t>Text boxes — two ways of showing major points</a:t>
            </a:r>
            <a:endParaRPr lang="nl-NL"/>
          </a:p>
        </p:txBody>
      </p:sp>
      <p:sp>
        <p:nvSpPr>
          <p:cNvPr id="585731" name="Text Placeholder 22"/>
          <p:cNvSpPr>
            <a:spLocks noGrp="1"/>
          </p:cNvSpPr>
          <p:nvPr>
            <p:ph type="body" sz="quarter" idx="4294967295"/>
          </p:nvPr>
        </p:nvSpPr>
        <p:spPr bwMode="auto">
          <a:xfrm>
            <a:off x="2100263" y="1592639"/>
            <a:ext cx="2339975" cy="748923"/>
          </a:xfrm>
          <a:prstGeom prst="rect">
            <a:avLst/>
          </a:prstGeom>
        </p:spPr>
        <p:txBody>
          <a:bodyPr lIns="0" tIns="0" rIns="0" bIns="0"/>
          <a:lstStyle/>
          <a:p>
            <a:pPr marL="117475" lvl="1" indent="-117475" defTabSz="957998">
              <a:spcAft>
                <a:spcPts val="0"/>
              </a:spcAft>
              <a:defRPr/>
            </a:pPr>
            <a:r>
              <a:rPr lang="nl-NL" sz="1400" dirty="0">
                <a:solidFill>
                  <a:srgbClr val="002776"/>
                </a:solidFill>
                <a:latin typeface="Arial"/>
              </a:rPr>
              <a:t>Bullet</a:t>
            </a:r>
          </a:p>
          <a:p>
            <a:pPr marL="117475" lvl="1" indent="-117475" defTabSz="957998">
              <a:spcAft>
                <a:spcPts val="0"/>
              </a:spcAft>
              <a:defRPr/>
            </a:pPr>
            <a:r>
              <a:rPr lang="nl-NL" sz="1400" dirty="0">
                <a:solidFill>
                  <a:srgbClr val="002776"/>
                </a:solidFill>
                <a:latin typeface="Arial"/>
              </a:rPr>
              <a:t>Bullet</a:t>
            </a:r>
          </a:p>
          <a:p>
            <a:pPr marL="117475" lvl="1" indent="-117475" defTabSz="957998">
              <a:spcAft>
                <a:spcPts val="0"/>
              </a:spcAft>
              <a:defRPr/>
            </a:pPr>
            <a:r>
              <a:rPr lang="nl-NL" sz="1400" dirty="0">
                <a:solidFill>
                  <a:srgbClr val="002776"/>
                </a:solidFill>
                <a:latin typeface="Arial"/>
              </a:rPr>
              <a:t>Bullet</a:t>
            </a:r>
          </a:p>
        </p:txBody>
      </p:sp>
      <p:sp>
        <p:nvSpPr>
          <p:cNvPr id="585732" name="Text Placeholder 23"/>
          <p:cNvSpPr>
            <a:spLocks noGrp="1"/>
          </p:cNvSpPr>
          <p:nvPr>
            <p:ph type="body" sz="quarter" idx="4294967295"/>
          </p:nvPr>
        </p:nvSpPr>
        <p:spPr bwMode="auto">
          <a:xfrm>
            <a:off x="2100263" y="2712744"/>
            <a:ext cx="2339975" cy="748923"/>
          </a:xfrm>
          <a:prstGeom prst="rect">
            <a:avLst/>
          </a:prstGeom>
        </p:spPr>
        <p:txBody>
          <a:bodyPr lIns="0" tIns="0" rIns="0" bIns="0"/>
          <a:lstStyle/>
          <a:p>
            <a:pPr marL="117475" lvl="1" indent="-117475" defTabSz="957998">
              <a:spcAft>
                <a:spcPts val="0"/>
              </a:spcAft>
              <a:defRPr/>
            </a:pPr>
            <a:r>
              <a:rPr lang="nl-NL" sz="1400" dirty="0">
                <a:solidFill>
                  <a:srgbClr val="002776"/>
                </a:solidFill>
              </a:rPr>
              <a:t>Bullet</a:t>
            </a:r>
          </a:p>
          <a:p>
            <a:pPr marL="117475" lvl="1" indent="-117475" defTabSz="957998">
              <a:spcAft>
                <a:spcPts val="0"/>
              </a:spcAft>
              <a:defRPr/>
            </a:pPr>
            <a:r>
              <a:rPr lang="nl-NL" sz="1400" dirty="0">
                <a:solidFill>
                  <a:srgbClr val="002776"/>
                </a:solidFill>
              </a:rPr>
              <a:t>Bullet</a:t>
            </a:r>
          </a:p>
          <a:p>
            <a:pPr marL="117475" lvl="1" indent="-117475" defTabSz="957998">
              <a:spcAft>
                <a:spcPts val="0"/>
              </a:spcAft>
              <a:defRPr/>
            </a:pPr>
            <a:r>
              <a:rPr lang="nl-NL" sz="1400" dirty="0">
                <a:solidFill>
                  <a:srgbClr val="002776"/>
                </a:solidFill>
              </a:rPr>
              <a:t>Bullet</a:t>
            </a:r>
          </a:p>
        </p:txBody>
      </p:sp>
      <p:sp>
        <p:nvSpPr>
          <p:cNvPr id="585733" name="Text Placeholder 24"/>
          <p:cNvSpPr>
            <a:spLocks noGrp="1"/>
          </p:cNvSpPr>
          <p:nvPr>
            <p:ph type="body" sz="quarter" idx="4294967295"/>
          </p:nvPr>
        </p:nvSpPr>
        <p:spPr bwMode="auto">
          <a:xfrm>
            <a:off x="5576888" y="1592639"/>
            <a:ext cx="3170237" cy="748923"/>
          </a:xfrm>
          <a:prstGeom prst="rect">
            <a:avLst/>
          </a:prstGeom>
        </p:spPr>
        <p:txBody>
          <a:bodyPr lIns="0" tIns="0" rIns="0" bIns="0"/>
          <a:lstStyle/>
          <a:p>
            <a:pPr marL="117475" lvl="1" indent="-117475" defTabSz="957998">
              <a:spcAft>
                <a:spcPts val="0"/>
              </a:spcAft>
              <a:defRPr/>
            </a:pPr>
            <a:r>
              <a:rPr lang="nl-NL" sz="1400" dirty="0">
                <a:solidFill>
                  <a:srgbClr val="002776"/>
                </a:solidFill>
              </a:rPr>
              <a:t>Bullet</a:t>
            </a:r>
          </a:p>
          <a:p>
            <a:pPr marL="117475" lvl="1" indent="-117475" defTabSz="957998">
              <a:spcAft>
                <a:spcPts val="0"/>
              </a:spcAft>
              <a:defRPr/>
            </a:pPr>
            <a:r>
              <a:rPr lang="nl-NL" sz="1400" dirty="0">
                <a:solidFill>
                  <a:srgbClr val="002776"/>
                </a:solidFill>
              </a:rPr>
              <a:t>Bullet</a:t>
            </a:r>
          </a:p>
          <a:p>
            <a:pPr marL="117475" lvl="1" indent="-117475" defTabSz="957998">
              <a:spcAft>
                <a:spcPts val="0"/>
              </a:spcAft>
              <a:defRPr/>
            </a:pPr>
            <a:r>
              <a:rPr lang="nl-NL" sz="1400" dirty="0">
                <a:solidFill>
                  <a:srgbClr val="002776"/>
                </a:solidFill>
              </a:rPr>
              <a:t>Bullet</a:t>
            </a:r>
          </a:p>
        </p:txBody>
      </p:sp>
      <p:sp>
        <p:nvSpPr>
          <p:cNvPr id="585734" name="Text Placeholder 25"/>
          <p:cNvSpPr>
            <a:spLocks noGrp="1"/>
          </p:cNvSpPr>
          <p:nvPr>
            <p:ph type="body" sz="quarter" idx="4294967295"/>
          </p:nvPr>
        </p:nvSpPr>
        <p:spPr bwMode="auto">
          <a:xfrm>
            <a:off x="5576888" y="2712744"/>
            <a:ext cx="3170237" cy="748923"/>
          </a:xfrm>
          <a:prstGeom prst="rect">
            <a:avLst/>
          </a:prstGeom>
        </p:spPr>
        <p:txBody>
          <a:bodyPr lIns="0" tIns="0" rIns="0" bIns="0"/>
          <a:lstStyle/>
          <a:p>
            <a:pPr marL="117475" lvl="1" indent="-117475" defTabSz="957998">
              <a:spcAft>
                <a:spcPts val="0"/>
              </a:spcAft>
              <a:defRPr/>
            </a:pPr>
            <a:r>
              <a:rPr lang="nl-NL" sz="1400" dirty="0">
                <a:solidFill>
                  <a:srgbClr val="002776"/>
                </a:solidFill>
              </a:rPr>
              <a:t>Bullet</a:t>
            </a:r>
          </a:p>
          <a:p>
            <a:pPr marL="117475" lvl="1" indent="-117475" defTabSz="957998">
              <a:spcAft>
                <a:spcPts val="0"/>
              </a:spcAft>
              <a:defRPr/>
            </a:pPr>
            <a:r>
              <a:rPr lang="nl-NL" sz="1400" dirty="0">
                <a:solidFill>
                  <a:srgbClr val="002776"/>
                </a:solidFill>
              </a:rPr>
              <a:t>Bullet</a:t>
            </a:r>
          </a:p>
          <a:p>
            <a:pPr marL="117475" lvl="1" indent="-117475" defTabSz="957998">
              <a:spcAft>
                <a:spcPts val="0"/>
              </a:spcAft>
              <a:defRPr/>
            </a:pPr>
            <a:r>
              <a:rPr lang="nl-NL" sz="1400" dirty="0">
                <a:solidFill>
                  <a:srgbClr val="002776"/>
                </a:solidFill>
              </a:rPr>
              <a:t>Bullet</a:t>
            </a:r>
          </a:p>
        </p:txBody>
      </p:sp>
      <p:sp>
        <p:nvSpPr>
          <p:cNvPr id="585735" name="Text Placeholder 26"/>
          <p:cNvSpPr>
            <a:spLocks noGrp="1"/>
          </p:cNvSpPr>
          <p:nvPr>
            <p:ph type="body" sz="quarter" idx="4294967295"/>
          </p:nvPr>
        </p:nvSpPr>
        <p:spPr bwMode="auto">
          <a:xfrm>
            <a:off x="5576888" y="3830373"/>
            <a:ext cx="3170237" cy="748923"/>
          </a:xfrm>
          <a:prstGeom prst="rect">
            <a:avLst/>
          </a:prstGeom>
        </p:spPr>
        <p:txBody>
          <a:bodyPr lIns="0" tIns="0" rIns="0" bIns="0"/>
          <a:lstStyle/>
          <a:p>
            <a:pPr marL="117475" lvl="1" indent="-117475" defTabSz="957998">
              <a:spcAft>
                <a:spcPts val="0"/>
              </a:spcAft>
              <a:defRPr/>
            </a:pPr>
            <a:r>
              <a:rPr lang="nl-NL" sz="1400" dirty="0">
                <a:solidFill>
                  <a:srgbClr val="002776"/>
                </a:solidFill>
              </a:rPr>
              <a:t>Bullet</a:t>
            </a:r>
          </a:p>
          <a:p>
            <a:pPr marL="117475" lvl="1" indent="-117475" defTabSz="957998">
              <a:spcAft>
                <a:spcPts val="0"/>
              </a:spcAft>
              <a:defRPr/>
            </a:pPr>
            <a:r>
              <a:rPr lang="nl-NL" sz="1400" dirty="0">
                <a:solidFill>
                  <a:srgbClr val="002776"/>
                </a:solidFill>
              </a:rPr>
              <a:t>Bullet</a:t>
            </a:r>
          </a:p>
          <a:p>
            <a:pPr marL="117475" lvl="1" indent="-117475" defTabSz="957998">
              <a:spcAft>
                <a:spcPts val="0"/>
              </a:spcAft>
              <a:defRPr/>
            </a:pPr>
            <a:r>
              <a:rPr lang="nl-NL" sz="1400" dirty="0">
                <a:solidFill>
                  <a:srgbClr val="002776"/>
                </a:solidFill>
              </a:rPr>
              <a:t>Bullet</a:t>
            </a:r>
          </a:p>
        </p:txBody>
      </p:sp>
      <p:sp>
        <p:nvSpPr>
          <p:cNvPr id="585736" name="Text Placeholder 27"/>
          <p:cNvSpPr>
            <a:spLocks noGrp="1"/>
          </p:cNvSpPr>
          <p:nvPr>
            <p:ph type="body" sz="quarter" idx="4294967295"/>
          </p:nvPr>
        </p:nvSpPr>
        <p:spPr bwMode="auto">
          <a:xfrm>
            <a:off x="2100263" y="3828786"/>
            <a:ext cx="2339975" cy="748923"/>
          </a:xfrm>
          <a:prstGeom prst="rect">
            <a:avLst/>
          </a:prstGeom>
        </p:spPr>
        <p:txBody>
          <a:bodyPr lIns="0" tIns="0" rIns="0" bIns="0"/>
          <a:lstStyle/>
          <a:p>
            <a:pPr marL="117475" lvl="1" indent="-117475" defTabSz="957998">
              <a:spcAft>
                <a:spcPts val="0"/>
              </a:spcAft>
              <a:defRPr/>
            </a:pPr>
            <a:r>
              <a:rPr lang="nl-NL" sz="1400" dirty="0">
                <a:solidFill>
                  <a:srgbClr val="002776"/>
                </a:solidFill>
              </a:rPr>
              <a:t>Bullet</a:t>
            </a:r>
          </a:p>
          <a:p>
            <a:pPr marL="117475" lvl="1" indent="-117475" defTabSz="957998">
              <a:spcAft>
                <a:spcPts val="0"/>
              </a:spcAft>
              <a:defRPr/>
            </a:pPr>
            <a:r>
              <a:rPr lang="nl-NL" sz="1400" dirty="0">
                <a:solidFill>
                  <a:srgbClr val="002776"/>
                </a:solidFill>
              </a:rPr>
              <a:t>Bullet</a:t>
            </a:r>
          </a:p>
          <a:p>
            <a:pPr marL="117475" lvl="1" indent="-117475" defTabSz="957998">
              <a:spcAft>
                <a:spcPts val="0"/>
              </a:spcAft>
              <a:defRPr/>
            </a:pPr>
            <a:r>
              <a:rPr lang="nl-NL" sz="1400" dirty="0">
                <a:solidFill>
                  <a:srgbClr val="002776"/>
                </a:solidFill>
              </a:rPr>
              <a:t>Bullet</a:t>
            </a:r>
          </a:p>
        </p:txBody>
      </p:sp>
      <p:sp>
        <p:nvSpPr>
          <p:cNvPr id="6" name="Rectangle 4"/>
          <p:cNvSpPr>
            <a:spLocks noChangeArrowheads="1"/>
          </p:cNvSpPr>
          <p:nvPr/>
        </p:nvSpPr>
        <p:spPr bwMode="gray">
          <a:xfrm>
            <a:off x="384175" y="1584702"/>
            <a:ext cx="1552575" cy="895350"/>
          </a:xfrm>
          <a:prstGeom prst="rect">
            <a:avLst/>
          </a:prstGeom>
          <a:solidFill>
            <a:schemeClr val="accent3"/>
          </a:solidFill>
          <a:ln w="12700" algn="ctr">
            <a:noFill/>
            <a:miter lim="800000"/>
            <a:headEnd/>
            <a:tailEnd/>
          </a:ln>
        </p:spPr>
        <p:txBody>
          <a:bodyPr lIns="72000" tIns="72000" rIns="72000" bIns="72000" anchor="ctr" anchorCtr="1"/>
          <a:lstStyle/>
          <a:p>
            <a:pPr algn="ctr">
              <a:lnSpc>
                <a:spcPct val="106000"/>
              </a:lnSpc>
              <a:defRPr/>
            </a:pPr>
            <a:r>
              <a:rPr lang="en-US" sz="1400" b="1">
                <a:solidFill>
                  <a:schemeClr val="bg1"/>
                </a:solidFill>
              </a:rPr>
              <a:t>Text</a:t>
            </a:r>
          </a:p>
        </p:txBody>
      </p:sp>
      <p:sp>
        <p:nvSpPr>
          <p:cNvPr id="9" name="Rectangle 7"/>
          <p:cNvSpPr>
            <a:spLocks noChangeArrowheads="1"/>
          </p:cNvSpPr>
          <p:nvPr/>
        </p:nvSpPr>
        <p:spPr bwMode="gray">
          <a:xfrm>
            <a:off x="384175" y="2712744"/>
            <a:ext cx="1552575" cy="895350"/>
          </a:xfrm>
          <a:prstGeom prst="rect">
            <a:avLst/>
          </a:prstGeom>
          <a:solidFill>
            <a:schemeClr val="accent3"/>
          </a:solidFill>
          <a:ln w="12700" algn="ctr">
            <a:noFill/>
            <a:miter lim="800000"/>
            <a:headEnd/>
            <a:tailEnd/>
          </a:ln>
        </p:spPr>
        <p:txBody>
          <a:bodyPr lIns="72000" tIns="72000" rIns="72000" bIns="72000" anchor="ctr" anchorCtr="1"/>
          <a:lstStyle/>
          <a:p>
            <a:pPr algn="ctr">
              <a:lnSpc>
                <a:spcPct val="106000"/>
              </a:lnSpc>
              <a:defRPr/>
            </a:pPr>
            <a:r>
              <a:rPr lang="en-US" sz="1400" b="1">
                <a:solidFill>
                  <a:schemeClr val="bg1"/>
                </a:solidFill>
              </a:rPr>
              <a:t>Text</a:t>
            </a:r>
          </a:p>
        </p:txBody>
      </p:sp>
      <p:sp>
        <p:nvSpPr>
          <p:cNvPr id="14" name="Rectangle 13"/>
          <p:cNvSpPr>
            <a:spLocks noChangeArrowheads="1"/>
          </p:cNvSpPr>
          <p:nvPr/>
        </p:nvSpPr>
        <p:spPr bwMode="gray">
          <a:xfrm>
            <a:off x="384175" y="3830373"/>
            <a:ext cx="1552575" cy="895350"/>
          </a:xfrm>
          <a:prstGeom prst="rect">
            <a:avLst/>
          </a:prstGeom>
          <a:solidFill>
            <a:schemeClr val="accent3"/>
          </a:solidFill>
          <a:ln w="12700" algn="ctr">
            <a:noFill/>
            <a:miter lim="800000"/>
            <a:headEnd/>
            <a:tailEnd/>
          </a:ln>
        </p:spPr>
        <p:txBody>
          <a:bodyPr lIns="72000" tIns="72000" rIns="72000" bIns="72000" anchor="ctr" anchorCtr="1"/>
          <a:lstStyle/>
          <a:p>
            <a:pPr algn="ctr">
              <a:lnSpc>
                <a:spcPct val="106000"/>
              </a:lnSpc>
              <a:defRPr/>
            </a:pPr>
            <a:r>
              <a:rPr lang="en-US" sz="1400" b="1">
                <a:solidFill>
                  <a:schemeClr val="bg1"/>
                </a:solidFill>
              </a:rPr>
              <a:t>Text</a:t>
            </a:r>
          </a:p>
        </p:txBody>
      </p:sp>
      <p:sp>
        <p:nvSpPr>
          <p:cNvPr id="17" name="Rectangle 16"/>
          <p:cNvSpPr>
            <a:spLocks noChangeArrowheads="1"/>
          </p:cNvSpPr>
          <p:nvPr/>
        </p:nvSpPr>
        <p:spPr bwMode="gray">
          <a:xfrm>
            <a:off x="384175" y="4960003"/>
            <a:ext cx="1552575" cy="895350"/>
          </a:xfrm>
          <a:prstGeom prst="rect">
            <a:avLst/>
          </a:prstGeom>
          <a:solidFill>
            <a:schemeClr val="accent3"/>
          </a:solidFill>
          <a:ln w="12700" algn="ctr">
            <a:noFill/>
            <a:miter lim="800000"/>
            <a:headEnd/>
            <a:tailEnd/>
          </a:ln>
        </p:spPr>
        <p:txBody>
          <a:bodyPr lIns="72000" tIns="72000" rIns="72000" bIns="72000" anchor="ctr" anchorCtr="1"/>
          <a:lstStyle/>
          <a:p>
            <a:pPr algn="ctr">
              <a:lnSpc>
                <a:spcPct val="106000"/>
              </a:lnSpc>
              <a:defRPr/>
            </a:pPr>
            <a:r>
              <a:rPr lang="en-US" sz="1400" b="1">
                <a:solidFill>
                  <a:schemeClr val="bg1"/>
                </a:solidFill>
              </a:rPr>
              <a:t>Text</a:t>
            </a:r>
          </a:p>
        </p:txBody>
      </p:sp>
      <p:sp>
        <p:nvSpPr>
          <p:cNvPr id="21"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22" name="Text Placeholder 26"/>
          <p:cNvSpPr txBox="1">
            <a:spLocks/>
          </p:cNvSpPr>
          <p:nvPr/>
        </p:nvSpPr>
        <p:spPr bwMode="auto">
          <a:xfrm>
            <a:off x="5539210" y="5064485"/>
            <a:ext cx="3170237" cy="748923"/>
          </a:xfrm>
          <a:prstGeom prst="rect">
            <a:avLst/>
          </a:prstGeom>
        </p:spPr>
        <p:txBody>
          <a:bodyPr vert="horz" lIns="0" tIns="0" rIns="0" bIns="0" rtlCol="0">
            <a:spAutoFit/>
          </a:bodyPr>
          <a:lstStyle/>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mn-lt"/>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mn-lt"/>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mn-lt"/>
                <a:ea typeface="+mn-ea"/>
                <a:cs typeface="Arial" pitchFamily="34" charset="0"/>
              </a:rPr>
              <a:t>Bullet</a:t>
            </a:r>
            <a:endParaRPr kumimoji="0" lang="nl-NL" sz="1400" b="0" i="0" u="none" strike="noStrike" kern="1200" cap="none" spc="0" normalizeH="0" baseline="0" noProof="0" dirty="0">
              <a:ln>
                <a:noFill/>
              </a:ln>
              <a:solidFill>
                <a:srgbClr val="002776"/>
              </a:solidFill>
              <a:effectLst/>
              <a:uLnTx/>
              <a:uFillTx/>
              <a:latin typeface="+mn-lt"/>
              <a:ea typeface="+mn-ea"/>
              <a:cs typeface="Arial" pitchFamily="34" charset="0"/>
            </a:endParaRPr>
          </a:p>
        </p:txBody>
      </p:sp>
      <p:sp>
        <p:nvSpPr>
          <p:cNvPr id="23" name="Text Placeholder 27"/>
          <p:cNvSpPr txBox="1">
            <a:spLocks/>
          </p:cNvSpPr>
          <p:nvPr/>
        </p:nvSpPr>
        <p:spPr bwMode="auto">
          <a:xfrm>
            <a:off x="2062585" y="5062898"/>
            <a:ext cx="2339975" cy="748923"/>
          </a:xfrm>
          <a:prstGeom prst="rect">
            <a:avLst/>
          </a:prstGeom>
        </p:spPr>
        <p:txBody>
          <a:bodyPr vert="horz" lIns="0" tIns="0" rIns="0" bIns="0" rtlCol="0">
            <a:spAutoFit/>
          </a:bodyPr>
          <a:lstStyle/>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mn-lt"/>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mn-lt"/>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mn-lt"/>
                <a:ea typeface="+mn-ea"/>
                <a:cs typeface="Arial" pitchFamily="34" charset="0"/>
              </a:rPr>
              <a:t>Bullet</a:t>
            </a:r>
            <a:endParaRPr kumimoji="0" lang="nl-NL" sz="1400" b="0" i="0" u="none" strike="noStrike" kern="1200" cap="none" spc="0" normalizeH="0" baseline="0" noProof="0" dirty="0">
              <a:ln>
                <a:noFill/>
              </a:ln>
              <a:solidFill>
                <a:srgbClr val="002776"/>
              </a:solidFill>
              <a:effectLst/>
              <a:uLnTx/>
              <a:uFillTx/>
              <a:latin typeface="+mn-lt"/>
              <a:ea typeface="+mn-ea"/>
              <a:cs typeface="Arial" pitchFamily="34" charset="0"/>
            </a:endParaRPr>
          </a:p>
        </p:txBody>
      </p:sp>
      <p:sp>
        <p:nvSpPr>
          <p:cNvPr id="2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7393" name="Title 1"/>
          <p:cNvSpPr>
            <a:spLocks noGrp="1"/>
          </p:cNvSpPr>
          <p:nvPr>
            <p:ph type="title"/>
          </p:nvPr>
        </p:nvSpPr>
        <p:spPr/>
        <p:txBody>
          <a:bodyPr/>
          <a:lstStyle/>
          <a:p>
            <a:r>
              <a:rPr lang="nl-NL"/>
              <a:t>Surround</a:t>
            </a:r>
          </a:p>
        </p:txBody>
      </p:sp>
      <p:sp>
        <p:nvSpPr>
          <p:cNvPr id="15" name="Freeform 3"/>
          <p:cNvSpPr>
            <a:spLocks/>
          </p:cNvSpPr>
          <p:nvPr/>
        </p:nvSpPr>
        <p:spPr bwMode="blackWhite">
          <a:xfrm>
            <a:off x="4044914" y="4761206"/>
            <a:ext cx="1101725" cy="1192212"/>
          </a:xfrm>
          <a:custGeom>
            <a:avLst/>
            <a:gdLst>
              <a:gd name="T0" fmla="*/ 605650 w 553"/>
              <a:gd name="T1" fmla="*/ 1190277 h 616"/>
              <a:gd name="T2" fmla="*/ 478145 w 553"/>
              <a:gd name="T3" fmla="*/ 1190277 h 616"/>
              <a:gd name="T4" fmla="*/ 478145 w 553"/>
              <a:gd name="T5" fmla="*/ 230314 h 616"/>
              <a:gd name="T6" fmla="*/ 79691 w 553"/>
              <a:gd name="T7" fmla="*/ 601912 h 616"/>
              <a:gd name="T8" fmla="*/ 0 w 553"/>
              <a:gd name="T9" fmla="*/ 539979 h 616"/>
              <a:gd name="T10" fmla="*/ 573774 w 553"/>
              <a:gd name="T11" fmla="*/ 0 h 616"/>
              <a:gd name="T12" fmla="*/ 1099733 w 553"/>
              <a:gd name="T13" fmla="*/ 524496 h 616"/>
              <a:gd name="T14" fmla="*/ 1020042 w 553"/>
              <a:gd name="T15" fmla="*/ 601912 h 616"/>
              <a:gd name="T16" fmla="*/ 605650 w 553"/>
              <a:gd name="T17" fmla="*/ 230314 h 616"/>
              <a:gd name="T18" fmla="*/ 605650 w 553"/>
              <a:gd name="T19" fmla="*/ 1190277 h 6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16"/>
              <a:gd name="T32" fmla="*/ 553 w 553"/>
              <a:gd name="T33" fmla="*/ 616 h 6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16">
                <a:moveTo>
                  <a:pt x="304" y="615"/>
                </a:moveTo>
                <a:lnTo>
                  <a:pt x="240" y="615"/>
                </a:lnTo>
                <a:lnTo>
                  <a:pt x="240" y="119"/>
                </a:lnTo>
                <a:lnTo>
                  <a:pt x="40" y="311"/>
                </a:lnTo>
                <a:lnTo>
                  <a:pt x="0" y="279"/>
                </a:lnTo>
                <a:lnTo>
                  <a:pt x="288" y="0"/>
                </a:lnTo>
                <a:lnTo>
                  <a:pt x="552" y="271"/>
                </a:lnTo>
                <a:lnTo>
                  <a:pt x="512" y="311"/>
                </a:lnTo>
                <a:lnTo>
                  <a:pt x="304" y="119"/>
                </a:lnTo>
                <a:lnTo>
                  <a:pt x="304" y="615"/>
                </a:lnTo>
              </a:path>
            </a:pathLst>
          </a:custGeom>
          <a:solidFill>
            <a:schemeClr val="accent3"/>
          </a:solidFill>
          <a:ln w="12700" cap="rnd">
            <a:solidFill>
              <a:schemeClr val="bg1"/>
            </a:solidFill>
            <a:round/>
            <a:headEnd/>
            <a:tailEnd/>
          </a:ln>
        </p:spPr>
        <p:txBody>
          <a:bodyPr/>
          <a:lstStyle/>
          <a:p>
            <a:pPr>
              <a:defRPr/>
            </a:pPr>
            <a:endParaRPr lang="en-GB"/>
          </a:p>
        </p:txBody>
      </p:sp>
      <p:sp>
        <p:nvSpPr>
          <p:cNvPr id="16" name="Oval 4"/>
          <p:cNvSpPr>
            <a:spLocks noChangeArrowheads="1"/>
          </p:cNvSpPr>
          <p:nvPr/>
        </p:nvSpPr>
        <p:spPr bwMode="blackWhite">
          <a:xfrm>
            <a:off x="3876639" y="3073693"/>
            <a:ext cx="1438275" cy="1381125"/>
          </a:xfrm>
          <a:prstGeom prst="ellipse">
            <a:avLst/>
          </a:prstGeom>
          <a:solidFill>
            <a:schemeClr val="accent3"/>
          </a:solidFill>
          <a:ln w="12700">
            <a:solidFill>
              <a:schemeClr val="bg1"/>
            </a:solidFill>
            <a:round/>
            <a:headEnd/>
            <a:tailEnd/>
          </a:ln>
        </p:spPr>
        <p:txBody>
          <a:bodyPr wrap="none" anchor="ctr"/>
          <a:lstStyle/>
          <a:p>
            <a:pPr algn="ctr">
              <a:spcBef>
                <a:spcPct val="0"/>
              </a:spcBef>
            </a:pPr>
            <a:r>
              <a:rPr lang="en-GB" sz="1400" b="1" dirty="0">
                <a:solidFill>
                  <a:schemeClr val="bg1"/>
                </a:solidFill>
              </a:rPr>
              <a:t>Text</a:t>
            </a:r>
          </a:p>
        </p:txBody>
      </p:sp>
      <p:sp>
        <p:nvSpPr>
          <p:cNvPr id="17" name="Freeform 5"/>
          <p:cNvSpPr>
            <a:spLocks/>
          </p:cNvSpPr>
          <p:nvPr/>
        </p:nvSpPr>
        <p:spPr bwMode="blackWhite">
          <a:xfrm>
            <a:off x="5335551" y="4499268"/>
            <a:ext cx="955675" cy="896938"/>
          </a:xfrm>
          <a:custGeom>
            <a:avLst/>
            <a:gdLst>
              <a:gd name="T0" fmla="*/ 698837 w 480"/>
              <a:gd name="T1" fmla="*/ 92787 h 464"/>
              <a:gd name="T2" fmla="*/ 698837 w 480"/>
              <a:gd name="T3" fmla="*/ 0 h 464"/>
              <a:gd name="T4" fmla="*/ 0 w 480"/>
              <a:gd name="T5" fmla="*/ 0 h 464"/>
              <a:gd name="T6" fmla="*/ 0 w 480"/>
              <a:gd name="T7" fmla="*/ 663038 h 464"/>
              <a:gd name="T8" fmla="*/ 127423 w 480"/>
              <a:gd name="T9" fmla="*/ 663038 h 464"/>
              <a:gd name="T10" fmla="*/ 127423 w 480"/>
              <a:gd name="T11" fmla="*/ 201038 h 464"/>
              <a:gd name="T12" fmla="*/ 842189 w 480"/>
              <a:gd name="T13" fmla="*/ 895005 h 464"/>
              <a:gd name="T14" fmla="*/ 953684 w 480"/>
              <a:gd name="T15" fmla="*/ 786754 h 464"/>
              <a:gd name="T16" fmla="*/ 238919 w 480"/>
              <a:gd name="T17" fmla="*/ 123716 h 464"/>
              <a:gd name="T18" fmla="*/ 698837 w 480"/>
              <a:gd name="T19" fmla="*/ 123716 h 464"/>
              <a:gd name="T20" fmla="*/ 698837 w 480"/>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0"/>
              <a:gd name="T34" fmla="*/ 0 h 464"/>
              <a:gd name="T35" fmla="*/ 480 w 480"/>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0" h="464">
                <a:moveTo>
                  <a:pt x="351" y="48"/>
                </a:moveTo>
                <a:lnTo>
                  <a:pt x="351" y="0"/>
                </a:lnTo>
                <a:lnTo>
                  <a:pt x="0" y="0"/>
                </a:lnTo>
                <a:lnTo>
                  <a:pt x="0" y="343"/>
                </a:lnTo>
                <a:lnTo>
                  <a:pt x="64" y="343"/>
                </a:lnTo>
                <a:lnTo>
                  <a:pt x="64" y="104"/>
                </a:lnTo>
                <a:lnTo>
                  <a:pt x="423" y="463"/>
                </a:lnTo>
                <a:lnTo>
                  <a:pt x="479" y="407"/>
                </a:lnTo>
                <a:lnTo>
                  <a:pt x="120" y="64"/>
                </a:lnTo>
                <a:lnTo>
                  <a:pt x="351" y="64"/>
                </a:lnTo>
                <a:lnTo>
                  <a:pt x="351" y="0"/>
                </a:lnTo>
              </a:path>
            </a:pathLst>
          </a:custGeom>
          <a:solidFill>
            <a:schemeClr val="accent3"/>
          </a:solidFill>
          <a:ln w="12700" cap="rnd">
            <a:solidFill>
              <a:schemeClr val="bg1"/>
            </a:solidFill>
            <a:round/>
            <a:headEnd type="none" w="sm" len="sm"/>
            <a:tailEnd type="none" w="sm" len="sm"/>
          </a:ln>
        </p:spPr>
        <p:txBody>
          <a:bodyPr/>
          <a:lstStyle/>
          <a:p>
            <a:pPr>
              <a:defRPr/>
            </a:pPr>
            <a:endParaRPr lang="en-GB"/>
          </a:p>
        </p:txBody>
      </p:sp>
      <p:sp>
        <p:nvSpPr>
          <p:cNvPr id="18" name="Freeform 6"/>
          <p:cNvSpPr>
            <a:spLocks/>
          </p:cNvSpPr>
          <p:nvPr/>
        </p:nvSpPr>
        <p:spPr bwMode="blackWhite">
          <a:xfrm>
            <a:off x="5321264" y="2176756"/>
            <a:ext cx="938212" cy="884237"/>
          </a:xfrm>
          <a:custGeom>
            <a:avLst/>
            <a:gdLst>
              <a:gd name="T0" fmla="*/ 681794 w 472"/>
              <a:gd name="T1" fmla="*/ 789220 h 456"/>
              <a:gd name="T2" fmla="*/ 681794 w 472"/>
              <a:gd name="T3" fmla="*/ 882298 h 456"/>
              <a:gd name="T4" fmla="*/ 0 w 472"/>
              <a:gd name="T5" fmla="*/ 882298 h 456"/>
              <a:gd name="T6" fmla="*/ 0 w 472"/>
              <a:gd name="T7" fmla="*/ 217181 h 456"/>
              <a:gd name="T8" fmla="*/ 127215 w 472"/>
              <a:gd name="T9" fmla="*/ 217181 h 456"/>
              <a:gd name="T10" fmla="*/ 127215 w 472"/>
              <a:gd name="T11" fmla="*/ 680630 h 456"/>
              <a:gd name="T12" fmla="*/ 840813 w 472"/>
              <a:gd name="T13" fmla="*/ 0 h 456"/>
              <a:gd name="T14" fmla="*/ 936224 w 472"/>
              <a:gd name="T15" fmla="*/ 93078 h 456"/>
              <a:gd name="T16" fmla="*/ 222627 w 472"/>
              <a:gd name="T17" fmla="*/ 758194 h 456"/>
              <a:gd name="T18" fmla="*/ 681794 w 472"/>
              <a:gd name="T19" fmla="*/ 758194 h 456"/>
              <a:gd name="T20" fmla="*/ 681794 w 472"/>
              <a:gd name="T21" fmla="*/ 882298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56"/>
              <a:gd name="T35" fmla="*/ 472 w 472"/>
              <a:gd name="T36" fmla="*/ 456 h 4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56">
                <a:moveTo>
                  <a:pt x="343" y="407"/>
                </a:moveTo>
                <a:lnTo>
                  <a:pt x="343" y="455"/>
                </a:lnTo>
                <a:lnTo>
                  <a:pt x="0" y="455"/>
                </a:lnTo>
                <a:lnTo>
                  <a:pt x="0" y="112"/>
                </a:lnTo>
                <a:lnTo>
                  <a:pt x="64" y="112"/>
                </a:lnTo>
                <a:lnTo>
                  <a:pt x="64" y="351"/>
                </a:lnTo>
                <a:lnTo>
                  <a:pt x="423" y="0"/>
                </a:lnTo>
                <a:lnTo>
                  <a:pt x="471" y="48"/>
                </a:lnTo>
                <a:lnTo>
                  <a:pt x="112" y="391"/>
                </a:lnTo>
                <a:lnTo>
                  <a:pt x="343" y="391"/>
                </a:lnTo>
                <a:lnTo>
                  <a:pt x="343" y="455"/>
                </a:lnTo>
              </a:path>
            </a:pathLst>
          </a:custGeom>
          <a:solidFill>
            <a:schemeClr val="accent3"/>
          </a:solidFill>
          <a:ln w="12700" cap="rnd">
            <a:solidFill>
              <a:schemeClr val="bg1"/>
            </a:solidFill>
            <a:round/>
            <a:headEnd type="none" w="sm" len="sm"/>
            <a:tailEnd type="none" w="sm" len="sm"/>
          </a:ln>
        </p:spPr>
        <p:txBody>
          <a:bodyPr/>
          <a:lstStyle/>
          <a:p>
            <a:pPr>
              <a:defRPr/>
            </a:pPr>
            <a:endParaRPr lang="en-GB"/>
          </a:p>
        </p:txBody>
      </p:sp>
      <p:sp>
        <p:nvSpPr>
          <p:cNvPr id="19" name="Freeform 7"/>
          <p:cNvSpPr>
            <a:spLocks/>
          </p:cNvSpPr>
          <p:nvPr/>
        </p:nvSpPr>
        <p:spPr bwMode="blackWhite">
          <a:xfrm>
            <a:off x="2900326" y="4465931"/>
            <a:ext cx="936625" cy="900112"/>
          </a:xfrm>
          <a:custGeom>
            <a:avLst/>
            <a:gdLst>
              <a:gd name="T0" fmla="*/ 254000 w 472"/>
              <a:gd name="T1" fmla="*/ 108634 h 464"/>
              <a:gd name="T2" fmla="*/ 254000 w 472"/>
              <a:gd name="T3" fmla="*/ 0 h 464"/>
              <a:gd name="T4" fmla="*/ 934641 w 472"/>
              <a:gd name="T5" fmla="*/ 0 h 464"/>
              <a:gd name="T6" fmla="*/ 934641 w 472"/>
              <a:gd name="T7" fmla="*/ 665385 h 464"/>
              <a:gd name="T8" fmla="*/ 807641 w 472"/>
              <a:gd name="T9" fmla="*/ 665385 h 464"/>
              <a:gd name="T10" fmla="*/ 807641 w 472"/>
              <a:gd name="T11" fmla="*/ 201749 h 464"/>
              <a:gd name="T12" fmla="*/ 95250 w 472"/>
              <a:gd name="T13" fmla="*/ 898172 h 464"/>
              <a:gd name="T14" fmla="*/ 0 w 472"/>
              <a:gd name="T15" fmla="*/ 789538 h 464"/>
              <a:gd name="T16" fmla="*/ 696516 w 472"/>
              <a:gd name="T17" fmla="*/ 124153 h 464"/>
              <a:gd name="T18" fmla="*/ 254000 w 472"/>
              <a:gd name="T19" fmla="*/ 124153 h 464"/>
              <a:gd name="T20" fmla="*/ 254000 w 472"/>
              <a:gd name="T21" fmla="*/ 0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56"/>
                </a:moveTo>
                <a:lnTo>
                  <a:pt x="128" y="0"/>
                </a:lnTo>
                <a:lnTo>
                  <a:pt x="471" y="0"/>
                </a:lnTo>
                <a:lnTo>
                  <a:pt x="471" y="343"/>
                </a:lnTo>
                <a:lnTo>
                  <a:pt x="407" y="343"/>
                </a:lnTo>
                <a:lnTo>
                  <a:pt x="407" y="104"/>
                </a:lnTo>
                <a:lnTo>
                  <a:pt x="48" y="463"/>
                </a:lnTo>
                <a:lnTo>
                  <a:pt x="0" y="407"/>
                </a:lnTo>
                <a:lnTo>
                  <a:pt x="351" y="64"/>
                </a:lnTo>
                <a:lnTo>
                  <a:pt x="128" y="64"/>
                </a:lnTo>
                <a:lnTo>
                  <a:pt x="128" y="0"/>
                </a:lnTo>
              </a:path>
            </a:pathLst>
          </a:custGeom>
          <a:solidFill>
            <a:schemeClr val="accent3"/>
          </a:solidFill>
          <a:ln w="12700" cap="rnd">
            <a:solidFill>
              <a:schemeClr val="bg1"/>
            </a:solidFill>
            <a:round/>
            <a:headEnd type="none" w="sm" len="sm"/>
            <a:tailEnd type="none" w="sm" len="sm"/>
          </a:ln>
        </p:spPr>
        <p:txBody>
          <a:bodyPr/>
          <a:lstStyle/>
          <a:p>
            <a:pPr>
              <a:defRPr/>
            </a:pPr>
            <a:endParaRPr lang="en-GB"/>
          </a:p>
        </p:txBody>
      </p:sp>
      <p:sp>
        <p:nvSpPr>
          <p:cNvPr id="20" name="Freeform 8"/>
          <p:cNvSpPr>
            <a:spLocks/>
          </p:cNvSpPr>
          <p:nvPr/>
        </p:nvSpPr>
        <p:spPr bwMode="blackWhite">
          <a:xfrm>
            <a:off x="2914614" y="2146593"/>
            <a:ext cx="938212" cy="896938"/>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accent3"/>
          </a:solidFill>
          <a:ln w="12700" cap="rnd">
            <a:solidFill>
              <a:schemeClr val="bg1"/>
            </a:solidFill>
            <a:round/>
            <a:headEnd type="none" w="sm" len="sm"/>
            <a:tailEnd type="none" w="sm" len="sm"/>
          </a:ln>
        </p:spPr>
        <p:txBody>
          <a:bodyPr/>
          <a:lstStyle/>
          <a:p>
            <a:pPr>
              <a:defRPr/>
            </a:pPr>
            <a:endParaRPr lang="en-GB"/>
          </a:p>
        </p:txBody>
      </p:sp>
      <p:sp>
        <p:nvSpPr>
          <p:cNvPr id="21" name="Freeform 9"/>
          <p:cNvSpPr>
            <a:spLocks/>
          </p:cNvSpPr>
          <p:nvPr/>
        </p:nvSpPr>
        <p:spPr bwMode="blackWhite">
          <a:xfrm>
            <a:off x="4011576" y="1589381"/>
            <a:ext cx="1101725" cy="1177925"/>
          </a:xfrm>
          <a:custGeom>
            <a:avLst/>
            <a:gdLst>
              <a:gd name="T0" fmla="*/ 637526 w 553"/>
              <a:gd name="T1" fmla="*/ 0 h 608"/>
              <a:gd name="T2" fmla="*/ 494083 w 553"/>
              <a:gd name="T3" fmla="*/ 0 h 608"/>
              <a:gd name="T4" fmla="*/ 494083 w 553"/>
              <a:gd name="T5" fmla="*/ 960939 h 608"/>
              <a:gd name="T6" fmla="*/ 79691 w 553"/>
              <a:gd name="T7" fmla="*/ 588963 h 608"/>
              <a:gd name="T8" fmla="*/ 0 w 553"/>
              <a:gd name="T9" fmla="*/ 635460 h 608"/>
              <a:gd name="T10" fmla="*/ 589712 w 553"/>
              <a:gd name="T11" fmla="*/ 1175988 h 608"/>
              <a:gd name="T12" fmla="*/ 1099733 w 553"/>
              <a:gd name="T13" fmla="*/ 666458 h 608"/>
              <a:gd name="T14" fmla="*/ 1020042 w 553"/>
              <a:gd name="T15" fmla="*/ 588963 h 608"/>
              <a:gd name="T16" fmla="*/ 637526 w 553"/>
              <a:gd name="T17" fmla="*/ 960939 h 608"/>
              <a:gd name="T18" fmla="*/ 637526 w 553"/>
              <a:gd name="T19" fmla="*/ 0 h 6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3"/>
              <a:gd name="T31" fmla="*/ 0 h 608"/>
              <a:gd name="T32" fmla="*/ 553 w 553"/>
              <a:gd name="T33" fmla="*/ 608 h 6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3" h="608">
                <a:moveTo>
                  <a:pt x="320" y="0"/>
                </a:moveTo>
                <a:lnTo>
                  <a:pt x="248" y="0"/>
                </a:lnTo>
                <a:lnTo>
                  <a:pt x="248" y="496"/>
                </a:lnTo>
                <a:lnTo>
                  <a:pt x="40" y="304"/>
                </a:lnTo>
                <a:lnTo>
                  <a:pt x="0" y="328"/>
                </a:lnTo>
                <a:lnTo>
                  <a:pt x="296" y="607"/>
                </a:lnTo>
                <a:lnTo>
                  <a:pt x="552" y="344"/>
                </a:lnTo>
                <a:lnTo>
                  <a:pt x="512" y="304"/>
                </a:lnTo>
                <a:lnTo>
                  <a:pt x="320" y="496"/>
                </a:lnTo>
                <a:lnTo>
                  <a:pt x="320" y="0"/>
                </a:lnTo>
              </a:path>
            </a:pathLst>
          </a:custGeom>
          <a:solidFill>
            <a:schemeClr val="accent3"/>
          </a:solidFill>
          <a:ln w="12700" cap="rnd">
            <a:solidFill>
              <a:schemeClr val="bg1"/>
            </a:solidFill>
            <a:round/>
            <a:headEnd/>
            <a:tailEnd/>
          </a:ln>
        </p:spPr>
        <p:txBody>
          <a:bodyPr/>
          <a:lstStyle/>
          <a:p>
            <a:pPr>
              <a:defRPr/>
            </a:pPr>
            <a:endParaRPr lang="en-GB"/>
          </a:p>
        </p:txBody>
      </p:sp>
      <p:sp>
        <p:nvSpPr>
          <p:cNvPr id="22" name="Freeform 10"/>
          <p:cNvSpPr>
            <a:spLocks/>
          </p:cNvSpPr>
          <p:nvPr/>
        </p:nvSpPr>
        <p:spPr bwMode="blackWhite">
          <a:xfrm>
            <a:off x="2324064" y="3243556"/>
            <a:ext cx="1228725" cy="1071562"/>
          </a:xfrm>
          <a:custGeom>
            <a:avLst/>
            <a:gdLst>
              <a:gd name="T0" fmla="*/ 0 w 616"/>
              <a:gd name="T1" fmla="*/ 449552 h 553"/>
              <a:gd name="T2" fmla="*/ 0 w 616"/>
              <a:gd name="T3" fmla="*/ 589068 h 553"/>
              <a:gd name="T4" fmla="*/ 989363 w 616"/>
              <a:gd name="T5" fmla="*/ 589068 h 553"/>
              <a:gd name="T6" fmla="*/ 606384 w 616"/>
              <a:gd name="T7" fmla="*/ 992115 h 553"/>
              <a:gd name="T8" fmla="*/ 654256 w 616"/>
              <a:gd name="T9" fmla="*/ 1069624 h 553"/>
              <a:gd name="T10" fmla="*/ 1226730 w 616"/>
              <a:gd name="T11" fmla="*/ 496058 h 553"/>
              <a:gd name="T12" fmla="*/ 686171 w 616"/>
              <a:gd name="T13" fmla="*/ 0 h 553"/>
              <a:gd name="T14" fmla="*/ 606384 w 616"/>
              <a:gd name="T15" fmla="*/ 77509 h 553"/>
              <a:gd name="T16" fmla="*/ 989363 w 616"/>
              <a:gd name="T17" fmla="*/ 449552 h 553"/>
              <a:gd name="T18" fmla="*/ 0 w 616"/>
              <a:gd name="T19" fmla="*/ 449552 h 5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53"/>
              <a:gd name="T32" fmla="*/ 616 w 616"/>
              <a:gd name="T33" fmla="*/ 553 h 5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53">
                <a:moveTo>
                  <a:pt x="0" y="232"/>
                </a:moveTo>
                <a:lnTo>
                  <a:pt x="0" y="304"/>
                </a:lnTo>
                <a:lnTo>
                  <a:pt x="496" y="304"/>
                </a:lnTo>
                <a:lnTo>
                  <a:pt x="304" y="512"/>
                </a:lnTo>
                <a:lnTo>
                  <a:pt x="328" y="552"/>
                </a:lnTo>
                <a:lnTo>
                  <a:pt x="615" y="256"/>
                </a:lnTo>
                <a:lnTo>
                  <a:pt x="344" y="0"/>
                </a:lnTo>
                <a:lnTo>
                  <a:pt x="304" y="40"/>
                </a:lnTo>
                <a:lnTo>
                  <a:pt x="496" y="232"/>
                </a:lnTo>
                <a:lnTo>
                  <a:pt x="0" y="232"/>
                </a:lnTo>
              </a:path>
            </a:pathLst>
          </a:custGeom>
          <a:solidFill>
            <a:schemeClr val="accent3"/>
          </a:solidFill>
          <a:ln w="12700" cap="rnd">
            <a:solidFill>
              <a:schemeClr val="bg1"/>
            </a:solidFill>
            <a:round/>
            <a:headEnd/>
            <a:tailEnd/>
          </a:ln>
        </p:spPr>
        <p:txBody>
          <a:bodyPr/>
          <a:lstStyle/>
          <a:p>
            <a:pPr>
              <a:defRPr/>
            </a:pPr>
            <a:endParaRPr lang="en-GB"/>
          </a:p>
        </p:txBody>
      </p:sp>
      <p:sp>
        <p:nvSpPr>
          <p:cNvPr id="23" name="Freeform 11"/>
          <p:cNvSpPr>
            <a:spLocks/>
          </p:cNvSpPr>
          <p:nvPr/>
        </p:nvSpPr>
        <p:spPr bwMode="blackWhite">
          <a:xfrm>
            <a:off x="5605426" y="3227681"/>
            <a:ext cx="1228725" cy="1057275"/>
          </a:xfrm>
          <a:custGeom>
            <a:avLst/>
            <a:gdLst>
              <a:gd name="T0" fmla="*/ 1226730 w 616"/>
              <a:gd name="T1" fmla="*/ 465589 h 545"/>
              <a:gd name="T2" fmla="*/ 1226730 w 616"/>
              <a:gd name="T3" fmla="*/ 589746 h 545"/>
              <a:gd name="T4" fmla="*/ 237367 w 616"/>
              <a:gd name="T5" fmla="*/ 589746 h 545"/>
              <a:gd name="T6" fmla="*/ 620347 w 616"/>
              <a:gd name="T7" fmla="*/ 977737 h 545"/>
              <a:gd name="T8" fmla="*/ 556517 w 616"/>
              <a:gd name="T9" fmla="*/ 1055335 h 545"/>
              <a:gd name="T10" fmla="*/ 0 w 616"/>
              <a:gd name="T11" fmla="*/ 496628 h 545"/>
              <a:gd name="T12" fmla="*/ 540559 w 616"/>
              <a:gd name="T13" fmla="*/ 0 h 545"/>
              <a:gd name="T14" fmla="*/ 620347 w 616"/>
              <a:gd name="T15" fmla="*/ 77598 h 545"/>
              <a:gd name="T16" fmla="*/ 237367 w 616"/>
              <a:gd name="T17" fmla="*/ 465589 h 545"/>
              <a:gd name="T18" fmla="*/ 1226730 w 616"/>
              <a:gd name="T19" fmla="*/ 465589 h 5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6"/>
              <a:gd name="T31" fmla="*/ 0 h 545"/>
              <a:gd name="T32" fmla="*/ 616 w 616"/>
              <a:gd name="T33" fmla="*/ 545 h 5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6" h="545">
                <a:moveTo>
                  <a:pt x="615" y="240"/>
                </a:moveTo>
                <a:lnTo>
                  <a:pt x="615" y="304"/>
                </a:lnTo>
                <a:lnTo>
                  <a:pt x="119" y="304"/>
                </a:lnTo>
                <a:lnTo>
                  <a:pt x="311" y="504"/>
                </a:lnTo>
                <a:lnTo>
                  <a:pt x="279" y="544"/>
                </a:lnTo>
                <a:lnTo>
                  <a:pt x="0" y="256"/>
                </a:lnTo>
                <a:lnTo>
                  <a:pt x="271" y="0"/>
                </a:lnTo>
                <a:lnTo>
                  <a:pt x="311" y="40"/>
                </a:lnTo>
                <a:lnTo>
                  <a:pt x="119" y="240"/>
                </a:lnTo>
                <a:lnTo>
                  <a:pt x="615" y="240"/>
                </a:lnTo>
              </a:path>
            </a:pathLst>
          </a:custGeom>
          <a:solidFill>
            <a:schemeClr val="accent3"/>
          </a:solidFill>
          <a:ln w="12700" cap="rnd">
            <a:solidFill>
              <a:schemeClr val="bg1"/>
            </a:solidFill>
            <a:round/>
            <a:headEnd/>
            <a:tailEnd/>
          </a:ln>
        </p:spPr>
        <p:txBody>
          <a:bodyPr/>
          <a:lstStyle/>
          <a:p>
            <a:pPr>
              <a:defRPr/>
            </a:pPr>
            <a:endParaRPr lang="en-GB"/>
          </a:p>
        </p:txBody>
      </p:sp>
      <p:sp>
        <p:nvSpPr>
          <p:cNvPr id="2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5"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8417" name="Title 1"/>
          <p:cNvSpPr>
            <a:spLocks noGrp="1"/>
          </p:cNvSpPr>
          <p:nvPr>
            <p:ph type="title"/>
          </p:nvPr>
        </p:nvSpPr>
        <p:spPr/>
        <p:txBody>
          <a:bodyPr/>
          <a:lstStyle/>
          <a:p>
            <a:r>
              <a:rPr lang="en-GB"/>
              <a:t>Flow down</a:t>
            </a:r>
            <a:endParaRPr lang="nl-NL"/>
          </a:p>
        </p:txBody>
      </p:sp>
      <p:sp>
        <p:nvSpPr>
          <p:cNvPr id="5" name="Freeform 3"/>
          <p:cNvSpPr>
            <a:spLocks/>
          </p:cNvSpPr>
          <p:nvPr/>
        </p:nvSpPr>
        <p:spPr bwMode="blackWhite">
          <a:xfrm>
            <a:off x="2595563" y="1590264"/>
            <a:ext cx="3937000" cy="3957637"/>
          </a:xfrm>
          <a:custGeom>
            <a:avLst/>
            <a:gdLst>
              <a:gd name="T0" fmla="*/ 2147483647 w 2634"/>
              <a:gd name="T1" fmla="*/ 2147483647 h 2443"/>
              <a:gd name="T2" fmla="*/ 2147483647 w 2634"/>
              <a:gd name="T3" fmla="*/ 2147483647 h 2443"/>
              <a:gd name="T4" fmla="*/ 2147483647 w 2634"/>
              <a:gd name="T5" fmla="*/ 2147483647 h 2443"/>
              <a:gd name="T6" fmla="*/ 2147483647 w 2634"/>
              <a:gd name="T7" fmla="*/ 2147483647 h 2443"/>
              <a:gd name="T8" fmla="*/ 2147483647 w 2634"/>
              <a:gd name="T9" fmla="*/ 2147483647 h 2443"/>
              <a:gd name="T10" fmla="*/ 2147483647 w 2634"/>
              <a:gd name="T11" fmla="*/ 0 h 2443"/>
              <a:gd name="T12" fmla="*/ 0 w 2634"/>
              <a:gd name="T13" fmla="*/ 0 h 2443"/>
              <a:gd name="T14" fmla="*/ 2147483647 w 2634"/>
              <a:gd name="T15" fmla="*/ 2147483647 h 2443"/>
              <a:gd name="T16" fmla="*/ 0 60000 65536"/>
              <a:gd name="T17" fmla="*/ 0 60000 65536"/>
              <a:gd name="T18" fmla="*/ 0 60000 65536"/>
              <a:gd name="T19" fmla="*/ 0 60000 65536"/>
              <a:gd name="T20" fmla="*/ 0 60000 65536"/>
              <a:gd name="T21" fmla="*/ 0 60000 65536"/>
              <a:gd name="T22" fmla="*/ 0 60000 65536"/>
              <a:gd name="T23" fmla="*/ 0 60000 65536"/>
              <a:gd name="T24" fmla="*/ 0 w 2634"/>
              <a:gd name="T25" fmla="*/ 0 h 2443"/>
              <a:gd name="T26" fmla="*/ 2634 w 2634"/>
              <a:gd name="T27" fmla="*/ 2443 h 24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34" h="2443">
                <a:moveTo>
                  <a:pt x="791" y="2042"/>
                </a:moveTo>
                <a:lnTo>
                  <a:pt x="495" y="2042"/>
                </a:lnTo>
                <a:lnTo>
                  <a:pt x="1318" y="2443"/>
                </a:lnTo>
                <a:lnTo>
                  <a:pt x="2141" y="2042"/>
                </a:lnTo>
                <a:lnTo>
                  <a:pt x="1799" y="2042"/>
                </a:lnTo>
                <a:lnTo>
                  <a:pt x="2634" y="0"/>
                </a:lnTo>
                <a:lnTo>
                  <a:pt x="0" y="0"/>
                </a:lnTo>
                <a:lnTo>
                  <a:pt x="791" y="2042"/>
                </a:lnTo>
                <a:close/>
              </a:path>
            </a:pathLst>
          </a:custGeom>
          <a:solidFill>
            <a:schemeClr val="accent3"/>
          </a:solidFill>
          <a:ln w="12700" cap="rnd">
            <a:solidFill>
              <a:schemeClr val="bg1"/>
            </a:solidFill>
            <a:round/>
            <a:headEnd/>
            <a:tailEnd/>
          </a:ln>
        </p:spPr>
        <p:txBody>
          <a:bodyPr/>
          <a:lstStyle/>
          <a:p>
            <a:pPr>
              <a:defRPr/>
            </a:pPr>
            <a:endParaRPr lang="en-GB"/>
          </a:p>
        </p:txBody>
      </p:sp>
      <p:sp>
        <p:nvSpPr>
          <p:cNvPr id="828420" name="Rectangle 4"/>
          <p:cNvSpPr>
            <a:spLocks noChangeArrowheads="1"/>
          </p:cNvSpPr>
          <p:nvPr/>
        </p:nvSpPr>
        <p:spPr bwMode="blackWhite">
          <a:xfrm>
            <a:off x="2593975" y="3769901"/>
            <a:ext cx="3941763" cy="215900"/>
          </a:xfrm>
          <a:prstGeom prst="rect">
            <a:avLst/>
          </a:prstGeom>
          <a:solidFill>
            <a:schemeClr val="tx1"/>
          </a:solidFill>
          <a:ln w="12700">
            <a:solidFill>
              <a:schemeClr val="bg1"/>
            </a:solidFill>
            <a:miter lim="800000"/>
            <a:headEnd/>
            <a:tailEnd/>
          </a:ln>
        </p:spPr>
        <p:txBody>
          <a:bodyPr wrap="none" anchor="ctr"/>
          <a:lstStyle/>
          <a:p>
            <a:pPr algn="ctr"/>
            <a:endParaRPr lang="en-GB"/>
          </a:p>
        </p:txBody>
      </p:sp>
      <p:sp>
        <p:nvSpPr>
          <p:cNvPr id="828421" name="Rectangle 5"/>
          <p:cNvSpPr>
            <a:spLocks noChangeArrowheads="1"/>
          </p:cNvSpPr>
          <p:nvPr/>
        </p:nvSpPr>
        <p:spPr bwMode="blackWhite">
          <a:xfrm>
            <a:off x="2593975" y="2657064"/>
            <a:ext cx="3941763" cy="217487"/>
          </a:xfrm>
          <a:prstGeom prst="rect">
            <a:avLst/>
          </a:prstGeom>
          <a:solidFill>
            <a:schemeClr val="tx1"/>
          </a:solidFill>
          <a:ln w="12700">
            <a:solidFill>
              <a:schemeClr val="bg1"/>
            </a:solidFill>
            <a:miter lim="800000"/>
            <a:headEnd/>
            <a:tailEnd/>
          </a:ln>
        </p:spPr>
        <p:txBody>
          <a:bodyPr wrap="none" anchor="ctr"/>
          <a:lstStyle/>
          <a:p>
            <a:pPr algn="ctr"/>
            <a:endParaRPr lang="en-GB"/>
          </a:p>
        </p:txBody>
      </p:sp>
      <p:sp>
        <p:nvSpPr>
          <p:cNvPr id="828422" name="Rectangle 6"/>
          <p:cNvSpPr>
            <a:spLocks noChangeArrowheads="1"/>
          </p:cNvSpPr>
          <p:nvPr>
            <p:custDataLst>
              <p:tags r:id="rId1"/>
            </p:custDataLst>
          </p:nvPr>
        </p:nvSpPr>
        <p:spPr bwMode="auto">
          <a:xfrm>
            <a:off x="4400550" y="2036351"/>
            <a:ext cx="327025" cy="204788"/>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400">
                <a:solidFill>
                  <a:schemeClr val="bg1"/>
                </a:solidFill>
              </a:rPr>
              <a:t>Text</a:t>
            </a:r>
          </a:p>
        </p:txBody>
      </p:sp>
      <p:sp>
        <p:nvSpPr>
          <p:cNvPr id="828423" name="Rectangle 7"/>
          <p:cNvSpPr>
            <a:spLocks noChangeArrowheads="1"/>
          </p:cNvSpPr>
          <p:nvPr>
            <p:custDataLst>
              <p:tags r:id="rId2"/>
            </p:custDataLst>
          </p:nvPr>
        </p:nvSpPr>
        <p:spPr bwMode="auto">
          <a:xfrm>
            <a:off x="4400550" y="3244439"/>
            <a:ext cx="327025" cy="204787"/>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400">
                <a:solidFill>
                  <a:schemeClr val="bg1"/>
                </a:solidFill>
              </a:rPr>
              <a:t>Text</a:t>
            </a:r>
          </a:p>
        </p:txBody>
      </p:sp>
      <p:sp>
        <p:nvSpPr>
          <p:cNvPr id="828424" name="Rectangle 8"/>
          <p:cNvSpPr>
            <a:spLocks noChangeArrowheads="1"/>
          </p:cNvSpPr>
          <p:nvPr>
            <p:custDataLst>
              <p:tags r:id="rId3"/>
            </p:custDataLst>
          </p:nvPr>
        </p:nvSpPr>
        <p:spPr bwMode="auto">
          <a:xfrm>
            <a:off x="4400550" y="4422364"/>
            <a:ext cx="327025" cy="204787"/>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GB" sz="1400">
                <a:solidFill>
                  <a:schemeClr val="bg1"/>
                </a:solidFill>
              </a:rPr>
              <a:t>Text</a:t>
            </a:r>
          </a:p>
        </p:txBody>
      </p:sp>
      <p:sp>
        <p:nvSpPr>
          <p:cNvPr id="1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3" name="Text Placeholder 12"/>
          <p:cNvSpPr>
            <a:spLocks/>
          </p:cNvSpPr>
          <p:nvPr>
            <p:custDataLst>
              <p:tags r:id="rId4"/>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41" name="Title 1"/>
          <p:cNvSpPr>
            <a:spLocks noGrp="1"/>
          </p:cNvSpPr>
          <p:nvPr>
            <p:ph type="title"/>
          </p:nvPr>
        </p:nvSpPr>
        <p:spPr/>
        <p:txBody>
          <a:bodyPr/>
          <a:lstStyle/>
          <a:p>
            <a:r>
              <a:rPr lang="en-GB" altLang="ja-JP"/>
              <a:t>History</a:t>
            </a:r>
            <a:endParaRPr lang="nl-NL"/>
          </a:p>
        </p:txBody>
      </p:sp>
      <p:sp>
        <p:nvSpPr>
          <p:cNvPr id="5" name="AutoShape 3"/>
          <p:cNvSpPr>
            <a:spLocks noChangeArrowheads="1"/>
          </p:cNvSpPr>
          <p:nvPr/>
        </p:nvSpPr>
        <p:spPr bwMode="auto">
          <a:xfrm>
            <a:off x="906467" y="2160477"/>
            <a:ext cx="7373937" cy="1584325"/>
          </a:xfrm>
          <a:prstGeom prst="rightArrow">
            <a:avLst>
              <a:gd name="adj1" fmla="val 55907"/>
              <a:gd name="adj2" fmla="val 35773"/>
            </a:avLst>
          </a:prstGeom>
          <a:solidFill>
            <a:schemeClr val="accent3"/>
          </a:solidFill>
          <a:ln w="6350" algn="ctr">
            <a:noFill/>
            <a:miter lim="800000"/>
            <a:headEnd type="none" w="sm" len="sm"/>
            <a:tailEnd type="none" w="med" len="lg"/>
          </a:ln>
        </p:spPr>
        <p:txBody>
          <a:bodyPr wrap="none" tIns="91440" bIns="91440" anchor="ctr"/>
          <a:lstStyle/>
          <a:p>
            <a:pPr>
              <a:tabLst>
                <a:tab pos="1435100" algn="ctr"/>
                <a:tab pos="2870200" algn="ctr"/>
                <a:tab pos="4305300" algn="ctr"/>
                <a:tab pos="5740400" algn="ctr"/>
                <a:tab pos="7175500" algn="r"/>
              </a:tabLst>
              <a:defRPr/>
            </a:pPr>
            <a:r>
              <a:rPr lang="en-GB" altLang="ja-JP" sz="1400" b="1">
                <a:solidFill>
                  <a:schemeClr val="bg1"/>
                </a:solidFill>
                <a:ea typeface="ＭＳ Ｐゴシック" pitchFamily="50" charset="-128"/>
              </a:rPr>
              <a:t>x	x	x	x	x	</a:t>
            </a:r>
            <a:r>
              <a:rPr lang="en-GB" altLang="ja-JP" sz="1400" b="1" smtClean="0">
                <a:solidFill>
                  <a:schemeClr val="bg1"/>
                </a:solidFill>
                <a:ea typeface="ＭＳ Ｐゴシック" pitchFamily="50" charset="-128"/>
              </a:rPr>
              <a:t>2009</a:t>
            </a:r>
            <a:endParaRPr lang="en-GB" altLang="ja-JP" sz="1400" b="1">
              <a:solidFill>
                <a:schemeClr val="bg1"/>
              </a:solidFill>
              <a:ea typeface="ＭＳ Ｐゴシック" pitchFamily="50" charset="-128"/>
            </a:endParaRPr>
          </a:p>
        </p:txBody>
      </p:sp>
      <p:sp>
        <p:nvSpPr>
          <p:cNvPr id="6" name="Line 4"/>
          <p:cNvSpPr>
            <a:spLocks noChangeShapeType="1"/>
          </p:cNvSpPr>
          <p:nvPr/>
        </p:nvSpPr>
        <p:spPr bwMode="auto">
          <a:xfrm>
            <a:off x="1304929" y="2160477"/>
            <a:ext cx="0" cy="287338"/>
          </a:xfrm>
          <a:prstGeom prst="line">
            <a:avLst/>
          </a:prstGeom>
          <a:noFill/>
          <a:ln w="9525">
            <a:solidFill>
              <a:schemeClr val="accent3"/>
            </a:solidFill>
            <a:round/>
            <a:headEnd type="none" w="sm" len="sm"/>
            <a:tailEnd type="triangle" w="med" len="lg"/>
          </a:ln>
        </p:spPr>
        <p:txBody>
          <a:bodyPr/>
          <a:lstStyle/>
          <a:p>
            <a:pPr>
              <a:defRPr/>
            </a:pPr>
            <a:endParaRPr lang="en-GB"/>
          </a:p>
        </p:txBody>
      </p:sp>
      <p:sp>
        <p:nvSpPr>
          <p:cNvPr id="7" name="Line 5"/>
          <p:cNvSpPr>
            <a:spLocks noChangeShapeType="1"/>
          </p:cNvSpPr>
          <p:nvPr/>
        </p:nvSpPr>
        <p:spPr bwMode="auto">
          <a:xfrm>
            <a:off x="3432179" y="2160477"/>
            <a:ext cx="0" cy="287338"/>
          </a:xfrm>
          <a:prstGeom prst="line">
            <a:avLst/>
          </a:prstGeom>
          <a:noFill/>
          <a:ln w="9525">
            <a:solidFill>
              <a:schemeClr val="accent3"/>
            </a:solidFill>
            <a:round/>
            <a:headEnd type="none" w="sm" len="sm"/>
            <a:tailEnd type="triangle" w="med" len="lg"/>
          </a:ln>
        </p:spPr>
        <p:txBody>
          <a:bodyPr/>
          <a:lstStyle/>
          <a:p>
            <a:pPr>
              <a:defRPr/>
            </a:pPr>
            <a:endParaRPr lang="en-GB"/>
          </a:p>
        </p:txBody>
      </p:sp>
      <p:sp>
        <p:nvSpPr>
          <p:cNvPr id="8" name="Line 6"/>
          <p:cNvSpPr>
            <a:spLocks noChangeShapeType="1"/>
          </p:cNvSpPr>
          <p:nvPr/>
        </p:nvSpPr>
        <p:spPr bwMode="auto">
          <a:xfrm>
            <a:off x="5492754" y="2160477"/>
            <a:ext cx="0" cy="287338"/>
          </a:xfrm>
          <a:prstGeom prst="line">
            <a:avLst/>
          </a:prstGeom>
          <a:noFill/>
          <a:ln w="9525">
            <a:solidFill>
              <a:schemeClr val="accent3"/>
            </a:solidFill>
            <a:round/>
            <a:headEnd type="none" w="sm" len="sm"/>
            <a:tailEnd type="triangle" w="med" len="lg"/>
          </a:ln>
        </p:spPr>
        <p:txBody>
          <a:bodyPr/>
          <a:lstStyle/>
          <a:p>
            <a:pPr>
              <a:defRPr/>
            </a:pPr>
            <a:endParaRPr lang="en-GB"/>
          </a:p>
        </p:txBody>
      </p:sp>
      <p:sp>
        <p:nvSpPr>
          <p:cNvPr id="9" name="Line 7"/>
          <p:cNvSpPr>
            <a:spLocks noChangeShapeType="1"/>
          </p:cNvSpPr>
          <p:nvPr/>
        </p:nvSpPr>
        <p:spPr bwMode="auto">
          <a:xfrm>
            <a:off x="6651629" y="2160477"/>
            <a:ext cx="0" cy="287338"/>
          </a:xfrm>
          <a:prstGeom prst="line">
            <a:avLst/>
          </a:prstGeom>
          <a:noFill/>
          <a:ln w="9525">
            <a:solidFill>
              <a:schemeClr val="accent3"/>
            </a:solidFill>
            <a:round/>
            <a:headEnd type="none" w="sm" len="sm"/>
            <a:tailEnd type="triangle" w="med" len="lg"/>
          </a:ln>
        </p:spPr>
        <p:txBody>
          <a:bodyPr/>
          <a:lstStyle/>
          <a:p>
            <a:pPr>
              <a:defRPr/>
            </a:pPr>
            <a:endParaRPr lang="en-GB"/>
          </a:p>
        </p:txBody>
      </p:sp>
      <p:sp>
        <p:nvSpPr>
          <p:cNvPr id="10" name="Line 8"/>
          <p:cNvSpPr>
            <a:spLocks noChangeShapeType="1"/>
          </p:cNvSpPr>
          <p:nvPr/>
        </p:nvSpPr>
        <p:spPr bwMode="auto">
          <a:xfrm>
            <a:off x="6107117" y="1728677"/>
            <a:ext cx="0" cy="719138"/>
          </a:xfrm>
          <a:prstGeom prst="line">
            <a:avLst/>
          </a:prstGeom>
          <a:noFill/>
          <a:ln w="9525">
            <a:solidFill>
              <a:schemeClr val="accent3"/>
            </a:solidFill>
            <a:round/>
            <a:headEnd type="none" w="sm" len="sm"/>
            <a:tailEnd type="triangle" w="med" len="lg"/>
          </a:ln>
        </p:spPr>
        <p:txBody>
          <a:bodyPr/>
          <a:lstStyle/>
          <a:p>
            <a:pPr>
              <a:defRPr/>
            </a:pPr>
            <a:endParaRPr lang="en-GB"/>
          </a:p>
        </p:txBody>
      </p:sp>
      <p:sp>
        <p:nvSpPr>
          <p:cNvPr id="11" name="Line 9"/>
          <p:cNvSpPr>
            <a:spLocks noChangeShapeType="1"/>
          </p:cNvSpPr>
          <p:nvPr/>
        </p:nvSpPr>
        <p:spPr bwMode="auto">
          <a:xfrm>
            <a:off x="4497392" y="1728677"/>
            <a:ext cx="0" cy="719138"/>
          </a:xfrm>
          <a:prstGeom prst="line">
            <a:avLst/>
          </a:prstGeom>
          <a:noFill/>
          <a:ln w="9525">
            <a:solidFill>
              <a:schemeClr val="accent3"/>
            </a:solidFill>
            <a:round/>
            <a:headEnd type="none" w="sm" len="sm"/>
            <a:tailEnd type="triangle" w="med" len="lg"/>
          </a:ln>
        </p:spPr>
        <p:txBody>
          <a:bodyPr/>
          <a:lstStyle/>
          <a:p>
            <a:pPr>
              <a:defRPr/>
            </a:pPr>
            <a:endParaRPr lang="en-GB"/>
          </a:p>
        </p:txBody>
      </p:sp>
      <p:sp>
        <p:nvSpPr>
          <p:cNvPr id="12" name="Line 10"/>
          <p:cNvSpPr>
            <a:spLocks noChangeShapeType="1"/>
          </p:cNvSpPr>
          <p:nvPr/>
        </p:nvSpPr>
        <p:spPr bwMode="auto">
          <a:xfrm>
            <a:off x="2435229" y="1728677"/>
            <a:ext cx="0" cy="719138"/>
          </a:xfrm>
          <a:prstGeom prst="line">
            <a:avLst/>
          </a:prstGeom>
          <a:noFill/>
          <a:ln w="9525">
            <a:solidFill>
              <a:schemeClr val="accent3"/>
            </a:solidFill>
            <a:round/>
            <a:headEnd type="none" w="sm" len="sm"/>
            <a:tailEnd type="triangle" w="med" len="lg"/>
          </a:ln>
        </p:spPr>
        <p:txBody>
          <a:bodyPr/>
          <a:lstStyle/>
          <a:p>
            <a:pPr>
              <a:defRPr/>
            </a:pPr>
            <a:endParaRPr lang="en-GB"/>
          </a:p>
        </p:txBody>
      </p:sp>
      <p:sp>
        <p:nvSpPr>
          <p:cNvPr id="13" name="Line 11"/>
          <p:cNvSpPr>
            <a:spLocks noChangeShapeType="1"/>
          </p:cNvSpPr>
          <p:nvPr/>
        </p:nvSpPr>
        <p:spPr bwMode="auto">
          <a:xfrm>
            <a:off x="1304929" y="3455877"/>
            <a:ext cx="0" cy="287338"/>
          </a:xfrm>
          <a:prstGeom prst="line">
            <a:avLst/>
          </a:prstGeom>
          <a:noFill/>
          <a:ln w="9525">
            <a:solidFill>
              <a:schemeClr val="accent3"/>
            </a:solidFill>
            <a:round/>
            <a:headEnd type="triangle" w="med" len="med"/>
            <a:tailEnd type="none" w="med" len="lg"/>
          </a:ln>
        </p:spPr>
        <p:txBody>
          <a:bodyPr/>
          <a:lstStyle/>
          <a:p>
            <a:pPr>
              <a:defRPr/>
            </a:pPr>
            <a:endParaRPr lang="en-GB"/>
          </a:p>
        </p:txBody>
      </p:sp>
      <p:sp>
        <p:nvSpPr>
          <p:cNvPr id="14" name="Line 12"/>
          <p:cNvSpPr>
            <a:spLocks noChangeShapeType="1"/>
          </p:cNvSpPr>
          <p:nvPr/>
        </p:nvSpPr>
        <p:spPr bwMode="auto">
          <a:xfrm>
            <a:off x="3100392" y="3455877"/>
            <a:ext cx="0" cy="287338"/>
          </a:xfrm>
          <a:prstGeom prst="line">
            <a:avLst/>
          </a:prstGeom>
          <a:noFill/>
          <a:ln w="9525">
            <a:solidFill>
              <a:schemeClr val="accent3"/>
            </a:solidFill>
            <a:round/>
            <a:headEnd type="triangle" w="med" len="med"/>
            <a:tailEnd type="none" w="med" len="lg"/>
          </a:ln>
        </p:spPr>
        <p:txBody>
          <a:bodyPr/>
          <a:lstStyle/>
          <a:p>
            <a:pPr>
              <a:defRPr/>
            </a:pPr>
            <a:endParaRPr lang="en-GB"/>
          </a:p>
        </p:txBody>
      </p:sp>
      <p:sp>
        <p:nvSpPr>
          <p:cNvPr id="15" name="Line 13"/>
          <p:cNvSpPr>
            <a:spLocks noChangeShapeType="1"/>
          </p:cNvSpPr>
          <p:nvPr/>
        </p:nvSpPr>
        <p:spPr bwMode="auto">
          <a:xfrm>
            <a:off x="4752979" y="3455877"/>
            <a:ext cx="0" cy="287338"/>
          </a:xfrm>
          <a:prstGeom prst="line">
            <a:avLst/>
          </a:prstGeom>
          <a:noFill/>
          <a:ln w="9525">
            <a:solidFill>
              <a:schemeClr val="accent3"/>
            </a:solidFill>
            <a:round/>
            <a:headEnd type="triangle" w="med" len="med"/>
            <a:tailEnd type="none" w="med" len="lg"/>
          </a:ln>
        </p:spPr>
        <p:txBody>
          <a:bodyPr/>
          <a:lstStyle/>
          <a:p>
            <a:pPr>
              <a:defRPr/>
            </a:pPr>
            <a:endParaRPr lang="en-GB"/>
          </a:p>
        </p:txBody>
      </p:sp>
      <p:sp>
        <p:nvSpPr>
          <p:cNvPr id="16" name="Line 14"/>
          <p:cNvSpPr>
            <a:spLocks noChangeShapeType="1"/>
          </p:cNvSpPr>
          <p:nvPr/>
        </p:nvSpPr>
        <p:spPr bwMode="auto">
          <a:xfrm>
            <a:off x="5891217" y="3528902"/>
            <a:ext cx="0" cy="719138"/>
          </a:xfrm>
          <a:prstGeom prst="line">
            <a:avLst/>
          </a:prstGeom>
          <a:noFill/>
          <a:ln w="9525">
            <a:solidFill>
              <a:schemeClr val="accent3"/>
            </a:solidFill>
            <a:round/>
            <a:headEnd type="triangle" w="med" len="med"/>
            <a:tailEnd type="none" w="med" len="lg"/>
          </a:ln>
        </p:spPr>
        <p:txBody>
          <a:bodyPr/>
          <a:lstStyle/>
          <a:p>
            <a:pPr>
              <a:defRPr/>
            </a:pPr>
            <a:endParaRPr lang="en-GB"/>
          </a:p>
        </p:txBody>
      </p:sp>
      <p:sp>
        <p:nvSpPr>
          <p:cNvPr id="17" name="Line 15"/>
          <p:cNvSpPr>
            <a:spLocks noChangeShapeType="1"/>
          </p:cNvSpPr>
          <p:nvPr/>
        </p:nvSpPr>
        <p:spPr bwMode="auto">
          <a:xfrm>
            <a:off x="6918329" y="3455877"/>
            <a:ext cx="0" cy="287338"/>
          </a:xfrm>
          <a:prstGeom prst="line">
            <a:avLst/>
          </a:prstGeom>
          <a:noFill/>
          <a:ln w="9525">
            <a:solidFill>
              <a:schemeClr val="accent3"/>
            </a:solidFill>
            <a:round/>
            <a:headEnd type="triangle" w="med" len="med"/>
            <a:tailEnd type="none" w="med" len="lg"/>
          </a:ln>
        </p:spPr>
        <p:txBody>
          <a:bodyPr/>
          <a:lstStyle/>
          <a:p>
            <a:pPr>
              <a:defRPr/>
            </a:pPr>
            <a:endParaRPr lang="en-GB"/>
          </a:p>
        </p:txBody>
      </p:sp>
      <p:sp>
        <p:nvSpPr>
          <p:cNvPr id="18" name="Line 16"/>
          <p:cNvSpPr>
            <a:spLocks noChangeShapeType="1"/>
          </p:cNvSpPr>
          <p:nvPr/>
        </p:nvSpPr>
        <p:spPr bwMode="auto">
          <a:xfrm>
            <a:off x="3887792" y="3528902"/>
            <a:ext cx="0" cy="719138"/>
          </a:xfrm>
          <a:prstGeom prst="line">
            <a:avLst/>
          </a:prstGeom>
          <a:noFill/>
          <a:ln w="9525">
            <a:solidFill>
              <a:schemeClr val="accent3"/>
            </a:solidFill>
            <a:round/>
            <a:headEnd type="triangle" w="med" len="med"/>
            <a:tailEnd type="none" w="med" len="lg"/>
          </a:ln>
        </p:spPr>
        <p:txBody>
          <a:bodyPr/>
          <a:lstStyle/>
          <a:p>
            <a:pPr>
              <a:defRPr/>
            </a:pPr>
            <a:endParaRPr lang="en-GB"/>
          </a:p>
        </p:txBody>
      </p:sp>
      <p:sp>
        <p:nvSpPr>
          <p:cNvPr id="19" name="Line 17"/>
          <p:cNvSpPr>
            <a:spLocks noChangeShapeType="1"/>
          </p:cNvSpPr>
          <p:nvPr/>
        </p:nvSpPr>
        <p:spPr bwMode="auto">
          <a:xfrm>
            <a:off x="7237417" y="1728677"/>
            <a:ext cx="0" cy="719138"/>
          </a:xfrm>
          <a:prstGeom prst="line">
            <a:avLst/>
          </a:prstGeom>
          <a:noFill/>
          <a:ln w="9525">
            <a:solidFill>
              <a:schemeClr val="accent3"/>
            </a:solidFill>
            <a:round/>
            <a:headEnd type="none" w="sm" len="sm"/>
            <a:tailEnd type="triangle" w="med" len="lg"/>
          </a:ln>
        </p:spPr>
        <p:txBody>
          <a:bodyPr/>
          <a:lstStyle/>
          <a:p>
            <a:pPr>
              <a:defRPr/>
            </a:pPr>
            <a:endParaRPr lang="en-GB"/>
          </a:p>
        </p:txBody>
      </p:sp>
      <p:sp>
        <p:nvSpPr>
          <p:cNvPr id="2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2"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0465" name="Title 1"/>
          <p:cNvSpPr>
            <a:spLocks noGrp="1"/>
          </p:cNvSpPr>
          <p:nvPr>
            <p:ph type="title"/>
          </p:nvPr>
        </p:nvSpPr>
        <p:spPr/>
        <p:txBody>
          <a:bodyPr/>
          <a:lstStyle/>
          <a:p>
            <a:r>
              <a:rPr lang="en-GB" altLang="de-DE"/>
              <a:t>Time</a:t>
            </a:r>
            <a:r>
              <a:rPr lang="de-DE" altLang="de-DE"/>
              <a:t>l</a:t>
            </a:r>
            <a:r>
              <a:rPr lang="en-GB" altLang="de-DE"/>
              <a:t>ines</a:t>
            </a:r>
            <a:endParaRPr lang="nl-NL"/>
          </a:p>
        </p:txBody>
      </p:sp>
      <p:sp>
        <p:nvSpPr>
          <p:cNvPr id="830467" name="Text Box 3"/>
          <p:cNvSpPr txBox="1">
            <a:spLocks noChangeArrowheads="1"/>
          </p:cNvSpPr>
          <p:nvPr/>
        </p:nvSpPr>
        <p:spPr bwMode="auto">
          <a:xfrm>
            <a:off x="1266825" y="1628775"/>
            <a:ext cx="598488"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468" name="Text Box 4"/>
          <p:cNvSpPr txBox="1">
            <a:spLocks noChangeArrowheads="1"/>
          </p:cNvSpPr>
          <p:nvPr/>
        </p:nvSpPr>
        <p:spPr bwMode="auto">
          <a:xfrm>
            <a:off x="1865313" y="1628775"/>
            <a:ext cx="598487"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469" name="Text Box 5"/>
          <p:cNvSpPr txBox="1">
            <a:spLocks noChangeArrowheads="1"/>
          </p:cNvSpPr>
          <p:nvPr/>
        </p:nvSpPr>
        <p:spPr bwMode="auto">
          <a:xfrm>
            <a:off x="2463800" y="1628775"/>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470" name="Text Box 6"/>
          <p:cNvSpPr txBox="1">
            <a:spLocks noChangeArrowheads="1"/>
          </p:cNvSpPr>
          <p:nvPr/>
        </p:nvSpPr>
        <p:spPr bwMode="auto">
          <a:xfrm>
            <a:off x="3060700" y="1628775"/>
            <a:ext cx="598488"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471" name="Text Box 7"/>
          <p:cNvSpPr txBox="1">
            <a:spLocks noChangeArrowheads="1"/>
          </p:cNvSpPr>
          <p:nvPr/>
        </p:nvSpPr>
        <p:spPr bwMode="auto">
          <a:xfrm>
            <a:off x="3659188" y="1628775"/>
            <a:ext cx="598487"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472" name="Text Box 8"/>
          <p:cNvSpPr txBox="1">
            <a:spLocks noChangeArrowheads="1"/>
          </p:cNvSpPr>
          <p:nvPr/>
        </p:nvSpPr>
        <p:spPr bwMode="auto">
          <a:xfrm>
            <a:off x="4257675" y="1628775"/>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473" name="Text Box 9"/>
          <p:cNvSpPr txBox="1">
            <a:spLocks noChangeArrowheads="1"/>
          </p:cNvSpPr>
          <p:nvPr/>
        </p:nvSpPr>
        <p:spPr bwMode="auto">
          <a:xfrm>
            <a:off x="4854575" y="1628775"/>
            <a:ext cx="598488"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474" name="Text Box 10"/>
          <p:cNvSpPr txBox="1">
            <a:spLocks noChangeArrowheads="1"/>
          </p:cNvSpPr>
          <p:nvPr/>
        </p:nvSpPr>
        <p:spPr bwMode="auto">
          <a:xfrm>
            <a:off x="5453063" y="1628775"/>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475" name="Text Box 11"/>
          <p:cNvSpPr txBox="1">
            <a:spLocks noChangeArrowheads="1"/>
          </p:cNvSpPr>
          <p:nvPr/>
        </p:nvSpPr>
        <p:spPr bwMode="auto">
          <a:xfrm>
            <a:off x="6049963" y="1628775"/>
            <a:ext cx="600075"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476" name="Text Box 12"/>
          <p:cNvSpPr txBox="1">
            <a:spLocks noChangeArrowheads="1"/>
          </p:cNvSpPr>
          <p:nvPr/>
        </p:nvSpPr>
        <p:spPr bwMode="auto">
          <a:xfrm>
            <a:off x="6650038" y="1628775"/>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477" name="Text Box 13"/>
          <p:cNvSpPr txBox="1">
            <a:spLocks noChangeArrowheads="1"/>
          </p:cNvSpPr>
          <p:nvPr/>
        </p:nvSpPr>
        <p:spPr bwMode="auto">
          <a:xfrm>
            <a:off x="7246938" y="1628775"/>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16" name="Freeform 14"/>
          <p:cNvSpPr>
            <a:spLocks/>
          </p:cNvSpPr>
          <p:nvPr/>
        </p:nvSpPr>
        <p:spPr bwMode="auto">
          <a:xfrm>
            <a:off x="1266825" y="1916113"/>
            <a:ext cx="6580188" cy="144462"/>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9525">
            <a:solidFill>
              <a:schemeClr val="accent3"/>
            </a:solidFill>
            <a:round/>
            <a:headEnd/>
            <a:tailEnd/>
          </a:ln>
        </p:spPr>
        <p:txBody>
          <a:bodyPr wrap="none" lIns="0" tIns="0" rIns="0" bIns="0" anchor="ctr"/>
          <a:lstStyle/>
          <a:p>
            <a:pPr>
              <a:defRPr/>
            </a:pPr>
            <a:endParaRPr lang="en-GB">
              <a:solidFill>
                <a:schemeClr val="tx2"/>
              </a:solidFill>
            </a:endParaRPr>
          </a:p>
        </p:txBody>
      </p:sp>
      <p:sp>
        <p:nvSpPr>
          <p:cNvPr id="17" name="AutoShape 15"/>
          <p:cNvSpPr>
            <a:spLocks noChangeArrowheads="1"/>
          </p:cNvSpPr>
          <p:nvPr/>
        </p:nvSpPr>
        <p:spPr bwMode="auto">
          <a:xfrm>
            <a:off x="1468438" y="1844675"/>
            <a:ext cx="133350" cy="142875"/>
          </a:xfrm>
          <a:prstGeom prst="diamond">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18" name="AutoShape 16"/>
          <p:cNvSpPr>
            <a:spLocks noChangeArrowheads="1"/>
          </p:cNvSpPr>
          <p:nvPr/>
        </p:nvSpPr>
        <p:spPr bwMode="auto">
          <a:xfrm>
            <a:off x="2065338" y="1844675"/>
            <a:ext cx="133350" cy="142875"/>
          </a:xfrm>
          <a:prstGeom prst="diamond">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19" name="AutoShape 17"/>
          <p:cNvSpPr>
            <a:spLocks noChangeArrowheads="1"/>
          </p:cNvSpPr>
          <p:nvPr/>
        </p:nvSpPr>
        <p:spPr bwMode="auto">
          <a:xfrm>
            <a:off x="2662238" y="1844675"/>
            <a:ext cx="133350" cy="142875"/>
          </a:xfrm>
          <a:prstGeom prst="diamond">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20" name="AutoShape 18"/>
          <p:cNvSpPr>
            <a:spLocks noChangeArrowheads="1"/>
          </p:cNvSpPr>
          <p:nvPr/>
        </p:nvSpPr>
        <p:spPr bwMode="auto">
          <a:xfrm>
            <a:off x="3260725" y="1844675"/>
            <a:ext cx="133350" cy="142875"/>
          </a:xfrm>
          <a:prstGeom prst="diamond">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21" name="AutoShape 19"/>
          <p:cNvSpPr>
            <a:spLocks noChangeArrowheads="1"/>
          </p:cNvSpPr>
          <p:nvPr/>
        </p:nvSpPr>
        <p:spPr bwMode="auto">
          <a:xfrm>
            <a:off x="3857625" y="1844675"/>
            <a:ext cx="133350" cy="142875"/>
          </a:xfrm>
          <a:prstGeom prst="diamond">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22" name="AutoShape 20"/>
          <p:cNvSpPr>
            <a:spLocks noChangeArrowheads="1"/>
          </p:cNvSpPr>
          <p:nvPr/>
        </p:nvSpPr>
        <p:spPr bwMode="auto">
          <a:xfrm>
            <a:off x="4456113" y="1844675"/>
            <a:ext cx="133350" cy="142875"/>
          </a:xfrm>
          <a:prstGeom prst="diamond">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23" name="AutoShape 21"/>
          <p:cNvSpPr>
            <a:spLocks noChangeArrowheads="1"/>
          </p:cNvSpPr>
          <p:nvPr/>
        </p:nvSpPr>
        <p:spPr bwMode="auto">
          <a:xfrm>
            <a:off x="5054600" y="1844675"/>
            <a:ext cx="133350" cy="142875"/>
          </a:xfrm>
          <a:prstGeom prst="diamond">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24" name="AutoShape 22"/>
          <p:cNvSpPr>
            <a:spLocks noChangeArrowheads="1"/>
          </p:cNvSpPr>
          <p:nvPr/>
        </p:nvSpPr>
        <p:spPr bwMode="auto">
          <a:xfrm>
            <a:off x="5651500" y="1844675"/>
            <a:ext cx="133350" cy="142875"/>
          </a:xfrm>
          <a:prstGeom prst="diamond">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25" name="AutoShape 23"/>
          <p:cNvSpPr>
            <a:spLocks noChangeArrowheads="1"/>
          </p:cNvSpPr>
          <p:nvPr/>
        </p:nvSpPr>
        <p:spPr bwMode="auto">
          <a:xfrm>
            <a:off x="6249988" y="1844675"/>
            <a:ext cx="133350" cy="142875"/>
          </a:xfrm>
          <a:prstGeom prst="diamond">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26" name="AutoShape 24"/>
          <p:cNvSpPr>
            <a:spLocks noChangeArrowheads="1"/>
          </p:cNvSpPr>
          <p:nvPr/>
        </p:nvSpPr>
        <p:spPr bwMode="auto">
          <a:xfrm>
            <a:off x="6848475" y="1844675"/>
            <a:ext cx="133350" cy="142875"/>
          </a:xfrm>
          <a:prstGeom prst="diamond">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27" name="AutoShape 25"/>
          <p:cNvSpPr>
            <a:spLocks noChangeArrowheads="1"/>
          </p:cNvSpPr>
          <p:nvPr/>
        </p:nvSpPr>
        <p:spPr bwMode="auto">
          <a:xfrm>
            <a:off x="7450138" y="1844675"/>
            <a:ext cx="133350" cy="142875"/>
          </a:xfrm>
          <a:prstGeom prst="diamond">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28" name="Freeform 26"/>
          <p:cNvSpPr>
            <a:spLocks/>
          </p:cNvSpPr>
          <p:nvPr/>
        </p:nvSpPr>
        <p:spPr bwMode="auto">
          <a:xfrm>
            <a:off x="1274763" y="3500438"/>
            <a:ext cx="6580187" cy="144462"/>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9525">
            <a:solidFill>
              <a:schemeClr val="accent3"/>
            </a:solidFill>
            <a:round/>
            <a:headEnd/>
            <a:tailEnd/>
          </a:ln>
        </p:spPr>
        <p:txBody>
          <a:bodyPr wrap="none" lIns="0" tIns="0" rIns="0" bIns="0" anchor="ctr"/>
          <a:lstStyle/>
          <a:p>
            <a:pPr>
              <a:defRPr/>
            </a:pPr>
            <a:endParaRPr lang="en-GB">
              <a:solidFill>
                <a:schemeClr val="tx2"/>
              </a:solidFill>
            </a:endParaRPr>
          </a:p>
        </p:txBody>
      </p:sp>
      <p:sp>
        <p:nvSpPr>
          <p:cNvPr id="29" name="Rectangle 27"/>
          <p:cNvSpPr>
            <a:spLocks noChangeArrowheads="1"/>
          </p:cNvSpPr>
          <p:nvPr/>
        </p:nvSpPr>
        <p:spPr bwMode="auto">
          <a:xfrm>
            <a:off x="1474788" y="3429000"/>
            <a:ext cx="131762" cy="142875"/>
          </a:xfrm>
          <a:prstGeom prst="rect">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30" name="Rectangle 28"/>
          <p:cNvSpPr>
            <a:spLocks noChangeArrowheads="1"/>
          </p:cNvSpPr>
          <p:nvPr/>
        </p:nvSpPr>
        <p:spPr bwMode="auto">
          <a:xfrm>
            <a:off x="2073275" y="3429000"/>
            <a:ext cx="131763" cy="142875"/>
          </a:xfrm>
          <a:prstGeom prst="rect">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31" name="Rectangle 29"/>
          <p:cNvSpPr>
            <a:spLocks noChangeArrowheads="1"/>
          </p:cNvSpPr>
          <p:nvPr/>
        </p:nvSpPr>
        <p:spPr bwMode="auto">
          <a:xfrm>
            <a:off x="2673350" y="3429000"/>
            <a:ext cx="131763" cy="142875"/>
          </a:xfrm>
          <a:prstGeom prst="rect">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32" name="Rectangle 30"/>
          <p:cNvSpPr>
            <a:spLocks noChangeArrowheads="1"/>
          </p:cNvSpPr>
          <p:nvPr/>
        </p:nvSpPr>
        <p:spPr bwMode="auto">
          <a:xfrm>
            <a:off x="3271838" y="3429000"/>
            <a:ext cx="131762" cy="142875"/>
          </a:xfrm>
          <a:prstGeom prst="rect">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33" name="Rectangle 31"/>
          <p:cNvSpPr>
            <a:spLocks noChangeArrowheads="1"/>
          </p:cNvSpPr>
          <p:nvPr/>
        </p:nvSpPr>
        <p:spPr bwMode="auto">
          <a:xfrm>
            <a:off x="3871913" y="3429000"/>
            <a:ext cx="131762" cy="142875"/>
          </a:xfrm>
          <a:prstGeom prst="rect">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34" name="Rectangle 32"/>
          <p:cNvSpPr>
            <a:spLocks noChangeArrowheads="1"/>
          </p:cNvSpPr>
          <p:nvPr/>
        </p:nvSpPr>
        <p:spPr bwMode="auto">
          <a:xfrm>
            <a:off x="4470400" y="3429000"/>
            <a:ext cx="131763" cy="142875"/>
          </a:xfrm>
          <a:prstGeom prst="rect">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35" name="Rectangle 33"/>
          <p:cNvSpPr>
            <a:spLocks noChangeArrowheads="1"/>
          </p:cNvSpPr>
          <p:nvPr/>
        </p:nvSpPr>
        <p:spPr bwMode="auto">
          <a:xfrm>
            <a:off x="5070475" y="3429000"/>
            <a:ext cx="131763" cy="142875"/>
          </a:xfrm>
          <a:prstGeom prst="rect">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36" name="Rectangle 34"/>
          <p:cNvSpPr>
            <a:spLocks noChangeArrowheads="1"/>
          </p:cNvSpPr>
          <p:nvPr/>
        </p:nvSpPr>
        <p:spPr bwMode="auto">
          <a:xfrm>
            <a:off x="5668963" y="3429000"/>
            <a:ext cx="131762" cy="142875"/>
          </a:xfrm>
          <a:prstGeom prst="rect">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37" name="Rectangle 35"/>
          <p:cNvSpPr>
            <a:spLocks noChangeArrowheads="1"/>
          </p:cNvSpPr>
          <p:nvPr/>
        </p:nvSpPr>
        <p:spPr bwMode="auto">
          <a:xfrm>
            <a:off x="6269038" y="3429000"/>
            <a:ext cx="133350" cy="142875"/>
          </a:xfrm>
          <a:prstGeom prst="rect">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38" name="Rectangle 36"/>
          <p:cNvSpPr>
            <a:spLocks noChangeArrowheads="1"/>
          </p:cNvSpPr>
          <p:nvPr/>
        </p:nvSpPr>
        <p:spPr bwMode="auto">
          <a:xfrm>
            <a:off x="6867525" y="3429000"/>
            <a:ext cx="133350" cy="142875"/>
          </a:xfrm>
          <a:prstGeom prst="rect">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39" name="Rectangle 37"/>
          <p:cNvSpPr>
            <a:spLocks noChangeArrowheads="1"/>
          </p:cNvSpPr>
          <p:nvPr/>
        </p:nvSpPr>
        <p:spPr bwMode="auto">
          <a:xfrm>
            <a:off x="7469188" y="3429000"/>
            <a:ext cx="130175" cy="142875"/>
          </a:xfrm>
          <a:prstGeom prst="rect">
            <a:avLst/>
          </a:prstGeom>
          <a:solidFill>
            <a:schemeClr val="accent3"/>
          </a:solidFill>
          <a:ln w="9525" algn="ctr">
            <a:solidFill>
              <a:schemeClr val="accent3"/>
            </a:solidFill>
            <a:miter lim="800000"/>
            <a:headEnd/>
            <a:tailEnd/>
          </a:ln>
        </p:spPr>
        <p:txBody>
          <a:bodyPr wrap="none" lIns="0" tIns="0" rIns="0" bIns="0" anchor="ctr"/>
          <a:lstStyle/>
          <a:p>
            <a:pPr algn="ctr">
              <a:defRPr/>
            </a:pPr>
            <a:endParaRPr lang="en-GB" sz="1000">
              <a:solidFill>
                <a:schemeClr val="tx2"/>
              </a:solidFill>
            </a:endParaRPr>
          </a:p>
        </p:txBody>
      </p:sp>
      <p:sp>
        <p:nvSpPr>
          <p:cNvPr id="830502" name="Text Box 38"/>
          <p:cNvSpPr txBox="1">
            <a:spLocks noChangeArrowheads="1"/>
          </p:cNvSpPr>
          <p:nvPr/>
        </p:nvSpPr>
        <p:spPr bwMode="auto">
          <a:xfrm>
            <a:off x="1266825" y="3213100"/>
            <a:ext cx="598488"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03" name="Text Box 39"/>
          <p:cNvSpPr txBox="1">
            <a:spLocks noChangeArrowheads="1"/>
          </p:cNvSpPr>
          <p:nvPr/>
        </p:nvSpPr>
        <p:spPr bwMode="auto">
          <a:xfrm>
            <a:off x="1865313" y="3213100"/>
            <a:ext cx="598487"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04" name="Text Box 40"/>
          <p:cNvSpPr txBox="1">
            <a:spLocks noChangeArrowheads="1"/>
          </p:cNvSpPr>
          <p:nvPr/>
        </p:nvSpPr>
        <p:spPr bwMode="auto">
          <a:xfrm>
            <a:off x="2463800" y="3213100"/>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05" name="Text Box 41"/>
          <p:cNvSpPr txBox="1">
            <a:spLocks noChangeArrowheads="1"/>
          </p:cNvSpPr>
          <p:nvPr/>
        </p:nvSpPr>
        <p:spPr bwMode="auto">
          <a:xfrm>
            <a:off x="3060700" y="3213100"/>
            <a:ext cx="598488"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06" name="Text Box 42"/>
          <p:cNvSpPr txBox="1">
            <a:spLocks noChangeArrowheads="1"/>
          </p:cNvSpPr>
          <p:nvPr/>
        </p:nvSpPr>
        <p:spPr bwMode="auto">
          <a:xfrm>
            <a:off x="3659188" y="3213100"/>
            <a:ext cx="598487"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07" name="Text Box 43"/>
          <p:cNvSpPr txBox="1">
            <a:spLocks noChangeArrowheads="1"/>
          </p:cNvSpPr>
          <p:nvPr/>
        </p:nvSpPr>
        <p:spPr bwMode="auto">
          <a:xfrm>
            <a:off x="4257675" y="3213100"/>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08" name="Text Box 44"/>
          <p:cNvSpPr txBox="1">
            <a:spLocks noChangeArrowheads="1"/>
          </p:cNvSpPr>
          <p:nvPr/>
        </p:nvSpPr>
        <p:spPr bwMode="auto">
          <a:xfrm>
            <a:off x="4854575" y="3213100"/>
            <a:ext cx="598488"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09" name="Text Box 45"/>
          <p:cNvSpPr txBox="1">
            <a:spLocks noChangeArrowheads="1"/>
          </p:cNvSpPr>
          <p:nvPr/>
        </p:nvSpPr>
        <p:spPr bwMode="auto">
          <a:xfrm>
            <a:off x="5453063" y="3213100"/>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10" name="Text Box 46"/>
          <p:cNvSpPr txBox="1">
            <a:spLocks noChangeArrowheads="1"/>
          </p:cNvSpPr>
          <p:nvPr/>
        </p:nvSpPr>
        <p:spPr bwMode="auto">
          <a:xfrm>
            <a:off x="6049963" y="3213100"/>
            <a:ext cx="600075"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11" name="Text Box 47"/>
          <p:cNvSpPr txBox="1">
            <a:spLocks noChangeArrowheads="1"/>
          </p:cNvSpPr>
          <p:nvPr/>
        </p:nvSpPr>
        <p:spPr bwMode="auto">
          <a:xfrm>
            <a:off x="6650038" y="3213100"/>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12" name="Text Box 48"/>
          <p:cNvSpPr txBox="1">
            <a:spLocks noChangeArrowheads="1"/>
          </p:cNvSpPr>
          <p:nvPr/>
        </p:nvSpPr>
        <p:spPr bwMode="auto">
          <a:xfrm>
            <a:off x="7246938" y="3213100"/>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Label</a:t>
            </a:r>
          </a:p>
        </p:txBody>
      </p:sp>
      <p:sp>
        <p:nvSpPr>
          <p:cNvPr id="830513" name="Text Box 49"/>
          <p:cNvSpPr txBox="1">
            <a:spLocks noChangeArrowheads="1"/>
          </p:cNvSpPr>
          <p:nvPr/>
        </p:nvSpPr>
        <p:spPr bwMode="auto">
          <a:xfrm>
            <a:off x="1266825" y="2420938"/>
            <a:ext cx="598488"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14" name="Text Box 50"/>
          <p:cNvSpPr txBox="1">
            <a:spLocks noChangeArrowheads="1"/>
          </p:cNvSpPr>
          <p:nvPr/>
        </p:nvSpPr>
        <p:spPr bwMode="auto">
          <a:xfrm>
            <a:off x="1865313" y="2420938"/>
            <a:ext cx="598487"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15" name="Text Box 51"/>
          <p:cNvSpPr txBox="1">
            <a:spLocks noChangeArrowheads="1"/>
          </p:cNvSpPr>
          <p:nvPr/>
        </p:nvSpPr>
        <p:spPr bwMode="auto">
          <a:xfrm>
            <a:off x="2463800" y="2420938"/>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16" name="Text Box 52"/>
          <p:cNvSpPr txBox="1">
            <a:spLocks noChangeArrowheads="1"/>
          </p:cNvSpPr>
          <p:nvPr/>
        </p:nvSpPr>
        <p:spPr bwMode="auto">
          <a:xfrm>
            <a:off x="3060700" y="2420938"/>
            <a:ext cx="598488"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17" name="Text Box 53"/>
          <p:cNvSpPr txBox="1">
            <a:spLocks noChangeArrowheads="1"/>
          </p:cNvSpPr>
          <p:nvPr/>
        </p:nvSpPr>
        <p:spPr bwMode="auto">
          <a:xfrm>
            <a:off x="3659188" y="2420938"/>
            <a:ext cx="598487"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18" name="Text Box 54"/>
          <p:cNvSpPr txBox="1">
            <a:spLocks noChangeArrowheads="1"/>
          </p:cNvSpPr>
          <p:nvPr/>
        </p:nvSpPr>
        <p:spPr bwMode="auto">
          <a:xfrm>
            <a:off x="4257675" y="2420938"/>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19" name="Text Box 55"/>
          <p:cNvSpPr txBox="1">
            <a:spLocks noChangeArrowheads="1"/>
          </p:cNvSpPr>
          <p:nvPr/>
        </p:nvSpPr>
        <p:spPr bwMode="auto">
          <a:xfrm>
            <a:off x="4854575" y="2420938"/>
            <a:ext cx="598488"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20" name="Text Box 56"/>
          <p:cNvSpPr txBox="1">
            <a:spLocks noChangeArrowheads="1"/>
          </p:cNvSpPr>
          <p:nvPr/>
        </p:nvSpPr>
        <p:spPr bwMode="auto">
          <a:xfrm>
            <a:off x="5453063" y="2420938"/>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21" name="Text Box 57"/>
          <p:cNvSpPr txBox="1">
            <a:spLocks noChangeArrowheads="1"/>
          </p:cNvSpPr>
          <p:nvPr/>
        </p:nvSpPr>
        <p:spPr bwMode="auto">
          <a:xfrm>
            <a:off x="6049963" y="2420938"/>
            <a:ext cx="600075"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22" name="Text Box 58"/>
          <p:cNvSpPr txBox="1">
            <a:spLocks noChangeArrowheads="1"/>
          </p:cNvSpPr>
          <p:nvPr/>
        </p:nvSpPr>
        <p:spPr bwMode="auto">
          <a:xfrm>
            <a:off x="6650038" y="2420938"/>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830523" name="Text Box 59"/>
          <p:cNvSpPr txBox="1">
            <a:spLocks noChangeArrowheads="1"/>
          </p:cNvSpPr>
          <p:nvPr/>
        </p:nvSpPr>
        <p:spPr bwMode="auto">
          <a:xfrm>
            <a:off x="7246938" y="2420938"/>
            <a:ext cx="596900" cy="146050"/>
          </a:xfrm>
          <a:prstGeom prst="rect">
            <a:avLst/>
          </a:prstGeom>
          <a:noFill/>
          <a:ln w="12700" algn="ctr">
            <a:noFill/>
            <a:miter lim="800000"/>
            <a:headEnd/>
            <a:tailEnd/>
          </a:ln>
        </p:spPr>
        <p:txBody>
          <a:bodyPr lIns="0" tIns="0" rIns="0" bIns="0">
            <a:spAutoFit/>
          </a:bodyPr>
          <a:lstStyle/>
          <a:p>
            <a:pPr algn="ctr">
              <a:lnSpc>
                <a:spcPct val="95000"/>
              </a:lnSpc>
            </a:pPr>
            <a:r>
              <a:rPr lang="en-GB" sz="1000">
                <a:solidFill>
                  <a:schemeClr val="tx2"/>
                </a:solidFill>
                <a:ea typeface="ＭＳ Ｐゴシック" charset="-128"/>
              </a:rPr>
              <a:t>x</a:t>
            </a:r>
          </a:p>
        </p:txBody>
      </p:sp>
      <p:sp>
        <p:nvSpPr>
          <p:cNvPr id="62" name="Freeform 60"/>
          <p:cNvSpPr>
            <a:spLocks/>
          </p:cNvSpPr>
          <p:nvPr/>
        </p:nvSpPr>
        <p:spPr bwMode="auto">
          <a:xfrm>
            <a:off x="1266825" y="2708275"/>
            <a:ext cx="6580188" cy="144463"/>
          </a:xfrm>
          <a:custGeom>
            <a:avLst/>
            <a:gdLst>
              <a:gd name="T0" fmla="*/ 0 w 4490"/>
              <a:gd name="T1" fmla="*/ 2147483647 h 91"/>
              <a:gd name="T2" fmla="*/ 0 w 4490"/>
              <a:gd name="T3" fmla="*/ 0 h 91"/>
              <a:gd name="T4" fmla="*/ 2147483647 w 4490"/>
              <a:gd name="T5" fmla="*/ 0 h 91"/>
              <a:gd name="T6" fmla="*/ 2147483647 w 4490"/>
              <a:gd name="T7" fmla="*/ 2147483647 h 91"/>
              <a:gd name="T8" fmla="*/ 0 60000 65536"/>
              <a:gd name="T9" fmla="*/ 0 60000 65536"/>
              <a:gd name="T10" fmla="*/ 0 60000 65536"/>
              <a:gd name="T11" fmla="*/ 0 60000 65536"/>
              <a:gd name="T12" fmla="*/ 0 w 4490"/>
              <a:gd name="T13" fmla="*/ 0 h 91"/>
              <a:gd name="T14" fmla="*/ 4490 w 4490"/>
              <a:gd name="T15" fmla="*/ 91 h 91"/>
            </a:gdLst>
            <a:ahLst/>
            <a:cxnLst>
              <a:cxn ang="T8">
                <a:pos x="T0" y="T1"/>
              </a:cxn>
              <a:cxn ang="T9">
                <a:pos x="T2" y="T3"/>
              </a:cxn>
              <a:cxn ang="T10">
                <a:pos x="T4" y="T5"/>
              </a:cxn>
              <a:cxn ang="T11">
                <a:pos x="T6" y="T7"/>
              </a:cxn>
            </a:cxnLst>
            <a:rect l="T12" t="T13" r="T14" b="T15"/>
            <a:pathLst>
              <a:path w="4490" h="91">
                <a:moveTo>
                  <a:pt x="0" y="91"/>
                </a:moveTo>
                <a:lnTo>
                  <a:pt x="0" y="0"/>
                </a:lnTo>
                <a:lnTo>
                  <a:pt x="4490" y="0"/>
                </a:lnTo>
                <a:lnTo>
                  <a:pt x="4490" y="91"/>
                </a:lnTo>
              </a:path>
            </a:pathLst>
          </a:custGeom>
          <a:noFill/>
          <a:ln w="9525">
            <a:solidFill>
              <a:schemeClr val="accent3"/>
            </a:solidFill>
            <a:round/>
            <a:headEnd/>
            <a:tailEnd/>
          </a:ln>
        </p:spPr>
        <p:txBody>
          <a:bodyPr wrap="none" lIns="0" tIns="0" rIns="0" bIns="0" anchor="ctr"/>
          <a:lstStyle/>
          <a:p>
            <a:pPr>
              <a:defRPr/>
            </a:pPr>
            <a:endParaRPr lang="en-GB">
              <a:solidFill>
                <a:schemeClr val="tx2"/>
              </a:solidFill>
            </a:endParaRPr>
          </a:p>
        </p:txBody>
      </p:sp>
      <p:sp>
        <p:nvSpPr>
          <p:cNvPr id="63" name="Oval 61"/>
          <p:cNvSpPr>
            <a:spLocks noChangeArrowheads="1"/>
          </p:cNvSpPr>
          <p:nvPr/>
        </p:nvSpPr>
        <p:spPr bwMode="auto">
          <a:xfrm>
            <a:off x="1468438" y="2636838"/>
            <a:ext cx="130175" cy="142875"/>
          </a:xfrm>
          <a:prstGeom prst="ellipse">
            <a:avLst/>
          </a:prstGeom>
          <a:solidFill>
            <a:schemeClr val="accent3"/>
          </a:solidFill>
          <a:ln w="9525" algn="ctr">
            <a:solidFill>
              <a:schemeClr val="accent3"/>
            </a:solidFill>
            <a:round/>
            <a:headEnd/>
            <a:tailEnd/>
          </a:ln>
        </p:spPr>
        <p:txBody>
          <a:bodyPr wrap="none" lIns="0" tIns="0" rIns="0" bIns="0" anchor="ctr"/>
          <a:lstStyle/>
          <a:p>
            <a:pPr algn="ctr">
              <a:defRPr/>
            </a:pPr>
            <a:endParaRPr lang="en-GB" sz="1000">
              <a:solidFill>
                <a:schemeClr val="tx2"/>
              </a:solidFill>
            </a:endParaRPr>
          </a:p>
        </p:txBody>
      </p:sp>
      <p:sp>
        <p:nvSpPr>
          <p:cNvPr id="64" name="Oval 62"/>
          <p:cNvSpPr>
            <a:spLocks noChangeArrowheads="1"/>
          </p:cNvSpPr>
          <p:nvPr/>
        </p:nvSpPr>
        <p:spPr bwMode="auto">
          <a:xfrm>
            <a:off x="2066925" y="2636838"/>
            <a:ext cx="131763" cy="142875"/>
          </a:xfrm>
          <a:prstGeom prst="ellipse">
            <a:avLst/>
          </a:prstGeom>
          <a:solidFill>
            <a:schemeClr val="accent3"/>
          </a:solidFill>
          <a:ln w="9525" algn="ctr">
            <a:solidFill>
              <a:schemeClr val="accent3"/>
            </a:solidFill>
            <a:round/>
            <a:headEnd/>
            <a:tailEnd/>
          </a:ln>
        </p:spPr>
        <p:txBody>
          <a:bodyPr wrap="none" lIns="0" tIns="0" rIns="0" bIns="0" anchor="ctr"/>
          <a:lstStyle/>
          <a:p>
            <a:pPr algn="ctr">
              <a:defRPr/>
            </a:pPr>
            <a:endParaRPr lang="en-GB" sz="1000">
              <a:solidFill>
                <a:schemeClr val="tx2"/>
              </a:solidFill>
            </a:endParaRPr>
          </a:p>
        </p:txBody>
      </p:sp>
      <p:sp>
        <p:nvSpPr>
          <p:cNvPr id="65" name="Oval 63"/>
          <p:cNvSpPr>
            <a:spLocks noChangeArrowheads="1"/>
          </p:cNvSpPr>
          <p:nvPr/>
        </p:nvSpPr>
        <p:spPr bwMode="auto">
          <a:xfrm>
            <a:off x="2665413" y="2636838"/>
            <a:ext cx="131762" cy="142875"/>
          </a:xfrm>
          <a:prstGeom prst="ellipse">
            <a:avLst/>
          </a:prstGeom>
          <a:solidFill>
            <a:schemeClr val="accent3"/>
          </a:solidFill>
          <a:ln w="9525" algn="ctr">
            <a:solidFill>
              <a:schemeClr val="accent3"/>
            </a:solidFill>
            <a:round/>
            <a:headEnd/>
            <a:tailEnd/>
          </a:ln>
        </p:spPr>
        <p:txBody>
          <a:bodyPr wrap="none" lIns="0" tIns="0" rIns="0" bIns="0" anchor="ctr"/>
          <a:lstStyle/>
          <a:p>
            <a:pPr algn="ctr">
              <a:defRPr/>
            </a:pPr>
            <a:endParaRPr lang="en-GB" sz="1000">
              <a:solidFill>
                <a:schemeClr val="tx2"/>
              </a:solidFill>
            </a:endParaRPr>
          </a:p>
        </p:txBody>
      </p:sp>
      <p:sp>
        <p:nvSpPr>
          <p:cNvPr id="66" name="Oval 64"/>
          <p:cNvSpPr>
            <a:spLocks noChangeArrowheads="1"/>
          </p:cNvSpPr>
          <p:nvPr/>
        </p:nvSpPr>
        <p:spPr bwMode="auto">
          <a:xfrm>
            <a:off x="3265488" y="2636838"/>
            <a:ext cx="131762" cy="142875"/>
          </a:xfrm>
          <a:prstGeom prst="ellipse">
            <a:avLst/>
          </a:prstGeom>
          <a:solidFill>
            <a:schemeClr val="accent3"/>
          </a:solidFill>
          <a:ln w="9525" algn="ctr">
            <a:solidFill>
              <a:schemeClr val="accent3"/>
            </a:solidFill>
            <a:round/>
            <a:headEnd/>
            <a:tailEnd/>
          </a:ln>
        </p:spPr>
        <p:txBody>
          <a:bodyPr wrap="none" lIns="0" tIns="0" rIns="0" bIns="0" anchor="ctr"/>
          <a:lstStyle/>
          <a:p>
            <a:pPr algn="ctr">
              <a:defRPr/>
            </a:pPr>
            <a:endParaRPr lang="en-GB" sz="1000">
              <a:solidFill>
                <a:schemeClr val="tx2"/>
              </a:solidFill>
            </a:endParaRPr>
          </a:p>
        </p:txBody>
      </p:sp>
      <p:sp>
        <p:nvSpPr>
          <p:cNvPr id="67" name="Oval 65"/>
          <p:cNvSpPr>
            <a:spLocks noChangeArrowheads="1"/>
          </p:cNvSpPr>
          <p:nvPr/>
        </p:nvSpPr>
        <p:spPr bwMode="auto">
          <a:xfrm>
            <a:off x="3863975" y="2636838"/>
            <a:ext cx="131763" cy="142875"/>
          </a:xfrm>
          <a:prstGeom prst="ellipse">
            <a:avLst/>
          </a:prstGeom>
          <a:solidFill>
            <a:schemeClr val="accent3"/>
          </a:solidFill>
          <a:ln w="9525" algn="ctr">
            <a:solidFill>
              <a:schemeClr val="accent3"/>
            </a:solidFill>
            <a:round/>
            <a:headEnd/>
            <a:tailEnd/>
          </a:ln>
        </p:spPr>
        <p:txBody>
          <a:bodyPr wrap="none" lIns="0" tIns="0" rIns="0" bIns="0" anchor="ctr"/>
          <a:lstStyle/>
          <a:p>
            <a:pPr algn="ctr">
              <a:defRPr/>
            </a:pPr>
            <a:endParaRPr lang="en-GB" sz="1000">
              <a:solidFill>
                <a:schemeClr val="tx2"/>
              </a:solidFill>
            </a:endParaRPr>
          </a:p>
        </p:txBody>
      </p:sp>
      <p:sp>
        <p:nvSpPr>
          <p:cNvPr id="68" name="Oval 66"/>
          <p:cNvSpPr>
            <a:spLocks noChangeArrowheads="1"/>
          </p:cNvSpPr>
          <p:nvPr/>
        </p:nvSpPr>
        <p:spPr bwMode="auto">
          <a:xfrm>
            <a:off x="4464050" y="2636838"/>
            <a:ext cx="131763" cy="142875"/>
          </a:xfrm>
          <a:prstGeom prst="ellipse">
            <a:avLst/>
          </a:prstGeom>
          <a:solidFill>
            <a:schemeClr val="accent3"/>
          </a:solidFill>
          <a:ln w="9525" algn="ctr">
            <a:solidFill>
              <a:schemeClr val="accent3"/>
            </a:solidFill>
            <a:round/>
            <a:headEnd/>
            <a:tailEnd/>
          </a:ln>
        </p:spPr>
        <p:txBody>
          <a:bodyPr wrap="none" lIns="0" tIns="0" rIns="0" bIns="0" anchor="ctr"/>
          <a:lstStyle/>
          <a:p>
            <a:pPr algn="ctr">
              <a:defRPr/>
            </a:pPr>
            <a:endParaRPr lang="en-GB" sz="1000">
              <a:solidFill>
                <a:schemeClr val="tx2"/>
              </a:solidFill>
            </a:endParaRPr>
          </a:p>
        </p:txBody>
      </p:sp>
      <p:sp>
        <p:nvSpPr>
          <p:cNvPr id="69" name="Oval 67"/>
          <p:cNvSpPr>
            <a:spLocks noChangeArrowheads="1"/>
          </p:cNvSpPr>
          <p:nvPr/>
        </p:nvSpPr>
        <p:spPr bwMode="auto">
          <a:xfrm>
            <a:off x="5662613" y="2636838"/>
            <a:ext cx="131762" cy="142875"/>
          </a:xfrm>
          <a:prstGeom prst="ellipse">
            <a:avLst/>
          </a:prstGeom>
          <a:solidFill>
            <a:schemeClr val="accent3"/>
          </a:solidFill>
          <a:ln w="9525" algn="ctr">
            <a:solidFill>
              <a:schemeClr val="accent3"/>
            </a:solidFill>
            <a:round/>
            <a:headEnd/>
            <a:tailEnd/>
          </a:ln>
        </p:spPr>
        <p:txBody>
          <a:bodyPr wrap="none" lIns="0" tIns="0" rIns="0" bIns="0" anchor="ctr"/>
          <a:lstStyle/>
          <a:p>
            <a:pPr algn="ctr">
              <a:defRPr/>
            </a:pPr>
            <a:endParaRPr lang="en-GB" sz="1000">
              <a:solidFill>
                <a:schemeClr val="tx2"/>
              </a:solidFill>
            </a:endParaRPr>
          </a:p>
        </p:txBody>
      </p:sp>
      <p:sp>
        <p:nvSpPr>
          <p:cNvPr id="70" name="Oval 68"/>
          <p:cNvSpPr>
            <a:spLocks noChangeArrowheads="1"/>
          </p:cNvSpPr>
          <p:nvPr/>
        </p:nvSpPr>
        <p:spPr bwMode="auto">
          <a:xfrm>
            <a:off x="6261100" y="2636838"/>
            <a:ext cx="131763" cy="142875"/>
          </a:xfrm>
          <a:prstGeom prst="ellipse">
            <a:avLst/>
          </a:prstGeom>
          <a:solidFill>
            <a:schemeClr val="accent3"/>
          </a:solidFill>
          <a:ln w="9525" algn="ctr">
            <a:solidFill>
              <a:schemeClr val="accent3"/>
            </a:solidFill>
            <a:round/>
            <a:headEnd/>
            <a:tailEnd/>
          </a:ln>
        </p:spPr>
        <p:txBody>
          <a:bodyPr wrap="none" lIns="0" tIns="0" rIns="0" bIns="0" anchor="ctr"/>
          <a:lstStyle/>
          <a:p>
            <a:pPr algn="ctr">
              <a:defRPr/>
            </a:pPr>
            <a:endParaRPr lang="en-GB" sz="1000">
              <a:solidFill>
                <a:schemeClr val="tx2"/>
              </a:solidFill>
            </a:endParaRPr>
          </a:p>
        </p:txBody>
      </p:sp>
      <p:sp>
        <p:nvSpPr>
          <p:cNvPr id="71" name="Oval 69"/>
          <p:cNvSpPr>
            <a:spLocks noChangeArrowheads="1"/>
          </p:cNvSpPr>
          <p:nvPr/>
        </p:nvSpPr>
        <p:spPr bwMode="auto">
          <a:xfrm>
            <a:off x="6861175" y="2636838"/>
            <a:ext cx="131763" cy="142875"/>
          </a:xfrm>
          <a:prstGeom prst="ellipse">
            <a:avLst/>
          </a:prstGeom>
          <a:solidFill>
            <a:schemeClr val="accent3"/>
          </a:solidFill>
          <a:ln w="9525" algn="ctr">
            <a:solidFill>
              <a:schemeClr val="accent3"/>
            </a:solidFill>
            <a:round/>
            <a:headEnd/>
            <a:tailEnd/>
          </a:ln>
        </p:spPr>
        <p:txBody>
          <a:bodyPr wrap="none" lIns="0" tIns="0" rIns="0" bIns="0" anchor="ctr"/>
          <a:lstStyle/>
          <a:p>
            <a:pPr algn="ctr">
              <a:defRPr/>
            </a:pPr>
            <a:endParaRPr lang="en-GB" sz="1000">
              <a:solidFill>
                <a:schemeClr val="tx2"/>
              </a:solidFill>
            </a:endParaRPr>
          </a:p>
        </p:txBody>
      </p:sp>
      <p:sp>
        <p:nvSpPr>
          <p:cNvPr id="72" name="Oval 70"/>
          <p:cNvSpPr>
            <a:spLocks noChangeArrowheads="1"/>
          </p:cNvSpPr>
          <p:nvPr/>
        </p:nvSpPr>
        <p:spPr bwMode="auto">
          <a:xfrm>
            <a:off x="7459663" y="2636838"/>
            <a:ext cx="131762" cy="142875"/>
          </a:xfrm>
          <a:prstGeom prst="ellipse">
            <a:avLst/>
          </a:prstGeom>
          <a:solidFill>
            <a:schemeClr val="accent3"/>
          </a:solidFill>
          <a:ln w="9525" algn="ctr">
            <a:solidFill>
              <a:schemeClr val="accent3"/>
            </a:solidFill>
            <a:round/>
            <a:headEnd/>
            <a:tailEnd/>
          </a:ln>
        </p:spPr>
        <p:txBody>
          <a:bodyPr wrap="none" lIns="0" tIns="0" rIns="0" bIns="0" anchor="ctr"/>
          <a:lstStyle/>
          <a:p>
            <a:pPr algn="ctr">
              <a:defRPr/>
            </a:pPr>
            <a:endParaRPr lang="en-GB" sz="1000">
              <a:solidFill>
                <a:schemeClr val="tx2"/>
              </a:solidFill>
            </a:endParaRPr>
          </a:p>
        </p:txBody>
      </p:sp>
      <p:sp>
        <p:nvSpPr>
          <p:cNvPr id="73" name="Oval 71"/>
          <p:cNvSpPr>
            <a:spLocks noChangeArrowheads="1"/>
          </p:cNvSpPr>
          <p:nvPr/>
        </p:nvSpPr>
        <p:spPr bwMode="auto">
          <a:xfrm>
            <a:off x="5062538" y="2636838"/>
            <a:ext cx="131762" cy="142875"/>
          </a:xfrm>
          <a:prstGeom prst="ellipse">
            <a:avLst/>
          </a:prstGeom>
          <a:solidFill>
            <a:schemeClr val="accent3"/>
          </a:solidFill>
          <a:ln w="9525" algn="ctr">
            <a:solidFill>
              <a:schemeClr val="accent3"/>
            </a:solidFill>
            <a:round/>
            <a:headEnd/>
            <a:tailEnd/>
          </a:ln>
        </p:spPr>
        <p:txBody>
          <a:bodyPr wrap="none" lIns="0" tIns="0" rIns="0" bIns="0" anchor="ctr"/>
          <a:lstStyle/>
          <a:p>
            <a:pPr algn="ctr">
              <a:defRPr/>
            </a:pPr>
            <a:endParaRPr lang="en-GB" sz="1000">
              <a:solidFill>
                <a:schemeClr val="tx2"/>
              </a:solidFill>
            </a:endParaRPr>
          </a:p>
        </p:txBody>
      </p:sp>
      <p:grpSp>
        <p:nvGrpSpPr>
          <p:cNvPr id="2" name="Group 111"/>
          <p:cNvGrpSpPr>
            <a:grpSpLocks/>
          </p:cNvGrpSpPr>
          <p:nvPr/>
        </p:nvGrpSpPr>
        <p:grpSpPr bwMode="auto">
          <a:xfrm>
            <a:off x="481013" y="4400551"/>
            <a:ext cx="8096250" cy="685423"/>
            <a:chOff x="520700" y="4400550"/>
            <a:chExt cx="8770938" cy="685656"/>
          </a:xfrm>
        </p:grpSpPr>
        <p:sp>
          <p:nvSpPr>
            <p:cNvPr id="75" name="Line 73"/>
            <p:cNvSpPr>
              <a:spLocks noChangeShapeType="1"/>
            </p:cNvSpPr>
            <p:nvPr/>
          </p:nvSpPr>
          <p:spPr bwMode="auto">
            <a:xfrm>
              <a:off x="666882" y="4738803"/>
              <a:ext cx="8550805" cy="0"/>
            </a:xfrm>
            <a:prstGeom prst="line">
              <a:avLst/>
            </a:prstGeom>
            <a:noFill/>
            <a:ln w="9525">
              <a:solidFill>
                <a:schemeClr val="accent3"/>
              </a:solidFill>
              <a:round/>
              <a:headEnd/>
              <a:tailEnd/>
            </a:ln>
          </p:spPr>
          <p:txBody>
            <a:bodyPr wrap="none" lIns="0" tIns="0" rIns="0" bIns="0" anchor="ctr"/>
            <a:lstStyle/>
            <a:p>
              <a:pPr>
                <a:defRPr/>
              </a:pPr>
              <a:endParaRPr lang="en-GB" sz="900">
                <a:solidFill>
                  <a:schemeClr val="tx2"/>
                </a:solidFill>
              </a:endParaRPr>
            </a:p>
          </p:txBody>
        </p:sp>
        <p:sp>
          <p:nvSpPr>
            <p:cNvPr id="76" name="Line 74"/>
            <p:cNvSpPr>
              <a:spLocks noChangeShapeType="1"/>
            </p:cNvSpPr>
            <p:nvPr/>
          </p:nvSpPr>
          <p:spPr bwMode="auto">
            <a:xfrm>
              <a:off x="1550855" y="4667341"/>
              <a:ext cx="0" cy="144512"/>
            </a:xfrm>
            <a:prstGeom prst="line">
              <a:avLst/>
            </a:prstGeom>
            <a:noFill/>
            <a:ln w="9525">
              <a:solidFill>
                <a:schemeClr val="accent3"/>
              </a:solidFill>
              <a:round/>
              <a:headEnd/>
              <a:tailEnd/>
            </a:ln>
          </p:spPr>
          <p:txBody>
            <a:bodyPr wrap="none" lIns="0" tIns="0" rIns="0" bIns="0" anchor="ctr"/>
            <a:lstStyle/>
            <a:p>
              <a:pPr>
                <a:defRPr/>
              </a:pPr>
              <a:endParaRPr lang="en-GB" sz="900">
                <a:solidFill>
                  <a:schemeClr val="tx2"/>
                </a:solidFill>
              </a:endParaRPr>
            </a:p>
          </p:txBody>
        </p:sp>
        <p:sp>
          <p:nvSpPr>
            <p:cNvPr id="77" name="Line 75"/>
            <p:cNvSpPr>
              <a:spLocks noChangeShapeType="1"/>
            </p:cNvSpPr>
            <p:nvPr/>
          </p:nvSpPr>
          <p:spPr bwMode="auto">
            <a:xfrm>
              <a:off x="2288646" y="4667341"/>
              <a:ext cx="0" cy="144512"/>
            </a:xfrm>
            <a:prstGeom prst="line">
              <a:avLst/>
            </a:prstGeom>
            <a:noFill/>
            <a:ln w="9525">
              <a:solidFill>
                <a:schemeClr val="accent3"/>
              </a:solidFill>
              <a:round/>
              <a:headEnd/>
              <a:tailEnd/>
            </a:ln>
          </p:spPr>
          <p:txBody>
            <a:bodyPr wrap="none" lIns="0" tIns="0" rIns="0" bIns="0" anchor="ctr"/>
            <a:lstStyle/>
            <a:p>
              <a:pPr>
                <a:defRPr/>
              </a:pPr>
              <a:endParaRPr lang="en-GB" sz="900">
                <a:solidFill>
                  <a:schemeClr val="tx2"/>
                </a:solidFill>
              </a:endParaRPr>
            </a:p>
          </p:txBody>
        </p:sp>
        <p:sp>
          <p:nvSpPr>
            <p:cNvPr id="78" name="Line 76"/>
            <p:cNvSpPr>
              <a:spLocks noChangeShapeType="1"/>
            </p:cNvSpPr>
            <p:nvPr/>
          </p:nvSpPr>
          <p:spPr bwMode="auto">
            <a:xfrm>
              <a:off x="3026436" y="4667341"/>
              <a:ext cx="0" cy="144512"/>
            </a:xfrm>
            <a:prstGeom prst="line">
              <a:avLst/>
            </a:prstGeom>
            <a:noFill/>
            <a:ln w="9525">
              <a:solidFill>
                <a:schemeClr val="accent3"/>
              </a:solidFill>
              <a:round/>
              <a:headEnd/>
              <a:tailEnd/>
            </a:ln>
          </p:spPr>
          <p:txBody>
            <a:bodyPr wrap="none" lIns="0" tIns="0" rIns="0" bIns="0" anchor="ctr"/>
            <a:lstStyle/>
            <a:p>
              <a:pPr>
                <a:defRPr/>
              </a:pPr>
              <a:endParaRPr lang="en-GB" sz="900">
                <a:solidFill>
                  <a:schemeClr val="tx2"/>
                </a:solidFill>
              </a:endParaRPr>
            </a:p>
          </p:txBody>
        </p:sp>
        <p:sp>
          <p:nvSpPr>
            <p:cNvPr id="79" name="Line 77"/>
            <p:cNvSpPr>
              <a:spLocks noChangeShapeType="1"/>
            </p:cNvSpPr>
            <p:nvPr/>
          </p:nvSpPr>
          <p:spPr bwMode="auto">
            <a:xfrm>
              <a:off x="3764227" y="4667341"/>
              <a:ext cx="0" cy="144512"/>
            </a:xfrm>
            <a:prstGeom prst="line">
              <a:avLst/>
            </a:prstGeom>
            <a:noFill/>
            <a:ln w="9525">
              <a:solidFill>
                <a:schemeClr val="accent3"/>
              </a:solidFill>
              <a:round/>
              <a:headEnd/>
              <a:tailEnd/>
            </a:ln>
          </p:spPr>
          <p:txBody>
            <a:bodyPr wrap="none" lIns="0" tIns="0" rIns="0" bIns="0" anchor="ctr"/>
            <a:lstStyle/>
            <a:p>
              <a:pPr>
                <a:defRPr/>
              </a:pPr>
              <a:endParaRPr lang="en-GB" sz="900">
                <a:solidFill>
                  <a:schemeClr val="tx2"/>
                </a:solidFill>
              </a:endParaRPr>
            </a:p>
          </p:txBody>
        </p:sp>
        <p:sp>
          <p:nvSpPr>
            <p:cNvPr id="80" name="Line 78"/>
            <p:cNvSpPr>
              <a:spLocks noChangeShapeType="1"/>
            </p:cNvSpPr>
            <p:nvPr/>
          </p:nvSpPr>
          <p:spPr bwMode="auto">
            <a:xfrm>
              <a:off x="4502017" y="4667341"/>
              <a:ext cx="0" cy="144512"/>
            </a:xfrm>
            <a:prstGeom prst="line">
              <a:avLst/>
            </a:prstGeom>
            <a:noFill/>
            <a:ln w="9525">
              <a:solidFill>
                <a:schemeClr val="accent3"/>
              </a:solidFill>
              <a:round/>
              <a:headEnd/>
              <a:tailEnd/>
            </a:ln>
          </p:spPr>
          <p:txBody>
            <a:bodyPr wrap="none" lIns="0" tIns="0" rIns="0" bIns="0" anchor="ctr"/>
            <a:lstStyle/>
            <a:p>
              <a:pPr>
                <a:defRPr/>
              </a:pPr>
              <a:endParaRPr lang="en-GB" sz="900">
                <a:solidFill>
                  <a:schemeClr val="tx2"/>
                </a:solidFill>
              </a:endParaRPr>
            </a:p>
          </p:txBody>
        </p:sp>
        <p:sp>
          <p:nvSpPr>
            <p:cNvPr id="81" name="Line 79"/>
            <p:cNvSpPr>
              <a:spLocks noChangeShapeType="1"/>
            </p:cNvSpPr>
            <p:nvPr/>
          </p:nvSpPr>
          <p:spPr bwMode="auto">
            <a:xfrm>
              <a:off x="5239809" y="4667341"/>
              <a:ext cx="0" cy="144512"/>
            </a:xfrm>
            <a:prstGeom prst="line">
              <a:avLst/>
            </a:prstGeom>
            <a:noFill/>
            <a:ln w="9525">
              <a:solidFill>
                <a:schemeClr val="accent3"/>
              </a:solidFill>
              <a:round/>
              <a:headEnd/>
              <a:tailEnd/>
            </a:ln>
          </p:spPr>
          <p:txBody>
            <a:bodyPr wrap="none" lIns="0" tIns="0" rIns="0" bIns="0" anchor="ctr"/>
            <a:lstStyle/>
            <a:p>
              <a:pPr>
                <a:defRPr/>
              </a:pPr>
              <a:endParaRPr lang="en-GB" sz="900">
                <a:solidFill>
                  <a:schemeClr val="tx2"/>
                </a:solidFill>
              </a:endParaRPr>
            </a:p>
          </p:txBody>
        </p:sp>
        <p:sp>
          <p:nvSpPr>
            <p:cNvPr id="82" name="Line 80"/>
            <p:cNvSpPr>
              <a:spLocks noChangeShapeType="1"/>
            </p:cNvSpPr>
            <p:nvPr/>
          </p:nvSpPr>
          <p:spPr bwMode="auto">
            <a:xfrm>
              <a:off x="5977599" y="4667341"/>
              <a:ext cx="0" cy="144512"/>
            </a:xfrm>
            <a:prstGeom prst="line">
              <a:avLst/>
            </a:prstGeom>
            <a:noFill/>
            <a:ln w="9525">
              <a:solidFill>
                <a:schemeClr val="accent3"/>
              </a:solidFill>
              <a:round/>
              <a:headEnd/>
              <a:tailEnd/>
            </a:ln>
          </p:spPr>
          <p:txBody>
            <a:bodyPr wrap="none" lIns="0" tIns="0" rIns="0" bIns="0" anchor="ctr"/>
            <a:lstStyle/>
            <a:p>
              <a:pPr>
                <a:defRPr/>
              </a:pPr>
              <a:endParaRPr lang="en-GB" sz="900">
                <a:solidFill>
                  <a:schemeClr val="tx2"/>
                </a:solidFill>
              </a:endParaRPr>
            </a:p>
          </p:txBody>
        </p:sp>
        <p:sp>
          <p:nvSpPr>
            <p:cNvPr id="83" name="Line 81"/>
            <p:cNvSpPr>
              <a:spLocks noChangeShapeType="1"/>
            </p:cNvSpPr>
            <p:nvPr/>
          </p:nvSpPr>
          <p:spPr bwMode="auto">
            <a:xfrm>
              <a:off x="6715390" y="4667341"/>
              <a:ext cx="0" cy="144512"/>
            </a:xfrm>
            <a:prstGeom prst="line">
              <a:avLst/>
            </a:prstGeom>
            <a:noFill/>
            <a:ln w="9525">
              <a:solidFill>
                <a:schemeClr val="accent3"/>
              </a:solidFill>
              <a:round/>
              <a:headEnd/>
              <a:tailEnd/>
            </a:ln>
          </p:spPr>
          <p:txBody>
            <a:bodyPr wrap="none" lIns="0" tIns="0" rIns="0" bIns="0" anchor="ctr"/>
            <a:lstStyle/>
            <a:p>
              <a:pPr>
                <a:defRPr/>
              </a:pPr>
              <a:endParaRPr lang="en-GB" sz="900">
                <a:solidFill>
                  <a:schemeClr val="tx2"/>
                </a:solidFill>
              </a:endParaRPr>
            </a:p>
          </p:txBody>
        </p:sp>
        <p:sp>
          <p:nvSpPr>
            <p:cNvPr id="84" name="Line 82"/>
            <p:cNvSpPr>
              <a:spLocks noChangeShapeType="1"/>
            </p:cNvSpPr>
            <p:nvPr/>
          </p:nvSpPr>
          <p:spPr bwMode="auto">
            <a:xfrm>
              <a:off x="7453180" y="4667341"/>
              <a:ext cx="0" cy="144512"/>
            </a:xfrm>
            <a:prstGeom prst="line">
              <a:avLst/>
            </a:prstGeom>
            <a:noFill/>
            <a:ln w="9525">
              <a:solidFill>
                <a:schemeClr val="accent3"/>
              </a:solidFill>
              <a:round/>
              <a:headEnd/>
              <a:tailEnd/>
            </a:ln>
          </p:spPr>
          <p:txBody>
            <a:bodyPr wrap="none" lIns="0" tIns="0" rIns="0" bIns="0" anchor="ctr"/>
            <a:lstStyle/>
            <a:p>
              <a:pPr>
                <a:defRPr/>
              </a:pPr>
              <a:endParaRPr lang="en-GB" sz="900">
                <a:solidFill>
                  <a:schemeClr val="tx2"/>
                </a:solidFill>
              </a:endParaRPr>
            </a:p>
          </p:txBody>
        </p:sp>
        <p:sp>
          <p:nvSpPr>
            <p:cNvPr id="85" name="Line 83"/>
            <p:cNvSpPr>
              <a:spLocks noChangeShapeType="1"/>
            </p:cNvSpPr>
            <p:nvPr/>
          </p:nvSpPr>
          <p:spPr bwMode="auto">
            <a:xfrm>
              <a:off x="8190971" y="4667341"/>
              <a:ext cx="0" cy="144512"/>
            </a:xfrm>
            <a:prstGeom prst="line">
              <a:avLst/>
            </a:prstGeom>
            <a:noFill/>
            <a:ln w="9525">
              <a:solidFill>
                <a:schemeClr val="accent3"/>
              </a:solidFill>
              <a:round/>
              <a:headEnd/>
              <a:tailEnd/>
            </a:ln>
          </p:spPr>
          <p:txBody>
            <a:bodyPr wrap="none" lIns="0" tIns="0" rIns="0" bIns="0" anchor="ctr"/>
            <a:lstStyle/>
            <a:p>
              <a:pPr>
                <a:defRPr/>
              </a:pPr>
              <a:endParaRPr lang="en-GB" sz="900">
                <a:solidFill>
                  <a:schemeClr val="tx2"/>
                </a:solidFill>
              </a:endParaRPr>
            </a:p>
          </p:txBody>
        </p:sp>
        <p:sp>
          <p:nvSpPr>
            <p:cNvPr id="86" name="Line 84"/>
            <p:cNvSpPr>
              <a:spLocks noChangeShapeType="1"/>
            </p:cNvSpPr>
            <p:nvPr/>
          </p:nvSpPr>
          <p:spPr bwMode="auto">
            <a:xfrm>
              <a:off x="8928761" y="4667341"/>
              <a:ext cx="0" cy="144512"/>
            </a:xfrm>
            <a:prstGeom prst="line">
              <a:avLst/>
            </a:prstGeom>
            <a:noFill/>
            <a:ln w="9525">
              <a:solidFill>
                <a:schemeClr val="accent3"/>
              </a:solidFill>
              <a:round/>
              <a:headEnd/>
              <a:tailEnd/>
            </a:ln>
          </p:spPr>
          <p:txBody>
            <a:bodyPr wrap="none" lIns="0" tIns="0" rIns="0" bIns="0" anchor="ctr"/>
            <a:lstStyle/>
            <a:p>
              <a:pPr>
                <a:defRPr/>
              </a:pPr>
              <a:endParaRPr lang="en-GB" sz="900">
                <a:solidFill>
                  <a:schemeClr val="tx2"/>
                </a:solidFill>
              </a:endParaRPr>
            </a:p>
          </p:txBody>
        </p:sp>
        <p:sp>
          <p:nvSpPr>
            <p:cNvPr id="87" name="Line 85"/>
            <p:cNvSpPr>
              <a:spLocks noChangeShapeType="1"/>
            </p:cNvSpPr>
            <p:nvPr/>
          </p:nvSpPr>
          <p:spPr bwMode="auto">
            <a:xfrm>
              <a:off x="814784" y="4667341"/>
              <a:ext cx="0" cy="144512"/>
            </a:xfrm>
            <a:prstGeom prst="line">
              <a:avLst/>
            </a:prstGeom>
            <a:noFill/>
            <a:ln w="9525">
              <a:solidFill>
                <a:schemeClr val="accent3"/>
              </a:solidFill>
              <a:round/>
              <a:headEnd/>
              <a:tailEnd/>
            </a:ln>
          </p:spPr>
          <p:txBody>
            <a:bodyPr wrap="none" lIns="0" tIns="0" rIns="0" bIns="0" anchor="ctr"/>
            <a:lstStyle/>
            <a:p>
              <a:pPr>
                <a:defRPr/>
              </a:pPr>
              <a:endParaRPr lang="en-GB" sz="900">
                <a:solidFill>
                  <a:schemeClr val="tx2"/>
                </a:solidFill>
              </a:endParaRPr>
            </a:p>
          </p:txBody>
        </p:sp>
        <p:sp>
          <p:nvSpPr>
            <p:cNvPr id="830551" name="Text Box 86"/>
            <p:cNvSpPr txBox="1">
              <a:spLocks noChangeArrowheads="1"/>
            </p:cNvSpPr>
            <p:nvPr/>
          </p:nvSpPr>
          <p:spPr bwMode="auto">
            <a:xfrm>
              <a:off x="520700" y="4400550"/>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dirty="0">
                  <a:solidFill>
                    <a:schemeClr val="tx2"/>
                  </a:solidFill>
                  <a:ea typeface="ＭＳ Ｐゴシック" charset="-128"/>
                </a:rPr>
                <a:t>January</a:t>
              </a:r>
            </a:p>
          </p:txBody>
        </p:sp>
        <p:sp>
          <p:nvSpPr>
            <p:cNvPr id="830552" name="Text Box 87"/>
            <p:cNvSpPr txBox="1">
              <a:spLocks noChangeArrowheads="1"/>
            </p:cNvSpPr>
            <p:nvPr/>
          </p:nvSpPr>
          <p:spPr bwMode="auto">
            <a:xfrm>
              <a:off x="1256893" y="4400550"/>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February</a:t>
              </a:r>
            </a:p>
          </p:txBody>
        </p:sp>
        <p:sp>
          <p:nvSpPr>
            <p:cNvPr id="830553" name="Text Box 88"/>
            <p:cNvSpPr txBox="1">
              <a:spLocks noChangeArrowheads="1"/>
            </p:cNvSpPr>
            <p:nvPr/>
          </p:nvSpPr>
          <p:spPr bwMode="auto">
            <a:xfrm>
              <a:off x="1993086" y="4400550"/>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March</a:t>
              </a:r>
            </a:p>
          </p:txBody>
        </p:sp>
        <p:sp>
          <p:nvSpPr>
            <p:cNvPr id="830554" name="Text Box 89"/>
            <p:cNvSpPr txBox="1">
              <a:spLocks noChangeArrowheads="1"/>
            </p:cNvSpPr>
            <p:nvPr/>
          </p:nvSpPr>
          <p:spPr bwMode="auto">
            <a:xfrm>
              <a:off x="2729280" y="4400550"/>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April</a:t>
              </a:r>
            </a:p>
          </p:txBody>
        </p:sp>
        <p:sp>
          <p:nvSpPr>
            <p:cNvPr id="830555" name="Text Box 90"/>
            <p:cNvSpPr txBox="1">
              <a:spLocks noChangeArrowheads="1"/>
            </p:cNvSpPr>
            <p:nvPr/>
          </p:nvSpPr>
          <p:spPr bwMode="auto">
            <a:xfrm>
              <a:off x="3465473" y="4400550"/>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May</a:t>
              </a:r>
            </a:p>
          </p:txBody>
        </p:sp>
        <p:sp>
          <p:nvSpPr>
            <p:cNvPr id="830556" name="Text Box 91"/>
            <p:cNvSpPr txBox="1">
              <a:spLocks noChangeArrowheads="1"/>
            </p:cNvSpPr>
            <p:nvPr/>
          </p:nvSpPr>
          <p:spPr bwMode="auto">
            <a:xfrm>
              <a:off x="4201666" y="4400550"/>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June</a:t>
              </a:r>
            </a:p>
          </p:txBody>
        </p:sp>
        <p:sp>
          <p:nvSpPr>
            <p:cNvPr id="830557" name="Text Box 92"/>
            <p:cNvSpPr txBox="1">
              <a:spLocks noChangeArrowheads="1"/>
            </p:cNvSpPr>
            <p:nvPr/>
          </p:nvSpPr>
          <p:spPr bwMode="auto">
            <a:xfrm>
              <a:off x="4937859" y="4400550"/>
              <a:ext cx="663061" cy="26323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July	</a:t>
              </a:r>
            </a:p>
          </p:txBody>
        </p:sp>
        <p:sp>
          <p:nvSpPr>
            <p:cNvPr id="830558" name="Text Box 93"/>
            <p:cNvSpPr txBox="1">
              <a:spLocks noChangeArrowheads="1"/>
            </p:cNvSpPr>
            <p:nvPr/>
          </p:nvSpPr>
          <p:spPr bwMode="auto">
            <a:xfrm>
              <a:off x="5674053" y="4400550"/>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August</a:t>
              </a:r>
            </a:p>
          </p:txBody>
        </p:sp>
        <p:sp>
          <p:nvSpPr>
            <p:cNvPr id="830559" name="Text Box 94"/>
            <p:cNvSpPr txBox="1">
              <a:spLocks noChangeArrowheads="1"/>
            </p:cNvSpPr>
            <p:nvPr/>
          </p:nvSpPr>
          <p:spPr bwMode="auto">
            <a:xfrm>
              <a:off x="6410246" y="4400550"/>
              <a:ext cx="702000"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September</a:t>
              </a:r>
            </a:p>
          </p:txBody>
        </p:sp>
        <p:sp>
          <p:nvSpPr>
            <p:cNvPr id="830560" name="Text Box 95"/>
            <p:cNvSpPr txBox="1">
              <a:spLocks noChangeArrowheads="1"/>
            </p:cNvSpPr>
            <p:nvPr/>
          </p:nvSpPr>
          <p:spPr bwMode="auto">
            <a:xfrm>
              <a:off x="7146439" y="4400550"/>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October</a:t>
              </a:r>
            </a:p>
          </p:txBody>
        </p:sp>
        <p:sp>
          <p:nvSpPr>
            <p:cNvPr id="830561" name="Text Box 96"/>
            <p:cNvSpPr txBox="1">
              <a:spLocks noChangeArrowheads="1"/>
            </p:cNvSpPr>
            <p:nvPr/>
          </p:nvSpPr>
          <p:spPr bwMode="auto">
            <a:xfrm>
              <a:off x="7882632" y="4400550"/>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November</a:t>
              </a:r>
            </a:p>
          </p:txBody>
        </p:sp>
        <p:sp>
          <p:nvSpPr>
            <p:cNvPr id="830562" name="Text Box 97"/>
            <p:cNvSpPr txBox="1">
              <a:spLocks noChangeArrowheads="1"/>
            </p:cNvSpPr>
            <p:nvPr/>
          </p:nvSpPr>
          <p:spPr bwMode="auto">
            <a:xfrm>
              <a:off x="8618826" y="4400550"/>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December</a:t>
              </a:r>
            </a:p>
          </p:txBody>
        </p:sp>
        <p:sp>
          <p:nvSpPr>
            <p:cNvPr id="830563" name="Text Box 98"/>
            <p:cNvSpPr txBox="1">
              <a:spLocks noChangeArrowheads="1"/>
            </p:cNvSpPr>
            <p:nvPr/>
          </p:nvSpPr>
          <p:spPr bwMode="auto">
            <a:xfrm>
              <a:off x="530451" y="4954587"/>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January</a:t>
              </a:r>
            </a:p>
          </p:txBody>
        </p:sp>
        <p:sp>
          <p:nvSpPr>
            <p:cNvPr id="830564" name="Text Box 99"/>
            <p:cNvSpPr txBox="1">
              <a:spLocks noChangeArrowheads="1"/>
            </p:cNvSpPr>
            <p:nvPr/>
          </p:nvSpPr>
          <p:spPr bwMode="auto">
            <a:xfrm>
              <a:off x="1266644" y="4954587"/>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February</a:t>
              </a:r>
            </a:p>
          </p:txBody>
        </p:sp>
        <p:sp>
          <p:nvSpPr>
            <p:cNvPr id="830565" name="Text Box 100"/>
            <p:cNvSpPr txBox="1">
              <a:spLocks noChangeArrowheads="1"/>
            </p:cNvSpPr>
            <p:nvPr/>
          </p:nvSpPr>
          <p:spPr bwMode="auto">
            <a:xfrm>
              <a:off x="2002837" y="4954587"/>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March</a:t>
              </a:r>
            </a:p>
          </p:txBody>
        </p:sp>
        <p:sp>
          <p:nvSpPr>
            <p:cNvPr id="830566" name="Text Box 101"/>
            <p:cNvSpPr txBox="1">
              <a:spLocks noChangeArrowheads="1"/>
            </p:cNvSpPr>
            <p:nvPr/>
          </p:nvSpPr>
          <p:spPr bwMode="auto">
            <a:xfrm>
              <a:off x="2739031" y="4954587"/>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April</a:t>
              </a:r>
            </a:p>
          </p:txBody>
        </p:sp>
        <p:sp>
          <p:nvSpPr>
            <p:cNvPr id="830567" name="Text Box 102"/>
            <p:cNvSpPr txBox="1">
              <a:spLocks noChangeArrowheads="1"/>
            </p:cNvSpPr>
            <p:nvPr/>
          </p:nvSpPr>
          <p:spPr bwMode="auto">
            <a:xfrm>
              <a:off x="3475224" y="4954587"/>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May</a:t>
              </a:r>
            </a:p>
          </p:txBody>
        </p:sp>
        <p:sp>
          <p:nvSpPr>
            <p:cNvPr id="830568" name="Text Box 103"/>
            <p:cNvSpPr txBox="1">
              <a:spLocks noChangeArrowheads="1"/>
            </p:cNvSpPr>
            <p:nvPr/>
          </p:nvSpPr>
          <p:spPr bwMode="auto">
            <a:xfrm>
              <a:off x="4211416" y="4954587"/>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June</a:t>
              </a:r>
            </a:p>
          </p:txBody>
        </p:sp>
        <p:sp>
          <p:nvSpPr>
            <p:cNvPr id="830569" name="Text Box 104"/>
            <p:cNvSpPr txBox="1">
              <a:spLocks noChangeArrowheads="1"/>
            </p:cNvSpPr>
            <p:nvPr/>
          </p:nvSpPr>
          <p:spPr bwMode="auto">
            <a:xfrm>
              <a:off x="4947610" y="4954587"/>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July</a:t>
              </a:r>
            </a:p>
          </p:txBody>
        </p:sp>
        <p:sp>
          <p:nvSpPr>
            <p:cNvPr id="830570" name="Text Box 105"/>
            <p:cNvSpPr txBox="1">
              <a:spLocks noChangeArrowheads="1"/>
            </p:cNvSpPr>
            <p:nvPr/>
          </p:nvSpPr>
          <p:spPr bwMode="auto">
            <a:xfrm>
              <a:off x="5683804" y="4954587"/>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August</a:t>
              </a:r>
            </a:p>
          </p:txBody>
        </p:sp>
        <p:sp>
          <p:nvSpPr>
            <p:cNvPr id="830571" name="Text Box 106"/>
            <p:cNvSpPr txBox="1">
              <a:spLocks noChangeArrowheads="1"/>
            </p:cNvSpPr>
            <p:nvPr/>
          </p:nvSpPr>
          <p:spPr bwMode="auto">
            <a:xfrm>
              <a:off x="6419997" y="4954587"/>
              <a:ext cx="702000"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September</a:t>
              </a:r>
            </a:p>
          </p:txBody>
        </p:sp>
        <p:sp>
          <p:nvSpPr>
            <p:cNvPr id="830572" name="Text Box 107"/>
            <p:cNvSpPr txBox="1">
              <a:spLocks noChangeArrowheads="1"/>
            </p:cNvSpPr>
            <p:nvPr/>
          </p:nvSpPr>
          <p:spPr bwMode="auto">
            <a:xfrm>
              <a:off x="7156190" y="4954587"/>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October</a:t>
              </a:r>
            </a:p>
          </p:txBody>
        </p:sp>
        <p:sp>
          <p:nvSpPr>
            <p:cNvPr id="830573" name="Text Box 108"/>
            <p:cNvSpPr txBox="1">
              <a:spLocks noChangeArrowheads="1"/>
            </p:cNvSpPr>
            <p:nvPr/>
          </p:nvSpPr>
          <p:spPr bwMode="auto">
            <a:xfrm>
              <a:off x="7892383" y="4954587"/>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November</a:t>
              </a:r>
            </a:p>
          </p:txBody>
        </p:sp>
        <p:sp>
          <p:nvSpPr>
            <p:cNvPr id="830574" name="Text Box 109"/>
            <p:cNvSpPr txBox="1">
              <a:spLocks noChangeArrowheads="1"/>
            </p:cNvSpPr>
            <p:nvPr/>
          </p:nvSpPr>
          <p:spPr bwMode="auto">
            <a:xfrm>
              <a:off x="8628577" y="4954586"/>
              <a:ext cx="663061" cy="131619"/>
            </a:xfrm>
            <a:prstGeom prst="rect">
              <a:avLst/>
            </a:prstGeom>
            <a:noFill/>
            <a:ln w="12700" algn="ctr">
              <a:noFill/>
              <a:miter lim="800000"/>
              <a:headEnd/>
              <a:tailEnd/>
            </a:ln>
          </p:spPr>
          <p:txBody>
            <a:bodyPr lIns="0" tIns="0" rIns="0" bIns="0">
              <a:spAutoFit/>
            </a:bodyPr>
            <a:lstStyle/>
            <a:p>
              <a:pPr algn="ctr">
                <a:lnSpc>
                  <a:spcPct val="95000"/>
                </a:lnSpc>
              </a:pPr>
              <a:r>
                <a:rPr lang="en-GB" sz="900">
                  <a:solidFill>
                    <a:schemeClr val="tx2"/>
                  </a:solidFill>
                  <a:ea typeface="ＭＳ Ｐゴシック" charset="-128"/>
                </a:rPr>
                <a:t>December</a:t>
              </a:r>
            </a:p>
          </p:txBody>
        </p:sp>
      </p:grpSp>
      <p:sp>
        <p:nvSpPr>
          <p:cNvPr id="11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1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1489" name="Title 1"/>
          <p:cNvSpPr>
            <a:spLocks noGrp="1"/>
          </p:cNvSpPr>
          <p:nvPr>
            <p:ph type="title"/>
          </p:nvPr>
        </p:nvSpPr>
        <p:spPr/>
        <p:txBody>
          <a:bodyPr/>
          <a:lstStyle/>
          <a:p>
            <a:r>
              <a:rPr lang="en-GB" altLang="ja-JP"/>
              <a:t>Gantt chart or timeline chart</a:t>
            </a:r>
            <a:endParaRPr lang="nl-NL"/>
          </a:p>
        </p:txBody>
      </p:sp>
      <p:graphicFrame>
        <p:nvGraphicFramePr>
          <p:cNvPr id="5" name="Group 3"/>
          <p:cNvGraphicFramePr>
            <a:graphicFrameLocks noGrp="1"/>
          </p:cNvGraphicFramePr>
          <p:nvPr/>
        </p:nvGraphicFramePr>
        <p:xfrm>
          <a:off x="384175" y="1521248"/>
          <a:ext cx="8101073" cy="4581925"/>
        </p:xfrm>
        <a:graphic>
          <a:graphicData uri="http://schemas.openxmlformats.org/drawingml/2006/table">
            <a:tbl>
              <a:tblPr>
                <a:tableStyleId>{8799B23B-EC83-4686-B30A-512413B5E67A}</a:tableStyleId>
              </a:tblPr>
              <a:tblGrid>
                <a:gridCol w="1361923"/>
                <a:gridCol w="612650"/>
                <a:gridCol w="612650"/>
                <a:gridCol w="612650"/>
                <a:gridCol w="612650"/>
                <a:gridCol w="612650"/>
                <a:gridCol w="612650"/>
                <a:gridCol w="612650"/>
                <a:gridCol w="612650"/>
                <a:gridCol w="612650"/>
                <a:gridCol w="612650"/>
                <a:gridCol w="612650"/>
              </a:tblGrid>
              <a:tr h="336569">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u="none" strike="noStrike" cap="none" normalizeH="0" baseline="0" dirty="0">
                          <a:ln>
                            <a:noFill/>
                          </a:ln>
                          <a:solidFill>
                            <a:schemeClr val="tx2"/>
                          </a:solidFill>
                          <a:effectLst/>
                        </a:rPr>
                        <a:t>Week</a:t>
                      </a:r>
                      <a:endParaRPr kumimoji="0" lang="en-GB" altLang="ja-JP" sz="1200" b="1" i="0" u="none" strike="noStrike" cap="none" normalizeH="0" baseline="0" dirty="0">
                        <a:ln>
                          <a:noFill/>
                        </a:ln>
                        <a:solidFill>
                          <a:schemeClr val="tx2"/>
                        </a:solidFill>
                        <a:effectLst/>
                        <a:latin typeface="Arial" charset="0"/>
                        <a:ea typeface="ＭＳ Ｐゴシック" pitchFamily="50" charset="-128"/>
                      </a:endParaRPr>
                    </a:p>
                  </a:txBody>
                  <a:tcPr marL="86400" marR="86400" marT="46800" marB="46800" anchor="ctr" horzOverflow="overflow"/>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a:ln>
                            <a:noFill/>
                          </a:ln>
                          <a:solidFill>
                            <a:schemeClr val="bg1"/>
                          </a:solidFill>
                          <a:effectLst/>
                        </a:rPr>
                        <a:t>2</a:t>
                      </a: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a:ln>
                            <a:noFill/>
                          </a:ln>
                          <a:solidFill>
                            <a:schemeClr val="bg1"/>
                          </a:solidFill>
                          <a:effectLst/>
                        </a:rPr>
                        <a:t>3</a:t>
                      </a: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00A1DE"/>
                    </a:solidFill>
                  </a:tcPr>
                </a:tc>
              </a:tr>
              <a:tr h="297250">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u="none" strike="noStrike" cap="none" normalizeH="0" baseline="0" dirty="0">
                          <a:ln>
                            <a:noFill/>
                          </a:ln>
                          <a:solidFill>
                            <a:schemeClr val="tx2"/>
                          </a:solidFill>
                          <a:effectLst/>
                        </a:rPr>
                        <a:t>Starts on</a:t>
                      </a:r>
                      <a:endParaRPr kumimoji="0" lang="en-GB" altLang="ja-JP" sz="1200" b="1" i="0" u="none" strike="noStrike" cap="none" normalizeH="0" baseline="0" dirty="0">
                        <a:ln>
                          <a:noFill/>
                        </a:ln>
                        <a:solidFill>
                          <a:schemeClr val="tx2"/>
                        </a:solidFill>
                        <a:effectLst/>
                        <a:latin typeface="Arial" charset="0"/>
                        <a:ea typeface="ＭＳ Ｐゴシック" pitchFamily="50" charset="-128"/>
                      </a:endParaRPr>
                    </a:p>
                  </a:txBody>
                  <a:tcPr marL="86400" marR="86400" marT="46800" marB="46800" anchor="ctr" horzOverflow="overflow"/>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dirty="0">
                          <a:ln>
                            <a:noFill/>
                          </a:ln>
                          <a:solidFill>
                            <a:schemeClr val="bg1"/>
                          </a:solidFill>
                          <a:effectLst/>
                        </a:rPr>
                        <a:t>7/1</a:t>
                      </a:r>
                      <a:endParaRPr kumimoji="0" lang="en-GB" sz="1200" b="1" i="0" u="none" strike="noStrike" cap="none" normalizeH="0" baseline="0" dirty="0">
                        <a:ln>
                          <a:noFill/>
                        </a:ln>
                        <a:solidFill>
                          <a:schemeClr val="bg1"/>
                        </a:solidFill>
                        <a:effectLst/>
                        <a:latin typeface="Arial" charset="0"/>
                      </a:endParaRPr>
                    </a:p>
                  </a:txBody>
                  <a:tcPr marL="86400" marR="86400" marT="46800" marB="46800" anchor="ctr" horzOverflow="overflow">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a:ln>
                            <a:noFill/>
                          </a:ln>
                          <a:solidFill>
                            <a:schemeClr val="bg1"/>
                          </a:solidFill>
                          <a:effectLst/>
                        </a:rPr>
                        <a:t>14/1</a:t>
                      </a: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A1DE"/>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00A1DE"/>
                    </a:solidFill>
                  </a:tcPr>
                </a:tc>
              </a:tr>
              <a:tr h="297250">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400" b="1" u="none" strike="noStrike" cap="none" normalizeH="0" baseline="0" dirty="0">
                          <a:ln>
                            <a:noFill/>
                          </a:ln>
                          <a:solidFill>
                            <a:schemeClr val="tx2"/>
                          </a:solidFill>
                          <a:effectLst/>
                        </a:rPr>
                        <a:t>Phase 1</a:t>
                      </a:r>
                      <a:endParaRPr kumimoji="0" lang="en-GB" sz="1400" b="1" i="0" u="none" strike="noStrike" cap="none" normalizeH="0" baseline="0" dirty="0">
                        <a:ln>
                          <a:noFill/>
                        </a:ln>
                        <a:solidFill>
                          <a:schemeClr val="tx2"/>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r>
              <a:tr h="297250">
                <a:tc>
                  <a:txBody>
                    <a:bodyPr/>
                    <a:lstStyle/>
                    <a:p>
                      <a:pPr marL="117475" marR="0" lvl="0" indent="-11747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GB" sz="1200" u="none" strike="noStrike" cap="none" normalizeH="0" baseline="0" dirty="0">
                          <a:ln>
                            <a:noFill/>
                          </a:ln>
                          <a:solidFill>
                            <a:schemeClr val="tx2"/>
                          </a:solidFill>
                          <a:effectLst/>
                        </a:rPr>
                        <a:t>Activity</a:t>
                      </a:r>
                      <a:endParaRPr kumimoji="0" lang="en-GB" sz="1200" b="0" i="0" u="none" strike="noStrike" cap="none" normalizeH="0" baseline="0" dirty="0">
                        <a:ln>
                          <a:noFill/>
                        </a:ln>
                        <a:solidFill>
                          <a:schemeClr val="tx2"/>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r>
              <a:tr h="295677">
                <a:tc>
                  <a:txBody>
                    <a:bodyPr/>
                    <a:lstStyle/>
                    <a:p>
                      <a:pPr marL="117475" marR="0" lvl="0" indent="-11747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GB" sz="1200" u="none" strike="noStrike" cap="none" normalizeH="0" baseline="0" dirty="0" smtClean="0">
                          <a:ln>
                            <a:noFill/>
                          </a:ln>
                          <a:solidFill>
                            <a:schemeClr val="tx2"/>
                          </a:solidFill>
                          <a:effectLst/>
                        </a:rPr>
                        <a:t>Activity</a:t>
                      </a:r>
                      <a:endParaRPr kumimoji="0" lang="en-GB" sz="1200" b="0" i="0" u="none" strike="noStrike" cap="none" normalizeH="0" baseline="0" dirty="0">
                        <a:ln>
                          <a:noFill/>
                        </a:ln>
                        <a:solidFill>
                          <a:schemeClr val="tx2"/>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r>
              <a:tr h="297250">
                <a:tc>
                  <a:txBody>
                    <a:bodyPr/>
                    <a:lstStyle/>
                    <a:p>
                      <a:pPr marL="117475" marR="0" lvl="0" indent="-11747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GB" sz="1200" u="none" strike="noStrike" cap="none" normalizeH="0" baseline="0" dirty="0" smtClean="0">
                          <a:ln>
                            <a:noFill/>
                          </a:ln>
                          <a:solidFill>
                            <a:schemeClr val="tx2"/>
                          </a:solidFill>
                          <a:effectLst/>
                        </a:rPr>
                        <a:t>Activity</a:t>
                      </a:r>
                      <a:endParaRPr kumimoji="0" lang="en-GB" sz="1200" b="0" i="0" u="none" strike="noStrike" cap="none" normalizeH="0" baseline="0" dirty="0">
                        <a:ln>
                          <a:noFill/>
                        </a:ln>
                        <a:solidFill>
                          <a:schemeClr val="tx2"/>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r>
              <a:tr h="29725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GB" sz="1400" b="1" u="none" strike="noStrike" cap="none" normalizeH="0" baseline="0" dirty="0">
                          <a:ln>
                            <a:noFill/>
                          </a:ln>
                          <a:solidFill>
                            <a:schemeClr val="tx2"/>
                          </a:solidFill>
                          <a:effectLst/>
                        </a:rPr>
                        <a:t>Phase 2</a:t>
                      </a:r>
                      <a:endParaRPr kumimoji="0" lang="en-GB" sz="1400" b="1" i="0" u="none" strike="noStrike" cap="none" normalizeH="0" baseline="0" dirty="0">
                        <a:ln>
                          <a:noFill/>
                        </a:ln>
                        <a:solidFill>
                          <a:schemeClr val="tx2"/>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r>
              <a:tr h="295677">
                <a:tc>
                  <a:txBody>
                    <a:bodyPr/>
                    <a:lstStyle/>
                    <a:p>
                      <a:pPr marL="117475" marR="0" lvl="0" indent="-11747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GB" sz="1200" u="none" strike="noStrike" cap="none" normalizeH="0" baseline="0" dirty="0" smtClean="0">
                          <a:ln>
                            <a:noFill/>
                          </a:ln>
                          <a:solidFill>
                            <a:schemeClr val="tx2"/>
                          </a:solidFill>
                          <a:effectLst/>
                        </a:rPr>
                        <a:t>Activity</a:t>
                      </a:r>
                      <a:endParaRPr kumimoji="0" lang="en-GB" sz="1200" b="0" i="0" u="none" strike="noStrike" cap="none" normalizeH="0" baseline="0" dirty="0">
                        <a:ln>
                          <a:noFill/>
                        </a:ln>
                        <a:solidFill>
                          <a:schemeClr val="tx2"/>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r>
              <a:tr h="295677">
                <a:tc>
                  <a:txBody>
                    <a:bodyPr/>
                    <a:lstStyle/>
                    <a:p>
                      <a:pPr marL="117475" marR="0" lvl="0" indent="-11747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GB" sz="1200" u="none" strike="noStrike" cap="none" normalizeH="0" baseline="0" dirty="0" smtClean="0">
                          <a:ln>
                            <a:noFill/>
                          </a:ln>
                          <a:solidFill>
                            <a:schemeClr val="tx2"/>
                          </a:solidFill>
                          <a:effectLst/>
                        </a:rPr>
                        <a:t>Activity</a:t>
                      </a:r>
                      <a:endParaRPr kumimoji="0" lang="en-GB" sz="1200" b="0" i="0" u="none" strike="noStrike" cap="none" normalizeH="0" baseline="0" dirty="0">
                        <a:ln>
                          <a:noFill/>
                        </a:ln>
                        <a:solidFill>
                          <a:schemeClr val="tx2"/>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r>
              <a:tr h="297250">
                <a:tc>
                  <a:txBody>
                    <a:bodyPr/>
                    <a:lstStyle/>
                    <a:p>
                      <a:pPr marL="0" marR="0" lvl="0" indent="0"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GB" sz="1400" b="1" u="none" strike="noStrike" cap="none" normalizeH="0" baseline="0" dirty="0">
                          <a:ln>
                            <a:noFill/>
                          </a:ln>
                          <a:solidFill>
                            <a:schemeClr val="tx2"/>
                          </a:solidFill>
                          <a:effectLst/>
                        </a:rPr>
                        <a:t>Phase 3</a:t>
                      </a:r>
                      <a:endParaRPr kumimoji="0" lang="en-GB" sz="1400" b="1" i="0" u="none" strike="noStrike" cap="none" normalizeH="0" baseline="0" dirty="0">
                        <a:ln>
                          <a:noFill/>
                        </a:ln>
                        <a:solidFill>
                          <a:schemeClr val="tx2"/>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r>
              <a:tr h="297250">
                <a:tc>
                  <a:txBody>
                    <a:bodyPr/>
                    <a:lstStyle/>
                    <a:p>
                      <a:pPr marL="117475" marR="0" lvl="0" indent="-11747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GB" sz="1200" u="none" strike="noStrike" cap="none" normalizeH="0" baseline="0" dirty="0" smtClean="0">
                          <a:ln>
                            <a:noFill/>
                          </a:ln>
                          <a:solidFill>
                            <a:schemeClr val="tx2"/>
                          </a:solidFill>
                          <a:effectLst/>
                        </a:rPr>
                        <a:t>Activity</a:t>
                      </a:r>
                      <a:endParaRPr kumimoji="0" lang="en-GB" sz="1200" b="0" i="0" u="none" strike="noStrike" cap="none" normalizeH="0" baseline="0" dirty="0">
                        <a:ln>
                          <a:noFill/>
                        </a:ln>
                        <a:solidFill>
                          <a:schemeClr val="tx2"/>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r>
              <a:tr h="295677">
                <a:tc>
                  <a:txBody>
                    <a:bodyPr/>
                    <a:lstStyle/>
                    <a:p>
                      <a:pPr marL="117475" marR="0" lvl="0" indent="-11747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GB" sz="1200" u="none" strike="noStrike" cap="none" normalizeH="0" baseline="0" dirty="0" smtClean="0">
                          <a:ln>
                            <a:noFill/>
                          </a:ln>
                          <a:solidFill>
                            <a:schemeClr val="tx2"/>
                          </a:solidFill>
                          <a:effectLst/>
                        </a:rPr>
                        <a:t>Activity</a:t>
                      </a:r>
                      <a:endParaRPr kumimoji="0" lang="en-GB" sz="1200" b="0" i="0" u="none" strike="noStrike" cap="none" normalizeH="0" baseline="0" dirty="0">
                        <a:ln>
                          <a:noFill/>
                        </a:ln>
                        <a:solidFill>
                          <a:schemeClr val="tx2"/>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r>
              <a:tr h="297250">
                <a:tc>
                  <a:txBody>
                    <a:bodyPr/>
                    <a:lstStyle/>
                    <a:p>
                      <a:pPr marL="117475" marR="0" lvl="0" indent="-11747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GB" sz="1200" u="none" strike="noStrike" cap="none" normalizeH="0" baseline="0" dirty="0" smtClean="0">
                          <a:ln>
                            <a:noFill/>
                          </a:ln>
                          <a:solidFill>
                            <a:schemeClr val="tx2"/>
                          </a:solidFill>
                          <a:effectLst/>
                        </a:rPr>
                        <a:t>Activity</a:t>
                      </a:r>
                      <a:endParaRPr kumimoji="0" lang="en-GB" sz="1200" b="0" i="0" u="none" strike="noStrike" cap="none" normalizeH="0" baseline="0" dirty="0">
                        <a:ln>
                          <a:noFill/>
                        </a:ln>
                        <a:solidFill>
                          <a:schemeClr val="tx2"/>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r>
              <a:tr h="297250">
                <a:tc>
                  <a:txBody>
                    <a:bodyPr/>
                    <a:lstStyle/>
                    <a:p>
                      <a:pPr marL="0" marR="0" lvl="0" indent="0"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GB" sz="1400" b="1" u="none" strike="noStrike" cap="none" normalizeH="0" baseline="0" dirty="0">
                          <a:ln>
                            <a:noFill/>
                          </a:ln>
                          <a:solidFill>
                            <a:schemeClr val="tx2"/>
                          </a:solidFill>
                          <a:effectLst/>
                        </a:rPr>
                        <a:t>Phase 4</a:t>
                      </a:r>
                      <a:endParaRPr kumimoji="0" lang="en-GB" sz="1400" b="1" i="0" u="none" strike="noStrike" cap="none" normalizeH="0" baseline="0" dirty="0">
                        <a:ln>
                          <a:noFill/>
                        </a:ln>
                        <a:solidFill>
                          <a:schemeClr val="tx2"/>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r>
              <a:tr h="297250">
                <a:tc>
                  <a:txBody>
                    <a:bodyPr/>
                    <a:lstStyle/>
                    <a:p>
                      <a:pPr marL="117475" marR="0" lvl="0" indent="-11747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GB" sz="1200" u="none" strike="noStrike" cap="none" normalizeH="0" baseline="0" dirty="0" smtClean="0">
                          <a:ln>
                            <a:noFill/>
                          </a:ln>
                          <a:solidFill>
                            <a:schemeClr val="tx2"/>
                          </a:solidFill>
                          <a:effectLst/>
                        </a:rPr>
                        <a:t>Activity</a:t>
                      </a:r>
                      <a:endParaRPr kumimoji="0" lang="en-GB" sz="1200" b="0" i="0" u="none" strike="noStrike" cap="none" normalizeH="0" baseline="0" dirty="0">
                        <a:ln>
                          <a:noFill/>
                        </a:ln>
                        <a:solidFill>
                          <a:schemeClr val="tx2"/>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a:ln>
                          <a:noFill/>
                        </a:ln>
                        <a:solidFill>
                          <a:schemeClr val="tx1"/>
                        </a:solidFill>
                        <a:effectLst/>
                        <a:latin typeface="Arial" charset="0"/>
                      </a:endParaRPr>
                    </a:p>
                  </a:txBody>
                  <a:tcPr marL="86400" marR="86400" marT="46800" marB="46800" anchor="ctr" horzOverflow="overflow"/>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Arial" charset="0"/>
                      </a:endParaRPr>
                    </a:p>
                  </a:txBody>
                  <a:tcPr marL="86400" marR="86400" marT="46800" marB="46800" anchor="ctr" horzOverflow="overflow"/>
                </a:tc>
              </a:tr>
            </a:tbl>
          </a:graphicData>
        </a:graphic>
      </p:graphicFrame>
      <p:sp>
        <p:nvSpPr>
          <p:cNvPr id="831712" name="Rectangle 239"/>
          <p:cNvSpPr>
            <a:spLocks noChangeArrowheads="1"/>
          </p:cNvSpPr>
          <p:nvPr/>
        </p:nvSpPr>
        <p:spPr bwMode="auto">
          <a:xfrm>
            <a:off x="1851025" y="2521373"/>
            <a:ext cx="1065213" cy="185737"/>
          </a:xfrm>
          <a:prstGeom prst="rect">
            <a:avLst/>
          </a:prstGeom>
          <a:solidFill>
            <a:schemeClr val="accent2"/>
          </a:solidFill>
          <a:ln w="9525" algn="ctr">
            <a:noFill/>
            <a:miter lim="800000"/>
            <a:headEnd/>
            <a:tailEnd/>
          </a:ln>
        </p:spPr>
        <p:txBody>
          <a:bodyPr wrap="none" lIns="93600" tIns="46800" rIns="93600" bIns="46800" anchor="ctr"/>
          <a:lstStyle/>
          <a:p>
            <a:pPr algn="ctr"/>
            <a:endParaRPr lang="en-GB"/>
          </a:p>
        </p:txBody>
      </p:sp>
      <p:sp>
        <p:nvSpPr>
          <p:cNvPr id="831713" name="Rectangle 240"/>
          <p:cNvSpPr>
            <a:spLocks noChangeArrowheads="1"/>
          </p:cNvSpPr>
          <p:nvPr/>
        </p:nvSpPr>
        <p:spPr bwMode="auto">
          <a:xfrm>
            <a:off x="2563813" y="2819823"/>
            <a:ext cx="1065212" cy="185737"/>
          </a:xfrm>
          <a:prstGeom prst="rect">
            <a:avLst/>
          </a:prstGeom>
          <a:solidFill>
            <a:schemeClr val="accent2"/>
          </a:solidFill>
          <a:ln w="9525" algn="ctr">
            <a:noFill/>
            <a:miter lim="800000"/>
            <a:headEnd/>
            <a:tailEnd/>
          </a:ln>
        </p:spPr>
        <p:txBody>
          <a:bodyPr wrap="none" lIns="93600" tIns="46800" rIns="93600" bIns="46800" anchor="ctr"/>
          <a:lstStyle/>
          <a:p>
            <a:pPr algn="ctr"/>
            <a:endParaRPr lang="en-GB"/>
          </a:p>
        </p:txBody>
      </p:sp>
      <p:sp>
        <p:nvSpPr>
          <p:cNvPr id="831714" name="Rectangle 241"/>
          <p:cNvSpPr>
            <a:spLocks noChangeArrowheads="1"/>
          </p:cNvSpPr>
          <p:nvPr/>
        </p:nvSpPr>
        <p:spPr bwMode="auto">
          <a:xfrm>
            <a:off x="3275013" y="3099223"/>
            <a:ext cx="1065212" cy="185737"/>
          </a:xfrm>
          <a:prstGeom prst="rect">
            <a:avLst/>
          </a:prstGeom>
          <a:solidFill>
            <a:schemeClr val="accent2"/>
          </a:solidFill>
          <a:ln w="9525" algn="ctr">
            <a:noFill/>
            <a:miter lim="800000"/>
            <a:headEnd/>
            <a:tailEnd/>
          </a:ln>
        </p:spPr>
        <p:txBody>
          <a:bodyPr wrap="none" lIns="93600" tIns="46800" rIns="93600" bIns="46800" anchor="ctr"/>
          <a:lstStyle/>
          <a:p>
            <a:pPr algn="ctr"/>
            <a:endParaRPr lang="en-GB"/>
          </a:p>
        </p:txBody>
      </p:sp>
      <p:sp>
        <p:nvSpPr>
          <p:cNvPr id="831715" name="Rectangle 242"/>
          <p:cNvSpPr>
            <a:spLocks noChangeArrowheads="1"/>
          </p:cNvSpPr>
          <p:nvPr/>
        </p:nvSpPr>
        <p:spPr bwMode="auto">
          <a:xfrm>
            <a:off x="3984625" y="3696123"/>
            <a:ext cx="1065213" cy="185737"/>
          </a:xfrm>
          <a:prstGeom prst="rect">
            <a:avLst/>
          </a:prstGeom>
          <a:solidFill>
            <a:schemeClr val="accent2"/>
          </a:solidFill>
          <a:ln w="9525" algn="ctr">
            <a:noFill/>
            <a:miter lim="800000"/>
            <a:headEnd/>
            <a:tailEnd/>
          </a:ln>
        </p:spPr>
        <p:txBody>
          <a:bodyPr wrap="none" lIns="93600" tIns="46800" rIns="93600" bIns="46800" anchor="ctr"/>
          <a:lstStyle/>
          <a:p>
            <a:pPr algn="ctr"/>
            <a:endParaRPr lang="en-GB"/>
          </a:p>
        </p:txBody>
      </p:sp>
      <p:sp>
        <p:nvSpPr>
          <p:cNvPr id="831716" name="Rectangle 243"/>
          <p:cNvSpPr>
            <a:spLocks noChangeArrowheads="1"/>
          </p:cNvSpPr>
          <p:nvPr/>
        </p:nvSpPr>
        <p:spPr bwMode="auto">
          <a:xfrm>
            <a:off x="4695825" y="3994573"/>
            <a:ext cx="1065213" cy="185737"/>
          </a:xfrm>
          <a:prstGeom prst="rect">
            <a:avLst/>
          </a:prstGeom>
          <a:solidFill>
            <a:schemeClr val="accent2"/>
          </a:solidFill>
          <a:ln w="9525" algn="ctr">
            <a:noFill/>
            <a:miter lim="800000"/>
            <a:headEnd/>
            <a:tailEnd/>
          </a:ln>
        </p:spPr>
        <p:txBody>
          <a:bodyPr wrap="none" lIns="93600" tIns="46800" rIns="93600" bIns="46800" anchor="ctr"/>
          <a:lstStyle/>
          <a:p>
            <a:pPr algn="ctr"/>
            <a:endParaRPr lang="en-GB"/>
          </a:p>
        </p:txBody>
      </p:sp>
      <p:sp>
        <p:nvSpPr>
          <p:cNvPr id="831717" name="Rectangle 244"/>
          <p:cNvSpPr>
            <a:spLocks noChangeArrowheads="1"/>
          </p:cNvSpPr>
          <p:nvPr/>
        </p:nvSpPr>
        <p:spPr bwMode="auto">
          <a:xfrm>
            <a:off x="5424443" y="4608891"/>
            <a:ext cx="1065213" cy="185737"/>
          </a:xfrm>
          <a:prstGeom prst="rect">
            <a:avLst/>
          </a:prstGeom>
          <a:solidFill>
            <a:schemeClr val="accent2"/>
          </a:solidFill>
          <a:ln w="9525" algn="ctr">
            <a:noFill/>
            <a:miter lim="800000"/>
            <a:headEnd/>
            <a:tailEnd/>
          </a:ln>
        </p:spPr>
        <p:txBody>
          <a:bodyPr wrap="none" lIns="93600" tIns="46800" rIns="93600" bIns="46800" anchor="ctr"/>
          <a:lstStyle/>
          <a:p>
            <a:pPr algn="ctr"/>
            <a:endParaRPr lang="en-GB"/>
          </a:p>
        </p:txBody>
      </p:sp>
      <p:sp>
        <p:nvSpPr>
          <p:cNvPr id="831718" name="Rectangle 245"/>
          <p:cNvSpPr>
            <a:spLocks noChangeArrowheads="1"/>
          </p:cNvSpPr>
          <p:nvPr/>
        </p:nvSpPr>
        <p:spPr bwMode="auto">
          <a:xfrm>
            <a:off x="6116638" y="4880398"/>
            <a:ext cx="1065212" cy="185737"/>
          </a:xfrm>
          <a:prstGeom prst="rect">
            <a:avLst/>
          </a:prstGeom>
          <a:solidFill>
            <a:schemeClr val="accent2"/>
          </a:solidFill>
          <a:ln w="9525" algn="ctr">
            <a:noFill/>
            <a:miter lim="800000"/>
            <a:headEnd/>
            <a:tailEnd/>
          </a:ln>
        </p:spPr>
        <p:txBody>
          <a:bodyPr wrap="none" lIns="93600" tIns="46800" rIns="93600" bIns="46800" anchor="ctr"/>
          <a:lstStyle/>
          <a:p>
            <a:pPr algn="ctr"/>
            <a:endParaRPr lang="en-GB"/>
          </a:p>
        </p:txBody>
      </p:sp>
      <p:sp>
        <p:nvSpPr>
          <p:cNvPr id="831719" name="Rectangle 246"/>
          <p:cNvSpPr>
            <a:spLocks noChangeArrowheads="1"/>
          </p:cNvSpPr>
          <p:nvPr/>
        </p:nvSpPr>
        <p:spPr bwMode="auto">
          <a:xfrm>
            <a:off x="6827838" y="5178848"/>
            <a:ext cx="1065212" cy="185737"/>
          </a:xfrm>
          <a:prstGeom prst="rect">
            <a:avLst/>
          </a:prstGeom>
          <a:solidFill>
            <a:schemeClr val="accent2"/>
          </a:solidFill>
          <a:ln w="9525" algn="ctr">
            <a:noFill/>
            <a:miter lim="800000"/>
            <a:headEnd/>
            <a:tailEnd/>
          </a:ln>
        </p:spPr>
        <p:txBody>
          <a:bodyPr wrap="none" lIns="93600" tIns="46800" rIns="93600" bIns="46800" anchor="ctr"/>
          <a:lstStyle/>
          <a:p>
            <a:pPr algn="ctr"/>
            <a:endParaRPr lang="en-GB"/>
          </a:p>
        </p:txBody>
      </p:sp>
      <p:sp>
        <p:nvSpPr>
          <p:cNvPr id="831720" name="Rectangle 247"/>
          <p:cNvSpPr>
            <a:spLocks noChangeArrowheads="1"/>
          </p:cNvSpPr>
          <p:nvPr/>
        </p:nvSpPr>
        <p:spPr bwMode="auto">
          <a:xfrm>
            <a:off x="7417527" y="5775748"/>
            <a:ext cx="1065213" cy="185737"/>
          </a:xfrm>
          <a:prstGeom prst="rect">
            <a:avLst/>
          </a:prstGeom>
          <a:solidFill>
            <a:schemeClr val="accent2"/>
          </a:solidFill>
          <a:ln w="9525" algn="ctr">
            <a:noFill/>
            <a:miter lim="800000"/>
            <a:headEnd/>
            <a:tailEnd/>
          </a:ln>
        </p:spPr>
        <p:txBody>
          <a:bodyPr wrap="none" lIns="93600" tIns="46800" rIns="93600" bIns="46800" anchor="ctr"/>
          <a:lstStyle/>
          <a:p>
            <a:pPr algn="ctr"/>
            <a:endParaRPr lang="en-GB"/>
          </a:p>
        </p:txBody>
      </p:sp>
      <p:sp>
        <p:nvSpPr>
          <p:cNvPr id="831721" name="Text Box 251"/>
          <p:cNvSpPr txBox="1">
            <a:spLocks noChangeArrowheads="1"/>
          </p:cNvSpPr>
          <p:nvPr/>
        </p:nvSpPr>
        <p:spPr bwMode="auto">
          <a:xfrm>
            <a:off x="3292512" y="6310269"/>
            <a:ext cx="564257" cy="138499"/>
          </a:xfrm>
          <a:prstGeom prst="rect">
            <a:avLst/>
          </a:prstGeom>
          <a:noFill/>
          <a:ln w="9525" algn="ctr">
            <a:noFill/>
            <a:miter lim="800000"/>
            <a:headEnd/>
            <a:tailEnd/>
          </a:ln>
        </p:spPr>
        <p:txBody>
          <a:bodyPr wrap="none" lIns="0" tIns="0" rIns="0" bIns="0">
            <a:spAutoFit/>
          </a:bodyPr>
          <a:lstStyle/>
          <a:p>
            <a:pPr algn="ctr">
              <a:buClr>
                <a:schemeClr val="bg1"/>
              </a:buClr>
              <a:buSzPct val="100000"/>
              <a:buFontTx/>
              <a:buChar char=" "/>
            </a:pPr>
            <a:r>
              <a:rPr lang="en-GB" altLang="ja-JP" sz="900">
                <a:solidFill>
                  <a:schemeClr val="tx2"/>
                </a:solidFill>
                <a:ea typeface="ＭＳ Ｐゴシック" charset="-128"/>
              </a:rPr>
              <a:t>Milestone</a:t>
            </a:r>
          </a:p>
        </p:txBody>
      </p:sp>
      <p:sp>
        <p:nvSpPr>
          <p:cNvPr id="831722" name="Text Box 252"/>
          <p:cNvSpPr txBox="1">
            <a:spLocks noChangeArrowheads="1"/>
          </p:cNvSpPr>
          <p:nvPr/>
        </p:nvSpPr>
        <p:spPr bwMode="auto">
          <a:xfrm>
            <a:off x="4144905" y="6310269"/>
            <a:ext cx="564257" cy="138499"/>
          </a:xfrm>
          <a:prstGeom prst="rect">
            <a:avLst/>
          </a:prstGeom>
          <a:noFill/>
          <a:ln w="9525" algn="ctr">
            <a:noFill/>
            <a:miter lim="800000"/>
            <a:headEnd/>
            <a:tailEnd/>
          </a:ln>
        </p:spPr>
        <p:txBody>
          <a:bodyPr wrap="none" lIns="0" tIns="0" rIns="0" bIns="0">
            <a:spAutoFit/>
          </a:bodyPr>
          <a:lstStyle/>
          <a:p>
            <a:pPr algn="ctr">
              <a:buClr>
                <a:schemeClr val="bg1"/>
              </a:buClr>
              <a:buSzPct val="100000"/>
              <a:buFontTx/>
              <a:buChar char=" "/>
            </a:pPr>
            <a:r>
              <a:rPr lang="en-GB" altLang="ja-JP" sz="900">
                <a:solidFill>
                  <a:schemeClr val="tx2"/>
                </a:solidFill>
                <a:ea typeface="ＭＳ Ｐゴシック" charset="-128"/>
              </a:rPr>
              <a:t>Milestone</a:t>
            </a:r>
          </a:p>
        </p:txBody>
      </p:sp>
      <p:sp>
        <p:nvSpPr>
          <p:cNvPr id="831723" name="Text Box 253"/>
          <p:cNvSpPr txBox="1">
            <a:spLocks noChangeArrowheads="1"/>
          </p:cNvSpPr>
          <p:nvPr/>
        </p:nvSpPr>
        <p:spPr bwMode="auto">
          <a:xfrm>
            <a:off x="6103713" y="6310268"/>
            <a:ext cx="564257" cy="138499"/>
          </a:xfrm>
          <a:prstGeom prst="rect">
            <a:avLst/>
          </a:prstGeom>
          <a:noFill/>
          <a:ln w="9525" algn="ctr">
            <a:noFill/>
            <a:miter lim="800000"/>
            <a:headEnd/>
            <a:tailEnd/>
          </a:ln>
        </p:spPr>
        <p:txBody>
          <a:bodyPr wrap="none" lIns="0" tIns="0" rIns="0" bIns="0">
            <a:spAutoFit/>
          </a:bodyPr>
          <a:lstStyle/>
          <a:p>
            <a:pPr algn="ctr">
              <a:buClr>
                <a:schemeClr val="bg1"/>
              </a:buClr>
              <a:buSzPct val="100000"/>
              <a:buFontTx/>
              <a:buChar char=" "/>
            </a:pPr>
            <a:r>
              <a:rPr lang="en-GB" altLang="ja-JP" sz="900">
                <a:solidFill>
                  <a:schemeClr val="tx2"/>
                </a:solidFill>
                <a:ea typeface="ＭＳ Ｐゴシック" charset="-128"/>
              </a:rPr>
              <a:t>Milestone</a:t>
            </a:r>
          </a:p>
        </p:txBody>
      </p:sp>
      <p:sp>
        <p:nvSpPr>
          <p:cNvPr id="831724" name="Text Box 254"/>
          <p:cNvSpPr txBox="1">
            <a:spLocks noChangeArrowheads="1"/>
          </p:cNvSpPr>
          <p:nvPr/>
        </p:nvSpPr>
        <p:spPr bwMode="auto">
          <a:xfrm>
            <a:off x="7956996" y="6310269"/>
            <a:ext cx="564257" cy="138499"/>
          </a:xfrm>
          <a:prstGeom prst="rect">
            <a:avLst/>
          </a:prstGeom>
          <a:noFill/>
          <a:ln w="9525" algn="ctr">
            <a:noFill/>
            <a:miter lim="800000"/>
            <a:headEnd/>
            <a:tailEnd/>
          </a:ln>
        </p:spPr>
        <p:txBody>
          <a:bodyPr wrap="none" lIns="0" tIns="0" rIns="0" bIns="0">
            <a:spAutoFit/>
          </a:bodyPr>
          <a:lstStyle/>
          <a:p>
            <a:pPr algn="ctr">
              <a:buClr>
                <a:schemeClr val="bg1"/>
              </a:buClr>
              <a:buSzPct val="100000"/>
              <a:buFontTx/>
              <a:buChar char=" "/>
            </a:pPr>
            <a:r>
              <a:rPr lang="en-GB" altLang="ja-JP" sz="900">
                <a:solidFill>
                  <a:schemeClr val="tx2"/>
                </a:solidFill>
                <a:ea typeface="ＭＳ Ｐゴシック" charset="-128"/>
              </a:rPr>
              <a:t>Milestone</a:t>
            </a:r>
          </a:p>
        </p:txBody>
      </p:sp>
      <p:sp>
        <p:nvSpPr>
          <p:cNvPr id="831725" name="Rectangle 255"/>
          <p:cNvSpPr>
            <a:spLocks noChangeArrowheads="1"/>
          </p:cNvSpPr>
          <p:nvPr/>
        </p:nvSpPr>
        <p:spPr bwMode="gray">
          <a:xfrm rot="2700000">
            <a:off x="3501616" y="6164219"/>
            <a:ext cx="136525" cy="117475"/>
          </a:xfrm>
          <a:prstGeom prst="rect">
            <a:avLst/>
          </a:prstGeom>
          <a:solidFill>
            <a:schemeClr val="accent1"/>
          </a:solidFill>
          <a:ln w="9525" algn="ctr">
            <a:solidFill>
              <a:schemeClr val="bg1"/>
            </a:solidFill>
            <a:miter lim="800000"/>
            <a:headEnd/>
            <a:tailEnd/>
          </a:ln>
        </p:spPr>
        <p:txBody>
          <a:bodyPr/>
          <a:lstStyle/>
          <a:p>
            <a:endParaRPr lang="en-GB"/>
          </a:p>
        </p:txBody>
      </p:sp>
      <p:sp>
        <p:nvSpPr>
          <p:cNvPr id="831726" name="Rectangle 256"/>
          <p:cNvSpPr>
            <a:spLocks noChangeArrowheads="1"/>
          </p:cNvSpPr>
          <p:nvPr/>
        </p:nvSpPr>
        <p:spPr bwMode="gray">
          <a:xfrm rot="2700000">
            <a:off x="4354008" y="6163426"/>
            <a:ext cx="136525" cy="119062"/>
          </a:xfrm>
          <a:prstGeom prst="rect">
            <a:avLst/>
          </a:prstGeom>
          <a:solidFill>
            <a:schemeClr val="accent1"/>
          </a:solidFill>
          <a:ln w="9525" algn="ctr">
            <a:solidFill>
              <a:schemeClr val="bg1"/>
            </a:solidFill>
            <a:miter lim="800000"/>
            <a:headEnd/>
            <a:tailEnd/>
          </a:ln>
        </p:spPr>
        <p:txBody>
          <a:bodyPr/>
          <a:lstStyle/>
          <a:p>
            <a:endParaRPr lang="en-GB"/>
          </a:p>
        </p:txBody>
      </p:sp>
      <p:sp>
        <p:nvSpPr>
          <p:cNvPr id="831727" name="Rectangle 257"/>
          <p:cNvSpPr>
            <a:spLocks noChangeArrowheads="1"/>
          </p:cNvSpPr>
          <p:nvPr/>
        </p:nvSpPr>
        <p:spPr bwMode="gray">
          <a:xfrm rot="2700000">
            <a:off x="6313611" y="6163424"/>
            <a:ext cx="136525" cy="119063"/>
          </a:xfrm>
          <a:prstGeom prst="rect">
            <a:avLst/>
          </a:prstGeom>
          <a:solidFill>
            <a:schemeClr val="accent1"/>
          </a:solidFill>
          <a:ln w="9525" algn="ctr">
            <a:solidFill>
              <a:schemeClr val="bg1"/>
            </a:solidFill>
            <a:miter lim="800000"/>
            <a:headEnd/>
            <a:tailEnd/>
          </a:ln>
        </p:spPr>
        <p:txBody>
          <a:bodyPr/>
          <a:lstStyle/>
          <a:p>
            <a:endParaRPr lang="en-GB"/>
          </a:p>
        </p:txBody>
      </p:sp>
      <p:sp>
        <p:nvSpPr>
          <p:cNvPr id="831728" name="Rectangle 258"/>
          <p:cNvSpPr>
            <a:spLocks noChangeArrowheads="1"/>
          </p:cNvSpPr>
          <p:nvPr/>
        </p:nvSpPr>
        <p:spPr bwMode="gray">
          <a:xfrm rot="2700000">
            <a:off x="8166894" y="6163425"/>
            <a:ext cx="136525" cy="119063"/>
          </a:xfrm>
          <a:prstGeom prst="rect">
            <a:avLst/>
          </a:prstGeom>
          <a:solidFill>
            <a:schemeClr val="accent1"/>
          </a:solidFill>
          <a:ln w="9525" algn="ctr">
            <a:solidFill>
              <a:schemeClr val="bg1"/>
            </a:solidFill>
            <a:miter lim="800000"/>
            <a:headEnd/>
            <a:tailEnd/>
          </a:ln>
        </p:spPr>
        <p:txBody>
          <a:bodyPr/>
          <a:lstStyle/>
          <a:p>
            <a:endParaRPr lang="en-GB"/>
          </a:p>
        </p:txBody>
      </p:sp>
      <p:sp>
        <p:nvSpPr>
          <p:cNvPr id="24" name="Rectangle 259"/>
          <p:cNvSpPr>
            <a:spLocks noChangeArrowheads="1"/>
          </p:cNvSpPr>
          <p:nvPr/>
        </p:nvSpPr>
        <p:spPr bwMode="gray">
          <a:xfrm>
            <a:off x="5104607" y="402416"/>
            <a:ext cx="3446462" cy="779495"/>
          </a:xfrm>
          <a:prstGeom prst="rect">
            <a:avLst/>
          </a:prstGeom>
          <a:solidFill>
            <a:schemeClr val="bg1"/>
          </a:solidFill>
          <a:ln w="12700" algn="ctr">
            <a:solidFill>
              <a:schemeClr val="accent1"/>
            </a:solidFill>
            <a:miter lim="800000"/>
            <a:headEnd/>
            <a:tailEnd/>
          </a:ln>
        </p:spPr>
        <p:txBody>
          <a:bodyPr lIns="54000" tIns="54000" rIns="54000" bIns="54000" anchor="ctr">
            <a:spAutoFit/>
          </a:bodyPr>
          <a:lstStyle/>
          <a:p>
            <a:pPr marL="115888" indent="-115888" algn="l">
              <a:lnSpc>
                <a:spcPct val="106000"/>
              </a:lnSpc>
              <a:spcBef>
                <a:spcPct val="30000"/>
              </a:spcBef>
              <a:buFont typeface="Arial" pitchFamily="34" charset="0"/>
              <a:buChar char="•"/>
              <a:defRPr/>
            </a:pPr>
            <a:r>
              <a:rPr lang="en-US" sz="900" b="0">
                <a:solidFill>
                  <a:schemeClr val="tx2"/>
                </a:solidFill>
              </a:rPr>
              <a:t>This is a PowerPoint table</a:t>
            </a:r>
          </a:p>
          <a:p>
            <a:pPr marL="115888" indent="-115888" algn="l">
              <a:lnSpc>
                <a:spcPct val="106000"/>
              </a:lnSpc>
              <a:spcBef>
                <a:spcPct val="30000"/>
              </a:spcBef>
              <a:buFont typeface="Arial" pitchFamily="34" charset="0"/>
              <a:buChar char="•"/>
              <a:defRPr/>
            </a:pPr>
            <a:r>
              <a:rPr lang="en-US" sz="900" b="0">
                <a:solidFill>
                  <a:schemeClr val="tx2"/>
                </a:solidFill>
              </a:rPr>
              <a:t>Add or delete columns and rows where appropriate</a:t>
            </a:r>
          </a:p>
          <a:p>
            <a:pPr marL="115888" indent="-115888" algn="l">
              <a:lnSpc>
                <a:spcPct val="106000"/>
              </a:lnSpc>
              <a:spcBef>
                <a:spcPct val="30000"/>
              </a:spcBef>
              <a:buFont typeface="Arial" pitchFamily="34" charset="0"/>
              <a:buChar char="•"/>
              <a:defRPr/>
            </a:pPr>
            <a:r>
              <a:rPr lang="en-GB" sz="900" b="0">
                <a:solidFill>
                  <a:schemeClr val="tx2"/>
                </a:solidFill>
              </a:rPr>
              <a:t>Use </a:t>
            </a:r>
            <a:r>
              <a:rPr lang="en-GB" sz="900">
                <a:solidFill>
                  <a:schemeClr val="tx2"/>
                </a:solidFill>
              </a:rPr>
              <a:t>Distribute Columns Evenly </a:t>
            </a:r>
            <a:r>
              <a:rPr lang="en-GB" sz="900" b="0">
                <a:solidFill>
                  <a:schemeClr val="tx2"/>
                </a:solidFill>
              </a:rPr>
              <a:t>and </a:t>
            </a:r>
            <a:r>
              <a:rPr lang="en-GB" sz="900">
                <a:solidFill>
                  <a:schemeClr val="tx2"/>
                </a:solidFill>
              </a:rPr>
              <a:t>Distribute Rows Evenly </a:t>
            </a:r>
            <a:r>
              <a:rPr lang="en-GB" sz="900" b="0">
                <a:solidFill>
                  <a:schemeClr val="tx2"/>
                </a:solidFill>
              </a:rPr>
              <a:t>in </a:t>
            </a:r>
            <a:r>
              <a:rPr lang="en-GB" sz="900">
                <a:solidFill>
                  <a:schemeClr val="tx2"/>
                </a:solidFill>
              </a:rPr>
              <a:t>Layout ribbon </a:t>
            </a:r>
            <a:r>
              <a:rPr lang="en-GB" sz="900" b="0">
                <a:solidFill>
                  <a:schemeClr val="tx2"/>
                </a:solidFill>
              </a:rPr>
              <a:t>to keep columns and rows equal in width</a:t>
            </a:r>
          </a:p>
        </p:txBody>
      </p:sp>
      <p:sp>
        <p:nvSpPr>
          <p:cNvPr id="26"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7"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2513" name="Title 1"/>
          <p:cNvSpPr>
            <a:spLocks noGrp="1"/>
          </p:cNvSpPr>
          <p:nvPr>
            <p:ph type="title"/>
          </p:nvPr>
        </p:nvSpPr>
        <p:spPr/>
        <p:txBody>
          <a:bodyPr/>
          <a:lstStyle/>
          <a:p>
            <a:r>
              <a:rPr lang="nl-NL"/>
              <a:t>Calender</a:t>
            </a:r>
          </a:p>
        </p:txBody>
      </p:sp>
      <p:graphicFrame>
        <p:nvGraphicFramePr>
          <p:cNvPr id="5" name="Group 3"/>
          <p:cNvGraphicFramePr>
            <a:graphicFrameLocks noGrp="1"/>
          </p:cNvGraphicFramePr>
          <p:nvPr/>
        </p:nvGraphicFramePr>
        <p:xfrm>
          <a:off x="448827" y="1440738"/>
          <a:ext cx="8242788" cy="4271965"/>
        </p:xfrm>
        <a:graphic>
          <a:graphicData uri="http://schemas.openxmlformats.org/drawingml/2006/table">
            <a:tbl>
              <a:tblPr/>
              <a:tblGrid>
                <a:gridCol w="1200150"/>
                <a:gridCol w="1392115"/>
                <a:gridCol w="1425819"/>
                <a:gridCol w="1406769"/>
                <a:gridCol w="1411166"/>
                <a:gridCol w="1406769"/>
              </a:tblGrid>
              <a:tr h="444500">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GB" sz="1200" b="1" i="0" u="none" strike="noStrike" cap="none" normalizeH="0" baseline="0" dirty="0">
                        <a:ln>
                          <a:noFill/>
                        </a:ln>
                        <a:solidFill>
                          <a:schemeClr val="tx2"/>
                        </a:solidFill>
                        <a:effectLst/>
                        <a:latin typeface="Arial" charset="0"/>
                      </a:endParaRPr>
                    </a:p>
                  </a:txBody>
                  <a:tcPr marL="83077" marR="83077"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1" i="0" u="none" strike="noStrike" cap="none" normalizeH="0" baseline="0" dirty="0">
                          <a:ln>
                            <a:noFill/>
                          </a:ln>
                          <a:solidFill>
                            <a:schemeClr val="tx2"/>
                          </a:solidFill>
                          <a:effectLst/>
                          <a:latin typeface="Arial" charset="0"/>
                        </a:rPr>
                        <a:t>M</a:t>
                      </a:r>
                    </a:p>
                  </a:txBody>
                  <a:tcPr marL="83077" marR="83077"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1" i="0" u="none" strike="noStrike" cap="none" normalizeH="0" baseline="0" dirty="0">
                          <a:ln>
                            <a:noFill/>
                          </a:ln>
                          <a:solidFill>
                            <a:schemeClr val="tx2"/>
                          </a:solidFill>
                          <a:effectLst/>
                          <a:latin typeface="Arial" charset="0"/>
                        </a:rPr>
                        <a:t>T</a:t>
                      </a:r>
                    </a:p>
                  </a:txBody>
                  <a:tcPr marL="83077" marR="83077"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1" i="0" u="none" strike="noStrike" cap="none" normalizeH="0" baseline="0" dirty="0">
                          <a:ln>
                            <a:noFill/>
                          </a:ln>
                          <a:solidFill>
                            <a:schemeClr val="tx2"/>
                          </a:solidFill>
                          <a:effectLst/>
                          <a:latin typeface="Arial" charset="0"/>
                        </a:rPr>
                        <a:t>W</a:t>
                      </a:r>
                    </a:p>
                  </a:txBody>
                  <a:tcPr marL="83077" marR="83077"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1" i="0" u="none" strike="noStrike" cap="none" normalizeH="0" baseline="0">
                          <a:ln>
                            <a:noFill/>
                          </a:ln>
                          <a:solidFill>
                            <a:schemeClr val="tx2"/>
                          </a:solidFill>
                          <a:effectLst/>
                          <a:latin typeface="Arial" charset="0"/>
                        </a:rPr>
                        <a:t>T</a:t>
                      </a:r>
                    </a:p>
                  </a:txBody>
                  <a:tcPr marL="83077" marR="83077"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1" i="0" u="none" strike="noStrike" cap="none" normalizeH="0" baseline="0" dirty="0">
                          <a:ln>
                            <a:noFill/>
                          </a:ln>
                          <a:solidFill>
                            <a:schemeClr val="tx2"/>
                          </a:solidFill>
                          <a:effectLst/>
                          <a:latin typeface="Arial" charset="0"/>
                        </a:rPr>
                        <a:t>F</a:t>
                      </a:r>
                    </a:p>
                  </a:txBody>
                  <a:tcPr marL="83077" marR="83077"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76041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1" i="0" u="none" strike="noStrike" cap="none" normalizeH="0" baseline="0" dirty="0">
                          <a:ln>
                            <a:noFill/>
                          </a:ln>
                          <a:solidFill>
                            <a:schemeClr val="tx2"/>
                          </a:solidFill>
                          <a:effectLst/>
                          <a:latin typeface="Arial" charset="0"/>
                        </a:rPr>
                        <a:t>Week #</a:t>
                      </a:r>
                    </a:p>
                  </a:txBody>
                  <a:tcPr marL="83077" marR="83077"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GB" sz="1200" b="0" i="0" u="none" strike="noStrike" cap="none" normalizeH="0" baseline="0" dirty="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dirty="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dirty="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dirty="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dirty="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r>
              <a:tr h="7667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1" i="0" u="none" strike="noStrike" cap="none" normalizeH="0" baseline="0" dirty="0">
                          <a:ln>
                            <a:noFill/>
                          </a:ln>
                          <a:solidFill>
                            <a:schemeClr val="tx2"/>
                          </a:solidFill>
                          <a:effectLst/>
                          <a:latin typeface="Arial" charset="0"/>
                        </a:rPr>
                        <a:t>Week #</a:t>
                      </a:r>
                    </a:p>
                  </a:txBody>
                  <a:tcPr marL="83077" marR="83077"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dirty="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dirty="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r>
              <a:tr h="7667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1" i="0" u="none" strike="noStrike" cap="none" normalizeH="0" baseline="0" dirty="0">
                          <a:ln>
                            <a:noFill/>
                          </a:ln>
                          <a:solidFill>
                            <a:schemeClr val="tx2"/>
                          </a:solidFill>
                          <a:effectLst/>
                          <a:latin typeface="Arial" charset="0"/>
                        </a:rPr>
                        <a:t>Week #</a:t>
                      </a:r>
                    </a:p>
                  </a:txBody>
                  <a:tcPr marL="83077" marR="83077"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dirty="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dirty="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r>
              <a:tr h="7667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1" i="0" u="none" strike="noStrike" cap="none" normalizeH="0" baseline="0" dirty="0">
                          <a:ln>
                            <a:noFill/>
                          </a:ln>
                          <a:solidFill>
                            <a:schemeClr val="tx2"/>
                          </a:solidFill>
                          <a:effectLst/>
                          <a:latin typeface="Arial" charset="0"/>
                        </a:rPr>
                        <a:t>Week #</a:t>
                      </a:r>
                    </a:p>
                  </a:txBody>
                  <a:tcPr marL="83077" marR="83077"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dirty="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dirty="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r>
              <a:tr h="7667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1" i="0" u="none" strike="noStrike" cap="none" normalizeH="0" baseline="0" dirty="0">
                          <a:ln>
                            <a:noFill/>
                          </a:ln>
                          <a:solidFill>
                            <a:schemeClr val="tx2"/>
                          </a:solidFill>
                          <a:effectLst/>
                          <a:latin typeface="Arial" charset="0"/>
                        </a:rPr>
                        <a:t>Week #</a:t>
                      </a:r>
                    </a:p>
                  </a:txBody>
                  <a:tcPr marL="83077" marR="83077"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dirty="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dirty="0">
                        <a:ln>
                          <a:noFill/>
                        </a:ln>
                        <a:solidFill>
                          <a:schemeClr val="bg1"/>
                        </a:solidFill>
                        <a:effectLst/>
                        <a:latin typeface="Arial" charset="0"/>
                      </a:endParaRPr>
                    </a:p>
                  </a:txBody>
                  <a:tcPr marL="83077" marR="83077"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bl>
          </a:graphicData>
        </a:graphic>
      </p:graphicFrame>
      <p:sp>
        <p:nvSpPr>
          <p:cNvPr id="6" name="Rectangle 54"/>
          <p:cNvSpPr>
            <a:spLocks noChangeArrowheads="1"/>
          </p:cNvSpPr>
          <p:nvPr/>
        </p:nvSpPr>
        <p:spPr bwMode="auto">
          <a:xfrm>
            <a:off x="4697835" y="479381"/>
            <a:ext cx="4050879" cy="600164"/>
          </a:xfrm>
          <a:prstGeom prst="rect">
            <a:avLst/>
          </a:prstGeom>
          <a:noFill/>
          <a:ln w="12700" algn="ctr">
            <a:solidFill>
              <a:schemeClr val="tx2"/>
            </a:solidFill>
            <a:miter lim="800000"/>
            <a:headEnd/>
            <a:tailEnd/>
          </a:ln>
        </p:spPr>
        <p:txBody>
          <a:bodyPr wrap="square" tIns="91440" bIns="91440">
            <a:spAutoFit/>
          </a:bodyPr>
          <a:lstStyle/>
          <a:p>
            <a:pPr algn="l">
              <a:defRPr/>
            </a:pPr>
            <a:r>
              <a:rPr lang="en-GB" altLang="ja-JP" sz="900" b="0" dirty="0">
                <a:solidFill>
                  <a:schemeClr val="tx2"/>
                </a:solidFill>
                <a:ea typeface="ＭＳ Ｐゴシック" pitchFamily="50" charset="-128"/>
              </a:rPr>
              <a:t>Tip! This is a table. Change cell </a:t>
            </a:r>
            <a:r>
              <a:rPr lang="en-GB" altLang="ja-JP" sz="900" b="0" dirty="0" err="1">
                <a:solidFill>
                  <a:schemeClr val="tx2"/>
                </a:solidFill>
                <a:ea typeface="ＭＳ Ｐゴシック" pitchFamily="50" charset="-128"/>
              </a:rPr>
              <a:t>colors</a:t>
            </a:r>
            <a:r>
              <a:rPr lang="en-GB" altLang="ja-JP" sz="900" b="0" dirty="0">
                <a:solidFill>
                  <a:schemeClr val="tx2"/>
                </a:solidFill>
                <a:ea typeface="ＭＳ Ｐゴシック" pitchFamily="50" charset="-128"/>
              </a:rPr>
              <a:t> as appropriate. Use </a:t>
            </a:r>
            <a:r>
              <a:rPr lang="en-GB" altLang="ja-JP" sz="900" dirty="0">
                <a:solidFill>
                  <a:schemeClr val="tx2"/>
                </a:solidFill>
                <a:ea typeface="ＭＳ Ｐゴシック" pitchFamily="50" charset="-128"/>
              </a:rPr>
              <a:t>Distribute Columns Evenly </a:t>
            </a:r>
            <a:r>
              <a:rPr lang="en-GB" altLang="ja-JP" sz="900" b="0" dirty="0">
                <a:solidFill>
                  <a:schemeClr val="tx2"/>
                </a:solidFill>
                <a:ea typeface="ＭＳ Ｐゴシック" pitchFamily="50" charset="-128"/>
              </a:rPr>
              <a:t>and </a:t>
            </a:r>
            <a:r>
              <a:rPr lang="en-GB" altLang="ja-JP" sz="900" dirty="0">
                <a:solidFill>
                  <a:schemeClr val="tx2"/>
                </a:solidFill>
                <a:ea typeface="ＭＳ Ｐゴシック" pitchFamily="50" charset="-128"/>
              </a:rPr>
              <a:t>Distribute Rows Evenly</a:t>
            </a:r>
            <a:r>
              <a:rPr lang="en-GB" altLang="ja-JP" sz="900" b="0" dirty="0">
                <a:solidFill>
                  <a:schemeClr val="tx2"/>
                </a:solidFill>
                <a:ea typeface="ＭＳ Ｐゴシック" pitchFamily="50" charset="-128"/>
              </a:rPr>
              <a:t> in </a:t>
            </a:r>
            <a:r>
              <a:rPr lang="en-GB" altLang="ja-JP" sz="900" dirty="0">
                <a:solidFill>
                  <a:schemeClr val="tx2"/>
                </a:solidFill>
                <a:ea typeface="ＭＳ Ｐゴシック" pitchFamily="50" charset="-128"/>
              </a:rPr>
              <a:t>Layout rib</a:t>
            </a:r>
            <a:r>
              <a:rPr lang="en-GB" altLang="ja-JP" sz="900" b="0" dirty="0">
                <a:solidFill>
                  <a:schemeClr val="tx2"/>
                </a:solidFill>
                <a:ea typeface="ＭＳ Ｐゴシック" pitchFamily="50" charset="-128"/>
              </a:rPr>
              <a:t>bon to keep equal column and row widths. Enter events, like meeting dates, in the </a:t>
            </a:r>
            <a:r>
              <a:rPr lang="en-GB" altLang="ja-JP" sz="900" b="0" dirty="0" smtClean="0">
                <a:solidFill>
                  <a:schemeClr val="tx2"/>
                </a:solidFill>
                <a:ea typeface="ＭＳ Ｐゴシック" pitchFamily="50" charset="-128"/>
              </a:rPr>
              <a:t>cells.</a:t>
            </a:r>
            <a:endParaRPr lang="en-GB" sz="900" b="0" dirty="0">
              <a:solidFill>
                <a:schemeClr val="tx2"/>
              </a:solidFill>
              <a:ea typeface="ＭＳ Ｐゴシック" pitchFamily="50" charset="-128"/>
            </a:endParaRPr>
          </a:p>
        </p:txBody>
      </p:sp>
      <p:sp>
        <p:nvSpPr>
          <p:cNvPr id="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9"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1602"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8131" name="think-cell Slide" r:id="rId16" imgW="0" imgH="0" progId="">
                  <p:embed/>
                </p:oleObj>
              </mc:Choice>
              <mc:Fallback>
                <p:oleObj name="think-cell Slide" r:id="rId1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 name="Group 3"/>
          <p:cNvGraphicFramePr>
            <a:graphicFrameLocks noGrp="1"/>
          </p:cNvGraphicFramePr>
          <p:nvPr>
            <p:custDataLst>
              <p:tags r:id="rId3"/>
            </p:custDataLst>
          </p:nvPr>
        </p:nvGraphicFramePr>
        <p:xfrm>
          <a:off x="492125" y="1560513"/>
          <a:ext cx="3789484" cy="2162178"/>
        </p:xfrm>
        <a:graphic>
          <a:graphicData uri="http://schemas.openxmlformats.org/drawingml/2006/table">
            <a:tbl>
              <a:tblPr/>
              <a:tblGrid>
                <a:gridCol w="748812"/>
                <a:gridCol w="767862"/>
                <a:gridCol w="756138"/>
                <a:gridCol w="759069"/>
                <a:gridCol w="757603"/>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1" i="0" u="none" strike="noStrike" cap="none" normalizeH="0" baseline="0" dirty="0">
                          <a:ln>
                            <a:noFill/>
                          </a:ln>
                          <a:solidFill>
                            <a:schemeClr val="tx2"/>
                          </a:solidFill>
                          <a:effectLst/>
                          <a:latin typeface="Arial" charset="0"/>
                        </a:rPr>
                        <a:t>M</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T</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W</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T</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F</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3</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4</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5</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8</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9</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0</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2</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15</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6</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7</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8</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9</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22</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3</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4</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5</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6</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29</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dirty="0">
                          <a:ln>
                            <a:noFill/>
                          </a:ln>
                          <a:solidFill>
                            <a:schemeClr val="bg1"/>
                          </a:solidFill>
                          <a:effectLst/>
                          <a:latin typeface="Arial" charset="0"/>
                        </a:rPr>
                        <a:t>30</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3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dirty="0">
                        <a:ln>
                          <a:noFill/>
                        </a:ln>
                        <a:solidFill>
                          <a:schemeClr val="bg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r>
            </a:tbl>
          </a:graphicData>
        </a:graphic>
      </p:graphicFrame>
      <p:sp>
        <p:nvSpPr>
          <p:cNvPr id="281647" name="Title 1"/>
          <p:cNvSpPr>
            <a:spLocks noGrp="1"/>
          </p:cNvSpPr>
          <p:nvPr>
            <p:ph type="title"/>
            <p:custDataLst>
              <p:tags r:id="rId4"/>
            </p:custDataLst>
          </p:nvPr>
        </p:nvSpPr>
        <p:spPr>
          <a:xfrm>
            <a:off x="414338" y="465490"/>
            <a:ext cx="8330184" cy="666849"/>
          </a:xfrm>
        </p:spPr>
        <p:txBody>
          <a:bodyPr/>
          <a:lstStyle/>
          <a:p>
            <a:r>
              <a:rPr lang="en-GB" altLang="ja-JP" dirty="0"/>
              <a:t>Calendars </a:t>
            </a:r>
            <a:r>
              <a:rPr lang="en-US" dirty="0"/>
              <a:t>—</a:t>
            </a:r>
            <a:r>
              <a:rPr lang="en-GB" altLang="ja-JP" dirty="0" smtClean="0"/>
              <a:t> </a:t>
            </a:r>
            <a:r>
              <a:rPr lang="en-GB" altLang="ja-JP" dirty="0"/>
              <a:t>first day of the month is Monday, Tuesday, </a:t>
            </a:r>
            <a:br>
              <a:rPr lang="en-GB" altLang="ja-JP" dirty="0"/>
            </a:br>
            <a:r>
              <a:rPr lang="en-GB" altLang="ja-JP" dirty="0"/>
              <a:t>Wednesday or Thursday</a:t>
            </a:r>
            <a:endParaRPr lang="nl-NL" dirty="0"/>
          </a:p>
        </p:txBody>
      </p:sp>
      <p:graphicFrame>
        <p:nvGraphicFramePr>
          <p:cNvPr id="11" name="Group 52"/>
          <p:cNvGraphicFramePr>
            <a:graphicFrameLocks noGrp="1"/>
          </p:cNvGraphicFramePr>
          <p:nvPr>
            <p:custDataLst>
              <p:tags r:id="rId5"/>
            </p:custDataLst>
          </p:nvPr>
        </p:nvGraphicFramePr>
        <p:xfrm>
          <a:off x="4813300" y="1560513"/>
          <a:ext cx="3788018" cy="2162178"/>
        </p:xfrm>
        <a:graphic>
          <a:graphicData uri="http://schemas.openxmlformats.org/drawingml/2006/table">
            <a:tbl>
              <a:tblPr/>
              <a:tblGrid>
                <a:gridCol w="748811"/>
                <a:gridCol w="766397"/>
                <a:gridCol w="757603"/>
                <a:gridCol w="757604"/>
                <a:gridCol w="757603"/>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1" i="0" u="none" strike="noStrike" cap="none" normalizeH="0" baseline="0">
                          <a:ln>
                            <a:noFill/>
                          </a:ln>
                          <a:solidFill>
                            <a:schemeClr val="tx2"/>
                          </a:solidFill>
                          <a:effectLst/>
                          <a:latin typeface="Arial" charset="0"/>
                        </a:rPr>
                        <a:t>M</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T</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W</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T</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F</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3</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4</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7</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8</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9</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0</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14</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5</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6</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7</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8</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2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2</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3</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4</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5</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28</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9</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30</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3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r>
            </a:tbl>
          </a:graphicData>
        </a:graphic>
      </p:graphicFrame>
      <p:graphicFrame>
        <p:nvGraphicFramePr>
          <p:cNvPr id="12" name="Group 96"/>
          <p:cNvGraphicFramePr>
            <a:graphicFrameLocks noGrp="1"/>
          </p:cNvGraphicFramePr>
          <p:nvPr>
            <p:custDataLst>
              <p:tags r:id="rId6"/>
            </p:custDataLst>
          </p:nvPr>
        </p:nvGraphicFramePr>
        <p:xfrm>
          <a:off x="492125" y="3714750"/>
          <a:ext cx="3789484" cy="2139953"/>
        </p:xfrm>
        <a:graphic>
          <a:graphicData uri="http://schemas.openxmlformats.org/drawingml/2006/table">
            <a:tbl>
              <a:tblPr/>
              <a:tblGrid>
                <a:gridCol w="748812"/>
                <a:gridCol w="767862"/>
                <a:gridCol w="756138"/>
                <a:gridCol w="759069"/>
                <a:gridCol w="757603"/>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1" i="0" u="none" strike="noStrike" cap="none" normalizeH="0" baseline="0" dirty="0">
                          <a:ln>
                            <a:noFill/>
                          </a:ln>
                          <a:solidFill>
                            <a:schemeClr val="tx2"/>
                          </a:solidFill>
                          <a:effectLst/>
                          <a:latin typeface="Arial" charset="0"/>
                        </a:rPr>
                        <a:t>M</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T</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W</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T</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F</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3</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6</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7</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8</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9</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0</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38138">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13</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4</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5</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6</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7</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20</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2</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3</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4</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27</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8</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9</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30</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dirty="0">
                          <a:ln>
                            <a:noFill/>
                          </a:ln>
                          <a:solidFill>
                            <a:schemeClr val="bg1"/>
                          </a:solidFill>
                          <a:effectLst/>
                          <a:latin typeface="Arial" charset="0"/>
                        </a:rPr>
                        <a:t>31</a:t>
                      </a:r>
                      <a:r>
                        <a:rPr kumimoji="0" lang="ja-JP" altLang="en-GB" sz="1200" b="0" i="0" u="none" strike="noStrike" cap="none" normalizeH="0" baseline="0">
                          <a:ln>
                            <a:noFill/>
                          </a:ln>
                          <a:solidFill>
                            <a:schemeClr val="bg1"/>
                          </a:solidFill>
                          <a:effectLst/>
                          <a:latin typeface="Arial" charset="0"/>
                          <a:ea typeface="ＭＳ Ｐゴシック" pitchFamily="50" charset="-128"/>
                        </a:rPr>
                        <a:t>　</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bl>
          </a:graphicData>
        </a:graphic>
      </p:graphicFrame>
      <p:graphicFrame>
        <p:nvGraphicFramePr>
          <p:cNvPr id="13" name="Group 140"/>
          <p:cNvGraphicFramePr>
            <a:graphicFrameLocks noGrp="1"/>
          </p:cNvGraphicFramePr>
          <p:nvPr>
            <p:custDataLst>
              <p:tags r:id="rId7"/>
            </p:custDataLst>
          </p:nvPr>
        </p:nvGraphicFramePr>
        <p:xfrm>
          <a:off x="4813300" y="3714750"/>
          <a:ext cx="3788018" cy="2162178"/>
        </p:xfrm>
        <a:graphic>
          <a:graphicData uri="http://schemas.openxmlformats.org/drawingml/2006/table">
            <a:tbl>
              <a:tblPr/>
              <a:tblGrid>
                <a:gridCol w="748811"/>
                <a:gridCol w="766397"/>
                <a:gridCol w="757603"/>
                <a:gridCol w="757604"/>
                <a:gridCol w="757603"/>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1" i="0" u="none" strike="noStrike" cap="none" normalizeH="0" baseline="0">
                          <a:ln>
                            <a:noFill/>
                          </a:ln>
                          <a:solidFill>
                            <a:schemeClr val="tx2"/>
                          </a:solidFill>
                          <a:effectLst/>
                          <a:latin typeface="Arial" charset="0"/>
                        </a:rPr>
                        <a:t>M</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T</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W</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T</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F</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bg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5</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6</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7</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8</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9</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12</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3</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4</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5</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6</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19</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0</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2</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3</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26</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7</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8</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9</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dirty="0">
                          <a:ln>
                            <a:noFill/>
                          </a:ln>
                          <a:solidFill>
                            <a:schemeClr val="bg1"/>
                          </a:solidFill>
                          <a:effectLst/>
                          <a:latin typeface="Arial" charset="0"/>
                        </a:rPr>
                        <a:t>30</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bl>
          </a:graphicData>
        </a:graphic>
      </p:graphicFrame>
      <p:sp>
        <p:nvSpPr>
          <p:cNvPr id="1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9" name="Text Placeholder 12"/>
          <p:cNvSpPr>
            <a:spLocks/>
          </p:cNvSpPr>
          <p:nvPr>
            <p:custDataLst>
              <p:tags r:id="rId8"/>
            </p:custDataLst>
          </p:nvPr>
        </p:nvSpPr>
        <p:spPr bwMode="auto">
          <a:xfrm>
            <a:off x="414338" y="1308670"/>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81649" name="Rectangle 47"/>
          <p:cNvSpPr>
            <a:spLocks noChangeArrowheads="1"/>
          </p:cNvSpPr>
          <p:nvPr>
            <p:custDataLst>
              <p:tags r:id="rId9"/>
            </p:custDataLst>
          </p:nvPr>
        </p:nvSpPr>
        <p:spPr bwMode="auto">
          <a:xfrm>
            <a:off x="4349369" y="6127750"/>
            <a:ext cx="133350" cy="144463"/>
          </a:xfrm>
          <a:prstGeom prst="rect">
            <a:avLst/>
          </a:prstGeom>
          <a:solidFill>
            <a:schemeClr val="accent1"/>
          </a:solidFill>
          <a:ln w="6350" algn="ctr">
            <a:noFill/>
            <a:miter lim="800000"/>
            <a:headEnd/>
            <a:tailEnd/>
          </a:ln>
        </p:spPr>
        <p:txBody>
          <a:bodyPr wrap="none" tIns="91440" bIns="91440" anchor="ctr"/>
          <a:lstStyle/>
          <a:p>
            <a:pPr algn="ctr"/>
            <a:endParaRPr lang="en-GB" sz="1200">
              <a:solidFill>
                <a:schemeClr val="bg1"/>
              </a:solidFill>
            </a:endParaRPr>
          </a:p>
        </p:txBody>
      </p:sp>
      <p:sp>
        <p:nvSpPr>
          <p:cNvPr id="281650" name="Text Box 48"/>
          <p:cNvSpPr txBox="1">
            <a:spLocks noChangeArrowheads="1"/>
          </p:cNvSpPr>
          <p:nvPr>
            <p:custDataLst>
              <p:tags r:id="rId10"/>
            </p:custDataLst>
          </p:nvPr>
        </p:nvSpPr>
        <p:spPr bwMode="auto">
          <a:xfrm>
            <a:off x="6074245" y="6146377"/>
            <a:ext cx="1388201" cy="159462"/>
          </a:xfrm>
          <a:prstGeom prst="rect">
            <a:avLst/>
          </a:prstGeom>
          <a:noFill/>
          <a:ln w="6350" algn="ctr">
            <a:noFill/>
            <a:miter lim="800000"/>
            <a:headEnd/>
            <a:tailEnd/>
          </a:ln>
        </p:spPr>
        <p:txBody>
          <a:bodyPr wrap="none" lIns="0" tIns="0" rIns="0" bIns="36000" anchor="ctr">
            <a:spAutoFit/>
          </a:bodyPr>
          <a:lstStyle/>
          <a:p>
            <a:r>
              <a:rPr lang="en-GB" sz="800" dirty="0">
                <a:solidFill>
                  <a:schemeClr val="tx2"/>
                </a:solidFill>
                <a:ea typeface="ＭＳ Ｐゴシック" charset="-128"/>
              </a:rPr>
              <a:t>Steering Committee Meeting</a:t>
            </a:r>
          </a:p>
        </p:txBody>
      </p:sp>
      <p:sp>
        <p:nvSpPr>
          <p:cNvPr id="281651" name="Rectangle 49"/>
          <p:cNvSpPr>
            <a:spLocks noChangeArrowheads="1"/>
          </p:cNvSpPr>
          <p:nvPr>
            <p:custDataLst>
              <p:tags r:id="rId11"/>
            </p:custDataLst>
          </p:nvPr>
        </p:nvSpPr>
        <p:spPr bwMode="auto">
          <a:xfrm>
            <a:off x="5897256" y="6127750"/>
            <a:ext cx="133350" cy="144463"/>
          </a:xfrm>
          <a:prstGeom prst="rect">
            <a:avLst/>
          </a:prstGeom>
          <a:solidFill>
            <a:schemeClr val="accent2"/>
          </a:solidFill>
          <a:ln w="6350" algn="ctr">
            <a:noFill/>
            <a:miter lim="800000"/>
            <a:headEnd/>
            <a:tailEnd/>
          </a:ln>
        </p:spPr>
        <p:txBody>
          <a:bodyPr wrap="none" tIns="91440" bIns="91440" anchor="ctr"/>
          <a:lstStyle/>
          <a:p>
            <a:pPr algn="ctr"/>
            <a:endParaRPr lang="en-GB" sz="1200">
              <a:solidFill>
                <a:schemeClr val="bg1"/>
              </a:solidFill>
              <a:ea typeface="ＭＳ Ｐゴシック" charset="-128"/>
            </a:endParaRPr>
          </a:p>
        </p:txBody>
      </p:sp>
      <p:sp>
        <p:nvSpPr>
          <p:cNvPr id="9" name="Rectangle 50"/>
          <p:cNvSpPr>
            <a:spLocks noChangeArrowheads="1"/>
          </p:cNvSpPr>
          <p:nvPr>
            <p:custDataLst>
              <p:tags r:id="rId12"/>
            </p:custDataLst>
          </p:nvPr>
        </p:nvSpPr>
        <p:spPr bwMode="auto">
          <a:xfrm>
            <a:off x="7687290" y="6127750"/>
            <a:ext cx="133350" cy="144463"/>
          </a:xfrm>
          <a:prstGeom prst="rect">
            <a:avLst/>
          </a:prstGeom>
          <a:solidFill>
            <a:schemeClr val="accent4"/>
          </a:solidFill>
          <a:ln w="6350" algn="ctr">
            <a:noFill/>
            <a:miter lim="800000"/>
            <a:headEnd/>
            <a:tailEnd/>
          </a:ln>
        </p:spPr>
        <p:txBody>
          <a:bodyPr wrap="none" tIns="91440" bIns="91440" anchor="ctr"/>
          <a:lstStyle/>
          <a:p>
            <a:pPr algn="ctr">
              <a:defRPr/>
            </a:pPr>
            <a:endParaRPr lang="en-GB" sz="1200">
              <a:solidFill>
                <a:schemeClr val="bg1"/>
              </a:solidFill>
            </a:endParaRPr>
          </a:p>
        </p:txBody>
      </p:sp>
      <p:sp>
        <p:nvSpPr>
          <p:cNvPr id="281653" name="Text Box 51"/>
          <p:cNvSpPr txBox="1">
            <a:spLocks noChangeArrowheads="1"/>
          </p:cNvSpPr>
          <p:nvPr>
            <p:custDataLst>
              <p:tags r:id="rId13"/>
            </p:custDataLst>
          </p:nvPr>
        </p:nvSpPr>
        <p:spPr bwMode="auto">
          <a:xfrm>
            <a:off x="7846654" y="6146377"/>
            <a:ext cx="713336" cy="159462"/>
          </a:xfrm>
          <a:prstGeom prst="rect">
            <a:avLst/>
          </a:prstGeom>
          <a:noFill/>
          <a:ln w="6350" algn="ctr">
            <a:noFill/>
            <a:miter lim="800000"/>
            <a:headEnd/>
            <a:tailEnd/>
          </a:ln>
        </p:spPr>
        <p:txBody>
          <a:bodyPr wrap="none" lIns="0" tIns="0" rIns="0" bIns="36000" anchor="ctr">
            <a:spAutoFit/>
          </a:bodyPr>
          <a:lstStyle/>
          <a:p>
            <a:r>
              <a:rPr lang="en-GB" sz="800" dirty="0">
                <a:solidFill>
                  <a:schemeClr val="tx2"/>
                </a:solidFill>
                <a:ea typeface="ＭＳ Ｐゴシック" charset="-128"/>
              </a:rPr>
              <a:t>Board Meeting</a:t>
            </a:r>
          </a:p>
        </p:txBody>
      </p:sp>
      <p:sp>
        <p:nvSpPr>
          <p:cNvPr id="281786" name="Text Box 184"/>
          <p:cNvSpPr txBox="1">
            <a:spLocks noChangeArrowheads="1"/>
          </p:cNvSpPr>
          <p:nvPr>
            <p:custDataLst>
              <p:tags r:id="rId14"/>
            </p:custDataLst>
          </p:nvPr>
        </p:nvSpPr>
        <p:spPr bwMode="auto">
          <a:xfrm>
            <a:off x="4507886" y="6146377"/>
            <a:ext cx="1163780" cy="159462"/>
          </a:xfrm>
          <a:prstGeom prst="rect">
            <a:avLst/>
          </a:prstGeom>
          <a:noFill/>
          <a:ln w="6350" algn="ctr">
            <a:noFill/>
            <a:miter lim="800000"/>
            <a:headEnd/>
            <a:tailEnd/>
          </a:ln>
        </p:spPr>
        <p:txBody>
          <a:bodyPr wrap="none" lIns="0" tIns="0" rIns="0" bIns="36000" anchor="ctr">
            <a:spAutoFit/>
          </a:bodyPr>
          <a:lstStyle/>
          <a:p>
            <a:r>
              <a:rPr lang="en-GB" sz="800" dirty="0">
                <a:solidFill>
                  <a:schemeClr val="tx2"/>
                </a:solidFill>
                <a:ea typeface="ＭＳ Ｐゴシック" charset="-128"/>
              </a:rPr>
              <a:t>Working Group Meeting</a:t>
            </a:r>
          </a:p>
        </p:txBody>
      </p:sp>
      <p:sp>
        <p:nvSpPr>
          <p:cNvPr id="20" name="Rectangle 19"/>
          <p:cNvSpPr/>
          <p:nvPr/>
        </p:nvSpPr>
        <p:spPr>
          <a:xfrm>
            <a:off x="4273868" y="6053138"/>
            <a:ext cx="4352428" cy="288939"/>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800" b="0" dirty="0" smtClean="0"/>
          </a:p>
        </p:txBody>
      </p:sp>
    </p:spTree>
  </p:cSld>
  <p:clrMapOvr>
    <a:masterClrMapping/>
  </p:clrMapOvr>
  <p:timing>
    <p:tnLst>
      <p:par>
        <p:cTn id="1" dur="indefinite" restart="never" nodeType="tmRoot"/>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4561" name="Title 1"/>
          <p:cNvSpPr>
            <a:spLocks noGrp="1"/>
          </p:cNvSpPr>
          <p:nvPr>
            <p:ph type="title"/>
          </p:nvPr>
        </p:nvSpPr>
        <p:spPr>
          <a:xfrm>
            <a:off x="414338" y="446038"/>
            <a:ext cx="8330184" cy="666849"/>
          </a:xfrm>
        </p:spPr>
        <p:txBody>
          <a:bodyPr/>
          <a:lstStyle/>
          <a:p>
            <a:r>
              <a:rPr lang="en-GB" altLang="ja-JP" dirty="0"/>
              <a:t>Calendars </a:t>
            </a:r>
            <a:r>
              <a:rPr lang="en-US" dirty="0"/>
              <a:t>—</a:t>
            </a:r>
            <a:r>
              <a:rPr lang="en-GB" altLang="ja-JP" dirty="0" smtClean="0"/>
              <a:t> </a:t>
            </a:r>
            <a:r>
              <a:rPr lang="en-GB" altLang="ja-JP" dirty="0"/>
              <a:t>first day of the month is Friday, Saturday or Sunday</a:t>
            </a:r>
            <a:endParaRPr lang="nl-NL" dirty="0"/>
          </a:p>
        </p:txBody>
      </p:sp>
      <p:graphicFrame>
        <p:nvGraphicFramePr>
          <p:cNvPr id="6" name="Group 8"/>
          <p:cNvGraphicFramePr>
            <a:graphicFrameLocks noGrp="1"/>
          </p:cNvGraphicFramePr>
          <p:nvPr/>
        </p:nvGraphicFramePr>
        <p:xfrm>
          <a:off x="561975" y="1624013"/>
          <a:ext cx="3789484" cy="2162178"/>
        </p:xfrm>
        <a:graphic>
          <a:graphicData uri="http://schemas.openxmlformats.org/drawingml/2006/table">
            <a:tbl>
              <a:tblPr/>
              <a:tblGrid>
                <a:gridCol w="748812"/>
                <a:gridCol w="767862"/>
                <a:gridCol w="756138"/>
                <a:gridCol w="759069"/>
                <a:gridCol w="757603"/>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1" i="0" u="none" strike="noStrike" cap="none" normalizeH="0" baseline="0">
                          <a:ln>
                            <a:noFill/>
                          </a:ln>
                          <a:solidFill>
                            <a:schemeClr val="tx2"/>
                          </a:solidFill>
                          <a:effectLst/>
                          <a:latin typeface="Arial" charset="0"/>
                        </a:rPr>
                        <a:t>M</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T</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W</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T</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F</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en-GB" sz="1200" b="0" i="0" u="none" strike="noStrike" cap="none" normalizeH="0" baseline="0">
                        <a:ln>
                          <a:noFill/>
                        </a:ln>
                        <a:solidFill>
                          <a:schemeClr val="tx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tx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tx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tx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4</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5</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6</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7</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8</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1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2</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3</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4</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5</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18</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9</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0</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2</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25</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6</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7</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8</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9</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bl>
          </a:graphicData>
        </a:graphic>
      </p:graphicFrame>
      <p:graphicFrame>
        <p:nvGraphicFramePr>
          <p:cNvPr id="7" name="Group 53"/>
          <p:cNvGraphicFramePr>
            <a:graphicFrameLocks noGrp="1"/>
          </p:cNvGraphicFramePr>
          <p:nvPr/>
        </p:nvGraphicFramePr>
        <p:xfrm>
          <a:off x="4884738" y="1624013"/>
          <a:ext cx="3788018" cy="2162178"/>
        </p:xfrm>
        <a:graphic>
          <a:graphicData uri="http://schemas.openxmlformats.org/drawingml/2006/table">
            <a:tbl>
              <a:tblPr/>
              <a:tblGrid>
                <a:gridCol w="748811"/>
                <a:gridCol w="766397"/>
                <a:gridCol w="757603"/>
                <a:gridCol w="757604"/>
                <a:gridCol w="757603"/>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1" i="0" u="none" strike="noStrike" cap="none" normalizeH="0" baseline="0">
                          <a:ln>
                            <a:noFill/>
                          </a:ln>
                          <a:solidFill>
                            <a:schemeClr val="tx2"/>
                          </a:solidFill>
                          <a:effectLst/>
                          <a:latin typeface="Arial" charset="0"/>
                        </a:rPr>
                        <a:t>M</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T</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W</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T</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F</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3</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4</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5</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6</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7</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10</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2</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3</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4</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17</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8</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9</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0</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24</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5</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6</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7</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8</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3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tx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tx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tx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a:ln>
                          <a:noFill/>
                        </a:ln>
                        <a:solidFill>
                          <a:schemeClr val="tx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r>
            </a:tbl>
          </a:graphicData>
        </a:graphic>
      </p:graphicFrame>
      <p:graphicFrame>
        <p:nvGraphicFramePr>
          <p:cNvPr id="8" name="Group 97"/>
          <p:cNvGraphicFramePr>
            <a:graphicFrameLocks noGrp="1"/>
          </p:cNvGraphicFramePr>
          <p:nvPr/>
        </p:nvGraphicFramePr>
        <p:xfrm>
          <a:off x="561975" y="3789363"/>
          <a:ext cx="3789484" cy="2162178"/>
        </p:xfrm>
        <a:graphic>
          <a:graphicData uri="http://schemas.openxmlformats.org/drawingml/2006/table">
            <a:tbl>
              <a:tblPr/>
              <a:tblGrid>
                <a:gridCol w="748812"/>
                <a:gridCol w="767862"/>
                <a:gridCol w="756138"/>
                <a:gridCol w="759069"/>
                <a:gridCol w="757603"/>
              </a:tblGrid>
              <a:tr h="360363">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1" i="0" u="none" strike="noStrike" cap="none" normalizeH="0" baseline="0" dirty="0">
                          <a:ln>
                            <a:noFill/>
                          </a:ln>
                          <a:solidFill>
                            <a:schemeClr val="tx2"/>
                          </a:solidFill>
                          <a:effectLst/>
                          <a:latin typeface="Arial" charset="0"/>
                        </a:rPr>
                        <a:t>M</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T</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W</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T</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Tx/>
                        <a:buNone/>
                        <a:tabLst/>
                      </a:pPr>
                      <a:r>
                        <a:rPr kumimoji="0" lang="en-GB" sz="1200" b="1" i="0" u="none" strike="noStrike" cap="none" normalizeH="0" baseline="0">
                          <a:ln>
                            <a:noFill/>
                          </a:ln>
                          <a:solidFill>
                            <a:schemeClr val="tx2"/>
                          </a:solidFill>
                          <a:effectLst/>
                          <a:latin typeface="Arial" charset="0"/>
                        </a:rPr>
                        <a:t>F</a:t>
                      </a:r>
                    </a:p>
                  </a:txBody>
                  <a:tcPr marL="83077" marR="83077" marT="46800" marB="46800" anchor="b"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2</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3</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4</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5</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6</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9</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0</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2</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3</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16</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7</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8</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19</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0</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23</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4</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5</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6</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27</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r>
              <a:tr h="360363">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GB" sz="1200" b="0" i="0" u="none" strike="noStrike" cap="none" normalizeH="0" baseline="0">
                          <a:ln>
                            <a:noFill/>
                          </a:ln>
                          <a:solidFill>
                            <a:schemeClr val="bg1"/>
                          </a:solidFill>
                          <a:effectLst/>
                          <a:latin typeface="Arial" charset="0"/>
                        </a:rPr>
                        <a:t>30</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r>
                        <a:rPr kumimoji="0" lang="en-GB" sz="1200" b="0" i="0" u="none" strike="noStrike" cap="none" normalizeH="0" baseline="0">
                          <a:ln>
                            <a:noFill/>
                          </a:ln>
                          <a:solidFill>
                            <a:schemeClr val="bg1"/>
                          </a:solidFill>
                          <a:effectLst/>
                          <a:latin typeface="Arial" charset="0"/>
                        </a:rPr>
                        <a:t>31</a:t>
                      </a: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dirty="0">
                        <a:ln>
                          <a:noFill/>
                        </a:ln>
                        <a:solidFill>
                          <a:schemeClr val="tx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dirty="0">
                        <a:ln>
                          <a:noFill/>
                        </a:ln>
                        <a:solidFill>
                          <a:schemeClr val="tx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Tx/>
                        <a:buNone/>
                        <a:tabLst/>
                      </a:pPr>
                      <a:endParaRPr kumimoji="0" lang="en-GB" sz="1200" b="0" i="0" u="none" strike="noStrike" cap="none" normalizeH="0" baseline="0" dirty="0">
                        <a:ln>
                          <a:noFill/>
                        </a:ln>
                        <a:solidFill>
                          <a:schemeClr val="tx1"/>
                        </a:solidFill>
                        <a:effectLst/>
                        <a:latin typeface="Arial" charset="0"/>
                      </a:endParaRPr>
                    </a:p>
                  </a:txBody>
                  <a:tcPr marL="83077" marR="83077" marT="46800" marB="46800" horzOverflow="overflow">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a:noFill/>
                    </a:lnTlToBr>
                    <a:lnBlToTr>
                      <a:noFill/>
                    </a:lnBlToTr>
                    <a:noFill/>
                  </a:tcPr>
                </a:tc>
              </a:tr>
            </a:tbl>
          </a:graphicData>
        </a:graphic>
      </p:graphicFrame>
      <p:sp>
        <p:nvSpPr>
          <p:cNvPr id="17"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8" name="Text Placeholder 12"/>
          <p:cNvSpPr>
            <a:spLocks/>
          </p:cNvSpPr>
          <p:nvPr>
            <p:custDataLst>
              <p:tags r:id="rId1"/>
            </p:custDataLst>
          </p:nvPr>
        </p:nvSpPr>
        <p:spPr bwMode="auto">
          <a:xfrm>
            <a:off x="414338" y="1308670"/>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7" name="Rectangle 47"/>
          <p:cNvSpPr>
            <a:spLocks noChangeArrowheads="1"/>
          </p:cNvSpPr>
          <p:nvPr>
            <p:custDataLst>
              <p:tags r:id="rId2"/>
            </p:custDataLst>
          </p:nvPr>
        </p:nvSpPr>
        <p:spPr bwMode="auto">
          <a:xfrm>
            <a:off x="4349369" y="6127750"/>
            <a:ext cx="133350" cy="144463"/>
          </a:xfrm>
          <a:prstGeom prst="rect">
            <a:avLst/>
          </a:prstGeom>
          <a:solidFill>
            <a:schemeClr val="accent1"/>
          </a:solidFill>
          <a:ln w="6350" algn="ctr">
            <a:noFill/>
            <a:miter lim="800000"/>
            <a:headEnd/>
            <a:tailEnd/>
          </a:ln>
        </p:spPr>
        <p:txBody>
          <a:bodyPr wrap="none" tIns="91440" bIns="91440" anchor="ctr"/>
          <a:lstStyle/>
          <a:p>
            <a:pPr algn="ctr"/>
            <a:endParaRPr lang="en-GB" sz="1200">
              <a:solidFill>
                <a:schemeClr val="bg1"/>
              </a:solidFill>
            </a:endParaRPr>
          </a:p>
        </p:txBody>
      </p:sp>
      <p:sp>
        <p:nvSpPr>
          <p:cNvPr id="28" name="Text Box 48"/>
          <p:cNvSpPr txBox="1">
            <a:spLocks noChangeArrowheads="1"/>
          </p:cNvSpPr>
          <p:nvPr>
            <p:custDataLst>
              <p:tags r:id="rId3"/>
            </p:custDataLst>
          </p:nvPr>
        </p:nvSpPr>
        <p:spPr bwMode="auto">
          <a:xfrm>
            <a:off x="6074245" y="6146377"/>
            <a:ext cx="1388201" cy="159462"/>
          </a:xfrm>
          <a:prstGeom prst="rect">
            <a:avLst/>
          </a:prstGeom>
          <a:noFill/>
          <a:ln w="6350" algn="ctr">
            <a:noFill/>
            <a:miter lim="800000"/>
            <a:headEnd/>
            <a:tailEnd/>
          </a:ln>
        </p:spPr>
        <p:txBody>
          <a:bodyPr wrap="none" lIns="0" tIns="0" rIns="0" bIns="36000" anchor="ctr">
            <a:spAutoFit/>
          </a:bodyPr>
          <a:lstStyle/>
          <a:p>
            <a:r>
              <a:rPr lang="en-GB" sz="800" dirty="0">
                <a:solidFill>
                  <a:schemeClr val="tx2"/>
                </a:solidFill>
                <a:ea typeface="ＭＳ Ｐゴシック" charset="-128"/>
              </a:rPr>
              <a:t>Steering Committee Meeting</a:t>
            </a:r>
          </a:p>
        </p:txBody>
      </p:sp>
      <p:sp>
        <p:nvSpPr>
          <p:cNvPr id="29" name="Rectangle 49"/>
          <p:cNvSpPr>
            <a:spLocks noChangeArrowheads="1"/>
          </p:cNvSpPr>
          <p:nvPr>
            <p:custDataLst>
              <p:tags r:id="rId4"/>
            </p:custDataLst>
          </p:nvPr>
        </p:nvSpPr>
        <p:spPr bwMode="auto">
          <a:xfrm>
            <a:off x="5897256" y="6127750"/>
            <a:ext cx="133350" cy="144463"/>
          </a:xfrm>
          <a:prstGeom prst="rect">
            <a:avLst/>
          </a:prstGeom>
          <a:solidFill>
            <a:schemeClr val="accent2"/>
          </a:solidFill>
          <a:ln w="6350" algn="ctr">
            <a:noFill/>
            <a:miter lim="800000"/>
            <a:headEnd/>
            <a:tailEnd/>
          </a:ln>
        </p:spPr>
        <p:txBody>
          <a:bodyPr wrap="none" tIns="91440" bIns="91440" anchor="ctr"/>
          <a:lstStyle/>
          <a:p>
            <a:pPr algn="ctr"/>
            <a:endParaRPr lang="en-GB" sz="1200">
              <a:solidFill>
                <a:schemeClr val="bg1"/>
              </a:solidFill>
              <a:ea typeface="ＭＳ Ｐゴシック" charset="-128"/>
            </a:endParaRPr>
          </a:p>
        </p:txBody>
      </p:sp>
      <p:sp>
        <p:nvSpPr>
          <p:cNvPr id="30" name="Rectangle 50"/>
          <p:cNvSpPr>
            <a:spLocks noChangeArrowheads="1"/>
          </p:cNvSpPr>
          <p:nvPr>
            <p:custDataLst>
              <p:tags r:id="rId5"/>
            </p:custDataLst>
          </p:nvPr>
        </p:nvSpPr>
        <p:spPr bwMode="auto">
          <a:xfrm>
            <a:off x="7687290" y="6127750"/>
            <a:ext cx="133350" cy="144463"/>
          </a:xfrm>
          <a:prstGeom prst="rect">
            <a:avLst/>
          </a:prstGeom>
          <a:solidFill>
            <a:schemeClr val="accent4"/>
          </a:solidFill>
          <a:ln w="6350" algn="ctr">
            <a:noFill/>
            <a:miter lim="800000"/>
            <a:headEnd/>
            <a:tailEnd/>
          </a:ln>
        </p:spPr>
        <p:txBody>
          <a:bodyPr wrap="none" tIns="91440" bIns="91440" anchor="ctr"/>
          <a:lstStyle/>
          <a:p>
            <a:pPr algn="ctr">
              <a:defRPr/>
            </a:pPr>
            <a:endParaRPr lang="en-GB" sz="1200">
              <a:solidFill>
                <a:schemeClr val="bg1"/>
              </a:solidFill>
            </a:endParaRPr>
          </a:p>
        </p:txBody>
      </p:sp>
      <p:sp>
        <p:nvSpPr>
          <p:cNvPr id="31" name="Text Box 51"/>
          <p:cNvSpPr txBox="1">
            <a:spLocks noChangeArrowheads="1"/>
          </p:cNvSpPr>
          <p:nvPr>
            <p:custDataLst>
              <p:tags r:id="rId6"/>
            </p:custDataLst>
          </p:nvPr>
        </p:nvSpPr>
        <p:spPr bwMode="auto">
          <a:xfrm>
            <a:off x="7846654" y="6146377"/>
            <a:ext cx="713336" cy="159462"/>
          </a:xfrm>
          <a:prstGeom prst="rect">
            <a:avLst/>
          </a:prstGeom>
          <a:noFill/>
          <a:ln w="6350" algn="ctr">
            <a:noFill/>
            <a:miter lim="800000"/>
            <a:headEnd/>
            <a:tailEnd/>
          </a:ln>
        </p:spPr>
        <p:txBody>
          <a:bodyPr wrap="none" lIns="0" tIns="0" rIns="0" bIns="36000" anchor="ctr">
            <a:spAutoFit/>
          </a:bodyPr>
          <a:lstStyle/>
          <a:p>
            <a:r>
              <a:rPr lang="en-GB" sz="800" dirty="0">
                <a:solidFill>
                  <a:schemeClr val="tx2"/>
                </a:solidFill>
                <a:ea typeface="ＭＳ Ｐゴシック" charset="-128"/>
              </a:rPr>
              <a:t>Board Meeting</a:t>
            </a:r>
          </a:p>
        </p:txBody>
      </p:sp>
      <p:sp>
        <p:nvSpPr>
          <p:cNvPr id="32" name="Text Box 184"/>
          <p:cNvSpPr txBox="1">
            <a:spLocks noChangeArrowheads="1"/>
          </p:cNvSpPr>
          <p:nvPr>
            <p:custDataLst>
              <p:tags r:id="rId7"/>
            </p:custDataLst>
          </p:nvPr>
        </p:nvSpPr>
        <p:spPr bwMode="auto">
          <a:xfrm>
            <a:off x="4507886" y="6146377"/>
            <a:ext cx="1163780" cy="159462"/>
          </a:xfrm>
          <a:prstGeom prst="rect">
            <a:avLst/>
          </a:prstGeom>
          <a:noFill/>
          <a:ln w="6350" algn="ctr">
            <a:noFill/>
            <a:miter lim="800000"/>
            <a:headEnd/>
            <a:tailEnd/>
          </a:ln>
        </p:spPr>
        <p:txBody>
          <a:bodyPr wrap="none" lIns="0" tIns="0" rIns="0" bIns="36000" anchor="ctr">
            <a:spAutoFit/>
          </a:bodyPr>
          <a:lstStyle/>
          <a:p>
            <a:r>
              <a:rPr lang="en-GB" sz="800" dirty="0">
                <a:solidFill>
                  <a:schemeClr val="tx2"/>
                </a:solidFill>
                <a:ea typeface="ＭＳ Ｐゴシック" charset="-128"/>
              </a:rPr>
              <a:t>Working Group Meeting</a:t>
            </a:r>
          </a:p>
        </p:txBody>
      </p:sp>
      <p:sp>
        <p:nvSpPr>
          <p:cNvPr id="33" name="Rectangle 32"/>
          <p:cNvSpPr/>
          <p:nvPr/>
        </p:nvSpPr>
        <p:spPr>
          <a:xfrm>
            <a:off x="4273868" y="6053138"/>
            <a:ext cx="4352428" cy="288939"/>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800" b="0" dirty="0" smtClean="0"/>
          </a:p>
        </p:txBody>
      </p:sp>
    </p:spTree>
  </p:cSld>
  <p:clrMapOvr>
    <a:masterClrMapping/>
  </p:clrMapOvr>
  <p:timing>
    <p:tnLst>
      <p:par>
        <p:cTn id="1" dur="indefinite" restart="never" nodeType="tmRoot"/>
      </p:par>
    </p:tn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5585" name="Title 1"/>
          <p:cNvSpPr>
            <a:spLocks noGrp="1"/>
          </p:cNvSpPr>
          <p:nvPr>
            <p:ph type="title"/>
          </p:nvPr>
        </p:nvSpPr>
        <p:spPr>
          <a:xfrm>
            <a:off x="414338" y="446038"/>
            <a:ext cx="8330184" cy="333425"/>
          </a:xfrm>
        </p:spPr>
        <p:txBody>
          <a:bodyPr/>
          <a:lstStyle/>
          <a:p>
            <a:r>
              <a:rPr lang="en-GB" altLang="ja-JP"/>
              <a:t>Curves </a:t>
            </a:r>
            <a:r>
              <a:rPr lang="en-US"/>
              <a:t>—</a:t>
            </a:r>
            <a:r>
              <a:rPr lang="en-GB" altLang="ja-JP" smtClean="0"/>
              <a:t> </a:t>
            </a:r>
            <a:r>
              <a:rPr lang="en-GB" altLang="ja-JP"/>
              <a:t>generic life cycle</a:t>
            </a:r>
            <a:endParaRPr lang="nl-NL"/>
          </a:p>
        </p:txBody>
      </p:sp>
      <p:sp>
        <p:nvSpPr>
          <p:cNvPr id="835587" name="Freeform 5"/>
          <p:cNvSpPr>
            <a:spLocks/>
          </p:cNvSpPr>
          <p:nvPr/>
        </p:nvSpPr>
        <p:spPr bwMode="auto">
          <a:xfrm>
            <a:off x="2217738" y="5026037"/>
            <a:ext cx="503237" cy="47625"/>
          </a:xfrm>
          <a:custGeom>
            <a:avLst/>
            <a:gdLst>
              <a:gd name="T0" fmla="*/ 0 w 315"/>
              <a:gd name="T1" fmla="*/ 2147483647 h 29"/>
              <a:gd name="T2" fmla="*/ 2147483647 w 315"/>
              <a:gd name="T3" fmla="*/ 2147483647 h 29"/>
              <a:gd name="T4" fmla="*/ 2147483647 w 315"/>
              <a:gd name="T5" fmla="*/ 2147483647 h 29"/>
              <a:gd name="T6" fmla="*/ 2147483647 w 315"/>
              <a:gd name="T7" fmla="*/ 0 h 29"/>
              <a:gd name="T8" fmla="*/ 0 60000 65536"/>
              <a:gd name="T9" fmla="*/ 0 60000 65536"/>
              <a:gd name="T10" fmla="*/ 0 60000 65536"/>
              <a:gd name="T11" fmla="*/ 0 60000 65536"/>
              <a:gd name="T12" fmla="*/ 0 w 315"/>
              <a:gd name="T13" fmla="*/ 0 h 29"/>
              <a:gd name="T14" fmla="*/ 315 w 315"/>
              <a:gd name="T15" fmla="*/ 29 h 29"/>
            </a:gdLst>
            <a:ahLst/>
            <a:cxnLst>
              <a:cxn ang="T8">
                <a:pos x="T0" y="T1"/>
              </a:cxn>
              <a:cxn ang="T9">
                <a:pos x="T2" y="T3"/>
              </a:cxn>
              <a:cxn ang="T10">
                <a:pos x="T4" y="T5"/>
              </a:cxn>
              <a:cxn ang="T11">
                <a:pos x="T6" y="T7"/>
              </a:cxn>
            </a:cxnLst>
            <a:rect l="T12" t="T13" r="T14" b="T15"/>
            <a:pathLst>
              <a:path w="315" h="29">
                <a:moveTo>
                  <a:pt x="0" y="29"/>
                </a:moveTo>
                <a:lnTo>
                  <a:pt x="158" y="14"/>
                </a:lnTo>
                <a:lnTo>
                  <a:pt x="234" y="10"/>
                </a:lnTo>
                <a:lnTo>
                  <a:pt x="315" y="0"/>
                </a:lnTo>
              </a:path>
            </a:pathLst>
          </a:custGeom>
          <a:solidFill>
            <a:schemeClr val="accent2"/>
          </a:solidFill>
          <a:ln w="76200">
            <a:solidFill>
              <a:schemeClr val="accent2"/>
            </a:solidFill>
            <a:round/>
            <a:headEnd/>
            <a:tailEnd/>
          </a:ln>
        </p:spPr>
        <p:txBody>
          <a:bodyPr/>
          <a:lstStyle/>
          <a:p>
            <a:endParaRPr lang="en-GB"/>
          </a:p>
        </p:txBody>
      </p:sp>
      <p:sp>
        <p:nvSpPr>
          <p:cNvPr id="835588" name="Freeform 6"/>
          <p:cNvSpPr>
            <a:spLocks/>
          </p:cNvSpPr>
          <p:nvPr/>
        </p:nvSpPr>
        <p:spPr bwMode="auto">
          <a:xfrm>
            <a:off x="2720975" y="4922850"/>
            <a:ext cx="508000" cy="103187"/>
          </a:xfrm>
          <a:custGeom>
            <a:avLst/>
            <a:gdLst>
              <a:gd name="T0" fmla="*/ 0 w 319"/>
              <a:gd name="T1" fmla="*/ 2147483647 h 62"/>
              <a:gd name="T2" fmla="*/ 2147483647 w 319"/>
              <a:gd name="T3" fmla="*/ 2147483647 h 62"/>
              <a:gd name="T4" fmla="*/ 2147483647 w 319"/>
              <a:gd name="T5" fmla="*/ 2147483647 h 62"/>
              <a:gd name="T6" fmla="*/ 2147483647 w 319"/>
              <a:gd name="T7" fmla="*/ 2147483647 h 62"/>
              <a:gd name="T8" fmla="*/ 2147483647 w 319"/>
              <a:gd name="T9" fmla="*/ 2147483647 h 62"/>
              <a:gd name="T10" fmla="*/ 2147483647 w 319"/>
              <a:gd name="T11" fmla="*/ 0 h 62"/>
              <a:gd name="T12" fmla="*/ 0 60000 65536"/>
              <a:gd name="T13" fmla="*/ 0 60000 65536"/>
              <a:gd name="T14" fmla="*/ 0 60000 65536"/>
              <a:gd name="T15" fmla="*/ 0 60000 65536"/>
              <a:gd name="T16" fmla="*/ 0 60000 65536"/>
              <a:gd name="T17" fmla="*/ 0 60000 65536"/>
              <a:gd name="T18" fmla="*/ 0 w 319"/>
              <a:gd name="T19" fmla="*/ 0 h 62"/>
              <a:gd name="T20" fmla="*/ 319 w 319"/>
              <a:gd name="T21" fmla="*/ 62 h 62"/>
            </a:gdLst>
            <a:ahLst/>
            <a:cxnLst>
              <a:cxn ang="T12">
                <a:pos x="T0" y="T1"/>
              </a:cxn>
              <a:cxn ang="T13">
                <a:pos x="T2" y="T3"/>
              </a:cxn>
              <a:cxn ang="T14">
                <a:pos x="T4" y="T5"/>
              </a:cxn>
              <a:cxn ang="T15">
                <a:pos x="T6" y="T7"/>
              </a:cxn>
              <a:cxn ang="T16">
                <a:pos x="T8" y="T9"/>
              </a:cxn>
              <a:cxn ang="T17">
                <a:pos x="T10" y="T11"/>
              </a:cxn>
            </a:cxnLst>
            <a:rect l="T18" t="T19" r="T20" b="T21"/>
            <a:pathLst>
              <a:path w="319" h="62">
                <a:moveTo>
                  <a:pt x="0" y="62"/>
                </a:moveTo>
                <a:lnTo>
                  <a:pt x="81" y="53"/>
                </a:lnTo>
                <a:lnTo>
                  <a:pt x="157" y="43"/>
                </a:lnTo>
                <a:lnTo>
                  <a:pt x="238" y="29"/>
                </a:lnTo>
                <a:lnTo>
                  <a:pt x="281" y="15"/>
                </a:lnTo>
                <a:lnTo>
                  <a:pt x="319" y="0"/>
                </a:lnTo>
              </a:path>
            </a:pathLst>
          </a:custGeom>
          <a:solidFill>
            <a:schemeClr val="accent2"/>
          </a:solidFill>
          <a:ln w="76200">
            <a:solidFill>
              <a:schemeClr val="accent2"/>
            </a:solidFill>
            <a:round/>
            <a:headEnd/>
            <a:tailEnd/>
          </a:ln>
        </p:spPr>
        <p:txBody>
          <a:bodyPr/>
          <a:lstStyle/>
          <a:p>
            <a:endParaRPr lang="en-GB"/>
          </a:p>
        </p:txBody>
      </p:sp>
      <p:sp>
        <p:nvSpPr>
          <p:cNvPr id="835589" name="Freeform 7"/>
          <p:cNvSpPr>
            <a:spLocks/>
          </p:cNvSpPr>
          <p:nvPr/>
        </p:nvSpPr>
        <p:spPr bwMode="auto">
          <a:xfrm>
            <a:off x="3228975" y="4584712"/>
            <a:ext cx="501650" cy="338138"/>
          </a:xfrm>
          <a:custGeom>
            <a:avLst/>
            <a:gdLst>
              <a:gd name="T0" fmla="*/ 0 w 314"/>
              <a:gd name="T1" fmla="*/ 2147483647 h 204"/>
              <a:gd name="T2" fmla="*/ 2147483647 w 314"/>
              <a:gd name="T3" fmla="*/ 2147483647 h 204"/>
              <a:gd name="T4" fmla="*/ 2147483647 w 314"/>
              <a:gd name="T5" fmla="*/ 2147483647 h 204"/>
              <a:gd name="T6" fmla="*/ 2147483647 w 314"/>
              <a:gd name="T7" fmla="*/ 2147483647 h 204"/>
              <a:gd name="T8" fmla="*/ 2147483647 w 314"/>
              <a:gd name="T9" fmla="*/ 2147483647 h 204"/>
              <a:gd name="T10" fmla="*/ 2147483647 w 314"/>
              <a:gd name="T11" fmla="*/ 2147483647 h 204"/>
              <a:gd name="T12" fmla="*/ 2147483647 w 314"/>
              <a:gd name="T13" fmla="*/ 0 h 204"/>
              <a:gd name="T14" fmla="*/ 0 60000 65536"/>
              <a:gd name="T15" fmla="*/ 0 60000 65536"/>
              <a:gd name="T16" fmla="*/ 0 60000 65536"/>
              <a:gd name="T17" fmla="*/ 0 60000 65536"/>
              <a:gd name="T18" fmla="*/ 0 60000 65536"/>
              <a:gd name="T19" fmla="*/ 0 60000 65536"/>
              <a:gd name="T20" fmla="*/ 0 60000 65536"/>
              <a:gd name="T21" fmla="*/ 0 w 314"/>
              <a:gd name="T22" fmla="*/ 0 h 204"/>
              <a:gd name="T23" fmla="*/ 314 w 314"/>
              <a:gd name="T24" fmla="*/ 204 h 2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4" h="204">
                <a:moveTo>
                  <a:pt x="0" y="204"/>
                </a:moveTo>
                <a:lnTo>
                  <a:pt x="81" y="171"/>
                </a:lnTo>
                <a:lnTo>
                  <a:pt x="157" y="128"/>
                </a:lnTo>
                <a:lnTo>
                  <a:pt x="195" y="104"/>
                </a:lnTo>
                <a:lnTo>
                  <a:pt x="233" y="76"/>
                </a:lnTo>
                <a:lnTo>
                  <a:pt x="276" y="42"/>
                </a:lnTo>
                <a:lnTo>
                  <a:pt x="314" y="0"/>
                </a:lnTo>
              </a:path>
            </a:pathLst>
          </a:custGeom>
          <a:solidFill>
            <a:schemeClr val="accent2"/>
          </a:solidFill>
          <a:ln w="76200">
            <a:solidFill>
              <a:schemeClr val="accent2"/>
            </a:solidFill>
            <a:round/>
            <a:headEnd/>
            <a:tailEnd/>
          </a:ln>
        </p:spPr>
        <p:txBody>
          <a:bodyPr/>
          <a:lstStyle/>
          <a:p>
            <a:endParaRPr lang="en-GB"/>
          </a:p>
        </p:txBody>
      </p:sp>
      <p:sp>
        <p:nvSpPr>
          <p:cNvPr id="835590" name="Freeform 8"/>
          <p:cNvSpPr>
            <a:spLocks/>
          </p:cNvSpPr>
          <p:nvPr/>
        </p:nvSpPr>
        <p:spPr bwMode="auto">
          <a:xfrm>
            <a:off x="3730625" y="3727462"/>
            <a:ext cx="503238" cy="857250"/>
          </a:xfrm>
          <a:custGeom>
            <a:avLst/>
            <a:gdLst>
              <a:gd name="T0" fmla="*/ 0 w 320"/>
              <a:gd name="T1" fmla="*/ 2147483647 h 514"/>
              <a:gd name="T2" fmla="*/ 2147483647 w 320"/>
              <a:gd name="T3" fmla="*/ 2147483647 h 514"/>
              <a:gd name="T4" fmla="*/ 2147483647 w 320"/>
              <a:gd name="T5" fmla="*/ 2147483647 h 514"/>
              <a:gd name="T6" fmla="*/ 2147483647 w 320"/>
              <a:gd name="T7" fmla="*/ 2147483647 h 514"/>
              <a:gd name="T8" fmla="*/ 2147483647 w 320"/>
              <a:gd name="T9" fmla="*/ 2147483647 h 514"/>
              <a:gd name="T10" fmla="*/ 2147483647 w 320"/>
              <a:gd name="T11" fmla="*/ 2147483647 h 514"/>
              <a:gd name="T12" fmla="*/ 2147483647 w 320"/>
              <a:gd name="T13" fmla="*/ 2147483647 h 514"/>
              <a:gd name="T14" fmla="*/ 2147483647 w 320"/>
              <a:gd name="T15" fmla="*/ 0 h 514"/>
              <a:gd name="T16" fmla="*/ 0 60000 65536"/>
              <a:gd name="T17" fmla="*/ 0 60000 65536"/>
              <a:gd name="T18" fmla="*/ 0 60000 65536"/>
              <a:gd name="T19" fmla="*/ 0 60000 65536"/>
              <a:gd name="T20" fmla="*/ 0 60000 65536"/>
              <a:gd name="T21" fmla="*/ 0 60000 65536"/>
              <a:gd name="T22" fmla="*/ 0 60000 65536"/>
              <a:gd name="T23" fmla="*/ 0 60000 65536"/>
              <a:gd name="T24" fmla="*/ 0 w 320"/>
              <a:gd name="T25" fmla="*/ 0 h 514"/>
              <a:gd name="T26" fmla="*/ 320 w 320"/>
              <a:gd name="T27" fmla="*/ 514 h 5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0" h="514">
                <a:moveTo>
                  <a:pt x="0" y="514"/>
                </a:moveTo>
                <a:lnTo>
                  <a:pt x="38" y="466"/>
                </a:lnTo>
                <a:lnTo>
                  <a:pt x="81" y="409"/>
                </a:lnTo>
                <a:lnTo>
                  <a:pt x="119" y="342"/>
                </a:lnTo>
                <a:lnTo>
                  <a:pt x="158" y="276"/>
                </a:lnTo>
                <a:lnTo>
                  <a:pt x="239" y="138"/>
                </a:lnTo>
                <a:lnTo>
                  <a:pt x="281" y="66"/>
                </a:lnTo>
                <a:lnTo>
                  <a:pt x="320" y="0"/>
                </a:lnTo>
              </a:path>
            </a:pathLst>
          </a:custGeom>
          <a:solidFill>
            <a:schemeClr val="accent2"/>
          </a:solidFill>
          <a:ln w="76200">
            <a:solidFill>
              <a:schemeClr val="accent2"/>
            </a:solidFill>
            <a:round/>
            <a:headEnd/>
            <a:tailEnd/>
          </a:ln>
        </p:spPr>
        <p:txBody>
          <a:bodyPr/>
          <a:lstStyle/>
          <a:p>
            <a:endParaRPr lang="en-GB"/>
          </a:p>
        </p:txBody>
      </p:sp>
      <p:sp>
        <p:nvSpPr>
          <p:cNvPr id="835591" name="Freeform 9"/>
          <p:cNvSpPr>
            <a:spLocks/>
          </p:cNvSpPr>
          <p:nvPr/>
        </p:nvSpPr>
        <p:spPr bwMode="auto">
          <a:xfrm>
            <a:off x="4233863" y="2871800"/>
            <a:ext cx="500062" cy="855662"/>
          </a:xfrm>
          <a:custGeom>
            <a:avLst/>
            <a:gdLst>
              <a:gd name="T0" fmla="*/ 0 w 314"/>
              <a:gd name="T1" fmla="*/ 2147483647 h 514"/>
              <a:gd name="T2" fmla="*/ 2147483647 w 314"/>
              <a:gd name="T3" fmla="*/ 2147483647 h 514"/>
              <a:gd name="T4" fmla="*/ 2147483647 w 314"/>
              <a:gd name="T5" fmla="*/ 2147483647 h 514"/>
              <a:gd name="T6" fmla="*/ 2147483647 w 314"/>
              <a:gd name="T7" fmla="*/ 2147483647 h 514"/>
              <a:gd name="T8" fmla="*/ 2147483647 w 314"/>
              <a:gd name="T9" fmla="*/ 0 h 514"/>
              <a:gd name="T10" fmla="*/ 0 60000 65536"/>
              <a:gd name="T11" fmla="*/ 0 60000 65536"/>
              <a:gd name="T12" fmla="*/ 0 60000 65536"/>
              <a:gd name="T13" fmla="*/ 0 60000 65536"/>
              <a:gd name="T14" fmla="*/ 0 60000 65536"/>
              <a:gd name="T15" fmla="*/ 0 w 314"/>
              <a:gd name="T16" fmla="*/ 0 h 514"/>
              <a:gd name="T17" fmla="*/ 314 w 314"/>
              <a:gd name="T18" fmla="*/ 514 h 514"/>
            </a:gdLst>
            <a:ahLst/>
            <a:cxnLst>
              <a:cxn ang="T10">
                <a:pos x="T0" y="T1"/>
              </a:cxn>
              <a:cxn ang="T11">
                <a:pos x="T2" y="T3"/>
              </a:cxn>
              <a:cxn ang="T12">
                <a:pos x="T4" y="T5"/>
              </a:cxn>
              <a:cxn ang="T13">
                <a:pos x="T6" y="T7"/>
              </a:cxn>
              <a:cxn ang="T14">
                <a:pos x="T8" y="T9"/>
              </a:cxn>
            </a:cxnLst>
            <a:rect l="T15" t="T16" r="T17" b="T18"/>
            <a:pathLst>
              <a:path w="314" h="514">
                <a:moveTo>
                  <a:pt x="0" y="514"/>
                </a:moveTo>
                <a:lnTo>
                  <a:pt x="80" y="385"/>
                </a:lnTo>
                <a:lnTo>
                  <a:pt x="157" y="252"/>
                </a:lnTo>
                <a:lnTo>
                  <a:pt x="238" y="124"/>
                </a:lnTo>
                <a:lnTo>
                  <a:pt x="314" y="0"/>
                </a:lnTo>
              </a:path>
            </a:pathLst>
          </a:custGeom>
          <a:solidFill>
            <a:schemeClr val="accent2"/>
          </a:solidFill>
          <a:ln w="76200">
            <a:solidFill>
              <a:schemeClr val="accent2"/>
            </a:solidFill>
            <a:round/>
            <a:headEnd/>
            <a:tailEnd/>
          </a:ln>
        </p:spPr>
        <p:txBody>
          <a:bodyPr/>
          <a:lstStyle/>
          <a:p>
            <a:endParaRPr lang="en-GB"/>
          </a:p>
        </p:txBody>
      </p:sp>
      <p:sp>
        <p:nvSpPr>
          <p:cNvPr id="835592" name="Freeform 10"/>
          <p:cNvSpPr>
            <a:spLocks/>
          </p:cNvSpPr>
          <p:nvPr/>
        </p:nvSpPr>
        <p:spPr bwMode="auto">
          <a:xfrm>
            <a:off x="4733925" y="2141550"/>
            <a:ext cx="501650" cy="730250"/>
          </a:xfrm>
          <a:custGeom>
            <a:avLst/>
            <a:gdLst>
              <a:gd name="T0" fmla="*/ 0 w 314"/>
              <a:gd name="T1" fmla="*/ 2147483647 h 438"/>
              <a:gd name="T2" fmla="*/ 2147483647 w 314"/>
              <a:gd name="T3" fmla="*/ 2147483647 h 438"/>
              <a:gd name="T4" fmla="*/ 2147483647 w 314"/>
              <a:gd name="T5" fmla="*/ 2147483647 h 438"/>
              <a:gd name="T6" fmla="*/ 2147483647 w 314"/>
              <a:gd name="T7" fmla="*/ 2147483647 h 438"/>
              <a:gd name="T8" fmla="*/ 2147483647 w 314"/>
              <a:gd name="T9" fmla="*/ 2147483647 h 438"/>
              <a:gd name="T10" fmla="*/ 2147483647 w 314"/>
              <a:gd name="T11" fmla="*/ 2147483647 h 438"/>
              <a:gd name="T12" fmla="*/ 2147483647 w 314"/>
              <a:gd name="T13" fmla="*/ 0 h 438"/>
              <a:gd name="T14" fmla="*/ 0 60000 65536"/>
              <a:gd name="T15" fmla="*/ 0 60000 65536"/>
              <a:gd name="T16" fmla="*/ 0 60000 65536"/>
              <a:gd name="T17" fmla="*/ 0 60000 65536"/>
              <a:gd name="T18" fmla="*/ 0 60000 65536"/>
              <a:gd name="T19" fmla="*/ 0 60000 65536"/>
              <a:gd name="T20" fmla="*/ 0 60000 65536"/>
              <a:gd name="T21" fmla="*/ 0 w 314"/>
              <a:gd name="T22" fmla="*/ 0 h 438"/>
              <a:gd name="T23" fmla="*/ 314 w 314"/>
              <a:gd name="T24" fmla="*/ 438 h 4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4" h="438">
                <a:moveTo>
                  <a:pt x="0" y="438"/>
                </a:moveTo>
                <a:lnTo>
                  <a:pt x="76" y="314"/>
                </a:lnTo>
                <a:lnTo>
                  <a:pt x="157" y="195"/>
                </a:lnTo>
                <a:lnTo>
                  <a:pt x="195" y="138"/>
                </a:lnTo>
                <a:lnTo>
                  <a:pt x="233" y="86"/>
                </a:lnTo>
                <a:lnTo>
                  <a:pt x="276" y="38"/>
                </a:lnTo>
                <a:lnTo>
                  <a:pt x="314" y="0"/>
                </a:lnTo>
              </a:path>
            </a:pathLst>
          </a:custGeom>
          <a:solidFill>
            <a:schemeClr val="accent2"/>
          </a:solidFill>
          <a:ln w="76200">
            <a:solidFill>
              <a:schemeClr val="accent2"/>
            </a:solidFill>
            <a:round/>
            <a:headEnd/>
            <a:tailEnd/>
          </a:ln>
        </p:spPr>
        <p:txBody>
          <a:bodyPr/>
          <a:lstStyle/>
          <a:p>
            <a:endParaRPr lang="en-GB"/>
          </a:p>
        </p:txBody>
      </p:sp>
      <p:sp>
        <p:nvSpPr>
          <p:cNvPr id="835593" name="Freeform 11"/>
          <p:cNvSpPr>
            <a:spLocks/>
          </p:cNvSpPr>
          <p:nvPr/>
        </p:nvSpPr>
        <p:spPr bwMode="auto">
          <a:xfrm>
            <a:off x="5235575" y="1943112"/>
            <a:ext cx="508000" cy="198438"/>
          </a:xfrm>
          <a:custGeom>
            <a:avLst/>
            <a:gdLst>
              <a:gd name="T0" fmla="*/ 0 w 319"/>
              <a:gd name="T1" fmla="*/ 2147483647 h 119"/>
              <a:gd name="T2" fmla="*/ 2147483647 w 319"/>
              <a:gd name="T3" fmla="*/ 2147483647 h 119"/>
              <a:gd name="T4" fmla="*/ 2147483647 w 319"/>
              <a:gd name="T5" fmla="*/ 2147483647 h 119"/>
              <a:gd name="T6" fmla="*/ 2147483647 w 319"/>
              <a:gd name="T7" fmla="*/ 2147483647 h 119"/>
              <a:gd name="T8" fmla="*/ 2147483647 w 319"/>
              <a:gd name="T9" fmla="*/ 2147483647 h 119"/>
              <a:gd name="T10" fmla="*/ 2147483647 w 319"/>
              <a:gd name="T11" fmla="*/ 2147483647 h 119"/>
              <a:gd name="T12" fmla="*/ 2147483647 w 319"/>
              <a:gd name="T13" fmla="*/ 2147483647 h 119"/>
              <a:gd name="T14" fmla="*/ 2147483647 w 319"/>
              <a:gd name="T15" fmla="*/ 0 h 119"/>
              <a:gd name="T16" fmla="*/ 0 60000 65536"/>
              <a:gd name="T17" fmla="*/ 0 60000 65536"/>
              <a:gd name="T18" fmla="*/ 0 60000 65536"/>
              <a:gd name="T19" fmla="*/ 0 60000 65536"/>
              <a:gd name="T20" fmla="*/ 0 60000 65536"/>
              <a:gd name="T21" fmla="*/ 0 60000 65536"/>
              <a:gd name="T22" fmla="*/ 0 60000 65536"/>
              <a:gd name="T23" fmla="*/ 0 60000 65536"/>
              <a:gd name="T24" fmla="*/ 0 w 319"/>
              <a:gd name="T25" fmla="*/ 0 h 119"/>
              <a:gd name="T26" fmla="*/ 319 w 319"/>
              <a:gd name="T27" fmla="*/ 119 h 1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9" h="119">
                <a:moveTo>
                  <a:pt x="0" y="119"/>
                </a:moveTo>
                <a:lnTo>
                  <a:pt x="38" y="86"/>
                </a:lnTo>
                <a:lnTo>
                  <a:pt x="81" y="62"/>
                </a:lnTo>
                <a:lnTo>
                  <a:pt x="119" y="43"/>
                </a:lnTo>
                <a:lnTo>
                  <a:pt x="157" y="29"/>
                </a:lnTo>
                <a:lnTo>
                  <a:pt x="200" y="19"/>
                </a:lnTo>
                <a:lnTo>
                  <a:pt x="238" y="10"/>
                </a:lnTo>
                <a:lnTo>
                  <a:pt x="319" y="0"/>
                </a:lnTo>
              </a:path>
            </a:pathLst>
          </a:custGeom>
          <a:solidFill>
            <a:schemeClr val="accent2"/>
          </a:solidFill>
          <a:ln w="76200">
            <a:solidFill>
              <a:schemeClr val="accent2"/>
            </a:solidFill>
            <a:round/>
            <a:headEnd/>
            <a:tailEnd/>
          </a:ln>
        </p:spPr>
        <p:txBody>
          <a:bodyPr/>
          <a:lstStyle/>
          <a:p>
            <a:endParaRPr lang="en-GB"/>
          </a:p>
        </p:txBody>
      </p:sp>
      <p:sp>
        <p:nvSpPr>
          <p:cNvPr id="835594" name="Freeform 12"/>
          <p:cNvSpPr>
            <a:spLocks/>
          </p:cNvSpPr>
          <p:nvPr/>
        </p:nvSpPr>
        <p:spPr bwMode="auto">
          <a:xfrm>
            <a:off x="5743575" y="1943112"/>
            <a:ext cx="503238" cy="95250"/>
          </a:xfrm>
          <a:custGeom>
            <a:avLst/>
            <a:gdLst>
              <a:gd name="T0" fmla="*/ 0 w 315"/>
              <a:gd name="T1" fmla="*/ 0 h 57"/>
              <a:gd name="T2" fmla="*/ 2147483647 w 315"/>
              <a:gd name="T3" fmla="*/ 0 h 57"/>
              <a:gd name="T4" fmla="*/ 2147483647 w 315"/>
              <a:gd name="T5" fmla="*/ 2147483647 h 57"/>
              <a:gd name="T6" fmla="*/ 2147483647 w 315"/>
              <a:gd name="T7" fmla="*/ 2147483647 h 57"/>
              <a:gd name="T8" fmla="*/ 2147483647 w 315"/>
              <a:gd name="T9" fmla="*/ 2147483647 h 57"/>
              <a:gd name="T10" fmla="*/ 0 60000 65536"/>
              <a:gd name="T11" fmla="*/ 0 60000 65536"/>
              <a:gd name="T12" fmla="*/ 0 60000 65536"/>
              <a:gd name="T13" fmla="*/ 0 60000 65536"/>
              <a:gd name="T14" fmla="*/ 0 60000 65536"/>
              <a:gd name="T15" fmla="*/ 0 w 315"/>
              <a:gd name="T16" fmla="*/ 0 h 57"/>
              <a:gd name="T17" fmla="*/ 315 w 315"/>
              <a:gd name="T18" fmla="*/ 57 h 57"/>
            </a:gdLst>
            <a:ahLst/>
            <a:cxnLst>
              <a:cxn ang="T10">
                <a:pos x="T0" y="T1"/>
              </a:cxn>
              <a:cxn ang="T11">
                <a:pos x="T2" y="T3"/>
              </a:cxn>
              <a:cxn ang="T12">
                <a:pos x="T4" y="T5"/>
              </a:cxn>
              <a:cxn ang="T13">
                <a:pos x="T6" y="T7"/>
              </a:cxn>
              <a:cxn ang="T14">
                <a:pos x="T8" y="T9"/>
              </a:cxn>
            </a:cxnLst>
            <a:rect l="T15" t="T16" r="T17" b="T18"/>
            <a:pathLst>
              <a:path w="315" h="57">
                <a:moveTo>
                  <a:pt x="0" y="0"/>
                </a:moveTo>
                <a:lnTo>
                  <a:pt x="81" y="0"/>
                </a:lnTo>
                <a:lnTo>
                  <a:pt x="158" y="10"/>
                </a:lnTo>
                <a:lnTo>
                  <a:pt x="234" y="29"/>
                </a:lnTo>
                <a:lnTo>
                  <a:pt x="315" y="57"/>
                </a:lnTo>
              </a:path>
            </a:pathLst>
          </a:custGeom>
          <a:solidFill>
            <a:schemeClr val="accent2"/>
          </a:solidFill>
          <a:ln w="76200">
            <a:solidFill>
              <a:schemeClr val="accent2"/>
            </a:solidFill>
            <a:round/>
            <a:headEnd/>
            <a:tailEnd/>
          </a:ln>
        </p:spPr>
        <p:txBody>
          <a:bodyPr/>
          <a:lstStyle/>
          <a:p>
            <a:endParaRPr lang="en-GB"/>
          </a:p>
        </p:txBody>
      </p:sp>
      <p:sp>
        <p:nvSpPr>
          <p:cNvPr id="835595" name="Freeform 13"/>
          <p:cNvSpPr>
            <a:spLocks/>
          </p:cNvSpPr>
          <p:nvPr/>
        </p:nvSpPr>
        <p:spPr bwMode="auto">
          <a:xfrm>
            <a:off x="6246813" y="2038362"/>
            <a:ext cx="506412" cy="349250"/>
          </a:xfrm>
          <a:custGeom>
            <a:avLst/>
            <a:gdLst>
              <a:gd name="T0" fmla="*/ 0 w 319"/>
              <a:gd name="T1" fmla="*/ 0 h 210"/>
              <a:gd name="T2" fmla="*/ 2147483647 w 319"/>
              <a:gd name="T3" fmla="*/ 2147483647 h 210"/>
              <a:gd name="T4" fmla="*/ 2147483647 w 319"/>
              <a:gd name="T5" fmla="*/ 2147483647 h 210"/>
              <a:gd name="T6" fmla="*/ 2147483647 w 319"/>
              <a:gd name="T7" fmla="*/ 2147483647 h 210"/>
              <a:gd name="T8" fmla="*/ 2147483647 w 319"/>
              <a:gd name="T9" fmla="*/ 2147483647 h 210"/>
              <a:gd name="T10" fmla="*/ 2147483647 w 319"/>
              <a:gd name="T11" fmla="*/ 2147483647 h 210"/>
              <a:gd name="T12" fmla="*/ 0 60000 65536"/>
              <a:gd name="T13" fmla="*/ 0 60000 65536"/>
              <a:gd name="T14" fmla="*/ 0 60000 65536"/>
              <a:gd name="T15" fmla="*/ 0 60000 65536"/>
              <a:gd name="T16" fmla="*/ 0 60000 65536"/>
              <a:gd name="T17" fmla="*/ 0 60000 65536"/>
              <a:gd name="T18" fmla="*/ 0 w 319"/>
              <a:gd name="T19" fmla="*/ 0 h 210"/>
              <a:gd name="T20" fmla="*/ 319 w 319"/>
              <a:gd name="T21" fmla="*/ 210 h 210"/>
            </a:gdLst>
            <a:ahLst/>
            <a:cxnLst>
              <a:cxn ang="T12">
                <a:pos x="T0" y="T1"/>
              </a:cxn>
              <a:cxn ang="T13">
                <a:pos x="T2" y="T3"/>
              </a:cxn>
              <a:cxn ang="T14">
                <a:pos x="T4" y="T5"/>
              </a:cxn>
              <a:cxn ang="T15">
                <a:pos x="T6" y="T7"/>
              </a:cxn>
              <a:cxn ang="T16">
                <a:pos x="T8" y="T9"/>
              </a:cxn>
              <a:cxn ang="T17">
                <a:pos x="T10" y="T11"/>
              </a:cxn>
            </a:cxnLst>
            <a:rect l="T18" t="T19" r="T20" b="T21"/>
            <a:pathLst>
              <a:path w="319" h="210">
                <a:moveTo>
                  <a:pt x="0" y="0"/>
                </a:moveTo>
                <a:lnTo>
                  <a:pt x="38" y="20"/>
                </a:lnTo>
                <a:lnTo>
                  <a:pt x="81" y="43"/>
                </a:lnTo>
                <a:lnTo>
                  <a:pt x="157" y="96"/>
                </a:lnTo>
                <a:lnTo>
                  <a:pt x="238" y="153"/>
                </a:lnTo>
                <a:lnTo>
                  <a:pt x="319" y="210"/>
                </a:lnTo>
              </a:path>
            </a:pathLst>
          </a:custGeom>
          <a:solidFill>
            <a:schemeClr val="accent2"/>
          </a:solidFill>
          <a:ln w="76200">
            <a:solidFill>
              <a:schemeClr val="accent2"/>
            </a:solidFill>
            <a:round/>
            <a:headEnd/>
            <a:tailEnd/>
          </a:ln>
        </p:spPr>
        <p:txBody>
          <a:bodyPr/>
          <a:lstStyle/>
          <a:p>
            <a:endParaRPr lang="en-GB"/>
          </a:p>
        </p:txBody>
      </p:sp>
      <p:sp>
        <p:nvSpPr>
          <p:cNvPr id="835596" name="Rectangle 14"/>
          <p:cNvSpPr>
            <a:spLocks noChangeArrowheads="1"/>
          </p:cNvSpPr>
          <p:nvPr/>
        </p:nvSpPr>
        <p:spPr bwMode="auto">
          <a:xfrm rot="16200000">
            <a:off x="1543844" y="3107544"/>
            <a:ext cx="865187" cy="215900"/>
          </a:xfrm>
          <a:prstGeom prst="rect">
            <a:avLst/>
          </a:prstGeom>
          <a:noFill/>
          <a:ln w="9525">
            <a:noFill/>
            <a:miter lim="800000"/>
            <a:headEnd/>
            <a:tailEnd/>
          </a:ln>
        </p:spPr>
        <p:txBody>
          <a:bodyPr wrap="none" lIns="0" tIns="0" rIns="0" bIns="0">
            <a:spAutoFit/>
          </a:bodyPr>
          <a:lstStyle/>
          <a:p>
            <a:pPr algn="ctr"/>
            <a:r>
              <a:rPr lang="en-GB" altLang="ja-JP" sz="1400" b="1" dirty="0">
                <a:solidFill>
                  <a:schemeClr val="tx2"/>
                </a:solidFill>
                <a:ea typeface="ＭＳ Ｐゴシック" charset="-128"/>
              </a:rPr>
              <a:t>Units sold</a:t>
            </a:r>
          </a:p>
        </p:txBody>
      </p:sp>
      <p:sp>
        <p:nvSpPr>
          <p:cNvPr id="835597" name="Rectangle 15"/>
          <p:cNvSpPr>
            <a:spLocks noChangeArrowheads="1"/>
          </p:cNvSpPr>
          <p:nvPr/>
        </p:nvSpPr>
        <p:spPr bwMode="auto">
          <a:xfrm>
            <a:off x="4198938" y="5248287"/>
            <a:ext cx="1546225" cy="215900"/>
          </a:xfrm>
          <a:prstGeom prst="rect">
            <a:avLst/>
          </a:prstGeom>
          <a:noFill/>
          <a:ln w="9525">
            <a:noFill/>
            <a:miter lim="800000"/>
            <a:headEnd/>
            <a:tailEnd/>
          </a:ln>
        </p:spPr>
        <p:txBody>
          <a:bodyPr wrap="none" lIns="0" tIns="0" rIns="0" bIns="0">
            <a:spAutoFit/>
          </a:bodyPr>
          <a:lstStyle/>
          <a:p>
            <a:r>
              <a:rPr lang="en-GB" altLang="ja-JP" sz="1400" b="1" dirty="0">
                <a:solidFill>
                  <a:schemeClr val="tx2"/>
                </a:solidFill>
                <a:ea typeface="ＭＳ Ｐゴシック" charset="-128"/>
              </a:rPr>
              <a:t>Time since launch</a:t>
            </a:r>
          </a:p>
        </p:txBody>
      </p:sp>
      <p:sp>
        <p:nvSpPr>
          <p:cNvPr id="835598" name="Rectangle 16"/>
          <p:cNvSpPr>
            <a:spLocks noChangeArrowheads="1"/>
          </p:cNvSpPr>
          <p:nvPr/>
        </p:nvSpPr>
        <p:spPr bwMode="auto">
          <a:xfrm>
            <a:off x="2538501" y="4468825"/>
            <a:ext cx="730072" cy="184666"/>
          </a:xfrm>
          <a:prstGeom prst="rect">
            <a:avLst/>
          </a:prstGeom>
          <a:noFill/>
          <a:ln w="9525">
            <a:noFill/>
            <a:miter lim="800000"/>
            <a:headEnd/>
            <a:tailEnd/>
          </a:ln>
        </p:spPr>
        <p:txBody>
          <a:bodyPr wrap="none" lIns="0" tIns="0" rIns="0" bIns="0">
            <a:spAutoFit/>
          </a:bodyPr>
          <a:lstStyle/>
          <a:p>
            <a:r>
              <a:rPr lang="en-GB" altLang="ja-JP" sz="1200" dirty="0">
                <a:solidFill>
                  <a:schemeClr val="tx2"/>
                </a:solidFill>
                <a:ea typeface="ＭＳ Ｐゴシック" charset="-128"/>
              </a:rPr>
              <a:t>Product A</a:t>
            </a:r>
          </a:p>
        </p:txBody>
      </p:sp>
      <p:sp>
        <p:nvSpPr>
          <p:cNvPr id="835599" name="AutoShape 17"/>
          <p:cNvSpPr>
            <a:spLocks noChangeArrowheads="1"/>
          </p:cNvSpPr>
          <p:nvPr/>
        </p:nvSpPr>
        <p:spPr bwMode="auto">
          <a:xfrm>
            <a:off x="3038475" y="4822837"/>
            <a:ext cx="234950" cy="254000"/>
          </a:xfrm>
          <a:prstGeom prst="flowChartConnector">
            <a:avLst/>
          </a:prstGeom>
          <a:solidFill>
            <a:schemeClr val="accent3"/>
          </a:solidFill>
          <a:ln w="12700" algn="ctr">
            <a:solidFill>
              <a:schemeClr val="bg1"/>
            </a:solidFill>
            <a:round/>
            <a:headEnd/>
            <a:tailEnd/>
          </a:ln>
        </p:spPr>
        <p:txBody>
          <a:bodyPr wrap="none" tIns="91440" bIns="91440" anchor="ctr"/>
          <a:lstStyle/>
          <a:p>
            <a:pPr algn="ctr"/>
            <a:endParaRPr lang="en-GB"/>
          </a:p>
        </p:txBody>
      </p:sp>
      <p:sp>
        <p:nvSpPr>
          <p:cNvPr id="835600" name="AutoShape 18"/>
          <p:cNvSpPr>
            <a:spLocks noChangeArrowheads="1"/>
          </p:cNvSpPr>
          <p:nvPr/>
        </p:nvSpPr>
        <p:spPr bwMode="auto">
          <a:xfrm>
            <a:off x="4089400" y="3679837"/>
            <a:ext cx="234950" cy="254000"/>
          </a:xfrm>
          <a:prstGeom prst="flowChartConnector">
            <a:avLst/>
          </a:prstGeom>
          <a:solidFill>
            <a:schemeClr val="accent3"/>
          </a:solidFill>
          <a:ln w="12700" algn="ctr">
            <a:solidFill>
              <a:schemeClr val="bg1"/>
            </a:solidFill>
            <a:round/>
            <a:headEnd/>
            <a:tailEnd/>
          </a:ln>
        </p:spPr>
        <p:txBody>
          <a:bodyPr wrap="none" tIns="91440" bIns="91440" anchor="ctr"/>
          <a:lstStyle/>
          <a:p>
            <a:pPr algn="ctr"/>
            <a:endParaRPr lang="en-GB"/>
          </a:p>
        </p:txBody>
      </p:sp>
      <p:sp>
        <p:nvSpPr>
          <p:cNvPr id="835601" name="AutoShape 19"/>
          <p:cNvSpPr>
            <a:spLocks noChangeArrowheads="1"/>
          </p:cNvSpPr>
          <p:nvPr/>
        </p:nvSpPr>
        <p:spPr bwMode="auto">
          <a:xfrm>
            <a:off x="4676775" y="2665425"/>
            <a:ext cx="234950" cy="254000"/>
          </a:xfrm>
          <a:prstGeom prst="flowChartConnector">
            <a:avLst/>
          </a:prstGeom>
          <a:solidFill>
            <a:schemeClr val="accent3"/>
          </a:solidFill>
          <a:ln w="12700" algn="ctr">
            <a:solidFill>
              <a:schemeClr val="bg1"/>
            </a:solidFill>
            <a:round/>
            <a:headEnd/>
            <a:tailEnd/>
          </a:ln>
        </p:spPr>
        <p:txBody>
          <a:bodyPr wrap="none" tIns="91440" bIns="91440" anchor="ctr"/>
          <a:lstStyle/>
          <a:p>
            <a:pPr algn="ctr"/>
            <a:endParaRPr lang="en-GB"/>
          </a:p>
        </p:txBody>
      </p:sp>
      <p:sp>
        <p:nvSpPr>
          <p:cNvPr id="835602" name="AutoShape 20"/>
          <p:cNvSpPr>
            <a:spLocks noChangeArrowheads="1"/>
          </p:cNvSpPr>
          <p:nvPr/>
        </p:nvSpPr>
        <p:spPr bwMode="auto">
          <a:xfrm>
            <a:off x="6316663" y="2030425"/>
            <a:ext cx="234950" cy="254000"/>
          </a:xfrm>
          <a:prstGeom prst="flowChartConnector">
            <a:avLst/>
          </a:prstGeom>
          <a:solidFill>
            <a:schemeClr val="accent3"/>
          </a:solidFill>
          <a:ln w="12700" algn="ctr">
            <a:solidFill>
              <a:schemeClr val="bg1"/>
            </a:solidFill>
            <a:round/>
            <a:headEnd/>
            <a:tailEnd/>
          </a:ln>
        </p:spPr>
        <p:txBody>
          <a:bodyPr wrap="none" tIns="91440" bIns="91440" anchor="ctr"/>
          <a:lstStyle/>
          <a:p>
            <a:pPr algn="ctr"/>
            <a:endParaRPr lang="en-GB"/>
          </a:p>
        </p:txBody>
      </p:sp>
      <p:sp>
        <p:nvSpPr>
          <p:cNvPr id="835603" name="Line 21"/>
          <p:cNvSpPr>
            <a:spLocks noChangeShapeType="1"/>
          </p:cNvSpPr>
          <p:nvPr/>
        </p:nvSpPr>
        <p:spPr bwMode="auto">
          <a:xfrm>
            <a:off x="2217738" y="5107000"/>
            <a:ext cx="5037137" cy="0"/>
          </a:xfrm>
          <a:prstGeom prst="line">
            <a:avLst/>
          </a:prstGeom>
          <a:noFill/>
          <a:ln w="9525">
            <a:solidFill>
              <a:schemeClr val="accent1"/>
            </a:solidFill>
            <a:round/>
            <a:headEnd/>
            <a:tailEnd type="triangle" w="med" len="med"/>
          </a:ln>
        </p:spPr>
        <p:txBody>
          <a:bodyPr wrap="none" anchor="ctr"/>
          <a:lstStyle/>
          <a:p>
            <a:endParaRPr lang="en-US"/>
          </a:p>
        </p:txBody>
      </p:sp>
      <p:sp>
        <p:nvSpPr>
          <p:cNvPr id="835604" name="Line 22"/>
          <p:cNvSpPr>
            <a:spLocks noChangeShapeType="1"/>
          </p:cNvSpPr>
          <p:nvPr/>
        </p:nvSpPr>
        <p:spPr bwMode="auto">
          <a:xfrm flipV="1">
            <a:off x="2217738" y="1671650"/>
            <a:ext cx="0" cy="3427412"/>
          </a:xfrm>
          <a:prstGeom prst="line">
            <a:avLst/>
          </a:prstGeom>
          <a:noFill/>
          <a:ln w="9525">
            <a:solidFill>
              <a:schemeClr val="accent1"/>
            </a:solidFill>
            <a:round/>
            <a:headEnd/>
            <a:tailEnd type="triangle" w="med" len="med"/>
          </a:ln>
        </p:spPr>
        <p:txBody>
          <a:bodyPr wrap="none" anchor="ctr"/>
          <a:lstStyle/>
          <a:p>
            <a:endParaRPr lang="en-US"/>
          </a:p>
        </p:txBody>
      </p:sp>
      <p:sp>
        <p:nvSpPr>
          <p:cNvPr id="835605" name="Rectangle 23"/>
          <p:cNvSpPr>
            <a:spLocks noChangeArrowheads="1"/>
          </p:cNvSpPr>
          <p:nvPr/>
        </p:nvSpPr>
        <p:spPr bwMode="auto">
          <a:xfrm>
            <a:off x="3292885" y="3700475"/>
            <a:ext cx="735779" cy="184666"/>
          </a:xfrm>
          <a:prstGeom prst="rect">
            <a:avLst/>
          </a:prstGeom>
          <a:noFill/>
          <a:ln w="9525">
            <a:noFill/>
            <a:miter lim="800000"/>
            <a:headEnd/>
            <a:tailEnd/>
          </a:ln>
        </p:spPr>
        <p:txBody>
          <a:bodyPr wrap="none" lIns="0" tIns="0" rIns="0" bIns="0">
            <a:spAutoFit/>
          </a:bodyPr>
          <a:lstStyle/>
          <a:p>
            <a:r>
              <a:rPr lang="en-GB" altLang="ja-JP" sz="1200">
                <a:solidFill>
                  <a:schemeClr val="tx2"/>
                </a:solidFill>
                <a:ea typeface="ＭＳ Ｐゴシック" charset="-128"/>
              </a:rPr>
              <a:t>Product B</a:t>
            </a:r>
          </a:p>
        </p:txBody>
      </p:sp>
      <p:sp>
        <p:nvSpPr>
          <p:cNvPr id="835606" name="Rectangle 24"/>
          <p:cNvSpPr>
            <a:spLocks noChangeArrowheads="1"/>
          </p:cNvSpPr>
          <p:nvPr/>
        </p:nvSpPr>
        <p:spPr bwMode="auto">
          <a:xfrm>
            <a:off x="3896136" y="2547950"/>
            <a:ext cx="735778" cy="184666"/>
          </a:xfrm>
          <a:prstGeom prst="rect">
            <a:avLst/>
          </a:prstGeom>
          <a:noFill/>
          <a:ln w="9525">
            <a:noFill/>
            <a:miter lim="800000"/>
            <a:headEnd/>
            <a:tailEnd/>
          </a:ln>
        </p:spPr>
        <p:txBody>
          <a:bodyPr wrap="none" lIns="0" tIns="0" rIns="0" bIns="0">
            <a:spAutoFit/>
          </a:bodyPr>
          <a:lstStyle/>
          <a:p>
            <a:r>
              <a:rPr lang="en-GB" altLang="ja-JP" sz="1200">
                <a:solidFill>
                  <a:schemeClr val="tx2"/>
                </a:solidFill>
                <a:ea typeface="ＭＳ Ｐゴシック" charset="-128"/>
              </a:rPr>
              <a:t>Product C</a:t>
            </a:r>
          </a:p>
        </p:txBody>
      </p:sp>
      <p:sp>
        <p:nvSpPr>
          <p:cNvPr id="835607" name="Rectangle 25"/>
          <p:cNvSpPr>
            <a:spLocks noChangeArrowheads="1"/>
          </p:cNvSpPr>
          <p:nvPr/>
        </p:nvSpPr>
        <p:spPr bwMode="auto">
          <a:xfrm>
            <a:off x="6421848" y="1716100"/>
            <a:ext cx="735778" cy="184666"/>
          </a:xfrm>
          <a:prstGeom prst="rect">
            <a:avLst/>
          </a:prstGeom>
          <a:noFill/>
          <a:ln w="9525">
            <a:noFill/>
            <a:miter lim="800000"/>
            <a:headEnd/>
            <a:tailEnd/>
          </a:ln>
        </p:spPr>
        <p:txBody>
          <a:bodyPr wrap="none" lIns="0" tIns="0" rIns="0" bIns="0">
            <a:spAutoFit/>
          </a:bodyPr>
          <a:lstStyle/>
          <a:p>
            <a:r>
              <a:rPr lang="en-GB" altLang="ja-JP" sz="1200">
                <a:solidFill>
                  <a:schemeClr val="tx2"/>
                </a:solidFill>
                <a:ea typeface="ＭＳ Ｐゴシック" charset="-128"/>
              </a:rPr>
              <a:t>Product D</a:t>
            </a:r>
          </a:p>
        </p:txBody>
      </p:sp>
      <p:sp>
        <p:nvSpPr>
          <p:cNvPr id="26"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7"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32" name="Title 1"/>
          <p:cNvSpPr>
            <a:spLocks noGrp="1"/>
          </p:cNvSpPr>
          <p:nvPr>
            <p:ph type="title"/>
          </p:nvPr>
        </p:nvSpPr>
        <p:spPr>
          <a:xfrm>
            <a:off x="414338" y="446038"/>
            <a:ext cx="8330184" cy="333425"/>
          </a:xfrm>
        </p:spPr>
        <p:txBody>
          <a:bodyPr/>
          <a:lstStyle/>
          <a:p>
            <a:r>
              <a:rPr lang="en-GB" altLang="ja-JP"/>
              <a:t>Curves </a:t>
            </a:r>
            <a:r>
              <a:rPr lang="en-US"/>
              <a:t>—</a:t>
            </a:r>
            <a:r>
              <a:rPr lang="en-GB" altLang="ja-JP" smtClean="0"/>
              <a:t> </a:t>
            </a:r>
            <a:r>
              <a:rPr lang="en-GB" altLang="ja-JP"/>
              <a:t>country maturity</a:t>
            </a:r>
            <a:endParaRPr lang="nl-NL"/>
          </a:p>
        </p:txBody>
      </p:sp>
      <p:sp>
        <p:nvSpPr>
          <p:cNvPr id="282634" name="Arc 3"/>
          <p:cNvSpPr>
            <a:spLocks/>
          </p:cNvSpPr>
          <p:nvPr/>
        </p:nvSpPr>
        <p:spPr bwMode="auto">
          <a:xfrm>
            <a:off x="2143125" y="2212271"/>
            <a:ext cx="2336800" cy="2387600"/>
          </a:xfrm>
          <a:custGeom>
            <a:avLst/>
            <a:gdLst>
              <a:gd name="T0" fmla="*/ 2147483647 w 20582"/>
              <a:gd name="T1" fmla="*/ 2147483647 h 21600"/>
              <a:gd name="T2" fmla="*/ 0 w 20582"/>
              <a:gd name="T3" fmla="*/ 2147483647 h 21600"/>
              <a:gd name="T4" fmla="*/ 2147483647 w 20582"/>
              <a:gd name="T5" fmla="*/ 0 h 21600"/>
              <a:gd name="T6" fmla="*/ 0 60000 65536"/>
              <a:gd name="T7" fmla="*/ 0 60000 65536"/>
              <a:gd name="T8" fmla="*/ 0 60000 65536"/>
              <a:gd name="T9" fmla="*/ 0 w 20582"/>
              <a:gd name="T10" fmla="*/ 0 h 21600"/>
              <a:gd name="T11" fmla="*/ 20582 w 20582"/>
              <a:gd name="T12" fmla="*/ 21600 h 21600"/>
            </a:gdLst>
            <a:ahLst/>
            <a:cxnLst>
              <a:cxn ang="T6">
                <a:pos x="T0" y="T1"/>
              </a:cxn>
              <a:cxn ang="T7">
                <a:pos x="T2" y="T3"/>
              </a:cxn>
              <a:cxn ang="T8">
                <a:pos x="T4" y="T5"/>
              </a:cxn>
            </a:cxnLst>
            <a:rect l="T9" t="T10" r="T11" b="T12"/>
            <a:pathLst>
              <a:path w="20582" h="21600" fill="none" extrusionOk="0">
                <a:moveTo>
                  <a:pt x="20582" y="6714"/>
                </a:moveTo>
                <a:cubicBezTo>
                  <a:pt x="17678" y="15593"/>
                  <a:pt x="9394" y="21599"/>
                  <a:pt x="52" y="21600"/>
                </a:cubicBezTo>
                <a:cubicBezTo>
                  <a:pt x="34" y="21600"/>
                  <a:pt x="17" y="21599"/>
                  <a:pt x="0" y="21599"/>
                </a:cubicBezTo>
              </a:path>
              <a:path w="20582" h="21600" stroke="0" extrusionOk="0">
                <a:moveTo>
                  <a:pt x="20582" y="6714"/>
                </a:moveTo>
                <a:cubicBezTo>
                  <a:pt x="17678" y="15593"/>
                  <a:pt x="9394" y="21599"/>
                  <a:pt x="52" y="21600"/>
                </a:cubicBezTo>
                <a:cubicBezTo>
                  <a:pt x="34" y="21600"/>
                  <a:pt x="17" y="21599"/>
                  <a:pt x="0" y="21599"/>
                </a:cubicBezTo>
                <a:lnTo>
                  <a:pt x="52" y="0"/>
                </a:lnTo>
                <a:close/>
              </a:path>
            </a:pathLst>
          </a:custGeom>
          <a:noFill/>
          <a:ln w="57150" cap="rnd">
            <a:solidFill>
              <a:schemeClr val="accent1"/>
            </a:solidFill>
            <a:round/>
            <a:headEnd type="none" w="sm" len="sm"/>
            <a:tailEnd type="none" w="sm" len="sm"/>
          </a:ln>
        </p:spPr>
        <p:txBody>
          <a:bodyPr wrap="none" anchor="ctr"/>
          <a:lstStyle/>
          <a:p>
            <a:pPr algn="ctr"/>
            <a:endParaRPr lang="en-GB">
              <a:solidFill>
                <a:schemeClr val="tx2"/>
              </a:solidFill>
            </a:endParaRPr>
          </a:p>
        </p:txBody>
      </p:sp>
      <p:sp>
        <p:nvSpPr>
          <p:cNvPr id="282635" name="Arc 4"/>
          <p:cNvSpPr>
            <a:spLocks/>
          </p:cNvSpPr>
          <p:nvPr/>
        </p:nvSpPr>
        <p:spPr bwMode="auto">
          <a:xfrm>
            <a:off x="4443413" y="1636008"/>
            <a:ext cx="2312987" cy="1905000"/>
          </a:xfrm>
          <a:custGeom>
            <a:avLst/>
            <a:gdLst>
              <a:gd name="T0" fmla="*/ 0 w 20940"/>
              <a:gd name="T1" fmla="*/ 2147483647 h 21600"/>
              <a:gd name="T2" fmla="*/ 2147483647 w 20940"/>
              <a:gd name="T3" fmla="*/ 0 h 21600"/>
              <a:gd name="T4" fmla="*/ 2147483647 w 20940"/>
              <a:gd name="T5" fmla="*/ 2147483647 h 21600"/>
              <a:gd name="T6" fmla="*/ 0 60000 65536"/>
              <a:gd name="T7" fmla="*/ 0 60000 65536"/>
              <a:gd name="T8" fmla="*/ 0 60000 65536"/>
              <a:gd name="T9" fmla="*/ 0 w 20940"/>
              <a:gd name="T10" fmla="*/ 0 h 21600"/>
              <a:gd name="T11" fmla="*/ 20940 w 20940"/>
              <a:gd name="T12" fmla="*/ 21600 h 21600"/>
            </a:gdLst>
            <a:ahLst/>
            <a:cxnLst>
              <a:cxn ang="T6">
                <a:pos x="T0" y="T1"/>
              </a:cxn>
              <a:cxn ang="T7">
                <a:pos x="T2" y="T3"/>
              </a:cxn>
              <a:cxn ang="T8">
                <a:pos x="T4" y="T5"/>
              </a:cxn>
            </a:cxnLst>
            <a:rect l="T9" t="T10" r="T11" b="T12"/>
            <a:pathLst>
              <a:path w="20940" h="21600" fill="none" extrusionOk="0">
                <a:moveTo>
                  <a:pt x="0" y="16300"/>
                </a:moveTo>
                <a:cubicBezTo>
                  <a:pt x="2425" y="6718"/>
                  <a:pt x="11045" y="5"/>
                  <a:pt x="20929" y="0"/>
                </a:cubicBezTo>
              </a:path>
              <a:path w="20940" h="21600" stroke="0" extrusionOk="0">
                <a:moveTo>
                  <a:pt x="0" y="16300"/>
                </a:moveTo>
                <a:cubicBezTo>
                  <a:pt x="2425" y="6718"/>
                  <a:pt x="11045" y="5"/>
                  <a:pt x="20929" y="0"/>
                </a:cubicBezTo>
                <a:lnTo>
                  <a:pt x="20940" y="21600"/>
                </a:lnTo>
                <a:close/>
              </a:path>
            </a:pathLst>
          </a:custGeom>
          <a:noFill/>
          <a:ln w="57150" cap="rnd">
            <a:solidFill>
              <a:schemeClr val="accent1"/>
            </a:solidFill>
            <a:round/>
            <a:headEnd type="none" w="sm" len="sm"/>
            <a:tailEnd type="none" w="sm" len="sm"/>
          </a:ln>
        </p:spPr>
        <p:txBody>
          <a:bodyPr wrap="none" anchor="ctr"/>
          <a:lstStyle/>
          <a:p>
            <a:pPr algn="ctr"/>
            <a:endParaRPr lang="en-GB">
              <a:solidFill>
                <a:schemeClr val="tx2"/>
              </a:solidFill>
            </a:endParaRPr>
          </a:p>
        </p:txBody>
      </p:sp>
      <p:sp>
        <p:nvSpPr>
          <p:cNvPr id="282636" name="Rectangle 5"/>
          <p:cNvSpPr>
            <a:spLocks noChangeArrowheads="1"/>
          </p:cNvSpPr>
          <p:nvPr/>
        </p:nvSpPr>
        <p:spPr bwMode="auto">
          <a:xfrm>
            <a:off x="1820867" y="4915783"/>
            <a:ext cx="655628" cy="166199"/>
          </a:xfrm>
          <a:prstGeom prst="rect">
            <a:avLst/>
          </a:prstGeom>
          <a:noFill/>
          <a:ln w="9525">
            <a:noFill/>
            <a:miter lim="800000"/>
            <a:headEnd/>
            <a:tailEnd/>
          </a:ln>
        </p:spPr>
        <p:txBody>
          <a:bodyPr wrap="none" lIns="0" tIns="0" rIns="0" bIns="0">
            <a:spAutoFit/>
          </a:bodyPr>
          <a:lstStyle/>
          <a:p>
            <a:pPr algn="ctr">
              <a:lnSpc>
                <a:spcPct val="90000"/>
              </a:lnSpc>
            </a:pPr>
            <a:r>
              <a:rPr lang="en-GB" altLang="ja-JP" sz="1200" b="0" dirty="0">
                <a:solidFill>
                  <a:schemeClr val="tx2"/>
                </a:solidFill>
                <a:ea typeface="ＭＳ Ｐゴシック" charset="-128"/>
              </a:rPr>
              <a:t>Emerging</a:t>
            </a:r>
          </a:p>
        </p:txBody>
      </p:sp>
      <p:sp>
        <p:nvSpPr>
          <p:cNvPr id="282637" name="Rectangle 6"/>
          <p:cNvSpPr>
            <a:spLocks noChangeArrowheads="1"/>
          </p:cNvSpPr>
          <p:nvPr/>
        </p:nvSpPr>
        <p:spPr bwMode="auto">
          <a:xfrm>
            <a:off x="6816796" y="4915783"/>
            <a:ext cx="477695" cy="166199"/>
          </a:xfrm>
          <a:prstGeom prst="rect">
            <a:avLst/>
          </a:prstGeom>
          <a:noFill/>
          <a:ln w="9525">
            <a:noFill/>
            <a:miter lim="800000"/>
            <a:headEnd/>
            <a:tailEnd/>
          </a:ln>
        </p:spPr>
        <p:txBody>
          <a:bodyPr wrap="none" lIns="0" tIns="0" rIns="0" bIns="0">
            <a:spAutoFit/>
          </a:bodyPr>
          <a:lstStyle/>
          <a:p>
            <a:pPr algn="ctr">
              <a:lnSpc>
                <a:spcPct val="90000"/>
              </a:lnSpc>
            </a:pPr>
            <a:r>
              <a:rPr lang="en-GB" altLang="ja-JP" sz="1200" b="0">
                <a:solidFill>
                  <a:schemeClr val="tx2"/>
                </a:solidFill>
                <a:ea typeface="ＭＳ Ｐゴシック" charset="-128"/>
              </a:rPr>
              <a:t>Mature</a:t>
            </a:r>
          </a:p>
        </p:txBody>
      </p:sp>
      <p:sp>
        <p:nvSpPr>
          <p:cNvPr id="282638" name="Rectangle 7"/>
          <p:cNvSpPr>
            <a:spLocks noChangeArrowheads="1"/>
          </p:cNvSpPr>
          <p:nvPr/>
        </p:nvSpPr>
        <p:spPr bwMode="auto">
          <a:xfrm>
            <a:off x="3723388" y="5222282"/>
            <a:ext cx="1660712" cy="193899"/>
          </a:xfrm>
          <a:prstGeom prst="rect">
            <a:avLst/>
          </a:prstGeom>
          <a:noFill/>
          <a:ln w="9525">
            <a:noFill/>
            <a:miter lim="800000"/>
            <a:headEnd/>
            <a:tailEnd/>
          </a:ln>
        </p:spPr>
        <p:txBody>
          <a:bodyPr wrap="none" lIns="0" tIns="0" rIns="0" bIns="0">
            <a:spAutoFit/>
          </a:bodyPr>
          <a:lstStyle/>
          <a:p>
            <a:pPr algn="ctr">
              <a:lnSpc>
                <a:spcPct val="90000"/>
              </a:lnSpc>
            </a:pPr>
            <a:r>
              <a:rPr lang="en-GB" altLang="ja-JP" sz="1400" b="1" dirty="0" smtClean="0">
                <a:solidFill>
                  <a:schemeClr val="tx2"/>
                </a:solidFill>
                <a:ea typeface="ＭＳ Ｐゴシック" charset="-128"/>
              </a:rPr>
              <a:t>Development stage</a:t>
            </a:r>
            <a:endParaRPr lang="en-GB" altLang="ja-JP" sz="1400" b="1" dirty="0">
              <a:solidFill>
                <a:schemeClr val="tx2"/>
              </a:solidFill>
              <a:ea typeface="ＭＳ Ｐゴシック" charset="-128"/>
            </a:endParaRPr>
          </a:p>
        </p:txBody>
      </p:sp>
      <p:sp>
        <p:nvSpPr>
          <p:cNvPr id="282640" name="Rectangle 9"/>
          <p:cNvSpPr>
            <a:spLocks noChangeArrowheads="1"/>
          </p:cNvSpPr>
          <p:nvPr/>
        </p:nvSpPr>
        <p:spPr bwMode="auto">
          <a:xfrm>
            <a:off x="4242845" y="3463621"/>
            <a:ext cx="1074012" cy="259175"/>
          </a:xfrm>
          <a:prstGeom prst="rect">
            <a:avLst/>
          </a:prstGeom>
          <a:noFill/>
          <a:ln w="9525">
            <a:noFill/>
            <a:miter lim="800000"/>
            <a:headEnd/>
            <a:tailEnd/>
          </a:ln>
        </p:spPr>
        <p:txBody>
          <a:bodyPr wrap="none" lIns="92075" tIns="46038" rIns="92075" bIns="46038">
            <a:spAutoFit/>
          </a:bodyPr>
          <a:lstStyle/>
          <a:p>
            <a:pPr>
              <a:lnSpc>
                <a:spcPct val="90000"/>
              </a:lnSpc>
            </a:pPr>
            <a:r>
              <a:rPr lang="en-GB" altLang="ja-JP" sz="1200" dirty="0">
                <a:solidFill>
                  <a:schemeClr val="tx2"/>
                </a:solidFill>
                <a:ea typeface="ＭＳ Ｐゴシック" charset="-128"/>
              </a:rPr>
              <a:t>Netherlands</a:t>
            </a:r>
          </a:p>
        </p:txBody>
      </p:sp>
      <p:sp>
        <p:nvSpPr>
          <p:cNvPr id="282641" name="Rectangle 10"/>
          <p:cNvSpPr>
            <a:spLocks noChangeArrowheads="1"/>
          </p:cNvSpPr>
          <p:nvPr/>
        </p:nvSpPr>
        <p:spPr bwMode="auto">
          <a:xfrm>
            <a:off x="4537953" y="2939207"/>
            <a:ext cx="1168590" cy="259175"/>
          </a:xfrm>
          <a:prstGeom prst="rect">
            <a:avLst/>
          </a:prstGeom>
          <a:noFill/>
          <a:ln w="9525">
            <a:noFill/>
            <a:miter lim="800000"/>
            <a:headEnd/>
            <a:tailEnd/>
          </a:ln>
        </p:spPr>
        <p:txBody>
          <a:bodyPr wrap="none" lIns="92075" tIns="46038" rIns="92075" bIns="46038">
            <a:spAutoFit/>
          </a:bodyPr>
          <a:lstStyle/>
          <a:p>
            <a:pPr algn="l">
              <a:lnSpc>
                <a:spcPct val="90000"/>
              </a:lnSpc>
            </a:pPr>
            <a:r>
              <a:rPr lang="en-GB" altLang="ja-JP" sz="1200" dirty="0" smtClean="0">
                <a:solidFill>
                  <a:schemeClr val="tx2"/>
                </a:solidFill>
                <a:ea typeface="ＭＳ Ｐゴシック" charset="-128"/>
              </a:rPr>
              <a:t>United States</a:t>
            </a:r>
            <a:endParaRPr lang="en-GB" altLang="ja-JP" sz="1200" dirty="0">
              <a:solidFill>
                <a:schemeClr val="tx2"/>
              </a:solidFill>
              <a:ea typeface="ＭＳ Ｐゴシック" charset="-128"/>
            </a:endParaRPr>
          </a:p>
        </p:txBody>
      </p:sp>
      <p:sp>
        <p:nvSpPr>
          <p:cNvPr id="282642" name="Rectangle 11"/>
          <p:cNvSpPr>
            <a:spLocks noChangeArrowheads="1"/>
          </p:cNvSpPr>
          <p:nvPr/>
        </p:nvSpPr>
        <p:spPr bwMode="auto">
          <a:xfrm>
            <a:off x="4805714" y="2548095"/>
            <a:ext cx="493725" cy="259175"/>
          </a:xfrm>
          <a:prstGeom prst="rect">
            <a:avLst/>
          </a:prstGeom>
          <a:noFill/>
          <a:ln w="9525">
            <a:noFill/>
            <a:miter lim="800000"/>
            <a:headEnd/>
            <a:tailEnd/>
          </a:ln>
        </p:spPr>
        <p:txBody>
          <a:bodyPr wrap="none" lIns="92075" tIns="46038" rIns="92075" bIns="46038">
            <a:spAutoFit/>
          </a:bodyPr>
          <a:lstStyle/>
          <a:p>
            <a:pPr>
              <a:lnSpc>
                <a:spcPct val="90000"/>
              </a:lnSpc>
            </a:pPr>
            <a:r>
              <a:rPr lang="en-GB" altLang="ja-JP" sz="1200" dirty="0">
                <a:solidFill>
                  <a:schemeClr val="tx2"/>
                </a:solidFill>
                <a:ea typeface="ＭＳ Ｐゴシック" charset="-128"/>
              </a:rPr>
              <a:t>U.K.</a:t>
            </a:r>
          </a:p>
        </p:txBody>
      </p:sp>
      <p:sp>
        <p:nvSpPr>
          <p:cNvPr id="282643" name="Rectangle 12"/>
          <p:cNvSpPr>
            <a:spLocks noChangeArrowheads="1"/>
          </p:cNvSpPr>
          <p:nvPr/>
        </p:nvSpPr>
        <p:spPr bwMode="auto">
          <a:xfrm>
            <a:off x="3966962" y="3793038"/>
            <a:ext cx="689291" cy="259175"/>
          </a:xfrm>
          <a:prstGeom prst="rect">
            <a:avLst/>
          </a:prstGeom>
          <a:noFill/>
          <a:ln w="9525">
            <a:noFill/>
            <a:miter lim="800000"/>
            <a:headEnd/>
            <a:tailEnd/>
          </a:ln>
        </p:spPr>
        <p:txBody>
          <a:bodyPr wrap="none" lIns="92075" tIns="46038" rIns="92075" bIns="46038">
            <a:spAutoFit/>
          </a:bodyPr>
          <a:lstStyle/>
          <a:p>
            <a:pPr algn="l">
              <a:lnSpc>
                <a:spcPct val="90000"/>
              </a:lnSpc>
            </a:pPr>
            <a:r>
              <a:rPr lang="en-GB" altLang="ja-JP" sz="1200" dirty="0">
                <a:solidFill>
                  <a:schemeClr val="tx2"/>
                </a:solidFill>
                <a:ea typeface="ＭＳ Ｐゴシック" charset="-128"/>
              </a:rPr>
              <a:t>France</a:t>
            </a:r>
          </a:p>
        </p:txBody>
      </p:sp>
      <p:sp>
        <p:nvSpPr>
          <p:cNvPr id="282644" name="Rectangle 19"/>
          <p:cNvSpPr>
            <a:spLocks noChangeArrowheads="1"/>
          </p:cNvSpPr>
          <p:nvPr/>
        </p:nvSpPr>
        <p:spPr bwMode="auto">
          <a:xfrm>
            <a:off x="3009788" y="4435447"/>
            <a:ext cx="493725" cy="259175"/>
          </a:xfrm>
          <a:prstGeom prst="rect">
            <a:avLst/>
          </a:prstGeom>
          <a:noFill/>
          <a:ln w="9525">
            <a:noFill/>
            <a:miter lim="800000"/>
            <a:headEnd/>
            <a:tailEnd/>
          </a:ln>
        </p:spPr>
        <p:txBody>
          <a:bodyPr wrap="none" lIns="92075" tIns="46038" rIns="92075" bIns="46038">
            <a:spAutoFit/>
          </a:bodyPr>
          <a:lstStyle/>
          <a:p>
            <a:pPr>
              <a:lnSpc>
                <a:spcPct val="90000"/>
              </a:lnSpc>
            </a:pPr>
            <a:r>
              <a:rPr lang="en-GB" altLang="ja-JP" sz="1200" dirty="0">
                <a:solidFill>
                  <a:schemeClr val="tx2"/>
                </a:solidFill>
                <a:ea typeface="ＭＳ Ｐゴシック" charset="-128"/>
              </a:rPr>
              <a:t>Italy</a:t>
            </a:r>
          </a:p>
        </p:txBody>
      </p:sp>
      <p:sp>
        <p:nvSpPr>
          <p:cNvPr id="282645" name="Rectangle 20"/>
          <p:cNvSpPr>
            <a:spLocks noChangeArrowheads="1"/>
          </p:cNvSpPr>
          <p:nvPr/>
        </p:nvSpPr>
        <p:spPr bwMode="auto">
          <a:xfrm>
            <a:off x="3550349" y="4160809"/>
            <a:ext cx="851195" cy="259175"/>
          </a:xfrm>
          <a:prstGeom prst="rect">
            <a:avLst/>
          </a:prstGeom>
          <a:noFill/>
          <a:ln w="9525">
            <a:noFill/>
            <a:miter lim="800000"/>
            <a:headEnd/>
            <a:tailEnd/>
          </a:ln>
        </p:spPr>
        <p:txBody>
          <a:bodyPr wrap="none" lIns="92075" tIns="46038" rIns="92075" bIns="46038">
            <a:spAutoFit/>
          </a:bodyPr>
          <a:lstStyle/>
          <a:p>
            <a:pPr>
              <a:lnSpc>
                <a:spcPct val="90000"/>
              </a:lnSpc>
              <a:spcBef>
                <a:spcPct val="30000"/>
              </a:spcBef>
            </a:pPr>
            <a:r>
              <a:rPr lang="en-GB" altLang="ja-JP" sz="1200" dirty="0">
                <a:solidFill>
                  <a:schemeClr val="tx2"/>
                </a:solidFill>
                <a:ea typeface="ＭＳ Ｐゴシック" charset="-128"/>
              </a:rPr>
              <a:t>Germany</a:t>
            </a:r>
          </a:p>
        </p:txBody>
      </p:sp>
      <p:sp>
        <p:nvSpPr>
          <p:cNvPr id="282646" name="Freeform 21"/>
          <p:cNvSpPr>
            <a:spLocks/>
          </p:cNvSpPr>
          <p:nvPr/>
        </p:nvSpPr>
        <p:spPr bwMode="auto">
          <a:xfrm>
            <a:off x="3106738" y="4249033"/>
            <a:ext cx="57150" cy="128588"/>
          </a:xfrm>
          <a:custGeom>
            <a:avLst/>
            <a:gdLst>
              <a:gd name="T0" fmla="*/ 2147483647 w 98"/>
              <a:gd name="T1" fmla="*/ 0 h 194"/>
              <a:gd name="T2" fmla="*/ 2147483647 w 98"/>
              <a:gd name="T3" fmla="*/ 2147483647 h 194"/>
              <a:gd name="T4" fmla="*/ 2147483647 w 98"/>
              <a:gd name="T5" fmla="*/ 2147483647 h 194"/>
              <a:gd name="T6" fmla="*/ 0 w 98"/>
              <a:gd name="T7" fmla="*/ 2147483647 h 194"/>
              <a:gd name="T8" fmla="*/ 0 w 98"/>
              <a:gd name="T9" fmla="*/ 0 h 194"/>
              <a:gd name="T10" fmla="*/ 2147483647 w 98"/>
              <a:gd name="T11" fmla="*/ 0 h 194"/>
              <a:gd name="T12" fmla="*/ 0 60000 65536"/>
              <a:gd name="T13" fmla="*/ 0 60000 65536"/>
              <a:gd name="T14" fmla="*/ 0 60000 65536"/>
              <a:gd name="T15" fmla="*/ 0 60000 65536"/>
              <a:gd name="T16" fmla="*/ 0 60000 65536"/>
              <a:gd name="T17" fmla="*/ 0 60000 65536"/>
              <a:gd name="T18" fmla="*/ 0 w 98"/>
              <a:gd name="T19" fmla="*/ 0 h 194"/>
              <a:gd name="T20" fmla="*/ 98 w 98"/>
              <a:gd name="T21" fmla="*/ 194 h 194"/>
            </a:gdLst>
            <a:ahLst/>
            <a:cxnLst>
              <a:cxn ang="T12">
                <a:pos x="T0" y="T1"/>
              </a:cxn>
              <a:cxn ang="T13">
                <a:pos x="T2" y="T3"/>
              </a:cxn>
              <a:cxn ang="T14">
                <a:pos x="T4" y="T5"/>
              </a:cxn>
              <a:cxn ang="T15">
                <a:pos x="T6" y="T7"/>
              </a:cxn>
              <a:cxn ang="T16">
                <a:pos x="T8" y="T9"/>
              </a:cxn>
              <a:cxn ang="T17">
                <a:pos x="T10" y="T11"/>
              </a:cxn>
            </a:cxnLst>
            <a:rect l="T18" t="T19" r="T20" b="T21"/>
            <a:pathLst>
              <a:path w="98" h="194">
                <a:moveTo>
                  <a:pt x="98" y="0"/>
                </a:moveTo>
                <a:lnTo>
                  <a:pt x="98" y="194"/>
                </a:lnTo>
                <a:lnTo>
                  <a:pt x="25" y="194"/>
                </a:lnTo>
                <a:lnTo>
                  <a:pt x="0" y="194"/>
                </a:lnTo>
                <a:lnTo>
                  <a:pt x="0" y="0"/>
                </a:lnTo>
                <a:lnTo>
                  <a:pt x="98" y="0"/>
                </a:lnTo>
                <a:close/>
              </a:path>
            </a:pathLst>
          </a:custGeom>
          <a:noFill/>
          <a:ln w="9525">
            <a:noFill/>
            <a:round/>
            <a:headEnd/>
            <a:tailEnd/>
          </a:ln>
        </p:spPr>
        <p:txBody>
          <a:bodyPr/>
          <a:lstStyle/>
          <a:p>
            <a:endParaRPr lang="en-GB">
              <a:solidFill>
                <a:schemeClr val="tx2"/>
              </a:solidFill>
            </a:endParaRPr>
          </a:p>
        </p:txBody>
      </p:sp>
      <p:grpSp>
        <p:nvGrpSpPr>
          <p:cNvPr id="2" name="Group 22"/>
          <p:cNvGrpSpPr>
            <a:grpSpLocks/>
          </p:cNvGrpSpPr>
          <p:nvPr/>
        </p:nvGrpSpPr>
        <p:grpSpPr bwMode="auto">
          <a:xfrm>
            <a:off x="1795463" y="1410583"/>
            <a:ext cx="5516562" cy="3454400"/>
            <a:chOff x="667" y="1253"/>
            <a:chExt cx="3587" cy="2222"/>
          </a:xfrm>
        </p:grpSpPr>
        <p:sp>
          <p:nvSpPr>
            <p:cNvPr id="282649" name="Line 23"/>
            <p:cNvSpPr>
              <a:spLocks noChangeShapeType="1"/>
            </p:cNvSpPr>
            <p:nvPr/>
          </p:nvSpPr>
          <p:spPr bwMode="auto">
            <a:xfrm>
              <a:off x="667" y="1253"/>
              <a:ext cx="0" cy="2222"/>
            </a:xfrm>
            <a:prstGeom prst="line">
              <a:avLst/>
            </a:prstGeom>
            <a:noFill/>
            <a:ln w="9525">
              <a:solidFill>
                <a:schemeClr val="accent1"/>
              </a:solidFill>
              <a:round/>
              <a:headEnd/>
              <a:tailEnd/>
            </a:ln>
          </p:spPr>
          <p:txBody>
            <a:bodyPr/>
            <a:lstStyle/>
            <a:p>
              <a:endParaRPr lang="en-US"/>
            </a:p>
          </p:txBody>
        </p:sp>
        <p:sp>
          <p:nvSpPr>
            <p:cNvPr id="282650" name="Line 24"/>
            <p:cNvSpPr>
              <a:spLocks noChangeShapeType="1"/>
            </p:cNvSpPr>
            <p:nvPr/>
          </p:nvSpPr>
          <p:spPr bwMode="auto">
            <a:xfrm>
              <a:off x="667" y="3475"/>
              <a:ext cx="3587" cy="0"/>
            </a:xfrm>
            <a:prstGeom prst="line">
              <a:avLst/>
            </a:prstGeom>
            <a:noFill/>
            <a:ln w="9525">
              <a:solidFill>
                <a:schemeClr val="accent1"/>
              </a:solidFill>
              <a:round/>
              <a:headEnd/>
              <a:tailEnd/>
            </a:ln>
          </p:spPr>
          <p:txBody>
            <a:bodyPr/>
            <a:lstStyle/>
            <a:p>
              <a:endParaRPr lang="en-US"/>
            </a:p>
          </p:txBody>
        </p:sp>
      </p:grpSp>
      <p:sp>
        <p:nvSpPr>
          <p:cNvPr id="27"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8"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pic>
        <p:nvPicPr>
          <p:cNvPr id="34" name="Picture 8" descr="fr"/>
          <p:cNvPicPr>
            <a:picLocks noChangeAspect="1" noChangeArrowheads="1"/>
          </p:cNvPicPr>
          <p:nvPr/>
        </p:nvPicPr>
        <p:blipFill>
          <a:blip r:embed="rId3" cstate="print"/>
          <a:srcRect/>
          <a:stretch>
            <a:fillRect/>
          </a:stretch>
        </p:blipFill>
        <p:spPr bwMode="auto">
          <a:xfrm>
            <a:off x="3704789" y="3810363"/>
            <a:ext cx="276780" cy="138390"/>
          </a:xfrm>
          <a:prstGeom prst="rect">
            <a:avLst/>
          </a:prstGeom>
          <a:noFill/>
          <a:ln w="12700" cap="sq">
            <a:solidFill>
              <a:schemeClr val="tx1"/>
            </a:solidFill>
            <a:miter lim="800000"/>
            <a:headEnd/>
            <a:tailEnd/>
          </a:ln>
        </p:spPr>
      </p:pic>
      <p:pic>
        <p:nvPicPr>
          <p:cNvPr id="35" name="Picture 9" descr="de"/>
          <p:cNvPicPr>
            <a:picLocks noChangeAspect="1" noChangeArrowheads="1"/>
          </p:cNvPicPr>
          <p:nvPr/>
        </p:nvPicPr>
        <p:blipFill>
          <a:blip r:embed="rId4" cstate="print"/>
          <a:srcRect/>
          <a:stretch>
            <a:fillRect/>
          </a:stretch>
        </p:blipFill>
        <p:spPr bwMode="auto">
          <a:xfrm>
            <a:off x="3296405" y="4153219"/>
            <a:ext cx="276780" cy="138390"/>
          </a:xfrm>
          <a:prstGeom prst="rect">
            <a:avLst/>
          </a:prstGeom>
          <a:noFill/>
          <a:ln w="12700" cap="sq">
            <a:solidFill>
              <a:schemeClr val="tx1"/>
            </a:solidFill>
            <a:miter lim="800000"/>
            <a:headEnd/>
            <a:tailEnd/>
          </a:ln>
        </p:spPr>
      </p:pic>
      <p:pic>
        <p:nvPicPr>
          <p:cNvPr id="36" name="Picture 10" descr="it"/>
          <p:cNvPicPr>
            <a:picLocks noChangeAspect="1" noChangeArrowheads="1"/>
          </p:cNvPicPr>
          <p:nvPr/>
        </p:nvPicPr>
        <p:blipFill>
          <a:blip r:embed="rId5" cstate="print"/>
          <a:srcRect/>
          <a:stretch>
            <a:fillRect/>
          </a:stretch>
        </p:blipFill>
        <p:spPr bwMode="auto">
          <a:xfrm>
            <a:off x="2751380" y="4428600"/>
            <a:ext cx="276780" cy="138390"/>
          </a:xfrm>
          <a:prstGeom prst="rect">
            <a:avLst/>
          </a:prstGeom>
          <a:noFill/>
          <a:ln w="12700" cap="sq">
            <a:solidFill>
              <a:schemeClr val="tx1"/>
            </a:solidFill>
            <a:miter lim="800000"/>
            <a:headEnd/>
            <a:tailEnd/>
          </a:ln>
        </p:spPr>
      </p:pic>
      <p:pic>
        <p:nvPicPr>
          <p:cNvPr id="41" name="Picture 15" descr="nl"/>
          <p:cNvPicPr>
            <a:picLocks noChangeAspect="1" noChangeArrowheads="1"/>
          </p:cNvPicPr>
          <p:nvPr/>
        </p:nvPicPr>
        <p:blipFill>
          <a:blip r:embed="rId6" cstate="print"/>
          <a:srcRect/>
          <a:stretch>
            <a:fillRect/>
          </a:stretch>
        </p:blipFill>
        <p:spPr bwMode="auto">
          <a:xfrm>
            <a:off x="3981569" y="3505563"/>
            <a:ext cx="276780" cy="138390"/>
          </a:xfrm>
          <a:prstGeom prst="rect">
            <a:avLst/>
          </a:prstGeom>
          <a:noFill/>
          <a:ln w="12700" cap="sq">
            <a:solidFill>
              <a:schemeClr val="tx1"/>
            </a:solidFill>
            <a:miter lim="800000"/>
            <a:headEnd/>
            <a:tailEnd/>
          </a:ln>
        </p:spPr>
      </p:pic>
      <p:pic>
        <p:nvPicPr>
          <p:cNvPr id="45" name="Picture 19" descr="gb"/>
          <p:cNvPicPr>
            <a:picLocks noChangeAspect="1" noChangeArrowheads="1"/>
          </p:cNvPicPr>
          <p:nvPr/>
        </p:nvPicPr>
        <p:blipFill>
          <a:blip r:embed="rId7" cstate="print"/>
          <a:srcRect/>
          <a:stretch>
            <a:fillRect/>
          </a:stretch>
        </p:blipFill>
        <p:spPr bwMode="auto">
          <a:xfrm>
            <a:off x="4537953" y="2599208"/>
            <a:ext cx="276780" cy="138390"/>
          </a:xfrm>
          <a:prstGeom prst="rect">
            <a:avLst/>
          </a:prstGeom>
          <a:noFill/>
          <a:ln w="12700" cap="sq">
            <a:solidFill>
              <a:schemeClr val="tx1"/>
            </a:solidFill>
            <a:miter lim="800000"/>
            <a:headEnd/>
            <a:tailEnd/>
          </a:ln>
        </p:spPr>
      </p:pic>
      <p:pic>
        <p:nvPicPr>
          <p:cNvPr id="46" name="Picture 20" descr="us"/>
          <p:cNvPicPr>
            <a:picLocks noChangeAspect="1" noChangeArrowheads="1"/>
          </p:cNvPicPr>
          <p:nvPr/>
        </p:nvPicPr>
        <p:blipFill>
          <a:blip r:embed="rId8" cstate="print"/>
          <a:srcRect/>
          <a:stretch>
            <a:fillRect/>
          </a:stretch>
        </p:blipFill>
        <p:spPr bwMode="auto">
          <a:xfrm>
            <a:off x="4305023" y="2974043"/>
            <a:ext cx="276780" cy="143515"/>
          </a:xfrm>
          <a:prstGeom prst="rect">
            <a:avLst/>
          </a:prstGeom>
          <a:noFill/>
          <a:ln w="12700" cap="sq">
            <a:solidFill>
              <a:schemeClr val="tx1"/>
            </a:solid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6753" name="Title 2"/>
          <p:cNvSpPr>
            <a:spLocks noGrp="1"/>
          </p:cNvSpPr>
          <p:nvPr>
            <p:ph type="title"/>
          </p:nvPr>
        </p:nvSpPr>
        <p:spPr>
          <a:xfrm>
            <a:off x="414338" y="446038"/>
            <a:ext cx="8330184" cy="333425"/>
          </a:xfrm>
        </p:spPr>
        <p:txBody>
          <a:bodyPr/>
          <a:lstStyle/>
          <a:p>
            <a:r>
              <a:rPr lang="en-US"/>
              <a:t>Text boxes — major points with chevrons</a:t>
            </a:r>
            <a:endParaRPr lang="nl-NL"/>
          </a:p>
        </p:txBody>
      </p:sp>
      <p:sp>
        <p:nvSpPr>
          <p:cNvPr id="18" name="AutoShape 6"/>
          <p:cNvSpPr>
            <a:spLocks noChangeArrowheads="1"/>
          </p:cNvSpPr>
          <p:nvPr/>
        </p:nvSpPr>
        <p:spPr bwMode="gray">
          <a:xfrm>
            <a:off x="396875" y="1592916"/>
            <a:ext cx="1771650" cy="838200"/>
          </a:xfrm>
          <a:prstGeom prst="homePlate">
            <a:avLst>
              <a:gd name="adj" fmla="val 57244"/>
            </a:avLst>
          </a:prstGeom>
          <a:solidFill>
            <a:schemeClr val="accent3"/>
          </a:solidFill>
          <a:ln w="9525" algn="ctr">
            <a:noFill/>
            <a:miter lim="800000"/>
            <a:headEnd/>
            <a:tailEnd/>
          </a:ln>
        </p:spPr>
        <p:txBody>
          <a:bodyPr anchor="ctr"/>
          <a:lstStyle/>
          <a:p>
            <a:pPr marL="82550" indent="-82550" algn="ctr">
              <a:lnSpc>
                <a:spcPct val="106000"/>
              </a:lnSpc>
              <a:buClr>
                <a:schemeClr val="tx1"/>
              </a:buClr>
              <a:buFont typeface="Wingdings 2" pitchFamily="18" charset="2"/>
              <a:buNone/>
              <a:defRPr/>
            </a:pPr>
            <a:r>
              <a:rPr lang="en-GB" sz="1400" b="1">
                <a:solidFill>
                  <a:schemeClr val="bg1"/>
                </a:solidFill>
              </a:rPr>
              <a:t>Text</a:t>
            </a:r>
          </a:p>
        </p:txBody>
      </p:sp>
      <p:sp>
        <p:nvSpPr>
          <p:cNvPr id="19" name="AutoShape 7"/>
          <p:cNvSpPr>
            <a:spLocks noChangeArrowheads="1"/>
          </p:cNvSpPr>
          <p:nvPr/>
        </p:nvSpPr>
        <p:spPr bwMode="gray">
          <a:xfrm>
            <a:off x="396875" y="2750204"/>
            <a:ext cx="1771650" cy="838200"/>
          </a:xfrm>
          <a:prstGeom prst="homePlate">
            <a:avLst>
              <a:gd name="adj" fmla="val 57244"/>
            </a:avLst>
          </a:prstGeom>
          <a:solidFill>
            <a:schemeClr val="accent3"/>
          </a:solidFill>
          <a:ln w="9525" algn="ctr">
            <a:noFill/>
            <a:miter lim="800000"/>
            <a:headEnd/>
            <a:tailEnd/>
          </a:ln>
        </p:spPr>
        <p:txBody>
          <a:bodyPr anchor="ctr"/>
          <a:lstStyle/>
          <a:p>
            <a:pPr algn="ctr">
              <a:lnSpc>
                <a:spcPct val="106000"/>
              </a:lnSpc>
              <a:buClr>
                <a:schemeClr val="tx1"/>
              </a:buClr>
              <a:buFont typeface="Wingdings 2" pitchFamily="18" charset="2"/>
              <a:buNone/>
              <a:defRPr/>
            </a:pPr>
            <a:r>
              <a:rPr lang="en-GB" sz="1400" b="1">
                <a:solidFill>
                  <a:schemeClr val="bg1"/>
                </a:solidFill>
              </a:rPr>
              <a:t>Text</a:t>
            </a:r>
          </a:p>
        </p:txBody>
      </p:sp>
      <p:sp>
        <p:nvSpPr>
          <p:cNvPr id="20" name="AutoShape 8"/>
          <p:cNvSpPr>
            <a:spLocks noChangeArrowheads="1"/>
          </p:cNvSpPr>
          <p:nvPr/>
        </p:nvSpPr>
        <p:spPr bwMode="gray">
          <a:xfrm>
            <a:off x="396875" y="3921779"/>
            <a:ext cx="1771650" cy="838200"/>
          </a:xfrm>
          <a:prstGeom prst="homePlate">
            <a:avLst>
              <a:gd name="adj" fmla="val 57244"/>
            </a:avLst>
          </a:prstGeom>
          <a:solidFill>
            <a:schemeClr val="accent3"/>
          </a:solidFill>
          <a:ln w="9525" algn="ctr">
            <a:noFill/>
            <a:miter lim="800000"/>
            <a:headEnd/>
            <a:tailEnd/>
          </a:ln>
        </p:spPr>
        <p:txBody>
          <a:bodyPr anchor="ctr"/>
          <a:lstStyle/>
          <a:p>
            <a:pPr algn="ctr">
              <a:lnSpc>
                <a:spcPct val="106000"/>
              </a:lnSpc>
              <a:buClr>
                <a:schemeClr val="tx1"/>
              </a:buClr>
              <a:buFont typeface="Wingdings 2" pitchFamily="18" charset="2"/>
              <a:buNone/>
              <a:defRPr/>
            </a:pPr>
            <a:r>
              <a:rPr lang="en-GB" sz="1400" b="1">
                <a:solidFill>
                  <a:schemeClr val="bg1"/>
                </a:solidFill>
              </a:rPr>
              <a:t>Text</a:t>
            </a:r>
          </a:p>
        </p:txBody>
      </p:sp>
      <p:sp>
        <p:nvSpPr>
          <p:cNvPr id="31" name="AutoShape 9"/>
          <p:cNvSpPr>
            <a:spLocks noChangeArrowheads="1"/>
          </p:cNvSpPr>
          <p:nvPr/>
        </p:nvSpPr>
        <p:spPr bwMode="gray">
          <a:xfrm>
            <a:off x="396875" y="5080654"/>
            <a:ext cx="1771650" cy="838200"/>
          </a:xfrm>
          <a:prstGeom prst="homePlate">
            <a:avLst>
              <a:gd name="adj" fmla="val 57244"/>
            </a:avLst>
          </a:prstGeom>
          <a:solidFill>
            <a:schemeClr val="accent3"/>
          </a:solidFill>
          <a:ln w="9525" algn="ctr">
            <a:noFill/>
            <a:miter lim="800000"/>
            <a:headEnd/>
            <a:tailEnd/>
          </a:ln>
        </p:spPr>
        <p:txBody>
          <a:bodyPr anchor="ctr"/>
          <a:lstStyle/>
          <a:p>
            <a:pPr algn="ctr">
              <a:lnSpc>
                <a:spcPct val="106000"/>
              </a:lnSpc>
              <a:buClr>
                <a:schemeClr val="tx1"/>
              </a:buClr>
              <a:buFont typeface="Wingdings 2" pitchFamily="18" charset="2"/>
              <a:buNone/>
              <a:defRPr/>
            </a:pPr>
            <a:r>
              <a:rPr lang="en-GB" sz="1400" b="1">
                <a:solidFill>
                  <a:schemeClr val="bg1"/>
                </a:solidFill>
              </a:rPr>
              <a:t>Text</a:t>
            </a:r>
          </a:p>
        </p:txBody>
      </p:sp>
      <p:sp>
        <p:nvSpPr>
          <p:cNvPr id="17"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33" name="Text Placeholder 22"/>
          <p:cNvSpPr txBox="1">
            <a:spLocks/>
          </p:cNvSpPr>
          <p:nvPr/>
        </p:nvSpPr>
        <p:spPr bwMode="auto">
          <a:xfrm>
            <a:off x="2370974" y="1631859"/>
            <a:ext cx="2339975" cy="748923"/>
          </a:xfrm>
          <a:prstGeom prst="rect">
            <a:avLst/>
          </a:prstGeom>
        </p:spPr>
        <p:txBody>
          <a:bodyPr vert="horz" lIns="0" tIns="0" rIns="0" bIns="0" rtlCol="0">
            <a:spAutoFit/>
          </a:bodyPr>
          <a:lstStyle/>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Arial"/>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Arial"/>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Arial"/>
                <a:ea typeface="+mn-ea"/>
                <a:cs typeface="Arial" pitchFamily="34" charset="0"/>
              </a:rPr>
              <a:t>Bullet</a:t>
            </a:r>
            <a:endParaRPr kumimoji="0" lang="nl-NL" sz="1400" b="0" i="0" u="none" strike="noStrike" kern="1200" cap="none" spc="0" normalizeH="0" baseline="0" noProof="0" dirty="0">
              <a:ln>
                <a:noFill/>
              </a:ln>
              <a:solidFill>
                <a:srgbClr val="002776"/>
              </a:solidFill>
              <a:effectLst/>
              <a:uLnTx/>
              <a:uFillTx/>
              <a:latin typeface="Arial"/>
              <a:ea typeface="+mn-ea"/>
              <a:cs typeface="Arial" pitchFamily="34" charset="0"/>
            </a:endParaRPr>
          </a:p>
        </p:txBody>
      </p:sp>
      <p:sp>
        <p:nvSpPr>
          <p:cNvPr id="34" name="Text Placeholder 23"/>
          <p:cNvSpPr txBox="1">
            <a:spLocks/>
          </p:cNvSpPr>
          <p:nvPr/>
        </p:nvSpPr>
        <p:spPr bwMode="auto">
          <a:xfrm>
            <a:off x="2370974" y="2793909"/>
            <a:ext cx="2339975" cy="748923"/>
          </a:xfrm>
          <a:prstGeom prst="rect">
            <a:avLst/>
          </a:prstGeom>
        </p:spPr>
        <p:txBody>
          <a:bodyPr vert="horz" lIns="0" tIns="0" rIns="0" bIns="0" rtlCol="0">
            <a:spAutoFit/>
          </a:bodyPr>
          <a:lstStyle/>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dirty="0" smtClean="0">
                <a:ln>
                  <a:noFill/>
                </a:ln>
                <a:solidFill>
                  <a:srgbClr val="002776"/>
                </a:solidFill>
                <a:effectLst/>
                <a:uLnTx/>
                <a:uFillTx/>
                <a:latin typeface="+mn-lt"/>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dirty="0" smtClean="0">
                <a:ln>
                  <a:noFill/>
                </a:ln>
                <a:solidFill>
                  <a:srgbClr val="002776"/>
                </a:solidFill>
                <a:effectLst/>
                <a:uLnTx/>
                <a:uFillTx/>
                <a:latin typeface="+mn-lt"/>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dirty="0" smtClean="0">
                <a:ln>
                  <a:noFill/>
                </a:ln>
                <a:solidFill>
                  <a:srgbClr val="002776"/>
                </a:solidFill>
                <a:effectLst/>
                <a:uLnTx/>
                <a:uFillTx/>
                <a:latin typeface="+mn-lt"/>
                <a:ea typeface="+mn-ea"/>
                <a:cs typeface="Arial" pitchFamily="34" charset="0"/>
              </a:rPr>
              <a:t>Bullet</a:t>
            </a:r>
            <a:endParaRPr kumimoji="0" lang="nl-NL" sz="1400" b="0" i="0" u="none" strike="noStrike" kern="1200" cap="none" spc="0" normalizeH="0" baseline="0" noProof="0" dirty="0">
              <a:ln>
                <a:noFill/>
              </a:ln>
              <a:solidFill>
                <a:srgbClr val="002776"/>
              </a:solidFill>
              <a:effectLst/>
              <a:uLnTx/>
              <a:uFillTx/>
              <a:latin typeface="+mn-lt"/>
              <a:ea typeface="+mn-ea"/>
              <a:cs typeface="Arial" pitchFamily="34" charset="0"/>
            </a:endParaRPr>
          </a:p>
        </p:txBody>
      </p:sp>
      <p:sp>
        <p:nvSpPr>
          <p:cNvPr id="35" name="Text Placeholder 24"/>
          <p:cNvSpPr txBox="1">
            <a:spLocks/>
          </p:cNvSpPr>
          <p:nvPr/>
        </p:nvSpPr>
        <p:spPr bwMode="auto">
          <a:xfrm>
            <a:off x="5470094" y="1631859"/>
            <a:ext cx="3170237" cy="748923"/>
          </a:xfrm>
          <a:prstGeom prst="rect">
            <a:avLst/>
          </a:prstGeom>
        </p:spPr>
        <p:txBody>
          <a:bodyPr vert="horz" lIns="0" tIns="0" rIns="0" bIns="0" rtlCol="0">
            <a:spAutoFit/>
          </a:bodyPr>
          <a:lstStyle/>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mn-lt"/>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mn-lt"/>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mn-lt"/>
                <a:ea typeface="+mn-ea"/>
                <a:cs typeface="Arial" pitchFamily="34" charset="0"/>
              </a:rPr>
              <a:t>Bullet</a:t>
            </a:r>
            <a:endParaRPr kumimoji="0" lang="nl-NL" sz="1400" b="0" i="0" u="none" strike="noStrike" kern="1200" cap="none" spc="0" normalizeH="0" baseline="0" noProof="0" dirty="0">
              <a:ln>
                <a:noFill/>
              </a:ln>
              <a:solidFill>
                <a:srgbClr val="002776"/>
              </a:solidFill>
              <a:effectLst/>
              <a:uLnTx/>
              <a:uFillTx/>
              <a:latin typeface="+mn-lt"/>
              <a:ea typeface="+mn-ea"/>
              <a:cs typeface="Arial" pitchFamily="34" charset="0"/>
            </a:endParaRPr>
          </a:p>
        </p:txBody>
      </p:sp>
      <p:sp>
        <p:nvSpPr>
          <p:cNvPr id="36" name="Text Placeholder 25"/>
          <p:cNvSpPr txBox="1">
            <a:spLocks/>
          </p:cNvSpPr>
          <p:nvPr/>
        </p:nvSpPr>
        <p:spPr bwMode="auto">
          <a:xfrm>
            <a:off x="5470094" y="2793909"/>
            <a:ext cx="3170237" cy="748923"/>
          </a:xfrm>
          <a:prstGeom prst="rect">
            <a:avLst/>
          </a:prstGeom>
        </p:spPr>
        <p:txBody>
          <a:bodyPr vert="horz" lIns="0" tIns="0" rIns="0" bIns="0" rtlCol="0">
            <a:spAutoFit/>
          </a:bodyPr>
          <a:lstStyle/>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mn-lt"/>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mn-lt"/>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mn-lt"/>
                <a:ea typeface="+mn-ea"/>
                <a:cs typeface="Arial" pitchFamily="34" charset="0"/>
              </a:rPr>
              <a:t>Bullet</a:t>
            </a:r>
            <a:endParaRPr kumimoji="0" lang="nl-NL" sz="1400" b="0" i="0" u="none" strike="noStrike" kern="1200" cap="none" spc="0" normalizeH="0" baseline="0" noProof="0" dirty="0">
              <a:ln>
                <a:noFill/>
              </a:ln>
              <a:solidFill>
                <a:srgbClr val="002776"/>
              </a:solidFill>
              <a:effectLst/>
              <a:uLnTx/>
              <a:uFillTx/>
              <a:latin typeface="+mn-lt"/>
              <a:ea typeface="+mn-ea"/>
              <a:cs typeface="Arial" pitchFamily="34" charset="0"/>
            </a:endParaRPr>
          </a:p>
        </p:txBody>
      </p:sp>
      <p:sp>
        <p:nvSpPr>
          <p:cNvPr id="37" name="Text Placeholder 26"/>
          <p:cNvSpPr txBox="1">
            <a:spLocks/>
          </p:cNvSpPr>
          <p:nvPr/>
        </p:nvSpPr>
        <p:spPr bwMode="auto">
          <a:xfrm>
            <a:off x="5465972" y="3978650"/>
            <a:ext cx="3170237" cy="748923"/>
          </a:xfrm>
          <a:prstGeom prst="rect">
            <a:avLst/>
          </a:prstGeom>
        </p:spPr>
        <p:txBody>
          <a:bodyPr vert="horz" lIns="0" tIns="0" rIns="0" bIns="0" rtlCol="0">
            <a:spAutoFit/>
          </a:bodyPr>
          <a:lstStyle/>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mn-lt"/>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mn-lt"/>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mn-lt"/>
                <a:ea typeface="+mn-ea"/>
                <a:cs typeface="Arial" pitchFamily="34" charset="0"/>
              </a:rPr>
              <a:t>Bullet</a:t>
            </a:r>
            <a:endParaRPr kumimoji="0" lang="nl-NL" sz="1400" b="0" i="0" u="none" strike="noStrike" kern="1200" cap="none" spc="0" normalizeH="0" baseline="0" noProof="0" dirty="0">
              <a:ln>
                <a:noFill/>
              </a:ln>
              <a:solidFill>
                <a:srgbClr val="002776"/>
              </a:solidFill>
              <a:effectLst/>
              <a:uLnTx/>
              <a:uFillTx/>
              <a:latin typeface="+mn-lt"/>
              <a:ea typeface="+mn-ea"/>
              <a:cs typeface="Arial" pitchFamily="34" charset="0"/>
            </a:endParaRPr>
          </a:p>
        </p:txBody>
      </p:sp>
      <p:sp>
        <p:nvSpPr>
          <p:cNvPr id="38" name="Text Placeholder 27"/>
          <p:cNvSpPr txBox="1">
            <a:spLocks/>
          </p:cNvSpPr>
          <p:nvPr/>
        </p:nvSpPr>
        <p:spPr bwMode="auto">
          <a:xfrm>
            <a:off x="2366852" y="3977063"/>
            <a:ext cx="2339975" cy="748923"/>
          </a:xfrm>
          <a:prstGeom prst="rect">
            <a:avLst/>
          </a:prstGeom>
        </p:spPr>
        <p:txBody>
          <a:bodyPr vert="horz" lIns="0" tIns="0" rIns="0" bIns="0" rtlCol="0">
            <a:spAutoFit/>
          </a:bodyPr>
          <a:lstStyle/>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dirty="0" smtClean="0">
                <a:ln>
                  <a:noFill/>
                </a:ln>
                <a:solidFill>
                  <a:srgbClr val="002776"/>
                </a:solidFill>
                <a:effectLst/>
                <a:uLnTx/>
                <a:uFillTx/>
                <a:latin typeface="+mn-lt"/>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dirty="0" smtClean="0">
                <a:ln>
                  <a:noFill/>
                </a:ln>
                <a:solidFill>
                  <a:srgbClr val="002776"/>
                </a:solidFill>
                <a:effectLst/>
                <a:uLnTx/>
                <a:uFillTx/>
                <a:latin typeface="+mn-lt"/>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dirty="0" smtClean="0">
                <a:ln>
                  <a:noFill/>
                </a:ln>
                <a:solidFill>
                  <a:srgbClr val="002776"/>
                </a:solidFill>
                <a:effectLst/>
                <a:uLnTx/>
                <a:uFillTx/>
                <a:latin typeface="+mn-lt"/>
                <a:ea typeface="+mn-ea"/>
                <a:cs typeface="Arial" pitchFamily="34" charset="0"/>
              </a:rPr>
              <a:t>Bullet</a:t>
            </a:r>
            <a:endParaRPr kumimoji="0" lang="nl-NL" sz="1400" b="0" i="0" u="none" strike="noStrike" kern="1200" cap="none" spc="0" normalizeH="0" baseline="0" noProof="0" dirty="0">
              <a:ln>
                <a:noFill/>
              </a:ln>
              <a:solidFill>
                <a:srgbClr val="002776"/>
              </a:solidFill>
              <a:effectLst/>
              <a:uLnTx/>
              <a:uFillTx/>
              <a:latin typeface="+mn-lt"/>
              <a:ea typeface="+mn-ea"/>
              <a:cs typeface="Arial" pitchFamily="34" charset="0"/>
            </a:endParaRPr>
          </a:p>
        </p:txBody>
      </p:sp>
      <p:sp>
        <p:nvSpPr>
          <p:cNvPr id="39" name="Text Placeholder 26"/>
          <p:cNvSpPr txBox="1">
            <a:spLocks/>
          </p:cNvSpPr>
          <p:nvPr/>
        </p:nvSpPr>
        <p:spPr bwMode="auto">
          <a:xfrm>
            <a:off x="5470094" y="5127986"/>
            <a:ext cx="3170237" cy="748923"/>
          </a:xfrm>
          <a:prstGeom prst="rect">
            <a:avLst/>
          </a:prstGeom>
        </p:spPr>
        <p:txBody>
          <a:bodyPr vert="horz" lIns="0" tIns="0" rIns="0" bIns="0" rtlCol="0">
            <a:spAutoFit/>
          </a:bodyPr>
          <a:lstStyle/>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mn-lt"/>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mn-lt"/>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smtClean="0">
                <a:ln>
                  <a:noFill/>
                </a:ln>
                <a:solidFill>
                  <a:srgbClr val="002776"/>
                </a:solidFill>
                <a:effectLst/>
                <a:uLnTx/>
                <a:uFillTx/>
                <a:latin typeface="+mn-lt"/>
                <a:ea typeface="+mn-ea"/>
                <a:cs typeface="Arial" pitchFamily="34" charset="0"/>
              </a:rPr>
              <a:t>Bullet</a:t>
            </a:r>
            <a:endParaRPr kumimoji="0" lang="nl-NL" sz="1400" b="0" i="0" u="none" strike="noStrike" kern="1200" cap="none" spc="0" normalizeH="0" baseline="0" noProof="0" dirty="0">
              <a:ln>
                <a:noFill/>
              </a:ln>
              <a:solidFill>
                <a:srgbClr val="002776"/>
              </a:solidFill>
              <a:effectLst/>
              <a:uLnTx/>
              <a:uFillTx/>
              <a:latin typeface="+mn-lt"/>
              <a:ea typeface="+mn-ea"/>
              <a:cs typeface="Arial" pitchFamily="34" charset="0"/>
            </a:endParaRPr>
          </a:p>
        </p:txBody>
      </p:sp>
      <p:sp>
        <p:nvSpPr>
          <p:cNvPr id="40" name="Text Placeholder 27"/>
          <p:cNvSpPr txBox="1">
            <a:spLocks/>
          </p:cNvSpPr>
          <p:nvPr/>
        </p:nvSpPr>
        <p:spPr bwMode="auto">
          <a:xfrm>
            <a:off x="2370974" y="5126399"/>
            <a:ext cx="2339975" cy="748923"/>
          </a:xfrm>
          <a:prstGeom prst="rect">
            <a:avLst/>
          </a:prstGeom>
        </p:spPr>
        <p:txBody>
          <a:bodyPr vert="horz" lIns="0" tIns="0" rIns="0" bIns="0" rtlCol="0">
            <a:spAutoFit/>
          </a:bodyPr>
          <a:lstStyle/>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dirty="0" smtClean="0">
                <a:ln>
                  <a:noFill/>
                </a:ln>
                <a:solidFill>
                  <a:srgbClr val="002776"/>
                </a:solidFill>
                <a:effectLst/>
                <a:uLnTx/>
                <a:uFillTx/>
                <a:latin typeface="+mn-lt"/>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dirty="0" smtClean="0">
                <a:ln>
                  <a:noFill/>
                </a:ln>
                <a:solidFill>
                  <a:srgbClr val="002776"/>
                </a:solidFill>
                <a:effectLst/>
                <a:uLnTx/>
                <a:uFillTx/>
                <a:latin typeface="+mn-lt"/>
                <a:ea typeface="+mn-ea"/>
                <a:cs typeface="Arial" pitchFamily="34" charset="0"/>
              </a:rPr>
              <a:t>Bullet</a:t>
            </a:r>
          </a:p>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dirty="0" smtClean="0">
                <a:ln>
                  <a:noFill/>
                </a:ln>
                <a:solidFill>
                  <a:srgbClr val="002776"/>
                </a:solidFill>
                <a:effectLst/>
                <a:uLnTx/>
                <a:uFillTx/>
                <a:latin typeface="+mn-lt"/>
                <a:ea typeface="+mn-ea"/>
                <a:cs typeface="Arial" pitchFamily="34" charset="0"/>
              </a:rPr>
              <a:t>Bullet</a:t>
            </a:r>
            <a:endParaRPr kumimoji="0" lang="nl-NL" sz="1400" b="0" i="0" u="none" strike="noStrike" kern="1200" cap="none" spc="0" normalizeH="0" baseline="0" noProof="0" dirty="0">
              <a:ln>
                <a:noFill/>
              </a:ln>
              <a:solidFill>
                <a:srgbClr val="002776"/>
              </a:solidFill>
              <a:effectLst/>
              <a:uLnTx/>
              <a:uFillTx/>
              <a:latin typeface="+mn-lt"/>
              <a:ea typeface="+mn-ea"/>
              <a:cs typeface="Arial" pitchFamily="34" charset="0"/>
            </a:endParaRPr>
          </a:p>
        </p:txBody>
      </p:sp>
      <p:sp>
        <p:nvSpPr>
          <p:cNvPr id="4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7633" name="Title 1"/>
          <p:cNvSpPr>
            <a:spLocks noGrp="1"/>
          </p:cNvSpPr>
          <p:nvPr>
            <p:ph type="title"/>
          </p:nvPr>
        </p:nvSpPr>
        <p:spPr>
          <a:xfrm>
            <a:off x="414338" y="446038"/>
            <a:ext cx="8330184" cy="333425"/>
          </a:xfrm>
        </p:spPr>
        <p:txBody>
          <a:bodyPr/>
          <a:lstStyle/>
          <a:p>
            <a:r>
              <a:rPr lang="en-GB" altLang="ja-JP"/>
              <a:t>Curves </a:t>
            </a:r>
            <a:r>
              <a:rPr lang="en-US"/>
              <a:t>—</a:t>
            </a:r>
            <a:r>
              <a:rPr lang="en-GB" altLang="ja-JP" smtClean="0"/>
              <a:t> </a:t>
            </a:r>
            <a:r>
              <a:rPr lang="en-GB"/>
              <a:t>bell curve</a:t>
            </a:r>
            <a:endParaRPr lang="nl-NL"/>
          </a:p>
        </p:txBody>
      </p:sp>
      <p:grpSp>
        <p:nvGrpSpPr>
          <p:cNvPr id="2" name="Group 3"/>
          <p:cNvGrpSpPr>
            <a:grpSpLocks noChangeAspect="1"/>
          </p:cNvGrpSpPr>
          <p:nvPr/>
        </p:nvGrpSpPr>
        <p:grpSpPr bwMode="auto">
          <a:xfrm>
            <a:off x="1914525" y="1864474"/>
            <a:ext cx="6180138" cy="2609850"/>
            <a:chOff x="384" y="1248"/>
            <a:chExt cx="4992" cy="2208"/>
          </a:xfrm>
        </p:grpSpPr>
        <p:sp>
          <p:nvSpPr>
            <p:cNvPr id="837642" name="Freeform 4"/>
            <p:cNvSpPr>
              <a:spLocks noChangeAspect="1"/>
            </p:cNvSpPr>
            <p:nvPr/>
          </p:nvSpPr>
          <p:spPr bwMode="auto">
            <a:xfrm>
              <a:off x="384" y="1248"/>
              <a:ext cx="2496" cy="2208"/>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28575">
              <a:solidFill>
                <a:schemeClr val="accent2"/>
              </a:solidFill>
              <a:round/>
              <a:headEnd/>
              <a:tailEnd/>
            </a:ln>
          </p:spPr>
          <p:txBody>
            <a:bodyPr wrap="none" anchor="ctr"/>
            <a:lstStyle/>
            <a:p>
              <a:endParaRPr lang="en-GB"/>
            </a:p>
          </p:txBody>
        </p:sp>
        <p:sp>
          <p:nvSpPr>
            <p:cNvPr id="837643" name="Freeform 5"/>
            <p:cNvSpPr>
              <a:spLocks noChangeAspect="1"/>
            </p:cNvSpPr>
            <p:nvPr/>
          </p:nvSpPr>
          <p:spPr bwMode="auto">
            <a:xfrm flipH="1">
              <a:off x="2880" y="1248"/>
              <a:ext cx="2496" cy="2208"/>
            </a:xfrm>
            <a:custGeom>
              <a:avLst/>
              <a:gdLst>
                <a:gd name="T0" fmla="*/ 0 w 2496"/>
                <a:gd name="T1" fmla="*/ 12207 h 1440"/>
                <a:gd name="T2" fmla="*/ 1200 w 2496"/>
                <a:gd name="T3" fmla="*/ 9359 h 1440"/>
                <a:gd name="T4" fmla="*/ 2112 w 2496"/>
                <a:gd name="T5" fmla="*/ 1627 h 1440"/>
                <a:gd name="T6" fmla="*/ 2496 w 2496"/>
                <a:gd name="T7" fmla="*/ 0 h 1440"/>
                <a:gd name="T8" fmla="*/ 0 60000 65536"/>
                <a:gd name="T9" fmla="*/ 0 60000 65536"/>
                <a:gd name="T10" fmla="*/ 0 60000 65536"/>
                <a:gd name="T11" fmla="*/ 0 60000 65536"/>
                <a:gd name="T12" fmla="*/ 0 w 2496"/>
                <a:gd name="T13" fmla="*/ 0 h 1440"/>
                <a:gd name="T14" fmla="*/ 2496 w 2496"/>
                <a:gd name="T15" fmla="*/ 1440 h 1440"/>
              </a:gdLst>
              <a:ahLst/>
              <a:cxnLst>
                <a:cxn ang="T8">
                  <a:pos x="T0" y="T1"/>
                </a:cxn>
                <a:cxn ang="T9">
                  <a:pos x="T2" y="T3"/>
                </a:cxn>
                <a:cxn ang="T10">
                  <a:pos x="T4" y="T5"/>
                </a:cxn>
                <a:cxn ang="T11">
                  <a:pos x="T6" y="T7"/>
                </a:cxn>
              </a:cxnLst>
              <a:rect l="T12" t="T13" r="T14" b="T15"/>
              <a:pathLst>
                <a:path w="2496" h="1440">
                  <a:moveTo>
                    <a:pt x="0" y="1440"/>
                  </a:moveTo>
                  <a:cubicBezTo>
                    <a:pt x="424" y="1376"/>
                    <a:pt x="848" y="1312"/>
                    <a:pt x="1200" y="1104"/>
                  </a:cubicBezTo>
                  <a:cubicBezTo>
                    <a:pt x="1552" y="896"/>
                    <a:pt x="1896" y="376"/>
                    <a:pt x="2112" y="192"/>
                  </a:cubicBezTo>
                  <a:cubicBezTo>
                    <a:pt x="2328" y="8"/>
                    <a:pt x="2412" y="4"/>
                    <a:pt x="2496" y="0"/>
                  </a:cubicBezTo>
                </a:path>
              </a:pathLst>
            </a:custGeom>
            <a:noFill/>
            <a:ln w="28575">
              <a:solidFill>
                <a:schemeClr val="accent2"/>
              </a:solidFill>
              <a:round/>
              <a:headEnd/>
              <a:tailEnd/>
            </a:ln>
          </p:spPr>
          <p:txBody>
            <a:bodyPr wrap="none" anchor="ctr"/>
            <a:lstStyle/>
            <a:p>
              <a:endParaRPr lang="en-GB"/>
            </a:p>
          </p:txBody>
        </p:sp>
      </p:grpSp>
      <p:grpSp>
        <p:nvGrpSpPr>
          <p:cNvPr id="3" name="Group 6"/>
          <p:cNvGrpSpPr>
            <a:grpSpLocks/>
          </p:cNvGrpSpPr>
          <p:nvPr/>
        </p:nvGrpSpPr>
        <p:grpSpPr bwMode="auto">
          <a:xfrm>
            <a:off x="1781175" y="1666036"/>
            <a:ext cx="6313488" cy="2951163"/>
            <a:chOff x="667" y="1253"/>
            <a:chExt cx="3587" cy="2222"/>
          </a:xfrm>
        </p:grpSpPr>
        <p:sp>
          <p:nvSpPr>
            <p:cNvPr id="837640" name="Line 7"/>
            <p:cNvSpPr>
              <a:spLocks noChangeShapeType="1"/>
            </p:cNvSpPr>
            <p:nvPr/>
          </p:nvSpPr>
          <p:spPr bwMode="auto">
            <a:xfrm>
              <a:off x="667" y="1253"/>
              <a:ext cx="0" cy="2222"/>
            </a:xfrm>
            <a:prstGeom prst="line">
              <a:avLst/>
            </a:prstGeom>
            <a:noFill/>
            <a:ln w="9525">
              <a:solidFill>
                <a:schemeClr val="accent1"/>
              </a:solidFill>
              <a:round/>
              <a:headEnd/>
              <a:tailEnd/>
            </a:ln>
          </p:spPr>
          <p:txBody>
            <a:bodyPr/>
            <a:lstStyle/>
            <a:p>
              <a:endParaRPr lang="en-US"/>
            </a:p>
          </p:txBody>
        </p:sp>
        <p:sp>
          <p:nvSpPr>
            <p:cNvPr id="837641" name="Line 8"/>
            <p:cNvSpPr>
              <a:spLocks noChangeShapeType="1"/>
            </p:cNvSpPr>
            <p:nvPr/>
          </p:nvSpPr>
          <p:spPr bwMode="auto">
            <a:xfrm>
              <a:off x="667" y="3475"/>
              <a:ext cx="3587" cy="0"/>
            </a:xfrm>
            <a:prstGeom prst="line">
              <a:avLst/>
            </a:prstGeom>
            <a:noFill/>
            <a:ln w="9525">
              <a:solidFill>
                <a:schemeClr val="accent1"/>
              </a:solidFill>
              <a:round/>
              <a:headEnd/>
              <a:tailEnd/>
            </a:ln>
          </p:spPr>
          <p:txBody>
            <a:bodyPr/>
            <a:lstStyle/>
            <a:p>
              <a:endParaRPr lang="en-US"/>
            </a:p>
          </p:txBody>
        </p:sp>
      </p:grpSp>
      <p:sp>
        <p:nvSpPr>
          <p:cNvPr id="837637" name="Text Box 9"/>
          <p:cNvSpPr txBox="1">
            <a:spLocks noChangeArrowheads="1"/>
          </p:cNvSpPr>
          <p:nvPr/>
        </p:nvSpPr>
        <p:spPr bwMode="auto">
          <a:xfrm rot="-5400000">
            <a:off x="575469" y="2926175"/>
            <a:ext cx="1582737" cy="430887"/>
          </a:xfrm>
          <a:prstGeom prst="rect">
            <a:avLst/>
          </a:prstGeom>
          <a:noFill/>
          <a:ln w="9525">
            <a:noFill/>
            <a:miter lim="800000"/>
            <a:headEnd/>
            <a:tailEnd/>
          </a:ln>
        </p:spPr>
        <p:txBody>
          <a:bodyPr lIns="0" tIns="0" rIns="0" bIns="0">
            <a:spAutoFit/>
          </a:bodyPr>
          <a:lstStyle/>
          <a:p>
            <a:r>
              <a:rPr lang="en-GB" altLang="ja-JP" sz="1400" b="1" dirty="0">
                <a:solidFill>
                  <a:schemeClr val="tx2"/>
                </a:solidFill>
                <a:ea typeface="ＭＳ Ｐゴシック" charset="-128"/>
              </a:rPr>
              <a:t>Number of </a:t>
            </a:r>
            <a:r>
              <a:rPr lang="en-US" sz="1400" dirty="0" smtClean="0"/>
              <a:t>occurrences</a:t>
            </a:r>
            <a:endParaRPr lang="en-GB" altLang="ja-JP" sz="1400" b="1" dirty="0">
              <a:solidFill>
                <a:schemeClr val="tx2"/>
              </a:solidFill>
              <a:ea typeface="ＭＳ Ｐゴシック" charset="-128"/>
            </a:endParaRPr>
          </a:p>
        </p:txBody>
      </p:sp>
      <p:sp>
        <p:nvSpPr>
          <p:cNvPr id="837638" name="Text Box 10"/>
          <p:cNvSpPr txBox="1">
            <a:spLocks noChangeArrowheads="1"/>
          </p:cNvSpPr>
          <p:nvPr/>
        </p:nvSpPr>
        <p:spPr bwMode="auto">
          <a:xfrm>
            <a:off x="4764088" y="4833099"/>
            <a:ext cx="347662" cy="215900"/>
          </a:xfrm>
          <a:prstGeom prst="rect">
            <a:avLst/>
          </a:prstGeom>
          <a:noFill/>
          <a:ln w="9525">
            <a:noFill/>
            <a:miter lim="800000"/>
            <a:headEnd/>
            <a:tailEnd/>
          </a:ln>
        </p:spPr>
        <p:txBody>
          <a:bodyPr wrap="none" lIns="0" tIns="0" rIns="0" bIns="0">
            <a:spAutoFit/>
          </a:bodyPr>
          <a:lstStyle/>
          <a:p>
            <a:pPr algn="ctr"/>
            <a:r>
              <a:rPr lang="en-GB" altLang="ja-JP" sz="1400" b="1">
                <a:solidFill>
                  <a:schemeClr val="tx2"/>
                </a:solidFill>
                <a:ea typeface="ＭＳ Ｐゴシック" charset="-128"/>
              </a:rPr>
              <a:t>Unit</a:t>
            </a:r>
          </a:p>
        </p:txBody>
      </p:sp>
      <p:sp>
        <p:nvSpPr>
          <p:cNvPr id="1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8657" name="Title 1"/>
          <p:cNvSpPr>
            <a:spLocks noGrp="1"/>
          </p:cNvSpPr>
          <p:nvPr>
            <p:ph type="title"/>
          </p:nvPr>
        </p:nvSpPr>
        <p:spPr>
          <a:xfrm>
            <a:off x="414338" y="446038"/>
            <a:ext cx="8330184" cy="333425"/>
          </a:xfrm>
        </p:spPr>
        <p:txBody>
          <a:bodyPr/>
          <a:lstStyle/>
          <a:p>
            <a:r>
              <a:rPr lang="en-GB" altLang="ja-JP"/>
              <a:t>Curves </a:t>
            </a:r>
            <a:r>
              <a:rPr lang="en-US"/>
              <a:t>—</a:t>
            </a:r>
            <a:r>
              <a:rPr lang="en-GB" altLang="ja-JP" smtClean="0"/>
              <a:t> </a:t>
            </a:r>
            <a:r>
              <a:rPr lang="en-GB" altLang="ja-JP"/>
              <a:t>cost curve</a:t>
            </a:r>
            <a:endParaRPr lang="nl-NL"/>
          </a:p>
        </p:txBody>
      </p:sp>
      <p:grpSp>
        <p:nvGrpSpPr>
          <p:cNvPr id="22" name="Group 21"/>
          <p:cNvGrpSpPr/>
          <p:nvPr/>
        </p:nvGrpSpPr>
        <p:grpSpPr>
          <a:xfrm>
            <a:off x="1747699" y="1670201"/>
            <a:ext cx="5667375" cy="3892094"/>
            <a:chOff x="1895475" y="1827213"/>
            <a:chExt cx="5667375" cy="3892094"/>
          </a:xfrm>
        </p:grpSpPr>
        <p:sp>
          <p:nvSpPr>
            <p:cNvPr id="838659" name="Line 3"/>
            <p:cNvSpPr>
              <a:spLocks noChangeShapeType="1"/>
            </p:cNvSpPr>
            <p:nvPr/>
          </p:nvSpPr>
          <p:spPr bwMode="auto">
            <a:xfrm>
              <a:off x="2239963" y="1827213"/>
              <a:ext cx="0" cy="3527425"/>
            </a:xfrm>
            <a:prstGeom prst="line">
              <a:avLst/>
            </a:prstGeom>
            <a:noFill/>
            <a:ln w="9525">
              <a:solidFill>
                <a:schemeClr val="accent1"/>
              </a:solidFill>
              <a:round/>
              <a:headEnd/>
              <a:tailEnd/>
            </a:ln>
          </p:spPr>
          <p:txBody>
            <a:bodyPr/>
            <a:lstStyle/>
            <a:p>
              <a:endParaRPr lang="en-US"/>
            </a:p>
          </p:txBody>
        </p:sp>
        <p:sp>
          <p:nvSpPr>
            <p:cNvPr id="838660" name="Line 4"/>
            <p:cNvSpPr>
              <a:spLocks noChangeShapeType="1"/>
            </p:cNvSpPr>
            <p:nvPr/>
          </p:nvSpPr>
          <p:spPr bwMode="auto">
            <a:xfrm>
              <a:off x="2239963" y="5354638"/>
              <a:ext cx="5256212" cy="0"/>
            </a:xfrm>
            <a:prstGeom prst="line">
              <a:avLst/>
            </a:prstGeom>
            <a:noFill/>
            <a:ln w="9525">
              <a:solidFill>
                <a:schemeClr val="accent1"/>
              </a:solidFill>
              <a:round/>
              <a:headEnd/>
              <a:tailEnd/>
            </a:ln>
          </p:spPr>
          <p:txBody>
            <a:bodyPr/>
            <a:lstStyle/>
            <a:p>
              <a:endParaRPr lang="en-US"/>
            </a:p>
          </p:txBody>
        </p:sp>
        <p:sp>
          <p:nvSpPr>
            <p:cNvPr id="838661" name="Text Box 5"/>
            <p:cNvSpPr txBox="1">
              <a:spLocks noChangeArrowheads="1"/>
            </p:cNvSpPr>
            <p:nvPr/>
          </p:nvSpPr>
          <p:spPr bwMode="auto">
            <a:xfrm rot="-5400000">
              <a:off x="1616075" y="3482975"/>
              <a:ext cx="774700" cy="215900"/>
            </a:xfrm>
            <a:prstGeom prst="rect">
              <a:avLst/>
            </a:prstGeom>
            <a:noFill/>
            <a:ln w="9525">
              <a:noFill/>
              <a:miter lim="800000"/>
              <a:headEnd/>
              <a:tailEnd/>
            </a:ln>
          </p:spPr>
          <p:txBody>
            <a:bodyPr lIns="0" tIns="0" rIns="0" bIns="0">
              <a:spAutoFit/>
            </a:bodyPr>
            <a:lstStyle/>
            <a:p>
              <a:pPr algn="ctr"/>
              <a:r>
                <a:rPr lang="en-GB" altLang="ja-JP" sz="1400" b="1">
                  <a:solidFill>
                    <a:schemeClr val="tx2"/>
                  </a:solidFill>
                  <a:ea typeface="ＭＳ Ｐゴシック" charset="-128"/>
                </a:rPr>
                <a:t>Cost/unit</a:t>
              </a:r>
            </a:p>
          </p:txBody>
        </p:sp>
        <p:sp>
          <p:nvSpPr>
            <p:cNvPr id="838662" name="Text Box 6"/>
            <p:cNvSpPr txBox="1">
              <a:spLocks noChangeArrowheads="1"/>
            </p:cNvSpPr>
            <p:nvPr/>
          </p:nvSpPr>
          <p:spPr bwMode="auto">
            <a:xfrm>
              <a:off x="3822134" y="5503863"/>
              <a:ext cx="2324100" cy="215444"/>
            </a:xfrm>
            <a:prstGeom prst="rect">
              <a:avLst/>
            </a:prstGeom>
            <a:noFill/>
            <a:ln w="9525">
              <a:noFill/>
              <a:miter lim="800000"/>
              <a:headEnd/>
              <a:tailEnd/>
            </a:ln>
          </p:spPr>
          <p:txBody>
            <a:bodyPr wrap="square" lIns="0" tIns="0" rIns="0" bIns="0">
              <a:spAutoFit/>
            </a:bodyPr>
            <a:lstStyle/>
            <a:p>
              <a:r>
                <a:rPr lang="en-GB" altLang="ja-JP" sz="1400" b="1" dirty="0">
                  <a:solidFill>
                    <a:schemeClr val="tx2"/>
                  </a:solidFill>
                  <a:ea typeface="ＭＳ Ｐゴシック" charset="-128"/>
                </a:rPr>
                <a:t>Cumulative </a:t>
              </a:r>
              <a:r>
                <a:rPr lang="en-GB" altLang="ja-JP" sz="1400" b="1" dirty="0" smtClean="0">
                  <a:solidFill>
                    <a:schemeClr val="tx2"/>
                  </a:solidFill>
                  <a:ea typeface="ＭＳ Ｐゴシック" charset="-128"/>
                </a:rPr>
                <a:t>volume</a:t>
              </a:r>
              <a:endParaRPr lang="en-GB" altLang="ja-JP" sz="1400" b="1" dirty="0">
                <a:solidFill>
                  <a:schemeClr val="tx2"/>
                </a:solidFill>
                <a:ea typeface="ＭＳ Ｐゴシック" charset="-128"/>
              </a:endParaRPr>
            </a:p>
          </p:txBody>
        </p:sp>
        <p:sp>
          <p:nvSpPr>
            <p:cNvPr id="838663" name="Arc 7"/>
            <p:cNvSpPr>
              <a:spLocks/>
            </p:cNvSpPr>
            <p:nvPr/>
          </p:nvSpPr>
          <p:spPr bwMode="auto">
            <a:xfrm rot="10800000">
              <a:off x="2546350" y="1916113"/>
              <a:ext cx="5016500" cy="3079750"/>
            </a:xfrm>
            <a:custGeom>
              <a:avLst/>
              <a:gdLst>
                <a:gd name="T0" fmla="*/ 0 w 22699"/>
                <a:gd name="T1" fmla="*/ 2147483647 h 21600"/>
                <a:gd name="T2" fmla="*/ 2147483647 w 22699"/>
                <a:gd name="T3" fmla="*/ 2147483647 h 21600"/>
                <a:gd name="T4" fmla="*/ 2147483647 w 22699"/>
                <a:gd name="T5" fmla="*/ 2147483647 h 21600"/>
                <a:gd name="T6" fmla="*/ 0 60000 65536"/>
                <a:gd name="T7" fmla="*/ 0 60000 65536"/>
                <a:gd name="T8" fmla="*/ 0 60000 65536"/>
                <a:gd name="T9" fmla="*/ 0 w 22699"/>
                <a:gd name="T10" fmla="*/ 0 h 21600"/>
                <a:gd name="T11" fmla="*/ 22699 w 22699"/>
                <a:gd name="T12" fmla="*/ 21600 h 21600"/>
              </a:gdLst>
              <a:ahLst/>
              <a:cxnLst>
                <a:cxn ang="T6">
                  <a:pos x="T0" y="T1"/>
                </a:cxn>
                <a:cxn ang="T7">
                  <a:pos x="T2" y="T3"/>
                </a:cxn>
                <a:cxn ang="T8">
                  <a:pos x="T4" y="T5"/>
                </a:cxn>
              </a:cxnLst>
              <a:rect l="T9" t="T10" r="T11" b="T12"/>
              <a:pathLst>
                <a:path w="22699" h="21600" fill="none" extrusionOk="0">
                  <a:moveTo>
                    <a:pt x="0" y="33"/>
                  </a:moveTo>
                  <a:cubicBezTo>
                    <a:pt x="398" y="11"/>
                    <a:pt x="797" y="-1"/>
                    <a:pt x="1196" y="0"/>
                  </a:cubicBezTo>
                  <a:cubicBezTo>
                    <a:pt x="12333" y="0"/>
                    <a:pt x="21645" y="8468"/>
                    <a:pt x="22699" y="19556"/>
                  </a:cubicBezTo>
                </a:path>
                <a:path w="22699" h="21600" stroke="0" extrusionOk="0">
                  <a:moveTo>
                    <a:pt x="0" y="33"/>
                  </a:moveTo>
                  <a:cubicBezTo>
                    <a:pt x="398" y="11"/>
                    <a:pt x="797" y="-1"/>
                    <a:pt x="1196" y="0"/>
                  </a:cubicBezTo>
                  <a:cubicBezTo>
                    <a:pt x="12333" y="0"/>
                    <a:pt x="21645" y="8468"/>
                    <a:pt x="22699" y="19556"/>
                  </a:cubicBezTo>
                  <a:lnTo>
                    <a:pt x="1196" y="21600"/>
                  </a:lnTo>
                  <a:close/>
                </a:path>
              </a:pathLst>
            </a:custGeom>
            <a:noFill/>
            <a:ln w="12700">
              <a:solidFill>
                <a:schemeClr val="accent5"/>
              </a:solidFill>
              <a:round/>
              <a:headEnd/>
              <a:tailEnd/>
            </a:ln>
          </p:spPr>
          <p:txBody>
            <a:bodyPr wrap="none" anchor="ctr"/>
            <a:lstStyle/>
            <a:p>
              <a:pPr algn="ctr"/>
              <a:endParaRPr lang="en-GB"/>
            </a:p>
          </p:txBody>
        </p:sp>
        <p:sp>
          <p:nvSpPr>
            <p:cNvPr id="838664" name="Oval 8"/>
            <p:cNvSpPr>
              <a:spLocks noChangeArrowheads="1"/>
            </p:cNvSpPr>
            <p:nvPr/>
          </p:nvSpPr>
          <p:spPr bwMode="auto">
            <a:xfrm>
              <a:off x="2976563" y="3213100"/>
              <a:ext cx="133350" cy="144463"/>
            </a:xfrm>
            <a:prstGeom prst="ellipse">
              <a:avLst/>
            </a:prstGeom>
            <a:solidFill>
              <a:schemeClr val="tx2"/>
            </a:solidFill>
            <a:ln w="6350" algn="ctr">
              <a:solidFill>
                <a:schemeClr val="bg1"/>
              </a:solidFill>
              <a:round/>
              <a:headEnd/>
              <a:tailEnd/>
            </a:ln>
          </p:spPr>
          <p:txBody>
            <a:bodyPr tIns="91440" bIns="91440" anchor="ctr"/>
            <a:lstStyle/>
            <a:p>
              <a:pPr algn="ctr"/>
              <a:endParaRPr lang="en-GB"/>
            </a:p>
          </p:txBody>
        </p:sp>
        <p:sp>
          <p:nvSpPr>
            <p:cNvPr id="838665" name="Oval 9"/>
            <p:cNvSpPr>
              <a:spLocks noChangeArrowheads="1"/>
            </p:cNvSpPr>
            <p:nvPr/>
          </p:nvSpPr>
          <p:spPr bwMode="auto">
            <a:xfrm>
              <a:off x="2511425" y="2349500"/>
              <a:ext cx="133350" cy="144463"/>
            </a:xfrm>
            <a:prstGeom prst="ellipse">
              <a:avLst/>
            </a:prstGeom>
            <a:solidFill>
              <a:schemeClr val="tx2"/>
            </a:solidFill>
            <a:ln w="6350" algn="ctr">
              <a:solidFill>
                <a:schemeClr val="bg1"/>
              </a:solidFill>
              <a:round/>
              <a:headEnd/>
              <a:tailEnd/>
            </a:ln>
          </p:spPr>
          <p:txBody>
            <a:bodyPr tIns="91440" bIns="91440" anchor="ctr"/>
            <a:lstStyle/>
            <a:p>
              <a:pPr algn="ctr"/>
              <a:endParaRPr lang="en-GB"/>
            </a:p>
          </p:txBody>
        </p:sp>
        <p:sp>
          <p:nvSpPr>
            <p:cNvPr id="11" name="Arc 10"/>
            <p:cNvSpPr>
              <a:spLocks/>
            </p:cNvSpPr>
            <p:nvPr/>
          </p:nvSpPr>
          <p:spPr bwMode="auto">
            <a:xfrm>
              <a:off x="2776538" y="2420938"/>
              <a:ext cx="200025" cy="647700"/>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12700">
              <a:solidFill>
                <a:schemeClr val="accent3"/>
              </a:solidFill>
              <a:round/>
              <a:headEnd/>
              <a:tailEnd type="triangle" w="med" len="med"/>
            </a:ln>
          </p:spPr>
          <p:txBody>
            <a:bodyPr wrap="none" anchor="ctr"/>
            <a:lstStyle/>
            <a:p>
              <a:pPr algn="ctr">
                <a:defRPr/>
              </a:pPr>
              <a:endParaRPr lang="en-GB"/>
            </a:p>
          </p:txBody>
        </p:sp>
        <p:sp>
          <p:nvSpPr>
            <p:cNvPr id="838667" name="Text Box 11"/>
            <p:cNvSpPr txBox="1">
              <a:spLocks noChangeArrowheads="1"/>
            </p:cNvSpPr>
            <p:nvPr/>
          </p:nvSpPr>
          <p:spPr bwMode="auto">
            <a:xfrm>
              <a:off x="2511425" y="1984375"/>
              <a:ext cx="746125" cy="215900"/>
            </a:xfrm>
            <a:prstGeom prst="rect">
              <a:avLst/>
            </a:prstGeom>
            <a:noFill/>
            <a:ln w="9525">
              <a:noFill/>
              <a:miter lim="800000"/>
              <a:headEnd/>
              <a:tailEnd/>
            </a:ln>
          </p:spPr>
          <p:txBody>
            <a:bodyPr lIns="0" tIns="0" rIns="0" bIns="0">
              <a:spAutoFit/>
            </a:bodyPr>
            <a:lstStyle/>
            <a:p>
              <a:r>
                <a:rPr lang="en-GB" altLang="ja-JP" sz="1400">
                  <a:solidFill>
                    <a:schemeClr val="tx2"/>
                  </a:solidFill>
                  <a:ea typeface="ＭＳ Ｐゴシック" charset="-128"/>
                </a:rPr>
                <a:t>Text</a:t>
              </a:r>
            </a:p>
          </p:txBody>
        </p:sp>
        <p:sp>
          <p:nvSpPr>
            <p:cNvPr id="838668" name="Text Box 12"/>
            <p:cNvSpPr txBox="1">
              <a:spLocks noChangeArrowheads="1"/>
            </p:cNvSpPr>
            <p:nvPr/>
          </p:nvSpPr>
          <p:spPr bwMode="auto">
            <a:xfrm>
              <a:off x="2324100" y="3354388"/>
              <a:ext cx="576263" cy="214312"/>
            </a:xfrm>
            <a:prstGeom prst="rect">
              <a:avLst/>
            </a:prstGeom>
            <a:noFill/>
            <a:ln w="9525">
              <a:noFill/>
              <a:miter lim="800000"/>
              <a:headEnd/>
              <a:tailEnd/>
            </a:ln>
          </p:spPr>
          <p:txBody>
            <a:bodyPr lIns="0" tIns="0" rIns="0" bIns="0">
              <a:spAutoFit/>
            </a:bodyPr>
            <a:lstStyle/>
            <a:p>
              <a:r>
                <a:rPr lang="en-GB" altLang="ja-JP" sz="1400">
                  <a:solidFill>
                    <a:schemeClr val="tx2"/>
                  </a:solidFill>
                  <a:ea typeface="ＭＳ Ｐゴシック" charset="-128"/>
                </a:rPr>
                <a:t>Text</a:t>
              </a:r>
            </a:p>
          </p:txBody>
        </p:sp>
        <p:sp>
          <p:nvSpPr>
            <p:cNvPr id="838669" name="Oval 13"/>
            <p:cNvSpPr>
              <a:spLocks noChangeArrowheads="1"/>
            </p:cNvSpPr>
            <p:nvPr/>
          </p:nvSpPr>
          <p:spPr bwMode="auto">
            <a:xfrm>
              <a:off x="6432550" y="4879975"/>
              <a:ext cx="133350" cy="144463"/>
            </a:xfrm>
            <a:prstGeom prst="ellipse">
              <a:avLst/>
            </a:prstGeom>
            <a:solidFill>
              <a:schemeClr val="tx2"/>
            </a:solidFill>
            <a:ln w="6350" algn="ctr">
              <a:solidFill>
                <a:schemeClr val="bg1"/>
              </a:solidFill>
              <a:round/>
              <a:headEnd/>
              <a:tailEnd/>
            </a:ln>
          </p:spPr>
          <p:txBody>
            <a:bodyPr tIns="91440" bIns="91440" anchor="ctr"/>
            <a:lstStyle/>
            <a:p>
              <a:pPr algn="ctr"/>
              <a:endParaRPr lang="en-GB"/>
            </a:p>
          </p:txBody>
        </p:sp>
        <p:sp>
          <p:nvSpPr>
            <p:cNvPr id="838670" name="Oval 14"/>
            <p:cNvSpPr>
              <a:spLocks noChangeArrowheads="1"/>
            </p:cNvSpPr>
            <p:nvPr/>
          </p:nvSpPr>
          <p:spPr bwMode="auto">
            <a:xfrm>
              <a:off x="7097713" y="4940300"/>
              <a:ext cx="133350" cy="144463"/>
            </a:xfrm>
            <a:prstGeom prst="ellipse">
              <a:avLst/>
            </a:prstGeom>
            <a:solidFill>
              <a:schemeClr val="tx2"/>
            </a:solidFill>
            <a:ln w="6350" algn="ctr">
              <a:solidFill>
                <a:schemeClr val="bg1"/>
              </a:solidFill>
              <a:round/>
              <a:headEnd/>
              <a:tailEnd/>
            </a:ln>
          </p:spPr>
          <p:txBody>
            <a:bodyPr tIns="91440" bIns="91440" anchor="ctr"/>
            <a:lstStyle/>
            <a:p>
              <a:pPr algn="ctr"/>
              <a:endParaRPr lang="en-GB"/>
            </a:p>
          </p:txBody>
        </p:sp>
        <p:sp>
          <p:nvSpPr>
            <p:cNvPr id="838671" name="Text Box 15"/>
            <p:cNvSpPr txBox="1">
              <a:spLocks noChangeArrowheads="1"/>
            </p:cNvSpPr>
            <p:nvPr/>
          </p:nvSpPr>
          <p:spPr bwMode="auto">
            <a:xfrm>
              <a:off x="6018213" y="5008563"/>
              <a:ext cx="488950" cy="215900"/>
            </a:xfrm>
            <a:prstGeom prst="rect">
              <a:avLst/>
            </a:prstGeom>
            <a:noFill/>
            <a:ln w="9525">
              <a:noFill/>
              <a:miter lim="800000"/>
              <a:headEnd/>
              <a:tailEnd/>
            </a:ln>
          </p:spPr>
          <p:txBody>
            <a:bodyPr lIns="0" tIns="0" rIns="0" bIns="0">
              <a:spAutoFit/>
            </a:bodyPr>
            <a:lstStyle/>
            <a:p>
              <a:pPr algn="ctr"/>
              <a:r>
                <a:rPr lang="en-GB" altLang="ja-JP" sz="1400">
                  <a:solidFill>
                    <a:schemeClr val="tx2"/>
                  </a:solidFill>
                  <a:ea typeface="ＭＳ Ｐゴシック" charset="-128"/>
                </a:rPr>
                <a:t>Text</a:t>
              </a:r>
            </a:p>
          </p:txBody>
        </p:sp>
        <p:sp>
          <p:nvSpPr>
            <p:cNvPr id="838672" name="Text Box 16"/>
            <p:cNvSpPr txBox="1">
              <a:spLocks noChangeArrowheads="1"/>
            </p:cNvSpPr>
            <p:nvPr/>
          </p:nvSpPr>
          <p:spPr bwMode="auto">
            <a:xfrm>
              <a:off x="6972300" y="5080000"/>
              <a:ext cx="487363" cy="215900"/>
            </a:xfrm>
            <a:prstGeom prst="rect">
              <a:avLst/>
            </a:prstGeom>
            <a:noFill/>
            <a:ln w="9525">
              <a:noFill/>
              <a:miter lim="800000"/>
              <a:headEnd/>
              <a:tailEnd/>
            </a:ln>
          </p:spPr>
          <p:txBody>
            <a:bodyPr lIns="0" tIns="0" rIns="0" bIns="0">
              <a:spAutoFit/>
            </a:bodyPr>
            <a:lstStyle/>
            <a:p>
              <a:pPr algn="ctr"/>
              <a:r>
                <a:rPr lang="en-GB" altLang="ja-JP" sz="1400">
                  <a:solidFill>
                    <a:schemeClr val="tx2"/>
                  </a:solidFill>
                  <a:ea typeface="ＭＳ Ｐゴシック" charset="-128"/>
                </a:rPr>
                <a:t>Text</a:t>
              </a:r>
            </a:p>
          </p:txBody>
        </p:sp>
        <p:sp>
          <p:nvSpPr>
            <p:cNvPr id="18" name="Arc 17"/>
            <p:cNvSpPr>
              <a:spLocks/>
            </p:cNvSpPr>
            <p:nvPr/>
          </p:nvSpPr>
          <p:spPr bwMode="auto">
            <a:xfrm>
              <a:off x="6602413" y="4868863"/>
              <a:ext cx="466725" cy="73025"/>
            </a:xfrm>
            <a:custGeom>
              <a:avLst/>
              <a:gdLst>
                <a:gd name="T0" fmla="*/ 0 w 21600"/>
                <a:gd name="T1" fmla="*/ 0 h 21600"/>
                <a:gd name="T2" fmla="*/ 2147483647 w 21600"/>
                <a:gd name="T3" fmla="*/ 9539871 h 21600"/>
                <a:gd name="T4" fmla="*/ 0 w 21600"/>
                <a:gd name="T5" fmla="*/ 9539871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12700">
              <a:solidFill>
                <a:schemeClr val="accent3"/>
              </a:solidFill>
              <a:round/>
              <a:headEnd/>
              <a:tailEnd type="triangle" w="med" len="med"/>
            </a:ln>
          </p:spPr>
          <p:txBody>
            <a:bodyPr wrap="none" anchor="ctr"/>
            <a:lstStyle/>
            <a:p>
              <a:pPr algn="ctr">
                <a:defRPr/>
              </a:pPr>
              <a:endParaRPr lang="en-GB"/>
            </a:p>
          </p:txBody>
        </p:sp>
      </p:grpSp>
      <p:sp>
        <p:nvSpPr>
          <p:cNvPr id="20"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1"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81" name="Title 1"/>
          <p:cNvSpPr>
            <a:spLocks noGrp="1"/>
          </p:cNvSpPr>
          <p:nvPr>
            <p:ph type="title"/>
          </p:nvPr>
        </p:nvSpPr>
        <p:spPr>
          <a:xfrm>
            <a:off x="414338" y="446038"/>
            <a:ext cx="8330184" cy="333425"/>
          </a:xfrm>
        </p:spPr>
        <p:txBody>
          <a:bodyPr/>
          <a:lstStyle/>
          <a:p>
            <a:r>
              <a:rPr lang="en-GB" altLang="ja-JP"/>
              <a:t>Curves </a:t>
            </a:r>
            <a:r>
              <a:rPr lang="en-US"/>
              <a:t>—</a:t>
            </a:r>
            <a:r>
              <a:rPr lang="en-GB" altLang="ja-JP" smtClean="0"/>
              <a:t> </a:t>
            </a:r>
            <a:r>
              <a:rPr lang="en-GB" altLang="ja-JP"/>
              <a:t>downward and upward slopes</a:t>
            </a:r>
            <a:endParaRPr lang="nl-NL"/>
          </a:p>
        </p:txBody>
      </p:sp>
      <p:sp>
        <p:nvSpPr>
          <p:cNvPr id="839683" name="Freeform 3"/>
          <p:cNvSpPr>
            <a:spLocks/>
          </p:cNvSpPr>
          <p:nvPr/>
        </p:nvSpPr>
        <p:spPr bwMode="auto">
          <a:xfrm>
            <a:off x="842963" y="1593878"/>
            <a:ext cx="3286125" cy="3016250"/>
          </a:xfrm>
          <a:custGeom>
            <a:avLst/>
            <a:gdLst>
              <a:gd name="T0" fmla="*/ 0 w 2071"/>
              <a:gd name="T1" fmla="*/ 0 h 1900"/>
              <a:gd name="T2" fmla="*/ 0 w 2071"/>
              <a:gd name="T3" fmla="*/ 2147483647 h 1900"/>
              <a:gd name="T4" fmla="*/ 2147483647 w 2071"/>
              <a:gd name="T5" fmla="*/ 2147483647 h 1900"/>
              <a:gd name="T6" fmla="*/ 0 60000 65536"/>
              <a:gd name="T7" fmla="*/ 0 60000 65536"/>
              <a:gd name="T8" fmla="*/ 0 60000 65536"/>
              <a:gd name="T9" fmla="*/ 0 w 2071"/>
              <a:gd name="T10" fmla="*/ 0 h 1900"/>
              <a:gd name="T11" fmla="*/ 2071 w 2071"/>
              <a:gd name="T12" fmla="*/ 1900 h 1900"/>
            </a:gdLst>
            <a:ahLst/>
            <a:cxnLst>
              <a:cxn ang="T6">
                <a:pos x="T0" y="T1"/>
              </a:cxn>
              <a:cxn ang="T7">
                <a:pos x="T2" y="T3"/>
              </a:cxn>
              <a:cxn ang="T8">
                <a:pos x="T4" y="T5"/>
              </a:cxn>
            </a:cxnLst>
            <a:rect l="T9" t="T10" r="T11" b="T12"/>
            <a:pathLst>
              <a:path w="2071" h="1900">
                <a:moveTo>
                  <a:pt x="0" y="0"/>
                </a:moveTo>
                <a:lnTo>
                  <a:pt x="0" y="1899"/>
                </a:lnTo>
                <a:lnTo>
                  <a:pt x="2070" y="1899"/>
                </a:lnTo>
              </a:path>
            </a:pathLst>
          </a:custGeom>
          <a:noFill/>
          <a:ln w="12700" cap="rnd">
            <a:solidFill>
              <a:schemeClr val="accent1"/>
            </a:solidFill>
            <a:round/>
            <a:headEnd type="triangle" w="med" len="med"/>
            <a:tailEnd type="triangle" w="med" len="med"/>
          </a:ln>
        </p:spPr>
        <p:txBody>
          <a:bodyPr/>
          <a:lstStyle/>
          <a:p>
            <a:endParaRPr lang="en-GB" sz="1400"/>
          </a:p>
        </p:txBody>
      </p:sp>
      <p:sp>
        <p:nvSpPr>
          <p:cNvPr id="839684" name="Arc 4"/>
          <p:cNvSpPr>
            <a:spLocks/>
          </p:cNvSpPr>
          <p:nvPr/>
        </p:nvSpPr>
        <p:spPr bwMode="auto">
          <a:xfrm>
            <a:off x="1081088" y="1781203"/>
            <a:ext cx="2698750" cy="2508250"/>
          </a:xfrm>
          <a:custGeom>
            <a:avLst/>
            <a:gdLst>
              <a:gd name="T0" fmla="*/ 2147483647 w 24147"/>
              <a:gd name="T1" fmla="*/ 2147483647 h 21600"/>
              <a:gd name="T2" fmla="*/ 0 w 24147"/>
              <a:gd name="T3" fmla="*/ 2147483647 h 21600"/>
              <a:gd name="T4" fmla="*/ 2147483647 w 24147"/>
              <a:gd name="T5" fmla="*/ 0 h 21600"/>
              <a:gd name="T6" fmla="*/ 0 60000 65536"/>
              <a:gd name="T7" fmla="*/ 0 60000 65536"/>
              <a:gd name="T8" fmla="*/ 0 60000 65536"/>
              <a:gd name="T9" fmla="*/ 0 w 24147"/>
              <a:gd name="T10" fmla="*/ 0 h 21600"/>
              <a:gd name="T11" fmla="*/ 24147 w 24147"/>
              <a:gd name="T12" fmla="*/ 21600 h 21600"/>
            </a:gdLst>
            <a:ahLst/>
            <a:cxnLst>
              <a:cxn ang="T6">
                <a:pos x="T0" y="T1"/>
              </a:cxn>
              <a:cxn ang="T7">
                <a:pos x="T2" y="T3"/>
              </a:cxn>
              <a:cxn ang="T8">
                <a:pos x="T4" y="T5"/>
              </a:cxn>
            </a:cxnLst>
            <a:rect l="T9" t="T10" r="T11" b="T12"/>
            <a:pathLst>
              <a:path w="24147" h="21600" fill="none" extrusionOk="0">
                <a:moveTo>
                  <a:pt x="24147" y="21439"/>
                </a:moveTo>
                <a:cubicBezTo>
                  <a:pt x="23275" y="21546"/>
                  <a:pt x="22397" y="21599"/>
                  <a:pt x="21519" y="21600"/>
                </a:cubicBezTo>
                <a:cubicBezTo>
                  <a:pt x="10315" y="21600"/>
                  <a:pt x="971" y="13034"/>
                  <a:pt x="0" y="1872"/>
                </a:cubicBezTo>
              </a:path>
              <a:path w="24147" h="21600" stroke="0" extrusionOk="0">
                <a:moveTo>
                  <a:pt x="24147" y="21439"/>
                </a:moveTo>
                <a:cubicBezTo>
                  <a:pt x="23275" y="21546"/>
                  <a:pt x="22397" y="21599"/>
                  <a:pt x="21519" y="21600"/>
                </a:cubicBezTo>
                <a:cubicBezTo>
                  <a:pt x="10315" y="21600"/>
                  <a:pt x="971" y="13034"/>
                  <a:pt x="0" y="1872"/>
                </a:cubicBezTo>
                <a:lnTo>
                  <a:pt x="21519" y="0"/>
                </a:lnTo>
                <a:close/>
              </a:path>
            </a:pathLst>
          </a:custGeom>
          <a:noFill/>
          <a:ln w="12700" cap="rnd">
            <a:solidFill>
              <a:schemeClr val="accent1"/>
            </a:solidFill>
            <a:round/>
            <a:headEnd/>
            <a:tailEnd/>
          </a:ln>
        </p:spPr>
        <p:txBody>
          <a:bodyPr wrap="none" anchor="ctr"/>
          <a:lstStyle/>
          <a:p>
            <a:pPr algn="ctr"/>
            <a:endParaRPr lang="en-GB" sz="1400"/>
          </a:p>
        </p:txBody>
      </p:sp>
      <p:sp>
        <p:nvSpPr>
          <p:cNvPr id="839685" name="Oval 5"/>
          <p:cNvSpPr>
            <a:spLocks noChangeArrowheads="1"/>
          </p:cNvSpPr>
          <p:nvPr/>
        </p:nvSpPr>
        <p:spPr bwMode="auto">
          <a:xfrm>
            <a:off x="1133475" y="2574953"/>
            <a:ext cx="252413" cy="280988"/>
          </a:xfrm>
          <a:prstGeom prst="ellipse">
            <a:avLst/>
          </a:prstGeom>
          <a:solidFill>
            <a:schemeClr val="accent3"/>
          </a:solidFill>
          <a:ln w="12700" algn="ctr">
            <a:solidFill>
              <a:schemeClr val="bg1"/>
            </a:solidFill>
            <a:round/>
            <a:headEnd/>
            <a:tailEnd/>
          </a:ln>
        </p:spPr>
        <p:txBody>
          <a:bodyPr lIns="18000" tIns="91440" rIns="18000" bIns="91440" anchor="ctr"/>
          <a:lstStyle/>
          <a:p>
            <a:pPr algn="ctr"/>
            <a:r>
              <a:rPr lang="en-GB" altLang="ja-JP" sz="1400" b="1" dirty="0">
                <a:solidFill>
                  <a:srgbClr val="FFFFFF"/>
                </a:solidFill>
                <a:ea typeface="ＭＳ Ｐゴシック" charset="-128"/>
              </a:rPr>
              <a:t>1</a:t>
            </a:r>
          </a:p>
        </p:txBody>
      </p:sp>
      <p:sp>
        <p:nvSpPr>
          <p:cNvPr id="839686" name="Oval 6"/>
          <p:cNvSpPr>
            <a:spLocks noChangeArrowheads="1"/>
          </p:cNvSpPr>
          <p:nvPr/>
        </p:nvSpPr>
        <p:spPr bwMode="auto">
          <a:xfrm>
            <a:off x="1762125" y="3532216"/>
            <a:ext cx="252413" cy="280987"/>
          </a:xfrm>
          <a:prstGeom prst="ellipse">
            <a:avLst/>
          </a:prstGeom>
          <a:solidFill>
            <a:schemeClr val="accent3"/>
          </a:solidFill>
          <a:ln w="12700" algn="ctr">
            <a:solidFill>
              <a:schemeClr val="bg1"/>
            </a:solidFill>
            <a:round/>
            <a:headEnd/>
            <a:tailEnd/>
          </a:ln>
        </p:spPr>
        <p:txBody>
          <a:bodyPr lIns="18000" tIns="91440" rIns="18000" bIns="91440" anchor="ctr"/>
          <a:lstStyle/>
          <a:p>
            <a:pPr algn="ctr"/>
            <a:r>
              <a:rPr lang="en-GB" altLang="ja-JP" sz="1400" b="1">
                <a:solidFill>
                  <a:srgbClr val="FFFFFF"/>
                </a:solidFill>
                <a:ea typeface="ＭＳ Ｐゴシック" charset="-128"/>
              </a:rPr>
              <a:t>2</a:t>
            </a:r>
          </a:p>
        </p:txBody>
      </p:sp>
      <p:sp>
        <p:nvSpPr>
          <p:cNvPr id="839687" name="Oval 7"/>
          <p:cNvSpPr>
            <a:spLocks noChangeArrowheads="1"/>
          </p:cNvSpPr>
          <p:nvPr/>
        </p:nvSpPr>
        <p:spPr bwMode="auto">
          <a:xfrm>
            <a:off x="2705100" y="4075141"/>
            <a:ext cx="252413" cy="280987"/>
          </a:xfrm>
          <a:prstGeom prst="ellipse">
            <a:avLst/>
          </a:prstGeom>
          <a:solidFill>
            <a:schemeClr val="accent3"/>
          </a:solidFill>
          <a:ln w="12700" algn="ctr">
            <a:solidFill>
              <a:schemeClr val="bg1"/>
            </a:solidFill>
            <a:round/>
            <a:headEnd/>
            <a:tailEnd/>
          </a:ln>
        </p:spPr>
        <p:txBody>
          <a:bodyPr lIns="18000" tIns="91440" rIns="18000" bIns="91440" anchor="ctr"/>
          <a:lstStyle/>
          <a:p>
            <a:pPr algn="ctr"/>
            <a:r>
              <a:rPr lang="en-GB" altLang="ja-JP" sz="1400" b="1">
                <a:solidFill>
                  <a:srgbClr val="FFFFFF"/>
                </a:solidFill>
                <a:ea typeface="ＭＳ Ｐゴシック" charset="-128"/>
              </a:rPr>
              <a:t>3</a:t>
            </a:r>
          </a:p>
        </p:txBody>
      </p:sp>
      <p:sp>
        <p:nvSpPr>
          <p:cNvPr id="839688" name="Rectangle 8"/>
          <p:cNvSpPr>
            <a:spLocks noChangeArrowheads="1"/>
          </p:cNvSpPr>
          <p:nvPr/>
        </p:nvSpPr>
        <p:spPr bwMode="auto">
          <a:xfrm>
            <a:off x="2293938" y="4662516"/>
            <a:ext cx="820737" cy="215900"/>
          </a:xfrm>
          <a:prstGeom prst="rect">
            <a:avLst/>
          </a:prstGeom>
          <a:noFill/>
          <a:ln w="12700">
            <a:noFill/>
            <a:miter lim="800000"/>
            <a:headEnd/>
            <a:tailEnd/>
          </a:ln>
        </p:spPr>
        <p:txBody>
          <a:bodyPr lIns="0" tIns="0" rIns="0" bIns="0">
            <a:spAutoFit/>
          </a:bodyPr>
          <a:lstStyle/>
          <a:p>
            <a:r>
              <a:rPr lang="en-GB" altLang="ja-JP" sz="1400" b="1">
                <a:solidFill>
                  <a:schemeClr val="tx2"/>
                </a:solidFill>
                <a:ea typeface="ＭＳ Ｐゴシック" charset="-128"/>
              </a:rPr>
              <a:t>Time</a:t>
            </a:r>
          </a:p>
        </p:txBody>
      </p:sp>
      <p:sp>
        <p:nvSpPr>
          <p:cNvPr id="839689" name="Freeform 9"/>
          <p:cNvSpPr>
            <a:spLocks/>
          </p:cNvSpPr>
          <p:nvPr/>
        </p:nvSpPr>
        <p:spPr bwMode="auto">
          <a:xfrm>
            <a:off x="5095875" y="1593878"/>
            <a:ext cx="3287713" cy="3016250"/>
          </a:xfrm>
          <a:custGeom>
            <a:avLst/>
            <a:gdLst>
              <a:gd name="T0" fmla="*/ 0 w 2071"/>
              <a:gd name="T1" fmla="*/ 0 h 1900"/>
              <a:gd name="T2" fmla="*/ 0 w 2071"/>
              <a:gd name="T3" fmla="*/ 2147483647 h 1900"/>
              <a:gd name="T4" fmla="*/ 2147483647 w 2071"/>
              <a:gd name="T5" fmla="*/ 2147483647 h 1900"/>
              <a:gd name="T6" fmla="*/ 0 60000 65536"/>
              <a:gd name="T7" fmla="*/ 0 60000 65536"/>
              <a:gd name="T8" fmla="*/ 0 60000 65536"/>
              <a:gd name="T9" fmla="*/ 0 w 2071"/>
              <a:gd name="T10" fmla="*/ 0 h 1900"/>
              <a:gd name="T11" fmla="*/ 2071 w 2071"/>
              <a:gd name="T12" fmla="*/ 1900 h 1900"/>
            </a:gdLst>
            <a:ahLst/>
            <a:cxnLst>
              <a:cxn ang="T6">
                <a:pos x="T0" y="T1"/>
              </a:cxn>
              <a:cxn ang="T7">
                <a:pos x="T2" y="T3"/>
              </a:cxn>
              <a:cxn ang="T8">
                <a:pos x="T4" y="T5"/>
              </a:cxn>
            </a:cxnLst>
            <a:rect l="T9" t="T10" r="T11" b="T12"/>
            <a:pathLst>
              <a:path w="2071" h="1900">
                <a:moveTo>
                  <a:pt x="0" y="0"/>
                </a:moveTo>
                <a:lnTo>
                  <a:pt x="0" y="1899"/>
                </a:lnTo>
                <a:lnTo>
                  <a:pt x="2070" y="1899"/>
                </a:lnTo>
              </a:path>
            </a:pathLst>
          </a:custGeom>
          <a:noFill/>
          <a:ln w="12700" cap="rnd">
            <a:solidFill>
              <a:schemeClr val="accent1"/>
            </a:solidFill>
            <a:round/>
            <a:headEnd type="triangle" w="med" len="med"/>
            <a:tailEnd type="triangle" w="med" len="med"/>
          </a:ln>
        </p:spPr>
        <p:txBody>
          <a:bodyPr/>
          <a:lstStyle/>
          <a:p>
            <a:endParaRPr lang="en-GB" sz="1400"/>
          </a:p>
        </p:txBody>
      </p:sp>
      <p:sp>
        <p:nvSpPr>
          <p:cNvPr id="839690" name="Arc 10"/>
          <p:cNvSpPr>
            <a:spLocks/>
          </p:cNvSpPr>
          <p:nvPr/>
        </p:nvSpPr>
        <p:spPr bwMode="auto">
          <a:xfrm>
            <a:off x="5303838" y="1781203"/>
            <a:ext cx="2698750" cy="2508250"/>
          </a:xfrm>
          <a:custGeom>
            <a:avLst/>
            <a:gdLst>
              <a:gd name="T0" fmla="*/ 2147483647 w 24161"/>
              <a:gd name="T1" fmla="*/ 2147483647 h 21600"/>
              <a:gd name="T2" fmla="*/ 0 w 24161"/>
              <a:gd name="T3" fmla="*/ 2147483647 h 21600"/>
              <a:gd name="T4" fmla="*/ 2147483647 w 24161"/>
              <a:gd name="T5" fmla="*/ 0 h 21600"/>
              <a:gd name="T6" fmla="*/ 0 60000 65536"/>
              <a:gd name="T7" fmla="*/ 0 60000 65536"/>
              <a:gd name="T8" fmla="*/ 0 60000 65536"/>
              <a:gd name="T9" fmla="*/ 0 w 24161"/>
              <a:gd name="T10" fmla="*/ 0 h 21600"/>
              <a:gd name="T11" fmla="*/ 24161 w 24161"/>
              <a:gd name="T12" fmla="*/ 21600 h 21600"/>
            </a:gdLst>
            <a:ahLst/>
            <a:cxnLst>
              <a:cxn ang="T6">
                <a:pos x="T0" y="T1"/>
              </a:cxn>
              <a:cxn ang="T7">
                <a:pos x="T2" y="T3"/>
              </a:cxn>
              <a:cxn ang="T8">
                <a:pos x="T4" y="T5"/>
              </a:cxn>
            </a:cxnLst>
            <a:rect l="T9" t="T10" r="T11" b="T12"/>
            <a:pathLst>
              <a:path w="24161" h="21600" fill="none" extrusionOk="0">
                <a:moveTo>
                  <a:pt x="24160" y="1873"/>
                </a:moveTo>
                <a:cubicBezTo>
                  <a:pt x="23188" y="13034"/>
                  <a:pt x="13845" y="21599"/>
                  <a:pt x="2642" y="21600"/>
                </a:cubicBezTo>
                <a:cubicBezTo>
                  <a:pt x="1758" y="21600"/>
                  <a:pt x="876" y="21545"/>
                  <a:pt x="0" y="21437"/>
                </a:cubicBezTo>
              </a:path>
              <a:path w="24161" h="21600" stroke="0" extrusionOk="0">
                <a:moveTo>
                  <a:pt x="24160" y="1873"/>
                </a:moveTo>
                <a:cubicBezTo>
                  <a:pt x="23188" y="13034"/>
                  <a:pt x="13845" y="21599"/>
                  <a:pt x="2642" y="21600"/>
                </a:cubicBezTo>
                <a:cubicBezTo>
                  <a:pt x="1758" y="21600"/>
                  <a:pt x="876" y="21545"/>
                  <a:pt x="0" y="21437"/>
                </a:cubicBezTo>
                <a:lnTo>
                  <a:pt x="2642" y="0"/>
                </a:lnTo>
                <a:close/>
              </a:path>
            </a:pathLst>
          </a:custGeom>
          <a:noFill/>
          <a:ln w="12700" cap="rnd">
            <a:solidFill>
              <a:schemeClr val="accent1"/>
            </a:solidFill>
            <a:round/>
            <a:headEnd/>
            <a:tailEnd/>
          </a:ln>
        </p:spPr>
        <p:txBody>
          <a:bodyPr wrap="none" anchor="ctr"/>
          <a:lstStyle/>
          <a:p>
            <a:pPr algn="ctr"/>
            <a:endParaRPr lang="en-GB" sz="1400"/>
          </a:p>
        </p:txBody>
      </p:sp>
      <p:sp>
        <p:nvSpPr>
          <p:cNvPr id="839691" name="Oval 11"/>
          <p:cNvSpPr>
            <a:spLocks noChangeArrowheads="1"/>
          </p:cNvSpPr>
          <p:nvPr/>
        </p:nvSpPr>
        <p:spPr bwMode="auto">
          <a:xfrm flipH="1">
            <a:off x="7697788" y="2574953"/>
            <a:ext cx="252412" cy="280988"/>
          </a:xfrm>
          <a:prstGeom prst="ellipse">
            <a:avLst/>
          </a:prstGeom>
          <a:solidFill>
            <a:schemeClr val="accent3"/>
          </a:solidFill>
          <a:ln w="12700" algn="ctr">
            <a:solidFill>
              <a:schemeClr val="bg1"/>
            </a:solidFill>
            <a:round/>
            <a:headEnd/>
            <a:tailEnd/>
          </a:ln>
        </p:spPr>
        <p:txBody>
          <a:bodyPr lIns="18000" tIns="91440" rIns="18000" bIns="91440" anchor="ctr"/>
          <a:lstStyle/>
          <a:p>
            <a:pPr algn="ctr"/>
            <a:r>
              <a:rPr lang="en-GB" altLang="ja-JP" sz="1400" b="1">
                <a:solidFill>
                  <a:srgbClr val="FFFFFF"/>
                </a:solidFill>
                <a:ea typeface="ＭＳ Ｐゴシック" charset="-128"/>
              </a:rPr>
              <a:t>3</a:t>
            </a:r>
          </a:p>
        </p:txBody>
      </p:sp>
      <p:sp>
        <p:nvSpPr>
          <p:cNvPr id="839692" name="Oval 12"/>
          <p:cNvSpPr>
            <a:spLocks noChangeArrowheads="1"/>
          </p:cNvSpPr>
          <p:nvPr/>
        </p:nvSpPr>
        <p:spPr bwMode="auto">
          <a:xfrm flipH="1">
            <a:off x="7292975" y="3336953"/>
            <a:ext cx="252413" cy="280988"/>
          </a:xfrm>
          <a:prstGeom prst="ellipse">
            <a:avLst/>
          </a:prstGeom>
          <a:solidFill>
            <a:schemeClr val="accent3"/>
          </a:solidFill>
          <a:ln w="12700" algn="ctr">
            <a:solidFill>
              <a:schemeClr val="bg1"/>
            </a:solidFill>
            <a:round/>
            <a:headEnd/>
            <a:tailEnd/>
          </a:ln>
        </p:spPr>
        <p:txBody>
          <a:bodyPr lIns="18000" tIns="91440" rIns="18000" bIns="91440" anchor="ctr"/>
          <a:lstStyle/>
          <a:p>
            <a:pPr algn="ctr"/>
            <a:r>
              <a:rPr lang="en-GB" altLang="ja-JP" sz="1400" b="1">
                <a:solidFill>
                  <a:srgbClr val="FFFFFF"/>
                </a:solidFill>
                <a:ea typeface="ＭＳ Ｐゴシック" charset="-128"/>
              </a:rPr>
              <a:t>2</a:t>
            </a:r>
          </a:p>
        </p:txBody>
      </p:sp>
      <p:sp>
        <p:nvSpPr>
          <p:cNvPr id="839693" name="Oval 13"/>
          <p:cNvSpPr>
            <a:spLocks noChangeArrowheads="1"/>
          </p:cNvSpPr>
          <p:nvPr/>
        </p:nvSpPr>
        <p:spPr bwMode="auto">
          <a:xfrm flipH="1">
            <a:off x="6478588" y="3922741"/>
            <a:ext cx="254000" cy="280987"/>
          </a:xfrm>
          <a:prstGeom prst="ellipse">
            <a:avLst/>
          </a:prstGeom>
          <a:solidFill>
            <a:schemeClr val="accent3"/>
          </a:solidFill>
          <a:ln w="12700" algn="ctr">
            <a:solidFill>
              <a:schemeClr val="bg1"/>
            </a:solidFill>
            <a:round/>
            <a:headEnd/>
            <a:tailEnd/>
          </a:ln>
        </p:spPr>
        <p:txBody>
          <a:bodyPr lIns="18000" tIns="91440" rIns="18000" bIns="91440" anchor="ctr"/>
          <a:lstStyle/>
          <a:p>
            <a:pPr algn="ctr"/>
            <a:r>
              <a:rPr lang="en-GB" altLang="ja-JP" sz="1400" b="1">
                <a:solidFill>
                  <a:srgbClr val="FFFFFF"/>
                </a:solidFill>
                <a:ea typeface="ＭＳ Ｐゴシック" charset="-128"/>
              </a:rPr>
              <a:t>1</a:t>
            </a:r>
          </a:p>
        </p:txBody>
      </p:sp>
      <p:sp>
        <p:nvSpPr>
          <p:cNvPr id="839694" name="Rectangle 14"/>
          <p:cNvSpPr>
            <a:spLocks noChangeArrowheads="1"/>
          </p:cNvSpPr>
          <p:nvPr/>
        </p:nvSpPr>
        <p:spPr bwMode="auto">
          <a:xfrm>
            <a:off x="6548438" y="4657753"/>
            <a:ext cx="551102" cy="215444"/>
          </a:xfrm>
          <a:prstGeom prst="rect">
            <a:avLst/>
          </a:prstGeom>
          <a:noFill/>
          <a:ln w="12700">
            <a:noFill/>
            <a:miter lim="800000"/>
            <a:headEnd/>
            <a:tailEnd/>
          </a:ln>
        </p:spPr>
        <p:txBody>
          <a:bodyPr wrap="square" lIns="0" tIns="0" rIns="0" bIns="0">
            <a:spAutoFit/>
          </a:bodyPr>
          <a:lstStyle/>
          <a:p>
            <a:r>
              <a:rPr lang="en-GB" altLang="ja-JP" sz="1400" b="1">
                <a:solidFill>
                  <a:schemeClr val="tx2"/>
                </a:solidFill>
                <a:ea typeface="ＭＳ Ｐゴシック" charset="-128"/>
              </a:rPr>
              <a:t>Time</a:t>
            </a:r>
          </a:p>
        </p:txBody>
      </p:sp>
      <p:sp>
        <p:nvSpPr>
          <p:cNvPr id="1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9"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2" name="Text Placeholder 12"/>
          <p:cNvSpPr>
            <a:spLocks/>
          </p:cNvSpPr>
          <p:nvPr>
            <p:custDataLst>
              <p:tags r:id="rId2"/>
            </p:custDataLst>
          </p:nvPr>
        </p:nvSpPr>
        <p:spPr bwMode="auto">
          <a:xfrm>
            <a:off x="4692062"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0705" name="Title 1"/>
          <p:cNvSpPr>
            <a:spLocks noGrp="1"/>
          </p:cNvSpPr>
          <p:nvPr>
            <p:ph type="title"/>
          </p:nvPr>
        </p:nvSpPr>
        <p:spPr>
          <a:xfrm>
            <a:off x="414338" y="446038"/>
            <a:ext cx="8330184" cy="333425"/>
          </a:xfrm>
        </p:spPr>
        <p:txBody>
          <a:bodyPr/>
          <a:lstStyle/>
          <a:p>
            <a:r>
              <a:rPr lang="en-GB" altLang="ja-JP"/>
              <a:t>Other </a:t>
            </a:r>
            <a:r>
              <a:rPr lang="en-US"/>
              <a:t>—</a:t>
            </a:r>
            <a:r>
              <a:rPr lang="en-GB" altLang="ja-JP" smtClean="0"/>
              <a:t> </a:t>
            </a:r>
            <a:r>
              <a:rPr lang="en-GB" altLang="ja-JP"/>
              <a:t>cross</a:t>
            </a:r>
            <a:endParaRPr lang="nl-NL"/>
          </a:p>
        </p:txBody>
      </p:sp>
      <p:sp>
        <p:nvSpPr>
          <p:cNvPr id="840707" name="Line 3"/>
          <p:cNvSpPr>
            <a:spLocks noChangeShapeType="1"/>
          </p:cNvSpPr>
          <p:nvPr/>
        </p:nvSpPr>
        <p:spPr bwMode="auto">
          <a:xfrm flipH="1">
            <a:off x="4549775" y="1860123"/>
            <a:ext cx="1588" cy="3965575"/>
          </a:xfrm>
          <a:prstGeom prst="line">
            <a:avLst/>
          </a:prstGeom>
          <a:noFill/>
          <a:ln w="57150">
            <a:solidFill>
              <a:schemeClr val="accent3"/>
            </a:solidFill>
            <a:round/>
            <a:headEnd type="stealth" w="med" len="med"/>
            <a:tailEnd type="stealth" w="med" len="med"/>
          </a:ln>
        </p:spPr>
        <p:txBody>
          <a:bodyPr wrap="none" anchor="ctr"/>
          <a:lstStyle/>
          <a:p>
            <a:endParaRPr lang="en-US"/>
          </a:p>
        </p:txBody>
      </p:sp>
      <p:sp>
        <p:nvSpPr>
          <p:cNvPr id="840708" name="Line 4"/>
          <p:cNvSpPr>
            <a:spLocks noChangeShapeType="1"/>
          </p:cNvSpPr>
          <p:nvPr/>
        </p:nvSpPr>
        <p:spPr bwMode="auto">
          <a:xfrm>
            <a:off x="1976438" y="3841323"/>
            <a:ext cx="5148262" cy="3175"/>
          </a:xfrm>
          <a:prstGeom prst="line">
            <a:avLst/>
          </a:prstGeom>
          <a:noFill/>
          <a:ln w="57150">
            <a:solidFill>
              <a:schemeClr val="accent3"/>
            </a:solidFill>
            <a:round/>
            <a:headEnd type="stealth" w="med" len="med"/>
            <a:tailEnd type="stealth" w="med" len="med"/>
          </a:ln>
        </p:spPr>
        <p:txBody>
          <a:bodyPr wrap="none" anchor="ctr"/>
          <a:lstStyle/>
          <a:p>
            <a:endParaRPr lang="en-US"/>
          </a:p>
        </p:txBody>
      </p:sp>
      <p:sp>
        <p:nvSpPr>
          <p:cNvPr id="7" name="Rectangle 6"/>
          <p:cNvSpPr>
            <a:spLocks noChangeArrowheads="1"/>
          </p:cNvSpPr>
          <p:nvPr/>
        </p:nvSpPr>
        <p:spPr bwMode="auto">
          <a:xfrm>
            <a:off x="2225614" y="2159766"/>
            <a:ext cx="2288815" cy="1636712"/>
          </a:xfrm>
          <a:prstGeom prst="rect">
            <a:avLst/>
          </a:prstGeom>
          <a:solidFill>
            <a:schemeClr val="accent1"/>
          </a:solidFill>
          <a:ln w="12700">
            <a:noFill/>
            <a:miter lim="800000"/>
            <a:headEnd/>
            <a:tailEnd/>
          </a:ln>
        </p:spPr>
        <p:txBody>
          <a:bodyPr/>
          <a:lstStyle/>
          <a:p>
            <a:pPr algn="ctr">
              <a:defRPr/>
            </a:pPr>
            <a:endParaRPr lang="en-GB">
              <a:solidFill>
                <a:schemeClr val="tx2"/>
              </a:solidFill>
              <a:ea typeface="ＭＳ Ｐゴシック" pitchFamily="50" charset="-128"/>
            </a:endParaRPr>
          </a:p>
        </p:txBody>
      </p:sp>
      <p:sp>
        <p:nvSpPr>
          <p:cNvPr id="840714" name="Text Placeholder 12"/>
          <p:cNvSpPr>
            <a:spLocks/>
          </p:cNvSpPr>
          <p:nvPr>
            <p:custDataLst>
              <p:tags r:id="rId1"/>
            </p:custDataLst>
          </p:nvPr>
        </p:nvSpPr>
        <p:spPr bwMode="auto">
          <a:xfrm>
            <a:off x="7191840" y="3733373"/>
            <a:ext cx="584753" cy="215900"/>
          </a:xfrm>
          <a:prstGeom prst="rect">
            <a:avLst/>
          </a:prstGeom>
          <a:noFill/>
          <a:ln w="9525">
            <a:noFill/>
            <a:miter lim="800000"/>
            <a:headEnd/>
            <a:tailEnd/>
          </a:ln>
        </p:spPr>
        <p:txBody>
          <a:bodyPr wrap="square" lIns="0" tIns="0" rIns="0" bIns="0">
            <a:spAutoFit/>
          </a:bodyPr>
          <a:lstStyle/>
          <a:p>
            <a:pPr algn="l" defTabSz="1019175">
              <a:spcAft>
                <a:spcPts val="300"/>
              </a:spcAft>
            </a:pPr>
            <a:r>
              <a:rPr lang="en-US" sz="1400" dirty="0">
                <a:solidFill>
                  <a:schemeClr val="tx2"/>
                </a:solidFill>
              </a:rPr>
              <a:t>Text</a:t>
            </a:r>
          </a:p>
        </p:txBody>
      </p:sp>
      <p:sp>
        <p:nvSpPr>
          <p:cNvPr id="840715" name="Text Placeholder 12"/>
          <p:cNvSpPr>
            <a:spLocks/>
          </p:cNvSpPr>
          <p:nvPr>
            <p:custDataLst>
              <p:tags r:id="rId2"/>
            </p:custDataLst>
          </p:nvPr>
        </p:nvSpPr>
        <p:spPr bwMode="auto">
          <a:xfrm>
            <a:off x="4275749" y="1594544"/>
            <a:ext cx="551227" cy="214313"/>
          </a:xfrm>
          <a:prstGeom prst="rect">
            <a:avLst/>
          </a:prstGeom>
          <a:noFill/>
          <a:ln w="9525">
            <a:noFill/>
            <a:miter lim="800000"/>
            <a:headEnd/>
            <a:tailEnd/>
          </a:ln>
        </p:spPr>
        <p:txBody>
          <a:bodyPr wrap="square" lIns="0" tIns="0" rIns="0" bIns="0">
            <a:spAutoFit/>
          </a:bodyPr>
          <a:lstStyle/>
          <a:p>
            <a:pPr defTabSz="1019175">
              <a:spcAft>
                <a:spcPts val="300"/>
              </a:spcAft>
            </a:pPr>
            <a:r>
              <a:rPr lang="en-US" sz="1400" dirty="0">
                <a:solidFill>
                  <a:schemeClr val="tx2"/>
                </a:solidFill>
              </a:rPr>
              <a:t>Text</a:t>
            </a:r>
          </a:p>
        </p:txBody>
      </p:sp>
      <p:sp>
        <p:nvSpPr>
          <p:cNvPr id="16" name="Rectangle 15"/>
          <p:cNvSpPr>
            <a:spLocks noChangeArrowheads="1"/>
          </p:cNvSpPr>
          <p:nvPr/>
        </p:nvSpPr>
        <p:spPr bwMode="auto">
          <a:xfrm>
            <a:off x="4594682" y="2156891"/>
            <a:ext cx="2288815" cy="1636712"/>
          </a:xfrm>
          <a:prstGeom prst="rect">
            <a:avLst/>
          </a:prstGeom>
          <a:solidFill>
            <a:schemeClr val="accent1"/>
          </a:solidFill>
          <a:ln w="12700">
            <a:noFill/>
            <a:miter lim="800000"/>
            <a:headEnd/>
            <a:tailEnd/>
          </a:ln>
        </p:spPr>
        <p:txBody>
          <a:bodyPr/>
          <a:lstStyle/>
          <a:p>
            <a:pPr algn="ctr">
              <a:defRPr/>
            </a:pPr>
            <a:endParaRPr lang="en-GB">
              <a:solidFill>
                <a:schemeClr val="tx2"/>
              </a:solidFill>
              <a:ea typeface="ＭＳ Ｐゴシック" pitchFamily="50" charset="-128"/>
            </a:endParaRPr>
          </a:p>
        </p:txBody>
      </p:sp>
      <p:sp>
        <p:nvSpPr>
          <p:cNvPr id="17" name="Rectangle 16"/>
          <p:cNvSpPr>
            <a:spLocks noChangeArrowheads="1"/>
          </p:cNvSpPr>
          <p:nvPr/>
        </p:nvSpPr>
        <p:spPr bwMode="auto">
          <a:xfrm>
            <a:off x="4594682" y="3889559"/>
            <a:ext cx="2288815" cy="1633538"/>
          </a:xfrm>
          <a:prstGeom prst="rect">
            <a:avLst/>
          </a:prstGeom>
          <a:solidFill>
            <a:schemeClr val="accent1"/>
          </a:solidFill>
          <a:ln w="12700">
            <a:noFill/>
            <a:miter lim="800000"/>
            <a:headEnd/>
            <a:tailEnd/>
          </a:ln>
        </p:spPr>
        <p:txBody>
          <a:bodyPr/>
          <a:lstStyle/>
          <a:p>
            <a:pPr algn="ctr">
              <a:defRPr/>
            </a:pPr>
            <a:endParaRPr lang="en-GB">
              <a:solidFill>
                <a:schemeClr val="tx2"/>
              </a:solidFill>
              <a:ea typeface="ＭＳ Ｐゴシック" pitchFamily="50" charset="-128"/>
            </a:endParaRPr>
          </a:p>
        </p:txBody>
      </p:sp>
      <p:sp>
        <p:nvSpPr>
          <p:cNvPr id="19"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0" name="Text Placeholder 12"/>
          <p:cNvSpPr>
            <a:spLocks/>
          </p:cNvSpPr>
          <p:nvPr>
            <p:custDataLst>
              <p:tags r:id="rId3"/>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1" name="Text Placeholder 12"/>
          <p:cNvSpPr>
            <a:spLocks/>
          </p:cNvSpPr>
          <p:nvPr>
            <p:custDataLst>
              <p:tags r:id="rId4"/>
            </p:custDataLst>
          </p:nvPr>
        </p:nvSpPr>
        <p:spPr bwMode="auto">
          <a:xfrm>
            <a:off x="4274161" y="5867643"/>
            <a:ext cx="551227" cy="214313"/>
          </a:xfrm>
          <a:prstGeom prst="rect">
            <a:avLst/>
          </a:prstGeom>
          <a:noFill/>
          <a:ln w="9525">
            <a:noFill/>
            <a:miter lim="800000"/>
            <a:headEnd/>
            <a:tailEnd/>
          </a:ln>
        </p:spPr>
        <p:txBody>
          <a:bodyPr wrap="square" lIns="0" tIns="0" rIns="0" bIns="0">
            <a:spAutoFit/>
          </a:bodyPr>
          <a:lstStyle/>
          <a:p>
            <a:pPr defTabSz="1019175">
              <a:spcAft>
                <a:spcPts val="300"/>
              </a:spcAft>
            </a:pPr>
            <a:r>
              <a:rPr lang="en-US" sz="1400" dirty="0">
                <a:solidFill>
                  <a:schemeClr val="tx2"/>
                </a:solidFill>
              </a:rPr>
              <a:t>Text</a:t>
            </a:r>
          </a:p>
        </p:txBody>
      </p:sp>
      <p:sp>
        <p:nvSpPr>
          <p:cNvPr id="22" name="Text Placeholder 12"/>
          <p:cNvSpPr>
            <a:spLocks/>
          </p:cNvSpPr>
          <p:nvPr>
            <p:custDataLst>
              <p:tags r:id="rId5"/>
            </p:custDataLst>
          </p:nvPr>
        </p:nvSpPr>
        <p:spPr bwMode="auto">
          <a:xfrm>
            <a:off x="1332962" y="3736548"/>
            <a:ext cx="584753" cy="215900"/>
          </a:xfrm>
          <a:prstGeom prst="rect">
            <a:avLst/>
          </a:prstGeom>
          <a:noFill/>
          <a:ln w="9525">
            <a:noFill/>
            <a:miter lim="800000"/>
            <a:headEnd/>
            <a:tailEnd/>
          </a:ln>
        </p:spPr>
        <p:txBody>
          <a:bodyPr wrap="square" lIns="0" tIns="0" rIns="0" bIns="0">
            <a:spAutoFit/>
          </a:bodyPr>
          <a:lstStyle/>
          <a:p>
            <a:pPr algn="r" defTabSz="1019175">
              <a:spcAft>
                <a:spcPts val="300"/>
              </a:spcAft>
            </a:pPr>
            <a:r>
              <a:rPr lang="en-US" sz="1400" dirty="0">
                <a:solidFill>
                  <a:schemeClr val="tx2"/>
                </a:solidFill>
              </a:rPr>
              <a:t>Text</a:t>
            </a:r>
          </a:p>
        </p:txBody>
      </p:sp>
      <p:sp>
        <p:nvSpPr>
          <p:cNvPr id="15" name="Rectangle 14"/>
          <p:cNvSpPr>
            <a:spLocks noChangeArrowheads="1"/>
          </p:cNvSpPr>
          <p:nvPr/>
        </p:nvSpPr>
        <p:spPr bwMode="auto">
          <a:xfrm>
            <a:off x="2225614" y="3889559"/>
            <a:ext cx="2288815" cy="1633538"/>
          </a:xfrm>
          <a:prstGeom prst="rect">
            <a:avLst/>
          </a:prstGeom>
          <a:solidFill>
            <a:schemeClr val="accent1"/>
          </a:solidFill>
          <a:ln w="12700">
            <a:noFill/>
            <a:miter lim="800000"/>
            <a:headEnd/>
            <a:tailEnd/>
          </a:ln>
        </p:spPr>
        <p:txBody>
          <a:bodyPr/>
          <a:lstStyle/>
          <a:p>
            <a:pPr algn="ctr">
              <a:defRPr/>
            </a:pPr>
            <a:endParaRPr lang="en-GB">
              <a:solidFill>
                <a:schemeClr val="tx2"/>
              </a:solidFill>
              <a:ea typeface="ＭＳ Ｐゴシック" pitchFamily="50" charset="-128"/>
            </a:endParaRPr>
          </a:p>
        </p:txBody>
      </p:sp>
    </p:spTree>
  </p:cSld>
  <p:clrMapOvr>
    <a:masterClrMapping/>
  </p:clrMapOvr>
  <p:timing>
    <p:tnLst>
      <p:par>
        <p:cTn id="1" dur="indefinite" restart="never" nodeType="tmRoot"/>
      </p:par>
    </p:tn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6601" name="Title 1"/>
          <p:cNvSpPr>
            <a:spLocks noGrp="1"/>
          </p:cNvSpPr>
          <p:nvPr>
            <p:ph type="title"/>
            <p:custDataLst>
              <p:tags r:id="rId2"/>
            </p:custDataLst>
          </p:nvPr>
        </p:nvSpPr>
        <p:spPr>
          <a:xfrm>
            <a:off x="414338" y="446038"/>
            <a:ext cx="8330184" cy="333425"/>
          </a:xfrm>
        </p:spPr>
        <p:txBody>
          <a:bodyPr/>
          <a:lstStyle/>
          <a:p>
            <a:r>
              <a:rPr lang="en-GB" altLang="ja-JP"/>
              <a:t>Other </a:t>
            </a:r>
            <a:r>
              <a:rPr lang="en-US"/>
              <a:t>—</a:t>
            </a:r>
            <a:r>
              <a:rPr lang="en-GB" altLang="ja-JP" smtClean="0"/>
              <a:t> </a:t>
            </a:r>
            <a:r>
              <a:rPr lang="en-GB" altLang="ja-JP"/>
              <a:t>funnels</a:t>
            </a:r>
            <a:endParaRPr lang="nl-NL"/>
          </a:p>
        </p:txBody>
      </p:sp>
      <p:grpSp>
        <p:nvGrpSpPr>
          <p:cNvPr id="2" name="Group 3"/>
          <p:cNvGrpSpPr>
            <a:grpSpLocks/>
          </p:cNvGrpSpPr>
          <p:nvPr>
            <p:custDataLst>
              <p:tags r:id="rId3"/>
            </p:custDataLst>
          </p:nvPr>
        </p:nvGrpSpPr>
        <p:grpSpPr bwMode="auto">
          <a:xfrm>
            <a:off x="542743" y="2495331"/>
            <a:ext cx="1989138" cy="2332037"/>
            <a:chOff x="2520" y="1165"/>
            <a:chExt cx="1129" cy="2424"/>
          </a:xfrm>
        </p:grpSpPr>
        <p:sp>
          <p:nvSpPr>
            <p:cNvPr id="5" name="AutoShape 4"/>
            <p:cNvSpPr>
              <a:spLocks noChangeAspect="1" noChangeArrowheads="1"/>
            </p:cNvSpPr>
            <p:nvPr/>
          </p:nvSpPr>
          <p:spPr bwMode="auto">
            <a:xfrm rot="10800000" flipH="1">
              <a:off x="2520" y="1165"/>
              <a:ext cx="1129" cy="2424"/>
            </a:xfrm>
            <a:prstGeom prst="triangle">
              <a:avLst>
                <a:gd name="adj" fmla="val 49995"/>
              </a:avLst>
            </a:prstGeom>
            <a:solidFill>
              <a:schemeClr val="bg1"/>
            </a:solidFill>
            <a:ln w="12700">
              <a:solidFill>
                <a:schemeClr val="accent1"/>
              </a:solidFill>
              <a:miter lim="800000"/>
              <a:headEnd/>
              <a:tailEnd/>
            </a:ln>
          </p:spPr>
          <p:txBody>
            <a:bodyPr wrap="none" anchor="ctr"/>
            <a:lstStyle/>
            <a:p>
              <a:pPr algn="ctr">
                <a:defRPr/>
              </a:pPr>
              <a:endParaRPr lang="en-GB"/>
            </a:p>
          </p:txBody>
        </p:sp>
        <p:sp>
          <p:nvSpPr>
            <p:cNvPr id="6" name="Line 5"/>
            <p:cNvSpPr>
              <a:spLocks noChangeAspect="1" noChangeShapeType="1"/>
            </p:cNvSpPr>
            <p:nvPr/>
          </p:nvSpPr>
          <p:spPr bwMode="auto">
            <a:xfrm>
              <a:off x="2565" y="1358"/>
              <a:ext cx="1039" cy="0"/>
            </a:xfrm>
            <a:prstGeom prst="line">
              <a:avLst/>
            </a:prstGeom>
            <a:noFill/>
            <a:ln w="12700">
              <a:solidFill>
                <a:schemeClr val="accent1"/>
              </a:solidFill>
              <a:prstDash val="dash"/>
              <a:round/>
              <a:headEnd type="none" w="sm" len="sm"/>
              <a:tailEnd type="none" w="sm" len="sm"/>
            </a:ln>
          </p:spPr>
          <p:txBody>
            <a:bodyPr/>
            <a:lstStyle/>
            <a:p>
              <a:pPr>
                <a:defRPr/>
              </a:pPr>
              <a:endParaRPr lang="en-GB"/>
            </a:p>
          </p:txBody>
        </p:sp>
        <p:sp>
          <p:nvSpPr>
            <p:cNvPr id="7" name="Line 6"/>
            <p:cNvSpPr>
              <a:spLocks noChangeAspect="1" noChangeShapeType="1"/>
            </p:cNvSpPr>
            <p:nvPr/>
          </p:nvSpPr>
          <p:spPr bwMode="auto">
            <a:xfrm>
              <a:off x="3018" y="3292"/>
              <a:ext cx="135" cy="0"/>
            </a:xfrm>
            <a:prstGeom prst="line">
              <a:avLst/>
            </a:prstGeom>
            <a:noFill/>
            <a:ln w="12700">
              <a:solidFill>
                <a:schemeClr val="accent1"/>
              </a:solidFill>
              <a:prstDash val="dash"/>
              <a:round/>
              <a:headEnd type="none" w="sm" len="sm"/>
              <a:tailEnd type="none" w="sm" len="sm"/>
            </a:ln>
          </p:spPr>
          <p:txBody>
            <a:bodyPr/>
            <a:lstStyle/>
            <a:p>
              <a:pPr>
                <a:defRPr/>
              </a:pPr>
              <a:endParaRPr lang="en-GB"/>
            </a:p>
          </p:txBody>
        </p:sp>
        <p:sp>
          <p:nvSpPr>
            <p:cNvPr id="8" name="Line 7"/>
            <p:cNvSpPr>
              <a:spLocks noChangeAspect="1" noChangeShapeType="1"/>
            </p:cNvSpPr>
            <p:nvPr/>
          </p:nvSpPr>
          <p:spPr bwMode="auto">
            <a:xfrm>
              <a:off x="2853" y="2586"/>
              <a:ext cx="467" cy="0"/>
            </a:xfrm>
            <a:prstGeom prst="line">
              <a:avLst/>
            </a:prstGeom>
            <a:noFill/>
            <a:ln w="12700">
              <a:solidFill>
                <a:schemeClr val="accent1"/>
              </a:solidFill>
              <a:prstDash val="dash"/>
              <a:round/>
              <a:headEnd type="none" w="sm" len="sm"/>
              <a:tailEnd type="none" w="sm" len="sm"/>
            </a:ln>
          </p:spPr>
          <p:txBody>
            <a:bodyPr/>
            <a:lstStyle/>
            <a:p>
              <a:pPr>
                <a:defRPr/>
              </a:pPr>
              <a:endParaRPr lang="en-GB"/>
            </a:p>
          </p:txBody>
        </p:sp>
        <p:sp>
          <p:nvSpPr>
            <p:cNvPr id="9" name="Line 8"/>
            <p:cNvSpPr>
              <a:spLocks noChangeAspect="1" noChangeShapeType="1"/>
            </p:cNvSpPr>
            <p:nvPr/>
          </p:nvSpPr>
          <p:spPr bwMode="auto">
            <a:xfrm>
              <a:off x="2710" y="1969"/>
              <a:ext cx="754" cy="0"/>
            </a:xfrm>
            <a:prstGeom prst="line">
              <a:avLst/>
            </a:prstGeom>
            <a:noFill/>
            <a:ln w="12700">
              <a:solidFill>
                <a:schemeClr val="accent1"/>
              </a:solidFill>
              <a:prstDash val="dash"/>
              <a:round/>
              <a:headEnd type="none" w="sm" len="sm"/>
              <a:tailEnd type="none" w="sm" len="sm"/>
            </a:ln>
          </p:spPr>
          <p:txBody>
            <a:bodyPr/>
            <a:lstStyle/>
            <a:p>
              <a:pPr>
                <a:defRPr/>
              </a:pPr>
              <a:endParaRPr lang="en-GB"/>
            </a:p>
          </p:txBody>
        </p:sp>
      </p:grpSp>
      <p:grpSp>
        <p:nvGrpSpPr>
          <p:cNvPr id="3" name="Group 9"/>
          <p:cNvGrpSpPr>
            <a:grpSpLocks/>
          </p:cNvGrpSpPr>
          <p:nvPr>
            <p:custDataLst>
              <p:tags r:id="rId4"/>
            </p:custDataLst>
          </p:nvPr>
        </p:nvGrpSpPr>
        <p:grpSpPr bwMode="auto">
          <a:xfrm>
            <a:off x="2753276" y="2499232"/>
            <a:ext cx="2778125" cy="1947863"/>
            <a:chOff x="1618" y="1792"/>
            <a:chExt cx="1750" cy="1227"/>
          </a:xfrm>
        </p:grpSpPr>
        <p:sp>
          <p:nvSpPr>
            <p:cNvPr id="11" name="Freeform 10"/>
            <p:cNvSpPr>
              <a:spLocks/>
            </p:cNvSpPr>
            <p:nvPr/>
          </p:nvSpPr>
          <p:spPr bwMode="auto">
            <a:xfrm>
              <a:off x="1618" y="1792"/>
              <a:ext cx="1750" cy="1227"/>
            </a:xfrm>
            <a:custGeom>
              <a:avLst/>
              <a:gdLst/>
              <a:ahLst/>
              <a:cxnLst>
                <a:cxn ang="0">
                  <a:pos x="0" y="0"/>
                </a:cxn>
                <a:cxn ang="0">
                  <a:pos x="401" y="405"/>
                </a:cxn>
                <a:cxn ang="0">
                  <a:pos x="418" y="745"/>
                </a:cxn>
                <a:cxn ang="0">
                  <a:pos x="419" y="754"/>
                </a:cxn>
                <a:cxn ang="0">
                  <a:pos x="422" y="761"/>
                </a:cxn>
                <a:cxn ang="0">
                  <a:pos x="425" y="765"/>
                </a:cxn>
                <a:cxn ang="0">
                  <a:pos x="430" y="769"/>
                </a:cxn>
                <a:cxn ang="0">
                  <a:pos x="436" y="774"/>
                </a:cxn>
                <a:cxn ang="0">
                  <a:pos x="442" y="777"/>
                </a:cxn>
                <a:cxn ang="0">
                  <a:pos x="451" y="781"/>
                </a:cxn>
                <a:cxn ang="0">
                  <a:pos x="461" y="784"/>
                </a:cxn>
                <a:cxn ang="0">
                  <a:pos x="473" y="785"/>
                </a:cxn>
                <a:cxn ang="0">
                  <a:pos x="481" y="786"/>
                </a:cxn>
                <a:cxn ang="0">
                  <a:pos x="488" y="786"/>
                </a:cxn>
                <a:cxn ang="0">
                  <a:pos x="496" y="785"/>
                </a:cxn>
                <a:cxn ang="0">
                  <a:pos x="504" y="784"/>
                </a:cxn>
                <a:cxn ang="0">
                  <a:pos x="512" y="780"/>
                </a:cxn>
                <a:cxn ang="0">
                  <a:pos x="521" y="777"/>
                </a:cxn>
                <a:cxn ang="0">
                  <a:pos x="527" y="774"/>
                </a:cxn>
                <a:cxn ang="0">
                  <a:pos x="533" y="768"/>
                </a:cxn>
                <a:cxn ang="0">
                  <a:pos x="538" y="763"/>
                </a:cxn>
                <a:cxn ang="0">
                  <a:pos x="542" y="755"/>
                </a:cxn>
                <a:cxn ang="0">
                  <a:pos x="543" y="747"/>
                </a:cxn>
                <a:cxn ang="0">
                  <a:pos x="569" y="398"/>
                </a:cxn>
                <a:cxn ang="0">
                  <a:pos x="961" y="0"/>
                </a:cxn>
                <a:cxn ang="0">
                  <a:pos x="0" y="0"/>
                </a:cxn>
              </a:cxnLst>
              <a:rect l="0" t="0" r="r" b="b"/>
              <a:pathLst>
                <a:path w="962" h="787">
                  <a:moveTo>
                    <a:pt x="0" y="0"/>
                  </a:moveTo>
                  <a:lnTo>
                    <a:pt x="401" y="405"/>
                  </a:lnTo>
                  <a:lnTo>
                    <a:pt x="418" y="745"/>
                  </a:lnTo>
                  <a:lnTo>
                    <a:pt x="419" y="754"/>
                  </a:lnTo>
                  <a:lnTo>
                    <a:pt x="422" y="761"/>
                  </a:lnTo>
                  <a:lnTo>
                    <a:pt x="425" y="765"/>
                  </a:lnTo>
                  <a:lnTo>
                    <a:pt x="430" y="769"/>
                  </a:lnTo>
                  <a:lnTo>
                    <a:pt x="436" y="774"/>
                  </a:lnTo>
                  <a:lnTo>
                    <a:pt x="442" y="777"/>
                  </a:lnTo>
                  <a:lnTo>
                    <a:pt x="451" y="781"/>
                  </a:lnTo>
                  <a:lnTo>
                    <a:pt x="461" y="784"/>
                  </a:lnTo>
                  <a:lnTo>
                    <a:pt x="473" y="785"/>
                  </a:lnTo>
                  <a:lnTo>
                    <a:pt x="481" y="786"/>
                  </a:lnTo>
                  <a:lnTo>
                    <a:pt x="488" y="786"/>
                  </a:lnTo>
                  <a:lnTo>
                    <a:pt x="496" y="785"/>
                  </a:lnTo>
                  <a:lnTo>
                    <a:pt x="504" y="784"/>
                  </a:lnTo>
                  <a:lnTo>
                    <a:pt x="512" y="780"/>
                  </a:lnTo>
                  <a:lnTo>
                    <a:pt x="521" y="777"/>
                  </a:lnTo>
                  <a:lnTo>
                    <a:pt x="527" y="774"/>
                  </a:lnTo>
                  <a:lnTo>
                    <a:pt x="533" y="768"/>
                  </a:lnTo>
                  <a:lnTo>
                    <a:pt x="538" y="763"/>
                  </a:lnTo>
                  <a:lnTo>
                    <a:pt x="542" y="755"/>
                  </a:lnTo>
                  <a:lnTo>
                    <a:pt x="543" y="747"/>
                  </a:lnTo>
                  <a:lnTo>
                    <a:pt x="569" y="398"/>
                  </a:lnTo>
                  <a:lnTo>
                    <a:pt x="961" y="0"/>
                  </a:lnTo>
                  <a:lnTo>
                    <a:pt x="0" y="0"/>
                  </a:lnTo>
                </a:path>
              </a:pathLst>
            </a:custGeom>
            <a:solidFill>
              <a:schemeClr val="accent1"/>
            </a:solidFill>
            <a:ln w="12700" cap="rnd">
              <a:noFill/>
              <a:round/>
              <a:headEnd/>
              <a:tailEnd/>
            </a:ln>
            <a:effectLst/>
          </p:spPr>
          <p:txBody>
            <a:bodyPr/>
            <a:lstStyle/>
            <a:p>
              <a:pPr>
                <a:defRPr/>
              </a:pPr>
              <a:endParaRPr lang="en-GB"/>
            </a:p>
          </p:txBody>
        </p:sp>
        <p:sp>
          <p:nvSpPr>
            <p:cNvPr id="366617" name="Freeform 13"/>
            <p:cNvSpPr>
              <a:spLocks/>
            </p:cNvSpPr>
            <p:nvPr/>
          </p:nvSpPr>
          <p:spPr bwMode="auto">
            <a:xfrm>
              <a:off x="2005" y="2004"/>
              <a:ext cx="967" cy="959"/>
            </a:xfrm>
            <a:custGeom>
              <a:avLst/>
              <a:gdLst>
                <a:gd name="T0" fmla="*/ 0 w 535"/>
                <a:gd name="T1" fmla="*/ 0 h 590"/>
                <a:gd name="T2" fmla="*/ 398 w 535"/>
                <a:gd name="T3" fmla="*/ 358 h 590"/>
                <a:gd name="T4" fmla="*/ 407 w 535"/>
                <a:gd name="T5" fmla="*/ 920 h 590"/>
                <a:gd name="T6" fmla="*/ 414 w 535"/>
                <a:gd name="T7" fmla="*/ 930 h 590"/>
                <a:gd name="T8" fmla="*/ 423 w 535"/>
                <a:gd name="T9" fmla="*/ 938 h 590"/>
                <a:gd name="T10" fmla="*/ 430 w 535"/>
                <a:gd name="T11" fmla="*/ 944 h 590"/>
                <a:gd name="T12" fmla="*/ 443 w 535"/>
                <a:gd name="T13" fmla="*/ 951 h 590"/>
                <a:gd name="T14" fmla="*/ 465 w 535"/>
                <a:gd name="T15" fmla="*/ 956 h 590"/>
                <a:gd name="T16" fmla="*/ 484 w 535"/>
                <a:gd name="T17" fmla="*/ 959 h 590"/>
                <a:gd name="T18" fmla="*/ 499 w 535"/>
                <a:gd name="T19" fmla="*/ 957 h 590"/>
                <a:gd name="T20" fmla="*/ 515 w 535"/>
                <a:gd name="T21" fmla="*/ 956 h 590"/>
                <a:gd name="T22" fmla="*/ 531 w 535"/>
                <a:gd name="T23" fmla="*/ 949 h 590"/>
                <a:gd name="T24" fmla="*/ 544 w 535"/>
                <a:gd name="T25" fmla="*/ 939 h 590"/>
                <a:gd name="T26" fmla="*/ 553 w 535"/>
                <a:gd name="T27" fmla="*/ 926 h 590"/>
                <a:gd name="T28" fmla="*/ 559 w 535"/>
                <a:gd name="T29" fmla="*/ 920 h 590"/>
                <a:gd name="T30" fmla="*/ 582 w 535"/>
                <a:gd name="T31" fmla="*/ 354 h 590"/>
                <a:gd name="T32" fmla="*/ 967 w 535"/>
                <a:gd name="T33" fmla="*/ 0 h 590"/>
                <a:gd name="T34" fmla="*/ 0 w 535"/>
                <a:gd name="T35" fmla="*/ 0 h 5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35"/>
                <a:gd name="T55" fmla="*/ 0 h 590"/>
                <a:gd name="T56" fmla="*/ 535 w 535"/>
                <a:gd name="T57" fmla="*/ 590 h 5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35" h="590">
                  <a:moveTo>
                    <a:pt x="0" y="0"/>
                  </a:moveTo>
                  <a:lnTo>
                    <a:pt x="220" y="220"/>
                  </a:lnTo>
                  <a:cubicBezTo>
                    <a:pt x="222" y="337"/>
                    <a:pt x="223" y="449"/>
                    <a:pt x="225" y="566"/>
                  </a:cubicBezTo>
                  <a:cubicBezTo>
                    <a:pt x="226" y="568"/>
                    <a:pt x="228" y="570"/>
                    <a:pt x="229" y="572"/>
                  </a:cubicBezTo>
                  <a:lnTo>
                    <a:pt x="234" y="577"/>
                  </a:lnTo>
                  <a:lnTo>
                    <a:pt x="238" y="581"/>
                  </a:lnTo>
                  <a:cubicBezTo>
                    <a:pt x="240" y="582"/>
                    <a:pt x="243" y="584"/>
                    <a:pt x="245" y="585"/>
                  </a:cubicBezTo>
                  <a:lnTo>
                    <a:pt x="257" y="588"/>
                  </a:lnTo>
                  <a:cubicBezTo>
                    <a:pt x="261" y="589"/>
                    <a:pt x="264" y="589"/>
                    <a:pt x="268" y="590"/>
                  </a:cubicBezTo>
                  <a:cubicBezTo>
                    <a:pt x="271" y="590"/>
                    <a:pt x="273" y="589"/>
                    <a:pt x="276" y="589"/>
                  </a:cubicBezTo>
                  <a:cubicBezTo>
                    <a:pt x="279" y="589"/>
                    <a:pt x="282" y="588"/>
                    <a:pt x="285" y="588"/>
                  </a:cubicBezTo>
                  <a:cubicBezTo>
                    <a:pt x="288" y="587"/>
                    <a:pt x="291" y="585"/>
                    <a:pt x="294" y="584"/>
                  </a:cubicBezTo>
                  <a:cubicBezTo>
                    <a:pt x="296" y="582"/>
                    <a:pt x="299" y="580"/>
                    <a:pt x="301" y="578"/>
                  </a:cubicBezTo>
                  <a:cubicBezTo>
                    <a:pt x="303" y="575"/>
                    <a:pt x="304" y="573"/>
                    <a:pt x="306" y="570"/>
                  </a:cubicBezTo>
                  <a:cubicBezTo>
                    <a:pt x="307" y="569"/>
                    <a:pt x="308" y="567"/>
                    <a:pt x="309" y="566"/>
                  </a:cubicBezTo>
                  <a:cubicBezTo>
                    <a:pt x="313" y="446"/>
                    <a:pt x="318" y="338"/>
                    <a:pt x="322" y="218"/>
                  </a:cubicBezTo>
                  <a:lnTo>
                    <a:pt x="535" y="0"/>
                  </a:lnTo>
                  <a:lnTo>
                    <a:pt x="0" y="0"/>
                  </a:lnTo>
                </a:path>
              </a:pathLst>
            </a:custGeom>
            <a:solidFill>
              <a:schemeClr val="accent2"/>
            </a:solidFill>
            <a:ln w="12700" cap="rnd">
              <a:solidFill>
                <a:schemeClr val="bg1"/>
              </a:solidFill>
              <a:round/>
              <a:headEnd/>
              <a:tailEnd/>
            </a:ln>
          </p:spPr>
          <p:txBody>
            <a:bodyPr/>
            <a:lstStyle/>
            <a:p>
              <a:endParaRPr lang="en-GB"/>
            </a:p>
          </p:txBody>
        </p:sp>
      </p:grpSp>
      <p:graphicFrame>
        <p:nvGraphicFramePr>
          <p:cNvPr id="366594" name="Rectangle 2" hidden="1"/>
          <p:cNvGraphicFramePr>
            <a:graphicFrameLocks/>
          </p:cNvGraphicFramePr>
          <p:nvPr>
            <p:custDataLst>
              <p:tags r:id="rId5"/>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0179" name="think-cell Slide" r:id="rId22" imgW="0" imgH="0" progId="">
                  <p:embed/>
                </p:oleObj>
              </mc:Choice>
              <mc:Fallback>
                <p:oleObj name="think-cell Slide" r:id="rId2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3" name="Group 32"/>
          <p:cNvGrpSpPr/>
          <p:nvPr/>
        </p:nvGrpSpPr>
        <p:grpSpPr>
          <a:xfrm>
            <a:off x="5770207" y="2102880"/>
            <a:ext cx="2835275" cy="2387311"/>
            <a:chOff x="5738813" y="2306638"/>
            <a:chExt cx="2835275" cy="2387311"/>
          </a:xfrm>
        </p:grpSpPr>
        <p:sp>
          <p:nvSpPr>
            <p:cNvPr id="18" name="Freeform 17"/>
            <p:cNvSpPr>
              <a:spLocks/>
            </p:cNvSpPr>
            <p:nvPr>
              <p:custDataLst>
                <p:tags r:id="rId7"/>
              </p:custDataLst>
            </p:nvPr>
          </p:nvSpPr>
          <p:spPr bwMode="auto">
            <a:xfrm>
              <a:off x="5738813" y="2700338"/>
              <a:ext cx="2547937" cy="1879600"/>
            </a:xfrm>
            <a:custGeom>
              <a:avLst/>
              <a:gdLst/>
              <a:ahLst/>
              <a:cxnLst>
                <a:cxn ang="0">
                  <a:pos x="0" y="0"/>
                </a:cxn>
                <a:cxn ang="0">
                  <a:pos x="446" y="947"/>
                </a:cxn>
                <a:cxn ang="0">
                  <a:pos x="844" y="950"/>
                </a:cxn>
                <a:cxn ang="0">
                  <a:pos x="1290" y="3"/>
                </a:cxn>
                <a:cxn ang="0">
                  <a:pos x="0" y="0"/>
                </a:cxn>
              </a:cxnLst>
              <a:rect l="0" t="0" r="r" b="b"/>
              <a:pathLst>
                <a:path w="1291" h="951">
                  <a:moveTo>
                    <a:pt x="0" y="0"/>
                  </a:moveTo>
                  <a:lnTo>
                    <a:pt x="446" y="947"/>
                  </a:lnTo>
                  <a:lnTo>
                    <a:pt x="844" y="950"/>
                  </a:lnTo>
                  <a:lnTo>
                    <a:pt x="1290" y="3"/>
                  </a:lnTo>
                  <a:lnTo>
                    <a:pt x="0" y="0"/>
                  </a:lnTo>
                </a:path>
              </a:pathLst>
            </a:custGeom>
            <a:solidFill>
              <a:schemeClr val="accent1"/>
            </a:solidFill>
            <a:ln w="12700" cap="rnd" cmpd="sng">
              <a:solidFill>
                <a:schemeClr val="bg2"/>
              </a:solidFill>
              <a:prstDash val="solid"/>
              <a:round/>
              <a:headEnd type="none" w="med" len="med"/>
              <a:tailEnd type="none" w="med" len="med"/>
            </a:ln>
            <a:effectLst/>
          </p:spPr>
          <p:txBody>
            <a:bodyPr/>
            <a:lstStyle/>
            <a:p>
              <a:pPr>
                <a:defRPr/>
              </a:pPr>
              <a:endParaRPr lang="en-GB"/>
            </a:p>
          </p:txBody>
        </p:sp>
        <p:sp>
          <p:nvSpPr>
            <p:cNvPr id="17" name="Rectangle 16"/>
            <p:cNvSpPr>
              <a:spLocks noChangeArrowheads="1"/>
            </p:cNvSpPr>
            <p:nvPr>
              <p:custDataLst>
                <p:tags r:id="rId8"/>
              </p:custDataLst>
            </p:nvPr>
          </p:nvSpPr>
          <p:spPr bwMode="auto">
            <a:xfrm>
              <a:off x="6613525" y="4581236"/>
              <a:ext cx="788988" cy="112713"/>
            </a:xfrm>
            <a:prstGeom prst="rect">
              <a:avLst/>
            </a:prstGeom>
            <a:solidFill>
              <a:schemeClr val="accent1"/>
            </a:solidFill>
            <a:ln w="12700">
              <a:solidFill>
                <a:schemeClr val="bg2"/>
              </a:solidFill>
              <a:miter lim="800000"/>
              <a:headEnd/>
              <a:tailEnd/>
            </a:ln>
          </p:spPr>
          <p:txBody>
            <a:bodyPr wrap="none" anchor="ctr"/>
            <a:lstStyle/>
            <a:p>
              <a:pPr algn="ctr">
                <a:defRPr/>
              </a:pPr>
              <a:endParaRPr lang="en-GB"/>
            </a:p>
          </p:txBody>
        </p:sp>
        <p:sp>
          <p:nvSpPr>
            <p:cNvPr id="366597" name="AutoShape 19"/>
            <p:cNvSpPr>
              <a:spLocks noChangeArrowheads="1"/>
            </p:cNvSpPr>
            <p:nvPr>
              <p:custDataLst>
                <p:tags r:id="rId9"/>
              </p:custDataLst>
            </p:nvPr>
          </p:nvSpPr>
          <p:spPr bwMode="auto">
            <a:xfrm rot="16200000" flipH="1">
              <a:off x="5984875" y="2298700"/>
              <a:ext cx="312738" cy="382588"/>
            </a:xfrm>
            <a:prstGeom prst="rightArrow">
              <a:avLst>
                <a:gd name="adj1" fmla="val 50000"/>
                <a:gd name="adj2" fmla="val 29014"/>
              </a:avLst>
            </a:prstGeom>
            <a:solidFill>
              <a:schemeClr val="accent2"/>
            </a:solidFill>
            <a:ln w="12700">
              <a:solidFill>
                <a:schemeClr val="bg1"/>
              </a:solidFill>
              <a:miter lim="800000"/>
              <a:headEnd/>
              <a:tailEnd/>
            </a:ln>
          </p:spPr>
          <p:txBody>
            <a:bodyPr wrap="none" anchor="ctr"/>
            <a:lstStyle/>
            <a:p>
              <a:pPr algn="ctr"/>
              <a:endParaRPr lang="en-GB"/>
            </a:p>
          </p:txBody>
        </p:sp>
        <p:sp>
          <p:nvSpPr>
            <p:cNvPr id="366598" name="Freeform 23"/>
            <p:cNvSpPr>
              <a:spLocks/>
            </p:cNvSpPr>
            <p:nvPr>
              <p:custDataLst>
                <p:tags r:id="rId10"/>
              </p:custDataLst>
            </p:nvPr>
          </p:nvSpPr>
          <p:spPr bwMode="auto">
            <a:xfrm>
              <a:off x="7700963" y="3100388"/>
              <a:ext cx="620712" cy="358775"/>
            </a:xfrm>
            <a:custGeom>
              <a:avLst/>
              <a:gdLst>
                <a:gd name="T0" fmla="*/ 2027370 w 314"/>
                <a:gd name="T1" fmla="*/ 226698 h 182"/>
                <a:gd name="T2" fmla="*/ 2035266 w 314"/>
                <a:gd name="T3" fmla="*/ 818086 h 182"/>
                <a:gd name="T4" fmla="*/ 1101531 w 314"/>
                <a:gd name="T5" fmla="*/ 847655 h 182"/>
                <a:gd name="T6" fmla="*/ 1348290 w 314"/>
                <a:gd name="T7" fmla="*/ 680095 h 182"/>
                <a:gd name="T8" fmla="*/ 919917 w 314"/>
                <a:gd name="T9" fmla="*/ 392287 h 182"/>
                <a:gd name="T10" fmla="*/ 825161 w 314"/>
                <a:gd name="T11" fmla="*/ 364689 h 182"/>
                <a:gd name="T12" fmla="*/ 722510 w 314"/>
                <a:gd name="T13" fmla="*/ 374545 h 182"/>
                <a:gd name="T14" fmla="*/ 598143 w 314"/>
                <a:gd name="T15" fmla="*/ 412000 h 182"/>
                <a:gd name="T16" fmla="*/ 454036 w 314"/>
                <a:gd name="T17" fmla="*/ 488880 h 182"/>
                <a:gd name="T18" fmla="*/ 321773 w 314"/>
                <a:gd name="T19" fmla="*/ 579560 h 182"/>
                <a:gd name="T20" fmla="*/ 0 w 314"/>
                <a:gd name="T21" fmla="*/ 362718 h 182"/>
                <a:gd name="T22" fmla="*/ 223070 w 314"/>
                <a:gd name="T23" fmla="*/ 214871 h 182"/>
                <a:gd name="T24" fmla="*/ 315851 w 314"/>
                <a:gd name="T25" fmla="*/ 171502 h 182"/>
                <a:gd name="T26" fmla="*/ 434295 w 314"/>
                <a:gd name="T27" fmla="*/ 112364 h 182"/>
                <a:gd name="T28" fmla="*/ 529051 w 314"/>
                <a:gd name="T29" fmla="*/ 78852 h 182"/>
                <a:gd name="T30" fmla="*/ 621832 w 314"/>
                <a:gd name="T31" fmla="*/ 41397 h 182"/>
                <a:gd name="T32" fmla="*/ 726458 w 314"/>
                <a:gd name="T33" fmla="*/ 13799 h 182"/>
                <a:gd name="T34" fmla="*/ 837006 w 314"/>
                <a:gd name="T35" fmla="*/ 0 h 182"/>
                <a:gd name="T36" fmla="*/ 959398 w 314"/>
                <a:gd name="T37" fmla="*/ 0 h 182"/>
                <a:gd name="T38" fmla="*/ 1065998 w 314"/>
                <a:gd name="T39" fmla="*/ 1971 h 182"/>
                <a:gd name="T40" fmla="*/ 1178520 w 314"/>
                <a:gd name="T41" fmla="*/ 21684 h 182"/>
                <a:gd name="T42" fmla="*/ 1289068 w 314"/>
                <a:gd name="T43" fmla="*/ 61110 h 182"/>
                <a:gd name="T44" fmla="*/ 1350264 w 314"/>
                <a:gd name="T45" fmla="*/ 110392 h 182"/>
                <a:gd name="T46" fmla="*/ 1784559 w 314"/>
                <a:gd name="T47" fmla="*/ 386373 h 182"/>
                <a:gd name="T48" fmla="*/ 2027370 w 314"/>
                <a:gd name="T49" fmla="*/ 226698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2"/>
                <a:gd name="T77" fmla="*/ 314 w 314"/>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2">
                  <a:moveTo>
                    <a:pt x="312" y="48"/>
                  </a:moveTo>
                  <a:lnTo>
                    <a:pt x="313" y="175"/>
                  </a:lnTo>
                  <a:lnTo>
                    <a:pt x="169" y="181"/>
                  </a:lnTo>
                  <a:lnTo>
                    <a:pt x="207" y="145"/>
                  </a:lnTo>
                  <a:lnTo>
                    <a:pt x="142" y="84"/>
                  </a:lnTo>
                  <a:lnTo>
                    <a:pt x="127" y="78"/>
                  </a:lnTo>
                  <a:lnTo>
                    <a:pt x="111" y="80"/>
                  </a:lnTo>
                  <a:lnTo>
                    <a:pt x="92" y="88"/>
                  </a:lnTo>
                  <a:lnTo>
                    <a:pt x="70" y="105"/>
                  </a:lnTo>
                  <a:lnTo>
                    <a:pt x="50" y="124"/>
                  </a:lnTo>
                  <a:lnTo>
                    <a:pt x="0" y="77"/>
                  </a:lnTo>
                  <a:lnTo>
                    <a:pt x="34" y="46"/>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2"/>
            </a:solidFill>
            <a:ln w="12700" cap="rnd">
              <a:solidFill>
                <a:schemeClr val="bg1"/>
              </a:solidFill>
              <a:round/>
              <a:headEnd/>
              <a:tailEnd/>
            </a:ln>
          </p:spPr>
          <p:txBody>
            <a:bodyPr/>
            <a:lstStyle/>
            <a:p>
              <a:endParaRPr lang="en-GB"/>
            </a:p>
          </p:txBody>
        </p:sp>
        <p:sp>
          <p:nvSpPr>
            <p:cNvPr id="366599" name="Freeform 24"/>
            <p:cNvSpPr>
              <a:spLocks/>
            </p:cNvSpPr>
            <p:nvPr>
              <p:custDataLst>
                <p:tags r:id="rId11"/>
              </p:custDataLst>
            </p:nvPr>
          </p:nvSpPr>
          <p:spPr bwMode="auto">
            <a:xfrm>
              <a:off x="7392988" y="3784600"/>
              <a:ext cx="622300" cy="360363"/>
            </a:xfrm>
            <a:custGeom>
              <a:avLst/>
              <a:gdLst>
                <a:gd name="T0" fmla="*/ 2025710 w 315"/>
                <a:gd name="T1" fmla="*/ 231662 h 182"/>
                <a:gd name="T2" fmla="*/ 2033600 w 315"/>
                <a:gd name="T3" fmla="*/ 837547 h 182"/>
                <a:gd name="T4" fmla="*/ 1102602 w 315"/>
                <a:gd name="T5" fmla="*/ 869227 h 182"/>
                <a:gd name="T6" fmla="*/ 1345214 w 315"/>
                <a:gd name="T7" fmla="*/ 696966 h 182"/>
                <a:gd name="T8" fmla="*/ 921136 w 315"/>
                <a:gd name="T9" fmla="*/ 401943 h 182"/>
                <a:gd name="T10" fmla="*/ 822513 w 315"/>
                <a:gd name="T11" fmla="*/ 372243 h 182"/>
                <a:gd name="T12" fmla="*/ 719946 w 315"/>
                <a:gd name="T13" fmla="*/ 386103 h 182"/>
                <a:gd name="T14" fmla="*/ 599626 w 315"/>
                <a:gd name="T15" fmla="*/ 421743 h 182"/>
                <a:gd name="T16" fmla="*/ 453664 w 315"/>
                <a:gd name="T17" fmla="*/ 500944 h 182"/>
                <a:gd name="T18" fmla="*/ 321510 w 315"/>
                <a:gd name="T19" fmla="*/ 595985 h 182"/>
                <a:gd name="T20" fmla="*/ 0 w 315"/>
                <a:gd name="T21" fmla="*/ 370263 h 182"/>
                <a:gd name="T22" fmla="*/ 220915 w 315"/>
                <a:gd name="T23" fmla="*/ 219782 h 182"/>
                <a:gd name="T24" fmla="*/ 309675 w 315"/>
                <a:gd name="T25" fmla="*/ 172261 h 182"/>
                <a:gd name="T26" fmla="*/ 431967 w 315"/>
                <a:gd name="T27" fmla="*/ 112861 h 182"/>
                <a:gd name="T28" fmla="*/ 528618 w 315"/>
                <a:gd name="T29" fmla="*/ 79201 h 182"/>
                <a:gd name="T30" fmla="*/ 621323 w 315"/>
                <a:gd name="T31" fmla="*/ 41580 h 182"/>
                <a:gd name="T32" fmla="*/ 723891 w 315"/>
                <a:gd name="T33" fmla="*/ 13860 h 182"/>
                <a:gd name="T34" fmla="*/ 836320 w 315"/>
                <a:gd name="T35" fmla="*/ 0 h 182"/>
                <a:gd name="T36" fmla="*/ 968475 w 315"/>
                <a:gd name="T37" fmla="*/ 0 h 182"/>
                <a:gd name="T38" fmla="*/ 1067098 w 315"/>
                <a:gd name="T39" fmla="*/ 1980 h 182"/>
                <a:gd name="T40" fmla="*/ 1179527 w 315"/>
                <a:gd name="T41" fmla="*/ 21780 h 182"/>
                <a:gd name="T42" fmla="*/ 1289985 w 315"/>
                <a:gd name="T43" fmla="*/ 61381 h 182"/>
                <a:gd name="T44" fmla="*/ 1351131 w 315"/>
                <a:gd name="T45" fmla="*/ 110881 h 182"/>
                <a:gd name="T46" fmla="*/ 1789016 w 315"/>
                <a:gd name="T47" fmla="*/ 390063 h 182"/>
                <a:gd name="T48" fmla="*/ 2025710 w 315"/>
                <a:gd name="T49" fmla="*/ 231662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5"/>
                <a:gd name="T76" fmla="*/ 0 h 182"/>
                <a:gd name="T77" fmla="*/ 315 w 315"/>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5" h="182">
                  <a:moveTo>
                    <a:pt x="313" y="48"/>
                  </a:moveTo>
                  <a:lnTo>
                    <a:pt x="314" y="175"/>
                  </a:lnTo>
                  <a:lnTo>
                    <a:pt x="170" y="181"/>
                  </a:lnTo>
                  <a:lnTo>
                    <a:pt x="208" y="145"/>
                  </a:lnTo>
                  <a:lnTo>
                    <a:pt x="143" y="84"/>
                  </a:lnTo>
                  <a:lnTo>
                    <a:pt x="127" y="78"/>
                  </a:lnTo>
                  <a:lnTo>
                    <a:pt x="111" y="80"/>
                  </a:lnTo>
                  <a:lnTo>
                    <a:pt x="93" y="88"/>
                  </a:lnTo>
                  <a:lnTo>
                    <a:pt x="70" y="105"/>
                  </a:lnTo>
                  <a:lnTo>
                    <a:pt x="50" y="124"/>
                  </a:lnTo>
                  <a:lnTo>
                    <a:pt x="0" y="77"/>
                  </a:lnTo>
                  <a:lnTo>
                    <a:pt x="34" y="46"/>
                  </a:lnTo>
                  <a:lnTo>
                    <a:pt x="48" y="36"/>
                  </a:lnTo>
                  <a:lnTo>
                    <a:pt x="67" y="24"/>
                  </a:lnTo>
                  <a:lnTo>
                    <a:pt x="82" y="17"/>
                  </a:lnTo>
                  <a:lnTo>
                    <a:pt x="96" y="9"/>
                  </a:lnTo>
                  <a:lnTo>
                    <a:pt x="112" y="3"/>
                  </a:lnTo>
                  <a:lnTo>
                    <a:pt x="129" y="0"/>
                  </a:lnTo>
                  <a:lnTo>
                    <a:pt x="149" y="0"/>
                  </a:lnTo>
                  <a:lnTo>
                    <a:pt x="165" y="1"/>
                  </a:lnTo>
                  <a:lnTo>
                    <a:pt x="182" y="5"/>
                  </a:lnTo>
                  <a:lnTo>
                    <a:pt x="199" y="13"/>
                  </a:lnTo>
                  <a:lnTo>
                    <a:pt x="209" y="23"/>
                  </a:lnTo>
                  <a:lnTo>
                    <a:pt x="276" y="82"/>
                  </a:lnTo>
                  <a:lnTo>
                    <a:pt x="313" y="48"/>
                  </a:lnTo>
                </a:path>
              </a:pathLst>
            </a:custGeom>
            <a:solidFill>
              <a:schemeClr val="accent2"/>
            </a:solidFill>
            <a:ln w="12700" cap="rnd">
              <a:solidFill>
                <a:schemeClr val="bg1"/>
              </a:solidFill>
              <a:round/>
              <a:headEnd/>
              <a:tailEnd/>
            </a:ln>
          </p:spPr>
          <p:txBody>
            <a:bodyPr/>
            <a:lstStyle/>
            <a:p>
              <a:endParaRPr lang="en-GB"/>
            </a:p>
          </p:txBody>
        </p:sp>
        <p:sp>
          <p:nvSpPr>
            <p:cNvPr id="366600" name="Freeform 25"/>
            <p:cNvSpPr>
              <a:spLocks/>
            </p:cNvSpPr>
            <p:nvPr>
              <p:custDataLst>
                <p:tags r:id="rId12"/>
              </p:custDataLst>
            </p:nvPr>
          </p:nvSpPr>
          <p:spPr bwMode="auto">
            <a:xfrm>
              <a:off x="7953375" y="2371725"/>
              <a:ext cx="620713" cy="361950"/>
            </a:xfrm>
            <a:custGeom>
              <a:avLst/>
              <a:gdLst>
                <a:gd name="T0" fmla="*/ 2027370 w 314"/>
                <a:gd name="T1" fmla="*/ 229433 h 183"/>
                <a:gd name="T2" fmla="*/ 2035266 w 314"/>
                <a:gd name="T3" fmla="*/ 838616 h 183"/>
                <a:gd name="T4" fmla="*/ 1101531 w 314"/>
                <a:gd name="T5" fmla="*/ 870262 h 183"/>
                <a:gd name="T6" fmla="*/ 1348290 w 314"/>
                <a:gd name="T7" fmla="*/ 698188 h 183"/>
                <a:gd name="T8" fmla="*/ 919917 w 314"/>
                <a:gd name="T9" fmla="*/ 403485 h 183"/>
                <a:gd name="T10" fmla="*/ 825161 w 314"/>
                <a:gd name="T11" fmla="*/ 371839 h 183"/>
                <a:gd name="T12" fmla="*/ 722510 w 314"/>
                <a:gd name="T13" fmla="*/ 387662 h 183"/>
                <a:gd name="T14" fmla="*/ 598143 w 314"/>
                <a:gd name="T15" fmla="*/ 423264 h 183"/>
                <a:gd name="T16" fmla="*/ 454036 w 314"/>
                <a:gd name="T17" fmla="*/ 500401 h 183"/>
                <a:gd name="T18" fmla="*/ 321773 w 314"/>
                <a:gd name="T19" fmla="*/ 597316 h 183"/>
                <a:gd name="T20" fmla="*/ 0 w 314"/>
                <a:gd name="T21" fmla="*/ 371839 h 183"/>
                <a:gd name="T22" fmla="*/ 223070 w 314"/>
                <a:gd name="T23" fmla="*/ 227455 h 183"/>
                <a:gd name="T24" fmla="*/ 315851 w 314"/>
                <a:gd name="T25" fmla="*/ 172075 h 183"/>
                <a:gd name="T26" fmla="*/ 434295 w 314"/>
                <a:gd name="T27" fmla="*/ 112739 h 183"/>
                <a:gd name="T28" fmla="*/ 529051 w 314"/>
                <a:gd name="T29" fmla="*/ 79115 h 183"/>
                <a:gd name="T30" fmla="*/ 621832 w 314"/>
                <a:gd name="T31" fmla="*/ 41535 h 183"/>
                <a:gd name="T32" fmla="*/ 726458 w 314"/>
                <a:gd name="T33" fmla="*/ 13845 h 183"/>
                <a:gd name="T34" fmla="*/ 837006 w 314"/>
                <a:gd name="T35" fmla="*/ 0 h 183"/>
                <a:gd name="T36" fmla="*/ 959398 w 314"/>
                <a:gd name="T37" fmla="*/ 0 h 183"/>
                <a:gd name="T38" fmla="*/ 1065998 w 314"/>
                <a:gd name="T39" fmla="*/ 1978 h 183"/>
                <a:gd name="T40" fmla="*/ 1178520 w 314"/>
                <a:gd name="T41" fmla="*/ 21757 h 183"/>
                <a:gd name="T42" fmla="*/ 1289068 w 314"/>
                <a:gd name="T43" fmla="*/ 61314 h 183"/>
                <a:gd name="T44" fmla="*/ 1350264 w 314"/>
                <a:gd name="T45" fmla="*/ 110761 h 183"/>
                <a:gd name="T46" fmla="*/ 1784559 w 314"/>
                <a:gd name="T47" fmla="*/ 389640 h 183"/>
                <a:gd name="T48" fmla="*/ 2027370 w 314"/>
                <a:gd name="T49" fmla="*/ 229433 h 1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3"/>
                <a:gd name="T77" fmla="*/ 314 w 314"/>
                <a:gd name="T78" fmla="*/ 183 h 1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3">
                  <a:moveTo>
                    <a:pt x="312" y="48"/>
                  </a:moveTo>
                  <a:lnTo>
                    <a:pt x="313" y="176"/>
                  </a:lnTo>
                  <a:lnTo>
                    <a:pt x="169" y="182"/>
                  </a:lnTo>
                  <a:lnTo>
                    <a:pt x="207" y="146"/>
                  </a:lnTo>
                  <a:lnTo>
                    <a:pt x="142" y="85"/>
                  </a:lnTo>
                  <a:lnTo>
                    <a:pt x="127" y="78"/>
                  </a:lnTo>
                  <a:lnTo>
                    <a:pt x="111" y="81"/>
                  </a:lnTo>
                  <a:lnTo>
                    <a:pt x="92" y="89"/>
                  </a:lnTo>
                  <a:lnTo>
                    <a:pt x="70" y="105"/>
                  </a:lnTo>
                  <a:lnTo>
                    <a:pt x="50" y="125"/>
                  </a:lnTo>
                  <a:lnTo>
                    <a:pt x="0" y="78"/>
                  </a:lnTo>
                  <a:lnTo>
                    <a:pt x="34" y="47"/>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2"/>
            </a:solidFill>
            <a:ln w="12700" cap="rnd">
              <a:solidFill>
                <a:schemeClr val="bg1"/>
              </a:solidFill>
              <a:round/>
              <a:headEnd/>
              <a:tailEnd/>
            </a:ln>
          </p:spPr>
          <p:txBody>
            <a:bodyPr/>
            <a:lstStyle/>
            <a:p>
              <a:endParaRPr lang="en-GB"/>
            </a:p>
          </p:txBody>
        </p:sp>
        <p:cxnSp>
          <p:nvCxnSpPr>
            <p:cNvPr id="43" name="Straight Connector 42"/>
            <p:cNvCxnSpPr/>
            <p:nvPr>
              <p:custDataLst>
                <p:tags r:id="rId13"/>
              </p:custDataLst>
            </p:nvPr>
          </p:nvCxnSpPr>
          <p:spPr>
            <a:xfrm flipV="1">
              <a:off x="5738813" y="2700338"/>
              <a:ext cx="254793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6081713" y="3433763"/>
              <a:ext cx="186213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14"/>
              </p:custDataLst>
            </p:nvPr>
          </p:nvCxnSpPr>
          <p:spPr>
            <a:xfrm flipV="1">
              <a:off x="6419850" y="4165600"/>
              <a:ext cx="117951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 name="Group 53"/>
            <p:cNvGrpSpPr>
              <a:grpSpLocks/>
            </p:cNvGrpSpPr>
            <p:nvPr/>
          </p:nvGrpSpPr>
          <p:grpSpPr bwMode="auto">
            <a:xfrm>
              <a:off x="6594475" y="3046413"/>
              <a:ext cx="835025" cy="598487"/>
              <a:chOff x="7137556" y="3046110"/>
              <a:chExt cx="904871" cy="598450"/>
            </a:xfrm>
          </p:grpSpPr>
          <p:sp>
            <p:nvSpPr>
              <p:cNvPr id="366611" name="AutoShape 22"/>
              <p:cNvSpPr>
                <a:spLocks noChangeArrowheads="1"/>
              </p:cNvSpPr>
              <p:nvPr>
                <p:custDataLst>
                  <p:tags r:id="rId19"/>
                </p:custDataLst>
              </p:nvPr>
            </p:nvSpPr>
            <p:spPr bwMode="auto">
              <a:xfrm rot="16200000" flipH="1">
                <a:off x="7052791" y="3131170"/>
                <a:ext cx="598155" cy="428625"/>
              </a:xfrm>
              <a:prstGeom prst="rightArrow">
                <a:avLst>
                  <a:gd name="adj1" fmla="val 50000"/>
                  <a:gd name="adj2" fmla="val 30256"/>
                </a:avLst>
              </a:prstGeom>
              <a:solidFill>
                <a:schemeClr val="accent2"/>
              </a:solidFill>
              <a:ln w="12700">
                <a:solidFill>
                  <a:schemeClr val="bg1"/>
                </a:solidFill>
                <a:miter lim="800000"/>
                <a:headEnd/>
                <a:tailEnd/>
              </a:ln>
            </p:spPr>
            <p:txBody>
              <a:bodyPr wrap="none" anchor="ctr"/>
              <a:lstStyle/>
              <a:p>
                <a:pPr algn="ctr"/>
                <a:endParaRPr lang="en-GB"/>
              </a:p>
            </p:txBody>
          </p:sp>
          <p:sp>
            <p:nvSpPr>
              <p:cNvPr id="366612" name="AutoShape 22"/>
              <p:cNvSpPr>
                <a:spLocks noChangeArrowheads="1"/>
              </p:cNvSpPr>
              <p:nvPr>
                <p:custDataLst>
                  <p:tags r:id="rId20"/>
                </p:custDataLst>
              </p:nvPr>
            </p:nvSpPr>
            <p:spPr bwMode="auto">
              <a:xfrm rot="16200000" flipH="1">
                <a:off x="7529037" y="3130875"/>
                <a:ext cx="598155" cy="428625"/>
              </a:xfrm>
              <a:prstGeom prst="rightArrow">
                <a:avLst>
                  <a:gd name="adj1" fmla="val 50000"/>
                  <a:gd name="adj2" fmla="val 30256"/>
                </a:avLst>
              </a:prstGeom>
              <a:solidFill>
                <a:schemeClr val="accent2"/>
              </a:solidFill>
              <a:ln w="12700">
                <a:solidFill>
                  <a:schemeClr val="bg1"/>
                </a:solidFill>
                <a:miter lim="800000"/>
                <a:headEnd/>
                <a:tailEnd/>
              </a:ln>
            </p:spPr>
            <p:txBody>
              <a:bodyPr wrap="none" anchor="ctr"/>
              <a:lstStyle/>
              <a:p>
                <a:pPr algn="ctr"/>
                <a:endParaRPr lang="en-GB"/>
              </a:p>
            </p:txBody>
          </p:sp>
        </p:grpSp>
        <p:grpSp>
          <p:nvGrpSpPr>
            <p:cNvPr id="10" name="Group 52"/>
            <p:cNvGrpSpPr>
              <a:grpSpLocks/>
            </p:cNvGrpSpPr>
            <p:nvPr/>
          </p:nvGrpSpPr>
          <p:grpSpPr bwMode="auto">
            <a:xfrm>
              <a:off x="6348413" y="2306638"/>
              <a:ext cx="1328737" cy="598487"/>
              <a:chOff x="6870856" y="2306970"/>
              <a:chExt cx="1439227" cy="598450"/>
            </a:xfrm>
          </p:grpSpPr>
          <p:sp>
            <p:nvSpPr>
              <p:cNvPr id="366613" name="AutoShape 22"/>
              <p:cNvSpPr>
                <a:spLocks noChangeArrowheads="1"/>
              </p:cNvSpPr>
              <p:nvPr>
                <p:custDataLst>
                  <p:tags r:id="rId16"/>
                </p:custDataLst>
              </p:nvPr>
            </p:nvSpPr>
            <p:spPr bwMode="auto">
              <a:xfrm rot="16200000" flipH="1">
                <a:off x="7796693" y="2391735"/>
                <a:ext cx="598155" cy="428625"/>
              </a:xfrm>
              <a:prstGeom prst="rightArrow">
                <a:avLst>
                  <a:gd name="adj1" fmla="val 50000"/>
                  <a:gd name="adj2" fmla="val 30256"/>
                </a:avLst>
              </a:prstGeom>
              <a:solidFill>
                <a:schemeClr val="accent2"/>
              </a:solidFill>
              <a:ln w="12700">
                <a:solidFill>
                  <a:schemeClr val="bg1"/>
                </a:solidFill>
                <a:miter lim="800000"/>
                <a:headEnd/>
                <a:tailEnd/>
              </a:ln>
            </p:spPr>
            <p:txBody>
              <a:bodyPr wrap="none" anchor="ctr"/>
              <a:lstStyle/>
              <a:p>
                <a:pPr algn="ctr"/>
                <a:endParaRPr lang="en-GB"/>
              </a:p>
            </p:txBody>
          </p:sp>
          <p:sp>
            <p:nvSpPr>
              <p:cNvPr id="366614" name="AutoShape 22"/>
              <p:cNvSpPr>
                <a:spLocks noChangeArrowheads="1"/>
              </p:cNvSpPr>
              <p:nvPr>
                <p:custDataLst>
                  <p:tags r:id="rId17"/>
                </p:custDataLst>
              </p:nvPr>
            </p:nvSpPr>
            <p:spPr bwMode="auto">
              <a:xfrm rot="16200000" flipH="1">
                <a:off x="6786091" y="2392030"/>
                <a:ext cx="598155" cy="428625"/>
              </a:xfrm>
              <a:prstGeom prst="rightArrow">
                <a:avLst>
                  <a:gd name="adj1" fmla="val 50000"/>
                  <a:gd name="adj2" fmla="val 30256"/>
                </a:avLst>
              </a:prstGeom>
              <a:solidFill>
                <a:schemeClr val="accent2"/>
              </a:solidFill>
              <a:ln w="12700">
                <a:solidFill>
                  <a:schemeClr val="bg1"/>
                </a:solidFill>
                <a:miter lim="800000"/>
                <a:headEnd/>
                <a:tailEnd/>
              </a:ln>
            </p:spPr>
            <p:txBody>
              <a:bodyPr wrap="none" anchor="ctr"/>
              <a:lstStyle/>
              <a:p>
                <a:pPr algn="ctr"/>
                <a:endParaRPr lang="en-GB"/>
              </a:p>
            </p:txBody>
          </p:sp>
          <p:sp>
            <p:nvSpPr>
              <p:cNvPr id="366615" name="AutoShape 22"/>
              <p:cNvSpPr>
                <a:spLocks noChangeArrowheads="1"/>
              </p:cNvSpPr>
              <p:nvPr>
                <p:custDataLst>
                  <p:tags r:id="rId18"/>
                </p:custDataLst>
              </p:nvPr>
            </p:nvSpPr>
            <p:spPr bwMode="auto">
              <a:xfrm rot="16200000" flipH="1">
                <a:off x="7291392" y="2391735"/>
                <a:ext cx="598155" cy="428625"/>
              </a:xfrm>
              <a:prstGeom prst="rightArrow">
                <a:avLst>
                  <a:gd name="adj1" fmla="val 50000"/>
                  <a:gd name="adj2" fmla="val 30256"/>
                </a:avLst>
              </a:prstGeom>
              <a:solidFill>
                <a:schemeClr val="accent2"/>
              </a:solidFill>
              <a:ln w="12700">
                <a:solidFill>
                  <a:schemeClr val="bg1"/>
                </a:solidFill>
                <a:miter lim="800000"/>
                <a:headEnd/>
                <a:tailEnd/>
              </a:ln>
            </p:spPr>
            <p:txBody>
              <a:bodyPr wrap="none" anchor="ctr"/>
              <a:lstStyle/>
              <a:p>
                <a:pPr algn="ctr"/>
                <a:endParaRPr lang="en-GB"/>
              </a:p>
            </p:txBody>
          </p:sp>
        </p:grpSp>
        <p:sp>
          <p:nvSpPr>
            <p:cNvPr id="366609" name="AutoShape 22"/>
            <p:cNvSpPr>
              <a:spLocks noChangeArrowheads="1"/>
            </p:cNvSpPr>
            <p:nvPr>
              <p:custDataLst>
                <p:tags r:id="rId15"/>
              </p:custDataLst>
            </p:nvPr>
          </p:nvSpPr>
          <p:spPr bwMode="auto">
            <a:xfrm rot="16200000" flipH="1">
              <a:off x="6713538" y="3894138"/>
              <a:ext cx="598487" cy="395287"/>
            </a:xfrm>
            <a:prstGeom prst="rightArrow">
              <a:avLst>
                <a:gd name="adj1" fmla="val 50000"/>
                <a:gd name="adj2" fmla="val 30302"/>
              </a:avLst>
            </a:prstGeom>
            <a:solidFill>
              <a:schemeClr val="accent2"/>
            </a:solidFill>
            <a:ln w="12700">
              <a:solidFill>
                <a:schemeClr val="bg1"/>
              </a:solidFill>
              <a:miter lim="800000"/>
              <a:headEnd/>
              <a:tailEnd/>
            </a:ln>
          </p:spPr>
          <p:txBody>
            <a:bodyPr wrap="none" anchor="ctr"/>
            <a:lstStyle/>
            <a:p>
              <a:pPr algn="ctr"/>
              <a:endParaRPr lang="en-GB"/>
            </a:p>
          </p:txBody>
        </p:sp>
      </p:grpSp>
      <p:sp>
        <p:nvSpPr>
          <p:cNvPr id="3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32" name="Text Placeholder 12"/>
          <p:cNvSpPr>
            <a:spLocks/>
          </p:cNvSpPr>
          <p:nvPr>
            <p:custDataLst>
              <p:tags r:id="rId6"/>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2753" name="Title 1"/>
          <p:cNvSpPr>
            <a:spLocks noGrp="1"/>
          </p:cNvSpPr>
          <p:nvPr>
            <p:ph type="title"/>
          </p:nvPr>
        </p:nvSpPr>
        <p:spPr>
          <a:xfrm>
            <a:off x="414338" y="446038"/>
            <a:ext cx="8330184" cy="333425"/>
          </a:xfrm>
        </p:spPr>
        <p:txBody>
          <a:bodyPr/>
          <a:lstStyle/>
          <a:p>
            <a:r>
              <a:rPr lang="en-GB" altLang="ja-JP"/>
              <a:t>Other </a:t>
            </a:r>
            <a:r>
              <a:rPr lang="en-US"/>
              <a:t>—</a:t>
            </a:r>
            <a:r>
              <a:rPr lang="en-GB" altLang="ja-JP" smtClean="0"/>
              <a:t> </a:t>
            </a:r>
            <a:r>
              <a:rPr lang="en-GB" altLang="ja-JP"/>
              <a:t>spectrum</a:t>
            </a:r>
            <a:endParaRPr lang="nl-NL"/>
          </a:p>
        </p:txBody>
      </p:sp>
      <p:sp>
        <p:nvSpPr>
          <p:cNvPr id="4" name="Oval 3"/>
          <p:cNvSpPr>
            <a:spLocks noChangeArrowheads="1"/>
          </p:cNvSpPr>
          <p:nvPr/>
        </p:nvSpPr>
        <p:spPr bwMode="auto">
          <a:xfrm>
            <a:off x="834087" y="2970213"/>
            <a:ext cx="1135062" cy="1304925"/>
          </a:xfrm>
          <a:prstGeom prst="ellipse">
            <a:avLst/>
          </a:prstGeom>
          <a:solidFill>
            <a:schemeClr val="accent3"/>
          </a:solidFill>
          <a:ln w="12700">
            <a:solidFill>
              <a:schemeClr val="bg1"/>
            </a:solidFill>
            <a:round/>
            <a:headEnd/>
            <a:tailEnd/>
          </a:ln>
        </p:spPr>
        <p:txBody>
          <a:bodyPr wrap="none" lIns="0" tIns="0" rIns="0" bIns="0" anchor="ctr"/>
          <a:lstStyle/>
          <a:p>
            <a:pPr algn="ctr">
              <a:defRPr/>
            </a:pPr>
            <a:r>
              <a:rPr lang="en-GB" altLang="ja-JP" sz="1400">
                <a:solidFill>
                  <a:schemeClr val="bg1"/>
                </a:solidFill>
                <a:ea typeface="ＭＳ Ｐゴシック" pitchFamily="50" charset="-128"/>
              </a:rPr>
              <a:t>Text</a:t>
            </a:r>
          </a:p>
        </p:txBody>
      </p:sp>
      <p:sp>
        <p:nvSpPr>
          <p:cNvPr id="5" name="Oval 4"/>
          <p:cNvSpPr>
            <a:spLocks noChangeArrowheads="1"/>
          </p:cNvSpPr>
          <p:nvPr/>
        </p:nvSpPr>
        <p:spPr bwMode="auto">
          <a:xfrm>
            <a:off x="1778649" y="2986088"/>
            <a:ext cx="1135063" cy="1303337"/>
          </a:xfrm>
          <a:prstGeom prst="ellipse">
            <a:avLst/>
          </a:prstGeom>
          <a:solidFill>
            <a:schemeClr val="accent3"/>
          </a:solidFill>
          <a:ln w="12700">
            <a:solidFill>
              <a:schemeClr val="bg1"/>
            </a:solidFill>
            <a:round/>
            <a:headEnd/>
            <a:tailEnd/>
          </a:ln>
        </p:spPr>
        <p:txBody>
          <a:bodyPr wrap="none" lIns="0" tIns="0" rIns="0" bIns="0" anchor="ctr"/>
          <a:lstStyle/>
          <a:p>
            <a:pPr algn="ctr">
              <a:defRPr/>
            </a:pPr>
            <a:r>
              <a:rPr lang="en-GB" altLang="ja-JP" sz="1400">
                <a:solidFill>
                  <a:schemeClr val="bg1"/>
                </a:solidFill>
                <a:ea typeface="ＭＳ Ｐゴシック" pitchFamily="50" charset="-128"/>
              </a:rPr>
              <a:t>Text</a:t>
            </a:r>
          </a:p>
        </p:txBody>
      </p:sp>
      <p:sp>
        <p:nvSpPr>
          <p:cNvPr id="6" name="Oval 5"/>
          <p:cNvSpPr>
            <a:spLocks noChangeArrowheads="1"/>
          </p:cNvSpPr>
          <p:nvPr/>
        </p:nvSpPr>
        <p:spPr bwMode="auto">
          <a:xfrm>
            <a:off x="2647911" y="2371725"/>
            <a:ext cx="1136650" cy="1304925"/>
          </a:xfrm>
          <a:prstGeom prst="ellipse">
            <a:avLst/>
          </a:prstGeom>
          <a:solidFill>
            <a:schemeClr val="accent3"/>
          </a:solidFill>
          <a:ln w="12700">
            <a:solidFill>
              <a:schemeClr val="bg1"/>
            </a:solidFill>
            <a:round/>
            <a:headEnd/>
            <a:tailEnd/>
          </a:ln>
        </p:spPr>
        <p:txBody>
          <a:bodyPr wrap="none" lIns="0" tIns="0" rIns="0" bIns="0" anchor="ctr"/>
          <a:lstStyle/>
          <a:p>
            <a:pPr algn="ctr">
              <a:defRPr/>
            </a:pPr>
            <a:r>
              <a:rPr lang="en-GB" altLang="ja-JP" sz="1400">
                <a:solidFill>
                  <a:schemeClr val="bg1"/>
                </a:solidFill>
                <a:ea typeface="ＭＳ Ｐゴシック" pitchFamily="50" charset="-128"/>
              </a:rPr>
              <a:t>Text</a:t>
            </a:r>
          </a:p>
        </p:txBody>
      </p:sp>
      <p:sp>
        <p:nvSpPr>
          <p:cNvPr id="7" name="Oval 6"/>
          <p:cNvSpPr>
            <a:spLocks noChangeArrowheads="1"/>
          </p:cNvSpPr>
          <p:nvPr/>
        </p:nvSpPr>
        <p:spPr bwMode="auto">
          <a:xfrm>
            <a:off x="2631290" y="3495675"/>
            <a:ext cx="1135063" cy="1304925"/>
          </a:xfrm>
          <a:prstGeom prst="ellipse">
            <a:avLst/>
          </a:prstGeom>
          <a:solidFill>
            <a:schemeClr val="accent3"/>
          </a:solidFill>
          <a:ln w="12700">
            <a:solidFill>
              <a:schemeClr val="bg1"/>
            </a:solidFill>
            <a:round/>
            <a:headEnd/>
            <a:tailEnd/>
          </a:ln>
        </p:spPr>
        <p:txBody>
          <a:bodyPr wrap="none" lIns="0" tIns="0" rIns="0" bIns="0" anchor="ctr"/>
          <a:lstStyle/>
          <a:p>
            <a:pPr algn="ctr">
              <a:defRPr/>
            </a:pPr>
            <a:r>
              <a:rPr lang="en-GB" altLang="ja-JP" sz="1400">
                <a:solidFill>
                  <a:schemeClr val="bg1"/>
                </a:solidFill>
                <a:ea typeface="ＭＳ Ｐゴシック" pitchFamily="50" charset="-128"/>
              </a:rPr>
              <a:t>Text</a:t>
            </a:r>
          </a:p>
        </p:txBody>
      </p:sp>
      <p:sp>
        <p:nvSpPr>
          <p:cNvPr id="842762" name="Rectangle 10"/>
          <p:cNvSpPr>
            <a:spLocks noChangeArrowheads="1"/>
          </p:cNvSpPr>
          <p:nvPr/>
        </p:nvSpPr>
        <p:spPr bwMode="auto">
          <a:xfrm>
            <a:off x="1162018" y="4967288"/>
            <a:ext cx="989012" cy="215900"/>
          </a:xfrm>
          <a:prstGeom prst="rect">
            <a:avLst/>
          </a:prstGeom>
          <a:noFill/>
          <a:ln w="9525">
            <a:noFill/>
            <a:miter lim="800000"/>
            <a:headEnd/>
            <a:tailEnd/>
          </a:ln>
        </p:spPr>
        <p:txBody>
          <a:bodyPr lIns="0" tIns="0" rIns="0" bIns="0">
            <a:spAutoFit/>
          </a:bodyPr>
          <a:lstStyle/>
          <a:p>
            <a:r>
              <a:rPr lang="en-GB" altLang="ja-JP" sz="1400">
                <a:solidFill>
                  <a:schemeClr val="tx2"/>
                </a:solidFill>
                <a:ea typeface="ＭＳ Ｐゴシック" charset="-128"/>
              </a:rPr>
              <a:t>Low</a:t>
            </a:r>
          </a:p>
        </p:txBody>
      </p:sp>
      <p:sp>
        <p:nvSpPr>
          <p:cNvPr id="842763" name="Rectangle 11"/>
          <p:cNvSpPr>
            <a:spLocks noChangeArrowheads="1"/>
          </p:cNvSpPr>
          <p:nvPr/>
        </p:nvSpPr>
        <p:spPr bwMode="auto">
          <a:xfrm>
            <a:off x="6864366" y="4967288"/>
            <a:ext cx="739775" cy="215900"/>
          </a:xfrm>
          <a:prstGeom prst="rect">
            <a:avLst/>
          </a:prstGeom>
          <a:noFill/>
          <a:ln w="9525">
            <a:noFill/>
            <a:miter lim="800000"/>
            <a:headEnd/>
            <a:tailEnd/>
          </a:ln>
        </p:spPr>
        <p:txBody>
          <a:bodyPr lIns="0" tIns="0" rIns="0" bIns="0">
            <a:spAutoFit/>
          </a:bodyPr>
          <a:lstStyle/>
          <a:p>
            <a:r>
              <a:rPr lang="en-GB" altLang="ja-JP" sz="1400" dirty="0">
                <a:solidFill>
                  <a:schemeClr val="tx2"/>
                </a:solidFill>
                <a:ea typeface="ＭＳ Ｐゴシック" charset="-128"/>
              </a:rPr>
              <a:t>High</a:t>
            </a:r>
          </a:p>
        </p:txBody>
      </p:sp>
      <p:sp>
        <p:nvSpPr>
          <p:cNvPr id="14" name="Oval 13"/>
          <p:cNvSpPr>
            <a:spLocks noChangeArrowheads="1"/>
          </p:cNvSpPr>
          <p:nvPr/>
        </p:nvSpPr>
        <p:spPr bwMode="auto">
          <a:xfrm>
            <a:off x="3478355" y="2583312"/>
            <a:ext cx="1709738" cy="1962150"/>
          </a:xfrm>
          <a:prstGeom prst="ellipse">
            <a:avLst/>
          </a:prstGeom>
          <a:solidFill>
            <a:schemeClr val="accent3"/>
          </a:solidFill>
          <a:ln w="12700">
            <a:solidFill>
              <a:schemeClr val="bg1"/>
            </a:solidFill>
            <a:round/>
            <a:headEnd/>
            <a:tailEnd/>
          </a:ln>
        </p:spPr>
        <p:txBody>
          <a:bodyPr wrap="none" lIns="0" tIns="0" rIns="0" bIns="0" anchor="ctr"/>
          <a:lstStyle/>
          <a:p>
            <a:pPr algn="ctr">
              <a:defRPr/>
            </a:pPr>
            <a:r>
              <a:rPr lang="en-GB" altLang="ja-JP" sz="1400">
                <a:solidFill>
                  <a:schemeClr val="bg1"/>
                </a:solidFill>
                <a:ea typeface="ＭＳ Ｐゴシック" pitchFamily="50" charset="-128"/>
              </a:rPr>
              <a:t>Text</a:t>
            </a:r>
          </a:p>
        </p:txBody>
      </p:sp>
      <p:sp>
        <p:nvSpPr>
          <p:cNvPr id="8" name="Oval 7"/>
          <p:cNvSpPr>
            <a:spLocks noChangeArrowheads="1"/>
          </p:cNvSpPr>
          <p:nvPr/>
        </p:nvSpPr>
        <p:spPr bwMode="auto">
          <a:xfrm>
            <a:off x="4904589" y="2568935"/>
            <a:ext cx="1709738" cy="1962150"/>
          </a:xfrm>
          <a:prstGeom prst="ellipse">
            <a:avLst/>
          </a:prstGeom>
          <a:solidFill>
            <a:schemeClr val="accent3"/>
          </a:solidFill>
          <a:ln w="12700">
            <a:solidFill>
              <a:schemeClr val="bg1"/>
            </a:solidFill>
            <a:round/>
            <a:headEnd/>
            <a:tailEnd/>
          </a:ln>
        </p:spPr>
        <p:txBody>
          <a:bodyPr wrap="none" lIns="0" tIns="0" rIns="0" bIns="0" anchor="ctr"/>
          <a:lstStyle/>
          <a:p>
            <a:pPr algn="ctr">
              <a:defRPr/>
            </a:pPr>
            <a:r>
              <a:rPr lang="en-GB" altLang="ja-JP" sz="1400">
                <a:solidFill>
                  <a:schemeClr val="bg1"/>
                </a:solidFill>
                <a:ea typeface="ＭＳ Ｐゴシック" pitchFamily="50" charset="-128"/>
              </a:rPr>
              <a:t>Text</a:t>
            </a:r>
          </a:p>
        </p:txBody>
      </p:sp>
      <p:sp>
        <p:nvSpPr>
          <p:cNvPr id="10" name="Oval 9"/>
          <p:cNvSpPr>
            <a:spLocks noChangeArrowheads="1"/>
          </p:cNvSpPr>
          <p:nvPr/>
        </p:nvSpPr>
        <p:spPr bwMode="auto">
          <a:xfrm>
            <a:off x="6393062" y="2558094"/>
            <a:ext cx="1709738" cy="1960563"/>
          </a:xfrm>
          <a:prstGeom prst="ellipse">
            <a:avLst/>
          </a:prstGeom>
          <a:solidFill>
            <a:schemeClr val="accent3"/>
          </a:solidFill>
          <a:ln w="12700">
            <a:solidFill>
              <a:schemeClr val="bg1"/>
            </a:solidFill>
            <a:round/>
            <a:headEnd/>
            <a:tailEnd/>
          </a:ln>
        </p:spPr>
        <p:txBody>
          <a:bodyPr wrap="none" lIns="0" tIns="0" rIns="0" bIns="0" anchor="ctr"/>
          <a:lstStyle/>
          <a:p>
            <a:pPr algn="ctr">
              <a:defRPr/>
            </a:pPr>
            <a:r>
              <a:rPr lang="en-GB" altLang="ja-JP" sz="1400">
                <a:solidFill>
                  <a:schemeClr val="bg1"/>
                </a:solidFill>
                <a:ea typeface="ＭＳ Ｐゴシック" pitchFamily="50" charset="-128"/>
              </a:rPr>
              <a:t>Text</a:t>
            </a:r>
          </a:p>
        </p:txBody>
      </p:sp>
      <p:sp>
        <p:nvSpPr>
          <p:cNvPr id="842764" name="Line 12"/>
          <p:cNvSpPr>
            <a:spLocks noChangeShapeType="1"/>
          </p:cNvSpPr>
          <p:nvPr/>
        </p:nvSpPr>
        <p:spPr bwMode="auto">
          <a:xfrm>
            <a:off x="1178364" y="3790950"/>
            <a:ext cx="6551612" cy="28575"/>
          </a:xfrm>
          <a:prstGeom prst="line">
            <a:avLst/>
          </a:prstGeom>
          <a:noFill/>
          <a:ln w="57150">
            <a:solidFill>
              <a:schemeClr val="bg1"/>
            </a:solidFill>
            <a:round/>
            <a:headEnd type="none" w="sm" len="sm"/>
            <a:tailEnd type="stealth" w="med" len="lg"/>
          </a:ln>
        </p:spPr>
        <p:txBody>
          <a:bodyPr wrap="none" anchor="ctr"/>
          <a:lstStyle/>
          <a:p>
            <a:endParaRPr lang="en-US"/>
          </a:p>
        </p:txBody>
      </p:sp>
      <p:sp>
        <p:nvSpPr>
          <p:cNvPr id="15"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6"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3777" name="Title 1"/>
          <p:cNvSpPr>
            <a:spLocks noGrp="1"/>
          </p:cNvSpPr>
          <p:nvPr>
            <p:ph type="title"/>
          </p:nvPr>
        </p:nvSpPr>
        <p:spPr>
          <a:xfrm>
            <a:off x="414338" y="446038"/>
            <a:ext cx="8330184" cy="333425"/>
          </a:xfrm>
        </p:spPr>
        <p:txBody>
          <a:bodyPr/>
          <a:lstStyle/>
          <a:p>
            <a:r>
              <a:rPr lang="en-GB" altLang="ja-JP"/>
              <a:t>Other </a:t>
            </a:r>
            <a:r>
              <a:rPr lang="en-US"/>
              <a:t>—</a:t>
            </a:r>
            <a:r>
              <a:rPr lang="en-GB" altLang="ja-JP" smtClean="0"/>
              <a:t> </a:t>
            </a:r>
            <a:r>
              <a:rPr lang="en-GB"/>
              <a:t>thermometers</a:t>
            </a:r>
            <a:endParaRPr lang="nl-NL"/>
          </a:p>
        </p:txBody>
      </p:sp>
      <p:sp>
        <p:nvSpPr>
          <p:cNvPr id="14" name="Line 3"/>
          <p:cNvSpPr>
            <a:spLocks noChangeShapeType="1"/>
          </p:cNvSpPr>
          <p:nvPr/>
        </p:nvSpPr>
        <p:spPr bwMode="auto">
          <a:xfrm flipH="1">
            <a:off x="1949450" y="2684039"/>
            <a:ext cx="265113" cy="0"/>
          </a:xfrm>
          <a:prstGeom prst="line">
            <a:avLst/>
          </a:prstGeom>
          <a:noFill/>
          <a:ln w="12700">
            <a:solidFill>
              <a:schemeClr val="accent1"/>
            </a:solidFill>
            <a:round/>
            <a:headEnd type="triangle" w="med" len="med"/>
            <a:tailEnd/>
          </a:ln>
        </p:spPr>
        <p:txBody>
          <a:bodyPr wrap="none" anchor="ctr"/>
          <a:lstStyle/>
          <a:p>
            <a:pPr>
              <a:defRPr/>
            </a:pPr>
            <a:endParaRPr lang="en-GB" sz="1400"/>
          </a:p>
        </p:txBody>
      </p:sp>
      <p:sp>
        <p:nvSpPr>
          <p:cNvPr id="15" name="Line 4"/>
          <p:cNvSpPr>
            <a:spLocks noChangeShapeType="1"/>
          </p:cNvSpPr>
          <p:nvPr/>
        </p:nvSpPr>
        <p:spPr bwMode="auto">
          <a:xfrm flipH="1">
            <a:off x="1949450" y="3204739"/>
            <a:ext cx="265113" cy="0"/>
          </a:xfrm>
          <a:prstGeom prst="line">
            <a:avLst/>
          </a:prstGeom>
          <a:noFill/>
          <a:ln w="12700">
            <a:solidFill>
              <a:schemeClr val="accent1"/>
            </a:solidFill>
            <a:round/>
            <a:headEnd type="triangle" w="med" len="med"/>
            <a:tailEnd/>
          </a:ln>
        </p:spPr>
        <p:txBody>
          <a:bodyPr wrap="none" anchor="ctr"/>
          <a:lstStyle/>
          <a:p>
            <a:pPr>
              <a:defRPr/>
            </a:pPr>
            <a:endParaRPr lang="en-GB" sz="1400"/>
          </a:p>
        </p:txBody>
      </p:sp>
      <p:sp>
        <p:nvSpPr>
          <p:cNvPr id="16" name="Line 5"/>
          <p:cNvSpPr>
            <a:spLocks noChangeShapeType="1"/>
          </p:cNvSpPr>
          <p:nvPr/>
        </p:nvSpPr>
        <p:spPr bwMode="auto">
          <a:xfrm flipH="1">
            <a:off x="1949450" y="3561927"/>
            <a:ext cx="265113" cy="0"/>
          </a:xfrm>
          <a:prstGeom prst="line">
            <a:avLst/>
          </a:prstGeom>
          <a:noFill/>
          <a:ln w="12700">
            <a:solidFill>
              <a:schemeClr val="accent1"/>
            </a:solidFill>
            <a:round/>
            <a:headEnd type="triangle" w="med" len="med"/>
            <a:tailEnd/>
          </a:ln>
        </p:spPr>
        <p:txBody>
          <a:bodyPr wrap="none" anchor="ctr"/>
          <a:lstStyle/>
          <a:p>
            <a:pPr>
              <a:defRPr/>
            </a:pPr>
            <a:endParaRPr lang="en-GB" sz="1400"/>
          </a:p>
        </p:txBody>
      </p:sp>
      <p:sp>
        <p:nvSpPr>
          <p:cNvPr id="17" name="Line 6"/>
          <p:cNvSpPr>
            <a:spLocks noChangeShapeType="1"/>
          </p:cNvSpPr>
          <p:nvPr/>
        </p:nvSpPr>
        <p:spPr bwMode="auto">
          <a:xfrm flipH="1">
            <a:off x="1949450" y="4038177"/>
            <a:ext cx="265113" cy="0"/>
          </a:xfrm>
          <a:prstGeom prst="line">
            <a:avLst/>
          </a:prstGeom>
          <a:noFill/>
          <a:ln w="12700">
            <a:solidFill>
              <a:schemeClr val="accent1"/>
            </a:solidFill>
            <a:round/>
            <a:headEnd type="triangle" w="med" len="med"/>
            <a:tailEnd/>
          </a:ln>
        </p:spPr>
        <p:txBody>
          <a:bodyPr wrap="none" anchor="ctr"/>
          <a:lstStyle/>
          <a:p>
            <a:pPr>
              <a:defRPr/>
            </a:pPr>
            <a:endParaRPr lang="en-GB" sz="1400"/>
          </a:p>
        </p:txBody>
      </p:sp>
      <p:sp>
        <p:nvSpPr>
          <p:cNvPr id="18" name="Line 7"/>
          <p:cNvSpPr>
            <a:spLocks noChangeShapeType="1"/>
          </p:cNvSpPr>
          <p:nvPr/>
        </p:nvSpPr>
        <p:spPr bwMode="auto">
          <a:xfrm>
            <a:off x="2630488" y="4052464"/>
            <a:ext cx="496887" cy="0"/>
          </a:xfrm>
          <a:prstGeom prst="line">
            <a:avLst/>
          </a:prstGeom>
          <a:noFill/>
          <a:ln w="12700">
            <a:solidFill>
              <a:schemeClr val="accent1"/>
            </a:solidFill>
            <a:round/>
            <a:headEnd type="triangle" w="med" len="med"/>
            <a:tailEnd/>
          </a:ln>
        </p:spPr>
        <p:txBody>
          <a:bodyPr wrap="none" anchor="ctr"/>
          <a:lstStyle/>
          <a:p>
            <a:pPr>
              <a:defRPr/>
            </a:pPr>
            <a:endParaRPr lang="en-GB" sz="1400"/>
          </a:p>
        </p:txBody>
      </p:sp>
      <p:sp>
        <p:nvSpPr>
          <p:cNvPr id="19" name="Line 8"/>
          <p:cNvSpPr>
            <a:spLocks noChangeShapeType="1"/>
          </p:cNvSpPr>
          <p:nvPr/>
        </p:nvSpPr>
        <p:spPr bwMode="auto">
          <a:xfrm>
            <a:off x="2630488" y="3431752"/>
            <a:ext cx="496887" cy="0"/>
          </a:xfrm>
          <a:prstGeom prst="line">
            <a:avLst/>
          </a:prstGeom>
          <a:noFill/>
          <a:ln w="12700">
            <a:solidFill>
              <a:schemeClr val="accent1"/>
            </a:solidFill>
            <a:round/>
            <a:headEnd type="triangle" w="med" len="med"/>
            <a:tailEnd/>
          </a:ln>
        </p:spPr>
        <p:txBody>
          <a:bodyPr wrap="none" anchor="ctr"/>
          <a:lstStyle/>
          <a:p>
            <a:pPr>
              <a:defRPr/>
            </a:pPr>
            <a:endParaRPr lang="en-GB" sz="1400"/>
          </a:p>
        </p:txBody>
      </p:sp>
      <p:sp>
        <p:nvSpPr>
          <p:cNvPr id="20" name="Rectangle 9"/>
          <p:cNvSpPr>
            <a:spLocks noChangeArrowheads="1"/>
          </p:cNvSpPr>
          <p:nvPr/>
        </p:nvSpPr>
        <p:spPr bwMode="auto">
          <a:xfrm>
            <a:off x="2236788" y="1645814"/>
            <a:ext cx="325437" cy="3852863"/>
          </a:xfrm>
          <a:prstGeom prst="rect">
            <a:avLst/>
          </a:prstGeom>
          <a:solidFill>
            <a:schemeClr val="bg1"/>
          </a:solidFill>
          <a:ln w="12700">
            <a:solidFill>
              <a:schemeClr val="accent3"/>
            </a:solidFill>
            <a:miter lim="800000"/>
            <a:headEnd/>
            <a:tailEnd/>
          </a:ln>
        </p:spPr>
        <p:txBody>
          <a:bodyPr wrap="none" anchor="ctr"/>
          <a:lstStyle/>
          <a:p>
            <a:pPr algn="ctr">
              <a:defRPr/>
            </a:pPr>
            <a:endParaRPr lang="en-GB" sz="1400"/>
          </a:p>
        </p:txBody>
      </p:sp>
      <p:sp>
        <p:nvSpPr>
          <p:cNvPr id="21" name="Rectangle 10"/>
          <p:cNvSpPr>
            <a:spLocks noChangeArrowheads="1"/>
          </p:cNvSpPr>
          <p:nvPr/>
        </p:nvSpPr>
        <p:spPr bwMode="auto">
          <a:xfrm>
            <a:off x="2236788" y="3431752"/>
            <a:ext cx="325437" cy="2171700"/>
          </a:xfrm>
          <a:prstGeom prst="rect">
            <a:avLst/>
          </a:prstGeom>
          <a:solidFill>
            <a:schemeClr val="accent3"/>
          </a:solidFill>
          <a:ln w="12700">
            <a:solidFill>
              <a:schemeClr val="accent3"/>
            </a:solidFill>
            <a:miter lim="800000"/>
            <a:headEnd/>
            <a:tailEnd/>
          </a:ln>
        </p:spPr>
        <p:txBody>
          <a:bodyPr wrap="none" anchor="ctr"/>
          <a:lstStyle/>
          <a:p>
            <a:pPr algn="ctr">
              <a:defRPr/>
            </a:pPr>
            <a:endParaRPr lang="en-GB" sz="1400"/>
          </a:p>
        </p:txBody>
      </p:sp>
      <p:grpSp>
        <p:nvGrpSpPr>
          <p:cNvPr id="2" name="Group 11"/>
          <p:cNvGrpSpPr>
            <a:grpSpLocks/>
          </p:cNvGrpSpPr>
          <p:nvPr/>
        </p:nvGrpSpPr>
        <p:grpSpPr bwMode="auto">
          <a:xfrm>
            <a:off x="2236788" y="2099839"/>
            <a:ext cx="325437" cy="2836863"/>
            <a:chOff x="1467" y="1638"/>
            <a:chExt cx="159" cy="1526"/>
          </a:xfrm>
        </p:grpSpPr>
        <p:sp>
          <p:nvSpPr>
            <p:cNvPr id="843829" name="Line 12"/>
            <p:cNvSpPr>
              <a:spLocks noChangeShapeType="1"/>
            </p:cNvSpPr>
            <p:nvPr/>
          </p:nvSpPr>
          <p:spPr bwMode="auto">
            <a:xfrm>
              <a:off x="1467" y="2486"/>
              <a:ext cx="159" cy="0"/>
            </a:xfrm>
            <a:prstGeom prst="line">
              <a:avLst/>
            </a:prstGeom>
            <a:noFill/>
            <a:ln w="12700">
              <a:solidFill>
                <a:schemeClr val="bg1"/>
              </a:solidFill>
              <a:prstDash val="sysDot"/>
              <a:round/>
              <a:headEnd/>
              <a:tailEnd/>
            </a:ln>
          </p:spPr>
          <p:txBody>
            <a:bodyPr wrap="none" anchor="ctr"/>
            <a:lstStyle/>
            <a:p>
              <a:endParaRPr lang="en-US"/>
            </a:p>
          </p:txBody>
        </p:sp>
        <p:sp>
          <p:nvSpPr>
            <p:cNvPr id="24" name="Line 13"/>
            <p:cNvSpPr>
              <a:spLocks noChangeShapeType="1"/>
            </p:cNvSpPr>
            <p:nvPr/>
          </p:nvSpPr>
          <p:spPr bwMode="auto">
            <a:xfrm>
              <a:off x="1467" y="2316"/>
              <a:ext cx="159" cy="0"/>
            </a:xfrm>
            <a:prstGeom prst="line">
              <a:avLst/>
            </a:prstGeom>
            <a:noFill/>
            <a:ln w="12700">
              <a:solidFill>
                <a:schemeClr val="accent3"/>
              </a:solidFill>
              <a:prstDash val="sysDot"/>
              <a:round/>
              <a:headEnd/>
              <a:tailEnd/>
            </a:ln>
          </p:spPr>
          <p:txBody>
            <a:bodyPr wrap="none" anchor="ctr"/>
            <a:lstStyle/>
            <a:p>
              <a:pPr>
                <a:defRPr/>
              </a:pPr>
              <a:endParaRPr lang="en-GB" sz="1400"/>
            </a:p>
          </p:txBody>
        </p:sp>
        <p:sp>
          <p:nvSpPr>
            <p:cNvPr id="25" name="Line 14"/>
            <p:cNvSpPr>
              <a:spLocks noChangeShapeType="1"/>
            </p:cNvSpPr>
            <p:nvPr/>
          </p:nvSpPr>
          <p:spPr bwMode="auto">
            <a:xfrm>
              <a:off x="1467" y="2147"/>
              <a:ext cx="159" cy="0"/>
            </a:xfrm>
            <a:prstGeom prst="line">
              <a:avLst/>
            </a:prstGeom>
            <a:noFill/>
            <a:ln w="12700">
              <a:solidFill>
                <a:schemeClr val="accent3"/>
              </a:solidFill>
              <a:prstDash val="sysDot"/>
              <a:round/>
              <a:headEnd/>
              <a:tailEnd/>
            </a:ln>
          </p:spPr>
          <p:txBody>
            <a:bodyPr wrap="none" anchor="ctr"/>
            <a:lstStyle/>
            <a:p>
              <a:pPr>
                <a:defRPr/>
              </a:pPr>
              <a:endParaRPr lang="en-GB" sz="1400"/>
            </a:p>
          </p:txBody>
        </p:sp>
        <p:sp>
          <p:nvSpPr>
            <p:cNvPr id="26" name="Line 15"/>
            <p:cNvSpPr>
              <a:spLocks noChangeShapeType="1"/>
            </p:cNvSpPr>
            <p:nvPr/>
          </p:nvSpPr>
          <p:spPr bwMode="auto">
            <a:xfrm>
              <a:off x="1467" y="1977"/>
              <a:ext cx="159" cy="0"/>
            </a:xfrm>
            <a:prstGeom prst="line">
              <a:avLst/>
            </a:prstGeom>
            <a:noFill/>
            <a:ln w="12700">
              <a:solidFill>
                <a:schemeClr val="accent3"/>
              </a:solidFill>
              <a:prstDash val="sysDot"/>
              <a:round/>
              <a:headEnd/>
              <a:tailEnd/>
            </a:ln>
          </p:spPr>
          <p:txBody>
            <a:bodyPr wrap="none" anchor="ctr"/>
            <a:lstStyle/>
            <a:p>
              <a:pPr>
                <a:defRPr/>
              </a:pPr>
              <a:endParaRPr lang="en-GB" sz="1400"/>
            </a:p>
          </p:txBody>
        </p:sp>
        <p:sp>
          <p:nvSpPr>
            <p:cNvPr id="27" name="Line 16"/>
            <p:cNvSpPr>
              <a:spLocks noChangeShapeType="1"/>
            </p:cNvSpPr>
            <p:nvPr/>
          </p:nvSpPr>
          <p:spPr bwMode="auto">
            <a:xfrm>
              <a:off x="1467" y="1808"/>
              <a:ext cx="159" cy="0"/>
            </a:xfrm>
            <a:prstGeom prst="line">
              <a:avLst/>
            </a:prstGeom>
            <a:noFill/>
            <a:ln w="12700">
              <a:solidFill>
                <a:schemeClr val="accent3"/>
              </a:solidFill>
              <a:prstDash val="sysDot"/>
              <a:round/>
              <a:headEnd/>
              <a:tailEnd/>
            </a:ln>
          </p:spPr>
          <p:txBody>
            <a:bodyPr wrap="none" anchor="ctr"/>
            <a:lstStyle/>
            <a:p>
              <a:pPr>
                <a:defRPr/>
              </a:pPr>
              <a:endParaRPr lang="en-GB" sz="1400"/>
            </a:p>
          </p:txBody>
        </p:sp>
        <p:sp>
          <p:nvSpPr>
            <p:cNvPr id="28" name="Line 17"/>
            <p:cNvSpPr>
              <a:spLocks noChangeShapeType="1"/>
            </p:cNvSpPr>
            <p:nvPr/>
          </p:nvSpPr>
          <p:spPr bwMode="auto">
            <a:xfrm>
              <a:off x="1467" y="1638"/>
              <a:ext cx="159" cy="0"/>
            </a:xfrm>
            <a:prstGeom prst="line">
              <a:avLst/>
            </a:prstGeom>
            <a:noFill/>
            <a:ln w="12700">
              <a:solidFill>
                <a:schemeClr val="accent3"/>
              </a:solidFill>
              <a:prstDash val="sysDot"/>
              <a:round/>
              <a:headEnd/>
              <a:tailEnd/>
            </a:ln>
          </p:spPr>
          <p:txBody>
            <a:bodyPr wrap="none" anchor="ctr"/>
            <a:lstStyle/>
            <a:p>
              <a:pPr>
                <a:defRPr/>
              </a:pPr>
              <a:endParaRPr lang="en-GB" sz="1400"/>
            </a:p>
          </p:txBody>
        </p:sp>
        <p:sp>
          <p:nvSpPr>
            <p:cNvPr id="843835" name="Line 18"/>
            <p:cNvSpPr>
              <a:spLocks noChangeShapeType="1"/>
            </p:cNvSpPr>
            <p:nvPr/>
          </p:nvSpPr>
          <p:spPr bwMode="auto">
            <a:xfrm>
              <a:off x="1467" y="3164"/>
              <a:ext cx="159" cy="0"/>
            </a:xfrm>
            <a:prstGeom prst="line">
              <a:avLst/>
            </a:prstGeom>
            <a:noFill/>
            <a:ln w="12700">
              <a:solidFill>
                <a:schemeClr val="bg1"/>
              </a:solidFill>
              <a:prstDash val="sysDot"/>
              <a:round/>
              <a:headEnd/>
              <a:tailEnd/>
            </a:ln>
          </p:spPr>
          <p:txBody>
            <a:bodyPr wrap="none" anchor="ctr"/>
            <a:lstStyle/>
            <a:p>
              <a:endParaRPr lang="en-US"/>
            </a:p>
          </p:txBody>
        </p:sp>
        <p:sp>
          <p:nvSpPr>
            <p:cNvPr id="843836" name="Line 19"/>
            <p:cNvSpPr>
              <a:spLocks noChangeShapeType="1"/>
            </p:cNvSpPr>
            <p:nvPr/>
          </p:nvSpPr>
          <p:spPr bwMode="auto">
            <a:xfrm>
              <a:off x="1467" y="2995"/>
              <a:ext cx="159" cy="0"/>
            </a:xfrm>
            <a:prstGeom prst="line">
              <a:avLst/>
            </a:prstGeom>
            <a:noFill/>
            <a:ln w="12700">
              <a:solidFill>
                <a:schemeClr val="bg1"/>
              </a:solidFill>
              <a:prstDash val="sysDot"/>
              <a:round/>
              <a:headEnd/>
              <a:tailEnd/>
            </a:ln>
          </p:spPr>
          <p:txBody>
            <a:bodyPr wrap="none" anchor="ctr"/>
            <a:lstStyle/>
            <a:p>
              <a:endParaRPr lang="en-US"/>
            </a:p>
          </p:txBody>
        </p:sp>
        <p:sp>
          <p:nvSpPr>
            <p:cNvPr id="843837" name="Line 20"/>
            <p:cNvSpPr>
              <a:spLocks noChangeShapeType="1"/>
            </p:cNvSpPr>
            <p:nvPr/>
          </p:nvSpPr>
          <p:spPr bwMode="auto">
            <a:xfrm>
              <a:off x="1467" y="2825"/>
              <a:ext cx="159" cy="0"/>
            </a:xfrm>
            <a:prstGeom prst="line">
              <a:avLst/>
            </a:prstGeom>
            <a:noFill/>
            <a:ln w="12700">
              <a:solidFill>
                <a:schemeClr val="bg1"/>
              </a:solidFill>
              <a:prstDash val="sysDot"/>
              <a:round/>
              <a:headEnd/>
              <a:tailEnd/>
            </a:ln>
          </p:spPr>
          <p:txBody>
            <a:bodyPr wrap="none" anchor="ctr"/>
            <a:lstStyle/>
            <a:p>
              <a:endParaRPr lang="en-US"/>
            </a:p>
          </p:txBody>
        </p:sp>
        <p:sp>
          <p:nvSpPr>
            <p:cNvPr id="843838" name="Line 21"/>
            <p:cNvSpPr>
              <a:spLocks noChangeShapeType="1"/>
            </p:cNvSpPr>
            <p:nvPr/>
          </p:nvSpPr>
          <p:spPr bwMode="auto">
            <a:xfrm>
              <a:off x="1467" y="2656"/>
              <a:ext cx="159" cy="0"/>
            </a:xfrm>
            <a:prstGeom prst="line">
              <a:avLst/>
            </a:prstGeom>
            <a:noFill/>
            <a:ln w="12700">
              <a:solidFill>
                <a:schemeClr val="bg1"/>
              </a:solidFill>
              <a:prstDash val="sysDot"/>
              <a:round/>
              <a:headEnd/>
              <a:tailEnd/>
            </a:ln>
          </p:spPr>
          <p:txBody>
            <a:bodyPr wrap="none" anchor="ctr"/>
            <a:lstStyle/>
            <a:p>
              <a:endParaRPr lang="en-US"/>
            </a:p>
          </p:txBody>
        </p:sp>
      </p:grpSp>
      <p:sp>
        <p:nvSpPr>
          <p:cNvPr id="843788" name="Rectangle 22"/>
          <p:cNvSpPr>
            <a:spLocks noChangeArrowheads="1"/>
          </p:cNvSpPr>
          <p:nvPr/>
        </p:nvSpPr>
        <p:spPr bwMode="auto">
          <a:xfrm>
            <a:off x="6486525" y="2001414"/>
            <a:ext cx="742950" cy="204788"/>
          </a:xfrm>
          <a:prstGeom prst="rect">
            <a:avLst/>
          </a:prstGeom>
          <a:noFill/>
          <a:ln w="12700">
            <a:noFill/>
            <a:miter lim="800000"/>
            <a:headEnd/>
            <a:tailEnd/>
          </a:ln>
        </p:spPr>
        <p:txBody>
          <a:bodyPr lIns="0" tIns="0" rIns="0" bIns="0">
            <a:spAutoFit/>
          </a:bodyPr>
          <a:lstStyle/>
          <a:p>
            <a:pPr>
              <a:lnSpc>
                <a:spcPct val="95000"/>
              </a:lnSpc>
            </a:pPr>
            <a:r>
              <a:rPr lang="en-GB" sz="1400">
                <a:solidFill>
                  <a:schemeClr val="tx2"/>
                </a:solidFill>
                <a:ea typeface="ＭＳ Ｐゴシック" charset="-128"/>
              </a:rPr>
              <a:t>10</a:t>
            </a:r>
          </a:p>
        </p:txBody>
      </p:sp>
      <p:sp>
        <p:nvSpPr>
          <p:cNvPr id="843789" name="Rectangle 23"/>
          <p:cNvSpPr>
            <a:spLocks noChangeArrowheads="1"/>
          </p:cNvSpPr>
          <p:nvPr/>
        </p:nvSpPr>
        <p:spPr bwMode="auto">
          <a:xfrm>
            <a:off x="6486525" y="2303039"/>
            <a:ext cx="742950" cy="204788"/>
          </a:xfrm>
          <a:prstGeom prst="rect">
            <a:avLst/>
          </a:prstGeom>
          <a:noFill/>
          <a:ln w="12700">
            <a:noFill/>
            <a:miter lim="800000"/>
            <a:headEnd/>
            <a:tailEnd/>
          </a:ln>
        </p:spPr>
        <p:txBody>
          <a:bodyPr lIns="0" tIns="0" rIns="0" bIns="0">
            <a:spAutoFit/>
          </a:bodyPr>
          <a:lstStyle/>
          <a:p>
            <a:pPr>
              <a:lnSpc>
                <a:spcPct val="95000"/>
              </a:lnSpc>
            </a:pPr>
            <a:r>
              <a:rPr lang="en-GB" sz="1400">
                <a:solidFill>
                  <a:schemeClr val="tx2"/>
                </a:solidFill>
                <a:ea typeface="ＭＳ Ｐゴシック" charset="-128"/>
              </a:rPr>
              <a:t>9</a:t>
            </a:r>
          </a:p>
        </p:txBody>
      </p:sp>
      <p:sp>
        <p:nvSpPr>
          <p:cNvPr id="843790" name="Rectangle 24"/>
          <p:cNvSpPr>
            <a:spLocks noChangeArrowheads="1"/>
          </p:cNvSpPr>
          <p:nvPr/>
        </p:nvSpPr>
        <p:spPr bwMode="auto">
          <a:xfrm>
            <a:off x="6486525" y="2622127"/>
            <a:ext cx="742950" cy="204787"/>
          </a:xfrm>
          <a:prstGeom prst="rect">
            <a:avLst/>
          </a:prstGeom>
          <a:noFill/>
          <a:ln w="12700">
            <a:noFill/>
            <a:miter lim="800000"/>
            <a:headEnd/>
            <a:tailEnd/>
          </a:ln>
        </p:spPr>
        <p:txBody>
          <a:bodyPr lIns="0" tIns="0" rIns="0" bIns="0">
            <a:spAutoFit/>
          </a:bodyPr>
          <a:lstStyle/>
          <a:p>
            <a:pPr>
              <a:lnSpc>
                <a:spcPct val="95000"/>
              </a:lnSpc>
            </a:pPr>
            <a:r>
              <a:rPr lang="en-GB" sz="1400">
                <a:solidFill>
                  <a:schemeClr val="tx2"/>
                </a:solidFill>
                <a:ea typeface="ＭＳ Ｐゴシック" charset="-128"/>
              </a:rPr>
              <a:t>8</a:t>
            </a:r>
          </a:p>
        </p:txBody>
      </p:sp>
      <p:sp>
        <p:nvSpPr>
          <p:cNvPr id="843791" name="Rectangle 25"/>
          <p:cNvSpPr>
            <a:spLocks noChangeArrowheads="1"/>
          </p:cNvSpPr>
          <p:nvPr/>
        </p:nvSpPr>
        <p:spPr bwMode="auto">
          <a:xfrm>
            <a:off x="6486525" y="2941214"/>
            <a:ext cx="742950" cy="203200"/>
          </a:xfrm>
          <a:prstGeom prst="rect">
            <a:avLst/>
          </a:prstGeom>
          <a:noFill/>
          <a:ln w="12700">
            <a:noFill/>
            <a:miter lim="800000"/>
            <a:headEnd/>
            <a:tailEnd/>
          </a:ln>
        </p:spPr>
        <p:txBody>
          <a:bodyPr lIns="0" tIns="0" rIns="0" bIns="0">
            <a:spAutoFit/>
          </a:bodyPr>
          <a:lstStyle/>
          <a:p>
            <a:pPr>
              <a:lnSpc>
                <a:spcPct val="95000"/>
              </a:lnSpc>
            </a:pPr>
            <a:r>
              <a:rPr lang="en-GB" sz="1400">
                <a:solidFill>
                  <a:schemeClr val="tx2"/>
                </a:solidFill>
                <a:ea typeface="ＭＳ Ｐゴシック" charset="-128"/>
              </a:rPr>
              <a:t>7</a:t>
            </a:r>
          </a:p>
        </p:txBody>
      </p:sp>
      <p:sp>
        <p:nvSpPr>
          <p:cNvPr id="843792" name="Rectangle 26"/>
          <p:cNvSpPr>
            <a:spLocks noChangeArrowheads="1"/>
          </p:cNvSpPr>
          <p:nvPr/>
        </p:nvSpPr>
        <p:spPr bwMode="auto">
          <a:xfrm>
            <a:off x="6486525" y="3258714"/>
            <a:ext cx="742950" cy="204788"/>
          </a:xfrm>
          <a:prstGeom prst="rect">
            <a:avLst/>
          </a:prstGeom>
          <a:noFill/>
          <a:ln w="12700">
            <a:noFill/>
            <a:miter lim="800000"/>
            <a:headEnd/>
            <a:tailEnd/>
          </a:ln>
        </p:spPr>
        <p:txBody>
          <a:bodyPr lIns="0" tIns="0" rIns="0" bIns="0">
            <a:spAutoFit/>
          </a:bodyPr>
          <a:lstStyle/>
          <a:p>
            <a:pPr>
              <a:lnSpc>
                <a:spcPct val="95000"/>
              </a:lnSpc>
            </a:pPr>
            <a:r>
              <a:rPr lang="en-GB" sz="1400">
                <a:solidFill>
                  <a:schemeClr val="tx2"/>
                </a:solidFill>
                <a:ea typeface="ＭＳ Ｐゴシック" charset="-128"/>
              </a:rPr>
              <a:t>6</a:t>
            </a:r>
          </a:p>
        </p:txBody>
      </p:sp>
      <p:sp>
        <p:nvSpPr>
          <p:cNvPr id="843793" name="Rectangle 27"/>
          <p:cNvSpPr>
            <a:spLocks noChangeArrowheads="1"/>
          </p:cNvSpPr>
          <p:nvPr/>
        </p:nvSpPr>
        <p:spPr bwMode="auto">
          <a:xfrm>
            <a:off x="6486525" y="3577802"/>
            <a:ext cx="742950" cy="204787"/>
          </a:xfrm>
          <a:prstGeom prst="rect">
            <a:avLst/>
          </a:prstGeom>
          <a:noFill/>
          <a:ln w="12700">
            <a:noFill/>
            <a:miter lim="800000"/>
            <a:headEnd/>
            <a:tailEnd/>
          </a:ln>
        </p:spPr>
        <p:txBody>
          <a:bodyPr lIns="0" tIns="0" rIns="0" bIns="0">
            <a:spAutoFit/>
          </a:bodyPr>
          <a:lstStyle/>
          <a:p>
            <a:pPr>
              <a:lnSpc>
                <a:spcPct val="95000"/>
              </a:lnSpc>
            </a:pPr>
            <a:r>
              <a:rPr lang="en-GB" sz="1400">
                <a:solidFill>
                  <a:schemeClr val="tx2"/>
                </a:solidFill>
                <a:ea typeface="ＭＳ Ｐゴシック" charset="-128"/>
              </a:rPr>
              <a:t>5</a:t>
            </a:r>
          </a:p>
        </p:txBody>
      </p:sp>
      <p:sp>
        <p:nvSpPr>
          <p:cNvPr id="843794" name="Rectangle 28"/>
          <p:cNvSpPr>
            <a:spLocks noChangeArrowheads="1"/>
          </p:cNvSpPr>
          <p:nvPr/>
        </p:nvSpPr>
        <p:spPr bwMode="auto">
          <a:xfrm>
            <a:off x="6486525" y="3896889"/>
            <a:ext cx="742950" cy="204788"/>
          </a:xfrm>
          <a:prstGeom prst="rect">
            <a:avLst/>
          </a:prstGeom>
          <a:noFill/>
          <a:ln w="12700">
            <a:noFill/>
            <a:miter lim="800000"/>
            <a:headEnd/>
            <a:tailEnd/>
          </a:ln>
        </p:spPr>
        <p:txBody>
          <a:bodyPr lIns="0" tIns="0" rIns="0" bIns="0">
            <a:spAutoFit/>
          </a:bodyPr>
          <a:lstStyle/>
          <a:p>
            <a:pPr>
              <a:lnSpc>
                <a:spcPct val="95000"/>
              </a:lnSpc>
            </a:pPr>
            <a:r>
              <a:rPr lang="en-GB" sz="1400">
                <a:solidFill>
                  <a:schemeClr val="tx2"/>
                </a:solidFill>
                <a:ea typeface="ＭＳ Ｐゴシック" charset="-128"/>
              </a:rPr>
              <a:t>4</a:t>
            </a:r>
          </a:p>
        </p:txBody>
      </p:sp>
      <p:sp>
        <p:nvSpPr>
          <p:cNvPr id="843795" name="Rectangle 29"/>
          <p:cNvSpPr>
            <a:spLocks noChangeArrowheads="1"/>
          </p:cNvSpPr>
          <p:nvPr/>
        </p:nvSpPr>
        <p:spPr bwMode="auto">
          <a:xfrm>
            <a:off x="6486525" y="4214389"/>
            <a:ext cx="742950" cy="204788"/>
          </a:xfrm>
          <a:prstGeom prst="rect">
            <a:avLst/>
          </a:prstGeom>
          <a:noFill/>
          <a:ln w="12700">
            <a:noFill/>
            <a:miter lim="800000"/>
            <a:headEnd/>
            <a:tailEnd/>
          </a:ln>
        </p:spPr>
        <p:txBody>
          <a:bodyPr lIns="0" tIns="0" rIns="0" bIns="0">
            <a:spAutoFit/>
          </a:bodyPr>
          <a:lstStyle/>
          <a:p>
            <a:pPr>
              <a:lnSpc>
                <a:spcPct val="95000"/>
              </a:lnSpc>
            </a:pPr>
            <a:r>
              <a:rPr lang="en-GB" sz="1400">
                <a:solidFill>
                  <a:schemeClr val="tx2"/>
                </a:solidFill>
                <a:ea typeface="ＭＳ Ｐゴシック" charset="-128"/>
              </a:rPr>
              <a:t>3</a:t>
            </a:r>
          </a:p>
        </p:txBody>
      </p:sp>
      <p:sp>
        <p:nvSpPr>
          <p:cNvPr id="843796" name="Rectangle 30"/>
          <p:cNvSpPr>
            <a:spLocks noChangeArrowheads="1"/>
          </p:cNvSpPr>
          <p:nvPr/>
        </p:nvSpPr>
        <p:spPr bwMode="auto">
          <a:xfrm>
            <a:off x="6486525" y="4533477"/>
            <a:ext cx="742950" cy="204787"/>
          </a:xfrm>
          <a:prstGeom prst="rect">
            <a:avLst/>
          </a:prstGeom>
          <a:noFill/>
          <a:ln w="12700">
            <a:noFill/>
            <a:miter lim="800000"/>
            <a:headEnd/>
            <a:tailEnd/>
          </a:ln>
        </p:spPr>
        <p:txBody>
          <a:bodyPr lIns="0" tIns="0" rIns="0" bIns="0">
            <a:spAutoFit/>
          </a:bodyPr>
          <a:lstStyle/>
          <a:p>
            <a:pPr>
              <a:lnSpc>
                <a:spcPct val="95000"/>
              </a:lnSpc>
            </a:pPr>
            <a:r>
              <a:rPr lang="en-GB" sz="1400">
                <a:solidFill>
                  <a:schemeClr val="tx2"/>
                </a:solidFill>
                <a:ea typeface="ＭＳ Ｐゴシック" charset="-128"/>
              </a:rPr>
              <a:t>2</a:t>
            </a:r>
          </a:p>
        </p:txBody>
      </p:sp>
      <p:sp>
        <p:nvSpPr>
          <p:cNvPr id="843797" name="Rectangle 31"/>
          <p:cNvSpPr>
            <a:spLocks noChangeArrowheads="1"/>
          </p:cNvSpPr>
          <p:nvPr/>
        </p:nvSpPr>
        <p:spPr bwMode="auto">
          <a:xfrm>
            <a:off x="6486525" y="4839864"/>
            <a:ext cx="742950" cy="204788"/>
          </a:xfrm>
          <a:prstGeom prst="rect">
            <a:avLst/>
          </a:prstGeom>
          <a:noFill/>
          <a:ln w="12700">
            <a:noFill/>
            <a:miter lim="800000"/>
            <a:headEnd/>
            <a:tailEnd/>
          </a:ln>
        </p:spPr>
        <p:txBody>
          <a:bodyPr lIns="0" tIns="0" rIns="0" bIns="0">
            <a:spAutoFit/>
          </a:bodyPr>
          <a:lstStyle/>
          <a:p>
            <a:pPr>
              <a:lnSpc>
                <a:spcPct val="95000"/>
              </a:lnSpc>
            </a:pPr>
            <a:r>
              <a:rPr lang="en-GB" sz="1400">
                <a:solidFill>
                  <a:schemeClr val="tx2"/>
                </a:solidFill>
                <a:ea typeface="ＭＳ Ｐゴシック" charset="-128"/>
              </a:rPr>
              <a:t>1</a:t>
            </a:r>
          </a:p>
        </p:txBody>
      </p:sp>
      <p:sp>
        <p:nvSpPr>
          <p:cNvPr id="43" name="Rectangle 32"/>
          <p:cNvSpPr>
            <a:spLocks noChangeArrowheads="1"/>
          </p:cNvSpPr>
          <p:nvPr/>
        </p:nvSpPr>
        <p:spPr bwMode="auto">
          <a:xfrm>
            <a:off x="2320925" y="5439939"/>
            <a:ext cx="173038" cy="252413"/>
          </a:xfrm>
          <a:prstGeom prst="rect">
            <a:avLst/>
          </a:prstGeom>
          <a:solidFill>
            <a:schemeClr val="accent1"/>
          </a:solidFill>
          <a:ln w="12700">
            <a:solidFill>
              <a:schemeClr val="accent3"/>
            </a:solidFill>
            <a:miter lim="800000"/>
            <a:headEnd/>
            <a:tailEnd/>
          </a:ln>
        </p:spPr>
        <p:txBody>
          <a:bodyPr wrap="none" anchor="ctr"/>
          <a:lstStyle/>
          <a:p>
            <a:pPr algn="ctr">
              <a:defRPr/>
            </a:pPr>
            <a:endParaRPr lang="en-GB" sz="1400"/>
          </a:p>
        </p:txBody>
      </p:sp>
      <p:sp>
        <p:nvSpPr>
          <p:cNvPr id="44" name="Rectangle 33"/>
          <p:cNvSpPr>
            <a:spLocks noChangeArrowheads="1"/>
          </p:cNvSpPr>
          <p:nvPr/>
        </p:nvSpPr>
        <p:spPr bwMode="auto">
          <a:xfrm>
            <a:off x="2320925" y="5484389"/>
            <a:ext cx="173038" cy="133350"/>
          </a:xfrm>
          <a:prstGeom prst="rect">
            <a:avLst/>
          </a:prstGeom>
          <a:solidFill>
            <a:schemeClr val="accent1"/>
          </a:solidFill>
          <a:ln w="12700">
            <a:solidFill>
              <a:schemeClr val="accent3"/>
            </a:solidFill>
            <a:miter lim="800000"/>
            <a:headEnd/>
            <a:tailEnd/>
          </a:ln>
        </p:spPr>
        <p:txBody>
          <a:bodyPr wrap="none" anchor="ctr"/>
          <a:lstStyle/>
          <a:p>
            <a:pPr algn="ctr">
              <a:defRPr/>
            </a:pPr>
            <a:endParaRPr lang="en-GB" sz="1400"/>
          </a:p>
        </p:txBody>
      </p:sp>
      <p:sp>
        <p:nvSpPr>
          <p:cNvPr id="45" name="Oval 34"/>
          <p:cNvSpPr>
            <a:spLocks noChangeArrowheads="1"/>
          </p:cNvSpPr>
          <p:nvPr/>
        </p:nvSpPr>
        <p:spPr bwMode="auto">
          <a:xfrm>
            <a:off x="2133600" y="5320877"/>
            <a:ext cx="530225" cy="460375"/>
          </a:xfrm>
          <a:prstGeom prst="ellipse">
            <a:avLst/>
          </a:prstGeom>
          <a:solidFill>
            <a:schemeClr val="accent3"/>
          </a:solidFill>
          <a:ln w="12700" algn="ctr">
            <a:solidFill>
              <a:schemeClr val="accent3"/>
            </a:solidFill>
            <a:round/>
            <a:headEnd/>
            <a:tailEnd/>
          </a:ln>
        </p:spPr>
        <p:txBody>
          <a:bodyPr wrap="none" anchor="ctr"/>
          <a:lstStyle/>
          <a:p>
            <a:pPr algn="ctr">
              <a:defRPr/>
            </a:pPr>
            <a:endParaRPr lang="en-GB" sz="1400"/>
          </a:p>
        </p:txBody>
      </p:sp>
      <p:sp>
        <p:nvSpPr>
          <p:cNvPr id="843801" name="Rectangle 35"/>
          <p:cNvSpPr>
            <a:spLocks noChangeArrowheads="1"/>
          </p:cNvSpPr>
          <p:nvPr/>
        </p:nvSpPr>
        <p:spPr bwMode="auto">
          <a:xfrm>
            <a:off x="2252663" y="5311352"/>
            <a:ext cx="288925" cy="58737"/>
          </a:xfrm>
          <a:prstGeom prst="rect">
            <a:avLst/>
          </a:prstGeom>
          <a:solidFill>
            <a:schemeClr val="accent3"/>
          </a:solidFill>
          <a:ln w="12700" algn="ctr">
            <a:noFill/>
            <a:miter lim="800000"/>
            <a:headEnd/>
            <a:tailEnd/>
          </a:ln>
        </p:spPr>
        <p:txBody>
          <a:bodyPr wrap="none" anchor="ctr"/>
          <a:lstStyle/>
          <a:p>
            <a:pPr algn="ctr"/>
            <a:endParaRPr lang="en-GB" sz="1400"/>
          </a:p>
        </p:txBody>
      </p:sp>
      <p:sp>
        <p:nvSpPr>
          <p:cNvPr id="843802" name="Rectangle 36"/>
          <p:cNvSpPr>
            <a:spLocks noChangeArrowheads="1"/>
          </p:cNvSpPr>
          <p:nvPr/>
        </p:nvSpPr>
        <p:spPr bwMode="auto">
          <a:xfrm>
            <a:off x="2149475" y="5432002"/>
            <a:ext cx="488950" cy="293687"/>
          </a:xfrm>
          <a:prstGeom prst="rect">
            <a:avLst/>
          </a:prstGeom>
          <a:noFill/>
          <a:ln w="12700">
            <a:noFill/>
            <a:miter lim="800000"/>
            <a:headEnd/>
            <a:tailEnd/>
          </a:ln>
        </p:spPr>
        <p:txBody>
          <a:bodyPr lIns="90488" tIns="44450" rIns="90488" bIns="44450">
            <a:spAutoFit/>
          </a:bodyPr>
          <a:lstStyle/>
          <a:p>
            <a:pPr algn="ctr">
              <a:lnSpc>
                <a:spcPct val="95000"/>
              </a:lnSpc>
            </a:pPr>
            <a:r>
              <a:rPr lang="en-GB" sz="1400">
                <a:solidFill>
                  <a:srgbClr val="FFFFFF"/>
                </a:solidFill>
                <a:ea typeface="ＭＳ Ｐゴシック" charset="-128"/>
              </a:rPr>
              <a:t>0</a:t>
            </a:r>
          </a:p>
        </p:txBody>
      </p:sp>
      <p:cxnSp>
        <p:nvCxnSpPr>
          <p:cNvPr id="48" name="AutoShape 37"/>
          <p:cNvCxnSpPr>
            <a:cxnSpLocks noChangeShapeType="1"/>
          </p:cNvCxnSpPr>
          <p:nvPr/>
        </p:nvCxnSpPr>
        <p:spPr bwMode="auto">
          <a:xfrm rot="10800000">
            <a:off x="2668588" y="3606377"/>
            <a:ext cx="461962" cy="141287"/>
          </a:xfrm>
          <a:prstGeom prst="bentConnector3">
            <a:avLst>
              <a:gd name="adj1" fmla="val 49796"/>
            </a:avLst>
          </a:prstGeom>
          <a:noFill/>
          <a:ln w="12700">
            <a:solidFill>
              <a:schemeClr val="accent1"/>
            </a:solidFill>
            <a:miter lim="800000"/>
            <a:headEnd/>
            <a:tailEnd type="triangle" w="med" len="med"/>
          </a:ln>
        </p:spPr>
      </p:cxnSp>
      <p:sp>
        <p:nvSpPr>
          <p:cNvPr id="49" name="Oval 38"/>
          <p:cNvSpPr>
            <a:spLocks noChangeArrowheads="1"/>
          </p:cNvSpPr>
          <p:nvPr/>
        </p:nvSpPr>
        <p:spPr bwMode="auto">
          <a:xfrm>
            <a:off x="2142309" y="1499987"/>
            <a:ext cx="530225" cy="460375"/>
          </a:xfrm>
          <a:prstGeom prst="ellipse">
            <a:avLst/>
          </a:prstGeom>
          <a:solidFill>
            <a:schemeClr val="bg1"/>
          </a:solidFill>
          <a:ln w="12700">
            <a:solidFill>
              <a:schemeClr val="accent3"/>
            </a:solidFill>
            <a:round/>
            <a:headEnd/>
            <a:tailEnd/>
          </a:ln>
        </p:spPr>
        <p:txBody>
          <a:bodyPr wrap="none" anchor="ctr"/>
          <a:lstStyle/>
          <a:p>
            <a:pPr algn="ctr">
              <a:defRPr/>
            </a:pPr>
            <a:endParaRPr lang="en-GB" sz="1400"/>
          </a:p>
        </p:txBody>
      </p:sp>
      <p:sp>
        <p:nvSpPr>
          <p:cNvPr id="843806" name="Rectangle 40"/>
          <p:cNvSpPr>
            <a:spLocks noChangeArrowheads="1"/>
          </p:cNvSpPr>
          <p:nvPr/>
        </p:nvSpPr>
        <p:spPr bwMode="auto">
          <a:xfrm>
            <a:off x="2158184" y="1582537"/>
            <a:ext cx="490538" cy="293687"/>
          </a:xfrm>
          <a:prstGeom prst="rect">
            <a:avLst/>
          </a:prstGeom>
          <a:noFill/>
          <a:ln w="12700">
            <a:noFill/>
            <a:miter lim="800000"/>
            <a:headEnd/>
            <a:tailEnd/>
          </a:ln>
        </p:spPr>
        <p:txBody>
          <a:bodyPr lIns="90488" tIns="44450" rIns="90488" bIns="44450">
            <a:spAutoFit/>
          </a:bodyPr>
          <a:lstStyle/>
          <a:p>
            <a:pPr algn="ctr">
              <a:lnSpc>
                <a:spcPct val="95000"/>
              </a:lnSpc>
            </a:pPr>
            <a:r>
              <a:rPr lang="en-GB" sz="1400">
                <a:solidFill>
                  <a:schemeClr val="tx2"/>
                </a:solidFill>
                <a:ea typeface="ＭＳ Ｐゴシック" charset="-128"/>
              </a:rPr>
              <a:t>10</a:t>
            </a:r>
          </a:p>
        </p:txBody>
      </p:sp>
      <p:sp>
        <p:nvSpPr>
          <p:cNvPr id="52" name="Rectangle 41"/>
          <p:cNvSpPr>
            <a:spLocks noChangeArrowheads="1"/>
          </p:cNvSpPr>
          <p:nvPr/>
        </p:nvSpPr>
        <p:spPr bwMode="auto">
          <a:xfrm>
            <a:off x="6065838" y="1645814"/>
            <a:ext cx="325437" cy="3852863"/>
          </a:xfrm>
          <a:prstGeom prst="rect">
            <a:avLst/>
          </a:prstGeom>
          <a:solidFill>
            <a:schemeClr val="bg1"/>
          </a:solidFill>
          <a:ln w="12700">
            <a:solidFill>
              <a:schemeClr val="accent3"/>
            </a:solidFill>
            <a:miter lim="800000"/>
            <a:headEnd/>
            <a:tailEnd/>
          </a:ln>
        </p:spPr>
        <p:txBody>
          <a:bodyPr wrap="none" anchor="ctr"/>
          <a:lstStyle/>
          <a:p>
            <a:pPr algn="ctr">
              <a:defRPr/>
            </a:pPr>
            <a:endParaRPr lang="en-GB" sz="1400"/>
          </a:p>
        </p:txBody>
      </p:sp>
      <p:sp>
        <p:nvSpPr>
          <p:cNvPr id="53" name="Rectangle 42"/>
          <p:cNvSpPr>
            <a:spLocks noChangeArrowheads="1"/>
          </p:cNvSpPr>
          <p:nvPr/>
        </p:nvSpPr>
        <p:spPr bwMode="auto">
          <a:xfrm>
            <a:off x="6065838" y="2880889"/>
            <a:ext cx="325437" cy="2722563"/>
          </a:xfrm>
          <a:prstGeom prst="rect">
            <a:avLst/>
          </a:prstGeom>
          <a:solidFill>
            <a:schemeClr val="accent3"/>
          </a:solidFill>
          <a:ln w="12700">
            <a:solidFill>
              <a:schemeClr val="accent3"/>
            </a:solidFill>
            <a:miter lim="800000"/>
            <a:headEnd/>
            <a:tailEnd/>
          </a:ln>
        </p:spPr>
        <p:txBody>
          <a:bodyPr wrap="none" anchor="ctr"/>
          <a:lstStyle/>
          <a:p>
            <a:pPr algn="ctr">
              <a:defRPr/>
            </a:pPr>
            <a:endParaRPr lang="en-GB" sz="1400"/>
          </a:p>
        </p:txBody>
      </p:sp>
      <p:grpSp>
        <p:nvGrpSpPr>
          <p:cNvPr id="3" name="Group 43"/>
          <p:cNvGrpSpPr>
            <a:grpSpLocks/>
          </p:cNvGrpSpPr>
          <p:nvPr/>
        </p:nvGrpSpPr>
        <p:grpSpPr bwMode="auto">
          <a:xfrm>
            <a:off x="6065838" y="2099839"/>
            <a:ext cx="325437" cy="2836863"/>
            <a:chOff x="1467" y="1638"/>
            <a:chExt cx="159" cy="1526"/>
          </a:xfrm>
        </p:grpSpPr>
        <p:sp>
          <p:nvSpPr>
            <p:cNvPr id="843819" name="Line 44"/>
            <p:cNvSpPr>
              <a:spLocks noChangeShapeType="1"/>
            </p:cNvSpPr>
            <p:nvPr/>
          </p:nvSpPr>
          <p:spPr bwMode="auto">
            <a:xfrm>
              <a:off x="1467" y="2486"/>
              <a:ext cx="159" cy="0"/>
            </a:xfrm>
            <a:prstGeom prst="line">
              <a:avLst/>
            </a:prstGeom>
            <a:noFill/>
            <a:ln w="12700">
              <a:solidFill>
                <a:schemeClr val="bg1"/>
              </a:solidFill>
              <a:prstDash val="sysDot"/>
              <a:round/>
              <a:headEnd/>
              <a:tailEnd/>
            </a:ln>
          </p:spPr>
          <p:txBody>
            <a:bodyPr wrap="none" anchor="ctr"/>
            <a:lstStyle/>
            <a:p>
              <a:endParaRPr lang="en-US"/>
            </a:p>
          </p:txBody>
        </p:sp>
        <p:sp>
          <p:nvSpPr>
            <p:cNvPr id="843820" name="Line 45"/>
            <p:cNvSpPr>
              <a:spLocks noChangeShapeType="1"/>
            </p:cNvSpPr>
            <p:nvPr/>
          </p:nvSpPr>
          <p:spPr bwMode="auto">
            <a:xfrm>
              <a:off x="1467" y="2316"/>
              <a:ext cx="159" cy="0"/>
            </a:xfrm>
            <a:prstGeom prst="line">
              <a:avLst/>
            </a:prstGeom>
            <a:noFill/>
            <a:ln w="12700">
              <a:solidFill>
                <a:schemeClr val="bg1"/>
              </a:solidFill>
              <a:prstDash val="sysDot"/>
              <a:round/>
              <a:headEnd/>
              <a:tailEnd/>
            </a:ln>
          </p:spPr>
          <p:txBody>
            <a:bodyPr wrap="none" anchor="ctr"/>
            <a:lstStyle/>
            <a:p>
              <a:endParaRPr lang="en-US"/>
            </a:p>
          </p:txBody>
        </p:sp>
        <p:sp>
          <p:nvSpPr>
            <p:cNvPr id="843821" name="Line 46"/>
            <p:cNvSpPr>
              <a:spLocks noChangeShapeType="1"/>
            </p:cNvSpPr>
            <p:nvPr/>
          </p:nvSpPr>
          <p:spPr bwMode="auto">
            <a:xfrm>
              <a:off x="1467" y="2147"/>
              <a:ext cx="159" cy="0"/>
            </a:xfrm>
            <a:prstGeom prst="line">
              <a:avLst/>
            </a:prstGeom>
            <a:noFill/>
            <a:ln w="12700">
              <a:solidFill>
                <a:schemeClr val="bg1"/>
              </a:solidFill>
              <a:prstDash val="sysDot"/>
              <a:round/>
              <a:headEnd/>
              <a:tailEnd/>
            </a:ln>
          </p:spPr>
          <p:txBody>
            <a:bodyPr wrap="none" anchor="ctr"/>
            <a:lstStyle/>
            <a:p>
              <a:endParaRPr lang="en-US"/>
            </a:p>
          </p:txBody>
        </p:sp>
        <p:sp>
          <p:nvSpPr>
            <p:cNvPr id="58" name="Line 47"/>
            <p:cNvSpPr>
              <a:spLocks noChangeShapeType="1"/>
            </p:cNvSpPr>
            <p:nvPr/>
          </p:nvSpPr>
          <p:spPr bwMode="auto">
            <a:xfrm>
              <a:off x="1467" y="1977"/>
              <a:ext cx="159" cy="0"/>
            </a:xfrm>
            <a:prstGeom prst="line">
              <a:avLst/>
            </a:prstGeom>
            <a:noFill/>
            <a:ln w="12700">
              <a:solidFill>
                <a:schemeClr val="accent3"/>
              </a:solidFill>
              <a:prstDash val="sysDot"/>
              <a:round/>
              <a:headEnd/>
              <a:tailEnd/>
            </a:ln>
          </p:spPr>
          <p:txBody>
            <a:bodyPr wrap="none" anchor="ctr"/>
            <a:lstStyle/>
            <a:p>
              <a:pPr>
                <a:defRPr/>
              </a:pPr>
              <a:endParaRPr lang="en-GB" sz="1400"/>
            </a:p>
          </p:txBody>
        </p:sp>
        <p:sp>
          <p:nvSpPr>
            <p:cNvPr id="59" name="Line 48"/>
            <p:cNvSpPr>
              <a:spLocks noChangeShapeType="1"/>
            </p:cNvSpPr>
            <p:nvPr/>
          </p:nvSpPr>
          <p:spPr bwMode="auto">
            <a:xfrm>
              <a:off x="1467" y="1808"/>
              <a:ext cx="159" cy="0"/>
            </a:xfrm>
            <a:prstGeom prst="line">
              <a:avLst/>
            </a:prstGeom>
            <a:noFill/>
            <a:ln w="12700">
              <a:solidFill>
                <a:schemeClr val="accent3"/>
              </a:solidFill>
              <a:prstDash val="sysDot"/>
              <a:round/>
              <a:headEnd/>
              <a:tailEnd/>
            </a:ln>
          </p:spPr>
          <p:txBody>
            <a:bodyPr wrap="none" anchor="ctr"/>
            <a:lstStyle/>
            <a:p>
              <a:pPr>
                <a:defRPr/>
              </a:pPr>
              <a:endParaRPr lang="en-GB" sz="1400"/>
            </a:p>
          </p:txBody>
        </p:sp>
        <p:sp>
          <p:nvSpPr>
            <p:cNvPr id="60" name="Line 49"/>
            <p:cNvSpPr>
              <a:spLocks noChangeShapeType="1"/>
            </p:cNvSpPr>
            <p:nvPr/>
          </p:nvSpPr>
          <p:spPr bwMode="auto">
            <a:xfrm>
              <a:off x="1467" y="1638"/>
              <a:ext cx="159" cy="0"/>
            </a:xfrm>
            <a:prstGeom prst="line">
              <a:avLst/>
            </a:prstGeom>
            <a:noFill/>
            <a:ln w="12700">
              <a:solidFill>
                <a:schemeClr val="accent3"/>
              </a:solidFill>
              <a:prstDash val="sysDot"/>
              <a:round/>
              <a:headEnd/>
              <a:tailEnd/>
            </a:ln>
          </p:spPr>
          <p:txBody>
            <a:bodyPr wrap="none" anchor="ctr"/>
            <a:lstStyle/>
            <a:p>
              <a:pPr>
                <a:defRPr/>
              </a:pPr>
              <a:endParaRPr lang="en-GB" sz="1400"/>
            </a:p>
          </p:txBody>
        </p:sp>
        <p:sp>
          <p:nvSpPr>
            <p:cNvPr id="843825" name="Line 50"/>
            <p:cNvSpPr>
              <a:spLocks noChangeShapeType="1"/>
            </p:cNvSpPr>
            <p:nvPr/>
          </p:nvSpPr>
          <p:spPr bwMode="auto">
            <a:xfrm>
              <a:off x="1467" y="3164"/>
              <a:ext cx="159" cy="0"/>
            </a:xfrm>
            <a:prstGeom prst="line">
              <a:avLst/>
            </a:prstGeom>
            <a:noFill/>
            <a:ln w="12700">
              <a:solidFill>
                <a:schemeClr val="bg1"/>
              </a:solidFill>
              <a:prstDash val="sysDot"/>
              <a:round/>
              <a:headEnd/>
              <a:tailEnd/>
            </a:ln>
          </p:spPr>
          <p:txBody>
            <a:bodyPr wrap="none" anchor="ctr"/>
            <a:lstStyle/>
            <a:p>
              <a:endParaRPr lang="en-US"/>
            </a:p>
          </p:txBody>
        </p:sp>
        <p:sp>
          <p:nvSpPr>
            <p:cNvPr id="843826" name="Line 51"/>
            <p:cNvSpPr>
              <a:spLocks noChangeShapeType="1"/>
            </p:cNvSpPr>
            <p:nvPr/>
          </p:nvSpPr>
          <p:spPr bwMode="auto">
            <a:xfrm>
              <a:off x="1467" y="2995"/>
              <a:ext cx="159" cy="0"/>
            </a:xfrm>
            <a:prstGeom prst="line">
              <a:avLst/>
            </a:prstGeom>
            <a:noFill/>
            <a:ln w="12700">
              <a:solidFill>
                <a:schemeClr val="bg1"/>
              </a:solidFill>
              <a:prstDash val="sysDot"/>
              <a:round/>
              <a:headEnd/>
              <a:tailEnd/>
            </a:ln>
          </p:spPr>
          <p:txBody>
            <a:bodyPr wrap="none" anchor="ctr"/>
            <a:lstStyle/>
            <a:p>
              <a:endParaRPr lang="en-US"/>
            </a:p>
          </p:txBody>
        </p:sp>
        <p:sp>
          <p:nvSpPr>
            <p:cNvPr id="843827" name="Line 52"/>
            <p:cNvSpPr>
              <a:spLocks noChangeShapeType="1"/>
            </p:cNvSpPr>
            <p:nvPr/>
          </p:nvSpPr>
          <p:spPr bwMode="auto">
            <a:xfrm>
              <a:off x="1467" y="2825"/>
              <a:ext cx="159" cy="0"/>
            </a:xfrm>
            <a:prstGeom prst="line">
              <a:avLst/>
            </a:prstGeom>
            <a:noFill/>
            <a:ln w="12700">
              <a:solidFill>
                <a:schemeClr val="bg1"/>
              </a:solidFill>
              <a:prstDash val="sysDot"/>
              <a:round/>
              <a:headEnd/>
              <a:tailEnd/>
            </a:ln>
          </p:spPr>
          <p:txBody>
            <a:bodyPr wrap="none" anchor="ctr"/>
            <a:lstStyle/>
            <a:p>
              <a:endParaRPr lang="en-US"/>
            </a:p>
          </p:txBody>
        </p:sp>
        <p:sp>
          <p:nvSpPr>
            <p:cNvPr id="843828" name="Line 53"/>
            <p:cNvSpPr>
              <a:spLocks noChangeShapeType="1"/>
            </p:cNvSpPr>
            <p:nvPr/>
          </p:nvSpPr>
          <p:spPr bwMode="auto">
            <a:xfrm>
              <a:off x="1467" y="2656"/>
              <a:ext cx="159" cy="0"/>
            </a:xfrm>
            <a:prstGeom prst="line">
              <a:avLst/>
            </a:prstGeom>
            <a:noFill/>
            <a:ln w="12700">
              <a:solidFill>
                <a:schemeClr val="bg1"/>
              </a:solidFill>
              <a:prstDash val="sysDot"/>
              <a:round/>
              <a:headEnd/>
              <a:tailEnd/>
            </a:ln>
          </p:spPr>
          <p:txBody>
            <a:bodyPr wrap="none" anchor="ctr"/>
            <a:lstStyle/>
            <a:p>
              <a:endParaRPr lang="en-US"/>
            </a:p>
          </p:txBody>
        </p:sp>
      </p:grpSp>
      <p:sp>
        <p:nvSpPr>
          <p:cNvPr id="65" name="Rectangle 54"/>
          <p:cNvSpPr>
            <a:spLocks noChangeArrowheads="1"/>
          </p:cNvSpPr>
          <p:nvPr/>
        </p:nvSpPr>
        <p:spPr bwMode="auto">
          <a:xfrm>
            <a:off x="6153150" y="5439939"/>
            <a:ext cx="169863" cy="252413"/>
          </a:xfrm>
          <a:prstGeom prst="rect">
            <a:avLst/>
          </a:prstGeom>
          <a:solidFill>
            <a:schemeClr val="accent1"/>
          </a:solidFill>
          <a:ln w="12700">
            <a:solidFill>
              <a:schemeClr val="accent3"/>
            </a:solidFill>
            <a:miter lim="800000"/>
            <a:headEnd/>
            <a:tailEnd/>
          </a:ln>
        </p:spPr>
        <p:txBody>
          <a:bodyPr wrap="none" anchor="ctr"/>
          <a:lstStyle/>
          <a:p>
            <a:pPr algn="ctr">
              <a:defRPr/>
            </a:pPr>
            <a:endParaRPr lang="en-GB" sz="1400"/>
          </a:p>
        </p:txBody>
      </p:sp>
      <p:sp>
        <p:nvSpPr>
          <p:cNvPr id="66" name="Rectangle 55"/>
          <p:cNvSpPr>
            <a:spLocks noChangeArrowheads="1"/>
          </p:cNvSpPr>
          <p:nvPr/>
        </p:nvSpPr>
        <p:spPr bwMode="auto">
          <a:xfrm>
            <a:off x="6153150" y="5484389"/>
            <a:ext cx="169863" cy="133350"/>
          </a:xfrm>
          <a:prstGeom prst="rect">
            <a:avLst/>
          </a:prstGeom>
          <a:solidFill>
            <a:schemeClr val="accent1"/>
          </a:solidFill>
          <a:ln w="12700">
            <a:solidFill>
              <a:schemeClr val="accent3"/>
            </a:solidFill>
            <a:miter lim="800000"/>
            <a:headEnd/>
            <a:tailEnd/>
          </a:ln>
        </p:spPr>
        <p:txBody>
          <a:bodyPr wrap="none" anchor="ctr"/>
          <a:lstStyle/>
          <a:p>
            <a:pPr algn="ctr">
              <a:defRPr/>
            </a:pPr>
            <a:endParaRPr lang="en-GB" sz="1400"/>
          </a:p>
        </p:txBody>
      </p:sp>
      <p:sp>
        <p:nvSpPr>
          <p:cNvPr id="67" name="Oval 56"/>
          <p:cNvSpPr>
            <a:spLocks noChangeArrowheads="1"/>
          </p:cNvSpPr>
          <p:nvPr/>
        </p:nvSpPr>
        <p:spPr bwMode="auto">
          <a:xfrm>
            <a:off x="5959475" y="5320877"/>
            <a:ext cx="534988" cy="460375"/>
          </a:xfrm>
          <a:prstGeom prst="ellipse">
            <a:avLst/>
          </a:prstGeom>
          <a:solidFill>
            <a:schemeClr val="accent3"/>
          </a:solidFill>
          <a:ln w="12700" algn="ctr">
            <a:solidFill>
              <a:schemeClr val="accent3"/>
            </a:solidFill>
            <a:round/>
            <a:headEnd/>
            <a:tailEnd/>
          </a:ln>
        </p:spPr>
        <p:txBody>
          <a:bodyPr wrap="none" anchor="ctr"/>
          <a:lstStyle/>
          <a:p>
            <a:pPr algn="ctr">
              <a:defRPr/>
            </a:pPr>
            <a:endParaRPr lang="en-GB" sz="1400"/>
          </a:p>
        </p:txBody>
      </p:sp>
      <p:sp>
        <p:nvSpPr>
          <p:cNvPr id="843813" name="Rectangle 57"/>
          <p:cNvSpPr>
            <a:spLocks noChangeArrowheads="1"/>
          </p:cNvSpPr>
          <p:nvPr/>
        </p:nvSpPr>
        <p:spPr bwMode="auto">
          <a:xfrm flipV="1">
            <a:off x="6073629" y="5263041"/>
            <a:ext cx="310393" cy="142614"/>
          </a:xfrm>
          <a:prstGeom prst="rect">
            <a:avLst/>
          </a:prstGeom>
          <a:solidFill>
            <a:schemeClr val="accent3"/>
          </a:solidFill>
          <a:ln w="12700" algn="ctr">
            <a:noFill/>
            <a:miter lim="800000"/>
            <a:headEnd/>
            <a:tailEnd/>
          </a:ln>
        </p:spPr>
        <p:txBody>
          <a:bodyPr wrap="none" anchor="ctr"/>
          <a:lstStyle/>
          <a:p>
            <a:pPr algn="ctr"/>
            <a:endParaRPr lang="en-GB" sz="1400"/>
          </a:p>
        </p:txBody>
      </p:sp>
      <p:sp>
        <p:nvSpPr>
          <p:cNvPr id="843814" name="Rectangle 58"/>
          <p:cNvSpPr>
            <a:spLocks noChangeArrowheads="1"/>
          </p:cNvSpPr>
          <p:nvPr/>
        </p:nvSpPr>
        <p:spPr bwMode="auto">
          <a:xfrm>
            <a:off x="5980113" y="5432002"/>
            <a:ext cx="488950" cy="293687"/>
          </a:xfrm>
          <a:prstGeom prst="rect">
            <a:avLst/>
          </a:prstGeom>
          <a:noFill/>
          <a:ln w="12700">
            <a:noFill/>
            <a:miter lim="800000"/>
            <a:headEnd/>
            <a:tailEnd/>
          </a:ln>
        </p:spPr>
        <p:txBody>
          <a:bodyPr lIns="90488" tIns="44450" rIns="90488" bIns="44450">
            <a:spAutoFit/>
          </a:bodyPr>
          <a:lstStyle/>
          <a:p>
            <a:pPr algn="ctr">
              <a:lnSpc>
                <a:spcPct val="95000"/>
              </a:lnSpc>
            </a:pPr>
            <a:r>
              <a:rPr lang="en-GB" sz="1400">
                <a:solidFill>
                  <a:srgbClr val="FFFFFF"/>
                </a:solidFill>
                <a:ea typeface="ＭＳ Ｐゴシック" charset="-128"/>
              </a:rPr>
              <a:t>0</a:t>
            </a:r>
          </a:p>
        </p:txBody>
      </p:sp>
      <p:sp>
        <p:nvSpPr>
          <p:cNvPr id="70" name="Oval 59"/>
          <p:cNvSpPr>
            <a:spLocks noChangeArrowheads="1"/>
          </p:cNvSpPr>
          <p:nvPr/>
        </p:nvSpPr>
        <p:spPr bwMode="auto">
          <a:xfrm>
            <a:off x="5968184" y="1499987"/>
            <a:ext cx="534988" cy="460375"/>
          </a:xfrm>
          <a:prstGeom prst="ellipse">
            <a:avLst/>
          </a:prstGeom>
          <a:solidFill>
            <a:schemeClr val="bg1"/>
          </a:solidFill>
          <a:ln w="12700">
            <a:solidFill>
              <a:schemeClr val="accent3"/>
            </a:solidFill>
            <a:round/>
            <a:headEnd/>
            <a:tailEnd/>
          </a:ln>
        </p:spPr>
        <p:txBody>
          <a:bodyPr wrap="none" anchor="ctr"/>
          <a:lstStyle/>
          <a:p>
            <a:pPr algn="ctr">
              <a:defRPr/>
            </a:pPr>
            <a:endParaRPr lang="en-GB" sz="1400"/>
          </a:p>
        </p:txBody>
      </p:sp>
      <p:sp>
        <p:nvSpPr>
          <p:cNvPr id="843817" name="Rectangle 61"/>
          <p:cNvSpPr>
            <a:spLocks noChangeArrowheads="1"/>
          </p:cNvSpPr>
          <p:nvPr/>
        </p:nvSpPr>
        <p:spPr bwMode="auto">
          <a:xfrm>
            <a:off x="5988822" y="1582537"/>
            <a:ext cx="488950" cy="293687"/>
          </a:xfrm>
          <a:prstGeom prst="rect">
            <a:avLst/>
          </a:prstGeom>
          <a:noFill/>
          <a:ln w="12700">
            <a:noFill/>
            <a:miter lim="800000"/>
            <a:headEnd/>
            <a:tailEnd/>
          </a:ln>
        </p:spPr>
        <p:txBody>
          <a:bodyPr lIns="90488" tIns="44450" rIns="90488" bIns="44450">
            <a:spAutoFit/>
          </a:bodyPr>
          <a:lstStyle/>
          <a:p>
            <a:pPr algn="ctr">
              <a:lnSpc>
                <a:spcPct val="95000"/>
              </a:lnSpc>
            </a:pPr>
            <a:r>
              <a:rPr lang="en-GB" sz="1400">
                <a:solidFill>
                  <a:schemeClr val="tx2"/>
                </a:solidFill>
                <a:ea typeface="ＭＳ Ｐゴシック" charset="-128"/>
              </a:rPr>
              <a:t>10</a:t>
            </a:r>
          </a:p>
        </p:txBody>
      </p:sp>
      <p:sp>
        <p:nvSpPr>
          <p:cNvPr id="6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68"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69" name="Rectangle 62"/>
          <p:cNvSpPr>
            <a:spLocks noChangeArrowheads="1"/>
          </p:cNvSpPr>
          <p:nvPr/>
        </p:nvSpPr>
        <p:spPr bwMode="auto">
          <a:xfrm>
            <a:off x="6075363" y="446038"/>
            <a:ext cx="2553675" cy="461665"/>
          </a:xfrm>
          <a:prstGeom prst="rect">
            <a:avLst/>
          </a:prstGeom>
          <a:noFill/>
          <a:ln w="12700" algn="ctr">
            <a:solidFill>
              <a:schemeClr val="tx2"/>
            </a:solidFill>
            <a:miter lim="800000"/>
            <a:headEnd/>
            <a:tailEnd/>
          </a:ln>
        </p:spPr>
        <p:txBody>
          <a:bodyPr wrap="square" tIns="91440" bIns="91440">
            <a:spAutoFit/>
          </a:bodyPr>
          <a:lstStyle/>
          <a:p>
            <a:pPr algn="l">
              <a:defRPr/>
            </a:pPr>
            <a:r>
              <a:rPr lang="en-GB" sz="900" b="0" dirty="0">
                <a:solidFill>
                  <a:schemeClr val="tx2"/>
                </a:solidFill>
                <a:ea typeface="ＭＳ Ｐゴシック" pitchFamily="50" charset="-128"/>
              </a:rPr>
              <a:t>Tip! </a:t>
            </a:r>
            <a:r>
              <a:rPr lang="en-GB" sz="900" dirty="0">
                <a:solidFill>
                  <a:schemeClr val="tx2"/>
                </a:solidFill>
                <a:ea typeface="ＭＳ Ｐゴシック" pitchFamily="50" charset="-128"/>
              </a:rPr>
              <a:t>Click on the </a:t>
            </a:r>
            <a:r>
              <a:rPr lang="en-GB" sz="900" dirty="0" smtClean="0">
                <a:solidFill>
                  <a:schemeClr val="tx2"/>
                </a:solidFill>
                <a:ea typeface="ＭＳ Ｐゴシック" pitchFamily="50" charset="-128"/>
              </a:rPr>
              <a:t>blue </a:t>
            </a:r>
            <a:r>
              <a:rPr lang="en-GB" sz="900" dirty="0">
                <a:solidFill>
                  <a:schemeClr val="tx2"/>
                </a:solidFill>
                <a:ea typeface="ＭＳ Ｐゴシック" pitchFamily="50" charset="-128"/>
              </a:rPr>
              <a:t>area </a:t>
            </a:r>
            <a:r>
              <a:rPr lang="en-GB" sz="900" b="0" dirty="0">
                <a:solidFill>
                  <a:schemeClr val="tx2"/>
                </a:solidFill>
                <a:ea typeface="ＭＳ Ｐゴシック" pitchFamily="50" charset="-128"/>
              </a:rPr>
              <a:t>and move up or down according to the level needed to </a:t>
            </a:r>
            <a:r>
              <a:rPr lang="en-GB" sz="900" b="0" dirty="0" smtClean="0">
                <a:solidFill>
                  <a:schemeClr val="tx2"/>
                </a:solidFill>
                <a:ea typeface="ＭＳ Ｐゴシック" pitchFamily="50" charset="-128"/>
              </a:rPr>
              <a:t>show.</a:t>
            </a:r>
            <a:endParaRPr lang="en-GB" sz="900" b="0" dirty="0">
              <a:solidFill>
                <a:schemeClr val="tx2"/>
              </a:solidFill>
              <a:ea typeface="ＭＳ Ｐゴシック" pitchFamily="50" charset="-128"/>
            </a:endParaRPr>
          </a:p>
        </p:txBody>
      </p:sp>
    </p:spTree>
  </p:cSld>
  <p:clrMapOvr>
    <a:masterClrMapping/>
  </p:clrMapOvr>
  <p:timing>
    <p:tnLst>
      <p:par>
        <p:cTn id="1" dur="indefinite" restart="never" nodeType="tmRoot"/>
      </p:par>
    </p:tnLst>
  </p:timing>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2"/>
            </p:custDataLst>
          </p:nvPr>
        </p:nvSpPr>
        <p:spPr>
          <a:xfrm>
            <a:off x="414338" y="446038"/>
            <a:ext cx="8330184" cy="333425"/>
          </a:xfrm>
        </p:spPr>
        <p:txBody>
          <a:bodyPr/>
          <a:lstStyle/>
          <a:p>
            <a:r>
              <a:rPr lang="en-GB" altLang="ja-JP"/>
              <a:t>Other </a:t>
            </a:r>
            <a:r>
              <a:rPr lang="en-US"/>
              <a:t>—</a:t>
            </a:r>
            <a:r>
              <a:rPr lang="en-GB" altLang="ja-JP" smtClean="0"/>
              <a:t> </a:t>
            </a:r>
            <a:r>
              <a:rPr lang="en-GB" altLang="ja-JP"/>
              <a:t>saving t</a:t>
            </a:r>
            <a:r>
              <a:rPr lang="en-GB"/>
              <a:t>hermometer</a:t>
            </a:r>
            <a:endParaRPr lang="nl-NL"/>
          </a:p>
        </p:txBody>
      </p:sp>
      <p:graphicFrame>
        <p:nvGraphicFramePr>
          <p:cNvPr id="371718" name="Rectangle 6"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1204" name="think-cell Slide" r:id="rId30" imgW="0" imgH="0" progId="">
                  <p:embed/>
                </p:oleObj>
              </mc:Choice>
              <mc:Fallback>
                <p:oleObj name="think-cell Slide" r:id="rId30"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3" name="Rectangle 49"/>
          <p:cNvSpPr>
            <a:spLocks noChangeArrowheads="1"/>
          </p:cNvSpPr>
          <p:nvPr/>
        </p:nvSpPr>
        <p:spPr bwMode="auto">
          <a:xfrm>
            <a:off x="5968770" y="479381"/>
            <a:ext cx="2775752" cy="600164"/>
          </a:xfrm>
          <a:prstGeom prst="rect">
            <a:avLst/>
          </a:prstGeom>
          <a:noFill/>
          <a:ln w="12700" algn="ctr">
            <a:solidFill>
              <a:schemeClr val="tx2"/>
            </a:solidFill>
            <a:miter lim="800000"/>
            <a:headEnd/>
            <a:tailEnd/>
          </a:ln>
        </p:spPr>
        <p:txBody>
          <a:bodyPr wrap="square" tIns="91440" bIns="91440">
            <a:spAutoFit/>
          </a:bodyPr>
          <a:lstStyle/>
          <a:p>
            <a:pPr algn="l">
              <a:defRPr/>
            </a:pPr>
            <a:r>
              <a:rPr lang="en-GB" sz="900" b="0" dirty="0">
                <a:solidFill>
                  <a:schemeClr val="tx2"/>
                </a:solidFill>
                <a:ea typeface="ＭＳ Ｐゴシック" pitchFamily="50" charset="-128"/>
              </a:rPr>
              <a:t>Tip</a:t>
            </a:r>
            <a:r>
              <a:rPr lang="en-GB" sz="900" dirty="0">
                <a:solidFill>
                  <a:schemeClr val="tx2"/>
                </a:solidFill>
                <a:ea typeface="ＭＳ Ｐゴシック" pitchFamily="50" charset="-128"/>
              </a:rPr>
              <a:t>! Double-click on the </a:t>
            </a:r>
            <a:r>
              <a:rPr lang="en-GB" sz="900" dirty="0" err="1">
                <a:solidFill>
                  <a:schemeClr val="tx2"/>
                </a:solidFill>
                <a:ea typeface="ＭＳ Ｐゴシック" pitchFamily="50" charset="-128"/>
              </a:rPr>
              <a:t>colored</a:t>
            </a:r>
            <a:r>
              <a:rPr lang="en-GB" sz="900" dirty="0">
                <a:solidFill>
                  <a:schemeClr val="tx2"/>
                </a:solidFill>
                <a:ea typeface="ＭＳ Ｐゴシック" pitchFamily="50" charset="-128"/>
              </a:rPr>
              <a:t> area </a:t>
            </a:r>
            <a:r>
              <a:rPr lang="en-GB" sz="900" b="0" dirty="0">
                <a:solidFill>
                  <a:schemeClr val="tx2"/>
                </a:solidFill>
                <a:ea typeface="ＭＳ Ｐゴシック" pitchFamily="50" charset="-128"/>
              </a:rPr>
              <a:t>to adjust the amount per category, to change the scale use right click on the invisible vertical </a:t>
            </a:r>
            <a:r>
              <a:rPr lang="en-GB" sz="900" b="0" dirty="0" smtClean="0">
                <a:solidFill>
                  <a:schemeClr val="tx2"/>
                </a:solidFill>
                <a:ea typeface="ＭＳ Ｐゴシック" pitchFamily="50" charset="-128"/>
              </a:rPr>
              <a:t>axis.</a:t>
            </a:r>
            <a:endParaRPr lang="en-GB" sz="900" b="0" dirty="0">
              <a:solidFill>
                <a:schemeClr val="tx2"/>
              </a:solidFill>
              <a:ea typeface="ＭＳ Ｐゴシック" pitchFamily="50" charset="-128"/>
            </a:endParaRPr>
          </a:p>
        </p:txBody>
      </p:sp>
      <p:sp>
        <p:nvSpPr>
          <p:cNvPr id="5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52" name="Text Placeholder 12"/>
          <p:cNvSpPr>
            <a:spLocks/>
          </p:cNvSpPr>
          <p:nvPr>
            <p:custDataLst>
              <p:tags r:id="rId4"/>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grpSp>
        <p:nvGrpSpPr>
          <p:cNvPr id="75" name="Group 74"/>
          <p:cNvGrpSpPr/>
          <p:nvPr/>
        </p:nvGrpSpPr>
        <p:grpSpPr>
          <a:xfrm>
            <a:off x="2064064" y="1505635"/>
            <a:ext cx="5303387" cy="4574634"/>
            <a:chOff x="888407" y="1505635"/>
            <a:chExt cx="5303387" cy="4574634"/>
          </a:xfrm>
        </p:grpSpPr>
        <p:sp>
          <p:nvSpPr>
            <p:cNvPr id="371732" name="Text Box 23"/>
            <p:cNvSpPr txBox="1">
              <a:spLocks noChangeArrowheads="1"/>
            </p:cNvSpPr>
            <p:nvPr>
              <p:custDataLst>
                <p:tags r:id="rId11"/>
              </p:custDataLst>
            </p:nvPr>
          </p:nvSpPr>
          <p:spPr bwMode="auto">
            <a:xfrm>
              <a:off x="1158392" y="1505635"/>
              <a:ext cx="1814512" cy="309562"/>
            </a:xfrm>
            <a:prstGeom prst="rect">
              <a:avLst/>
            </a:prstGeom>
            <a:noFill/>
            <a:ln w="9525" algn="ctr">
              <a:noFill/>
              <a:miter lim="800000"/>
              <a:headEnd/>
              <a:tailEnd/>
            </a:ln>
          </p:spPr>
          <p:txBody>
            <a:bodyPr lIns="90000" tIns="46800" rIns="90000" bIns="46800">
              <a:spAutoFit/>
            </a:bodyPr>
            <a:lstStyle/>
            <a:p>
              <a:pPr algn="ctr"/>
              <a:r>
                <a:rPr lang="en-GB" altLang="ja-JP" sz="1400" b="1" dirty="0">
                  <a:solidFill>
                    <a:schemeClr val="tx2"/>
                  </a:solidFill>
                  <a:ea typeface="ＭＳ Ｐゴシック" charset="-128"/>
                </a:rPr>
                <a:t>Total: $</a:t>
              </a:r>
            </a:p>
          </p:txBody>
        </p:sp>
        <p:grpSp>
          <p:nvGrpSpPr>
            <p:cNvPr id="74" name="Group 73"/>
            <p:cNvGrpSpPr/>
            <p:nvPr/>
          </p:nvGrpSpPr>
          <p:grpSpPr>
            <a:xfrm>
              <a:off x="888407" y="1782763"/>
              <a:ext cx="5303387" cy="4297506"/>
              <a:chOff x="888407" y="1782763"/>
              <a:chExt cx="5303387" cy="4297506"/>
            </a:xfrm>
          </p:grpSpPr>
          <p:sp>
            <p:nvSpPr>
              <p:cNvPr id="95" name="AutoShape 3"/>
              <p:cNvSpPr>
                <a:spLocks noChangeArrowheads="1"/>
              </p:cNvSpPr>
              <p:nvPr>
                <p:custDataLst>
                  <p:tags r:id="rId12"/>
                </p:custDataLst>
              </p:nvPr>
            </p:nvSpPr>
            <p:spPr bwMode="auto">
              <a:xfrm rot="-5400000">
                <a:off x="1626904" y="1900568"/>
                <a:ext cx="822960" cy="649224"/>
              </a:xfrm>
              <a:prstGeom prst="flowChartDelay">
                <a:avLst/>
              </a:prstGeom>
              <a:noFill/>
              <a:ln w="12700" algn="ctr">
                <a:solidFill>
                  <a:schemeClr val="accent3"/>
                </a:solidFill>
                <a:miter lim="800000"/>
                <a:headEnd/>
                <a:tailEnd/>
              </a:ln>
            </p:spPr>
            <p:txBody>
              <a:bodyPr wrap="none" lIns="90000" tIns="46800" rIns="90000" bIns="46800" anchor="ctr"/>
              <a:lstStyle/>
              <a:p>
                <a:pPr algn="ctr">
                  <a:defRPr/>
                </a:pPr>
                <a:endParaRPr lang="en-GB" sz="1400">
                  <a:solidFill>
                    <a:schemeClr val="tx2"/>
                  </a:solidFill>
                </a:endParaRPr>
              </a:p>
            </p:txBody>
          </p:sp>
          <p:graphicFrame>
            <p:nvGraphicFramePr>
              <p:cNvPr id="371717" name="Object 6"/>
              <p:cNvGraphicFramePr>
                <a:graphicFrameLocks noChangeAspect="1"/>
              </p:cNvGraphicFramePr>
              <p:nvPr/>
            </p:nvGraphicFramePr>
            <p:xfrm>
              <a:off x="1493838" y="1782763"/>
              <a:ext cx="1106487" cy="3784600"/>
            </p:xfrm>
            <a:graphic>
              <a:graphicData uri="http://schemas.openxmlformats.org/presentationml/2006/ole">
                <mc:AlternateContent xmlns:mc="http://schemas.openxmlformats.org/markup-compatibility/2006">
                  <mc:Choice xmlns:v="urn:schemas-microsoft-com:vml" Requires="v">
                    <p:oleObj spid="_x0000_s51205" name="Worksheet" r:id="rId32" imgW="952564" imgH="3447999" progId="Excel.Sheet.8">
                      <p:embed/>
                    </p:oleObj>
                  </mc:Choice>
                  <mc:Fallback>
                    <p:oleObj name="Worksheet" r:id="rId32" imgW="952564" imgH="3447999" progId="Excel.Sheet.8">
                      <p:embed/>
                      <p:pic>
                        <p:nvPicPr>
                          <p:cNvPr id="0" name="Object 6"/>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493838" y="1782763"/>
                            <a:ext cx="1106487" cy="37846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6" name="Oval 5"/>
              <p:cNvSpPr>
                <a:spLocks noChangeArrowheads="1"/>
              </p:cNvSpPr>
              <p:nvPr>
                <p:custDataLst>
                  <p:tags r:id="rId13"/>
                </p:custDataLst>
              </p:nvPr>
            </p:nvSpPr>
            <p:spPr bwMode="auto">
              <a:xfrm>
                <a:off x="1595892" y="5180293"/>
                <a:ext cx="895570" cy="899976"/>
              </a:xfrm>
              <a:prstGeom prst="ellipse">
                <a:avLst/>
              </a:prstGeom>
              <a:solidFill>
                <a:schemeClr val="tx2"/>
              </a:solidFill>
              <a:ln w="9525" algn="ctr">
                <a:noFill/>
                <a:round/>
                <a:headEnd/>
                <a:tailEnd/>
              </a:ln>
            </p:spPr>
            <p:txBody>
              <a:bodyPr wrap="none" lIns="90000" tIns="46800" rIns="90000" bIns="46800" anchor="ctr"/>
              <a:lstStyle/>
              <a:p>
                <a:pPr algn="ctr">
                  <a:defRPr/>
                </a:pPr>
                <a:endParaRPr lang="en-GB" sz="1400">
                  <a:solidFill>
                    <a:schemeClr val="tx2"/>
                  </a:solidFill>
                </a:endParaRPr>
              </a:p>
            </p:txBody>
          </p:sp>
          <p:sp>
            <p:nvSpPr>
              <p:cNvPr id="371723" name="Text Box 9"/>
              <p:cNvSpPr txBox="1">
                <a:spLocks noChangeArrowheads="1"/>
              </p:cNvSpPr>
              <p:nvPr>
                <p:custDataLst>
                  <p:tags r:id="rId14"/>
                </p:custDataLst>
              </p:nvPr>
            </p:nvSpPr>
            <p:spPr bwMode="auto">
              <a:xfrm>
                <a:off x="902694" y="4325938"/>
                <a:ext cx="733425" cy="279400"/>
              </a:xfrm>
              <a:prstGeom prst="rect">
                <a:avLst/>
              </a:prstGeom>
              <a:noFill/>
              <a:ln w="9525" algn="ctr">
                <a:noFill/>
                <a:miter lim="800000"/>
                <a:headEnd/>
                <a:tailEnd/>
              </a:ln>
            </p:spPr>
            <p:txBody>
              <a:bodyPr lIns="90000" tIns="46800" rIns="90000" bIns="46800">
                <a:spAutoFit/>
              </a:bodyPr>
              <a:lstStyle/>
              <a:p>
                <a:pPr algn="r"/>
                <a:r>
                  <a:rPr lang="en-US" altLang="ja-JP" sz="1200">
                    <a:solidFill>
                      <a:schemeClr val="tx2"/>
                    </a:solidFill>
                    <a:ea typeface="ＭＳ Ｐゴシック" charset="-128"/>
                  </a:rPr>
                  <a:t>$2</a:t>
                </a:r>
                <a:r>
                  <a:rPr lang="en-GB" altLang="ja-JP" sz="1200">
                    <a:solidFill>
                      <a:schemeClr val="tx2"/>
                    </a:solidFill>
                    <a:ea typeface="ＭＳ Ｐゴシック" charset="-128"/>
                  </a:rPr>
                  <a:t>M</a:t>
                </a:r>
              </a:p>
            </p:txBody>
          </p:sp>
          <p:sp>
            <p:nvSpPr>
              <p:cNvPr id="371724" name="Text Box 10"/>
              <p:cNvSpPr txBox="1">
                <a:spLocks noChangeArrowheads="1"/>
              </p:cNvSpPr>
              <p:nvPr>
                <p:custDataLst>
                  <p:tags r:id="rId15"/>
                </p:custDataLst>
              </p:nvPr>
            </p:nvSpPr>
            <p:spPr bwMode="auto">
              <a:xfrm>
                <a:off x="893169" y="3937000"/>
                <a:ext cx="742950" cy="279400"/>
              </a:xfrm>
              <a:prstGeom prst="rect">
                <a:avLst/>
              </a:prstGeom>
              <a:noFill/>
              <a:ln w="9525" algn="ctr">
                <a:noFill/>
                <a:miter lim="800000"/>
                <a:headEnd/>
                <a:tailEnd/>
              </a:ln>
            </p:spPr>
            <p:txBody>
              <a:bodyPr lIns="90000" tIns="46800" rIns="90000" bIns="46800">
                <a:spAutoFit/>
              </a:bodyPr>
              <a:lstStyle/>
              <a:p>
                <a:pPr algn="r"/>
                <a:r>
                  <a:rPr lang="en-US" altLang="ja-JP" sz="1200">
                    <a:solidFill>
                      <a:schemeClr val="tx2"/>
                    </a:solidFill>
                    <a:ea typeface="ＭＳ Ｐゴシック" charset="-128"/>
                  </a:rPr>
                  <a:t>$3</a:t>
                </a:r>
                <a:r>
                  <a:rPr lang="en-GB" altLang="ja-JP" sz="1200">
                    <a:solidFill>
                      <a:schemeClr val="tx2"/>
                    </a:solidFill>
                    <a:ea typeface="ＭＳ Ｐゴシック" charset="-128"/>
                  </a:rPr>
                  <a:t>M</a:t>
                </a:r>
              </a:p>
            </p:txBody>
          </p:sp>
          <p:sp>
            <p:nvSpPr>
              <p:cNvPr id="371725" name="Text Box 13"/>
              <p:cNvSpPr txBox="1">
                <a:spLocks noChangeArrowheads="1"/>
              </p:cNvSpPr>
              <p:nvPr>
                <p:custDataLst>
                  <p:tags r:id="rId16"/>
                </p:custDataLst>
              </p:nvPr>
            </p:nvSpPr>
            <p:spPr bwMode="auto">
              <a:xfrm>
                <a:off x="950319" y="4708525"/>
                <a:ext cx="685800" cy="279400"/>
              </a:xfrm>
              <a:prstGeom prst="rect">
                <a:avLst/>
              </a:prstGeom>
              <a:noFill/>
              <a:ln w="9525" algn="ctr">
                <a:noFill/>
                <a:miter lim="800000"/>
                <a:headEnd/>
                <a:tailEnd/>
              </a:ln>
            </p:spPr>
            <p:txBody>
              <a:bodyPr lIns="90000" tIns="46800" rIns="90000" bIns="46800">
                <a:spAutoFit/>
              </a:bodyPr>
              <a:lstStyle/>
              <a:p>
                <a:pPr algn="r"/>
                <a:r>
                  <a:rPr lang="en-US" altLang="ja-JP" sz="1200">
                    <a:solidFill>
                      <a:schemeClr val="tx2"/>
                    </a:solidFill>
                    <a:ea typeface="ＭＳ Ｐゴシック" charset="-128"/>
                  </a:rPr>
                  <a:t>$1</a:t>
                </a:r>
                <a:r>
                  <a:rPr lang="en-GB" altLang="ja-JP" sz="1200">
                    <a:solidFill>
                      <a:schemeClr val="tx2"/>
                    </a:solidFill>
                    <a:ea typeface="ＭＳ Ｐゴシック" charset="-128"/>
                  </a:rPr>
                  <a:t>M</a:t>
                </a:r>
              </a:p>
            </p:txBody>
          </p:sp>
          <p:sp>
            <p:nvSpPr>
              <p:cNvPr id="371726" name="Text Box 16"/>
              <p:cNvSpPr txBox="1">
                <a:spLocks noChangeArrowheads="1"/>
              </p:cNvSpPr>
              <p:nvPr>
                <p:custDataLst>
                  <p:tags r:id="rId17"/>
                </p:custDataLst>
              </p:nvPr>
            </p:nvSpPr>
            <p:spPr bwMode="auto">
              <a:xfrm>
                <a:off x="893169" y="3568700"/>
                <a:ext cx="742950" cy="279400"/>
              </a:xfrm>
              <a:prstGeom prst="rect">
                <a:avLst/>
              </a:prstGeom>
              <a:noFill/>
              <a:ln w="9525" algn="ctr">
                <a:noFill/>
                <a:miter lim="800000"/>
                <a:headEnd/>
                <a:tailEnd/>
              </a:ln>
            </p:spPr>
            <p:txBody>
              <a:bodyPr lIns="90000" tIns="46800" rIns="90000" bIns="46800">
                <a:spAutoFit/>
              </a:bodyPr>
              <a:lstStyle/>
              <a:p>
                <a:pPr algn="r"/>
                <a:r>
                  <a:rPr lang="en-US" altLang="ja-JP" sz="1200">
                    <a:solidFill>
                      <a:schemeClr val="tx2"/>
                    </a:solidFill>
                    <a:ea typeface="ＭＳ Ｐゴシック" charset="-128"/>
                  </a:rPr>
                  <a:t>$4</a:t>
                </a:r>
                <a:r>
                  <a:rPr lang="en-GB" altLang="ja-JP" sz="1200">
                    <a:solidFill>
                      <a:schemeClr val="tx2"/>
                    </a:solidFill>
                    <a:ea typeface="ＭＳ Ｐゴシック" charset="-128"/>
                  </a:rPr>
                  <a:t>M</a:t>
                </a:r>
              </a:p>
            </p:txBody>
          </p:sp>
          <p:sp>
            <p:nvSpPr>
              <p:cNvPr id="371727" name="Text Box 18"/>
              <p:cNvSpPr txBox="1">
                <a:spLocks noChangeArrowheads="1"/>
              </p:cNvSpPr>
              <p:nvPr>
                <p:custDataLst>
                  <p:tags r:id="rId18"/>
                </p:custDataLst>
              </p:nvPr>
            </p:nvSpPr>
            <p:spPr bwMode="auto">
              <a:xfrm>
                <a:off x="950319" y="5059363"/>
                <a:ext cx="685800" cy="277812"/>
              </a:xfrm>
              <a:prstGeom prst="rect">
                <a:avLst/>
              </a:prstGeom>
              <a:noFill/>
              <a:ln w="9525" algn="ctr">
                <a:noFill/>
                <a:miter lim="800000"/>
                <a:headEnd/>
                <a:tailEnd/>
              </a:ln>
            </p:spPr>
            <p:txBody>
              <a:bodyPr lIns="90000" tIns="46800" rIns="90000" bIns="46800">
                <a:spAutoFit/>
              </a:bodyPr>
              <a:lstStyle/>
              <a:p>
                <a:pPr algn="r"/>
                <a:r>
                  <a:rPr lang="en-US" altLang="ja-JP" sz="1200">
                    <a:solidFill>
                      <a:schemeClr val="tx2"/>
                    </a:solidFill>
                    <a:ea typeface="ＭＳ Ｐゴシック" charset="-128"/>
                  </a:rPr>
                  <a:t>$0</a:t>
                </a:r>
                <a:r>
                  <a:rPr lang="en-GB" altLang="ja-JP" sz="1200">
                    <a:solidFill>
                      <a:schemeClr val="tx2"/>
                    </a:solidFill>
                    <a:ea typeface="ＭＳ Ｐゴシック" charset="-128"/>
                  </a:rPr>
                  <a:t>M</a:t>
                </a:r>
              </a:p>
            </p:txBody>
          </p:sp>
          <p:sp>
            <p:nvSpPr>
              <p:cNvPr id="371728" name="Text Box 19"/>
              <p:cNvSpPr txBox="1">
                <a:spLocks noChangeArrowheads="1"/>
              </p:cNvSpPr>
              <p:nvPr>
                <p:custDataLst>
                  <p:tags r:id="rId19"/>
                </p:custDataLst>
              </p:nvPr>
            </p:nvSpPr>
            <p:spPr bwMode="auto">
              <a:xfrm>
                <a:off x="902694" y="2776538"/>
                <a:ext cx="744538" cy="279400"/>
              </a:xfrm>
              <a:prstGeom prst="rect">
                <a:avLst/>
              </a:prstGeom>
              <a:noFill/>
              <a:ln w="9525" algn="ctr">
                <a:noFill/>
                <a:miter lim="800000"/>
                <a:headEnd/>
                <a:tailEnd/>
              </a:ln>
            </p:spPr>
            <p:txBody>
              <a:bodyPr lIns="90000" tIns="46800" rIns="90000" bIns="46800">
                <a:spAutoFit/>
              </a:bodyPr>
              <a:lstStyle/>
              <a:p>
                <a:pPr algn="r"/>
                <a:r>
                  <a:rPr lang="en-US" altLang="ja-JP" sz="1200">
                    <a:solidFill>
                      <a:schemeClr val="tx2"/>
                    </a:solidFill>
                    <a:ea typeface="ＭＳ Ｐゴシック" charset="-128"/>
                  </a:rPr>
                  <a:t>$6</a:t>
                </a:r>
                <a:r>
                  <a:rPr lang="en-GB" altLang="ja-JP" sz="1200">
                    <a:solidFill>
                      <a:schemeClr val="tx2"/>
                    </a:solidFill>
                    <a:ea typeface="ＭＳ Ｐゴシック" charset="-128"/>
                  </a:rPr>
                  <a:t>M</a:t>
                </a:r>
              </a:p>
            </p:txBody>
          </p:sp>
          <p:sp>
            <p:nvSpPr>
              <p:cNvPr id="371733" name="Text Box 29"/>
              <p:cNvSpPr txBox="1">
                <a:spLocks noChangeArrowheads="1"/>
              </p:cNvSpPr>
              <p:nvPr>
                <p:custDataLst>
                  <p:tags r:id="rId20"/>
                </p:custDataLst>
              </p:nvPr>
            </p:nvSpPr>
            <p:spPr bwMode="auto">
              <a:xfrm>
                <a:off x="893169" y="2397125"/>
                <a:ext cx="742950" cy="279400"/>
              </a:xfrm>
              <a:prstGeom prst="rect">
                <a:avLst/>
              </a:prstGeom>
              <a:noFill/>
              <a:ln w="9525" algn="ctr">
                <a:noFill/>
                <a:miter lim="800000"/>
                <a:headEnd/>
                <a:tailEnd/>
              </a:ln>
            </p:spPr>
            <p:txBody>
              <a:bodyPr lIns="90000" tIns="46800" rIns="90000" bIns="46800">
                <a:spAutoFit/>
              </a:bodyPr>
              <a:lstStyle/>
              <a:p>
                <a:pPr algn="r"/>
                <a:r>
                  <a:rPr lang="en-US" altLang="ja-JP" sz="1200">
                    <a:solidFill>
                      <a:schemeClr val="tx2"/>
                    </a:solidFill>
                    <a:ea typeface="ＭＳ Ｐゴシック" charset="-128"/>
                  </a:rPr>
                  <a:t>$7</a:t>
                </a:r>
                <a:r>
                  <a:rPr lang="en-GB" altLang="ja-JP" sz="1200">
                    <a:solidFill>
                      <a:schemeClr val="tx2"/>
                    </a:solidFill>
                    <a:ea typeface="ＭＳ Ｐゴシック" charset="-128"/>
                  </a:rPr>
                  <a:t>M</a:t>
                </a:r>
              </a:p>
            </p:txBody>
          </p:sp>
          <p:sp>
            <p:nvSpPr>
              <p:cNvPr id="371734" name="Text Box 31"/>
              <p:cNvSpPr txBox="1">
                <a:spLocks noChangeArrowheads="1"/>
              </p:cNvSpPr>
              <p:nvPr>
                <p:custDataLst>
                  <p:tags r:id="rId21"/>
                </p:custDataLst>
              </p:nvPr>
            </p:nvSpPr>
            <p:spPr bwMode="auto">
              <a:xfrm>
                <a:off x="888407" y="3162300"/>
                <a:ext cx="744537" cy="279400"/>
              </a:xfrm>
              <a:prstGeom prst="rect">
                <a:avLst/>
              </a:prstGeom>
              <a:noFill/>
              <a:ln w="9525" algn="ctr">
                <a:noFill/>
                <a:miter lim="800000"/>
                <a:headEnd/>
                <a:tailEnd/>
              </a:ln>
            </p:spPr>
            <p:txBody>
              <a:bodyPr lIns="90000" tIns="46800" rIns="90000" bIns="46800">
                <a:spAutoFit/>
              </a:bodyPr>
              <a:lstStyle/>
              <a:p>
                <a:pPr algn="r"/>
                <a:r>
                  <a:rPr lang="en-US" altLang="ja-JP" sz="1200">
                    <a:solidFill>
                      <a:schemeClr val="tx2"/>
                    </a:solidFill>
                    <a:ea typeface="ＭＳ Ｐゴシック" charset="-128"/>
                  </a:rPr>
                  <a:t>$5</a:t>
                </a:r>
                <a:r>
                  <a:rPr lang="en-GB" altLang="ja-JP" sz="1200">
                    <a:solidFill>
                      <a:schemeClr val="tx2"/>
                    </a:solidFill>
                    <a:ea typeface="ＭＳ Ｐゴシック" charset="-128"/>
                  </a:rPr>
                  <a:t>M</a:t>
                </a:r>
              </a:p>
            </p:txBody>
          </p:sp>
          <p:sp>
            <p:nvSpPr>
              <p:cNvPr id="371735" name="Text Box 35"/>
              <p:cNvSpPr txBox="1">
                <a:spLocks noChangeArrowheads="1"/>
              </p:cNvSpPr>
              <p:nvPr>
                <p:custDataLst>
                  <p:tags r:id="rId22"/>
                </p:custDataLst>
              </p:nvPr>
            </p:nvSpPr>
            <p:spPr bwMode="auto">
              <a:xfrm>
                <a:off x="888407" y="2014538"/>
                <a:ext cx="744537" cy="279400"/>
              </a:xfrm>
              <a:prstGeom prst="rect">
                <a:avLst/>
              </a:prstGeom>
              <a:noFill/>
              <a:ln w="9525" algn="ctr">
                <a:noFill/>
                <a:miter lim="800000"/>
                <a:headEnd/>
                <a:tailEnd/>
              </a:ln>
            </p:spPr>
            <p:txBody>
              <a:bodyPr lIns="90000" tIns="46800" rIns="90000" bIns="46800">
                <a:spAutoFit/>
              </a:bodyPr>
              <a:lstStyle/>
              <a:p>
                <a:pPr algn="r"/>
                <a:r>
                  <a:rPr lang="en-US" altLang="ja-JP" sz="1200" dirty="0">
                    <a:solidFill>
                      <a:schemeClr val="tx2"/>
                    </a:solidFill>
                    <a:ea typeface="ＭＳ Ｐゴシック" charset="-128"/>
                  </a:rPr>
                  <a:t>$8</a:t>
                </a:r>
                <a:r>
                  <a:rPr lang="en-GB" altLang="ja-JP" sz="1200" dirty="0">
                    <a:solidFill>
                      <a:schemeClr val="tx2"/>
                    </a:solidFill>
                    <a:ea typeface="ＭＳ Ｐゴシック" charset="-128"/>
                  </a:rPr>
                  <a:t>M</a:t>
                </a:r>
              </a:p>
            </p:txBody>
          </p:sp>
          <p:sp>
            <p:nvSpPr>
              <p:cNvPr id="371729" name="Text Box 20"/>
              <p:cNvSpPr txBox="1">
                <a:spLocks noChangeArrowheads="1"/>
              </p:cNvSpPr>
              <p:nvPr>
                <p:custDataLst>
                  <p:tags r:id="rId23"/>
                </p:custDataLst>
              </p:nvPr>
            </p:nvSpPr>
            <p:spPr bwMode="auto">
              <a:xfrm>
                <a:off x="2553863" y="4983945"/>
                <a:ext cx="3607320" cy="215444"/>
              </a:xfrm>
              <a:prstGeom prst="rect">
                <a:avLst/>
              </a:prstGeom>
              <a:noFill/>
              <a:ln w="9525" algn="ctr">
                <a:noFill/>
                <a:miter lim="800000"/>
                <a:headEnd/>
                <a:tailEnd/>
              </a:ln>
            </p:spPr>
            <p:txBody>
              <a:bodyPr wrap="square" lIns="0" tIns="0" rIns="0" bIns="0">
                <a:spAutoFit/>
              </a:bodyPr>
              <a:lstStyle/>
              <a:p>
                <a:pPr marL="174625" indent="-174625" algn="l"/>
                <a:r>
                  <a:rPr lang="en-GB" altLang="ja-JP" sz="1400" dirty="0">
                    <a:solidFill>
                      <a:schemeClr val="tx2"/>
                    </a:solidFill>
                    <a:ea typeface="ＭＳ Ｐゴシック" charset="-128"/>
                  </a:rPr>
                  <a:t>Savings Category A: </a:t>
                </a:r>
                <a:r>
                  <a:rPr lang="en-GB" altLang="ja-JP" sz="1400" dirty="0" smtClean="0">
                    <a:solidFill>
                      <a:schemeClr val="tx2"/>
                    </a:solidFill>
                    <a:ea typeface="ＭＳ Ｐゴシック" charset="-128"/>
                  </a:rPr>
                  <a:t>$</a:t>
                </a:r>
                <a:endParaRPr lang="en-GB" altLang="ja-JP" sz="1400" dirty="0">
                  <a:solidFill>
                    <a:schemeClr val="tx2"/>
                  </a:solidFill>
                  <a:ea typeface="ＭＳ Ｐゴシック" charset="-128"/>
                </a:endParaRPr>
              </a:p>
            </p:txBody>
          </p:sp>
          <p:sp>
            <p:nvSpPr>
              <p:cNvPr id="371730" name="Text Box 21"/>
              <p:cNvSpPr txBox="1">
                <a:spLocks noChangeArrowheads="1"/>
              </p:cNvSpPr>
              <p:nvPr>
                <p:custDataLst>
                  <p:tags r:id="rId24"/>
                </p:custDataLst>
              </p:nvPr>
            </p:nvSpPr>
            <p:spPr bwMode="auto">
              <a:xfrm>
                <a:off x="2553863" y="4495504"/>
                <a:ext cx="3564273" cy="215444"/>
              </a:xfrm>
              <a:prstGeom prst="rect">
                <a:avLst/>
              </a:prstGeom>
              <a:noFill/>
              <a:ln w="9525" algn="ctr">
                <a:noFill/>
                <a:miter lim="800000"/>
                <a:headEnd/>
                <a:tailEnd/>
              </a:ln>
            </p:spPr>
            <p:txBody>
              <a:bodyPr lIns="0" tIns="0" rIns="0" bIns="0">
                <a:spAutoFit/>
              </a:bodyPr>
              <a:lstStyle/>
              <a:p>
                <a:pPr marL="174625" indent="-174625" algn="l"/>
                <a:r>
                  <a:rPr lang="en-GB" altLang="ja-JP" sz="1400" dirty="0">
                    <a:solidFill>
                      <a:schemeClr val="tx2"/>
                    </a:solidFill>
                    <a:ea typeface="ＭＳ Ｐゴシック" charset="-128"/>
                  </a:rPr>
                  <a:t>Savings Category B: </a:t>
                </a:r>
                <a:r>
                  <a:rPr lang="en-GB" altLang="ja-JP" sz="1400" dirty="0" smtClean="0">
                    <a:solidFill>
                      <a:schemeClr val="tx2"/>
                    </a:solidFill>
                    <a:ea typeface="ＭＳ Ｐゴシック" charset="-128"/>
                  </a:rPr>
                  <a:t>$</a:t>
                </a:r>
                <a:endParaRPr lang="en-GB" altLang="ja-JP" sz="1400" dirty="0">
                  <a:solidFill>
                    <a:schemeClr val="tx2"/>
                  </a:solidFill>
                  <a:ea typeface="ＭＳ Ｐゴシック" charset="-128"/>
                </a:endParaRPr>
              </a:p>
            </p:txBody>
          </p:sp>
          <p:sp>
            <p:nvSpPr>
              <p:cNvPr id="371731" name="Text Box 22"/>
              <p:cNvSpPr txBox="1">
                <a:spLocks noChangeArrowheads="1"/>
              </p:cNvSpPr>
              <p:nvPr>
                <p:custDataLst>
                  <p:tags r:id="rId25"/>
                </p:custDataLst>
              </p:nvPr>
            </p:nvSpPr>
            <p:spPr bwMode="auto">
              <a:xfrm>
                <a:off x="2553863" y="4026153"/>
                <a:ext cx="3637931" cy="215444"/>
              </a:xfrm>
              <a:prstGeom prst="rect">
                <a:avLst/>
              </a:prstGeom>
              <a:noFill/>
              <a:ln w="9525" algn="ctr">
                <a:noFill/>
                <a:miter lim="800000"/>
                <a:headEnd/>
                <a:tailEnd/>
              </a:ln>
            </p:spPr>
            <p:txBody>
              <a:bodyPr lIns="0" tIns="0" rIns="0" bIns="0">
                <a:spAutoFit/>
              </a:bodyPr>
              <a:lstStyle/>
              <a:p>
                <a:pPr marL="174625" indent="-174625" algn="l"/>
                <a:r>
                  <a:rPr lang="en-GB" altLang="ja-JP" sz="1400" dirty="0">
                    <a:solidFill>
                      <a:schemeClr val="tx2"/>
                    </a:solidFill>
                    <a:ea typeface="ＭＳ Ｐゴシック" charset="-128"/>
                  </a:rPr>
                  <a:t>Savings Category C: </a:t>
                </a:r>
                <a:r>
                  <a:rPr lang="en-GB" altLang="ja-JP" sz="1400" dirty="0" smtClean="0">
                    <a:solidFill>
                      <a:schemeClr val="tx2"/>
                    </a:solidFill>
                    <a:ea typeface="ＭＳ Ｐゴシック" charset="-128"/>
                  </a:rPr>
                  <a:t>$</a:t>
                </a:r>
                <a:endParaRPr lang="en-GB" altLang="ja-JP" sz="1400" dirty="0">
                  <a:solidFill>
                    <a:schemeClr val="tx2"/>
                  </a:solidFill>
                  <a:ea typeface="ＭＳ Ｐゴシック" charset="-128"/>
                </a:endParaRPr>
              </a:p>
            </p:txBody>
          </p:sp>
          <p:sp>
            <p:nvSpPr>
              <p:cNvPr id="371736" name="Text Box 36"/>
              <p:cNvSpPr txBox="1">
                <a:spLocks noChangeArrowheads="1"/>
              </p:cNvSpPr>
              <p:nvPr>
                <p:custDataLst>
                  <p:tags r:id="rId26"/>
                </p:custDataLst>
              </p:nvPr>
            </p:nvSpPr>
            <p:spPr bwMode="auto">
              <a:xfrm>
                <a:off x="2565251" y="3456196"/>
                <a:ext cx="3601580" cy="215444"/>
              </a:xfrm>
              <a:prstGeom prst="rect">
                <a:avLst/>
              </a:prstGeom>
              <a:noFill/>
              <a:ln w="9525" algn="ctr">
                <a:noFill/>
                <a:miter lim="800000"/>
                <a:headEnd/>
                <a:tailEnd/>
              </a:ln>
            </p:spPr>
            <p:txBody>
              <a:bodyPr lIns="0" tIns="0" rIns="0" bIns="0">
                <a:spAutoFit/>
              </a:bodyPr>
              <a:lstStyle/>
              <a:p>
                <a:pPr algn="l"/>
                <a:r>
                  <a:rPr lang="en-GB" altLang="ja-JP" sz="1400" dirty="0">
                    <a:solidFill>
                      <a:schemeClr val="tx2"/>
                    </a:solidFill>
                    <a:ea typeface="ＭＳ Ｐゴシック" charset="-128"/>
                  </a:rPr>
                  <a:t>Savings Category D: </a:t>
                </a:r>
                <a:r>
                  <a:rPr lang="en-GB" altLang="ja-JP" sz="1400" dirty="0" smtClean="0">
                    <a:solidFill>
                      <a:schemeClr val="tx2"/>
                    </a:solidFill>
                    <a:ea typeface="ＭＳ Ｐゴシック" charset="-128"/>
                  </a:rPr>
                  <a:t>$</a:t>
                </a:r>
                <a:endParaRPr lang="en-GB" altLang="ja-JP" sz="1400" dirty="0">
                  <a:solidFill>
                    <a:schemeClr val="tx2"/>
                  </a:solidFill>
                  <a:ea typeface="ＭＳ Ｐゴシック" charset="-128"/>
                </a:endParaRPr>
              </a:p>
            </p:txBody>
          </p:sp>
          <p:sp>
            <p:nvSpPr>
              <p:cNvPr id="371747" name="Text Box 47"/>
              <p:cNvSpPr txBox="1">
                <a:spLocks noChangeArrowheads="1"/>
              </p:cNvSpPr>
              <p:nvPr>
                <p:custDataLst>
                  <p:tags r:id="rId27"/>
                </p:custDataLst>
              </p:nvPr>
            </p:nvSpPr>
            <p:spPr bwMode="auto">
              <a:xfrm>
                <a:off x="2569993" y="2821973"/>
                <a:ext cx="3601580" cy="215444"/>
              </a:xfrm>
              <a:prstGeom prst="rect">
                <a:avLst/>
              </a:prstGeom>
              <a:noFill/>
              <a:ln w="9525" algn="ctr">
                <a:noFill/>
                <a:miter lim="800000"/>
                <a:headEnd/>
                <a:tailEnd/>
              </a:ln>
            </p:spPr>
            <p:txBody>
              <a:bodyPr lIns="0" tIns="0" rIns="0" bIns="0">
                <a:spAutoFit/>
              </a:bodyPr>
              <a:lstStyle/>
              <a:p>
                <a:pPr algn="l"/>
                <a:r>
                  <a:rPr lang="en-GB" altLang="ja-JP" sz="1400" dirty="0">
                    <a:solidFill>
                      <a:schemeClr val="tx2"/>
                    </a:solidFill>
                    <a:ea typeface="ＭＳ Ｐゴシック" charset="-128"/>
                  </a:rPr>
                  <a:t>Savings Category E: </a:t>
                </a:r>
                <a:r>
                  <a:rPr lang="en-GB" altLang="ja-JP" sz="1400" dirty="0" smtClean="0">
                    <a:solidFill>
                      <a:schemeClr val="tx2"/>
                    </a:solidFill>
                    <a:ea typeface="ＭＳ Ｐゴシック" charset="-128"/>
                  </a:rPr>
                  <a:t>$</a:t>
                </a:r>
                <a:endParaRPr lang="en-GB" altLang="ja-JP" sz="1400" dirty="0">
                  <a:solidFill>
                    <a:schemeClr val="tx2"/>
                  </a:solidFill>
                  <a:ea typeface="ＭＳ Ｐゴシック" charset="-128"/>
                </a:endParaRPr>
              </a:p>
            </p:txBody>
          </p:sp>
          <p:sp>
            <p:nvSpPr>
              <p:cNvPr id="53" name="Line 7"/>
              <p:cNvSpPr>
                <a:spLocks noChangeShapeType="1"/>
              </p:cNvSpPr>
              <p:nvPr/>
            </p:nvSpPr>
            <p:spPr bwMode="auto">
              <a:xfrm>
                <a:off x="1691712" y="4592559"/>
                <a:ext cx="693550" cy="1588"/>
              </a:xfrm>
              <a:prstGeom prst="line">
                <a:avLst/>
              </a:prstGeom>
              <a:noFill/>
              <a:ln w="12700">
                <a:solidFill>
                  <a:srgbClr val="FFFFFF"/>
                </a:solidFill>
                <a:round/>
                <a:headEnd/>
                <a:tailEnd/>
              </a:ln>
            </p:spPr>
            <p:txBody>
              <a:bodyPr lIns="90000" tIns="46800" rIns="90000" bIns="46800" anchor="ctr"/>
              <a:lstStyle/>
              <a:p>
                <a:endParaRPr lang="en-US"/>
              </a:p>
            </p:txBody>
          </p:sp>
          <p:sp>
            <p:nvSpPr>
              <p:cNvPr id="54" name="Line 8"/>
              <p:cNvSpPr>
                <a:spLocks noChangeShapeType="1"/>
              </p:cNvSpPr>
              <p:nvPr/>
            </p:nvSpPr>
            <p:spPr bwMode="auto">
              <a:xfrm>
                <a:off x="1692477" y="4222181"/>
                <a:ext cx="707073" cy="0"/>
              </a:xfrm>
              <a:prstGeom prst="line">
                <a:avLst/>
              </a:prstGeom>
              <a:noFill/>
              <a:ln w="12700">
                <a:solidFill>
                  <a:srgbClr val="FFFFFF"/>
                </a:solidFill>
                <a:round/>
                <a:headEnd/>
                <a:tailEnd/>
              </a:ln>
            </p:spPr>
            <p:txBody>
              <a:bodyPr lIns="90000" tIns="46800" rIns="90000" bIns="46800" anchor="ctr"/>
              <a:lstStyle/>
              <a:p>
                <a:endParaRPr lang="en-US"/>
              </a:p>
            </p:txBody>
          </p:sp>
          <p:sp>
            <p:nvSpPr>
              <p:cNvPr id="55" name="Line 11"/>
              <p:cNvSpPr>
                <a:spLocks noChangeShapeType="1"/>
              </p:cNvSpPr>
              <p:nvPr/>
            </p:nvSpPr>
            <p:spPr bwMode="auto">
              <a:xfrm>
                <a:off x="1692477" y="5157245"/>
                <a:ext cx="702311" cy="0"/>
              </a:xfrm>
              <a:prstGeom prst="line">
                <a:avLst/>
              </a:prstGeom>
              <a:noFill/>
              <a:ln w="12700">
                <a:solidFill>
                  <a:srgbClr val="FFFFFF"/>
                </a:solidFill>
                <a:round/>
                <a:headEnd/>
                <a:tailEnd/>
              </a:ln>
            </p:spPr>
            <p:txBody>
              <a:bodyPr lIns="90000" tIns="46800" rIns="90000" bIns="46800" anchor="ctr"/>
              <a:lstStyle/>
              <a:p>
                <a:endParaRPr lang="en-US"/>
              </a:p>
            </p:txBody>
          </p:sp>
          <p:sp>
            <p:nvSpPr>
              <p:cNvPr id="56" name="Line 12"/>
              <p:cNvSpPr>
                <a:spLocks noChangeShapeType="1"/>
              </p:cNvSpPr>
              <p:nvPr/>
            </p:nvSpPr>
            <p:spPr bwMode="auto">
              <a:xfrm>
                <a:off x="1690100" y="4964520"/>
                <a:ext cx="695838" cy="0"/>
              </a:xfrm>
              <a:prstGeom prst="line">
                <a:avLst/>
              </a:prstGeom>
              <a:noFill/>
              <a:ln w="12700">
                <a:solidFill>
                  <a:srgbClr val="FFFFFF"/>
                </a:solidFill>
                <a:round/>
                <a:headEnd/>
                <a:tailEnd/>
              </a:ln>
            </p:spPr>
            <p:txBody>
              <a:bodyPr lIns="90000" tIns="46800" rIns="90000" bIns="46800" anchor="ctr"/>
              <a:lstStyle/>
              <a:p>
                <a:endParaRPr lang="en-US"/>
              </a:p>
            </p:txBody>
          </p:sp>
          <p:sp>
            <p:nvSpPr>
              <p:cNvPr id="57" name="Line 14"/>
              <p:cNvSpPr>
                <a:spLocks noChangeShapeType="1"/>
              </p:cNvSpPr>
              <p:nvPr/>
            </p:nvSpPr>
            <p:spPr bwMode="auto">
              <a:xfrm>
                <a:off x="1659934" y="4779336"/>
                <a:ext cx="739617" cy="0"/>
              </a:xfrm>
              <a:prstGeom prst="line">
                <a:avLst/>
              </a:prstGeom>
              <a:noFill/>
              <a:ln w="12700">
                <a:solidFill>
                  <a:srgbClr val="FFFFFF"/>
                </a:solidFill>
                <a:round/>
                <a:headEnd/>
                <a:tailEnd/>
              </a:ln>
            </p:spPr>
            <p:txBody>
              <a:bodyPr lIns="90000" tIns="46800" rIns="90000" bIns="46800" anchor="ctr"/>
              <a:lstStyle/>
              <a:p>
                <a:endParaRPr lang="en-US"/>
              </a:p>
            </p:txBody>
          </p:sp>
          <p:sp>
            <p:nvSpPr>
              <p:cNvPr id="58" name="Line 15"/>
              <p:cNvSpPr>
                <a:spLocks noChangeShapeType="1"/>
              </p:cNvSpPr>
              <p:nvPr/>
            </p:nvSpPr>
            <p:spPr bwMode="auto">
              <a:xfrm>
                <a:off x="1671046" y="4407370"/>
                <a:ext cx="728505" cy="0"/>
              </a:xfrm>
              <a:prstGeom prst="line">
                <a:avLst/>
              </a:prstGeom>
              <a:noFill/>
              <a:ln w="12700">
                <a:solidFill>
                  <a:srgbClr val="FFFFFF"/>
                </a:solidFill>
                <a:round/>
                <a:headEnd/>
                <a:tailEnd/>
              </a:ln>
            </p:spPr>
            <p:txBody>
              <a:bodyPr lIns="90000" tIns="46800" rIns="90000" bIns="46800" anchor="ctr"/>
              <a:lstStyle/>
              <a:p>
                <a:endParaRPr lang="en-US"/>
              </a:p>
            </p:txBody>
          </p:sp>
          <p:sp>
            <p:nvSpPr>
              <p:cNvPr id="59" name="Line 24"/>
              <p:cNvSpPr>
                <a:spLocks noChangeShapeType="1"/>
              </p:cNvSpPr>
              <p:nvPr/>
            </p:nvSpPr>
            <p:spPr bwMode="auto">
              <a:xfrm>
                <a:off x="1674223" y="4036992"/>
                <a:ext cx="715803" cy="0"/>
              </a:xfrm>
              <a:prstGeom prst="line">
                <a:avLst/>
              </a:prstGeom>
              <a:noFill/>
              <a:ln w="12700">
                <a:solidFill>
                  <a:srgbClr val="FFFFFF"/>
                </a:solidFill>
                <a:round/>
                <a:headEnd/>
                <a:tailEnd/>
              </a:ln>
            </p:spPr>
            <p:txBody>
              <a:bodyPr lIns="90000" tIns="46800" rIns="90000" bIns="46800" anchor="ctr"/>
              <a:lstStyle/>
              <a:p>
                <a:endParaRPr lang="en-US"/>
              </a:p>
            </p:txBody>
          </p:sp>
          <p:sp>
            <p:nvSpPr>
              <p:cNvPr id="60" name="Line 25"/>
              <p:cNvSpPr>
                <a:spLocks noChangeShapeType="1"/>
              </p:cNvSpPr>
              <p:nvPr/>
            </p:nvSpPr>
            <p:spPr bwMode="auto">
              <a:xfrm>
                <a:off x="1678987" y="3851803"/>
                <a:ext cx="730090" cy="0"/>
              </a:xfrm>
              <a:prstGeom prst="line">
                <a:avLst/>
              </a:prstGeom>
              <a:noFill/>
              <a:ln w="12700">
                <a:solidFill>
                  <a:srgbClr val="FFFFFF"/>
                </a:solidFill>
                <a:round/>
                <a:headEnd/>
                <a:tailEnd/>
              </a:ln>
            </p:spPr>
            <p:txBody>
              <a:bodyPr lIns="90000" tIns="46800" rIns="90000" bIns="46800" anchor="ctr"/>
              <a:lstStyle/>
              <a:p>
                <a:endParaRPr lang="en-US"/>
              </a:p>
            </p:txBody>
          </p:sp>
          <p:sp>
            <p:nvSpPr>
              <p:cNvPr id="61" name="Line 26"/>
              <p:cNvSpPr>
                <a:spLocks noChangeShapeType="1"/>
              </p:cNvSpPr>
              <p:nvPr/>
            </p:nvSpPr>
            <p:spPr bwMode="auto">
              <a:xfrm>
                <a:off x="1669462" y="3666614"/>
                <a:ext cx="720564" cy="0"/>
              </a:xfrm>
              <a:prstGeom prst="line">
                <a:avLst/>
              </a:prstGeom>
              <a:noFill/>
              <a:ln w="12700">
                <a:solidFill>
                  <a:srgbClr val="FFFFFF"/>
                </a:solidFill>
                <a:round/>
                <a:headEnd/>
                <a:tailEnd/>
              </a:ln>
            </p:spPr>
            <p:txBody>
              <a:bodyPr lIns="90000" tIns="46800" rIns="90000" bIns="46800" anchor="ctr"/>
              <a:lstStyle/>
              <a:p>
                <a:endParaRPr lang="en-US"/>
              </a:p>
            </p:txBody>
          </p:sp>
          <p:sp>
            <p:nvSpPr>
              <p:cNvPr id="63" name="Line 28"/>
              <p:cNvSpPr>
                <a:spLocks noChangeShapeType="1"/>
              </p:cNvSpPr>
              <p:nvPr/>
            </p:nvSpPr>
            <p:spPr bwMode="auto">
              <a:xfrm>
                <a:off x="1669461" y="2925858"/>
                <a:ext cx="709532" cy="0"/>
              </a:xfrm>
              <a:prstGeom prst="line">
                <a:avLst/>
              </a:prstGeom>
              <a:noFill/>
              <a:ln w="12700">
                <a:solidFill>
                  <a:srgbClr val="FFFFFF"/>
                </a:solidFill>
                <a:round/>
                <a:headEnd/>
                <a:tailEnd/>
              </a:ln>
            </p:spPr>
            <p:txBody>
              <a:bodyPr lIns="90000" tIns="46800" rIns="90000" bIns="46800" anchor="ctr"/>
              <a:lstStyle/>
              <a:p>
                <a:endParaRPr lang="en-US"/>
              </a:p>
            </p:txBody>
          </p:sp>
          <p:sp>
            <p:nvSpPr>
              <p:cNvPr id="64" name="Line 30"/>
              <p:cNvSpPr>
                <a:spLocks noChangeShapeType="1"/>
              </p:cNvSpPr>
              <p:nvPr/>
            </p:nvSpPr>
            <p:spPr bwMode="auto">
              <a:xfrm>
                <a:off x="1671047" y="2740669"/>
                <a:ext cx="723742" cy="0"/>
              </a:xfrm>
              <a:prstGeom prst="line">
                <a:avLst/>
              </a:prstGeom>
              <a:noFill/>
              <a:ln w="12700">
                <a:solidFill>
                  <a:srgbClr val="FFFFFF"/>
                </a:solidFill>
                <a:round/>
                <a:headEnd/>
                <a:tailEnd/>
              </a:ln>
            </p:spPr>
            <p:txBody>
              <a:bodyPr lIns="90000" tIns="46800" rIns="90000" bIns="46800" anchor="ctr"/>
              <a:lstStyle/>
              <a:p>
                <a:endParaRPr lang="en-US"/>
              </a:p>
            </p:txBody>
          </p:sp>
          <p:sp>
            <p:nvSpPr>
              <p:cNvPr id="65" name="Line 32"/>
              <p:cNvSpPr>
                <a:spLocks noChangeShapeType="1"/>
              </p:cNvSpPr>
              <p:nvPr/>
            </p:nvSpPr>
            <p:spPr bwMode="auto">
              <a:xfrm>
                <a:off x="1682951" y="3481425"/>
                <a:ext cx="683933" cy="0"/>
              </a:xfrm>
              <a:prstGeom prst="line">
                <a:avLst/>
              </a:prstGeom>
              <a:noFill/>
              <a:ln w="12700">
                <a:solidFill>
                  <a:srgbClr val="FFFFFF"/>
                </a:solidFill>
                <a:round/>
                <a:headEnd/>
                <a:tailEnd/>
              </a:ln>
            </p:spPr>
            <p:txBody>
              <a:bodyPr lIns="90000" tIns="46800" rIns="90000" bIns="46800" anchor="ctr"/>
              <a:lstStyle/>
              <a:p>
                <a:endParaRPr lang="en-US"/>
              </a:p>
            </p:txBody>
          </p:sp>
          <p:sp>
            <p:nvSpPr>
              <p:cNvPr id="66" name="Line 33"/>
              <p:cNvSpPr>
                <a:spLocks noChangeShapeType="1"/>
              </p:cNvSpPr>
              <p:nvPr/>
            </p:nvSpPr>
            <p:spPr bwMode="auto">
              <a:xfrm>
                <a:off x="1685194" y="3296236"/>
                <a:ext cx="709595" cy="0"/>
              </a:xfrm>
              <a:prstGeom prst="line">
                <a:avLst/>
              </a:prstGeom>
              <a:noFill/>
              <a:ln w="12700">
                <a:solidFill>
                  <a:srgbClr val="FFFFFF"/>
                </a:solidFill>
                <a:round/>
                <a:headEnd/>
                <a:tailEnd/>
              </a:ln>
            </p:spPr>
            <p:txBody>
              <a:bodyPr lIns="90000" tIns="46800" rIns="90000" bIns="46800" anchor="ctr"/>
              <a:lstStyle/>
              <a:p>
                <a:endParaRPr lang="en-US"/>
              </a:p>
            </p:txBody>
          </p:sp>
          <p:sp>
            <p:nvSpPr>
              <p:cNvPr id="68" name="Line 30"/>
              <p:cNvSpPr>
                <a:spLocks noChangeShapeType="1"/>
              </p:cNvSpPr>
              <p:nvPr/>
            </p:nvSpPr>
            <p:spPr bwMode="auto">
              <a:xfrm>
                <a:off x="1682952" y="2555083"/>
                <a:ext cx="696042" cy="0"/>
              </a:xfrm>
              <a:prstGeom prst="line">
                <a:avLst/>
              </a:prstGeom>
              <a:noFill/>
              <a:ln w="12700">
                <a:solidFill>
                  <a:srgbClr val="FFFFFF"/>
                </a:solidFill>
                <a:round/>
                <a:headEnd/>
                <a:tailEnd/>
              </a:ln>
            </p:spPr>
            <p:txBody>
              <a:bodyPr lIns="90000" tIns="46800" rIns="90000" bIns="46800" anchor="ctr"/>
              <a:lstStyle/>
              <a:p>
                <a:endParaRPr lang="en-US"/>
              </a:p>
            </p:txBody>
          </p:sp>
          <p:sp>
            <p:nvSpPr>
              <p:cNvPr id="69" name="Line 28"/>
              <p:cNvSpPr>
                <a:spLocks noChangeShapeType="1"/>
              </p:cNvSpPr>
              <p:nvPr/>
            </p:nvSpPr>
            <p:spPr bwMode="auto">
              <a:xfrm>
                <a:off x="1655171" y="3111047"/>
                <a:ext cx="734855" cy="0"/>
              </a:xfrm>
              <a:prstGeom prst="line">
                <a:avLst/>
              </a:prstGeom>
              <a:noFill/>
              <a:ln w="12700">
                <a:solidFill>
                  <a:srgbClr val="FFFFFF"/>
                </a:solidFill>
                <a:round/>
                <a:headEnd/>
                <a:tailEnd/>
              </a:ln>
            </p:spPr>
            <p:txBody>
              <a:bodyPr lIns="90000" tIns="46800" rIns="90000" bIns="46800" anchor="ctr"/>
              <a:lstStyle/>
              <a:p>
                <a:endParaRPr lang="en-US"/>
              </a:p>
            </p:txBody>
          </p:sp>
        </p:grpSp>
      </p:grpSp>
      <p:grpSp>
        <p:nvGrpSpPr>
          <p:cNvPr id="73" name="Group 72"/>
          <p:cNvGrpSpPr/>
          <p:nvPr/>
        </p:nvGrpSpPr>
        <p:grpSpPr>
          <a:xfrm>
            <a:off x="6304311" y="4725109"/>
            <a:ext cx="1564280" cy="1325621"/>
            <a:chOff x="6313020" y="2414192"/>
            <a:chExt cx="1564280" cy="1325621"/>
          </a:xfrm>
        </p:grpSpPr>
        <p:grpSp>
          <p:nvGrpSpPr>
            <p:cNvPr id="71" name="Group 70"/>
            <p:cNvGrpSpPr/>
            <p:nvPr/>
          </p:nvGrpSpPr>
          <p:grpSpPr>
            <a:xfrm>
              <a:off x="6391401" y="2414192"/>
              <a:ext cx="1485899" cy="1325620"/>
              <a:chOff x="6356565" y="2414192"/>
              <a:chExt cx="1485899" cy="1325620"/>
            </a:xfrm>
          </p:grpSpPr>
          <p:sp>
            <p:nvSpPr>
              <p:cNvPr id="371737" name="Rectangle 37"/>
              <p:cNvSpPr>
                <a:spLocks noChangeArrowheads="1"/>
              </p:cNvSpPr>
              <p:nvPr>
                <p:custDataLst>
                  <p:tags r:id="rId5"/>
                </p:custDataLst>
              </p:nvPr>
            </p:nvSpPr>
            <p:spPr bwMode="auto">
              <a:xfrm>
                <a:off x="6359739" y="2499917"/>
                <a:ext cx="379413" cy="160338"/>
              </a:xfrm>
              <a:prstGeom prst="rect">
                <a:avLst/>
              </a:prstGeom>
              <a:solidFill>
                <a:schemeClr val="accent1"/>
              </a:solidFill>
              <a:ln w="9525" algn="ctr">
                <a:solidFill>
                  <a:srgbClr val="FFFFFF"/>
                </a:solidFill>
                <a:miter lim="800000"/>
                <a:headEnd/>
                <a:tailEnd/>
              </a:ln>
            </p:spPr>
            <p:txBody>
              <a:bodyPr wrap="none" lIns="90000" tIns="46800" rIns="90000" bIns="46800" anchor="ctr"/>
              <a:lstStyle/>
              <a:p>
                <a:pPr algn="ctr"/>
                <a:endParaRPr lang="en-GB" sz="1400">
                  <a:solidFill>
                    <a:schemeClr val="tx2"/>
                  </a:solidFill>
                </a:endParaRPr>
              </a:p>
            </p:txBody>
          </p:sp>
          <p:sp>
            <p:nvSpPr>
              <p:cNvPr id="371738" name="Rectangle 38"/>
              <p:cNvSpPr>
                <a:spLocks noChangeArrowheads="1"/>
              </p:cNvSpPr>
              <p:nvPr>
                <p:custDataLst>
                  <p:tags r:id="rId6"/>
                </p:custDataLst>
              </p:nvPr>
            </p:nvSpPr>
            <p:spPr bwMode="auto">
              <a:xfrm>
                <a:off x="6359739" y="2754641"/>
                <a:ext cx="379413" cy="160337"/>
              </a:xfrm>
              <a:prstGeom prst="rect">
                <a:avLst/>
              </a:prstGeom>
              <a:solidFill>
                <a:schemeClr val="accent2"/>
              </a:solidFill>
              <a:ln w="9525" algn="ctr">
                <a:solidFill>
                  <a:srgbClr val="FFFFFF"/>
                </a:solidFill>
                <a:miter lim="800000"/>
                <a:headEnd/>
                <a:tailEnd/>
              </a:ln>
            </p:spPr>
            <p:txBody>
              <a:bodyPr wrap="none" lIns="90000" tIns="46800" rIns="90000" bIns="46800" anchor="ctr"/>
              <a:lstStyle/>
              <a:p>
                <a:pPr algn="ctr"/>
                <a:endParaRPr lang="en-GB" sz="1400">
                  <a:solidFill>
                    <a:schemeClr val="tx2"/>
                  </a:solidFill>
                </a:endParaRPr>
              </a:p>
            </p:txBody>
          </p:sp>
          <p:sp>
            <p:nvSpPr>
              <p:cNvPr id="129" name="Rectangle 39"/>
              <p:cNvSpPr>
                <a:spLocks noChangeArrowheads="1"/>
              </p:cNvSpPr>
              <p:nvPr>
                <p:custDataLst>
                  <p:tags r:id="rId7"/>
                </p:custDataLst>
              </p:nvPr>
            </p:nvSpPr>
            <p:spPr bwMode="auto">
              <a:xfrm>
                <a:off x="6359739" y="3009364"/>
                <a:ext cx="379413" cy="160338"/>
              </a:xfrm>
              <a:prstGeom prst="rect">
                <a:avLst/>
              </a:prstGeom>
              <a:solidFill>
                <a:schemeClr val="accent3"/>
              </a:solidFill>
              <a:ln w="9525" algn="ctr">
                <a:solidFill>
                  <a:srgbClr val="FFFFFF"/>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371742" name="Text Box 42"/>
              <p:cNvSpPr txBox="1">
                <a:spLocks noChangeArrowheads="1"/>
              </p:cNvSpPr>
              <p:nvPr>
                <p:custDataLst>
                  <p:tags r:id="rId8"/>
                </p:custDataLst>
              </p:nvPr>
            </p:nvSpPr>
            <p:spPr bwMode="auto">
              <a:xfrm>
                <a:off x="6694702" y="2414192"/>
                <a:ext cx="1147762" cy="1325620"/>
              </a:xfrm>
              <a:prstGeom prst="rect">
                <a:avLst/>
              </a:prstGeom>
              <a:noFill/>
              <a:ln w="9525" algn="ctr">
                <a:noFill/>
                <a:miter lim="800000"/>
                <a:headEnd/>
                <a:tailEnd/>
              </a:ln>
            </p:spPr>
            <p:txBody>
              <a:bodyPr wrap="square" lIns="90000" tIns="46800" rIns="90000" bIns="46800">
                <a:spAutoFit/>
              </a:bodyPr>
              <a:lstStyle/>
              <a:p>
                <a:pPr algn="l">
                  <a:spcBef>
                    <a:spcPts val="600"/>
                  </a:spcBef>
                </a:pPr>
                <a:r>
                  <a:rPr lang="en-GB" altLang="ja-JP" sz="1200" b="0" dirty="0">
                    <a:solidFill>
                      <a:schemeClr val="tx2"/>
                    </a:solidFill>
                    <a:ea typeface="ＭＳ Ｐゴシック" charset="-128"/>
                  </a:rPr>
                  <a:t>Category </a:t>
                </a:r>
                <a:r>
                  <a:rPr lang="en-GB" altLang="ja-JP" sz="1200" b="0" dirty="0" smtClean="0">
                    <a:solidFill>
                      <a:schemeClr val="tx2"/>
                    </a:solidFill>
                    <a:ea typeface="ＭＳ Ｐゴシック" charset="-128"/>
                  </a:rPr>
                  <a:t>A</a:t>
                </a:r>
              </a:p>
              <a:p>
                <a:pPr algn="l">
                  <a:spcBef>
                    <a:spcPts val="600"/>
                  </a:spcBef>
                </a:pPr>
                <a:r>
                  <a:rPr lang="en-GB" altLang="ja-JP" sz="1200" b="0" dirty="0" smtClean="0">
                    <a:solidFill>
                      <a:schemeClr val="tx2"/>
                    </a:solidFill>
                    <a:ea typeface="ＭＳ Ｐゴシック" charset="-128"/>
                  </a:rPr>
                  <a:t>Category B</a:t>
                </a:r>
              </a:p>
              <a:p>
                <a:pPr algn="l">
                  <a:spcBef>
                    <a:spcPts val="600"/>
                  </a:spcBef>
                </a:pPr>
                <a:r>
                  <a:rPr lang="en-GB" altLang="ja-JP" sz="1200" b="0" dirty="0" smtClean="0">
                    <a:solidFill>
                      <a:schemeClr val="tx2"/>
                    </a:solidFill>
                    <a:ea typeface="ＭＳ Ｐゴシック" charset="-128"/>
                  </a:rPr>
                  <a:t>Category C</a:t>
                </a:r>
              </a:p>
              <a:p>
                <a:pPr algn="l">
                  <a:spcBef>
                    <a:spcPts val="600"/>
                  </a:spcBef>
                </a:pPr>
                <a:r>
                  <a:rPr lang="en-GB" altLang="ja-JP" sz="1200" b="0" dirty="0" smtClean="0">
                    <a:solidFill>
                      <a:schemeClr val="tx2"/>
                    </a:solidFill>
                    <a:ea typeface="ＭＳ Ｐゴシック" charset="-128"/>
                  </a:rPr>
                  <a:t>Category D</a:t>
                </a:r>
              </a:p>
              <a:p>
                <a:pPr algn="l">
                  <a:spcBef>
                    <a:spcPts val="600"/>
                  </a:spcBef>
                </a:pPr>
                <a:r>
                  <a:rPr lang="en-GB" altLang="ja-JP" sz="1200" b="0" dirty="0" smtClean="0">
                    <a:solidFill>
                      <a:schemeClr val="tx2"/>
                    </a:solidFill>
                    <a:ea typeface="ＭＳ Ｐゴシック" charset="-128"/>
                  </a:rPr>
                  <a:t>Category E</a:t>
                </a:r>
                <a:endParaRPr lang="en-GB" altLang="ja-JP" sz="1200" b="0" dirty="0">
                  <a:solidFill>
                    <a:schemeClr val="tx2"/>
                  </a:solidFill>
                  <a:ea typeface="ＭＳ Ｐゴシック" charset="-128"/>
                </a:endParaRPr>
              </a:p>
            </p:txBody>
          </p:sp>
          <p:sp>
            <p:nvSpPr>
              <p:cNvPr id="133" name="Rectangle 43"/>
              <p:cNvSpPr>
                <a:spLocks noChangeArrowheads="1"/>
              </p:cNvSpPr>
              <p:nvPr>
                <p:custDataLst>
                  <p:tags r:id="rId9"/>
                </p:custDataLst>
              </p:nvPr>
            </p:nvSpPr>
            <p:spPr bwMode="auto">
              <a:xfrm>
                <a:off x="6356565" y="3264088"/>
                <a:ext cx="376237" cy="160338"/>
              </a:xfrm>
              <a:prstGeom prst="rect">
                <a:avLst/>
              </a:prstGeom>
              <a:solidFill>
                <a:schemeClr val="accent4"/>
              </a:solidFill>
              <a:ln w="9525" algn="ctr">
                <a:solidFill>
                  <a:srgbClr val="FFFFFF"/>
                </a:solidFill>
                <a:miter lim="800000"/>
                <a:headEnd/>
                <a:tailEnd/>
              </a:ln>
            </p:spPr>
            <p:txBody>
              <a:bodyPr wrap="none" lIns="90000" tIns="46800" rIns="90000" bIns="46800" anchor="ctr"/>
              <a:lstStyle/>
              <a:p>
                <a:pPr algn="ctr">
                  <a:defRPr/>
                </a:pPr>
                <a:endParaRPr lang="en-GB" sz="1400">
                  <a:solidFill>
                    <a:schemeClr val="tx2"/>
                  </a:solidFill>
                </a:endParaRPr>
              </a:p>
            </p:txBody>
          </p:sp>
          <p:sp>
            <p:nvSpPr>
              <p:cNvPr id="135" name="Rectangle 45"/>
              <p:cNvSpPr>
                <a:spLocks noChangeArrowheads="1"/>
              </p:cNvSpPr>
              <p:nvPr>
                <p:custDataLst>
                  <p:tags r:id="rId10"/>
                </p:custDataLst>
              </p:nvPr>
            </p:nvSpPr>
            <p:spPr bwMode="auto">
              <a:xfrm>
                <a:off x="6356565" y="3518810"/>
                <a:ext cx="376237" cy="160337"/>
              </a:xfrm>
              <a:prstGeom prst="rect">
                <a:avLst/>
              </a:prstGeom>
              <a:solidFill>
                <a:schemeClr val="accent5"/>
              </a:solidFill>
              <a:ln w="9525" algn="ctr">
                <a:solidFill>
                  <a:srgbClr val="FFFFFF"/>
                </a:solidFill>
                <a:miter lim="800000"/>
                <a:headEnd/>
                <a:tailEnd/>
              </a:ln>
            </p:spPr>
            <p:txBody>
              <a:bodyPr wrap="none" lIns="90000" tIns="46800" rIns="90000" bIns="46800" anchor="ctr"/>
              <a:lstStyle/>
              <a:p>
                <a:pPr algn="ctr">
                  <a:defRPr/>
                </a:pPr>
                <a:endParaRPr lang="en-GB" sz="1400">
                  <a:solidFill>
                    <a:schemeClr val="tx2"/>
                  </a:solidFill>
                </a:endParaRPr>
              </a:p>
            </p:txBody>
          </p:sp>
        </p:grpSp>
        <p:sp>
          <p:nvSpPr>
            <p:cNvPr id="72" name="Rectangle 71"/>
            <p:cNvSpPr/>
            <p:nvPr/>
          </p:nvSpPr>
          <p:spPr>
            <a:xfrm>
              <a:off x="6313020" y="2423253"/>
              <a:ext cx="1367940" cy="131656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800" b="0" dirty="0" smtClean="0"/>
            </a:p>
          </p:txBody>
        </p:sp>
      </p:grpSp>
    </p:spTree>
  </p:cSld>
  <p:clrMapOvr>
    <a:masterClrMapping/>
  </p:clrMapOvr>
  <p:timing>
    <p:tnLst>
      <p:par>
        <p:cTn id="1" dur="indefinite" restart="never" nodeType="tmRoot"/>
      </p:par>
    </p:tnLst>
  </p:timing>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pPr lvl="0"/>
            <a:r>
              <a:rPr lang="en-US" b="1" dirty="0" smtClean="0"/>
              <a:t>About Deloitte</a:t>
            </a:r>
            <a:r>
              <a:rPr lang="en-US" dirty="0" smtClean="0"/>
              <a:t/>
            </a:r>
            <a:br>
              <a:rPr lang="en-US" dirty="0" smtClean="0"/>
            </a:br>
            <a:r>
              <a:rPr lang="en-US" dirty="0" smtClean="0"/>
              <a:t>Deloitte refers to one or more of Deloitte </a:t>
            </a:r>
            <a:r>
              <a:rPr lang="en-US" dirty="0" err="1" smtClean="0"/>
              <a:t>Touche</a:t>
            </a:r>
            <a:r>
              <a:rPr lang="en-US" dirty="0" smtClean="0"/>
              <a:t> Tohmatsu, a Swiss </a:t>
            </a:r>
            <a:r>
              <a:rPr lang="en-US" dirty="0" err="1" smtClean="0"/>
              <a:t>Verein</a:t>
            </a:r>
            <a:r>
              <a:rPr lang="en-US" dirty="0" smtClean="0"/>
              <a:t>, and its network of member firms, each of which is a legally separate and independent entity. Please see </a:t>
            </a:r>
            <a:r>
              <a:rPr lang="en-US" dirty="0" err="1" smtClean="0">
                <a:hlinkClick r:id="rId3"/>
              </a:rPr>
              <a:t>www.deloitte.com/about</a:t>
            </a:r>
            <a:r>
              <a:rPr lang="en-US" dirty="0" smtClean="0"/>
              <a:t> for a detailed description of the legal structure of Deloitte </a:t>
            </a:r>
            <a:r>
              <a:rPr lang="en-US" dirty="0" err="1" smtClean="0"/>
              <a:t>Touche</a:t>
            </a:r>
            <a:r>
              <a:rPr lang="en-US" dirty="0" smtClean="0"/>
              <a:t> Tohmatsu and its member firms. Please see </a:t>
            </a:r>
            <a:r>
              <a:rPr lang="en-US" dirty="0" err="1" smtClean="0">
                <a:hlinkClick r:id="rId4"/>
              </a:rPr>
              <a:t>www.deloitte.com/us/about</a:t>
            </a:r>
            <a:r>
              <a:rPr lang="en-US" dirty="0" smtClean="0"/>
              <a:t> for a detailed description of the legal structure of Deloitte LLP and its subsidiaries.</a:t>
            </a:r>
            <a:br>
              <a:rPr lang="en-US" dirty="0" smtClean="0"/>
            </a:br>
            <a:r>
              <a:rPr lang="en-US" dirty="0" smtClean="0"/>
              <a:t/>
            </a:r>
            <a:br>
              <a:rPr lang="en-US" dirty="0" smtClean="0"/>
            </a:br>
            <a:r>
              <a:rPr lang="en-US" dirty="0" smtClean="0"/>
              <a:t>Copyright © 2010 Deloitte Development LLC. All rights reserved.</a:t>
            </a:r>
            <a:br>
              <a:rPr lang="en-US" dirty="0" smtClean="0"/>
            </a:br>
            <a:r>
              <a:rPr lang="en-US" dirty="0" smtClean="0"/>
              <a:t>Member of Deloitte </a:t>
            </a:r>
            <a:r>
              <a:rPr lang="en-US" dirty="0" err="1" smtClean="0"/>
              <a:t>Touche</a:t>
            </a:r>
            <a:r>
              <a:rPr lang="en-US" dirty="0" smtClean="0"/>
              <a:t> Tohmatsu</a:t>
            </a:r>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4294967295"/>
          </p:nvPr>
        </p:nvSpPr>
        <p:spPr>
          <a:xfrm>
            <a:off x="387350" y="2264906"/>
            <a:ext cx="2027238" cy="1169551"/>
          </a:xfrm>
          <a:prstGeom prst="rect">
            <a:avLst/>
          </a:prstGeom>
        </p:spPr>
        <p:txBody>
          <a:bodyPr/>
          <a:lstStyle/>
          <a:p>
            <a:pPr marL="0" indent="0" defTabSz="957998">
              <a:spcBef>
                <a:spcPts val="400"/>
              </a:spcBef>
              <a:spcAft>
                <a:spcPts val="0"/>
              </a:spcAft>
              <a:defRPr/>
            </a:pPr>
            <a:r>
              <a:rPr lang="nl-NL" sz="1400" dirty="0">
                <a:solidFill>
                  <a:srgbClr val="002776"/>
                </a:solidFill>
                <a:cs typeface="Arial" charset="0"/>
              </a:rPr>
              <a:t>Paragraph </a:t>
            </a:r>
            <a:r>
              <a:rPr lang="nl-NL" sz="1400" dirty="0" smtClean="0">
                <a:solidFill>
                  <a:srgbClr val="002776"/>
                </a:solidFill>
                <a:cs typeface="Arial" charset="0"/>
              </a:rPr>
              <a:t/>
            </a:r>
            <a:br>
              <a:rPr lang="nl-NL" sz="1400" dirty="0" smtClean="0">
                <a:solidFill>
                  <a:srgbClr val="002776"/>
                </a:solidFill>
                <a:cs typeface="Arial" charset="0"/>
              </a:rPr>
            </a:br>
            <a:r>
              <a:rPr lang="nl-NL" sz="1400" dirty="0" smtClean="0">
                <a:solidFill>
                  <a:srgbClr val="002776"/>
                </a:solidFill>
                <a:cs typeface="Arial" charset="0"/>
              </a:rPr>
              <a:t>(</a:t>
            </a:r>
            <a:r>
              <a:rPr lang="nl-NL" sz="1400" dirty="0">
                <a:solidFill>
                  <a:srgbClr val="002776"/>
                </a:solidFill>
                <a:cs typeface="Arial" charset="0"/>
              </a:rPr>
              <a:t>if not needed, delete)</a:t>
            </a:r>
          </a:p>
          <a:p>
            <a:pPr marL="117475" lvl="1" indent="-117475" defTabSz="957998">
              <a:spcAft>
                <a:spcPts val="0"/>
              </a:spcAft>
              <a:defRPr/>
            </a:pPr>
            <a:r>
              <a:rPr lang="nl-NL" sz="1400" dirty="0">
                <a:solidFill>
                  <a:srgbClr val="002776"/>
                </a:solidFill>
                <a:ea typeface="+mn-ea"/>
                <a:cs typeface="Arial" charset="0"/>
              </a:rPr>
              <a:t>Bullet</a:t>
            </a:r>
          </a:p>
          <a:p>
            <a:pPr marL="227013" lvl="2" indent="-109538" defTabSz="957998">
              <a:spcAft>
                <a:spcPts val="0"/>
              </a:spcAft>
              <a:defRPr/>
            </a:pPr>
            <a:r>
              <a:rPr lang="nl-NL" sz="1200" dirty="0">
                <a:solidFill>
                  <a:srgbClr val="002776"/>
                </a:solidFill>
                <a:ea typeface="+mn-ea"/>
                <a:cs typeface="Arial" charset="0"/>
              </a:rPr>
              <a:t>Dash</a:t>
            </a:r>
          </a:p>
          <a:p>
            <a:pPr marL="344488" lvl="3" indent="-117475" defTabSz="957998">
              <a:spcAft>
                <a:spcPts val="0"/>
              </a:spcAft>
              <a:defRPr/>
            </a:pPr>
            <a:r>
              <a:rPr lang="nl-NL" sz="1200" dirty="0" smtClean="0">
                <a:solidFill>
                  <a:srgbClr val="002776"/>
                </a:solidFill>
                <a:ea typeface="+mn-ea"/>
                <a:cs typeface="Arial" charset="0"/>
              </a:rPr>
              <a:t>Subbullet</a:t>
            </a:r>
            <a:endParaRPr lang="nl-NL" sz="1200" dirty="0"/>
          </a:p>
        </p:txBody>
      </p:sp>
      <p:sp>
        <p:nvSpPr>
          <p:cNvPr id="22" name="Text Placeholder 21"/>
          <p:cNvSpPr>
            <a:spLocks noGrp="1"/>
          </p:cNvSpPr>
          <p:nvPr>
            <p:ph type="body" sz="quarter" idx="4294967295"/>
          </p:nvPr>
        </p:nvSpPr>
        <p:spPr>
          <a:xfrm>
            <a:off x="6540500" y="2264906"/>
            <a:ext cx="2027238" cy="1169551"/>
          </a:xfrm>
          <a:prstGeom prst="rect">
            <a:avLst/>
          </a:prstGeom>
        </p:spPr>
        <p:txBody>
          <a:bodyPr/>
          <a:lstStyle/>
          <a:p>
            <a:pPr defTabSz="957998">
              <a:spcBef>
                <a:spcPts val="400"/>
              </a:spcBef>
              <a:spcAft>
                <a:spcPts val="0"/>
              </a:spcAft>
              <a:defRPr/>
            </a:pPr>
            <a:r>
              <a:rPr lang="nl-NL" sz="1400" dirty="0">
                <a:solidFill>
                  <a:srgbClr val="002776"/>
                </a:solidFill>
                <a:cs typeface="Arial" charset="0"/>
              </a:rPr>
              <a:t>Paragraph </a:t>
            </a:r>
            <a:br>
              <a:rPr lang="nl-NL" sz="1400" dirty="0">
                <a:solidFill>
                  <a:srgbClr val="002776"/>
                </a:solidFill>
                <a:cs typeface="Arial" charset="0"/>
              </a:rPr>
            </a:br>
            <a:r>
              <a:rPr lang="nl-NL" sz="1400" dirty="0">
                <a:solidFill>
                  <a:srgbClr val="002776"/>
                </a:solidFill>
                <a:cs typeface="Arial" charset="0"/>
              </a:rPr>
              <a:t>(if not needed, delete)</a:t>
            </a:r>
          </a:p>
          <a:p>
            <a:pPr marL="117475" lvl="1" indent="-117475" defTabSz="957998">
              <a:spcAft>
                <a:spcPts val="0"/>
              </a:spcAft>
              <a:defRPr/>
            </a:pPr>
            <a:r>
              <a:rPr lang="nl-NL" sz="1400" dirty="0">
                <a:solidFill>
                  <a:srgbClr val="002776"/>
                </a:solidFill>
                <a:cs typeface="Arial" charset="0"/>
              </a:rPr>
              <a:t>Bullet</a:t>
            </a:r>
          </a:p>
          <a:p>
            <a:pPr marL="227013" lvl="2" indent="-109538" defTabSz="957998">
              <a:spcAft>
                <a:spcPts val="0"/>
              </a:spcAft>
              <a:defRPr/>
            </a:pPr>
            <a:r>
              <a:rPr lang="nl-NL" sz="1200" dirty="0">
                <a:solidFill>
                  <a:srgbClr val="002776"/>
                </a:solidFill>
                <a:cs typeface="Arial" charset="0"/>
              </a:rPr>
              <a:t>Dash</a:t>
            </a:r>
          </a:p>
          <a:p>
            <a:pPr marL="344488" lvl="3" indent="-117475" defTabSz="957998">
              <a:spcAft>
                <a:spcPts val="0"/>
              </a:spcAft>
              <a:defRPr/>
            </a:pPr>
            <a:r>
              <a:rPr lang="nl-NL" sz="1200" dirty="0">
                <a:solidFill>
                  <a:srgbClr val="002776"/>
                </a:solidFill>
                <a:cs typeface="Arial" charset="0"/>
              </a:rPr>
              <a:t>Subbullet</a:t>
            </a:r>
            <a:endParaRPr lang="nl-NL" sz="1200" dirty="0"/>
          </a:p>
        </p:txBody>
      </p:sp>
      <p:sp>
        <p:nvSpPr>
          <p:cNvPr id="23" name="Text Placeholder 22"/>
          <p:cNvSpPr>
            <a:spLocks noGrp="1"/>
          </p:cNvSpPr>
          <p:nvPr>
            <p:ph type="body" sz="quarter" idx="4294967295"/>
          </p:nvPr>
        </p:nvSpPr>
        <p:spPr>
          <a:xfrm>
            <a:off x="4494213" y="2264906"/>
            <a:ext cx="2027237" cy="1169551"/>
          </a:xfrm>
          <a:prstGeom prst="rect">
            <a:avLst/>
          </a:prstGeom>
        </p:spPr>
        <p:txBody>
          <a:bodyPr/>
          <a:lstStyle/>
          <a:p>
            <a:pPr defTabSz="957998">
              <a:spcBef>
                <a:spcPts val="400"/>
              </a:spcBef>
              <a:spcAft>
                <a:spcPts val="0"/>
              </a:spcAft>
              <a:defRPr/>
            </a:pPr>
            <a:r>
              <a:rPr lang="nl-NL" sz="1400" dirty="0">
                <a:solidFill>
                  <a:srgbClr val="002776"/>
                </a:solidFill>
                <a:cs typeface="Arial" charset="0"/>
              </a:rPr>
              <a:t>Paragraph </a:t>
            </a:r>
            <a:br>
              <a:rPr lang="nl-NL" sz="1400" dirty="0">
                <a:solidFill>
                  <a:srgbClr val="002776"/>
                </a:solidFill>
                <a:cs typeface="Arial" charset="0"/>
              </a:rPr>
            </a:br>
            <a:r>
              <a:rPr lang="nl-NL" sz="1400" dirty="0">
                <a:solidFill>
                  <a:srgbClr val="002776"/>
                </a:solidFill>
                <a:cs typeface="Arial" charset="0"/>
              </a:rPr>
              <a:t>(if not needed, delete)</a:t>
            </a:r>
          </a:p>
          <a:p>
            <a:pPr marL="117475" lvl="1" indent="-117475" defTabSz="957998">
              <a:spcAft>
                <a:spcPts val="0"/>
              </a:spcAft>
              <a:defRPr/>
            </a:pPr>
            <a:r>
              <a:rPr lang="nl-NL" sz="1400" dirty="0">
                <a:solidFill>
                  <a:srgbClr val="002776"/>
                </a:solidFill>
                <a:cs typeface="Arial" charset="0"/>
              </a:rPr>
              <a:t>Bullet</a:t>
            </a:r>
          </a:p>
          <a:p>
            <a:pPr marL="227013" lvl="2" indent="-109538" defTabSz="957998">
              <a:spcAft>
                <a:spcPts val="0"/>
              </a:spcAft>
              <a:defRPr/>
            </a:pPr>
            <a:r>
              <a:rPr lang="nl-NL" sz="1200" dirty="0">
                <a:solidFill>
                  <a:srgbClr val="002776"/>
                </a:solidFill>
                <a:cs typeface="Arial" charset="0"/>
              </a:rPr>
              <a:t>Dash</a:t>
            </a:r>
          </a:p>
          <a:p>
            <a:pPr marL="344488" lvl="3" indent="-117475" defTabSz="957998">
              <a:spcAft>
                <a:spcPts val="0"/>
              </a:spcAft>
              <a:defRPr/>
            </a:pPr>
            <a:r>
              <a:rPr lang="nl-NL" sz="1200" dirty="0">
                <a:solidFill>
                  <a:srgbClr val="002776"/>
                </a:solidFill>
                <a:cs typeface="Arial" charset="0"/>
              </a:rPr>
              <a:t>Subbullet</a:t>
            </a:r>
            <a:endParaRPr lang="nl-NL" sz="1200" dirty="0"/>
          </a:p>
        </p:txBody>
      </p:sp>
      <p:sp>
        <p:nvSpPr>
          <p:cNvPr id="24" name="Text Placeholder 23"/>
          <p:cNvSpPr>
            <a:spLocks noGrp="1"/>
          </p:cNvSpPr>
          <p:nvPr>
            <p:ph type="body" sz="quarter" idx="4294967295"/>
          </p:nvPr>
        </p:nvSpPr>
        <p:spPr>
          <a:xfrm>
            <a:off x="2446338" y="2264906"/>
            <a:ext cx="2027237" cy="1169551"/>
          </a:xfrm>
          <a:prstGeom prst="rect">
            <a:avLst/>
          </a:prstGeom>
        </p:spPr>
        <p:txBody>
          <a:bodyPr/>
          <a:lstStyle/>
          <a:p>
            <a:pPr defTabSz="957998">
              <a:spcBef>
                <a:spcPts val="400"/>
              </a:spcBef>
              <a:spcAft>
                <a:spcPts val="0"/>
              </a:spcAft>
              <a:defRPr/>
            </a:pPr>
            <a:r>
              <a:rPr lang="nl-NL" sz="1400" dirty="0">
                <a:solidFill>
                  <a:srgbClr val="002776"/>
                </a:solidFill>
                <a:cs typeface="Arial" charset="0"/>
              </a:rPr>
              <a:t>Paragraph </a:t>
            </a:r>
            <a:br>
              <a:rPr lang="nl-NL" sz="1400" dirty="0">
                <a:solidFill>
                  <a:srgbClr val="002776"/>
                </a:solidFill>
                <a:cs typeface="Arial" charset="0"/>
              </a:rPr>
            </a:br>
            <a:r>
              <a:rPr lang="nl-NL" sz="1400" dirty="0">
                <a:solidFill>
                  <a:srgbClr val="002776"/>
                </a:solidFill>
                <a:cs typeface="Arial" charset="0"/>
              </a:rPr>
              <a:t>(if not needed, delete)</a:t>
            </a:r>
          </a:p>
          <a:p>
            <a:pPr marL="117475" lvl="1" indent="-117475" defTabSz="957998">
              <a:spcAft>
                <a:spcPts val="0"/>
              </a:spcAft>
              <a:defRPr/>
            </a:pPr>
            <a:r>
              <a:rPr lang="nl-NL" sz="1400" dirty="0">
                <a:solidFill>
                  <a:srgbClr val="002776"/>
                </a:solidFill>
                <a:cs typeface="Arial" charset="0"/>
              </a:rPr>
              <a:t>Bullet</a:t>
            </a:r>
          </a:p>
          <a:p>
            <a:pPr marL="227013" lvl="2" indent="-109538" defTabSz="957998">
              <a:spcAft>
                <a:spcPts val="0"/>
              </a:spcAft>
              <a:defRPr/>
            </a:pPr>
            <a:r>
              <a:rPr lang="nl-NL" sz="1200" dirty="0">
                <a:solidFill>
                  <a:srgbClr val="002776"/>
                </a:solidFill>
                <a:cs typeface="Arial" charset="0"/>
              </a:rPr>
              <a:t>Dash</a:t>
            </a:r>
          </a:p>
          <a:p>
            <a:pPr marL="344488" lvl="3" indent="-117475" defTabSz="957998">
              <a:spcAft>
                <a:spcPts val="0"/>
              </a:spcAft>
              <a:defRPr/>
            </a:pPr>
            <a:r>
              <a:rPr lang="nl-NL" sz="1200" dirty="0">
                <a:solidFill>
                  <a:srgbClr val="002776"/>
                </a:solidFill>
                <a:cs typeface="Arial" charset="0"/>
              </a:rPr>
              <a:t>Subbullet</a:t>
            </a:r>
            <a:endParaRPr lang="nl-NL" sz="1200" dirty="0"/>
          </a:p>
        </p:txBody>
      </p:sp>
      <p:sp>
        <p:nvSpPr>
          <p:cNvPr id="10" name="AutoShape 3"/>
          <p:cNvSpPr>
            <a:spLocks noChangeArrowheads="1"/>
          </p:cNvSpPr>
          <p:nvPr/>
        </p:nvSpPr>
        <p:spPr bwMode="gray">
          <a:xfrm>
            <a:off x="400739" y="1591806"/>
            <a:ext cx="2206625" cy="584200"/>
          </a:xfrm>
          <a:prstGeom prst="chevron">
            <a:avLst>
              <a:gd name="adj" fmla="val 34952"/>
            </a:avLst>
          </a:prstGeom>
          <a:solidFill>
            <a:schemeClr val="accent3"/>
          </a:solidFill>
          <a:ln w="12700" cap="rnd" algn="ctr">
            <a:noFill/>
            <a:miter lim="800000"/>
            <a:headEnd/>
            <a:tailEnd/>
          </a:ln>
        </p:spPr>
        <p:txBody>
          <a:bodyPr lIns="182880" anchor="ctr" anchorCtr="1"/>
          <a:lstStyle/>
          <a:p>
            <a:pPr algn="ctr">
              <a:lnSpc>
                <a:spcPct val="106000"/>
              </a:lnSpc>
              <a:defRPr/>
            </a:pPr>
            <a:r>
              <a:rPr lang="en-US" sz="1400" b="1" smtClean="0">
                <a:solidFill>
                  <a:schemeClr val="bg1"/>
                </a:solidFill>
              </a:rPr>
              <a:t>Text</a:t>
            </a:r>
            <a:endParaRPr lang="en-US" sz="1400" b="1">
              <a:solidFill>
                <a:schemeClr val="bg1"/>
              </a:solidFill>
            </a:endParaRPr>
          </a:p>
        </p:txBody>
      </p:sp>
      <p:sp>
        <p:nvSpPr>
          <p:cNvPr id="11" name="AutoShape 4"/>
          <p:cNvSpPr>
            <a:spLocks noChangeArrowheads="1"/>
          </p:cNvSpPr>
          <p:nvPr/>
        </p:nvSpPr>
        <p:spPr bwMode="gray">
          <a:xfrm>
            <a:off x="2429086" y="1591806"/>
            <a:ext cx="2206625" cy="584200"/>
          </a:xfrm>
          <a:prstGeom prst="chevron">
            <a:avLst>
              <a:gd name="adj" fmla="val 34975"/>
            </a:avLst>
          </a:prstGeom>
          <a:solidFill>
            <a:schemeClr val="accent3"/>
          </a:solidFill>
          <a:ln w="12700" cap="rnd" algn="ctr">
            <a:noFill/>
            <a:miter lim="800000"/>
            <a:headEnd/>
            <a:tailEnd/>
          </a:ln>
        </p:spPr>
        <p:txBody>
          <a:bodyPr lIns="182880" anchor="ctr" anchorCtr="1"/>
          <a:lstStyle/>
          <a:p>
            <a:pPr algn="ctr">
              <a:lnSpc>
                <a:spcPct val="106000"/>
              </a:lnSpc>
              <a:defRPr/>
            </a:pPr>
            <a:r>
              <a:rPr lang="en-US" sz="1400" b="1">
                <a:solidFill>
                  <a:schemeClr val="bg1"/>
                </a:solidFill>
              </a:rPr>
              <a:t>Text</a:t>
            </a:r>
          </a:p>
        </p:txBody>
      </p:sp>
      <p:sp>
        <p:nvSpPr>
          <p:cNvPr id="12" name="AutoShape 5"/>
          <p:cNvSpPr>
            <a:spLocks noChangeArrowheads="1"/>
          </p:cNvSpPr>
          <p:nvPr/>
        </p:nvSpPr>
        <p:spPr bwMode="gray">
          <a:xfrm>
            <a:off x="4459709" y="1591806"/>
            <a:ext cx="2206625" cy="584200"/>
          </a:xfrm>
          <a:prstGeom prst="chevron">
            <a:avLst>
              <a:gd name="adj" fmla="val 34975"/>
            </a:avLst>
          </a:prstGeom>
          <a:solidFill>
            <a:schemeClr val="accent3"/>
          </a:solidFill>
          <a:ln w="12700" cap="rnd" algn="ctr">
            <a:noFill/>
            <a:miter lim="800000"/>
            <a:headEnd/>
            <a:tailEnd/>
          </a:ln>
        </p:spPr>
        <p:txBody>
          <a:bodyPr lIns="182880" anchor="ctr" anchorCtr="1"/>
          <a:lstStyle/>
          <a:p>
            <a:pPr algn="ctr">
              <a:lnSpc>
                <a:spcPct val="106000"/>
              </a:lnSpc>
              <a:defRPr/>
            </a:pPr>
            <a:r>
              <a:rPr lang="en-US" sz="1400" b="1">
                <a:solidFill>
                  <a:schemeClr val="bg1"/>
                </a:solidFill>
              </a:rPr>
              <a:t>Text</a:t>
            </a:r>
          </a:p>
        </p:txBody>
      </p:sp>
      <p:sp>
        <p:nvSpPr>
          <p:cNvPr id="13" name="AutoShape 6"/>
          <p:cNvSpPr>
            <a:spLocks noChangeArrowheads="1"/>
          </p:cNvSpPr>
          <p:nvPr/>
        </p:nvSpPr>
        <p:spPr bwMode="gray">
          <a:xfrm>
            <a:off x="6497370" y="1591806"/>
            <a:ext cx="2206625" cy="584200"/>
          </a:xfrm>
          <a:prstGeom prst="chevron">
            <a:avLst>
              <a:gd name="adj" fmla="val 34975"/>
            </a:avLst>
          </a:prstGeom>
          <a:solidFill>
            <a:schemeClr val="accent3"/>
          </a:solidFill>
          <a:ln w="12700" cap="rnd" algn="ctr">
            <a:noFill/>
            <a:miter lim="800000"/>
            <a:headEnd/>
            <a:tailEnd/>
          </a:ln>
        </p:spPr>
        <p:txBody>
          <a:bodyPr lIns="182880" anchor="ctr" anchorCtr="1"/>
          <a:lstStyle/>
          <a:p>
            <a:pPr algn="ctr">
              <a:lnSpc>
                <a:spcPct val="106000"/>
              </a:lnSpc>
              <a:defRPr/>
            </a:pPr>
            <a:r>
              <a:rPr lang="en-US" sz="1400" b="1">
                <a:solidFill>
                  <a:schemeClr val="bg1"/>
                </a:solidFill>
              </a:rPr>
              <a:t>Text</a:t>
            </a:r>
          </a:p>
        </p:txBody>
      </p:sp>
      <p:sp>
        <p:nvSpPr>
          <p:cNvPr id="1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2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5" name="Title 14"/>
          <p:cNvSpPr>
            <a:spLocks noGrp="1"/>
          </p:cNvSpPr>
          <p:nvPr>
            <p:ph type="title"/>
          </p:nvPr>
        </p:nvSpPr>
        <p:spPr>
          <a:xfrm>
            <a:off x="414338" y="446038"/>
            <a:ext cx="8330184" cy="333425"/>
          </a:xfrm>
        </p:spPr>
        <p:txBody>
          <a:bodyPr/>
          <a:lstStyle/>
          <a:p>
            <a:r>
              <a:rPr lang="en-US" dirty="0"/>
              <a:t>Text boxes — chevrons with text boxes</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8801" name="Title 1"/>
          <p:cNvSpPr>
            <a:spLocks noGrp="1"/>
          </p:cNvSpPr>
          <p:nvPr>
            <p:ph type="title"/>
          </p:nvPr>
        </p:nvSpPr>
        <p:spPr>
          <a:xfrm>
            <a:off x="414338" y="446038"/>
            <a:ext cx="8330184" cy="333425"/>
          </a:xfrm>
        </p:spPr>
        <p:txBody>
          <a:bodyPr/>
          <a:lstStyle/>
          <a:p>
            <a:r>
              <a:rPr lang="en-GB" altLang="ja-JP">
                <a:ea typeface="ＭＳ Ｐゴシック" charset="-128"/>
                <a:cs typeface="Arial" charset="0"/>
              </a:rPr>
              <a:t>Text boxes </a:t>
            </a:r>
            <a:r>
              <a:rPr lang="en-US"/>
              <a:t>—</a:t>
            </a:r>
            <a:r>
              <a:rPr lang="en-GB" altLang="ja-JP" smtClean="0">
                <a:ea typeface="ＭＳ Ｐゴシック" charset="-128"/>
                <a:cs typeface="Arial" charset="0"/>
              </a:rPr>
              <a:t> </a:t>
            </a:r>
            <a:r>
              <a:rPr lang="en-GB" altLang="ja-JP">
                <a:ea typeface="ＭＳ Ｐゴシック" charset="-128"/>
                <a:cs typeface="Arial" charset="0"/>
              </a:rPr>
              <a:t>vertical chevrons with text</a:t>
            </a:r>
            <a:endParaRPr lang="nl-NL">
              <a:ea typeface="ＭＳ Ｐゴシック" charset="-128"/>
              <a:cs typeface="Arial" charset="0"/>
            </a:endParaRPr>
          </a:p>
        </p:txBody>
      </p:sp>
      <p:sp>
        <p:nvSpPr>
          <p:cNvPr id="588807" name="Text Placeholder 22"/>
          <p:cNvSpPr>
            <a:spLocks noGrp="1"/>
          </p:cNvSpPr>
          <p:nvPr>
            <p:ph type="body" sz="quarter" idx="4294967295"/>
          </p:nvPr>
        </p:nvSpPr>
        <p:spPr bwMode="auto">
          <a:xfrm>
            <a:off x="3809591" y="1597441"/>
            <a:ext cx="2905125" cy="687368"/>
          </a:xfrm>
          <a:prstGeom prst="rect">
            <a:avLst/>
          </a:prstGeom>
          <a:noFill/>
          <a:ln>
            <a:miter lim="800000"/>
            <a:headEnd/>
            <a:tailEnd/>
          </a:ln>
        </p:spPr>
        <p:txBody>
          <a:bodyPr/>
          <a:lstStyle/>
          <a:p>
            <a:pPr marL="117475" lvl="1" indent="-117475" defTabSz="957998">
              <a:spcAft>
                <a:spcPts val="0"/>
              </a:spcAft>
              <a:defRPr/>
            </a:pPr>
            <a:r>
              <a:rPr lang="nl-NL" sz="1400" dirty="0">
                <a:solidFill>
                  <a:srgbClr val="002776"/>
                </a:solidFill>
                <a:cs typeface="Arial" charset="0"/>
              </a:rPr>
              <a:t>Bullet</a:t>
            </a:r>
          </a:p>
          <a:p>
            <a:pPr marL="227013" lvl="2" indent="-109538" defTabSz="957998">
              <a:spcAft>
                <a:spcPts val="0"/>
              </a:spcAft>
              <a:defRPr/>
            </a:pPr>
            <a:r>
              <a:rPr lang="nl-NL" sz="1200" dirty="0">
                <a:solidFill>
                  <a:srgbClr val="002776"/>
                </a:solidFill>
                <a:cs typeface="Arial" charset="0"/>
              </a:rPr>
              <a:t>Dash</a:t>
            </a:r>
          </a:p>
          <a:p>
            <a:pPr marL="344488" lvl="3" indent="-117475" defTabSz="957998">
              <a:spcAft>
                <a:spcPts val="0"/>
              </a:spcAft>
              <a:defRPr/>
            </a:pPr>
            <a:r>
              <a:rPr lang="nl-NL" sz="1200" dirty="0">
                <a:solidFill>
                  <a:srgbClr val="002776"/>
                </a:solidFill>
                <a:cs typeface="Arial" charset="0"/>
              </a:rPr>
              <a:t>Subbullet</a:t>
            </a:r>
            <a:endParaRPr lang="nl-NL" sz="1200" dirty="0"/>
          </a:p>
        </p:txBody>
      </p:sp>
      <p:sp>
        <p:nvSpPr>
          <p:cNvPr id="588808" name="Text Placeholder 23"/>
          <p:cNvSpPr>
            <a:spLocks noGrp="1"/>
          </p:cNvSpPr>
          <p:nvPr>
            <p:ph type="body" sz="quarter" idx="4294967295"/>
          </p:nvPr>
        </p:nvSpPr>
        <p:spPr bwMode="auto">
          <a:xfrm>
            <a:off x="3809591" y="2473741"/>
            <a:ext cx="2903537" cy="687368"/>
          </a:xfrm>
          <a:prstGeom prst="rect">
            <a:avLst/>
          </a:prstGeom>
          <a:noFill/>
          <a:ln>
            <a:miter lim="800000"/>
            <a:headEnd/>
            <a:tailEnd/>
          </a:ln>
        </p:spPr>
        <p:txBody>
          <a:bodyPr/>
          <a:lstStyle/>
          <a:p>
            <a:pPr marL="117475" lvl="1" indent="-117475" defTabSz="957998">
              <a:spcAft>
                <a:spcPts val="0"/>
              </a:spcAft>
              <a:defRPr/>
            </a:pPr>
            <a:r>
              <a:rPr lang="nl-NL" sz="1400" dirty="0">
                <a:solidFill>
                  <a:srgbClr val="002776"/>
                </a:solidFill>
                <a:cs typeface="Arial" charset="0"/>
              </a:rPr>
              <a:t>Bullet</a:t>
            </a:r>
          </a:p>
          <a:p>
            <a:pPr marL="227013" lvl="2" indent="-109538" defTabSz="957998">
              <a:spcAft>
                <a:spcPts val="0"/>
              </a:spcAft>
              <a:defRPr/>
            </a:pPr>
            <a:r>
              <a:rPr lang="nl-NL" sz="1200" dirty="0">
                <a:solidFill>
                  <a:srgbClr val="002776"/>
                </a:solidFill>
                <a:cs typeface="Arial" charset="0"/>
              </a:rPr>
              <a:t>Dash</a:t>
            </a:r>
          </a:p>
          <a:p>
            <a:pPr marL="344488" lvl="3" indent="-117475" defTabSz="957998">
              <a:spcAft>
                <a:spcPts val="0"/>
              </a:spcAft>
              <a:defRPr/>
            </a:pPr>
            <a:r>
              <a:rPr lang="nl-NL" sz="1200" dirty="0">
                <a:solidFill>
                  <a:srgbClr val="002776"/>
                </a:solidFill>
                <a:cs typeface="Arial" charset="0"/>
              </a:rPr>
              <a:t>Subbullet</a:t>
            </a:r>
            <a:endParaRPr lang="nl-NL" sz="1200" dirty="0"/>
          </a:p>
        </p:txBody>
      </p:sp>
      <p:sp>
        <p:nvSpPr>
          <p:cNvPr id="588809" name="Text Placeholder 27"/>
          <p:cNvSpPr>
            <a:spLocks noGrp="1"/>
          </p:cNvSpPr>
          <p:nvPr>
            <p:ph type="body" sz="quarter" idx="4294967295"/>
          </p:nvPr>
        </p:nvSpPr>
        <p:spPr bwMode="auto">
          <a:xfrm>
            <a:off x="3809591" y="3350041"/>
            <a:ext cx="2903537" cy="687368"/>
          </a:xfrm>
          <a:prstGeom prst="rect">
            <a:avLst/>
          </a:prstGeom>
          <a:noFill/>
          <a:ln>
            <a:miter lim="800000"/>
            <a:headEnd/>
            <a:tailEnd/>
          </a:ln>
        </p:spPr>
        <p:txBody>
          <a:bodyPr/>
          <a:lstStyle/>
          <a:p>
            <a:pPr marL="117475" lvl="1" indent="-117475" defTabSz="957998">
              <a:spcAft>
                <a:spcPts val="0"/>
              </a:spcAft>
              <a:defRPr/>
            </a:pPr>
            <a:r>
              <a:rPr lang="nl-NL" sz="1400" dirty="0">
                <a:solidFill>
                  <a:srgbClr val="002776"/>
                </a:solidFill>
                <a:cs typeface="Arial" charset="0"/>
              </a:rPr>
              <a:t>Bullet</a:t>
            </a:r>
          </a:p>
          <a:p>
            <a:pPr marL="227013" lvl="2" indent="-109538" defTabSz="957998">
              <a:spcAft>
                <a:spcPts val="0"/>
              </a:spcAft>
              <a:defRPr/>
            </a:pPr>
            <a:r>
              <a:rPr lang="nl-NL" sz="1200" dirty="0">
                <a:solidFill>
                  <a:srgbClr val="002776"/>
                </a:solidFill>
                <a:cs typeface="Arial" charset="0"/>
              </a:rPr>
              <a:t>Dash</a:t>
            </a:r>
          </a:p>
          <a:p>
            <a:pPr marL="344488" lvl="3" indent="-117475" defTabSz="957998">
              <a:spcAft>
                <a:spcPts val="0"/>
              </a:spcAft>
              <a:defRPr/>
            </a:pPr>
            <a:r>
              <a:rPr lang="nl-NL" sz="1200" dirty="0">
                <a:solidFill>
                  <a:srgbClr val="002776"/>
                </a:solidFill>
                <a:cs typeface="Arial" charset="0"/>
              </a:rPr>
              <a:t>Subbullet</a:t>
            </a:r>
            <a:endParaRPr lang="nl-NL" sz="1200" dirty="0"/>
          </a:p>
        </p:txBody>
      </p:sp>
      <p:sp>
        <p:nvSpPr>
          <p:cNvPr id="4" name="AutoShape 3"/>
          <p:cNvSpPr>
            <a:spLocks noChangeArrowheads="1"/>
          </p:cNvSpPr>
          <p:nvPr/>
        </p:nvSpPr>
        <p:spPr bwMode="auto">
          <a:xfrm rot="5400000">
            <a:off x="2218916" y="1203741"/>
            <a:ext cx="1028700" cy="1816100"/>
          </a:xfrm>
          <a:prstGeom prst="chevron">
            <a:avLst>
              <a:gd name="adj" fmla="val 25000"/>
            </a:avLst>
          </a:prstGeom>
          <a:solidFill>
            <a:schemeClr val="accent3"/>
          </a:solidFill>
          <a:ln w="6350" algn="ctr">
            <a:noFill/>
            <a:miter lim="800000"/>
            <a:headEnd/>
            <a:tailEnd/>
          </a:ln>
        </p:spPr>
        <p:txBody>
          <a:bodyPr rot="10800000" vert="eaVert" tIns="91440" bIns="91440" anchor="ctr"/>
          <a:lstStyle/>
          <a:p>
            <a:pPr algn="ctr">
              <a:defRPr/>
            </a:pPr>
            <a:r>
              <a:rPr lang="en-GB" sz="1400" b="1">
                <a:solidFill>
                  <a:schemeClr val="bg1"/>
                </a:solidFill>
                <a:ea typeface="ＭＳ Ｐゴシック" pitchFamily="50" charset="-128"/>
              </a:rPr>
              <a:t>Text</a:t>
            </a:r>
          </a:p>
        </p:txBody>
      </p:sp>
      <p:sp>
        <p:nvSpPr>
          <p:cNvPr id="5" name="AutoShape 4"/>
          <p:cNvSpPr>
            <a:spLocks noChangeArrowheads="1"/>
          </p:cNvSpPr>
          <p:nvPr/>
        </p:nvSpPr>
        <p:spPr bwMode="auto">
          <a:xfrm rot="5400000">
            <a:off x="2218916" y="2080041"/>
            <a:ext cx="1028700" cy="1816100"/>
          </a:xfrm>
          <a:prstGeom prst="chevron">
            <a:avLst>
              <a:gd name="adj" fmla="val 25000"/>
            </a:avLst>
          </a:prstGeom>
          <a:solidFill>
            <a:schemeClr val="accent3"/>
          </a:solidFill>
          <a:ln w="6350" algn="ctr">
            <a:noFill/>
            <a:miter lim="800000"/>
            <a:headEnd/>
            <a:tailEnd/>
          </a:ln>
        </p:spPr>
        <p:txBody>
          <a:bodyPr rot="10800000" vert="eaVert" tIns="91440" bIns="91440" anchor="ctr"/>
          <a:lstStyle/>
          <a:p>
            <a:pPr algn="ctr">
              <a:defRPr/>
            </a:pPr>
            <a:r>
              <a:rPr lang="en-GB" sz="1400" b="1">
                <a:solidFill>
                  <a:schemeClr val="bg1"/>
                </a:solidFill>
                <a:ea typeface="ＭＳ Ｐゴシック" pitchFamily="50" charset="-128"/>
              </a:rPr>
              <a:t>Text</a:t>
            </a:r>
          </a:p>
        </p:txBody>
      </p:sp>
      <p:sp>
        <p:nvSpPr>
          <p:cNvPr id="6" name="AutoShape 5"/>
          <p:cNvSpPr>
            <a:spLocks noChangeArrowheads="1"/>
          </p:cNvSpPr>
          <p:nvPr/>
        </p:nvSpPr>
        <p:spPr bwMode="auto">
          <a:xfrm rot="5400000">
            <a:off x="2218916" y="2956341"/>
            <a:ext cx="1028700" cy="1816100"/>
          </a:xfrm>
          <a:prstGeom prst="chevron">
            <a:avLst>
              <a:gd name="adj" fmla="val 25000"/>
            </a:avLst>
          </a:prstGeom>
          <a:solidFill>
            <a:schemeClr val="accent3"/>
          </a:solidFill>
          <a:ln w="6350" algn="ctr">
            <a:noFill/>
            <a:miter lim="800000"/>
            <a:headEnd/>
            <a:tailEnd/>
          </a:ln>
        </p:spPr>
        <p:txBody>
          <a:bodyPr rot="10800000" vert="eaVert" tIns="91440" bIns="91440" anchor="ctr"/>
          <a:lstStyle/>
          <a:p>
            <a:pPr algn="ctr">
              <a:defRPr/>
            </a:pPr>
            <a:r>
              <a:rPr lang="en-GB" sz="1400" b="1">
                <a:solidFill>
                  <a:schemeClr val="bg1"/>
                </a:solidFill>
                <a:ea typeface="ＭＳ Ｐゴシック" pitchFamily="50" charset="-128"/>
              </a:rPr>
              <a:t>Text</a:t>
            </a:r>
          </a:p>
        </p:txBody>
      </p:sp>
      <p:sp>
        <p:nvSpPr>
          <p:cNvPr id="7" name="AutoShape 6"/>
          <p:cNvSpPr>
            <a:spLocks noChangeArrowheads="1"/>
          </p:cNvSpPr>
          <p:nvPr/>
        </p:nvSpPr>
        <p:spPr bwMode="auto">
          <a:xfrm rot="5400000">
            <a:off x="2218916" y="3832641"/>
            <a:ext cx="1028700" cy="1816100"/>
          </a:xfrm>
          <a:prstGeom prst="chevron">
            <a:avLst>
              <a:gd name="adj" fmla="val 25000"/>
            </a:avLst>
          </a:prstGeom>
          <a:solidFill>
            <a:schemeClr val="accent3"/>
          </a:solidFill>
          <a:ln w="6350" algn="ctr">
            <a:noFill/>
            <a:miter lim="800000"/>
            <a:headEnd/>
            <a:tailEnd/>
          </a:ln>
        </p:spPr>
        <p:txBody>
          <a:bodyPr rot="10800000" vert="eaVert" tIns="91440" bIns="91440" anchor="ctr"/>
          <a:lstStyle/>
          <a:p>
            <a:pPr algn="ctr">
              <a:defRPr/>
            </a:pPr>
            <a:r>
              <a:rPr lang="en-GB" sz="1400" b="1">
                <a:solidFill>
                  <a:schemeClr val="bg1"/>
                </a:solidFill>
                <a:ea typeface="ＭＳ Ｐゴシック" pitchFamily="50" charset="-128"/>
              </a:rPr>
              <a:t>Text</a:t>
            </a:r>
          </a:p>
        </p:txBody>
      </p:sp>
      <p:sp>
        <p:nvSpPr>
          <p:cNvPr id="16"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17" name="Text Placeholder 27"/>
          <p:cNvSpPr txBox="1">
            <a:spLocks/>
          </p:cNvSpPr>
          <p:nvPr/>
        </p:nvSpPr>
        <p:spPr bwMode="auto">
          <a:xfrm>
            <a:off x="3809591" y="4226341"/>
            <a:ext cx="2903537" cy="687368"/>
          </a:xfrm>
          <a:prstGeom prst="rect">
            <a:avLst/>
          </a:prstGeom>
          <a:noFill/>
          <a:ln>
            <a:miter lim="800000"/>
            <a:headEnd/>
            <a:tailEnd/>
          </a:ln>
        </p:spPr>
        <p:txBody>
          <a:bodyPr vert="horz" lIns="0" tIns="0" rIns="0" bIns="0" rtlCol="0">
            <a:spAutoFit/>
          </a:bodyPr>
          <a:lstStyle/>
          <a:p>
            <a:pPr marL="117475" marR="0" lvl="1"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400" b="0" i="0" u="none" strike="noStrike" kern="1200" cap="none" spc="0" normalizeH="0" baseline="0" noProof="0" dirty="0" smtClean="0">
                <a:ln>
                  <a:noFill/>
                </a:ln>
                <a:solidFill>
                  <a:srgbClr val="002776"/>
                </a:solidFill>
                <a:effectLst/>
                <a:uLnTx/>
                <a:uFillTx/>
                <a:latin typeface="+mn-lt"/>
                <a:ea typeface="+mn-ea"/>
                <a:cs typeface="Arial" charset="0"/>
              </a:rPr>
              <a:t>Bullet</a:t>
            </a:r>
          </a:p>
          <a:p>
            <a:pPr marL="227013" marR="0" lvl="2" indent="-109538"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200" b="0" i="0" u="none" strike="noStrike" kern="1200" cap="none" spc="0" normalizeH="0" baseline="0" noProof="0" dirty="0" smtClean="0">
                <a:ln>
                  <a:noFill/>
                </a:ln>
                <a:solidFill>
                  <a:srgbClr val="002776"/>
                </a:solidFill>
                <a:effectLst/>
                <a:uLnTx/>
                <a:uFillTx/>
                <a:latin typeface="+mn-lt"/>
                <a:ea typeface="+mn-ea"/>
                <a:cs typeface="Arial" charset="0"/>
              </a:rPr>
              <a:t>Dash</a:t>
            </a:r>
          </a:p>
          <a:p>
            <a:pPr marL="344488" marR="0" lvl="3" indent="-117475" algn="l" defTabSz="957998" rtl="0" eaLnBrk="1" fontAlgn="base" latinLnBrk="0" hangingPunct="1">
              <a:lnSpc>
                <a:spcPct val="100000"/>
              </a:lnSpc>
              <a:spcBef>
                <a:spcPts val="400"/>
              </a:spcBef>
              <a:spcAft>
                <a:spcPts val="0"/>
              </a:spcAft>
              <a:buClrTx/>
              <a:buSzTx/>
              <a:buFont typeface="Arial" pitchFamily="34" charset="0"/>
              <a:buChar char="•"/>
              <a:tabLst/>
              <a:defRPr/>
            </a:pPr>
            <a:r>
              <a:rPr kumimoji="0" lang="nl-NL" sz="1200" b="0" i="0" u="none" strike="noStrike" kern="1200" cap="none" spc="0" normalizeH="0" baseline="0" noProof="0" dirty="0" smtClean="0">
                <a:ln>
                  <a:noFill/>
                </a:ln>
                <a:solidFill>
                  <a:srgbClr val="002776"/>
                </a:solidFill>
                <a:effectLst/>
                <a:uLnTx/>
                <a:uFillTx/>
                <a:latin typeface="Arial" pitchFamily="34" charset="0"/>
                <a:ea typeface="+mn-ea"/>
                <a:cs typeface="Arial" charset="0"/>
              </a:rPr>
              <a:t>Subbullet</a:t>
            </a:r>
            <a:endParaRPr kumimoji="0" lang="nl-NL" sz="1200" b="0" i="0" u="none" strike="noStrike" kern="1200" cap="none" spc="0" normalizeH="0" baseline="0" noProof="0" dirty="0">
              <a:ln>
                <a:noFill/>
              </a:ln>
              <a:solidFill>
                <a:schemeClr val="tx2"/>
              </a:solidFill>
              <a:effectLst/>
              <a:uLnTx/>
              <a:uFillTx/>
              <a:latin typeface="Arial" pitchFamily="34" charset="0"/>
              <a:ea typeface="+mn-ea"/>
              <a:cs typeface="Arial" pitchFamily="34" charset="0"/>
            </a:endParaRPr>
          </a:p>
        </p:txBody>
      </p:sp>
      <p:sp>
        <p:nvSpPr>
          <p:cNvPr id="19"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9825" name="Title 1"/>
          <p:cNvSpPr>
            <a:spLocks noGrp="1"/>
          </p:cNvSpPr>
          <p:nvPr>
            <p:ph type="title"/>
          </p:nvPr>
        </p:nvSpPr>
        <p:spPr>
          <a:xfrm>
            <a:off x="414338" y="446038"/>
            <a:ext cx="8330184" cy="333425"/>
          </a:xfrm>
        </p:spPr>
        <p:txBody>
          <a:bodyPr/>
          <a:lstStyle/>
          <a:p>
            <a:r>
              <a:rPr lang="nl-NL"/>
              <a:t>Text </a:t>
            </a:r>
            <a:r>
              <a:rPr lang="nl-NL" smtClean="0"/>
              <a:t>blocks </a:t>
            </a:r>
            <a:r>
              <a:rPr lang="en-US"/>
              <a:t>—</a:t>
            </a:r>
            <a:r>
              <a:rPr lang="nl-NL" smtClean="0"/>
              <a:t> </a:t>
            </a:r>
            <a:r>
              <a:rPr lang="nl-NL"/>
              <a:t>influencing chevrons </a:t>
            </a:r>
          </a:p>
        </p:txBody>
      </p:sp>
      <p:sp>
        <p:nvSpPr>
          <p:cNvPr id="4" name="Rectangle 3"/>
          <p:cNvSpPr>
            <a:spLocks noChangeArrowheads="1"/>
          </p:cNvSpPr>
          <p:nvPr/>
        </p:nvSpPr>
        <p:spPr bwMode="auto">
          <a:xfrm>
            <a:off x="3257550" y="1586407"/>
            <a:ext cx="2600325" cy="4445000"/>
          </a:xfrm>
          <a:prstGeom prst="rect">
            <a:avLst/>
          </a:prstGeom>
          <a:noFill/>
          <a:ln w="12700" algn="ctr">
            <a:solidFill>
              <a:schemeClr val="accent3"/>
            </a:solidFill>
            <a:miter lim="800000"/>
            <a:headEnd/>
            <a:tailEnd/>
          </a:ln>
        </p:spPr>
        <p:txBody>
          <a:bodyPr tIns="91440" bIns="91440" anchor="ctr"/>
          <a:lstStyle/>
          <a:p>
            <a:pPr algn="ctr">
              <a:defRPr/>
            </a:pPr>
            <a:r>
              <a:rPr lang="en-GB" altLang="ja-JP" sz="1400" dirty="0">
                <a:solidFill>
                  <a:schemeClr val="tx2"/>
                </a:solidFill>
                <a:ea typeface="ＭＳ Ｐゴシック" pitchFamily="50" charset="-128"/>
              </a:rPr>
              <a:t>Text</a:t>
            </a:r>
          </a:p>
        </p:txBody>
      </p:sp>
      <p:sp>
        <p:nvSpPr>
          <p:cNvPr id="5" name="AutoShape 4"/>
          <p:cNvSpPr>
            <a:spLocks noChangeArrowheads="1"/>
          </p:cNvSpPr>
          <p:nvPr/>
        </p:nvSpPr>
        <p:spPr bwMode="gray">
          <a:xfrm>
            <a:off x="692150" y="3140281"/>
            <a:ext cx="3146425" cy="1330325"/>
          </a:xfrm>
          <a:prstGeom prst="homePlate">
            <a:avLst>
              <a:gd name="adj" fmla="val 21847"/>
            </a:avLst>
          </a:prstGeom>
          <a:solidFill>
            <a:schemeClr val="accent3"/>
          </a:solidFill>
          <a:ln w="19050" algn="ctr">
            <a:noFill/>
            <a:miter lim="800000"/>
            <a:headEnd/>
            <a:tailEnd/>
          </a:ln>
        </p:spPr>
        <p:txBody>
          <a:bodyPr lIns="90000" tIns="90000" rIns="90000" bIns="90000"/>
          <a:lstStyle/>
          <a:p>
            <a:pPr algn="l" defTabSz="957998">
              <a:spcBef>
                <a:spcPts val="400"/>
              </a:spcBef>
              <a:spcAft>
                <a:spcPts val="0"/>
              </a:spcAft>
              <a:defRPr/>
            </a:pPr>
            <a:r>
              <a:rPr lang="nl-NL" sz="1600" b="0" dirty="0" smtClean="0">
                <a:solidFill>
                  <a:schemeClr val="bg1"/>
                </a:solidFill>
                <a:latin typeface="Arial"/>
              </a:rPr>
              <a:t>Text</a:t>
            </a:r>
          </a:p>
          <a:p>
            <a:pPr marL="117475" lvl="1" indent="-117475" algn="l" defTabSz="957998">
              <a:spcBef>
                <a:spcPts val="400"/>
              </a:spcBef>
              <a:spcAft>
                <a:spcPts val="0"/>
              </a:spcAft>
              <a:buFont typeface="Arial" charset="0"/>
              <a:buChar char="•"/>
              <a:defRPr/>
            </a:pPr>
            <a:r>
              <a:rPr lang="nl-NL" sz="1600" b="0" dirty="0" smtClean="0">
                <a:solidFill>
                  <a:schemeClr val="bg1"/>
                </a:solidFill>
                <a:latin typeface="Arial"/>
              </a:rPr>
              <a:t>Bullet</a:t>
            </a:r>
          </a:p>
          <a:p>
            <a:pPr marL="227013" lvl="2" indent="-109538" algn="l" defTabSz="957998">
              <a:spcBef>
                <a:spcPts val="400"/>
              </a:spcBef>
              <a:spcAft>
                <a:spcPts val="0"/>
              </a:spcAft>
              <a:buFont typeface="Arial" charset="0"/>
              <a:buChar char="‒"/>
              <a:defRPr/>
            </a:pPr>
            <a:r>
              <a:rPr lang="nl-NL" sz="1200" b="0" dirty="0" smtClean="0">
                <a:solidFill>
                  <a:schemeClr val="bg1"/>
                </a:solidFill>
                <a:latin typeface="Arial"/>
              </a:rPr>
              <a:t>Dash</a:t>
            </a:r>
          </a:p>
          <a:p>
            <a:pPr marL="344488" lvl="3" indent="-117475" algn="l" defTabSz="957998">
              <a:spcBef>
                <a:spcPts val="400"/>
              </a:spcBef>
              <a:spcAft>
                <a:spcPts val="0"/>
              </a:spcAft>
              <a:buFont typeface="Arial" charset="0"/>
              <a:buChar char="•"/>
              <a:defRPr/>
            </a:pPr>
            <a:r>
              <a:rPr lang="nl-NL" sz="1200" b="0" dirty="0" smtClean="0">
                <a:solidFill>
                  <a:schemeClr val="bg1"/>
                </a:solidFill>
                <a:latin typeface="Arial"/>
              </a:rPr>
              <a:t>Subbullet</a:t>
            </a:r>
            <a:endParaRPr lang="nl-NL" sz="1200" b="0" dirty="0">
              <a:solidFill>
                <a:schemeClr val="bg1"/>
              </a:solidFill>
              <a:latin typeface="Arial"/>
            </a:endParaRPr>
          </a:p>
        </p:txBody>
      </p:sp>
      <p:sp>
        <p:nvSpPr>
          <p:cNvPr id="6" name="AutoShape 5"/>
          <p:cNvSpPr>
            <a:spLocks noChangeArrowheads="1"/>
          </p:cNvSpPr>
          <p:nvPr/>
        </p:nvSpPr>
        <p:spPr bwMode="gray">
          <a:xfrm>
            <a:off x="692150" y="4613481"/>
            <a:ext cx="3146425" cy="1330325"/>
          </a:xfrm>
          <a:prstGeom prst="homePlate">
            <a:avLst>
              <a:gd name="adj" fmla="val 21847"/>
            </a:avLst>
          </a:prstGeom>
          <a:solidFill>
            <a:schemeClr val="accent3"/>
          </a:solidFill>
          <a:ln w="19050" algn="ctr">
            <a:noFill/>
            <a:miter lim="800000"/>
            <a:headEnd/>
            <a:tailEnd/>
          </a:ln>
        </p:spPr>
        <p:txBody>
          <a:bodyPr lIns="90000" tIns="90000" rIns="90000" bIns="90000"/>
          <a:lstStyle/>
          <a:p>
            <a:pPr algn="l" defTabSz="957998">
              <a:spcBef>
                <a:spcPts val="400"/>
              </a:spcBef>
              <a:spcAft>
                <a:spcPts val="0"/>
              </a:spcAft>
              <a:defRPr/>
            </a:pPr>
            <a:r>
              <a:rPr lang="nl-NL" sz="1600" b="0" dirty="0" smtClean="0">
                <a:solidFill>
                  <a:schemeClr val="bg1"/>
                </a:solidFill>
                <a:latin typeface="Arial"/>
              </a:rPr>
              <a:t>Text</a:t>
            </a:r>
          </a:p>
          <a:p>
            <a:pPr marL="117475" lvl="1" indent="-117475" algn="l" defTabSz="957998">
              <a:spcBef>
                <a:spcPts val="400"/>
              </a:spcBef>
              <a:spcAft>
                <a:spcPts val="0"/>
              </a:spcAft>
              <a:buFont typeface="Arial" charset="0"/>
              <a:buChar char="•"/>
              <a:defRPr/>
            </a:pPr>
            <a:r>
              <a:rPr lang="nl-NL" sz="1600" b="0" dirty="0" smtClean="0">
                <a:solidFill>
                  <a:schemeClr val="bg1"/>
                </a:solidFill>
                <a:latin typeface="Arial"/>
              </a:rPr>
              <a:t>Bullet</a:t>
            </a:r>
          </a:p>
          <a:p>
            <a:pPr marL="227013" lvl="2" indent="-109538" algn="l" defTabSz="957998">
              <a:spcBef>
                <a:spcPts val="400"/>
              </a:spcBef>
              <a:spcAft>
                <a:spcPts val="0"/>
              </a:spcAft>
              <a:buFont typeface="Arial" charset="0"/>
              <a:buChar char="‒"/>
              <a:defRPr/>
            </a:pPr>
            <a:r>
              <a:rPr lang="nl-NL" sz="1200" b="0" dirty="0" smtClean="0">
                <a:solidFill>
                  <a:schemeClr val="bg1"/>
                </a:solidFill>
                <a:latin typeface="Arial"/>
              </a:rPr>
              <a:t>Dash</a:t>
            </a:r>
          </a:p>
          <a:p>
            <a:pPr marL="344488" lvl="3" indent="-117475" algn="l" defTabSz="957998">
              <a:spcBef>
                <a:spcPts val="400"/>
              </a:spcBef>
              <a:spcAft>
                <a:spcPts val="0"/>
              </a:spcAft>
              <a:buFont typeface="Arial" charset="0"/>
              <a:buChar char="•"/>
              <a:defRPr/>
            </a:pPr>
            <a:r>
              <a:rPr lang="nl-NL" sz="1200" b="0" dirty="0" smtClean="0">
                <a:solidFill>
                  <a:schemeClr val="bg1"/>
                </a:solidFill>
                <a:latin typeface="Arial"/>
              </a:rPr>
              <a:t>Subbullet</a:t>
            </a:r>
            <a:endParaRPr lang="nl-NL" sz="1200" b="0" dirty="0">
              <a:solidFill>
                <a:schemeClr val="bg1"/>
              </a:solidFill>
              <a:latin typeface="Arial"/>
            </a:endParaRPr>
          </a:p>
        </p:txBody>
      </p:sp>
      <p:sp>
        <p:nvSpPr>
          <p:cNvPr id="7" name="AutoShape 6"/>
          <p:cNvSpPr>
            <a:spLocks noChangeArrowheads="1"/>
          </p:cNvSpPr>
          <p:nvPr/>
        </p:nvSpPr>
        <p:spPr bwMode="gray">
          <a:xfrm flipH="1">
            <a:off x="5280025" y="4613481"/>
            <a:ext cx="3154363" cy="1330325"/>
          </a:xfrm>
          <a:prstGeom prst="homePlate">
            <a:avLst>
              <a:gd name="adj" fmla="val 21898"/>
            </a:avLst>
          </a:prstGeom>
          <a:solidFill>
            <a:schemeClr val="accent3"/>
          </a:solidFill>
          <a:ln w="19050" algn="ctr">
            <a:noFill/>
            <a:miter lim="800000"/>
            <a:headEnd/>
            <a:tailEnd/>
          </a:ln>
        </p:spPr>
        <p:txBody>
          <a:bodyPr lIns="180000" tIns="90000" rIns="0" bIns="90000"/>
          <a:lstStyle/>
          <a:p>
            <a:pPr algn="l" defTabSz="957998">
              <a:spcBef>
                <a:spcPts val="400"/>
              </a:spcBef>
              <a:spcAft>
                <a:spcPts val="0"/>
              </a:spcAft>
              <a:defRPr/>
            </a:pPr>
            <a:r>
              <a:rPr lang="nl-NL" sz="1600" b="0" dirty="0" smtClean="0">
                <a:solidFill>
                  <a:schemeClr val="bg1"/>
                </a:solidFill>
                <a:latin typeface="Arial"/>
              </a:rPr>
              <a:t>Text</a:t>
            </a:r>
          </a:p>
          <a:p>
            <a:pPr marL="117475" lvl="1" indent="-117475" algn="l" defTabSz="957998">
              <a:spcBef>
                <a:spcPts val="400"/>
              </a:spcBef>
              <a:spcAft>
                <a:spcPts val="0"/>
              </a:spcAft>
              <a:buFont typeface="Arial" charset="0"/>
              <a:buChar char="•"/>
              <a:defRPr/>
            </a:pPr>
            <a:r>
              <a:rPr lang="nl-NL" sz="1600" b="0" dirty="0" smtClean="0">
                <a:solidFill>
                  <a:schemeClr val="bg1"/>
                </a:solidFill>
                <a:latin typeface="Arial"/>
              </a:rPr>
              <a:t>Bullet</a:t>
            </a:r>
          </a:p>
          <a:p>
            <a:pPr marL="227013" lvl="2" indent="-109538" algn="l" defTabSz="957998">
              <a:spcBef>
                <a:spcPts val="400"/>
              </a:spcBef>
              <a:spcAft>
                <a:spcPts val="0"/>
              </a:spcAft>
              <a:buFont typeface="Arial" charset="0"/>
              <a:buChar char="‒"/>
              <a:defRPr/>
            </a:pPr>
            <a:r>
              <a:rPr lang="nl-NL" sz="1200" b="0" dirty="0" smtClean="0">
                <a:solidFill>
                  <a:schemeClr val="bg1"/>
                </a:solidFill>
                <a:latin typeface="Arial"/>
              </a:rPr>
              <a:t>Dash</a:t>
            </a:r>
          </a:p>
          <a:p>
            <a:pPr marL="344488" lvl="3" indent="-117475" algn="l" defTabSz="957998">
              <a:spcBef>
                <a:spcPts val="400"/>
              </a:spcBef>
              <a:spcAft>
                <a:spcPts val="0"/>
              </a:spcAft>
              <a:buFont typeface="Arial" charset="0"/>
              <a:buChar char="•"/>
              <a:defRPr/>
            </a:pPr>
            <a:r>
              <a:rPr lang="nl-NL" sz="1200" b="0" dirty="0" smtClean="0">
                <a:solidFill>
                  <a:schemeClr val="bg1"/>
                </a:solidFill>
                <a:latin typeface="Arial"/>
              </a:rPr>
              <a:t>Subbullet</a:t>
            </a:r>
            <a:endParaRPr lang="nl-NL" sz="1200" b="0" dirty="0">
              <a:solidFill>
                <a:schemeClr val="bg1"/>
              </a:solidFill>
              <a:latin typeface="Arial"/>
            </a:endParaRPr>
          </a:p>
        </p:txBody>
      </p:sp>
      <p:sp>
        <p:nvSpPr>
          <p:cNvPr id="8" name="AutoShape 7"/>
          <p:cNvSpPr>
            <a:spLocks noChangeArrowheads="1"/>
          </p:cNvSpPr>
          <p:nvPr/>
        </p:nvSpPr>
        <p:spPr bwMode="gray">
          <a:xfrm flipH="1">
            <a:off x="5280025" y="3140281"/>
            <a:ext cx="3154363" cy="1330325"/>
          </a:xfrm>
          <a:prstGeom prst="homePlate">
            <a:avLst>
              <a:gd name="adj" fmla="val 21898"/>
            </a:avLst>
          </a:prstGeom>
          <a:solidFill>
            <a:schemeClr val="accent3"/>
          </a:solidFill>
          <a:ln w="19050" algn="ctr">
            <a:noFill/>
            <a:miter lim="800000"/>
            <a:headEnd/>
            <a:tailEnd/>
          </a:ln>
        </p:spPr>
        <p:txBody>
          <a:bodyPr lIns="180000" tIns="90000" rIns="0" bIns="90000"/>
          <a:lstStyle/>
          <a:p>
            <a:pPr algn="l" defTabSz="957998">
              <a:spcBef>
                <a:spcPts val="400"/>
              </a:spcBef>
              <a:spcAft>
                <a:spcPts val="0"/>
              </a:spcAft>
              <a:defRPr/>
            </a:pPr>
            <a:r>
              <a:rPr lang="nl-NL" sz="1600" b="0" dirty="0" smtClean="0">
                <a:solidFill>
                  <a:schemeClr val="bg1"/>
                </a:solidFill>
                <a:latin typeface="Arial"/>
              </a:rPr>
              <a:t>Text</a:t>
            </a:r>
          </a:p>
          <a:p>
            <a:pPr marL="117475" lvl="1" indent="-117475" algn="l" defTabSz="957998">
              <a:spcBef>
                <a:spcPts val="400"/>
              </a:spcBef>
              <a:spcAft>
                <a:spcPts val="0"/>
              </a:spcAft>
              <a:buFont typeface="Arial" charset="0"/>
              <a:buChar char="•"/>
              <a:defRPr/>
            </a:pPr>
            <a:r>
              <a:rPr lang="nl-NL" sz="1600" b="0" dirty="0" smtClean="0">
                <a:solidFill>
                  <a:schemeClr val="bg1"/>
                </a:solidFill>
                <a:latin typeface="Arial"/>
              </a:rPr>
              <a:t>Bullet</a:t>
            </a:r>
          </a:p>
          <a:p>
            <a:pPr marL="227013" lvl="2" indent="-109538" algn="l" defTabSz="957998">
              <a:spcBef>
                <a:spcPts val="400"/>
              </a:spcBef>
              <a:spcAft>
                <a:spcPts val="0"/>
              </a:spcAft>
              <a:buFont typeface="Arial" charset="0"/>
              <a:buChar char="‒"/>
              <a:defRPr/>
            </a:pPr>
            <a:r>
              <a:rPr lang="nl-NL" sz="1200" b="0" dirty="0" smtClean="0">
                <a:solidFill>
                  <a:schemeClr val="bg1"/>
                </a:solidFill>
                <a:latin typeface="Arial"/>
              </a:rPr>
              <a:t>Dash</a:t>
            </a:r>
          </a:p>
          <a:p>
            <a:pPr marL="344488" lvl="3" indent="-117475" algn="l" defTabSz="957998">
              <a:spcBef>
                <a:spcPts val="400"/>
              </a:spcBef>
              <a:spcAft>
                <a:spcPts val="0"/>
              </a:spcAft>
              <a:buFont typeface="Arial" charset="0"/>
              <a:buChar char="•"/>
              <a:defRPr/>
            </a:pPr>
            <a:r>
              <a:rPr lang="nl-NL" sz="1200" b="0" dirty="0" smtClean="0">
                <a:solidFill>
                  <a:schemeClr val="bg1"/>
                </a:solidFill>
                <a:latin typeface="Arial"/>
              </a:rPr>
              <a:t>Subbullet</a:t>
            </a:r>
            <a:endParaRPr lang="nl-NL" sz="1200" b="0" dirty="0">
              <a:solidFill>
                <a:schemeClr val="bg1"/>
              </a:solidFill>
              <a:latin typeface="Arial"/>
            </a:endParaRPr>
          </a:p>
        </p:txBody>
      </p:sp>
      <p:sp>
        <p:nvSpPr>
          <p:cNvPr id="9" name="AutoShape 8"/>
          <p:cNvSpPr>
            <a:spLocks noChangeArrowheads="1"/>
          </p:cNvSpPr>
          <p:nvPr/>
        </p:nvSpPr>
        <p:spPr bwMode="gray">
          <a:xfrm flipH="1">
            <a:off x="5280025" y="1673431"/>
            <a:ext cx="3154363" cy="1330325"/>
          </a:xfrm>
          <a:prstGeom prst="homePlate">
            <a:avLst>
              <a:gd name="adj" fmla="val 21898"/>
            </a:avLst>
          </a:prstGeom>
          <a:solidFill>
            <a:schemeClr val="accent3"/>
          </a:solidFill>
          <a:ln w="19050" algn="ctr">
            <a:noFill/>
            <a:miter lim="800000"/>
            <a:headEnd/>
            <a:tailEnd/>
          </a:ln>
        </p:spPr>
        <p:txBody>
          <a:bodyPr lIns="180000" tIns="90000" rIns="0" bIns="90000"/>
          <a:lstStyle/>
          <a:p>
            <a:pPr algn="l" defTabSz="957998">
              <a:spcBef>
                <a:spcPts val="400"/>
              </a:spcBef>
              <a:spcAft>
                <a:spcPts val="0"/>
              </a:spcAft>
              <a:defRPr/>
            </a:pPr>
            <a:r>
              <a:rPr lang="nl-NL" sz="1600" b="0" dirty="0" smtClean="0">
                <a:solidFill>
                  <a:schemeClr val="bg1"/>
                </a:solidFill>
                <a:latin typeface="Arial"/>
              </a:rPr>
              <a:t>Text</a:t>
            </a:r>
          </a:p>
          <a:p>
            <a:pPr marL="117475" lvl="1" indent="-117475" algn="l" defTabSz="957998">
              <a:spcBef>
                <a:spcPts val="400"/>
              </a:spcBef>
              <a:spcAft>
                <a:spcPts val="0"/>
              </a:spcAft>
              <a:buFont typeface="Arial" charset="0"/>
              <a:buChar char="•"/>
              <a:defRPr/>
            </a:pPr>
            <a:r>
              <a:rPr lang="nl-NL" sz="1600" b="0" dirty="0" smtClean="0">
                <a:solidFill>
                  <a:schemeClr val="bg1"/>
                </a:solidFill>
                <a:latin typeface="Arial"/>
              </a:rPr>
              <a:t>Bullet</a:t>
            </a:r>
          </a:p>
          <a:p>
            <a:pPr marL="227013" lvl="2" indent="-109538" algn="l" defTabSz="957998">
              <a:spcBef>
                <a:spcPts val="400"/>
              </a:spcBef>
              <a:spcAft>
                <a:spcPts val="0"/>
              </a:spcAft>
              <a:buFont typeface="Arial" charset="0"/>
              <a:buChar char="‒"/>
              <a:defRPr/>
            </a:pPr>
            <a:r>
              <a:rPr lang="nl-NL" sz="1200" b="0" dirty="0" smtClean="0">
                <a:solidFill>
                  <a:schemeClr val="bg1"/>
                </a:solidFill>
                <a:latin typeface="Arial"/>
              </a:rPr>
              <a:t>Dash</a:t>
            </a:r>
          </a:p>
          <a:p>
            <a:pPr marL="344488" lvl="3" indent="-117475" algn="l" defTabSz="957998">
              <a:spcBef>
                <a:spcPts val="400"/>
              </a:spcBef>
              <a:spcAft>
                <a:spcPts val="0"/>
              </a:spcAft>
              <a:buFont typeface="Arial" charset="0"/>
              <a:buChar char="•"/>
              <a:defRPr/>
            </a:pPr>
            <a:r>
              <a:rPr lang="nl-NL" sz="1200" b="0" dirty="0" smtClean="0">
                <a:solidFill>
                  <a:schemeClr val="bg1"/>
                </a:solidFill>
                <a:latin typeface="Arial"/>
              </a:rPr>
              <a:t>Subbullet</a:t>
            </a:r>
            <a:endParaRPr lang="nl-NL" sz="1200" b="0" dirty="0">
              <a:solidFill>
                <a:schemeClr val="bg1"/>
              </a:solidFill>
              <a:latin typeface="Arial"/>
            </a:endParaRPr>
          </a:p>
        </p:txBody>
      </p:sp>
      <p:sp>
        <p:nvSpPr>
          <p:cNvPr id="10" name="AutoShape 12"/>
          <p:cNvSpPr>
            <a:spLocks noChangeArrowheads="1"/>
          </p:cNvSpPr>
          <p:nvPr/>
        </p:nvSpPr>
        <p:spPr bwMode="gray">
          <a:xfrm>
            <a:off x="692150" y="1673431"/>
            <a:ext cx="3146425" cy="1330325"/>
          </a:xfrm>
          <a:prstGeom prst="homePlate">
            <a:avLst>
              <a:gd name="adj" fmla="val 21847"/>
            </a:avLst>
          </a:prstGeom>
          <a:solidFill>
            <a:schemeClr val="accent3"/>
          </a:solidFill>
          <a:ln w="19050" algn="ctr">
            <a:noFill/>
            <a:miter lim="800000"/>
            <a:headEnd/>
            <a:tailEnd/>
          </a:ln>
        </p:spPr>
        <p:txBody>
          <a:bodyPr lIns="90000" tIns="90000" rIns="90000" bIns="90000"/>
          <a:lstStyle/>
          <a:p>
            <a:pPr algn="l" defTabSz="957998">
              <a:spcBef>
                <a:spcPts val="400"/>
              </a:spcBef>
              <a:spcAft>
                <a:spcPts val="0"/>
              </a:spcAft>
              <a:defRPr/>
            </a:pPr>
            <a:r>
              <a:rPr lang="nl-NL" sz="1600" b="0" dirty="0">
                <a:solidFill>
                  <a:schemeClr val="bg1"/>
                </a:solidFill>
                <a:latin typeface="Arial"/>
              </a:rPr>
              <a:t>Text</a:t>
            </a:r>
          </a:p>
          <a:p>
            <a:pPr marL="117475" lvl="1" indent="-117475" algn="l" defTabSz="957998">
              <a:spcBef>
                <a:spcPts val="400"/>
              </a:spcBef>
              <a:spcAft>
                <a:spcPts val="0"/>
              </a:spcAft>
              <a:buFont typeface="Arial" charset="0"/>
              <a:buChar char="•"/>
              <a:defRPr/>
            </a:pPr>
            <a:r>
              <a:rPr lang="nl-NL" sz="1600" b="0" dirty="0">
                <a:solidFill>
                  <a:schemeClr val="bg1"/>
                </a:solidFill>
                <a:latin typeface="Arial"/>
                <a:ea typeface="+mj-ea"/>
              </a:rPr>
              <a:t>Bullet</a:t>
            </a:r>
          </a:p>
          <a:p>
            <a:pPr marL="227013" lvl="2" indent="-109538" algn="l" defTabSz="957998">
              <a:spcBef>
                <a:spcPts val="400"/>
              </a:spcBef>
              <a:spcAft>
                <a:spcPts val="0"/>
              </a:spcAft>
              <a:buFont typeface="Arial" charset="0"/>
              <a:buChar char="‒"/>
              <a:defRPr/>
            </a:pPr>
            <a:r>
              <a:rPr lang="nl-NL" sz="1200" b="0" dirty="0">
                <a:solidFill>
                  <a:schemeClr val="bg1"/>
                </a:solidFill>
                <a:latin typeface="Arial"/>
                <a:ea typeface="+mj-ea"/>
              </a:rPr>
              <a:t>Dash</a:t>
            </a:r>
          </a:p>
          <a:p>
            <a:pPr marL="344488" lvl="3" indent="-117475" algn="l" defTabSz="957998">
              <a:spcBef>
                <a:spcPts val="400"/>
              </a:spcBef>
              <a:spcAft>
                <a:spcPts val="0"/>
              </a:spcAft>
              <a:buFont typeface="Arial" charset="0"/>
              <a:buChar char="•"/>
              <a:defRPr/>
            </a:pPr>
            <a:r>
              <a:rPr lang="nl-NL" sz="1200" b="0" dirty="0" smtClean="0">
                <a:solidFill>
                  <a:schemeClr val="bg1"/>
                </a:solidFill>
                <a:latin typeface="Arial"/>
                <a:ea typeface="+mj-ea"/>
              </a:rPr>
              <a:t>Subbullet</a:t>
            </a:r>
            <a:endParaRPr lang="nl-NL" sz="1200" b="0" dirty="0">
              <a:solidFill>
                <a:schemeClr val="bg1"/>
              </a:solidFill>
              <a:latin typeface="Arial"/>
              <a:ea typeface="+mj-ea"/>
            </a:endParaRPr>
          </a:p>
        </p:txBody>
      </p:sp>
      <p:sp>
        <p:nvSpPr>
          <p:cNvPr id="13"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1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custDataLst>
              <p:tags r:id="rId2"/>
            </p:custDataLst>
          </p:nvPr>
        </p:nvSpPr>
        <p:spPr bwMode="auto">
          <a:xfrm>
            <a:off x="3257550" y="1585273"/>
            <a:ext cx="2600325" cy="4470400"/>
          </a:xfrm>
          <a:prstGeom prst="rect">
            <a:avLst/>
          </a:prstGeom>
          <a:noFill/>
          <a:ln w="12700" algn="ctr">
            <a:solidFill>
              <a:schemeClr val="accent3"/>
            </a:solidFill>
            <a:miter lim="800000"/>
            <a:headEnd/>
            <a:tailEnd/>
          </a:ln>
        </p:spPr>
        <p:txBody>
          <a:bodyPr tIns="91440" bIns="91440" anchor="ctr"/>
          <a:lstStyle/>
          <a:p>
            <a:pPr algn="ctr">
              <a:defRPr/>
            </a:pPr>
            <a:r>
              <a:rPr lang="en-GB" altLang="ja-JP" sz="1400">
                <a:solidFill>
                  <a:schemeClr val="tx2"/>
                </a:solidFill>
                <a:ea typeface="ＭＳ Ｐゴシック" pitchFamily="50" charset="-128"/>
              </a:rPr>
              <a:t>Text</a:t>
            </a:r>
          </a:p>
        </p:txBody>
      </p:sp>
      <p:sp>
        <p:nvSpPr>
          <p:cNvPr id="7" name="AutoShape 6"/>
          <p:cNvSpPr>
            <a:spLocks noChangeArrowheads="1"/>
          </p:cNvSpPr>
          <p:nvPr>
            <p:custDataLst>
              <p:tags r:id="rId3"/>
            </p:custDataLst>
          </p:nvPr>
        </p:nvSpPr>
        <p:spPr bwMode="gray">
          <a:xfrm flipH="1">
            <a:off x="685800" y="3864345"/>
            <a:ext cx="3155950" cy="989013"/>
          </a:xfrm>
          <a:prstGeom prst="homePlate">
            <a:avLst>
              <a:gd name="adj" fmla="val 21898"/>
            </a:avLst>
          </a:prstGeom>
          <a:solidFill>
            <a:schemeClr val="accent3"/>
          </a:solidFill>
          <a:ln w="19050" algn="ctr">
            <a:noFill/>
            <a:miter lim="800000"/>
            <a:headEnd/>
            <a:tailEnd/>
          </a:ln>
        </p:spPr>
        <p:txBody>
          <a:bodyPr lIns="180000" tIns="90000" rIns="0" bIns="90000"/>
          <a:lstStyle/>
          <a:p>
            <a:pPr algn="l" defTabSz="957998">
              <a:spcBef>
                <a:spcPts val="400"/>
              </a:spcBef>
              <a:spcAft>
                <a:spcPts val="0"/>
              </a:spcAft>
              <a:defRPr/>
            </a:pPr>
            <a:r>
              <a:rPr lang="nl-NL" sz="1400" b="0" dirty="0" smtClean="0">
                <a:solidFill>
                  <a:schemeClr val="bg1"/>
                </a:solidFill>
                <a:latin typeface="Arial"/>
              </a:rPr>
              <a:t>Text</a:t>
            </a:r>
          </a:p>
          <a:p>
            <a:pPr marL="117475" lvl="1" indent="-117475" algn="l" defTabSz="957998">
              <a:spcBef>
                <a:spcPts val="400"/>
              </a:spcBef>
              <a:spcAft>
                <a:spcPts val="0"/>
              </a:spcAft>
              <a:buFont typeface="Arial" charset="0"/>
              <a:buChar char="•"/>
              <a:defRPr/>
            </a:pPr>
            <a:r>
              <a:rPr lang="nl-NL" sz="1400" b="0" dirty="0" smtClean="0">
                <a:solidFill>
                  <a:schemeClr val="bg1"/>
                </a:solidFill>
                <a:latin typeface="Arial"/>
              </a:rPr>
              <a:t>Bullet</a:t>
            </a:r>
          </a:p>
          <a:p>
            <a:pPr marL="227013" lvl="2" indent="-109538" algn="l" defTabSz="957998">
              <a:spcBef>
                <a:spcPts val="400"/>
              </a:spcBef>
              <a:spcAft>
                <a:spcPts val="0"/>
              </a:spcAft>
              <a:buFont typeface="Arial" charset="0"/>
              <a:buChar char="‒"/>
              <a:defRPr/>
            </a:pPr>
            <a:r>
              <a:rPr lang="nl-NL" sz="1200" b="0" dirty="0" smtClean="0">
                <a:solidFill>
                  <a:schemeClr val="bg1"/>
                </a:solidFill>
                <a:latin typeface="Arial"/>
              </a:rPr>
              <a:t>Dash</a:t>
            </a:r>
            <a:endParaRPr lang="nl-NL" sz="1200" b="0" dirty="0">
              <a:solidFill>
                <a:schemeClr val="bg1"/>
              </a:solidFill>
              <a:latin typeface="Arial"/>
            </a:endParaRPr>
          </a:p>
        </p:txBody>
      </p:sp>
      <p:sp>
        <p:nvSpPr>
          <p:cNvPr id="8" name="AutoShape 7"/>
          <p:cNvSpPr>
            <a:spLocks noChangeArrowheads="1"/>
          </p:cNvSpPr>
          <p:nvPr>
            <p:custDataLst>
              <p:tags r:id="rId4"/>
            </p:custDataLst>
          </p:nvPr>
        </p:nvSpPr>
        <p:spPr bwMode="gray">
          <a:xfrm flipH="1">
            <a:off x="685800" y="2772145"/>
            <a:ext cx="3155950" cy="990600"/>
          </a:xfrm>
          <a:prstGeom prst="homePlate">
            <a:avLst>
              <a:gd name="adj" fmla="val 21898"/>
            </a:avLst>
          </a:prstGeom>
          <a:solidFill>
            <a:schemeClr val="accent3"/>
          </a:solidFill>
          <a:ln w="19050" algn="ctr">
            <a:noFill/>
            <a:miter lim="800000"/>
            <a:headEnd/>
            <a:tailEnd/>
          </a:ln>
        </p:spPr>
        <p:txBody>
          <a:bodyPr lIns="180000" tIns="90000" rIns="0" bIns="90000"/>
          <a:lstStyle/>
          <a:p>
            <a:pPr algn="l" defTabSz="957998">
              <a:spcBef>
                <a:spcPts val="400"/>
              </a:spcBef>
              <a:spcAft>
                <a:spcPts val="0"/>
              </a:spcAft>
              <a:defRPr/>
            </a:pPr>
            <a:r>
              <a:rPr lang="nl-NL" sz="1400" b="0" dirty="0" smtClean="0">
                <a:solidFill>
                  <a:schemeClr val="bg1"/>
                </a:solidFill>
                <a:latin typeface="Arial"/>
              </a:rPr>
              <a:t>Text</a:t>
            </a:r>
          </a:p>
          <a:p>
            <a:pPr marL="117475" lvl="1" indent="-117475" algn="l" defTabSz="957998">
              <a:spcBef>
                <a:spcPts val="400"/>
              </a:spcBef>
              <a:spcAft>
                <a:spcPts val="0"/>
              </a:spcAft>
              <a:buFont typeface="Arial" charset="0"/>
              <a:buChar char="•"/>
              <a:defRPr/>
            </a:pPr>
            <a:r>
              <a:rPr lang="nl-NL" sz="1400" b="0" dirty="0" smtClean="0">
                <a:solidFill>
                  <a:schemeClr val="bg1"/>
                </a:solidFill>
                <a:latin typeface="Arial"/>
              </a:rPr>
              <a:t>Bullet</a:t>
            </a:r>
          </a:p>
          <a:p>
            <a:pPr marL="227013" lvl="2" indent="-109538" algn="l" defTabSz="957998">
              <a:spcBef>
                <a:spcPts val="400"/>
              </a:spcBef>
              <a:spcAft>
                <a:spcPts val="0"/>
              </a:spcAft>
              <a:buFont typeface="Arial" charset="0"/>
              <a:buChar char="‒"/>
              <a:defRPr/>
            </a:pPr>
            <a:r>
              <a:rPr lang="nl-NL" sz="1200" b="0" dirty="0" smtClean="0">
                <a:solidFill>
                  <a:schemeClr val="bg1"/>
                </a:solidFill>
                <a:latin typeface="Arial"/>
              </a:rPr>
              <a:t>Dash</a:t>
            </a:r>
            <a:endParaRPr lang="nl-NL" sz="1200" b="0" dirty="0">
              <a:solidFill>
                <a:schemeClr val="bg1"/>
              </a:solidFill>
              <a:latin typeface="Arial"/>
            </a:endParaRPr>
          </a:p>
        </p:txBody>
      </p:sp>
      <p:sp>
        <p:nvSpPr>
          <p:cNvPr id="9" name="AutoShape 8"/>
          <p:cNvSpPr>
            <a:spLocks noChangeArrowheads="1"/>
          </p:cNvSpPr>
          <p:nvPr>
            <p:custDataLst>
              <p:tags r:id="rId5"/>
            </p:custDataLst>
          </p:nvPr>
        </p:nvSpPr>
        <p:spPr bwMode="gray">
          <a:xfrm flipH="1">
            <a:off x="685800" y="1681533"/>
            <a:ext cx="3155950" cy="990600"/>
          </a:xfrm>
          <a:prstGeom prst="homePlate">
            <a:avLst>
              <a:gd name="adj" fmla="val 21898"/>
            </a:avLst>
          </a:prstGeom>
          <a:solidFill>
            <a:schemeClr val="accent3"/>
          </a:solidFill>
          <a:ln w="19050" algn="ctr">
            <a:noFill/>
            <a:miter lim="800000"/>
            <a:headEnd/>
            <a:tailEnd/>
          </a:ln>
        </p:spPr>
        <p:txBody>
          <a:bodyPr lIns="180000" tIns="90000" rIns="0" bIns="90000"/>
          <a:lstStyle/>
          <a:p>
            <a:pPr algn="l" defTabSz="957998">
              <a:spcBef>
                <a:spcPts val="400"/>
              </a:spcBef>
              <a:spcAft>
                <a:spcPts val="0"/>
              </a:spcAft>
              <a:defRPr/>
            </a:pPr>
            <a:r>
              <a:rPr lang="nl-NL" sz="1400" b="0" dirty="0">
                <a:solidFill>
                  <a:schemeClr val="bg1"/>
                </a:solidFill>
                <a:latin typeface="Arial"/>
              </a:rPr>
              <a:t>Text</a:t>
            </a:r>
          </a:p>
          <a:p>
            <a:pPr marL="117475" lvl="1" indent="-117475" algn="l" defTabSz="957998">
              <a:spcBef>
                <a:spcPts val="400"/>
              </a:spcBef>
              <a:spcAft>
                <a:spcPts val="0"/>
              </a:spcAft>
              <a:buFont typeface="Arial" charset="0"/>
              <a:buChar char="•"/>
              <a:defRPr/>
            </a:pPr>
            <a:r>
              <a:rPr lang="nl-NL" sz="1400" b="0" dirty="0">
                <a:solidFill>
                  <a:schemeClr val="bg1"/>
                </a:solidFill>
                <a:latin typeface="Arial"/>
              </a:rPr>
              <a:t>Bullet</a:t>
            </a:r>
          </a:p>
          <a:p>
            <a:pPr marL="227013" lvl="2" indent="-109538" algn="l" defTabSz="957998">
              <a:spcBef>
                <a:spcPts val="400"/>
              </a:spcBef>
              <a:spcAft>
                <a:spcPts val="0"/>
              </a:spcAft>
              <a:buFont typeface="Arial" charset="0"/>
              <a:buChar char="‒"/>
              <a:defRPr/>
            </a:pPr>
            <a:r>
              <a:rPr lang="nl-NL" sz="1200" b="0" dirty="0">
                <a:solidFill>
                  <a:schemeClr val="bg1"/>
                </a:solidFill>
                <a:latin typeface="Arial"/>
              </a:rPr>
              <a:t>Dash</a:t>
            </a:r>
          </a:p>
        </p:txBody>
      </p:sp>
      <p:sp>
        <p:nvSpPr>
          <p:cNvPr id="16" name="AutoShape 4"/>
          <p:cNvSpPr>
            <a:spLocks noChangeArrowheads="1"/>
          </p:cNvSpPr>
          <p:nvPr>
            <p:custDataLst>
              <p:tags r:id="rId6"/>
            </p:custDataLst>
          </p:nvPr>
        </p:nvSpPr>
        <p:spPr bwMode="gray">
          <a:xfrm>
            <a:off x="5284788" y="2772145"/>
            <a:ext cx="3148012" cy="990600"/>
          </a:xfrm>
          <a:prstGeom prst="homePlate">
            <a:avLst>
              <a:gd name="adj" fmla="val 21847"/>
            </a:avLst>
          </a:prstGeom>
          <a:solidFill>
            <a:schemeClr val="accent3"/>
          </a:solidFill>
          <a:ln w="19050" algn="ctr">
            <a:noFill/>
            <a:miter lim="800000"/>
            <a:headEnd/>
            <a:tailEnd/>
          </a:ln>
        </p:spPr>
        <p:txBody>
          <a:bodyPr lIns="90000" tIns="90000" rIns="90000" bIns="90000"/>
          <a:lstStyle/>
          <a:p>
            <a:pPr algn="l" defTabSz="957998">
              <a:spcBef>
                <a:spcPts val="400"/>
              </a:spcBef>
              <a:spcAft>
                <a:spcPts val="0"/>
              </a:spcAft>
              <a:defRPr/>
            </a:pPr>
            <a:r>
              <a:rPr lang="nl-NL" sz="1400" b="0" dirty="0" smtClean="0">
                <a:solidFill>
                  <a:schemeClr val="bg1"/>
                </a:solidFill>
                <a:latin typeface="Arial"/>
              </a:rPr>
              <a:t>Text</a:t>
            </a:r>
          </a:p>
          <a:p>
            <a:pPr marL="117475" lvl="1" indent="-117475" algn="l" defTabSz="957998">
              <a:spcBef>
                <a:spcPts val="400"/>
              </a:spcBef>
              <a:spcAft>
                <a:spcPts val="0"/>
              </a:spcAft>
              <a:buFont typeface="Arial" charset="0"/>
              <a:buChar char="•"/>
              <a:defRPr/>
            </a:pPr>
            <a:r>
              <a:rPr lang="nl-NL" sz="1400" b="0" dirty="0" smtClean="0">
                <a:solidFill>
                  <a:schemeClr val="bg1"/>
                </a:solidFill>
                <a:latin typeface="Arial"/>
              </a:rPr>
              <a:t>Bullet</a:t>
            </a:r>
          </a:p>
          <a:p>
            <a:pPr marL="227013" lvl="2" indent="-109538" algn="l" defTabSz="957998">
              <a:spcBef>
                <a:spcPts val="400"/>
              </a:spcBef>
              <a:spcAft>
                <a:spcPts val="0"/>
              </a:spcAft>
              <a:buFont typeface="Arial" charset="0"/>
              <a:buChar char="‒"/>
              <a:defRPr/>
            </a:pPr>
            <a:r>
              <a:rPr lang="nl-NL" sz="1200" b="0" dirty="0" smtClean="0">
                <a:solidFill>
                  <a:schemeClr val="bg1"/>
                </a:solidFill>
                <a:latin typeface="Arial"/>
              </a:rPr>
              <a:t>Dash</a:t>
            </a:r>
            <a:endParaRPr lang="nl-NL" sz="1200" b="0" dirty="0">
              <a:solidFill>
                <a:schemeClr val="bg1"/>
              </a:solidFill>
              <a:latin typeface="Arial"/>
            </a:endParaRPr>
          </a:p>
        </p:txBody>
      </p:sp>
      <p:sp>
        <p:nvSpPr>
          <p:cNvPr id="17" name="AutoShape 5"/>
          <p:cNvSpPr>
            <a:spLocks noChangeArrowheads="1"/>
          </p:cNvSpPr>
          <p:nvPr>
            <p:custDataLst>
              <p:tags r:id="rId7"/>
            </p:custDataLst>
          </p:nvPr>
        </p:nvSpPr>
        <p:spPr bwMode="gray">
          <a:xfrm>
            <a:off x="5284788" y="3864345"/>
            <a:ext cx="3148012" cy="989013"/>
          </a:xfrm>
          <a:prstGeom prst="homePlate">
            <a:avLst>
              <a:gd name="adj" fmla="val 21847"/>
            </a:avLst>
          </a:prstGeom>
          <a:solidFill>
            <a:schemeClr val="accent3"/>
          </a:solidFill>
          <a:ln w="19050" algn="ctr">
            <a:noFill/>
            <a:miter lim="800000"/>
            <a:headEnd/>
            <a:tailEnd/>
          </a:ln>
        </p:spPr>
        <p:txBody>
          <a:bodyPr lIns="90000" tIns="90000" rIns="90000" bIns="90000"/>
          <a:lstStyle/>
          <a:p>
            <a:pPr algn="l" defTabSz="957998">
              <a:spcBef>
                <a:spcPts val="400"/>
              </a:spcBef>
              <a:spcAft>
                <a:spcPts val="0"/>
              </a:spcAft>
              <a:defRPr/>
            </a:pPr>
            <a:r>
              <a:rPr lang="nl-NL" sz="1400" b="0" dirty="0" smtClean="0">
                <a:solidFill>
                  <a:schemeClr val="bg1"/>
                </a:solidFill>
                <a:latin typeface="Arial"/>
              </a:rPr>
              <a:t>Text</a:t>
            </a:r>
          </a:p>
          <a:p>
            <a:pPr marL="117475" lvl="1" indent="-117475" algn="l" defTabSz="957998">
              <a:spcBef>
                <a:spcPts val="400"/>
              </a:spcBef>
              <a:spcAft>
                <a:spcPts val="0"/>
              </a:spcAft>
              <a:buFont typeface="Arial" charset="0"/>
              <a:buChar char="•"/>
              <a:defRPr/>
            </a:pPr>
            <a:r>
              <a:rPr lang="nl-NL" sz="1400" b="0" dirty="0" smtClean="0">
                <a:solidFill>
                  <a:schemeClr val="bg1"/>
                </a:solidFill>
                <a:latin typeface="Arial"/>
              </a:rPr>
              <a:t>Bullet</a:t>
            </a:r>
          </a:p>
          <a:p>
            <a:pPr marL="227013" lvl="2" indent="-109538" algn="l" defTabSz="957998">
              <a:spcBef>
                <a:spcPts val="400"/>
              </a:spcBef>
              <a:spcAft>
                <a:spcPts val="0"/>
              </a:spcAft>
              <a:buFont typeface="Arial" charset="0"/>
              <a:buChar char="‒"/>
              <a:defRPr/>
            </a:pPr>
            <a:r>
              <a:rPr lang="nl-NL" sz="1200" b="0" dirty="0" smtClean="0">
                <a:solidFill>
                  <a:schemeClr val="bg1"/>
                </a:solidFill>
                <a:latin typeface="Arial"/>
              </a:rPr>
              <a:t>Dash</a:t>
            </a:r>
            <a:endParaRPr lang="nl-NL" sz="1200" b="0" dirty="0">
              <a:solidFill>
                <a:schemeClr val="bg1"/>
              </a:solidFill>
              <a:latin typeface="Arial"/>
            </a:endParaRPr>
          </a:p>
        </p:txBody>
      </p:sp>
      <p:sp>
        <p:nvSpPr>
          <p:cNvPr id="18" name="AutoShape 12"/>
          <p:cNvSpPr>
            <a:spLocks noChangeArrowheads="1"/>
          </p:cNvSpPr>
          <p:nvPr>
            <p:custDataLst>
              <p:tags r:id="rId8"/>
            </p:custDataLst>
          </p:nvPr>
        </p:nvSpPr>
        <p:spPr bwMode="gray">
          <a:xfrm>
            <a:off x="5284788" y="1681533"/>
            <a:ext cx="3148012" cy="990600"/>
          </a:xfrm>
          <a:prstGeom prst="homePlate">
            <a:avLst>
              <a:gd name="adj" fmla="val 21847"/>
            </a:avLst>
          </a:prstGeom>
          <a:solidFill>
            <a:schemeClr val="accent3"/>
          </a:solidFill>
          <a:ln w="19050" algn="ctr">
            <a:noFill/>
            <a:miter lim="800000"/>
            <a:headEnd/>
            <a:tailEnd/>
          </a:ln>
        </p:spPr>
        <p:txBody>
          <a:bodyPr lIns="90000" tIns="90000" rIns="90000" bIns="90000"/>
          <a:lstStyle/>
          <a:p>
            <a:pPr algn="l" defTabSz="957998">
              <a:spcBef>
                <a:spcPts val="400"/>
              </a:spcBef>
              <a:spcAft>
                <a:spcPts val="0"/>
              </a:spcAft>
              <a:defRPr/>
            </a:pPr>
            <a:r>
              <a:rPr lang="nl-NL" sz="1400" b="0" dirty="0" smtClean="0">
                <a:solidFill>
                  <a:schemeClr val="bg1"/>
                </a:solidFill>
                <a:latin typeface="Arial"/>
              </a:rPr>
              <a:t>Text</a:t>
            </a:r>
          </a:p>
          <a:p>
            <a:pPr marL="117475" lvl="1" indent="-117475" algn="l" defTabSz="957998">
              <a:spcBef>
                <a:spcPts val="400"/>
              </a:spcBef>
              <a:spcAft>
                <a:spcPts val="0"/>
              </a:spcAft>
              <a:buFont typeface="Arial" charset="0"/>
              <a:buChar char="•"/>
              <a:defRPr/>
            </a:pPr>
            <a:r>
              <a:rPr lang="nl-NL" sz="1400" b="0" dirty="0" smtClean="0">
                <a:solidFill>
                  <a:schemeClr val="bg1"/>
                </a:solidFill>
                <a:latin typeface="Arial"/>
              </a:rPr>
              <a:t>Bullet</a:t>
            </a:r>
          </a:p>
          <a:p>
            <a:pPr marL="227013" lvl="2" indent="-109538" algn="l" defTabSz="957998">
              <a:spcBef>
                <a:spcPts val="400"/>
              </a:spcBef>
              <a:spcAft>
                <a:spcPts val="0"/>
              </a:spcAft>
              <a:buFont typeface="Arial" charset="0"/>
              <a:buChar char="‒"/>
              <a:defRPr/>
            </a:pPr>
            <a:r>
              <a:rPr lang="nl-NL" sz="1200" b="0" dirty="0" smtClean="0">
                <a:solidFill>
                  <a:schemeClr val="bg1"/>
                </a:solidFill>
                <a:latin typeface="Arial"/>
              </a:rPr>
              <a:t>Dash</a:t>
            </a:r>
            <a:endParaRPr lang="nl-NL" sz="1200" b="0" dirty="0">
              <a:solidFill>
                <a:schemeClr val="bg1"/>
              </a:solidFill>
              <a:latin typeface="Arial"/>
            </a:endParaRPr>
          </a:p>
        </p:txBody>
      </p:sp>
      <p:sp>
        <p:nvSpPr>
          <p:cNvPr id="225291" name="Title 1"/>
          <p:cNvSpPr>
            <a:spLocks noGrp="1"/>
          </p:cNvSpPr>
          <p:nvPr>
            <p:ph type="title"/>
            <p:custDataLst>
              <p:tags r:id="rId9"/>
            </p:custDataLst>
          </p:nvPr>
        </p:nvSpPr>
        <p:spPr>
          <a:xfrm>
            <a:off x="414338" y="446038"/>
            <a:ext cx="8330184" cy="333425"/>
          </a:xfrm>
        </p:spPr>
        <p:txBody>
          <a:bodyPr/>
          <a:lstStyle/>
          <a:p>
            <a:r>
              <a:rPr lang="nl-NL"/>
              <a:t>Text blocks </a:t>
            </a:r>
            <a:r>
              <a:rPr lang="en-US"/>
              <a:t>—</a:t>
            </a:r>
            <a:r>
              <a:rPr lang="nl-NL" smtClean="0"/>
              <a:t> </a:t>
            </a:r>
            <a:r>
              <a:rPr lang="nl-NL"/>
              <a:t>chevrons resulting from</a:t>
            </a:r>
          </a:p>
        </p:txBody>
      </p:sp>
      <p:sp>
        <p:nvSpPr>
          <p:cNvPr id="20" name="AutoShape 6"/>
          <p:cNvSpPr>
            <a:spLocks noChangeArrowheads="1"/>
          </p:cNvSpPr>
          <p:nvPr>
            <p:custDataLst>
              <p:tags r:id="rId10"/>
            </p:custDataLst>
          </p:nvPr>
        </p:nvSpPr>
        <p:spPr bwMode="gray">
          <a:xfrm flipH="1">
            <a:off x="690563" y="4954958"/>
            <a:ext cx="3154362" cy="989012"/>
          </a:xfrm>
          <a:prstGeom prst="homePlate">
            <a:avLst>
              <a:gd name="adj" fmla="val 21898"/>
            </a:avLst>
          </a:prstGeom>
          <a:solidFill>
            <a:schemeClr val="accent3"/>
          </a:solidFill>
          <a:ln w="19050" algn="ctr">
            <a:noFill/>
            <a:miter lim="800000"/>
            <a:headEnd/>
            <a:tailEnd/>
          </a:ln>
        </p:spPr>
        <p:txBody>
          <a:bodyPr lIns="180000" tIns="90000" rIns="0" bIns="90000"/>
          <a:lstStyle/>
          <a:p>
            <a:pPr algn="l" defTabSz="957998">
              <a:spcBef>
                <a:spcPts val="400"/>
              </a:spcBef>
              <a:spcAft>
                <a:spcPts val="0"/>
              </a:spcAft>
              <a:defRPr/>
            </a:pPr>
            <a:r>
              <a:rPr lang="nl-NL" sz="1400" b="0" dirty="0" smtClean="0">
                <a:solidFill>
                  <a:schemeClr val="bg1"/>
                </a:solidFill>
                <a:latin typeface="Arial"/>
              </a:rPr>
              <a:t>Text</a:t>
            </a:r>
          </a:p>
          <a:p>
            <a:pPr marL="117475" lvl="1" indent="-117475" algn="l" defTabSz="957998">
              <a:spcBef>
                <a:spcPts val="400"/>
              </a:spcBef>
              <a:spcAft>
                <a:spcPts val="0"/>
              </a:spcAft>
              <a:buFont typeface="Arial" charset="0"/>
              <a:buChar char="•"/>
              <a:defRPr/>
            </a:pPr>
            <a:r>
              <a:rPr lang="nl-NL" sz="1400" b="0" dirty="0" smtClean="0">
                <a:solidFill>
                  <a:schemeClr val="bg1"/>
                </a:solidFill>
                <a:latin typeface="Arial"/>
              </a:rPr>
              <a:t>Bullet</a:t>
            </a:r>
          </a:p>
          <a:p>
            <a:pPr marL="227013" lvl="2" indent="-109538" algn="l" defTabSz="957998">
              <a:spcBef>
                <a:spcPts val="400"/>
              </a:spcBef>
              <a:spcAft>
                <a:spcPts val="0"/>
              </a:spcAft>
              <a:buFont typeface="Arial" charset="0"/>
              <a:buChar char="‒"/>
              <a:defRPr/>
            </a:pPr>
            <a:r>
              <a:rPr lang="nl-NL" sz="1200" b="0" dirty="0" smtClean="0">
                <a:solidFill>
                  <a:schemeClr val="bg1"/>
                </a:solidFill>
                <a:latin typeface="Arial"/>
              </a:rPr>
              <a:t>Dash</a:t>
            </a:r>
            <a:endParaRPr lang="nl-NL" sz="1200" b="0" dirty="0">
              <a:solidFill>
                <a:schemeClr val="bg1"/>
              </a:solidFill>
              <a:latin typeface="Arial"/>
            </a:endParaRPr>
          </a:p>
        </p:txBody>
      </p:sp>
      <p:sp>
        <p:nvSpPr>
          <p:cNvPr id="21" name="AutoShape 5"/>
          <p:cNvSpPr>
            <a:spLocks noChangeArrowheads="1"/>
          </p:cNvSpPr>
          <p:nvPr>
            <p:custDataLst>
              <p:tags r:id="rId11"/>
            </p:custDataLst>
          </p:nvPr>
        </p:nvSpPr>
        <p:spPr bwMode="gray">
          <a:xfrm>
            <a:off x="5287963" y="4954958"/>
            <a:ext cx="3148012" cy="989012"/>
          </a:xfrm>
          <a:prstGeom prst="homePlate">
            <a:avLst>
              <a:gd name="adj" fmla="val 21847"/>
            </a:avLst>
          </a:prstGeom>
          <a:solidFill>
            <a:schemeClr val="accent3"/>
          </a:solidFill>
          <a:ln w="19050" algn="ctr">
            <a:noFill/>
            <a:miter lim="800000"/>
            <a:headEnd/>
            <a:tailEnd/>
          </a:ln>
        </p:spPr>
        <p:txBody>
          <a:bodyPr lIns="90000" tIns="90000" rIns="90000" bIns="90000"/>
          <a:lstStyle/>
          <a:p>
            <a:pPr algn="l" defTabSz="957998">
              <a:spcBef>
                <a:spcPts val="400"/>
              </a:spcBef>
              <a:spcAft>
                <a:spcPts val="0"/>
              </a:spcAft>
              <a:defRPr/>
            </a:pPr>
            <a:r>
              <a:rPr lang="nl-NL" sz="1400" b="0" dirty="0" smtClean="0">
                <a:solidFill>
                  <a:schemeClr val="bg1"/>
                </a:solidFill>
                <a:latin typeface="Arial"/>
              </a:rPr>
              <a:t>Text</a:t>
            </a:r>
          </a:p>
          <a:p>
            <a:pPr marL="117475" lvl="1" indent="-117475" algn="l" defTabSz="957998">
              <a:spcBef>
                <a:spcPts val="400"/>
              </a:spcBef>
              <a:spcAft>
                <a:spcPts val="0"/>
              </a:spcAft>
              <a:buFont typeface="Arial" charset="0"/>
              <a:buChar char="•"/>
              <a:defRPr/>
            </a:pPr>
            <a:r>
              <a:rPr lang="nl-NL" sz="1400" b="0" dirty="0" smtClean="0">
                <a:solidFill>
                  <a:schemeClr val="bg1"/>
                </a:solidFill>
                <a:latin typeface="Arial"/>
              </a:rPr>
              <a:t>Bullet</a:t>
            </a:r>
          </a:p>
          <a:p>
            <a:pPr marL="227013" lvl="2" indent="-109538" algn="l" defTabSz="957998">
              <a:spcBef>
                <a:spcPts val="400"/>
              </a:spcBef>
              <a:spcAft>
                <a:spcPts val="0"/>
              </a:spcAft>
              <a:buFont typeface="Arial" charset="0"/>
              <a:buChar char="‒"/>
              <a:defRPr/>
            </a:pPr>
            <a:r>
              <a:rPr lang="nl-NL" sz="1200" b="0" dirty="0" smtClean="0">
                <a:solidFill>
                  <a:schemeClr val="bg1"/>
                </a:solidFill>
                <a:latin typeface="Arial"/>
              </a:rPr>
              <a:t>Dash</a:t>
            </a:r>
            <a:endParaRPr lang="nl-NL" sz="1200" b="0" dirty="0">
              <a:solidFill>
                <a:schemeClr val="bg1"/>
              </a:solidFill>
              <a:latin typeface="Arial"/>
            </a:endParaRPr>
          </a:p>
        </p:txBody>
      </p:sp>
      <p:graphicFrame>
        <p:nvGraphicFramePr>
          <p:cNvPr id="225283" name="Rectangle 3" hidden="1"/>
          <p:cNvGraphicFramePr>
            <a:graphicFrameLocks/>
          </p:cNvGraphicFramePr>
          <p:nvPr>
            <p:custDataLst>
              <p:tags r:id="rId1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3315" name="think-cell Slide" r:id="rId15" imgW="0" imgH="0" progId="">
                  <p:embed/>
                </p:oleObj>
              </mc:Choice>
              <mc:Fallback>
                <p:oleObj name="think-cell Slide" r:id="rId1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 name="Text Placeholder 12"/>
          <p:cNvSpPr>
            <a:spLocks/>
          </p:cNvSpPr>
          <p:nvPr>
            <p:custDataLst>
              <p:tags r:id="rId13"/>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2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1873" name="Title 1"/>
          <p:cNvSpPr>
            <a:spLocks noGrp="1"/>
          </p:cNvSpPr>
          <p:nvPr>
            <p:ph type="title"/>
          </p:nvPr>
        </p:nvSpPr>
        <p:spPr>
          <a:xfrm>
            <a:off x="414338" y="446038"/>
            <a:ext cx="8330184" cy="333425"/>
          </a:xfrm>
        </p:spPr>
        <p:txBody>
          <a:bodyPr/>
          <a:lstStyle/>
          <a:p>
            <a:r>
              <a:rPr lang="en-US"/>
              <a:t>Text blocks — arrow leading to</a:t>
            </a:r>
            <a:endParaRPr lang="nl-NL"/>
          </a:p>
        </p:txBody>
      </p:sp>
      <p:sp>
        <p:nvSpPr>
          <p:cNvPr id="5" name="Freeform 3"/>
          <p:cNvSpPr>
            <a:spLocks/>
          </p:cNvSpPr>
          <p:nvPr/>
        </p:nvSpPr>
        <p:spPr bwMode="auto">
          <a:xfrm>
            <a:off x="694890" y="3443015"/>
            <a:ext cx="6229350" cy="1852612"/>
          </a:xfrm>
          <a:custGeom>
            <a:avLst/>
            <a:gdLst>
              <a:gd name="T0" fmla="*/ 0 w 3783"/>
              <a:gd name="T1" fmla="*/ 1237 h 1144"/>
              <a:gd name="T2" fmla="*/ 4896 w 3783"/>
              <a:gd name="T3" fmla="*/ 1237 h 1144"/>
              <a:gd name="T4" fmla="*/ 6031 w 3783"/>
              <a:gd name="T5" fmla="*/ 0 h 1144"/>
              <a:gd name="T6" fmla="*/ 28 w 3783"/>
              <a:gd name="T7" fmla="*/ 0 h 1144"/>
              <a:gd name="T8" fmla="*/ 0 60000 65536"/>
              <a:gd name="T9" fmla="*/ 0 60000 65536"/>
              <a:gd name="T10" fmla="*/ 0 60000 65536"/>
              <a:gd name="T11" fmla="*/ 0 60000 65536"/>
              <a:gd name="T12" fmla="*/ 0 w 3783"/>
              <a:gd name="T13" fmla="*/ 0 h 1144"/>
              <a:gd name="T14" fmla="*/ 3783 w 3783"/>
              <a:gd name="T15" fmla="*/ 1144 h 1144"/>
            </a:gdLst>
            <a:ahLst/>
            <a:cxnLst>
              <a:cxn ang="T8">
                <a:pos x="T0" y="T1"/>
              </a:cxn>
              <a:cxn ang="T9">
                <a:pos x="T2" y="T3"/>
              </a:cxn>
              <a:cxn ang="T10">
                <a:pos x="T4" y="T5"/>
              </a:cxn>
              <a:cxn ang="T11">
                <a:pos x="T6" y="T7"/>
              </a:cxn>
            </a:cxnLst>
            <a:rect l="T12" t="T13" r="T14" b="T15"/>
            <a:pathLst>
              <a:path w="3783" h="1144">
                <a:moveTo>
                  <a:pt x="0" y="1143"/>
                </a:moveTo>
                <a:lnTo>
                  <a:pt x="3070" y="1143"/>
                </a:lnTo>
                <a:lnTo>
                  <a:pt x="3782" y="0"/>
                </a:lnTo>
                <a:lnTo>
                  <a:pt x="18" y="0"/>
                </a:lnTo>
              </a:path>
            </a:pathLst>
          </a:custGeom>
          <a:solidFill>
            <a:srgbClr val="FFFFFF"/>
          </a:solidFill>
          <a:ln w="12700" cap="rnd">
            <a:solidFill>
              <a:schemeClr val="accent3"/>
            </a:solidFill>
            <a:round/>
            <a:headEnd type="none" w="sm" len="sm"/>
            <a:tailEnd type="none" w="sm" len="sm"/>
          </a:ln>
        </p:spPr>
        <p:txBody>
          <a:bodyPr/>
          <a:lstStyle/>
          <a:p>
            <a:pPr>
              <a:buFont typeface="Arial" pitchFamily="34" charset="0"/>
              <a:buChar char="•"/>
              <a:defRPr/>
            </a:pPr>
            <a:endParaRPr lang="en-GB">
              <a:solidFill>
                <a:schemeClr val="tx2"/>
              </a:solidFill>
            </a:endParaRPr>
          </a:p>
        </p:txBody>
      </p:sp>
      <p:sp>
        <p:nvSpPr>
          <p:cNvPr id="6" name="Freeform 4"/>
          <p:cNvSpPr>
            <a:spLocks/>
          </p:cNvSpPr>
          <p:nvPr/>
        </p:nvSpPr>
        <p:spPr bwMode="auto">
          <a:xfrm>
            <a:off x="709177" y="3443015"/>
            <a:ext cx="5688013" cy="1179512"/>
          </a:xfrm>
          <a:custGeom>
            <a:avLst/>
            <a:gdLst>
              <a:gd name="T0" fmla="*/ 0 w 3455"/>
              <a:gd name="T1" fmla="*/ 789 h 728"/>
              <a:gd name="T2" fmla="*/ 4753 w 3455"/>
              <a:gd name="T3" fmla="*/ 789 h 728"/>
              <a:gd name="T4" fmla="*/ 5506 w 3455"/>
              <a:gd name="T5" fmla="*/ 0 h 728"/>
              <a:gd name="T6" fmla="*/ 15 w 3455"/>
              <a:gd name="T7" fmla="*/ 0 h 728"/>
              <a:gd name="T8" fmla="*/ 0 60000 65536"/>
              <a:gd name="T9" fmla="*/ 0 60000 65536"/>
              <a:gd name="T10" fmla="*/ 0 60000 65536"/>
              <a:gd name="T11" fmla="*/ 0 60000 65536"/>
              <a:gd name="T12" fmla="*/ 0 w 3455"/>
              <a:gd name="T13" fmla="*/ 0 h 728"/>
              <a:gd name="T14" fmla="*/ 3455 w 3455"/>
              <a:gd name="T15" fmla="*/ 728 h 728"/>
            </a:gdLst>
            <a:ahLst/>
            <a:cxnLst>
              <a:cxn ang="T8">
                <a:pos x="T0" y="T1"/>
              </a:cxn>
              <a:cxn ang="T9">
                <a:pos x="T2" y="T3"/>
              </a:cxn>
              <a:cxn ang="T10">
                <a:pos x="T4" y="T5"/>
              </a:cxn>
              <a:cxn ang="T11">
                <a:pos x="T6" y="T7"/>
              </a:cxn>
            </a:cxnLst>
            <a:rect l="T12" t="T13" r="T14" b="T15"/>
            <a:pathLst>
              <a:path w="3455" h="728">
                <a:moveTo>
                  <a:pt x="0" y="727"/>
                </a:moveTo>
                <a:lnTo>
                  <a:pt x="2982" y="727"/>
                </a:lnTo>
                <a:lnTo>
                  <a:pt x="3454" y="0"/>
                </a:lnTo>
                <a:lnTo>
                  <a:pt x="10" y="0"/>
                </a:lnTo>
              </a:path>
            </a:pathLst>
          </a:custGeom>
          <a:solidFill>
            <a:srgbClr val="FFFFFF"/>
          </a:solidFill>
          <a:ln w="12700" cap="rnd">
            <a:solidFill>
              <a:schemeClr val="accent3"/>
            </a:solidFill>
            <a:round/>
            <a:headEnd type="none" w="sm" len="sm"/>
            <a:tailEnd type="none" w="sm" len="sm"/>
          </a:ln>
        </p:spPr>
        <p:txBody>
          <a:bodyPr/>
          <a:lstStyle/>
          <a:p>
            <a:pPr>
              <a:buFont typeface="Arial" pitchFamily="34" charset="0"/>
              <a:buChar char="•"/>
              <a:defRPr/>
            </a:pPr>
            <a:endParaRPr lang="en-GB">
              <a:solidFill>
                <a:schemeClr val="tx2"/>
              </a:solidFill>
            </a:endParaRPr>
          </a:p>
        </p:txBody>
      </p:sp>
      <p:sp>
        <p:nvSpPr>
          <p:cNvPr id="7" name="Freeform 5"/>
          <p:cNvSpPr>
            <a:spLocks/>
          </p:cNvSpPr>
          <p:nvPr/>
        </p:nvSpPr>
        <p:spPr bwMode="auto">
          <a:xfrm>
            <a:off x="709177" y="3443015"/>
            <a:ext cx="5108575" cy="584200"/>
          </a:xfrm>
          <a:custGeom>
            <a:avLst/>
            <a:gdLst>
              <a:gd name="T0" fmla="*/ 0 w 3103"/>
              <a:gd name="T1" fmla="*/ 388 h 361"/>
              <a:gd name="T2" fmla="*/ 4629 w 3103"/>
              <a:gd name="T3" fmla="*/ 388 h 361"/>
              <a:gd name="T4" fmla="*/ 4947 w 3103"/>
              <a:gd name="T5" fmla="*/ 0 h 361"/>
              <a:gd name="T6" fmla="*/ 4 w 3103"/>
              <a:gd name="T7" fmla="*/ 0 h 361"/>
              <a:gd name="T8" fmla="*/ 0 60000 65536"/>
              <a:gd name="T9" fmla="*/ 0 60000 65536"/>
              <a:gd name="T10" fmla="*/ 0 60000 65536"/>
              <a:gd name="T11" fmla="*/ 0 60000 65536"/>
              <a:gd name="T12" fmla="*/ 0 w 3103"/>
              <a:gd name="T13" fmla="*/ 0 h 361"/>
              <a:gd name="T14" fmla="*/ 3103 w 3103"/>
              <a:gd name="T15" fmla="*/ 361 h 361"/>
            </a:gdLst>
            <a:ahLst/>
            <a:cxnLst>
              <a:cxn ang="T8">
                <a:pos x="T0" y="T1"/>
              </a:cxn>
              <a:cxn ang="T9">
                <a:pos x="T2" y="T3"/>
              </a:cxn>
              <a:cxn ang="T10">
                <a:pos x="T4" y="T5"/>
              </a:cxn>
              <a:cxn ang="T11">
                <a:pos x="T6" y="T7"/>
              </a:cxn>
            </a:cxnLst>
            <a:rect l="T12" t="T13" r="T14" b="T15"/>
            <a:pathLst>
              <a:path w="3103" h="361">
                <a:moveTo>
                  <a:pt x="0" y="360"/>
                </a:moveTo>
                <a:lnTo>
                  <a:pt x="2902" y="360"/>
                </a:lnTo>
                <a:lnTo>
                  <a:pt x="3102" y="0"/>
                </a:lnTo>
                <a:lnTo>
                  <a:pt x="4" y="0"/>
                </a:lnTo>
              </a:path>
            </a:pathLst>
          </a:custGeom>
          <a:solidFill>
            <a:srgbClr val="FFFFFF"/>
          </a:solidFill>
          <a:ln w="12700" cap="rnd">
            <a:solidFill>
              <a:schemeClr val="accent3"/>
            </a:solidFill>
            <a:round/>
            <a:headEnd type="none" w="sm" len="sm"/>
            <a:tailEnd type="none" w="sm" len="sm"/>
          </a:ln>
        </p:spPr>
        <p:txBody>
          <a:bodyPr/>
          <a:lstStyle/>
          <a:p>
            <a:pPr algn="l">
              <a:buFont typeface="Arial" pitchFamily="34" charset="0"/>
              <a:buChar char="•"/>
              <a:defRPr/>
            </a:pPr>
            <a:endParaRPr lang="en-GB" b="0">
              <a:solidFill>
                <a:schemeClr val="tx2"/>
              </a:solidFill>
            </a:endParaRPr>
          </a:p>
        </p:txBody>
      </p:sp>
      <p:sp>
        <p:nvSpPr>
          <p:cNvPr id="8" name="Freeform 6"/>
          <p:cNvSpPr>
            <a:spLocks/>
          </p:cNvSpPr>
          <p:nvPr/>
        </p:nvSpPr>
        <p:spPr bwMode="auto">
          <a:xfrm>
            <a:off x="682190" y="1591990"/>
            <a:ext cx="6238875" cy="1852612"/>
          </a:xfrm>
          <a:custGeom>
            <a:avLst/>
            <a:gdLst>
              <a:gd name="T0" fmla="*/ 0 w 3789"/>
              <a:gd name="T1" fmla="*/ 0 h 1144"/>
              <a:gd name="T2" fmla="*/ 4905 w 3789"/>
              <a:gd name="T3" fmla="*/ 0 h 1144"/>
              <a:gd name="T4" fmla="*/ 6041 w 3789"/>
              <a:gd name="T5" fmla="*/ 1237 h 1144"/>
              <a:gd name="T6" fmla="*/ 25 w 3789"/>
              <a:gd name="T7" fmla="*/ 1237 h 1144"/>
              <a:gd name="T8" fmla="*/ 0 60000 65536"/>
              <a:gd name="T9" fmla="*/ 0 60000 65536"/>
              <a:gd name="T10" fmla="*/ 0 60000 65536"/>
              <a:gd name="T11" fmla="*/ 0 60000 65536"/>
              <a:gd name="T12" fmla="*/ 0 w 3789"/>
              <a:gd name="T13" fmla="*/ 0 h 1144"/>
              <a:gd name="T14" fmla="*/ 3789 w 3789"/>
              <a:gd name="T15" fmla="*/ 1144 h 1144"/>
            </a:gdLst>
            <a:ahLst/>
            <a:cxnLst>
              <a:cxn ang="T8">
                <a:pos x="T0" y="T1"/>
              </a:cxn>
              <a:cxn ang="T9">
                <a:pos x="T2" y="T3"/>
              </a:cxn>
              <a:cxn ang="T10">
                <a:pos x="T4" y="T5"/>
              </a:cxn>
              <a:cxn ang="T11">
                <a:pos x="T6" y="T7"/>
              </a:cxn>
            </a:cxnLst>
            <a:rect l="T12" t="T13" r="T14" b="T15"/>
            <a:pathLst>
              <a:path w="3789" h="1144">
                <a:moveTo>
                  <a:pt x="0" y="0"/>
                </a:moveTo>
                <a:lnTo>
                  <a:pt x="3075" y="0"/>
                </a:lnTo>
                <a:lnTo>
                  <a:pt x="3788" y="1143"/>
                </a:lnTo>
                <a:lnTo>
                  <a:pt x="16" y="1143"/>
                </a:lnTo>
              </a:path>
            </a:pathLst>
          </a:custGeom>
          <a:solidFill>
            <a:srgbClr val="FFFFFF"/>
          </a:solidFill>
          <a:ln w="12700" cap="rnd">
            <a:solidFill>
              <a:schemeClr val="accent3"/>
            </a:solidFill>
            <a:round/>
            <a:headEnd type="none" w="sm" len="sm"/>
            <a:tailEnd type="none" w="sm" len="sm"/>
          </a:ln>
        </p:spPr>
        <p:txBody>
          <a:bodyPr/>
          <a:lstStyle/>
          <a:p>
            <a:pPr>
              <a:buFont typeface="Arial" pitchFamily="34" charset="0"/>
              <a:buChar char="•"/>
              <a:defRPr/>
            </a:pPr>
            <a:endParaRPr lang="en-GB">
              <a:solidFill>
                <a:schemeClr val="tx2"/>
              </a:solidFill>
            </a:endParaRPr>
          </a:p>
        </p:txBody>
      </p:sp>
      <p:sp>
        <p:nvSpPr>
          <p:cNvPr id="9" name="Freeform 7"/>
          <p:cNvSpPr>
            <a:spLocks/>
          </p:cNvSpPr>
          <p:nvPr/>
        </p:nvSpPr>
        <p:spPr bwMode="auto">
          <a:xfrm>
            <a:off x="709177" y="2265090"/>
            <a:ext cx="5675313" cy="1179512"/>
          </a:xfrm>
          <a:custGeom>
            <a:avLst/>
            <a:gdLst>
              <a:gd name="T0" fmla="*/ 0 w 3447"/>
              <a:gd name="T1" fmla="*/ 0 h 728"/>
              <a:gd name="T2" fmla="*/ 4744 w 3447"/>
              <a:gd name="T3" fmla="*/ 0 h 728"/>
              <a:gd name="T4" fmla="*/ 5498 w 3447"/>
              <a:gd name="T5" fmla="*/ 789 h 728"/>
              <a:gd name="T6" fmla="*/ 0 w 3447"/>
              <a:gd name="T7" fmla="*/ 789 h 728"/>
              <a:gd name="T8" fmla="*/ 0 60000 65536"/>
              <a:gd name="T9" fmla="*/ 0 60000 65536"/>
              <a:gd name="T10" fmla="*/ 0 60000 65536"/>
              <a:gd name="T11" fmla="*/ 0 60000 65536"/>
              <a:gd name="T12" fmla="*/ 0 w 3447"/>
              <a:gd name="T13" fmla="*/ 0 h 728"/>
              <a:gd name="T14" fmla="*/ 3447 w 3447"/>
              <a:gd name="T15" fmla="*/ 728 h 728"/>
            </a:gdLst>
            <a:ahLst/>
            <a:cxnLst>
              <a:cxn ang="T8">
                <a:pos x="T0" y="T1"/>
              </a:cxn>
              <a:cxn ang="T9">
                <a:pos x="T2" y="T3"/>
              </a:cxn>
              <a:cxn ang="T10">
                <a:pos x="T4" y="T5"/>
              </a:cxn>
              <a:cxn ang="T11">
                <a:pos x="T6" y="T7"/>
              </a:cxn>
            </a:cxnLst>
            <a:rect l="T12" t="T13" r="T14" b="T15"/>
            <a:pathLst>
              <a:path w="3447" h="728">
                <a:moveTo>
                  <a:pt x="0" y="0"/>
                </a:moveTo>
                <a:lnTo>
                  <a:pt x="2974" y="0"/>
                </a:lnTo>
                <a:lnTo>
                  <a:pt x="3446" y="727"/>
                </a:lnTo>
                <a:lnTo>
                  <a:pt x="0" y="727"/>
                </a:lnTo>
              </a:path>
            </a:pathLst>
          </a:custGeom>
          <a:solidFill>
            <a:srgbClr val="FFFFFF"/>
          </a:solidFill>
          <a:ln w="12700" cap="rnd">
            <a:solidFill>
              <a:schemeClr val="accent3"/>
            </a:solidFill>
            <a:round/>
            <a:headEnd type="none" w="sm" len="sm"/>
            <a:tailEnd type="none" w="sm" len="sm"/>
          </a:ln>
        </p:spPr>
        <p:txBody>
          <a:bodyPr/>
          <a:lstStyle/>
          <a:p>
            <a:pPr>
              <a:buFont typeface="Arial" pitchFamily="34" charset="0"/>
              <a:buChar char="•"/>
              <a:defRPr/>
            </a:pPr>
            <a:endParaRPr lang="en-GB">
              <a:solidFill>
                <a:schemeClr val="tx2"/>
              </a:solidFill>
            </a:endParaRPr>
          </a:p>
        </p:txBody>
      </p:sp>
      <p:sp>
        <p:nvSpPr>
          <p:cNvPr id="10" name="Freeform 8"/>
          <p:cNvSpPr>
            <a:spLocks/>
          </p:cNvSpPr>
          <p:nvPr/>
        </p:nvSpPr>
        <p:spPr bwMode="auto">
          <a:xfrm>
            <a:off x="694890" y="2860402"/>
            <a:ext cx="5122862" cy="584200"/>
          </a:xfrm>
          <a:custGeom>
            <a:avLst/>
            <a:gdLst>
              <a:gd name="T0" fmla="*/ 0 w 3111"/>
              <a:gd name="T1" fmla="*/ 0 h 361"/>
              <a:gd name="T2" fmla="*/ 4629 w 3111"/>
              <a:gd name="T3" fmla="*/ 0 h 361"/>
              <a:gd name="T4" fmla="*/ 4960 w 3111"/>
              <a:gd name="T5" fmla="*/ 388 h 361"/>
              <a:gd name="T6" fmla="*/ 13 w 3111"/>
              <a:gd name="T7" fmla="*/ 388 h 361"/>
              <a:gd name="T8" fmla="*/ 0 60000 65536"/>
              <a:gd name="T9" fmla="*/ 0 60000 65536"/>
              <a:gd name="T10" fmla="*/ 0 60000 65536"/>
              <a:gd name="T11" fmla="*/ 0 60000 65536"/>
              <a:gd name="T12" fmla="*/ 0 w 3111"/>
              <a:gd name="T13" fmla="*/ 0 h 361"/>
              <a:gd name="T14" fmla="*/ 3111 w 3111"/>
              <a:gd name="T15" fmla="*/ 361 h 361"/>
            </a:gdLst>
            <a:ahLst/>
            <a:cxnLst>
              <a:cxn ang="T8">
                <a:pos x="T0" y="T1"/>
              </a:cxn>
              <a:cxn ang="T9">
                <a:pos x="T2" y="T3"/>
              </a:cxn>
              <a:cxn ang="T10">
                <a:pos x="T4" y="T5"/>
              </a:cxn>
              <a:cxn ang="T11">
                <a:pos x="T6" y="T7"/>
              </a:cxn>
            </a:cxnLst>
            <a:rect l="T12" t="T13" r="T14" b="T15"/>
            <a:pathLst>
              <a:path w="3111" h="361">
                <a:moveTo>
                  <a:pt x="0" y="0"/>
                </a:moveTo>
                <a:lnTo>
                  <a:pt x="2902" y="0"/>
                </a:lnTo>
                <a:lnTo>
                  <a:pt x="3110" y="360"/>
                </a:lnTo>
                <a:lnTo>
                  <a:pt x="9" y="360"/>
                </a:lnTo>
              </a:path>
            </a:pathLst>
          </a:custGeom>
          <a:solidFill>
            <a:srgbClr val="FFFFFF"/>
          </a:solidFill>
          <a:ln w="12700" cap="rnd">
            <a:solidFill>
              <a:schemeClr val="accent3"/>
            </a:solidFill>
            <a:round/>
            <a:headEnd type="none" w="sm" len="sm"/>
            <a:tailEnd type="none" w="sm" len="sm"/>
          </a:ln>
        </p:spPr>
        <p:txBody>
          <a:bodyPr/>
          <a:lstStyle/>
          <a:p>
            <a:pPr>
              <a:buFont typeface="Arial" pitchFamily="34" charset="0"/>
              <a:buChar char="•"/>
              <a:defRPr/>
            </a:pPr>
            <a:endParaRPr lang="en-GB">
              <a:solidFill>
                <a:schemeClr val="tx2"/>
              </a:solidFill>
            </a:endParaRPr>
          </a:p>
        </p:txBody>
      </p:sp>
      <p:sp>
        <p:nvSpPr>
          <p:cNvPr id="591884" name="Rectangle 9"/>
          <p:cNvSpPr>
            <a:spLocks noChangeArrowheads="1"/>
          </p:cNvSpPr>
          <p:nvPr/>
        </p:nvSpPr>
        <p:spPr bwMode="auto">
          <a:xfrm>
            <a:off x="762780" y="1830115"/>
            <a:ext cx="4788501" cy="204671"/>
          </a:xfrm>
          <a:prstGeom prst="rect">
            <a:avLst/>
          </a:prstGeom>
          <a:noFill/>
          <a:ln w="12700">
            <a:noFill/>
            <a:miter lim="800000"/>
            <a:headEnd/>
            <a:tailEnd/>
          </a:ln>
        </p:spPr>
        <p:txBody>
          <a:bodyPr lIns="0" tIns="0" rIns="0" bIns="0" anchor="ctr">
            <a:spAutoFit/>
          </a:bodyPr>
          <a:lstStyle/>
          <a:p>
            <a:pPr marL="117475" indent="-117475" algn="l" defTabSz="769938">
              <a:lnSpc>
                <a:spcPct val="95000"/>
              </a:lnSpc>
              <a:spcBef>
                <a:spcPct val="80000"/>
              </a:spcBef>
              <a:buClr>
                <a:schemeClr val="tx2"/>
              </a:buClr>
              <a:buFont typeface="Arial" charset="0"/>
              <a:buChar char="•"/>
            </a:pPr>
            <a:r>
              <a:rPr lang="en-GB" sz="1400" b="0" dirty="0">
                <a:solidFill>
                  <a:schemeClr val="tx2"/>
                </a:solidFill>
              </a:rPr>
              <a:t>Text</a:t>
            </a:r>
          </a:p>
        </p:txBody>
      </p:sp>
      <p:sp>
        <p:nvSpPr>
          <p:cNvPr id="591885" name="Rectangle 10"/>
          <p:cNvSpPr>
            <a:spLocks noChangeArrowheads="1"/>
          </p:cNvSpPr>
          <p:nvPr/>
        </p:nvSpPr>
        <p:spPr bwMode="auto">
          <a:xfrm>
            <a:off x="762780" y="2463527"/>
            <a:ext cx="4788501" cy="204671"/>
          </a:xfrm>
          <a:prstGeom prst="rect">
            <a:avLst/>
          </a:prstGeom>
          <a:noFill/>
          <a:ln w="12700" algn="ctr">
            <a:noFill/>
            <a:miter lim="800000"/>
            <a:headEnd/>
            <a:tailEnd/>
          </a:ln>
        </p:spPr>
        <p:txBody>
          <a:bodyPr lIns="0" tIns="0" rIns="0" bIns="0" anchor="ctr">
            <a:spAutoFit/>
          </a:bodyPr>
          <a:lstStyle/>
          <a:p>
            <a:pPr marL="117475" indent="-117475" algn="l" defTabSz="769938">
              <a:lnSpc>
                <a:spcPct val="95000"/>
              </a:lnSpc>
              <a:spcBef>
                <a:spcPct val="80000"/>
              </a:spcBef>
              <a:buClr>
                <a:schemeClr val="tx2"/>
              </a:buClr>
              <a:buFont typeface="Arial" charset="0"/>
              <a:buChar char="•"/>
            </a:pPr>
            <a:r>
              <a:rPr lang="en-GB" sz="1400" b="0" dirty="0" smtClean="0">
                <a:solidFill>
                  <a:schemeClr val="tx2"/>
                </a:solidFill>
              </a:rPr>
              <a:t>Text</a:t>
            </a:r>
            <a:endParaRPr lang="en-GB" sz="1400" b="0" dirty="0">
              <a:solidFill>
                <a:schemeClr val="tx2"/>
              </a:solidFill>
            </a:endParaRPr>
          </a:p>
        </p:txBody>
      </p:sp>
      <p:sp>
        <p:nvSpPr>
          <p:cNvPr id="591886" name="Rectangle 11"/>
          <p:cNvSpPr>
            <a:spLocks noChangeArrowheads="1"/>
          </p:cNvSpPr>
          <p:nvPr/>
        </p:nvSpPr>
        <p:spPr bwMode="auto">
          <a:xfrm>
            <a:off x="762780" y="3057252"/>
            <a:ext cx="4788501" cy="204671"/>
          </a:xfrm>
          <a:prstGeom prst="rect">
            <a:avLst/>
          </a:prstGeom>
          <a:noFill/>
          <a:ln w="12700" algn="ctr">
            <a:noFill/>
            <a:miter lim="800000"/>
            <a:headEnd/>
            <a:tailEnd/>
          </a:ln>
        </p:spPr>
        <p:txBody>
          <a:bodyPr lIns="0" tIns="0" rIns="0" bIns="0" anchor="ctr">
            <a:spAutoFit/>
          </a:bodyPr>
          <a:lstStyle/>
          <a:p>
            <a:pPr marL="117475" indent="-117475" algn="l" defTabSz="769938">
              <a:lnSpc>
                <a:spcPct val="95000"/>
              </a:lnSpc>
              <a:spcBef>
                <a:spcPct val="80000"/>
              </a:spcBef>
              <a:buClr>
                <a:schemeClr val="tx2"/>
              </a:buClr>
              <a:buFont typeface="Arial" charset="0"/>
              <a:buChar char="•"/>
            </a:pPr>
            <a:r>
              <a:rPr lang="en-GB" sz="1400" b="0" dirty="0" smtClean="0">
                <a:solidFill>
                  <a:schemeClr val="tx2"/>
                </a:solidFill>
              </a:rPr>
              <a:t>Text</a:t>
            </a:r>
            <a:endParaRPr lang="en-GB" sz="1400" b="0" dirty="0">
              <a:solidFill>
                <a:schemeClr val="tx2"/>
              </a:solidFill>
            </a:endParaRPr>
          </a:p>
        </p:txBody>
      </p:sp>
      <p:sp>
        <p:nvSpPr>
          <p:cNvPr id="591887" name="Rectangle 12"/>
          <p:cNvSpPr>
            <a:spLocks noChangeArrowheads="1"/>
          </p:cNvSpPr>
          <p:nvPr/>
        </p:nvSpPr>
        <p:spPr bwMode="auto">
          <a:xfrm>
            <a:off x="762780" y="3630340"/>
            <a:ext cx="4788501" cy="204671"/>
          </a:xfrm>
          <a:prstGeom prst="rect">
            <a:avLst/>
          </a:prstGeom>
          <a:noFill/>
          <a:ln w="12700" algn="ctr">
            <a:noFill/>
            <a:miter lim="800000"/>
            <a:headEnd/>
            <a:tailEnd/>
          </a:ln>
        </p:spPr>
        <p:txBody>
          <a:bodyPr lIns="0" tIns="0" rIns="0" bIns="0" anchor="ctr">
            <a:spAutoFit/>
          </a:bodyPr>
          <a:lstStyle/>
          <a:p>
            <a:pPr marL="117475" indent="-117475" algn="l" defTabSz="769938">
              <a:lnSpc>
                <a:spcPct val="95000"/>
              </a:lnSpc>
              <a:spcBef>
                <a:spcPct val="80000"/>
              </a:spcBef>
              <a:buClr>
                <a:schemeClr val="tx2"/>
              </a:buClr>
              <a:buFont typeface="Arial" charset="0"/>
              <a:buChar char="•"/>
            </a:pPr>
            <a:r>
              <a:rPr lang="en-GB" sz="1400" b="0" dirty="0" smtClean="0">
                <a:solidFill>
                  <a:schemeClr val="tx2"/>
                </a:solidFill>
              </a:rPr>
              <a:t>Text</a:t>
            </a:r>
            <a:endParaRPr lang="en-GB" sz="1400" b="0" dirty="0">
              <a:solidFill>
                <a:schemeClr val="tx2"/>
              </a:solidFill>
            </a:endParaRPr>
          </a:p>
        </p:txBody>
      </p:sp>
      <p:sp>
        <p:nvSpPr>
          <p:cNvPr id="591888" name="Rectangle 13"/>
          <p:cNvSpPr>
            <a:spLocks noChangeArrowheads="1"/>
          </p:cNvSpPr>
          <p:nvPr/>
        </p:nvSpPr>
        <p:spPr bwMode="auto">
          <a:xfrm>
            <a:off x="762780" y="4224065"/>
            <a:ext cx="4788501" cy="204671"/>
          </a:xfrm>
          <a:prstGeom prst="rect">
            <a:avLst/>
          </a:prstGeom>
          <a:noFill/>
          <a:ln w="12700" algn="ctr">
            <a:noFill/>
            <a:miter lim="800000"/>
            <a:headEnd/>
            <a:tailEnd/>
          </a:ln>
        </p:spPr>
        <p:txBody>
          <a:bodyPr lIns="0" tIns="0" rIns="0" bIns="0" anchor="ctr">
            <a:spAutoFit/>
          </a:bodyPr>
          <a:lstStyle/>
          <a:p>
            <a:pPr marL="117475" indent="-117475" algn="l" defTabSz="769938">
              <a:lnSpc>
                <a:spcPct val="95000"/>
              </a:lnSpc>
              <a:spcBef>
                <a:spcPct val="80000"/>
              </a:spcBef>
              <a:buClr>
                <a:schemeClr val="tx2"/>
              </a:buClr>
              <a:buFont typeface="Arial" charset="0"/>
              <a:buChar char="•"/>
            </a:pPr>
            <a:r>
              <a:rPr lang="en-GB" sz="1400" b="0" dirty="0" smtClean="0">
                <a:solidFill>
                  <a:schemeClr val="tx2"/>
                </a:solidFill>
              </a:rPr>
              <a:t>Text</a:t>
            </a:r>
            <a:endParaRPr lang="en-GB" sz="1400" b="0" dirty="0">
              <a:solidFill>
                <a:schemeClr val="tx2"/>
              </a:solidFill>
            </a:endParaRPr>
          </a:p>
        </p:txBody>
      </p:sp>
      <p:sp>
        <p:nvSpPr>
          <p:cNvPr id="591889" name="Rectangle 14"/>
          <p:cNvSpPr>
            <a:spLocks noChangeArrowheads="1"/>
          </p:cNvSpPr>
          <p:nvPr/>
        </p:nvSpPr>
        <p:spPr bwMode="auto">
          <a:xfrm>
            <a:off x="762780" y="4859065"/>
            <a:ext cx="4788501" cy="204671"/>
          </a:xfrm>
          <a:prstGeom prst="rect">
            <a:avLst/>
          </a:prstGeom>
          <a:noFill/>
          <a:ln w="12700" algn="ctr">
            <a:noFill/>
            <a:miter lim="800000"/>
            <a:headEnd/>
            <a:tailEnd/>
          </a:ln>
        </p:spPr>
        <p:txBody>
          <a:bodyPr lIns="0" tIns="0" rIns="0" bIns="0" anchor="ctr">
            <a:spAutoFit/>
          </a:bodyPr>
          <a:lstStyle/>
          <a:p>
            <a:pPr marL="117475" indent="-117475" algn="l" defTabSz="769938">
              <a:lnSpc>
                <a:spcPct val="95000"/>
              </a:lnSpc>
              <a:spcBef>
                <a:spcPct val="80000"/>
              </a:spcBef>
              <a:buClr>
                <a:schemeClr val="tx2"/>
              </a:buClr>
              <a:buFont typeface="Arial" charset="0"/>
              <a:buChar char="•"/>
            </a:pPr>
            <a:r>
              <a:rPr lang="en-GB" sz="1400" b="0" dirty="0" smtClean="0">
                <a:solidFill>
                  <a:schemeClr val="tx2"/>
                </a:solidFill>
              </a:rPr>
              <a:t>Text</a:t>
            </a:r>
            <a:endParaRPr lang="en-GB" sz="1400" b="0" dirty="0">
              <a:solidFill>
                <a:schemeClr val="tx2"/>
              </a:solidFill>
            </a:endParaRPr>
          </a:p>
        </p:txBody>
      </p:sp>
      <p:sp>
        <p:nvSpPr>
          <p:cNvPr id="17" name="Oval 16"/>
          <p:cNvSpPr>
            <a:spLocks noChangeArrowheads="1"/>
          </p:cNvSpPr>
          <p:nvPr/>
        </p:nvSpPr>
        <p:spPr bwMode="auto">
          <a:xfrm>
            <a:off x="6930590" y="3050902"/>
            <a:ext cx="1528762" cy="792163"/>
          </a:xfrm>
          <a:prstGeom prst="ellipse">
            <a:avLst/>
          </a:prstGeom>
          <a:solidFill>
            <a:schemeClr val="accent3"/>
          </a:solidFill>
          <a:ln w="6350" algn="ctr">
            <a:noFill/>
            <a:round/>
            <a:headEnd/>
            <a:tailEnd/>
          </a:ln>
        </p:spPr>
        <p:txBody>
          <a:bodyPr wrap="none" tIns="91440" bIns="91440" anchor="ctr"/>
          <a:lstStyle/>
          <a:p>
            <a:pPr algn="ctr">
              <a:defRPr/>
            </a:pPr>
            <a:r>
              <a:rPr lang="en-GB" sz="1400" b="1">
                <a:solidFill>
                  <a:schemeClr val="bg1"/>
                </a:solidFill>
                <a:ea typeface="ＭＳ Ｐゴシック" pitchFamily="50" charset="-128"/>
              </a:rPr>
              <a:t>Text</a:t>
            </a:r>
          </a:p>
        </p:txBody>
      </p:sp>
      <p:sp>
        <p:nvSpPr>
          <p:cNvPr id="19"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2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2897" name="Title 1"/>
          <p:cNvSpPr>
            <a:spLocks noGrp="1"/>
          </p:cNvSpPr>
          <p:nvPr>
            <p:ph type="title"/>
          </p:nvPr>
        </p:nvSpPr>
        <p:spPr>
          <a:xfrm>
            <a:off x="414338" y="446038"/>
            <a:ext cx="8330184" cy="333425"/>
          </a:xfrm>
        </p:spPr>
        <p:txBody>
          <a:bodyPr/>
          <a:lstStyle/>
          <a:p>
            <a:r>
              <a:rPr lang="en-US"/>
              <a:t>Text blocks — elements leading to</a:t>
            </a:r>
            <a:endParaRPr lang="nl-NL"/>
          </a:p>
        </p:txBody>
      </p:sp>
      <p:sp>
        <p:nvSpPr>
          <p:cNvPr id="4" name="Rectangle 3"/>
          <p:cNvSpPr>
            <a:spLocks noChangeArrowheads="1"/>
          </p:cNvSpPr>
          <p:nvPr/>
        </p:nvSpPr>
        <p:spPr bwMode="auto">
          <a:xfrm>
            <a:off x="827355" y="1596070"/>
            <a:ext cx="1406525" cy="1371600"/>
          </a:xfrm>
          <a:prstGeom prst="rect">
            <a:avLst/>
          </a:prstGeom>
          <a:solidFill>
            <a:schemeClr val="accent3"/>
          </a:solidFill>
          <a:ln w="19050" algn="ctr">
            <a:noFill/>
            <a:miter lim="800000"/>
            <a:headEnd/>
            <a:tailEnd/>
          </a:ln>
        </p:spPr>
        <p:txBody>
          <a:bodyPr wrap="none" tIns="91440" bIns="91440" anchor="ctr"/>
          <a:lstStyle/>
          <a:p>
            <a:pPr algn="ctr">
              <a:defRPr/>
            </a:pPr>
            <a:r>
              <a:rPr lang="en-GB" sz="1400" b="0">
                <a:solidFill>
                  <a:schemeClr val="bg1"/>
                </a:solidFill>
                <a:ea typeface="ＭＳ Ｐゴシック" pitchFamily="50" charset="-128"/>
              </a:rPr>
              <a:t>Text</a:t>
            </a:r>
            <a:endParaRPr lang="en-GB" altLang="ja-JP" sz="1400" b="0">
              <a:solidFill>
                <a:schemeClr val="bg1"/>
              </a:solidFill>
              <a:ea typeface="ＭＳ Ｐゴシック" pitchFamily="50" charset="-128"/>
            </a:endParaRPr>
          </a:p>
        </p:txBody>
      </p:sp>
      <p:sp>
        <p:nvSpPr>
          <p:cNvPr id="5" name="Rectangle 4"/>
          <p:cNvSpPr>
            <a:spLocks noChangeArrowheads="1"/>
          </p:cNvSpPr>
          <p:nvPr/>
        </p:nvSpPr>
        <p:spPr bwMode="auto">
          <a:xfrm>
            <a:off x="2330240" y="1596070"/>
            <a:ext cx="1406525" cy="1371600"/>
          </a:xfrm>
          <a:prstGeom prst="rect">
            <a:avLst/>
          </a:prstGeom>
          <a:solidFill>
            <a:schemeClr val="accent3"/>
          </a:solidFill>
          <a:ln w="19050" algn="ctr">
            <a:noFill/>
            <a:miter lim="800000"/>
            <a:headEnd/>
            <a:tailEnd/>
          </a:ln>
        </p:spPr>
        <p:txBody>
          <a:bodyPr wrap="none" tIns="91440" bIns="91440" anchor="ctr"/>
          <a:lstStyle/>
          <a:p>
            <a:pPr algn="ctr">
              <a:defRPr/>
            </a:pPr>
            <a:r>
              <a:rPr lang="en-GB" sz="1400" b="0">
                <a:solidFill>
                  <a:schemeClr val="bg1"/>
                </a:solidFill>
                <a:ea typeface="ＭＳ Ｐゴシック" pitchFamily="50" charset="-128"/>
              </a:rPr>
              <a:t>Text</a:t>
            </a:r>
            <a:endParaRPr lang="en-GB" altLang="ja-JP" sz="1400" b="0">
              <a:solidFill>
                <a:schemeClr val="bg1"/>
              </a:solidFill>
              <a:ea typeface="ＭＳ Ｐゴシック" pitchFamily="50" charset="-128"/>
            </a:endParaRPr>
          </a:p>
        </p:txBody>
      </p:sp>
      <p:sp>
        <p:nvSpPr>
          <p:cNvPr id="6" name="Rectangle 5"/>
          <p:cNvSpPr>
            <a:spLocks noChangeArrowheads="1"/>
          </p:cNvSpPr>
          <p:nvPr/>
        </p:nvSpPr>
        <p:spPr bwMode="auto">
          <a:xfrm>
            <a:off x="3832225" y="1596070"/>
            <a:ext cx="1406525" cy="1371600"/>
          </a:xfrm>
          <a:prstGeom prst="rect">
            <a:avLst/>
          </a:prstGeom>
          <a:solidFill>
            <a:schemeClr val="accent3"/>
          </a:solidFill>
          <a:ln w="19050" algn="ctr">
            <a:noFill/>
            <a:miter lim="800000"/>
            <a:headEnd/>
            <a:tailEnd/>
          </a:ln>
        </p:spPr>
        <p:txBody>
          <a:bodyPr wrap="none" tIns="91440" bIns="91440" anchor="ctr"/>
          <a:lstStyle/>
          <a:p>
            <a:pPr algn="ctr">
              <a:defRPr/>
            </a:pPr>
            <a:r>
              <a:rPr lang="en-GB" sz="1400" b="0">
                <a:solidFill>
                  <a:schemeClr val="bg1"/>
                </a:solidFill>
                <a:ea typeface="ＭＳ Ｐゴシック" pitchFamily="50" charset="-128"/>
              </a:rPr>
              <a:t>Text</a:t>
            </a:r>
            <a:endParaRPr lang="en-GB" altLang="ja-JP" sz="1400" b="0">
              <a:solidFill>
                <a:schemeClr val="bg1"/>
              </a:solidFill>
              <a:ea typeface="ＭＳ Ｐゴシック" pitchFamily="50" charset="-128"/>
            </a:endParaRPr>
          </a:p>
        </p:txBody>
      </p:sp>
      <p:sp>
        <p:nvSpPr>
          <p:cNvPr id="7" name="Rectangle 6"/>
          <p:cNvSpPr>
            <a:spLocks noChangeArrowheads="1"/>
          </p:cNvSpPr>
          <p:nvPr/>
        </p:nvSpPr>
        <p:spPr bwMode="auto">
          <a:xfrm>
            <a:off x="827355" y="4491670"/>
            <a:ext cx="1406525" cy="1371600"/>
          </a:xfrm>
          <a:prstGeom prst="rect">
            <a:avLst/>
          </a:prstGeom>
          <a:solidFill>
            <a:schemeClr val="accent3"/>
          </a:solidFill>
          <a:ln w="19050" algn="ctr">
            <a:noFill/>
            <a:miter lim="800000"/>
            <a:headEnd/>
            <a:tailEnd/>
          </a:ln>
        </p:spPr>
        <p:txBody>
          <a:bodyPr wrap="none" tIns="91440" bIns="91440" anchor="ctr"/>
          <a:lstStyle/>
          <a:p>
            <a:pPr algn="ctr">
              <a:defRPr/>
            </a:pPr>
            <a:r>
              <a:rPr lang="en-GB" sz="1400" b="0">
                <a:solidFill>
                  <a:schemeClr val="bg1"/>
                </a:solidFill>
                <a:ea typeface="ＭＳ Ｐゴシック" pitchFamily="50" charset="-128"/>
              </a:rPr>
              <a:t>Text</a:t>
            </a:r>
            <a:endParaRPr lang="en-GB" altLang="ja-JP" sz="1400" b="0">
              <a:solidFill>
                <a:schemeClr val="bg1"/>
              </a:solidFill>
              <a:ea typeface="ＭＳ Ｐゴシック" pitchFamily="50" charset="-128"/>
            </a:endParaRPr>
          </a:p>
        </p:txBody>
      </p:sp>
      <p:sp>
        <p:nvSpPr>
          <p:cNvPr id="8" name="Rectangle 7"/>
          <p:cNvSpPr>
            <a:spLocks noChangeArrowheads="1"/>
          </p:cNvSpPr>
          <p:nvPr/>
        </p:nvSpPr>
        <p:spPr bwMode="auto">
          <a:xfrm>
            <a:off x="2330240" y="4491670"/>
            <a:ext cx="1406525" cy="1371600"/>
          </a:xfrm>
          <a:prstGeom prst="rect">
            <a:avLst/>
          </a:prstGeom>
          <a:solidFill>
            <a:schemeClr val="accent3"/>
          </a:solidFill>
          <a:ln w="19050" algn="ctr">
            <a:noFill/>
            <a:miter lim="800000"/>
            <a:headEnd/>
            <a:tailEnd/>
          </a:ln>
        </p:spPr>
        <p:txBody>
          <a:bodyPr wrap="none" tIns="91440" bIns="91440" anchor="ctr"/>
          <a:lstStyle/>
          <a:p>
            <a:pPr algn="ctr">
              <a:defRPr/>
            </a:pPr>
            <a:r>
              <a:rPr lang="en-GB" sz="1400" b="0">
                <a:solidFill>
                  <a:schemeClr val="bg1"/>
                </a:solidFill>
                <a:ea typeface="ＭＳ Ｐゴシック" pitchFamily="50" charset="-128"/>
              </a:rPr>
              <a:t>Text</a:t>
            </a:r>
            <a:endParaRPr lang="en-GB" altLang="ja-JP" sz="1400" b="0">
              <a:solidFill>
                <a:schemeClr val="bg1"/>
              </a:solidFill>
              <a:ea typeface="ＭＳ Ｐゴシック" pitchFamily="50" charset="-128"/>
            </a:endParaRPr>
          </a:p>
        </p:txBody>
      </p:sp>
      <p:sp>
        <p:nvSpPr>
          <p:cNvPr id="9" name="Rectangle 8"/>
          <p:cNvSpPr>
            <a:spLocks noChangeArrowheads="1"/>
          </p:cNvSpPr>
          <p:nvPr/>
        </p:nvSpPr>
        <p:spPr bwMode="auto">
          <a:xfrm>
            <a:off x="3832225" y="4491670"/>
            <a:ext cx="1406525" cy="1371600"/>
          </a:xfrm>
          <a:prstGeom prst="rect">
            <a:avLst/>
          </a:prstGeom>
          <a:solidFill>
            <a:schemeClr val="accent3"/>
          </a:solidFill>
          <a:ln w="19050" algn="ctr">
            <a:noFill/>
            <a:miter lim="800000"/>
            <a:headEnd/>
            <a:tailEnd/>
          </a:ln>
        </p:spPr>
        <p:txBody>
          <a:bodyPr wrap="none" tIns="91440" bIns="91440" anchor="ctr"/>
          <a:lstStyle/>
          <a:p>
            <a:pPr algn="ctr">
              <a:defRPr/>
            </a:pPr>
            <a:r>
              <a:rPr lang="en-GB" sz="1400" b="0">
                <a:solidFill>
                  <a:schemeClr val="bg1"/>
                </a:solidFill>
                <a:ea typeface="ＭＳ Ｐゴシック" pitchFamily="50" charset="-128"/>
              </a:rPr>
              <a:t>Text</a:t>
            </a:r>
            <a:endParaRPr lang="en-GB" altLang="ja-JP" sz="1400" b="0">
              <a:solidFill>
                <a:schemeClr val="bg1"/>
              </a:solidFill>
              <a:ea typeface="ＭＳ Ｐゴシック" pitchFamily="50" charset="-128"/>
            </a:endParaRPr>
          </a:p>
        </p:txBody>
      </p:sp>
      <p:sp>
        <p:nvSpPr>
          <p:cNvPr id="10" name="Rectangle 9"/>
          <p:cNvSpPr>
            <a:spLocks noChangeArrowheads="1"/>
          </p:cNvSpPr>
          <p:nvPr/>
        </p:nvSpPr>
        <p:spPr bwMode="auto">
          <a:xfrm>
            <a:off x="827355" y="3043870"/>
            <a:ext cx="1406525" cy="1371600"/>
          </a:xfrm>
          <a:prstGeom prst="rect">
            <a:avLst/>
          </a:prstGeom>
          <a:solidFill>
            <a:schemeClr val="accent3"/>
          </a:solidFill>
          <a:ln w="19050" algn="ctr">
            <a:noFill/>
            <a:miter lim="800000"/>
            <a:headEnd/>
            <a:tailEnd/>
          </a:ln>
        </p:spPr>
        <p:txBody>
          <a:bodyPr wrap="none" tIns="91440" bIns="91440" anchor="ctr"/>
          <a:lstStyle/>
          <a:p>
            <a:pPr algn="ctr">
              <a:defRPr/>
            </a:pPr>
            <a:r>
              <a:rPr lang="en-GB" sz="1400" b="0">
                <a:solidFill>
                  <a:schemeClr val="bg1"/>
                </a:solidFill>
                <a:ea typeface="ＭＳ Ｐゴシック" pitchFamily="50" charset="-128"/>
              </a:rPr>
              <a:t>Text</a:t>
            </a:r>
            <a:endParaRPr lang="en-GB" altLang="ja-JP" sz="1400" b="0">
              <a:solidFill>
                <a:schemeClr val="bg1"/>
              </a:solidFill>
              <a:ea typeface="ＭＳ Ｐゴシック" pitchFamily="50" charset="-128"/>
            </a:endParaRPr>
          </a:p>
        </p:txBody>
      </p:sp>
      <p:sp>
        <p:nvSpPr>
          <p:cNvPr id="11" name="Rectangle 10"/>
          <p:cNvSpPr>
            <a:spLocks noChangeArrowheads="1"/>
          </p:cNvSpPr>
          <p:nvPr/>
        </p:nvSpPr>
        <p:spPr bwMode="auto">
          <a:xfrm>
            <a:off x="2330240" y="3043870"/>
            <a:ext cx="1406525" cy="1371600"/>
          </a:xfrm>
          <a:prstGeom prst="rect">
            <a:avLst/>
          </a:prstGeom>
          <a:solidFill>
            <a:schemeClr val="accent3"/>
          </a:solidFill>
          <a:ln w="19050" algn="ctr">
            <a:noFill/>
            <a:miter lim="800000"/>
            <a:headEnd/>
            <a:tailEnd/>
          </a:ln>
        </p:spPr>
        <p:txBody>
          <a:bodyPr wrap="none" tIns="91440" bIns="91440" anchor="ctr"/>
          <a:lstStyle/>
          <a:p>
            <a:pPr algn="ctr">
              <a:defRPr/>
            </a:pPr>
            <a:r>
              <a:rPr lang="en-GB" sz="1400" b="0">
                <a:solidFill>
                  <a:schemeClr val="bg1"/>
                </a:solidFill>
                <a:ea typeface="ＭＳ Ｐゴシック" pitchFamily="50" charset="-128"/>
              </a:rPr>
              <a:t>Text</a:t>
            </a:r>
            <a:endParaRPr lang="en-GB" altLang="ja-JP" sz="1400" b="0">
              <a:solidFill>
                <a:schemeClr val="bg1"/>
              </a:solidFill>
              <a:ea typeface="ＭＳ Ｐゴシック" pitchFamily="50" charset="-128"/>
            </a:endParaRPr>
          </a:p>
        </p:txBody>
      </p:sp>
      <p:sp>
        <p:nvSpPr>
          <p:cNvPr id="12" name="Rectangle 11"/>
          <p:cNvSpPr>
            <a:spLocks noChangeArrowheads="1"/>
          </p:cNvSpPr>
          <p:nvPr/>
        </p:nvSpPr>
        <p:spPr bwMode="auto">
          <a:xfrm>
            <a:off x="3832225" y="3043870"/>
            <a:ext cx="1406525" cy="1371600"/>
          </a:xfrm>
          <a:prstGeom prst="rect">
            <a:avLst/>
          </a:prstGeom>
          <a:solidFill>
            <a:schemeClr val="accent3"/>
          </a:solidFill>
          <a:ln w="19050" algn="ctr">
            <a:noFill/>
            <a:miter lim="800000"/>
            <a:headEnd/>
            <a:tailEnd/>
          </a:ln>
        </p:spPr>
        <p:txBody>
          <a:bodyPr wrap="none" tIns="91440" bIns="91440" anchor="ctr"/>
          <a:lstStyle/>
          <a:p>
            <a:pPr algn="ctr">
              <a:defRPr/>
            </a:pPr>
            <a:r>
              <a:rPr lang="en-GB" sz="1400" b="0">
                <a:solidFill>
                  <a:schemeClr val="bg1"/>
                </a:solidFill>
                <a:ea typeface="ＭＳ Ｐゴシック" pitchFamily="50" charset="-128"/>
              </a:rPr>
              <a:t>Text</a:t>
            </a:r>
            <a:endParaRPr lang="en-GB" altLang="ja-JP" sz="1400" b="0">
              <a:solidFill>
                <a:schemeClr val="bg1"/>
              </a:solidFill>
              <a:ea typeface="ＭＳ Ｐゴシック" pitchFamily="50" charset="-128"/>
            </a:endParaRPr>
          </a:p>
        </p:txBody>
      </p:sp>
      <p:sp>
        <p:nvSpPr>
          <p:cNvPr id="592908" name="AutoShape 12"/>
          <p:cNvSpPr>
            <a:spLocks noChangeArrowheads="1"/>
          </p:cNvSpPr>
          <p:nvPr/>
        </p:nvSpPr>
        <p:spPr bwMode="auto">
          <a:xfrm>
            <a:off x="5313871" y="1596070"/>
            <a:ext cx="612475" cy="4267200"/>
          </a:xfrm>
          <a:prstGeom prst="homePlate">
            <a:avLst>
              <a:gd name="adj" fmla="val 100000"/>
            </a:avLst>
          </a:prstGeom>
          <a:solidFill>
            <a:schemeClr val="accent3"/>
          </a:solidFill>
          <a:ln w="6350" algn="ctr">
            <a:noFill/>
            <a:miter lim="800000"/>
            <a:headEnd/>
            <a:tailEnd/>
          </a:ln>
        </p:spPr>
        <p:txBody>
          <a:bodyPr tIns="91440" bIns="91440" anchor="ctr"/>
          <a:lstStyle/>
          <a:p>
            <a:pPr algn="ctr"/>
            <a:endParaRPr lang="en-GB" sz="1400"/>
          </a:p>
        </p:txBody>
      </p:sp>
      <p:sp>
        <p:nvSpPr>
          <p:cNvPr id="18" name="Rectangle 19"/>
          <p:cNvSpPr>
            <a:spLocks noChangeArrowheads="1"/>
          </p:cNvSpPr>
          <p:nvPr/>
        </p:nvSpPr>
        <p:spPr bwMode="auto">
          <a:xfrm>
            <a:off x="5978525" y="1596070"/>
            <a:ext cx="1898650" cy="4319587"/>
          </a:xfrm>
          <a:prstGeom prst="rect">
            <a:avLst/>
          </a:prstGeom>
          <a:solidFill>
            <a:schemeClr val="accent3"/>
          </a:solidFill>
          <a:ln w="19050" algn="ctr">
            <a:noFill/>
            <a:miter lim="800000"/>
            <a:headEnd/>
            <a:tailEnd/>
          </a:ln>
        </p:spPr>
        <p:txBody>
          <a:bodyPr wrap="none" tIns="91440" bIns="91440" anchor="ctr"/>
          <a:lstStyle/>
          <a:p>
            <a:pPr algn="ctr">
              <a:defRPr/>
            </a:pPr>
            <a:r>
              <a:rPr lang="en-GB" sz="1400" b="0">
                <a:solidFill>
                  <a:schemeClr val="bg1"/>
                </a:solidFill>
                <a:ea typeface="ＭＳ Ｐゴシック" pitchFamily="50" charset="-128"/>
              </a:rPr>
              <a:t>Text</a:t>
            </a:r>
            <a:endParaRPr lang="en-GB" altLang="ja-JP" sz="1400" b="0">
              <a:solidFill>
                <a:schemeClr val="bg1"/>
              </a:solidFill>
              <a:ea typeface="ＭＳ Ｐゴシック" pitchFamily="50" charset="-128"/>
            </a:endParaRPr>
          </a:p>
        </p:txBody>
      </p:sp>
      <p:sp>
        <p:nvSpPr>
          <p:cNvPr id="17"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2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2"/>
          <p:cNvGrpSpPr>
            <a:grpSpLocks/>
          </p:cNvGrpSpPr>
          <p:nvPr>
            <p:custDataLst>
              <p:tags r:id="rId2"/>
            </p:custDataLst>
          </p:nvPr>
        </p:nvGrpSpPr>
        <p:grpSpPr bwMode="auto">
          <a:xfrm>
            <a:off x="384175" y="3723341"/>
            <a:ext cx="3179763" cy="1892300"/>
            <a:chOff x="300" y="872"/>
            <a:chExt cx="1847" cy="1384"/>
          </a:xfrm>
        </p:grpSpPr>
        <p:sp>
          <p:nvSpPr>
            <p:cNvPr id="233489" name="Text Box 10"/>
            <p:cNvSpPr txBox="1">
              <a:spLocks noChangeArrowheads="1"/>
            </p:cNvSpPr>
            <p:nvPr/>
          </p:nvSpPr>
          <p:spPr bwMode="auto">
            <a:xfrm>
              <a:off x="300" y="872"/>
              <a:ext cx="1847" cy="199"/>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algn="l" defTabSz="957263">
                <a:spcBef>
                  <a:spcPts val="400"/>
                </a:spcBef>
              </a:pPr>
              <a:r>
                <a:rPr lang="en-US" sz="1400" dirty="0">
                  <a:solidFill>
                    <a:srgbClr val="FFFFFF"/>
                  </a:solidFill>
                </a:rPr>
                <a:t>Text</a:t>
              </a:r>
            </a:p>
          </p:txBody>
        </p:sp>
        <p:sp>
          <p:nvSpPr>
            <p:cNvPr id="32" name="Rectangle 31"/>
            <p:cNvSpPr>
              <a:spLocks noChangeArrowheads="1"/>
            </p:cNvSpPr>
            <p:nvPr/>
          </p:nvSpPr>
          <p:spPr bwMode="auto">
            <a:xfrm>
              <a:off x="300" y="1071"/>
              <a:ext cx="1847" cy="1185"/>
            </a:xfrm>
            <a:prstGeom prst="rect">
              <a:avLst/>
            </a:prstGeom>
            <a:noFill/>
            <a:ln w="12700" algn="ctr">
              <a:solidFill>
                <a:schemeClr val="accent3"/>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Text</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344488" lvl="2" indent="-153988"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endParaRPr lang="nl-NL" sz="1400" b="0" dirty="0">
                <a:solidFill>
                  <a:srgbClr val="002776"/>
                </a:solidFill>
                <a:latin typeface="Arial"/>
              </a:endParaRPr>
            </a:p>
          </p:txBody>
        </p:sp>
      </p:grpSp>
      <p:sp>
        <p:nvSpPr>
          <p:cNvPr id="233476" name="Title 1"/>
          <p:cNvSpPr>
            <a:spLocks noGrp="1"/>
          </p:cNvSpPr>
          <p:nvPr>
            <p:ph type="title"/>
            <p:custDataLst>
              <p:tags r:id="rId3"/>
            </p:custDataLst>
          </p:nvPr>
        </p:nvSpPr>
        <p:spPr>
          <a:xfrm>
            <a:off x="414338" y="446038"/>
            <a:ext cx="8330184" cy="333425"/>
          </a:xfrm>
        </p:spPr>
        <p:txBody>
          <a:bodyPr/>
          <a:lstStyle/>
          <a:p>
            <a:r>
              <a:rPr lang="en-GB" altLang="ja-JP">
                <a:ea typeface="ＭＳ Ｐゴシック" charset="-128"/>
                <a:cs typeface="Arial" charset="0"/>
              </a:rPr>
              <a:t>Text b</a:t>
            </a:r>
            <a:r>
              <a:rPr lang="en-GB">
                <a:ea typeface="ＭＳ Ｐゴシック" charset="-128"/>
                <a:cs typeface="Arial" charset="0"/>
              </a:rPr>
              <a:t>locks </a:t>
            </a:r>
            <a:r>
              <a:rPr lang="en-US"/>
              <a:t>—</a:t>
            </a:r>
            <a:r>
              <a:rPr lang="en-GB" smtClean="0">
                <a:ea typeface="ＭＳ Ｐゴシック" charset="-128"/>
                <a:cs typeface="Arial" charset="0"/>
              </a:rPr>
              <a:t> </a:t>
            </a:r>
            <a:r>
              <a:rPr lang="en-GB">
                <a:ea typeface="ＭＳ Ｐゴシック" charset="-128"/>
                <a:cs typeface="Arial" charset="0"/>
              </a:rPr>
              <a:t>interrelated</a:t>
            </a:r>
            <a:endParaRPr lang="nl-NL">
              <a:ea typeface="ＭＳ Ｐゴシック" charset="-128"/>
              <a:cs typeface="Arial" charset="0"/>
            </a:endParaRPr>
          </a:p>
        </p:txBody>
      </p:sp>
      <p:sp>
        <p:nvSpPr>
          <p:cNvPr id="5" name="Freeform 3"/>
          <p:cNvSpPr>
            <a:spLocks/>
          </p:cNvSpPr>
          <p:nvPr/>
        </p:nvSpPr>
        <p:spPr bwMode="blackWhite">
          <a:xfrm>
            <a:off x="3644816" y="2533729"/>
            <a:ext cx="1091134" cy="958752"/>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accent3"/>
          </a:solidFill>
          <a:ln w="12700" cap="rnd">
            <a:solidFill>
              <a:schemeClr val="bg1"/>
            </a:solidFill>
            <a:round/>
            <a:headEnd/>
            <a:tailEnd/>
          </a:ln>
        </p:spPr>
        <p:txBody>
          <a:bodyPr/>
          <a:lstStyle/>
          <a:p>
            <a:pPr>
              <a:defRPr/>
            </a:pPr>
            <a:endParaRPr lang="en-GB" dirty="0"/>
          </a:p>
        </p:txBody>
      </p:sp>
      <p:sp>
        <p:nvSpPr>
          <p:cNvPr id="6" name="Freeform 4"/>
          <p:cNvSpPr>
            <a:spLocks/>
          </p:cNvSpPr>
          <p:nvPr/>
        </p:nvSpPr>
        <p:spPr bwMode="blackWhite">
          <a:xfrm>
            <a:off x="4374648" y="3732169"/>
            <a:ext cx="1066359" cy="963013"/>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accent3"/>
          </a:solidFill>
          <a:ln w="12700" cap="rnd">
            <a:solidFill>
              <a:schemeClr val="bg1"/>
            </a:solidFill>
            <a:round/>
            <a:headEnd/>
            <a:tailEnd/>
          </a:ln>
        </p:spPr>
        <p:txBody>
          <a:bodyPr/>
          <a:lstStyle/>
          <a:p>
            <a:pPr>
              <a:defRPr/>
            </a:pPr>
            <a:endParaRPr lang="en-GB" dirty="0">
              <a:solidFill>
                <a:schemeClr val="accent1"/>
              </a:solidFill>
            </a:endParaRPr>
          </a:p>
        </p:txBody>
      </p:sp>
      <p:sp>
        <p:nvSpPr>
          <p:cNvPr id="7" name="Freeform 5"/>
          <p:cNvSpPr>
            <a:spLocks/>
          </p:cNvSpPr>
          <p:nvPr/>
        </p:nvSpPr>
        <p:spPr bwMode="blackWhite">
          <a:xfrm>
            <a:off x="3518876" y="3381692"/>
            <a:ext cx="960033" cy="1145176"/>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accent3"/>
          </a:solidFill>
          <a:ln w="12700" cap="rnd">
            <a:solidFill>
              <a:schemeClr val="bg1"/>
            </a:solidFill>
            <a:round/>
            <a:headEnd/>
            <a:tailEnd/>
          </a:ln>
        </p:spPr>
        <p:txBody>
          <a:bodyPr/>
          <a:lstStyle/>
          <a:p>
            <a:pPr>
              <a:defRPr/>
            </a:pPr>
            <a:endParaRPr lang="en-GB"/>
          </a:p>
        </p:txBody>
      </p:sp>
      <p:sp>
        <p:nvSpPr>
          <p:cNvPr id="8" name="Freeform 6"/>
          <p:cNvSpPr>
            <a:spLocks/>
          </p:cNvSpPr>
          <p:nvPr/>
        </p:nvSpPr>
        <p:spPr bwMode="blackWhite">
          <a:xfrm>
            <a:off x="4639947" y="2684999"/>
            <a:ext cx="973453" cy="1134523"/>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3"/>
          </a:solidFill>
          <a:ln w="12700" cap="rnd">
            <a:solidFill>
              <a:schemeClr val="bg1"/>
            </a:solidFill>
            <a:round/>
            <a:headEnd/>
            <a:tailEnd/>
          </a:ln>
        </p:spPr>
        <p:txBody>
          <a:bodyPr/>
          <a:lstStyle/>
          <a:p>
            <a:pPr>
              <a:defRPr/>
            </a:pPr>
            <a:endParaRPr lang="en-GB"/>
          </a:p>
        </p:txBody>
      </p:sp>
      <p:grpSp>
        <p:nvGrpSpPr>
          <p:cNvPr id="4" name="Group 12"/>
          <p:cNvGrpSpPr>
            <a:grpSpLocks/>
          </p:cNvGrpSpPr>
          <p:nvPr>
            <p:custDataLst>
              <p:tags r:id="rId4"/>
            </p:custDataLst>
          </p:nvPr>
        </p:nvGrpSpPr>
        <p:grpSpPr bwMode="auto">
          <a:xfrm>
            <a:off x="5568950" y="1586855"/>
            <a:ext cx="3179763" cy="1892300"/>
            <a:chOff x="300" y="872"/>
            <a:chExt cx="1847" cy="1384"/>
          </a:xfrm>
        </p:grpSpPr>
        <p:sp>
          <p:nvSpPr>
            <p:cNvPr id="233487" name="Text Box 10"/>
            <p:cNvSpPr txBox="1">
              <a:spLocks noChangeArrowheads="1"/>
            </p:cNvSpPr>
            <p:nvPr/>
          </p:nvSpPr>
          <p:spPr bwMode="auto">
            <a:xfrm>
              <a:off x="300" y="872"/>
              <a:ext cx="1847" cy="199"/>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algn="l" defTabSz="957263">
                <a:spcBef>
                  <a:spcPts val="400"/>
                </a:spcBef>
              </a:pPr>
              <a:r>
                <a:rPr lang="en-US" sz="1400" dirty="0">
                  <a:solidFill>
                    <a:srgbClr val="FFFFFF"/>
                  </a:solidFill>
                </a:rPr>
                <a:t>Text</a:t>
              </a:r>
            </a:p>
          </p:txBody>
        </p:sp>
        <p:sp>
          <p:nvSpPr>
            <p:cNvPr id="29" name="Rectangle 28"/>
            <p:cNvSpPr>
              <a:spLocks noChangeArrowheads="1"/>
            </p:cNvSpPr>
            <p:nvPr/>
          </p:nvSpPr>
          <p:spPr bwMode="auto">
            <a:xfrm>
              <a:off x="300" y="1071"/>
              <a:ext cx="1847" cy="1185"/>
            </a:xfrm>
            <a:prstGeom prst="rect">
              <a:avLst/>
            </a:prstGeom>
            <a:noFill/>
            <a:ln w="12700" algn="ctr">
              <a:solidFill>
                <a:schemeClr val="accent3"/>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Text</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344488" lvl="2" indent="-153988"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endParaRPr lang="nl-NL" sz="1400" b="0" dirty="0">
                <a:solidFill>
                  <a:srgbClr val="002776"/>
                </a:solidFill>
                <a:latin typeface="Arial"/>
              </a:endParaRPr>
            </a:p>
          </p:txBody>
        </p:sp>
      </p:grpSp>
      <p:grpSp>
        <p:nvGrpSpPr>
          <p:cNvPr id="9" name="Group 12"/>
          <p:cNvGrpSpPr>
            <a:grpSpLocks/>
          </p:cNvGrpSpPr>
          <p:nvPr>
            <p:custDataLst>
              <p:tags r:id="rId5"/>
            </p:custDataLst>
          </p:nvPr>
        </p:nvGrpSpPr>
        <p:grpSpPr bwMode="auto">
          <a:xfrm>
            <a:off x="5568950" y="3714105"/>
            <a:ext cx="3179763" cy="1892300"/>
            <a:chOff x="300" y="872"/>
            <a:chExt cx="1847" cy="1384"/>
          </a:xfrm>
        </p:grpSpPr>
        <p:sp>
          <p:nvSpPr>
            <p:cNvPr id="233485" name="Text Box 10"/>
            <p:cNvSpPr txBox="1">
              <a:spLocks noChangeArrowheads="1"/>
            </p:cNvSpPr>
            <p:nvPr/>
          </p:nvSpPr>
          <p:spPr bwMode="auto">
            <a:xfrm>
              <a:off x="300" y="872"/>
              <a:ext cx="1847" cy="199"/>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algn="l" defTabSz="957263">
                <a:spcBef>
                  <a:spcPts val="400"/>
                </a:spcBef>
              </a:pPr>
              <a:r>
                <a:rPr lang="en-US" sz="1400" dirty="0">
                  <a:solidFill>
                    <a:srgbClr val="FFFFFF"/>
                  </a:solidFill>
                </a:rPr>
                <a:t>Text</a:t>
              </a:r>
            </a:p>
          </p:txBody>
        </p:sp>
        <p:sp>
          <p:nvSpPr>
            <p:cNvPr id="35" name="Rectangle 34"/>
            <p:cNvSpPr>
              <a:spLocks noChangeArrowheads="1"/>
            </p:cNvSpPr>
            <p:nvPr/>
          </p:nvSpPr>
          <p:spPr bwMode="auto">
            <a:xfrm>
              <a:off x="300" y="1071"/>
              <a:ext cx="1847" cy="1185"/>
            </a:xfrm>
            <a:prstGeom prst="rect">
              <a:avLst/>
            </a:prstGeom>
            <a:noFill/>
            <a:ln w="12700" algn="ctr">
              <a:solidFill>
                <a:schemeClr val="accent3"/>
              </a:solidFill>
              <a:miter lim="800000"/>
              <a:headEnd/>
              <a:tailEnd/>
            </a:ln>
          </p:spPr>
          <p:txBody>
            <a:bodyPr lIns="40118" tIns="40118" rIns="40118" bIns="40118"/>
            <a:lstStyle/>
            <a:p>
              <a:pPr marL="58738" algn="l" defTabSz="957998">
                <a:spcBef>
                  <a:spcPts val="400"/>
                </a:spcBef>
                <a:spcAft>
                  <a:spcPts val="0"/>
                </a:spcAft>
                <a:defRPr/>
              </a:pPr>
              <a:r>
                <a:rPr lang="nl-NL" sz="1400" b="0" dirty="0" smtClean="0">
                  <a:solidFill>
                    <a:srgbClr val="002776"/>
                  </a:solidFill>
                  <a:latin typeface="Arial"/>
                </a:rPr>
                <a:t>Text</a:t>
              </a:r>
            </a:p>
            <a:p>
              <a:pPr marL="168275" lvl="1" indent="-109538" algn="l" defTabSz="957998">
                <a:spcBef>
                  <a:spcPts val="400"/>
                </a:spcBef>
                <a:spcAft>
                  <a:spcPts val="0"/>
                </a:spcAft>
                <a:buFont typeface="Arial" charset="0"/>
                <a:buChar char="•"/>
                <a:defRPr/>
              </a:pPr>
              <a:r>
                <a:rPr lang="nl-NL" sz="1400" b="0" dirty="0" smtClean="0">
                  <a:solidFill>
                    <a:srgbClr val="002776"/>
                  </a:solidFill>
                  <a:latin typeface="Arial"/>
                </a:rPr>
                <a:t>Bullet</a:t>
              </a:r>
            </a:p>
            <a:p>
              <a:pPr marL="344488" lvl="2" indent="-153988"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endParaRPr lang="nl-NL" sz="1400" b="0" dirty="0">
                <a:solidFill>
                  <a:srgbClr val="002776"/>
                </a:solidFill>
                <a:latin typeface="Arial"/>
              </a:endParaRPr>
            </a:p>
          </p:txBody>
        </p:sp>
      </p:grpSp>
      <p:grpSp>
        <p:nvGrpSpPr>
          <p:cNvPr id="10" name="Group 12"/>
          <p:cNvGrpSpPr>
            <a:grpSpLocks/>
          </p:cNvGrpSpPr>
          <p:nvPr>
            <p:custDataLst>
              <p:tags r:id="rId6"/>
            </p:custDataLst>
          </p:nvPr>
        </p:nvGrpSpPr>
        <p:grpSpPr bwMode="auto">
          <a:xfrm>
            <a:off x="384175" y="1584978"/>
            <a:ext cx="3179763" cy="1890713"/>
            <a:chOff x="300" y="872"/>
            <a:chExt cx="1847" cy="1384"/>
          </a:xfrm>
        </p:grpSpPr>
        <p:sp>
          <p:nvSpPr>
            <p:cNvPr id="233483"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l" defTabSz="957263">
                <a:spcBef>
                  <a:spcPts val="400"/>
                </a:spcBef>
              </a:pPr>
              <a:r>
                <a:rPr lang="en-US" sz="1400" dirty="0">
                  <a:solidFill>
                    <a:srgbClr val="FFFFFF"/>
                  </a:solidFill>
                </a:rPr>
                <a:t>Text</a:t>
              </a:r>
            </a:p>
          </p:txBody>
        </p:sp>
        <p:sp>
          <p:nvSpPr>
            <p:cNvPr id="25" name="Rectangle 24"/>
            <p:cNvSpPr>
              <a:spLocks noChangeArrowheads="1"/>
            </p:cNvSpPr>
            <p:nvPr/>
          </p:nvSpPr>
          <p:spPr bwMode="auto">
            <a:xfrm>
              <a:off x="300" y="1071"/>
              <a:ext cx="1847" cy="1185"/>
            </a:xfrm>
            <a:prstGeom prst="rect">
              <a:avLst/>
            </a:prstGeom>
            <a:noFill/>
            <a:ln w="12700" algn="ctr">
              <a:solidFill>
                <a:srgbClr val="00A1DE"/>
              </a:solidFill>
              <a:miter lim="800000"/>
              <a:headEnd/>
              <a:tailEnd/>
            </a:ln>
          </p:spPr>
          <p:txBody>
            <a:bodyPr lIns="40118" tIns="40118" rIns="40118" bIns="40118"/>
            <a:lstStyle/>
            <a:p>
              <a:pPr marL="58738" algn="l" defTabSz="957998">
                <a:spcBef>
                  <a:spcPts val="400"/>
                </a:spcBef>
                <a:spcAft>
                  <a:spcPts val="0"/>
                </a:spcAft>
                <a:defRPr/>
              </a:pPr>
              <a:r>
                <a:rPr lang="nl-NL" sz="1400" b="0" dirty="0">
                  <a:solidFill>
                    <a:srgbClr val="002776"/>
                  </a:solidFill>
                  <a:latin typeface="Arial"/>
                  <a:cs typeface="+mn-cs"/>
                </a:rPr>
                <a:t>Text</a:t>
              </a:r>
            </a:p>
            <a:p>
              <a:pPr marL="168275" lvl="1" indent="-109538" algn="l" defTabSz="957998">
                <a:spcBef>
                  <a:spcPts val="400"/>
                </a:spcBef>
                <a:spcAft>
                  <a:spcPts val="0"/>
                </a:spcAft>
                <a:buFont typeface="Arial" charset="0"/>
                <a:buChar char="•"/>
                <a:defRPr/>
              </a:pPr>
              <a:r>
                <a:rPr lang="nl-NL" sz="1400" b="0" dirty="0">
                  <a:solidFill>
                    <a:srgbClr val="002776"/>
                  </a:solidFill>
                  <a:latin typeface="Arial"/>
                  <a:ea typeface="+mj-ea"/>
                  <a:cs typeface="+mj-cs"/>
                </a:rPr>
                <a:t>Bullet</a:t>
              </a:r>
            </a:p>
            <a:p>
              <a:pPr marL="344488" lvl="2" indent="-153988" algn="l" defTabSz="957998">
                <a:spcBef>
                  <a:spcPts val="400"/>
                </a:spcBef>
                <a:spcAft>
                  <a:spcPts val="0"/>
                </a:spcAft>
                <a:buFont typeface="Arial" charset="0"/>
                <a:buChar char="‒"/>
                <a:defRPr/>
              </a:pPr>
              <a:r>
                <a:rPr lang="nl-NL" sz="1200" b="0" dirty="0">
                  <a:solidFill>
                    <a:srgbClr val="002776"/>
                  </a:solidFill>
                  <a:latin typeface="Arial"/>
                  <a:ea typeface="+mj-ea"/>
                  <a:cs typeface="+mj-cs"/>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ea typeface="+mj-ea"/>
                  <a:cs typeface="+mj-cs"/>
                </a:rPr>
                <a:t>Subbullet</a:t>
              </a:r>
              <a:endParaRPr lang="nl-NL" sz="1400" b="0" dirty="0">
                <a:solidFill>
                  <a:srgbClr val="002776"/>
                </a:solidFill>
                <a:latin typeface="Arial"/>
                <a:cs typeface="+mn-cs"/>
              </a:endParaRPr>
            </a:p>
          </p:txBody>
        </p:sp>
      </p:grpSp>
      <p:graphicFrame>
        <p:nvGraphicFramePr>
          <p:cNvPr id="233474" name="Rectangle 2" hidden="1"/>
          <p:cNvGraphicFramePr>
            <a:graphicFrameLocks/>
          </p:cNvGraphicFramePr>
          <p:nvPr>
            <p:custDataLst>
              <p:tags r:id="rId7"/>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4339" name="think-cell Slide" r:id="rId10" imgW="0" imgH="0" progId="">
                  <p:embed/>
                </p:oleObj>
              </mc:Choice>
              <mc:Fallback>
                <p:oleObj name="think-cell Slide" r:id="rId10"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 name="Text Placeholder 12"/>
          <p:cNvSpPr>
            <a:spLocks/>
          </p:cNvSpPr>
          <p:nvPr>
            <p:custDataLst>
              <p:tags r:id="rId8"/>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26"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1937"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123" name="think-cell Slide" r:id="rId78" imgW="0" imgH="0" progId="">
                  <p:embed/>
                </p:oleObj>
              </mc:Choice>
              <mc:Fallback>
                <p:oleObj name="think-cell Slide" r:id="rId7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51938" name="Title 1"/>
          <p:cNvSpPr>
            <a:spLocks noGrp="1"/>
          </p:cNvSpPr>
          <p:nvPr>
            <p:ph type="title"/>
            <p:custDataLst>
              <p:tags r:id="rId3"/>
            </p:custDataLst>
          </p:nvPr>
        </p:nvSpPr>
        <p:spPr>
          <a:xfrm>
            <a:off x="414338" y="101600"/>
            <a:ext cx="8330184" cy="1000274"/>
          </a:xfrm>
        </p:spPr>
        <p:txBody>
          <a:bodyPr anchor="b"/>
          <a:lstStyle/>
          <a:p>
            <a:r>
              <a:rPr lang="en-US" dirty="0"/>
              <a:t>Use this page to locate your charts, then switch </a:t>
            </a:r>
            <a:r>
              <a:rPr lang="en-US" dirty="0" smtClean="0"/>
              <a:t/>
            </a:r>
            <a:br>
              <a:rPr lang="en-US" dirty="0" smtClean="0"/>
            </a:br>
            <a:r>
              <a:rPr lang="en-US" dirty="0" smtClean="0"/>
              <a:t>to </a:t>
            </a:r>
            <a:r>
              <a:rPr lang="en-US" dirty="0"/>
              <a:t>slide sorter mode and copy the charts you need </a:t>
            </a:r>
            <a:r>
              <a:rPr lang="en-US" dirty="0" smtClean="0"/>
              <a:t/>
            </a:r>
            <a:br>
              <a:rPr lang="en-US" dirty="0" smtClean="0"/>
            </a:br>
            <a:r>
              <a:rPr lang="en-US" dirty="0" smtClean="0"/>
              <a:t>into </a:t>
            </a:r>
            <a:r>
              <a:rPr lang="en-US" dirty="0"/>
              <a:t>your document</a:t>
            </a:r>
          </a:p>
        </p:txBody>
      </p:sp>
      <p:sp>
        <p:nvSpPr>
          <p:cNvPr id="6" name="Rectangle 4"/>
          <p:cNvSpPr>
            <a:spLocks noChangeArrowheads="1"/>
          </p:cNvSpPr>
          <p:nvPr>
            <p:custDataLst>
              <p:tags r:id="rId4"/>
            </p:custDataLst>
          </p:nvPr>
        </p:nvSpPr>
        <p:spPr bwMode="auto">
          <a:xfrm>
            <a:off x="384175" y="3675063"/>
            <a:ext cx="1395413" cy="400050"/>
          </a:xfrm>
          <a:prstGeom prst="rect">
            <a:avLst/>
          </a:prstGeom>
          <a:solidFill>
            <a:schemeClr val="bg1"/>
          </a:solidFill>
          <a:ln w="9525"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rPr>
              <a:t>Charts</a:t>
            </a:r>
          </a:p>
        </p:txBody>
      </p:sp>
      <p:sp>
        <p:nvSpPr>
          <p:cNvPr id="552009" name="Text Box 71"/>
          <p:cNvSpPr txBox="1">
            <a:spLocks noChangeArrowheads="1"/>
          </p:cNvSpPr>
          <p:nvPr>
            <p:custDataLst>
              <p:tags r:id="rId5"/>
            </p:custDataLst>
          </p:nvPr>
        </p:nvSpPr>
        <p:spPr bwMode="auto">
          <a:xfrm>
            <a:off x="200027" y="4274191"/>
            <a:ext cx="1579561" cy="1929759"/>
          </a:xfrm>
          <a:prstGeom prst="rect">
            <a:avLst/>
          </a:prstGeom>
          <a:noFill/>
          <a:ln w="12700" algn="ctr">
            <a:solidFill>
              <a:schemeClr val="tx2"/>
            </a:solidFill>
            <a:miter lim="800000"/>
            <a:headEnd/>
            <a:tailEnd/>
          </a:ln>
        </p:spPr>
        <p:txBody>
          <a:bodyPr wrap="square" tIns="91440" bIns="91440">
            <a:spAutoFit/>
          </a:bodyPr>
          <a:lstStyle/>
          <a:p>
            <a:pPr algn="l"/>
            <a:r>
              <a:rPr lang="en-GB" sz="900" b="0" dirty="0">
                <a:solidFill>
                  <a:schemeClr val="tx2"/>
                </a:solidFill>
                <a:ea typeface="ＭＳ Ｐゴシック" charset="-128"/>
              </a:rPr>
              <a:t>Tip! Two fast ways to locate your </a:t>
            </a:r>
            <a:r>
              <a:rPr lang="en-GB" sz="900" b="0" dirty="0" err="1">
                <a:solidFill>
                  <a:schemeClr val="tx2"/>
                </a:solidFill>
                <a:ea typeface="ＭＳ Ｐゴシック" charset="-128"/>
              </a:rPr>
              <a:t>favorite</a:t>
            </a:r>
            <a:r>
              <a:rPr lang="en-GB" sz="900" b="0" dirty="0">
                <a:solidFill>
                  <a:schemeClr val="tx2"/>
                </a:solidFill>
                <a:ea typeface="ＭＳ Ｐゴシック" charset="-128"/>
              </a:rPr>
              <a:t> </a:t>
            </a:r>
            <a:r>
              <a:rPr lang="en-GB" sz="900" b="0" dirty="0" smtClean="0">
                <a:solidFill>
                  <a:schemeClr val="tx2"/>
                </a:solidFill>
                <a:ea typeface="ＭＳ Ｐゴシック" charset="-128"/>
              </a:rPr>
              <a:t>slide:</a:t>
            </a:r>
            <a:endParaRPr lang="en-GB" sz="900" b="0" dirty="0">
              <a:solidFill>
                <a:schemeClr val="tx2"/>
              </a:solidFill>
              <a:ea typeface="ＭＳ Ｐゴシック" charset="-128"/>
            </a:endParaRPr>
          </a:p>
          <a:p>
            <a:pPr marL="177800" indent="-177800" algn="l">
              <a:buFontTx/>
              <a:buAutoNum type="arabicPeriod"/>
            </a:pPr>
            <a:r>
              <a:rPr lang="en-GB" sz="900" b="0" dirty="0">
                <a:solidFill>
                  <a:schemeClr val="tx2"/>
                </a:solidFill>
                <a:ea typeface="ＭＳ Ｐゴシック" charset="-128"/>
              </a:rPr>
              <a:t>Switch to </a:t>
            </a:r>
            <a:r>
              <a:rPr lang="en-GB" sz="900" dirty="0">
                <a:solidFill>
                  <a:schemeClr val="tx2"/>
                </a:solidFill>
                <a:ea typeface="ＭＳ Ｐゴシック" charset="-128"/>
              </a:rPr>
              <a:t>slide show view (Shift F5) </a:t>
            </a:r>
            <a:r>
              <a:rPr lang="en-GB" sz="900" b="0" dirty="0">
                <a:solidFill>
                  <a:schemeClr val="tx2"/>
                </a:solidFill>
                <a:ea typeface="ＭＳ Ｐゴシック" charset="-128"/>
              </a:rPr>
              <a:t>and  click on the box of </a:t>
            </a:r>
            <a:r>
              <a:rPr lang="en-GB" sz="900" b="0" dirty="0" smtClean="0">
                <a:solidFill>
                  <a:schemeClr val="tx2"/>
                </a:solidFill>
                <a:ea typeface="ＭＳ Ｐゴシック" charset="-128"/>
              </a:rPr>
              <a:t/>
            </a:r>
            <a:br>
              <a:rPr lang="en-GB" sz="900" b="0" dirty="0" smtClean="0">
                <a:solidFill>
                  <a:schemeClr val="tx2"/>
                </a:solidFill>
                <a:ea typeface="ＭＳ Ｐゴシック" charset="-128"/>
              </a:rPr>
            </a:br>
            <a:r>
              <a:rPr lang="en-GB" sz="900" b="0" dirty="0" smtClean="0">
                <a:solidFill>
                  <a:schemeClr val="tx2"/>
                </a:solidFill>
                <a:ea typeface="ＭＳ Ｐゴシック" charset="-128"/>
              </a:rPr>
              <a:t>your </a:t>
            </a:r>
            <a:r>
              <a:rPr lang="en-GB" sz="900" b="0" dirty="0">
                <a:solidFill>
                  <a:schemeClr val="tx2"/>
                </a:solidFill>
                <a:ea typeface="ＭＳ Ｐゴシック" charset="-128"/>
              </a:rPr>
              <a:t>choice</a:t>
            </a:r>
          </a:p>
          <a:p>
            <a:pPr marL="177800" indent="-177800" algn="l">
              <a:buFontTx/>
              <a:buAutoNum type="arabicPeriod"/>
            </a:pPr>
            <a:r>
              <a:rPr lang="en-GB" sz="900" b="0" dirty="0">
                <a:solidFill>
                  <a:schemeClr val="tx2"/>
                </a:solidFill>
                <a:ea typeface="ＭＳ Ｐゴシック" charset="-128"/>
              </a:rPr>
              <a:t>Stay in normal view, right click on the appropriate </a:t>
            </a:r>
            <a:r>
              <a:rPr lang="en-GB" sz="900" b="0" dirty="0" smtClean="0">
                <a:solidFill>
                  <a:schemeClr val="tx2"/>
                </a:solidFill>
                <a:ea typeface="ＭＳ Ｐゴシック" charset="-128"/>
              </a:rPr>
              <a:t>text </a:t>
            </a:r>
            <a:r>
              <a:rPr lang="en-GB" sz="900" b="0" dirty="0">
                <a:solidFill>
                  <a:schemeClr val="tx2"/>
                </a:solidFill>
                <a:ea typeface="ＭＳ Ｐゴシック" charset="-128"/>
              </a:rPr>
              <a:t>and select Open Hyperlink</a:t>
            </a:r>
          </a:p>
          <a:p>
            <a:pPr algn="l"/>
            <a:r>
              <a:rPr lang="en-GB" sz="900" b="0" dirty="0">
                <a:solidFill>
                  <a:schemeClr val="tx2"/>
                </a:solidFill>
                <a:ea typeface="ＭＳ Ｐゴシック" charset="-128"/>
              </a:rPr>
              <a:t>Press </a:t>
            </a:r>
            <a:r>
              <a:rPr lang="en-GB" sz="900" dirty="0">
                <a:solidFill>
                  <a:schemeClr val="tx2"/>
                </a:solidFill>
                <a:ea typeface="ＭＳ Ｐゴシック" charset="-128"/>
              </a:rPr>
              <a:t>Home</a:t>
            </a:r>
            <a:r>
              <a:rPr lang="en-GB" sz="900" b="0" dirty="0">
                <a:solidFill>
                  <a:schemeClr val="tx2"/>
                </a:solidFill>
                <a:ea typeface="ＭＳ Ｐゴシック" charset="-128"/>
              </a:rPr>
              <a:t> - </a:t>
            </a:r>
            <a:r>
              <a:rPr lang="en-GB" sz="900" dirty="0" smtClean="0">
                <a:solidFill>
                  <a:schemeClr val="tx2"/>
                </a:solidFill>
                <a:ea typeface="ＭＳ Ｐゴシック" charset="-128"/>
              </a:rPr>
              <a:t>Pg </a:t>
            </a:r>
            <a:r>
              <a:rPr lang="en-GB" sz="900" dirty="0" err="1" smtClean="0">
                <a:solidFill>
                  <a:schemeClr val="tx2"/>
                </a:solidFill>
                <a:ea typeface="ＭＳ Ｐゴシック" charset="-128"/>
              </a:rPr>
              <a:t>Dn</a:t>
            </a:r>
            <a:r>
              <a:rPr lang="en-GB" sz="900" dirty="0" smtClean="0">
                <a:solidFill>
                  <a:schemeClr val="tx2"/>
                </a:solidFill>
                <a:ea typeface="ＭＳ Ｐゴシック" charset="-128"/>
              </a:rPr>
              <a:t> </a:t>
            </a:r>
            <a:r>
              <a:rPr lang="en-GB" sz="900" b="0" dirty="0" smtClean="0">
                <a:solidFill>
                  <a:schemeClr val="tx2"/>
                </a:solidFill>
                <a:ea typeface="ＭＳ Ｐゴシック" charset="-128"/>
              </a:rPr>
              <a:t>- </a:t>
            </a:r>
            <a:r>
              <a:rPr lang="en-GB" sz="900" dirty="0" smtClean="0">
                <a:solidFill>
                  <a:schemeClr val="tx2"/>
                </a:solidFill>
                <a:ea typeface="ＭＳ Ｐゴシック" charset="-128"/>
              </a:rPr>
              <a:t>Pg </a:t>
            </a:r>
            <a:r>
              <a:rPr lang="en-GB" sz="900" dirty="0" err="1">
                <a:solidFill>
                  <a:schemeClr val="tx2"/>
                </a:solidFill>
                <a:ea typeface="ＭＳ Ｐゴシック" charset="-128"/>
              </a:rPr>
              <a:t>D</a:t>
            </a:r>
            <a:r>
              <a:rPr lang="en-GB" sz="900" b="0" dirty="0" err="1">
                <a:solidFill>
                  <a:schemeClr val="tx2"/>
                </a:solidFill>
                <a:ea typeface="ＭＳ Ｐゴシック" charset="-128"/>
              </a:rPr>
              <a:t>n</a:t>
            </a:r>
            <a:r>
              <a:rPr lang="en-GB" sz="900" b="0" dirty="0">
                <a:solidFill>
                  <a:schemeClr val="tx2"/>
                </a:solidFill>
                <a:ea typeface="ＭＳ Ｐゴシック" charset="-128"/>
              </a:rPr>
              <a:t> to return to this </a:t>
            </a:r>
            <a:r>
              <a:rPr lang="en-GB" sz="900" b="0" dirty="0" smtClean="0">
                <a:solidFill>
                  <a:schemeClr val="tx2"/>
                </a:solidFill>
                <a:ea typeface="ＭＳ Ｐゴシック" charset="-128"/>
              </a:rPr>
              <a:t>page.</a:t>
            </a:r>
            <a:endParaRPr lang="en-GB" sz="900" b="0" dirty="0">
              <a:solidFill>
                <a:schemeClr val="tx2"/>
              </a:solidFill>
              <a:ea typeface="ＭＳ Ｐゴシック" charset="-128"/>
            </a:endParaRPr>
          </a:p>
        </p:txBody>
      </p:sp>
      <p:grpSp>
        <p:nvGrpSpPr>
          <p:cNvPr id="78" name="Group 77"/>
          <p:cNvGrpSpPr/>
          <p:nvPr/>
        </p:nvGrpSpPr>
        <p:grpSpPr>
          <a:xfrm>
            <a:off x="1779588" y="1398588"/>
            <a:ext cx="6959600" cy="4949825"/>
            <a:chOff x="1779588" y="1360488"/>
            <a:chExt cx="6959600" cy="4949825"/>
          </a:xfrm>
        </p:grpSpPr>
        <p:sp>
          <p:nvSpPr>
            <p:cNvPr id="4" name="Rectangle 2">
              <a:hlinkClick r:id="rId79" action="ppaction://hlinksldjump"/>
            </p:cNvPr>
            <p:cNvSpPr>
              <a:spLocks noChangeArrowheads="1"/>
            </p:cNvSpPr>
            <p:nvPr>
              <p:custDataLst>
                <p:tags r:id="rId6"/>
              </p:custDataLst>
            </p:nvPr>
          </p:nvSpPr>
          <p:spPr bwMode="auto">
            <a:xfrm>
              <a:off x="2201863" y="1487488"/>
              <a:ext cx="1395412" cy="400050"/>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dirty="0">
                  <a:ea typeface="ＭＳ Ｐゴシック" pitchFamily="50" charset="-128"/>
                  <a:hlinkClick r:id="rId80" action="ppaction://hlinksldjump"/>
                </a:rPr>
                <a:t>Structured </a:t>
              </a:r>
              <a:r>
                <a:rPr lang="en-GB" altLang="ja-JP" sz="1000" dirty="0" smtClean="0">
                  <a:ea typeface="ＭＳ Ｐゴシック" pitchFamily="50" charset="-128"/>
                  <a:hlinkClick r:id="rId80" action="ppaction://hlinksldjump"/>
                </a:rPr>
                <a:t>text</a:t>
              </a:r>
              <a:endParaRPr lang="en-GB" altLang="ja-JP" sz="1000" dirty="0">
                <a:ea typeface="ＭＳ Ｐゴシック" pitchFamily="50" charset="-128"/>
                <a:hlinkClick r:id="rId81" action="ppaction://hlinksldjump"/>
              </a:endParaRPr>
            </a:p>
          </p:txBody>
        </p:sp>
        <p:sp>
          <p:nvSpPr>
            <p:cNvPr id="5" name="Rectangle 3"/>
            <p:cNvSpPr>
              <a:spLocks noChangeArrowheads="1"/>
            </p:cNvSpPr>
            <p:nvPr>
              <p:custDataLst>
                <p:tags r:id="rId7"/>
              </p:custDataLst>
            </p:nvPr>
          </p:nvSpPr>
          <p:spPr bwMode="auto">
            <a:xfrm>
              <a:off x="2201863" y="3636963"/>
              <a:ext cx="1397000" cy="400050"/>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82" action="ppaction://hlinksldjump"/>
                </a:rPr>
                <a:t>Shapes</a:t>
              </a:r>
              <a:endParaRPr lang="en-GB" altLang="ja-JP" sz="1000">
                <a:solidFill>
                  <a:schemeClr val="tx2"/>
                </a:solidFill>
                <a:ea typeface="ＭＳ Ｐゴシック" pitchFamily="50" charset="-128"/>
              </a:endParaRPr>
            </a:p>
          </p:txBody>
        </p:sp>
        <p:cxnSp>
          <p:nvCxnSpPr>
            <p:cNvPr id="7" name="AutoShape 5"/>
            <p:cNvCxnSpPr>
              <a:cxnSpLocks noChangeShapeType="1"/>
              <a:stCxn id="4" idx="1"/>
              <a:endCxn id="6" idx="3"/>
            </p:cNvCxnSpPr>
            <p:nvPr>
              <p:custDataLst>
                <p:tags r:id="rId8"/>
              </p:custDataLst>
            </p:nvPr>
          </p:nvCxnSpPr>
          <p:spPr bwMode="auto">
            <a:xfrm rot="10800000" flipV="1">
              <a:off x="1779589" y="1687513"/>
              <a:ext cx="422275" cy="2159000"/>
            </a:xfrm>
            <a:prstGeom prst="bentConnector3">
              <a:avLst>
                <a:gd name="adj1" fmla="val 50000"/>
              </a:avLst>
            </a:prstGeom>
            <a:noFill/>
            <a:ln w="12700">
              <a:solidFill>
                <a:schemeClr val="tx1"/>
              </a:solidFill>
              <a:miter lim="800000"/>
              <a:headEnd/>
              <a:tailEnd/>
            </a:ln>
          </p:spPr>
        </p:cxnSp>
        <p:cxnSp>
          <p:nvCxnSpPr>
            <p:cNvPr id="8" name="AutoShape 6"/>
            <p:cNvCxnSpPr>
              <a:cxnSpLocks noChangeShapeType="1"/>
              <a:stCxn id="6" idx="3"/>
              <a:endCxn id="5" idx="1"/>
            </p:cNvCxnSpPr>
            <p:nvPr>
              <p:custDataLst>
                <p:tags r:id="rId9"/>
              </p:custDataLst>
            </p:nvPr>
          </p:nvCxnSpPr>
          <p:spPr bwMode="auto">
            <a:xfrm flipV="1">
              <a:off x="1779588" y="3836988"/>
              <a:ext cx="422275" cy="9525"/>
            </a:xfrm>
            <a:prstGeom prst="straightConnector1">
              <a:avLst/>
            </a:prstGeom>
            <a:noFill/>
            <a:ln w="12700">
              <a:solidFill>
                <a:schemeClr val="tx1"/>
              </a:solidFill>
              <a:miter lim="800000"/>
              <a:headEnd/>
              <a:tailEnd/>
            </a:ln>
          </p:spPr>
        </p:cxnSp>
        <p:sp>
          <p:nvSpPr>
            <p:cNvPr id="9" name="Rectangle 7"/>
            <p:cNvSpPr>
              <a:spLocks noChangeArrowheads="1"/>
            </p:cNvSpPr>
            <p:nvPr>
              <p:custDataLst>
                <p:tags r:id="rId10"/>
              </p:custDataLst>
            </p:nvPr>
          </p:nvSpPr>
          <p:spPr bwMode="auto">
            <a:xfrm>
              <a:off x="2201863" y="2921000"/>
              <a:ext cx="1397000" cy="400050"/>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83" action="ppaction://hlinksldjump"/>
                </a:rPr>
                <a:t>Graphs</a:t>
              </a:r>
              <a:endParaRPr lang="en-GB" altLang="ja-JP" sz="1000">
                <a:solidFill>
                  <a:schemeClr val="tx2"/>
                </a:solidFill>
                <a:ea typeface="ＭＳ Ｐゴシック" pitchFamily="50" charset="-128"/>
              </a:endParaRPr>
            </a:p>
          </p:txBody>
        </p:sp>
        <p:sp>
          <p:nvSpPr>
            <p:cNvPr id="10" name="Rectangle 8"/>
            <p:cNvSpPr>
              <a:spLocks noChangeArrowheads="1"/>
            </p:cNvSpPr>
            <p:nvPr>
              <p:custDataLst>
                <p:tags r:id="rId11"/>
              </p:custDataLst>
            </p:nvPr>
          </p:nvSpPr>
          <p:spPr bwMode="auto">
            <a:xfrm>
              <a:off x="2201863" y="5070475"/>
              <a:ext cx="1395412" cy="400050"/>
            </a:xfrm>
            <a:prstGeom prst="rect">
              <a:avLst/>
            </a:prstGeom>
            <a:solidFill>
              <a:schemeClr val="bg1"/>
            </a:solidFill>
            <a:ln w="12700" algn="ctr">
              <a:solidFill>
                <a:schemeClr val="accent3"/>
              </a:solidFill>
              <a:miter lim="800000"/>
              <a:headEnd/>
              <a:tailEnd/>
            </a:ln>
          </p:spPr>
          <p:txBody>
            <a:bodyPr tIns="91440" bIns="91440" anchor="ctr"/>
            <a:lstStyle/>
            <a:p>
              <a:pPr marL="342900" indent="-342900" algn="ctr">
                <a:lnSpc>
                  <a:spcPct val="94000"/>
                </a:lnSpc>
                <a:spcAft>
                  <a:spcPct val="36000"/>
                </a:spcAft>
                <a:defRPr/>
              </a:pPr>
              <a:r>
                <a:rPr lang="en-GB" altLang="ja-JP" sz="1000" dirty="0">
                  <a:solidFill>
                    <a:schemeClr val="tx2"/>
                  </a:solidFill>
                  <a:ea typeface="ＭＳ Ｐゴシック" pitchFamily="50" charset="-128"/>
                  <a:hlinkClick r:id="rId84" action="ppaction://hlinksldjump"/>
                </a:rPr>
                <a:t>Special </a:t>
              </a:r>
              <a:r>
                <a:rPr lang="en-GB" altLang="ja-JP" sz="1000" dirty="0" smtClean="0">
                  <a:solidFill>
                    <a:schemeClr val="tx2"/>
                  </a:solidFill>
                  <a:ea typeface="ＭＳ Ｐゴシック" pitchFamily="50" charset="-128"/>
                  <a:hlinkClick r:id="rId84" action="ppaction://hlinksldjump"/>
                </a:rPr>
                <a:t>graphics</a:t>
              </a:r>
              <a:endParaRPr lang="en-GB" altLang="ja-JP" sz="1000" dirty="0">
                <a:solidFill>
                  <a:schemeClr val="tx2"/>
                </a:solidFill>
                <a:ea typeface="ＭＳ Ｐゴシック" pitchFamily="50" charset="-128"/>
              </a:endParaRPr>
            </a:p>
          </p:txBody>
        </p:sp>
        <p:sp>
          <p:nvSpPr>
            <p:cNvPr id="11" name="Rectangle 9"/>
            <p:cNvSpPr>
              <a:spLocks noChangeArrowheads="1"/>
            </p:cNvSpPr>
            <p:nvPr>
              <p:custDataLst>
                <p:tags r:id="rId12"/>
              </p:custDataLst>
            </p:nvPr>
          </p:nvSpPr>
          <p:spPr bwMode="auto">
            <a:xfrm>
              <a:off x="2201863" y="2182813"/>
              <a:ext cx="1395412" cy="400050"/>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81" action="ppaction://hlinksldjump"/>
                </a:rPr>
                <a:t>Trees</a:t>
              </a:r>
              <a:endParaRPr lang="en-GB" altLang="ja-JP" sz="1000">
                <a:solidFill>
                  <a:schemeClr val="tx2"/>
                </a:solidFill>
                <a:ea typeface="ＭＳ Ｐゴシック" pitchFamily="50" charset="-128"/>
              </a:endParaRPr>
            </a:p>
          </p:txBody>
        </p:sp>
        <p:sp>
          <p:nvSpPr>
            <p:cNvPr id="12" name="Rectangle 10"/>
            <p:cNvSpPr>
              <a:spLocks noChangeArrowheads="1"/>
            </p:cNvSpPr>
            <p:nvPr>
              <p:custDataLst>
                <p:tags r:id="rId13"/>
              </p:custDataLst>
            </p:nvPr>
          </p:nvSpPr>
          <p:spPr bwMode="auto">
            <a:xfrm>
              <a:off x="2201863" y="4354513"/>
              <a:ext cx="1395412" cy="400050"/>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85" action="ppaction://hlinksldjump"/>
                </a:rPr>
                <a:t>Maps</a:t>
              </a:r>
              <a:endParaRPr lang="en-GB" altLang="ja-JP" sz="1000">
                <a:solidFill>
                  <a:schemeClr val="tx2"/>
                </a:solidFill>
                <a:ea typeface="ＭＳ Ｐゴシック" pitchFamily="50" charset="-128"/>
              </a:endParaRPr>
            </a:p>
          </p:txBody>
        </p:sp>
        <p:sp>
          <p:nvSpPr>
            <p:cNvPr id="13" name="Rectangle 11"/>
            <p:cNvSpPr>
              <a:spLocks noChangeArrowheads="1"/>
            </p:cNvSpPr>
            <p:nvPr>
              <p:custDataLst>
                <p:tags r:id="rId14"/>
              </p:custDataLst>
            </p:nvPr>
          </p:nvSpPr>
          <p:spPr bwMode="auto">
            <a:xfrm>
              <a:off x="2201863" y="5788025"/>
              <a:ext cx="1397000" cy="400050"/>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dirty="0">
                  <a:solidFill>
                    <a:schemeClr val="tx2"/>
                  </a:solidFill>
                  <a:ea typeface="ＭＳ Ｐゴシック" pitchFamily="50" charset="-128"/>
                  <a:hlinkClick r:id="rId86" action="ppaction://hlinksldjump"/>
                </a:rPr>
                <a:t>Conceptual </a:t>
              </a:r>
              <a:r>
                <a:rPr lang="en-GB" altLang="ja-JP" sz="1000" dirty="0" smtClean="0">
                  <a:solidFill>
                    <a:schemeClr val="tx2"/>
                  </a:solidFill>
                  <a:ea typeface="ＭＳ Ｐゴシック" pitchFamily="50" charset="-128"/>
                  <a:hlinkClick r:id="rId86" action="ppaction://hlinksldjump"/>
                </a:rPr>
                <a:t>charts</a:t>
              </a:r>
              <a:endParaRPr lang="en-GB" altLang="ja-JP" sz="1000" dirty="0">
                <a:solidFill>
                  <a:schemeClr val="tx2"/>
                </a:solidFill>
                <a:ea typeface="ＭＳ Ｐゴシック" pitchFamily="50" charset="-128"/>
              </a:endParaRPr>
            </a:p>
          </p:txBody>
        </p:sp>
        <p:cxnSp>
          <p:nvCxnSpPr>
            <p:cNvPr id="14" name="AutoShape 12"/>
            <p:cNvCxnSpPr>
              <a:cxnSpLocks noChangeShapeType="1"/>
              <a:stCxn id="11" idx="1"/>
              <a:endCxn id="6" idx="3"/>
            </p:cNvCxnSpPr>
            <p:nvPr>
              <p:custDataLst>
                <p:tags r:id="rId15"/>
              </p:custDataLst>
            </p:nvPr>
          </p:nvCxnSpPr>
          <p:spPr bwMode="auto">
            <a:xfrm rot="10800000" flipV="1">
              <a:off x="1779589" y="2382837"/>
              <a:ext cx="422275" cy="1463675"/>
            </a:xfrm>
            <a:prstGeom prst="bentConnector3">
              <a:avLst>
                <a:gd name="adj1" fmla="val 50000"/>
              </a:avLst>
            </a:prstGeom>
            <a:noFill/>
            <a:ln w="12700">
              <a:solidFill>
                <a:schemeClr val="tx1"/>
              </a:solidFill>
              <a:miter lim="800000"/>
              <a:headEnd/>
              <a:tailEnd/>
            </a:ln>
          </p:spPr>
        </p:cxnSp>
        <p:cxnSp>
          <p:nvCxnSpPr>
            <p:cNvPr id="15" name="AutoShape 13"/>
            <p:cNvCxnSpPr>
              <a:cxnSpLocks noChangeShapeType="1"/>
              <a:stCxn id="9" idx="1"/>
              <a:endCxn id="6" idx="3"/>
            </p:cNvCxnSpPr>
            <p:nvPr>
              <p:custDataLst>
                <p:tags r:id="rId16"/>
              </p:custDataLst>
            </p:nvPr>
          </p:nvCxnSpPr>
          <p:spPr bwMode="auto">
            <a:xfrm rot="10800000" flipV="1">
              <a:off x="1779589" y="3121025"/>
              <a:ext cx="422275" cy="725488"/>
            </a:xfrm>
            <a:prstGeom prst="bentConnector3">
              <a:avLst>
                <a:gd name="adj1" fmla="val 50000"/>
              </a:avLst>
            </a:prstGeom>
            <a:noFill/>
            <a:ln w="12700">
              <a:solidFill>
                <a:schemeClr val="tx1"/>
              </a:solidFill>
              <a:miter lim="800000"/>
              <a:headEnd/>
              <a:tailEnd/>
            </a:ln>
          </p:spPr>
        </p:cxnSp>
        <p:cxnSp>
          <p:nvCxnSpPr>
            <p:cNvPr id="16" name="AutoShape 14"/>
            <p:cNvCxnSpPr>
              <a:cxnSpLocks noChangeShapeType="1"/>
              <a:stCxn id="12" idx="1"/>
              <a:endCxn id="6" idx="3"/>
            </p:cNvCxnSpPr>
            <p:nvPr>
              <p:custDataLst>
                <p:tags r:id="rId17"/>
              </p:custDataLst>
            </p:nvPr>
          </p:nvCxnSpPr>
          <p:spPr bwMode="auto">
            <a:xfrm rot="10800000">
              <a:off x="1779589" y="3846514"/>
              <a:ext cx="422275" cy="708025"/>
            </a:xfrm>
            <a:prstGeom prst="bentConnector3">
              <a:avLst>
                <a:gd name="adj1" fmla="val 50000"/>
              </a:avLst>
            </a:prstGeom>
            <a:noFill/>
            <a:ln w="12700">
              <a:solidFill>
                <a:schemeClr val="tx1"/>
              </a:solidFill>
              <a:miter lim="800000"/>
              <a:headEnd/>
              <a:tailEnd/>
            </a:ln>
          </p:spPr>
        </p:cxnSp>
        <p:cxnSp>
          <p:nvCxnSpPr>
            <p:cNvPr id="17" name="AutoShape 15"/>
            <p:cNvCxnSpPr>
              <a:cxnSpLocks noChangeShapeType="1"/>
              <a:stCxn id="10" idx="1"/>
              <a:endCxn id="6" idx="3"/>
            </p:cNvCxnSpPr>
            <p:nvPr>
              <p:custDataLst>
                <p:tags r:id="rId18"/>
              </p:custDataLst>
            </p:nvPr>
          </p:nvCxnSpPr>
          <p:spPr bwMode="auto">
            <a:xfrm rot="10800000">
              <a:off x="1779589" y="3846514"/>
              <a:ext cx="422275" cy="1423987"/>
            </a:xfrm>
            <a:prstGeom prst="bentConnector3">
              <a:avLst>
                <a:gd name="adj1" fmla="val 50000"/>
              </a:avLst>
            </a:prstGeom>
            <a:noFill/>
            <a:ln w="12700">
              <a:solidFill>
                <a:schemeClr val="tx1"/>
              </a:solidFill>
              <a:miter lim="800000"/>
              <a:headEnd/>
              <a:tailEnd/>
            </a:ln>
          </p:spPr>
        </p:cxnSp>
        <p:cxnSp>
          <p:nvCxnSpPr>
            <p:cNvPr id="18" name="AutoShape 16"/>
            <p:cNvCxnSpPr>
              <a:cxnSpLocks noChangeShapeType="1"/>
            </p:cNvCxnSpPr>
            <p:nvPr>
              <p:custDataLst>
                <p:tags r:id="rId19"/>
              </p:custDataLst>
            </p:nvPr>
          </p:nvCxnSpPr>
          <p:spPr bwMode="auto">
            <a:xfrm rot="10800000">
              <a:off x="1779590" y="3846513"/>
              <a:ext cx="422275" cy="2151062"/>
            </a:xfrm>
            <a:prstGeom prst="bentConnector3">
              <a:avLst>
                <a:gd name="adj1" fmla="val 50000"/>
              </a:avLst>
            </a:prstGeom>
            <a:noFill/>
            <a:ln w="12700">
              <a:solidFill>
                <a:schemeClr val="tx1"/>
              </a:solidFill>
              <a:miter lim="800000"/>
              <a:headEnd/>
              <a:tailEnd/>
            </a:ln>
          </p:spPr>
        </p:cxnSp>
        <p:sp>
          <p:nvSpPr>
            <p:cNvPr id="19" name="Rectangle 17"/>
            <p:cNvSpPr>
              <a:spLocks noChangeArrowheads="1"/>
            </p:cNvSpPr>
            <p:nvPr>
              <p:custDataLst>
                <p:tags r:id="rId20"/>
              </p:custDataLst>
            </p:nvPr>
          </p:nvSpPr>
          <p:spPr bwMode="auto">
            <a:xfrm>
              <a:off x="3879850" y="2794000"/>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87" action="ppaction://hlinksldjump"/>
                </a:rPr>
                <a:t>Bars</a:t>
              </a:r>
              <a:endParaRPr lang="en-GB" altLang="ja-JP" sz="1000">
                <a:solidFill>
                  <a:schemeClr val="tx2"/>
                </a:solidFill>
                <a:ea typeface="ＭＳ Ｐゴシック" pitchFamily="50" charset="-128"/>
              </a:endParaRPr>
            </a:p>
          </p:txBody>
        </p:sp>
        <p:sp>
          <p:nvSpPr>
            <p:cNvPr id="20" name="Rectangle 18"/>
            <p:cNvSpPr>
              <a:spLocks noChangeArrowheads="1"/>
            </p:cNvSpPr>
            <p:nvPr>
              <p:custDataLst>
                <p:tags r:id="rId21"/>
              </p:custDataLst>
            </p:nvPr>
          </p:nvSpPr>
          <p:spPr bwMode="auto">
            <a:xfrm>
              <a:off x="3879850" y="3152775"/>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88" action="ppaction://hlinksldjump"/>
                </a:rPr>
                <a:t>Columns</a:t>
              </a:r>
              <a:endParaRPr lang="en-GB" altLang="ja-JP" sz="1000">
                <a:solidFill>
                  <a:schemeClr val="tx2"/>
                </a:solidFill>
                <a:ea typeface="ＭＳ Ｐゴシック" pitchFamily="50" charset="-128"/>
              </a:endParaRPr>
            </a:p>
          </p:txBody>
        </p:sp>
        <p:sp>
          <p:nvSpPr>
            <p:cNvPr id="21" name="Rectangle 19"/>
            <p:cNvSpPr>
              <a:spLocks noChangeArrowheads="1"/>
            </p:cNvSpPr>
            <p:nvPr>
              <p:custDataLst>
                <p:tags r:id="rId22"/>
              </p:custDataLst>
            </p:nvPr>
          </p:nvSpPr>
          <p:spPr bwMode="auto">
            <a:xfrm>
              <a:off x="3879850" y="1360488"/>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nl-NL" altLang="ja-JP" sz="1000">
                  <a:solidFill>
                    <a:schemeClr val="tx2"/>
                  </a:solidFill>
                  <a:ea typeface="ＭＳ Ｐゴシック" pitchFamily="50" charset="-128"/>
                  <a:hlinkClick r:id="rId89" action="ppaction://hlinksldjump"/>
                </a:rPr>
                <a:t>Tables</a:t>
              </a:r>
              <a:endParaRPr lang="nl-NL" altLang="ja-JP" sz="1000">
                <a:solidFill>
                  <a:schemeClr val="tx2"/>
                </a:solidFill>
                <a:ea typeface="ＭＳ Ｐゴシック" pitchFamily="50" charset="-128"/>
              </a:endParaRPr>
            </a:p>
          </p:txBody>
        </p:sp>
        <p:sp>
          <p:nvSpPr>
            <p:cNvPr id="22" name="Rectangle 20"/>
            <p:cNvSpPr>
              <a:spLocks noChangeArrowheads="1"/>
            </p:cNvSpPr>
            <p:nvPr>
              <p:custDataLst>
                <p:tags r:id="rId23"/>
              </p:custDataLst>
            </p:nvPr>
          </p:nvSpPr>
          <p:spPr bwMode="auto">
            <a:xfrm>
              <a:off x="5122863" y="1360488"/>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dirty="0">
                  <a:solidFill>
                    <a:schemeClr val="tx2"/>
                  </a:solidFill>
                  <a:ea typeface="ＭＳ Ｐゴシック" pitchFamily="50" charset="-128"/>
                  <a:hlinkClick r:id="rId90" action="ppaction://hlinksldjump"/>
                </a:rPr>
                <a:t>Relations</a:t>
              </a:r>
              <a:endParaRPr lang="en-GB" altLang="ja-JP" sz="1000" dirty="0">
                <a:solidFill>
                  <a:schemeClr val="tx2"/>
                </a:solidFill>
                <a:ea typeface="ＭＳ Ｐゴシック" pitchFamily="50" charset="-128"/>
              </a:endParaRPr>
            </a:p>
          </p:txBody>
        </p:sp>
        <p:sp>
          <p:nvSpPr>
            <p:cNvPr id="23" name="Rectangle 21"/>
            <p:cNvSpPr>
              <a:spLocks noChangeArrowheads="1"/>
            </p:cNvSpPr>
            <p:nvPr>
              <p:custDataLst>
                <p:tags r:id="rId24"/>
              </p:custDataLst>
            </p:nvPr>
          </p:nvSpPr>
          <p:spPr bwMode="auto">
            <a:xfrm>
              <a:off x="3879850" y="2078038"/>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dirty="0">
                  <a:solidFill>
                    <a:schemeClr val="tx2"/>
                  </a:solidFill>
                  <a:ea typeface="ＭＳ Ｐゴシック" pitchFamily="50" charset="-128"/>
                </a:rPr>
                <a:t>Logic </a:t>
              </a:r>
              <a:r>
                <a:rPr lang="en-GB" altLang="ja-JP" sz="1000" dirty="0" smtClean="0">
                  <a:solidFill>
                    <a:schemeClr val="tx2"/>
                  </a:solidFill>
                  <a:ea typeface="ＭＳ Ｐゴシック" pitchFamily="50" charset="-128"/>
                </a:rPr>
                <a:t>trees</a:t>
              </a:r>
              <a:endParaRPr lang="en-GB" altLang="ja-JP" sz="1000" dirty="0">
                <a:solidFill>
                  <a:schemeClr val="tx2"/>
                </a:solidFill>
                <a:ea typeface="ＭＳ Ｐゴシック" pitchFamily="50" charset="-128"/>
              </a:endParaRPr>
            </a:p>
          </p:txBody>
        </p:sp>
        <p:sp>
          <p:nvSpPr>
            <p:cNvPr id="24" name="Rectangle 22"/>
            <p:cNvSpPr>
              <a:spLocks noChangeArrowheads="1"/>
            </p:cNvSpPr>
            <p:nvPr>
              <p:custDataLst>
                <p:tags r:id="rId25"/>
              </p:custDataLst>
            </p:nvPr>
          </p:nvSpPr>
          <p:spPr bwMode="auto">
            <a:xfrm>
              <a:off x="3878263" y="2436813"/>
              <a:ext cx="1131887"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dirty="0">
                  <a:solidFill>
                    <a:schemeClr val="tx2"/>
                  </a:solidFill>
                  <a:ea typeface="ＭＳ Ｐゴシック" pitchFamily="50" charset="-128"/>
                  <a:hlinkClick r:id="rId91" action="ppaction://hlinksldjump"/>
                </a:rPr>
                <a:t>Org </a:t>
              </a:r>
              <a:r>
                <a:rPr lang="en-GB" altLang="ja-JP" sz="1000" dirty="0" smtClean="0">
                  <a:solidFill>
                    <a:schemeClr val="tx2"/>
                  </a:solidFill>
                  <a:ea typeface="ＭＳ Ｐゴシック" pitchFamily="50" charset="-128"/>
                  <a:hlinkClick r:id="rId91" action="ppaction://hlinksldjump"/>
                </a:rPr>
                <a:t>charts</a:t>
              </a:r>
              <a:endParaRPr lang="en-GB" altLang="ja-JP" sz="1000" dirty="0">
                <a:solidFill>
                  <a:schemeClr val="tx2"/>
                </a:solidFill>
                <a:ea typeface="ＭＳ Ｐゴシック" pitchFamily="50" charset="-128"/>
              </a:endParaRPr>
            </a:p>
          </p:txBody>
        </p:sp>
        <p:sp>
          <p:nvSpPr>
            <p:cNvPr id="25" name="Rectangle 23"/>
            <p:cNvSpPr>
              <a:spLocks noChangeArrowheads="1"/>
            </p:cNvSpPr>
            <p:nvPr>
              <p:custDataLst>
                <p:tags r:id="rId26"/>
              </p:custDataLst>
            </p:nvPr>
          </p:nvSpPr>
          <p:spPr bwMode="auto">
            <a:xfrm>
              <a:off x="3879850" y="3511550"/>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92" action="ppaction://hlinksldjump"/>
                </a:rPr>
                <a:t>Chevrons</a:t>
              </a:r>
              <a:endParaRPr lang="en-GB" altLang="ja-JP" sz="1000">
                <a:solidFill>
                  <a:schemeClr val="tx2"/>
                </a:solidFill>
                <a:ea typeface="ＭＳ Ｐゴシック" pitchFamily="50" charset="-128"/>
              </a:endParaRPr>
            </a:p>
          </p:txBody>
        </p:sp>
        <p:sp>
          <p:nvSpPr>
            <p:cNvPr id="26" name="Rectangle 24"/>
            <p:cNvSpPr>
              <a:spLocks noChangeArrowheads="1"/>
            </p:cNvSpPr>
            <p:nvPr>
              <p:custDataLst>
                <p:tags r:id="rId27"/>
              </p:custDataLst>
            </p:nvPr>
          </p:nvSpPr>
          <p:spPr bwMode="auto">
            <a:xfrm>
              <a:off x="3879850" y="3870325"/>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93" action="ppaction://hlinksldjump"/>
                </a:rPr>
                <a:t>Circles</a:t>
              </a:r>
              <a:endParaRPr lang="en-GB" altLang="ja-JP" sz="1000">
                <a:solidFill>
                  <a:schemeClr val="tx2"/>
                </a:solidFill>
                <a:ea typeface="ＭＳ Ｐゴシック" pitchFamily="50" charset="-128"/>
              </a:endParaRPr>
            </a:p>
          </p:txBody>
        </p:sp>
        <p:sp>
          <p:nvSpPr>
            <p:cNvPr id="27" name="Rectangle 25"/>
            <p:cNvSpPr>
              <a:spLocks noChangeArrowheads="1"/>
            </p:cNvSpPr>
            <p:nvPr>
              <p:custDataLst>
                <p:tags r:id="rId28"/>
              </p:custDataLst>
            </p:nvPr>
          </p:nvSpPr>
          <p:spPr bwMode="auto">
            <a:xfrm>
              <a:off x="3879850" y="4229100"/>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94" action="ppaction://hlinksldjump"/>
                </a:rPr>
                <a:t>World</a:t>
              </a:r>
              <a:endParaRPr lang="en-GB" altLang="ja-JP" sz="1000">
                <a:solidFill>
                  <a:schemeClr val="tx2"/>
                </a:solidFill>
                <a:ea typeface="ＭＳ Ｐゴシック" pitchFamily="50" charset="-128"/>
              </a:endParaRPr>
            </a:p>
          </p:txBody>
        </p:sp>
        <p:sp>
          <p:nvSpPr>
            <p:cNvPr id="28" name="Rectangle 26"/>
            <p:cNvSpPr>
              <a:spLocks noChangeArrowheads="1"/>
            </p:cNvSpPr>
            <p:nvPr>
              <p:custDataLst>
                <p:tags r:id="rId29"/>
              </p:custDataLst>
            </p:nvPr>
          </p:nvSpPr>
          <p:spPr bwMode="auto">
            <a:xfrm>
              <a:off x="3879850" y="4945063"/>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dirty="0">
                  <a:solidFill>
                    <a:schemeClr val="tx2"/>
                  </a:solidFill>
                  <a:ea typeface="ＭＳ Ｐゴシック" pitchFamily="50" charset="-128"/>
                  <a:hlinkClick r:id="rId95" action="ppaction://hlinksldjump"/>
                </a:rPr>
                <a:t>Strategy </a:t>
              </a:r>
              <a:r>
                <a:rPr lang="en-GB" altLang="ja-JP" sz="1000" dirty="0" smtClean="0">
                  <a:solidFill>
                    <a:schemeClr val="tx2"/>
                  </a:solidFill>
                  <a:ea typeface="ＭＳ Ｐゴシック" pitchFamily="50" charset="-128"/>
                  <a:hlinkClick r:id="rId95" action="ppaction://hlinksldjump"/>
                </a:rPr>
                <a:t>process</a:t>
              </a:r>
              <a:endParaRPr lang="en-GB" altLang="ja-JP" sz="1000" dirty="0">
                <a:solidFill>
                  <a:schemeClr val="tx2"/>
                </a:solidFill>
                <a:ea typeface="ＭＳ Ｐゴシック" pitchFamily="50" charset="-128"/>
              </a:endParaRPr>
            </a:p>
          </p:txBody>
        </p:sp>
        <p:sp>
          <p:nvSpPr>
            <p:cNvPr id="29" name="Rectangle 27"/>
            <p:cNvSpPr>
              <a:spLocks noChangeArrowheads="1"/>
            </p:cNvSpPr>
            <p:nvPr>
              <p:custDataLst>
                <p:tags r:id="rId30"/>
              </p:custDataLst>
            </p:nvPr>
          </p:nvSpPr>
          <p:spPr bwMode="auto">
            <a:xfrm>
              <a:off x="3879850" y="5303838"/>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dirty="0">
                  <a:solidFill>
                    <a:schemeClr val="tx2"/>
                  </a:solidFill>
                  <a:ea typeface="ＭＳ Ｐゴシック" pitchFamily="50" charset="-128"/>
                  <a:hlinkClick r:id="rId96" action="ppaction://hlinksldjump"/>
                </a:rPr>
                <a:t>Activity </a:t>
              </a:r>
              <a:r>
                <a:rPr lang="en-GB" altLang="ja-JP" sz="1000" dirty="0" smtClean="0">
                  <a:solidFill>
                    <a:schemeClr val="tx2"/>
                  </a:solidFill>
                  <a:ea typeface="ＭＳ Ｐゴシック" pitchFamily="50" charset="-128"/>
                  <a:hlinkClick r:id="rId96" action="ppaction://hlinksldjump"/>
                </a:rPr>
                <a:t>maps</a:t>
              </a:r>
              <a:endParaRPr lang="en-GB" altLang="ja-JP" sz="1000" dirty="0">
                <a:solidFill>
                  <a:schemeClr val="tx2"/>
                </a:solidFill>
                <a:ea typeface="ＭＳ Ｐゴシック" pitchFamily="50" charset="-128"/>
              </a:endParaRPr>
            </a:p>
          </p:txBody>
        </p:sp>
        <p:sp>
          <p:nvSpPr>
            <p:cNvPr id="30" name="Rectangle 28"/>
            <p:cNvSpPr>
              <a:spLocks noChangeArrowheads="1"/>
            </p:cNvSpPr>
            <p:nvPr>
              <p:custDataLst>
                <p:tags r:id="rId31"/>
              </p:custDataLst>
            </p:nvPr>
          </p:nvSpPr>
          <p:spPr bwMode="auto">
            <a:xfrm>
              <a:off x="3879850" y="5662613"/>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97" action="ppaction://hlinksldjump"/>
                </a:rPr>
                <a:t>Moon</a:t>
              </a:r>
              <a:endParaRPr lang="en-GB" altLang="ja-JP" sz="1000">
                <a:solidFill>
                  <a:schemeClr val="tx2"/>
                </a:solidFill>
                <a:ea typeface="ＭＳ Ｐゴシック" pitchFamily="50" charset="-128"/>
              </a:endParaRPr>
            </a:p>
          </p:txBody>
        </p:sp>
        <p:sp>
          <p:nvSpPr>
            <p:cNvPr id="31" name="Rectangle 29"/>
            <p:cNvSpPr>
              <a:spLocks noChangeArrowheads="1"/>
            </p:cNvSpPr>
            <p:nvPr>
              <p:custDataLst>
                <p:tags r:id="rId32"/>
              </p:custDataLst>
            </p:nvPr>
          </p:nvSpPr>
          <p:spPr bwMode="auto">
            <a:xfrm>
              <a:off x="3879850" y="6021388"/>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98" action="ppaction://hlinksldjump"/>
                </a:rPr>
                <a:t>Development stages</a:t>
              </a:r>
              <a:endParaRPr lang="en-GB" altLang="ja-JP" sz="1000">
                <a:solidFill>
                  <a:schemeClr val="tx2"/>
                </a:solidFill>
                <a:ea typeface="ＭＳ Ｐゴシック" pitchFamily="50" charset="-128"/>
              </a:endParaRPr>
            </a:p>
          </p:txBody>
        </p:sp>
        <p:sp>
          <p:nvSpPr>
            <p:cNvPr id="32" name="Rectangle 30"/>
            <p:cNvSpPr>
              <a:spLocks noChangeArrowheads="1"/>
            </p:cNvSpPr>
            <p:nvPr>
              <p:custDataLst>
                <p:tags r:id="rId33"/>
              </p:custDataLst>
            </p:nvPr>
          </p:nvSpPr>
          <p:spPr bwMode="auto">
            <a:xfrm>
              <a:off x="5122863" y="2794000"/>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99" action="ppaction://hlinksldjump"/>
                </a:rPr>
                <a:t>Areas</a:t>
              </a:r>
              <a:endParaRPr lang="en-GB" altLang="ja-JP" sz="1000">
                <a:solidFill>
                  <a:schemeClr val="tx2"/>
                </a:solidFill>
                <a:ea typeface="ＭＳ Ｐゴシック" pitchFamily="50" charset="-128"/>
              </a:endParaRPr>
            </a:p>
          </p:txBody>
        </p:sp>
        <p:sp>
          <p:nvSpPr>
            <p:cNvPr id="33" name="Rectangle 31"/>
            <p:cNvSpPr>
              <a:spLocks noChangeArrowheads="1"/>
            </p:cNvSpPr>
            <p:nvPr>
              <p:custDataLst>
                <p:tags r:id="rId34"/>
              </p:custDataLst>
            </p:nvPr>
          </p:nvSpPr>
          <p:spPr bwMode="auto">
            <a:xfrm>
              <a:off x="5122863" y="3152775"/>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100" action="ppaction://hlinksldjump"/>
                </a:rPr>
                <a:t>Pies</a:t>
              </a:r>
              <a:endParaRPr lang="en-GB" altLang="ja-JP" sz="1000">
                <a:solidFill>
                  <a:schemeClr val="tx2"/>
                </a:solidFill>
                <a:ea typeface="ＭＳ Ｐゴシック" pitchFamily="50" charset="-128"/>
              </a:endParaRPr>
            </a:p>
          </p:txBody>
        </p:sp>
        <p:sp>
          <p:nvSpPr>
            <p:cNvPr id="34" name="Rectangle 32"/>
            <p:cNvSpPr>
              <a:spLocks noChangeArrowheads="1"/>
            </p:cNvSpPr>
            <p:nvPr>
              <p:custDataLst>
                <p:tags r:id="rId35"/>
              </p:custDataLst>
            </p:nvPr>
          </p:nvSpPr>
          <p:spPr bwMode="auto">
            <a:xfrm>
              <a:off x="5122863" y="1719263"/>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79" action="ppaction://hlinksldjump"/>
                </a:rPr>
                <a:t>Quotes</a:t>
              </a:r>
              <a:endParaRPr lang="en-GB" altLang="ja-JP" sz="1000">
                <a:solidFill>
                  <a:schemeClr val="tx2"/>
                </a:solidFill>
                <a:ea typeface="ＭＳ Ｐゴシック" pitchFamily="50" charset="-128"/>
              </a:endParaRPr>
            </a:p>
          </p:txBody>
        </p:sp>
        <p:sp>
          <p:nvSpPr>
            <p:cNvPr id="35" name="Rectangle 33"/>
            <p:cNvSpPr>
              <a:spLocks noChangeArrowheads="1"/>
            </p:cNvSpPr>
            <p:nvPr>
              <p:custDataLst>
                <p:tags r:id="rId36"/>
              </p:custDataLst>
            </p:nvPr>
          </p:nvSpPr>
          <p:spPr bwMode="auto">
            <a:xfrm>
              <a:off x="5122863" y="2078038"/>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dirty="0">
                  <a:solidFill>
                    <a:schemeClr val="tx2"/>
                  </a:solidFill>
                  <a:ea typeface="ＭＳ Ｐゴシック" pitchFamily="50" charset="-128"/>
                  <a:hlinkClick r:id="rId101" action="ppaction://hlinksldjump"/>
                </a:rPr>
                <a:t>Driver </a:t>
              </a:r>
              <a:r>
                <a:rPr lang="en-GB" altLang="ja-JP" sz="1000" dirty="0" smtClean="0">
                  <a:solidFill>
                    <a:schemeClr val="tx2"/>
                  </a:solidFill>
                  <a:ea typeface="ＭＳ Ｐゴシック" pitchFamily="50" charset="-128"/>
                  <a:hlinkClick r:id="rId101" action="ppaction://hlinksldjump"/>
                </a:rPr>
                <a:t>trees</a:t>
              </a:r>
              <a:endParaRPr lang="en-GB" altLang="ja-JP" sz="1000" dirty="0">
                <a:solidFill>
                  <a:schemeClr val="tx2"/>
                </a:solidFill>
                <a:ea typeface="ＭＳ Ｐゴシック" pitchFamily="50" charset="-128"/>
              </a:endParaRPr>
            </a:p>
          </p:txBody>
        </p:sp>
        <p:sp>
          <p:nvSpPr>
            <p:cNvPr id="36" name="Rectangle 34"/>
            <p:cNvSpPr>
              <a:spLocks noChangeArrowheads="1"/>
            </p:cNvSpPr>
            <p:nvPr>
              <p:custDataLst>
                <p:tags r:id="rId37"/>
              </p:custDataLst>
            </p:nvPr>
          </p:nvSpPr>
          <p:spPr bwMode="auto">
            <a:xfrm>
              <a:off x="5122863" y="3511550"/>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102" action="ppaction://hlinksldjump"/>
                </a:rPr>
                <a:t>Spheres</a:t>
              </a:r>
              <a:endParaRPr lang="en-GB" altLang="ja-JP" sz="1000">
                <a:solidFill>
                  <a:schemeClr val="tx2"/>
                </a:solidFill>
                <a:ea typeface="ＭＳ Ｐゴシック" pitchFamily="50" charset="-128"/>
              </a:endParaRPr>
            </a:p>
          </p:txBody>
        </p:sp>
        <p:sp>
          <p:nvSpPr>
            <p:cNvPr id="37" name="Rectangle 35"/>
            <p:cNvSpPr>
              <a:spLocks noChangeArrowheads="1"/>
            </p:cNvSpPr>
            <p:nvPr>
              <p:custDataLst>
                <p:tags r:id="rId38"/>
              </p:custDataLst>
            </p:nvPr>
          </p:nvSpPr>
          <p:spPr bwMode="auto">
            <a:xfrm>
              <a:off x="5122863" y="3870325"/>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103" action="ppaction://hlinksldjump"/>
                </a:rPr>
                <a:t>Boxes</a:t>
              </a:r>
              <a:endParaRPr lang="en-GB" altLang="ja-JP" sz="1000">
                <a:solidFill>
                  <a:schemeClr val="tx2"/>
                </a:solidFill>
                <a:ea typeface="ＭＳ Ｐゴシック" pitchFamily="50" charset="-128"/>
              </a:endParaRPr>
            </a:p>
          </p:txBody>
        </p:sp>
        <p:sp>
          <p:nvSpPr>
            <p:cNvPr id="38" name="Rectangle 36"/>
            <p:cNvSpPr>
              <a:spLocks noChangeArrowheads="1"/>
            </p:cNvSpPr>
            <p:nvPr>
              <p:custDataLst>
                <p:tags r:id="rId39"/>
              </p:custDataLst>
            </p:nvPr>
          </p:nvSpPr>
          <p:spPr bwMode="auto">
            <a:xfrm>
              <a:off x="5122863" y="4945063"/>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nl-NL" altLang="ja-JP" sz="1000">
                  <a:solidFill>
                    <a:schemeClr val="tx2"/>
                  </a:solidFill>
                  <a:ea typeface="ＭＳ Ｐゴシック" pitchFamily="50" charset="-128"/>
                  <a:hlinkClick r:id="rId104" action="ppaction://hlinksldjump"/>
                </a:rPr>
                <a:t>Process flows</a:t>
              </a:r>
              <a:endParaRPr lang="en-GB" altLang="ja-JP" sz="1000">
                <a:solidFill>
                  <a:schemeClr val="tx2"/>
                </a:solidFill>
                <a:ea typeface="ＭＳ Ｐゴシック" pitchFamily="50" charset="-128"/>
              </a:endParaRPr>
            </a:p>
          </p:txBody>
        </p:sp>
        <p:sp>
          <p:nvSpPr>
            <p:cNvPr id="39" name="Rectangle 37"/>
            <p:cNvSpPr>
              <a:spLocks noChangeArrowheads="1"/>
            </p:cNvSpPr>
            <p:nvPr>
              <p:custDataLst>
                <p:tags r:id="rId40"/>
              </p:custDataLst>
            </p:nvPr>
          </p:nvSpPr>
          <p:spPr bwMode="auto">
            <a:xfrm>
              <a:off x="5122863" y="6015038"/>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105" action="ppaction://hlinksldjump"/>
                </a:rPr>
                <a:t>Timelines</a:t>
              </a:r>
              <a:endParaRPr lang="en-GB" altLang="ja-JP" sz="1000">
                <a:solidFill>
                  <a:schemeClr val="tx2"/>
                </a:solidFill>
                <a:ea typeface="ＭＳ Ｐゴシック" pitchFamily="50" charset="-128"/>
              </a:endParaRPr>
            </a:p>
          </p:txBody>
        </p:sp>
        <p:sp>
          <p:nvSpPr>
            <p:cNvPr id="40" name="Rectangle 38"/>
            <p:cNvSpPr>
              <a:spLocks noChangeArrowheads="1"/>
            </p:cNvSpPr>
            <p:nvPr>
              <p:custDataLst>
                <p:tags r:id="rId41"/>
              </p:custDataLst>
            </p:nvPr>
          </p:nvSpPr>
          <p:spPr bwMode="auto">
            <a:xfrm>
              <a:off x="6365875" y="2794000"/>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97" action="ppaction://hlinksldjump"/>
                </a:rPr>
                <a:t>Radars</a:t>
              </a:r>
              <a:endParaRPr lang="en-GB" altLang="ja-JP" sz="1000">
                <a:solidFill>
                  <a:schemeClr val="tx2"/>
                </a:solidFill>
                <a:ea typeface="ＭＳ Ｐゴシック" pitchFamily="50" charset="-128"/>
              </a:endParaRPr>
            </a:p>
          </p:txBody>
        </p:sp>
        <p:sp>
          <p:nvSpPr>
            <p:cNvPr id="41" name="Rectangle 39"/>
            <p:cNvSpPr>
              <a:spLocks noChangeArrowheads="1"/>
            </p:cNvSpPr>
            <p:nvPr>
              <p:custDataLst>
                <p:tags r:id="rId42"/>
              </p:custDataLst>
            </p:nvPr>
          </p:nvSpPr>
          <p:spPr bwMode="auto">
            <a:xfrm>
              <a:off x="6365875" y="3152775"/>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106" action="ppaction://hlinksldjump"/>
                </a:rPr>
                <a:t>Lines</a:t>
              </a:r>
              <a:endParaRPr lang="en-GB" altLang="ja-JP" sz="1000">
                <a:solidFill>
                  <a:schemeClr val="tx2"/>
                </a:solidFill>
                <a:ea typeface="ＭＳ Ｐゴシック" pitchFamily="50" charset="-128"/>
              </a:endParaRPr>
            </a:p>
          </p:txBody>
        </p:sp>
        <p:sp>
          <p:nvSpPr>
            <p:cNvPr id="42" name="Rectangle 40"/>
            <p:cNvSpPr>
              <a:spLocks noChangeArrowheads="1"/>
            </p:cNvSpPr>
            <p:nvPr>
              <p:custDataLst>
                <p:tags r:id="rId43"/>
              </p:custDataLst>
            </p:nvPr>
          </p:nvSpPr>
          <p:spPr bwMode="auto">
            <a:xfrm>
              <a:off x="6365875" y="3870325"/>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107" action="ppaction://hlinksldjump"/>
                </a:rPr>
                <a:t>Puzzles</a:t>
              </a:r>
              <a:endParaRPr lang="en-GB" altLang="ja-JP" sz="1000">
                <a:solidFill>
                  <a:schemeClr val="tx2"/>
                </a:solidFill>
                <a:ea typeface="ＭＳ Ｐゴシック" pitchFamily="50" charset="-128"/>
              </a:endParaRPr>
            </a:p>
          </p:txBody>
        </p:sp>
        <p:sp>
          <p:nvSpPr>
            <p:cNvPr id="43" name="Rectangle 41"/>
            <p:cNvSpPr>
              <a:spLocks noChangeArrowheads="1"/>
            </p:cNvSpPr>
            <p:nvPr>
              <p:custDataLst>
                <p:tags r:id="rId44"/>
              </p:custDataLst>
            </p:nvPr>
          </p:nvSpPr>
          <p:spPr bwMode="auto">
            <a:xfrm>
              <a:off x="6365875" y="5668963"/>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108" action="ppaction://hlinksldjump"/>
                </a:rPr>
                <a:t>Calendars</a:t>
              </a:r>
              <a:endParaRPr lang="en-GB" altLang="ja-JP" sz="1000">
                <a:solidFill>
                  <a:schemeClr val="tx2"/>
                </a:solidFill>
                <a:ea typeface="ＭＳ Ｐゴシック" pitchFamily="50" charset="-128"/>
              </a:endParaRPr>
            </a:p>
          </p:txBody>
        </p:sp>
        <p:sp>
          <p:nvSpPr>
            <p:cNvPr id="44" name="Rectangle 42"/>
            <p:cNvSpPr>
              <a:spLocks noChangeArrowheads="1"/>
            </p:cNvSpPr>
            <p:nvPr>
              <p:custDataLst>
                <p:tags r:id="rId45"/>
              </p:custDataLst>
            </p:nvPr>
          </p:nvSpPr>
          <p:spPr bwMode="auto">
            <a:xfrm>
              <a:off x="6365875" y="6015038"/>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109" action="ppaction://hlinksldjump"/>
                </a:rPr>
                <a:t>Curves</a:t>
              </a:r>
              <a:endParaRPr lang="en-GB" altLang="ja-JP" sz="1000">
                <a:solidFill>
                  <a:schemeClr val="tx2"/>
                </a:solidFill>
                <a:ea typeface="ＭＳ Ｐゴシック" pitchFamily="50" charset="-128"/>
              </a:endParaRPr>
            </a:p>
          </p:txBody>
        </p:sp>
        <p:cxnSp>
          <p:nvCxnSpPr>
            <p:cNvPr id="45" name="AutoShape 43"/>
            <p:cNvCxnSpPr>
              <a:cxnSpLocks noChangeShapeType="1"/>
              <a:stCxn id="4" idx="3"/>
              <a:endCxn id="21" idx="1"/>
            </p:cNvCxnSpPr>
            <p:nvPr>
              <p:custDataLst>
                <p:tags r:id="rId46"/>
              </p:custDataLst>
            </p:nvPr>
          </p:nvCxnSpPr>
          <p:spPr bwMode="auto">
            <a:xfrm flipV="1">
              <a:off x="3597275" y="1504951"/>
              <a:ext cx="282575" cy="182562"/>
            </a:xfrm>
            <a:prstGeom prst="bentConnector3">
              <a:avLst>
                <a:gd name="adj1" fmla="val 50000"/>
              </a:avLst>
            </a:prstGeom>
            <a:noFill/>
            <a:ln w="12700">
              <a:solidFill>
                <a:schemeClr val="tx1"/>
              </a:solidFill>
              <a:miter lim="800000"/>
              <a:headEnd/>
              <a:tailEnd/>
            </a:ln>
          </p:spPr>
        </p:cxnSp>
        <p:cxnSp>
          <p:nvCxnSpPr>
            <p:cNvPr id="46" name="AutoShape 44"/>
            <p:cNvCxnSpPr>
              <a:cxnSpLocks noChangeShapeType="1"/>
              <a:stCxn id="11" idx="3"/>
              <a:endCxn id="23" idx="1"/>
            </p:cNvCxnSpPr>
            <p:nvPr>
              <p:custDataLst>
                <p:tags r:id="rId47"/>
              </p:custDataLst>
            </p:nvPr>
          </p:nvCxnSpPr>
          <p:spPr bwMode="auto">
            <a:xfrm flipV="1">
              <a:off x="3597275" y="2222501"/>
              <a:ext cx="282575" cy="160337"/>
            </a:xfrm>
            <a:prstGeom prst="bentConnector3">
              <a:avLst>
                <a:gd name="adj1" fmla="val 50000"/>
              </a:avLst>
            </a:prstGeom>
            <a:noFill/>
            <a:ln w="12700">
              <a:solidFill>
                <a:schemeClr val="tx1"/>
              </a:solidFill>
              <a:miter lim="800000"/>
              <a:headEnd/>
              <a:tailEnd/>
            </a:ln>
          </p:spPr>
        </p:cxnSp>
        <p:cxnSp>
          <p:nvCxnSpPr>
            <p:cNvPr id="47" name="AutoShape 45"/>
            <p:cNvCxnSpPr>
              <a:cxnSpLocks noChangeShapeType="1"/>
              <a:stCxn id="11" idx="3"/>
              <a:endCxn id="24" idx="1"/>
            </p:cNvCxnSpPr>
            <p:nvPr>
              <p:custDataLst>
                <p:tags r:id="rId48"/>
              </p:custDataLst>
            </p:nvPr>
          </p:nvCxnSpPr>
          <p:spPr bwMode="auto">
            <a:xfrm>
              <a:off x="3597275" y="2382838"/>
              <a:ext cx="280988" cy="198438"/>
            </a:xfrm>
            <a:prstGeom prst="bentConnector3">
              <a:avLst>
                <a:gd name="adj1" fmla="val 50000"/>
              </a:avLst>
            </a:prstGeom>
            <a:noFill/>
            <a:ln w="12700">
              <a:solidFill>
                <a:schemeClr val="tx1"/>
              </a:solidFill>
              <a:miter lim="800000"/>
              <a:headEnd/>
              <a:tailEnd/>
            </a:ln>
          </p:spPr>
        </p:cxnSp>
        <p:sp>
          <p:nvSpPr>
            <p:cNvPr id="48" name="Rectangle 46"/>
            <p:cNvSpPr>
              <a:spLocks noChangeArrowheads="1"/>
            </p:cNvSpPr>
            <p:nvPr>
              <p:custDataLst>
                <p:tags r:id="rId49"/>
              </p:custDataLst>
            </p:nvPr>
          </p:nvSpPr>
          <p:spPr bwMode="auto">
            <a:xfrm>
              <a:off x="7610475" y="2794000"/>
              <a:ext cx="1128713"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98" action="ppaction://hlinksldjump"/>
                </a:rPr>
                <a:t>Waterfalls</a:t>
              </a:r>
              <a:endParaRPr lang="en-GB" altLang="ja-JP" sz="1000">
                <a:solidFill>
                  <a:schemeClr val="tx2"/>
                </a:solidFill>
                <a:ea typeface="ＭＳ Ｐゴシック" pitchFamily="50" charset="-128"/>
              </a:endParaRPr>
            </a:p>
          </p:txBody>
        </p:sp>
        <p:cxnSp>
          <p:nvCxnSpPr>
            <p:cNvPr id="49" name="AutoShape 47"/>
            <p:cNvCxnSpPr>
              <a:cxnSpLocks noChangeShapeType="1"/>
              <a:stCxn id="9" idx="3"/>
              <a:endCxn id="19" idx="1"/>
            </p:cNvCxnSpPr>
            <p:nvPr>
              <p:custDataLst>
                <p:tags r:id="rId50"/>
              </p:custDataLst>
            </p:nvPr>
          </p:nvCxnSpPr>
          <p:spPr bwMode="auto">
            <a:xfrm flipV="1">
              <a:off x="3598863" y="2938463"/>
              <a:ext cx="280987" cy="182562"/>
            </a:xfrm>
            <a:prstGeom prst="bentConnector3">
              <a:avLst>
                <a:gd name="adj1" fmla="val 50000"/>
              </a:avLst>
            </a:prstGeom>
            <a:noFill/>
            <a:ln w="12700">
              <a:solidFill>
                <a:schemeClr val="tx1"/>
              </a:solidFill>
              <a:miter lim="800000"/>
              <a:headEnd/>
              <a:tailEnd/>
            </a:ln>
          </p:spPr>
        </p:cxnSp>
        <p:cxnSp>
          <p:nvCxnSpPr>
            <p:cNvPr id="50" name="AutoShape 48"/>
            <p:cNvCxnSpPr>
              <a:cxnSpLocks noChangeShapeType="1"/>
              <a:stCxn id="9" idx="3"/>
              <a:endCxn id="20" idx="1"/>
            </p:cNvCxnSpPr>
            <p:nvPr>
              <p:custDataLst>
                <p:tags r:id="rId51"/>
              </p:custDataLst>
            </p:nvPr>
          </p:nvCxnSpPr>
          <p:spPr bwMode="auto">
            <a:xfrm>
              <a:off x="3598863" y="3121025"/>
              <a:ext cx="280987" cy="176213"/>
            </a:xfrm>
            <a:prstGeom prst="bentConnector3">
              <a:avLst>
                <a:gd name="adj1" fmla="val 50000"/>
              </a:avLst>
            </a:prstGeom>
            <a:noFill/>
            <a:ln w="12700">
              <a:solidFill>
                <a:schemeClr val="tx1"/>
              </a:solidFill>
              <a:miter lim="800000"/>
              <a:headEnd/>
              <a:tailEnd/>
            </a:ln>
          </p:spPr>
        </p:cxnSp>
        <p:cxnSp>
          <p:nvCxnSpPr>
            <p:cNvPr id="51" name="AutoShape 49"/>
            <p:cNvCxnSpPr>
              <a:cxnSpLocks noChangeShapeType="1"/>
              <a:stCxn id="5" idx="3"/>
              <a:endCxn id="25" idx="1"/>
            </p:cNvCxnSpPr>
            <p:nvPr>
              <p:custDataLst>
                <p:tags r:id="rId52"/>
              </p:custDataLst>
            </p:nvPr>
          </p:nvCxnSpPr>
          <p:spPr bwMode="auto">
            <a:xfrm flipV="1">
              <a:off x="3598863" y="3656013"/>
              <a:ext cx="280987" cy="180975"/>
            </a:xfrm>
            <a:prstGeom prst="bentConnector3">
              <a:avLst>
                <a:gd name="adj1" fmla="val 50000"/>
              </a:avLst>
            </a:prstGeom>
            <a:noFill/>
            <a:ln w="12700">
              <a:solidFill>
                <a:schemeClr val="tx1"/>
              </a:solidFill>
              <a:miter lim="800000"/>
              <a:headEnd/>
              <a:tailEnd/>
            </a:ln>
          </p:spPr>
        </p:cxnSp>
        <p:cxnSp>
          <p:nvCxnSpPr>
            <p:cNvPr id="52" name="AutoShape 50"/>
            <p:cNvCxnSpPr>
              <a:cxnSpLocks noChangeShapeType="1"/>
              <a:stCxn id="5" idx="3"/>
              <a:endCxn id="26" idx="1"/>
            </p:cNvCxnSpPr>
            <p:nvPr>
              <p:custDataLst>
                <p:tags r:id="rId53"/>
              </p:custDataLst>
            </p:nvPr>
          </p:nvCxnSpPr>
          <p:spPr bwMode="auto">
            <a:xfrm>
              <a:off x="3598863" y="3836988"/>
              <a:ext cx="280987" cy="177800"/>
            </a:xfrm>
            <a:prstGeom prst="bentConnector3">
              <a:avLst>
                <a:gd name="adj1" fmla="val 50000"/>
              </a:avLst>
            </a:prstGeom>
            <a:noFill/>
            <a:ln w="12700">
              <a:solidFill>
                <a:schemeClr val="tx1"/>
              </a:solidFill>
              <a:miter lim="800000"/>
              <a:headEnd/>
              <a:tailEnd/>
            </a:ln>
          </p:spPr>
        </p:cxnSp>
        <p:cxnSp>
          <p:nvCxnSpPr>
            <p:cNvPr id="53" name="AutoShape 51"/>
            <p:cNvCxnSpPr>
              <a:cxnSpLocks noChangeShapeType="1"/>
              <a:stCxn id="12" idx="3"/>
              <a:endCxn id="27" idx="1"/>
            </p:cNvCxnSpPr>
            <p:nvPr>
              <p:custDataLst>
                <p:tags r:id="rId54"/>
              </p:custDataLst>
            </p:nvPr>
          </p:nvCxnSpPr>
          <p:spPr bwMode="auto">
            <a:xfrm flipV="1">
              <a:off x="3597275" y="4373563"/>
              <a:ext cx="282575" cy="180975"/>
            </a:xfrm>
            <a:prstGeom prst="bentConnector3">
              <a:avLst>
                <a:gd name="adj1" fmla="val 50000"/>
              </a:avLst>
            </a:prstGeom>
            <a:noFill/>
            <a:ln w="12700">
              <a:solidFill>
                <a:schemeClr val="tx1"/>
              </a:solidFill>
              <a:miter lim="800000"/>
              <a:headEnd/>
              <a:tailEnd/>
            </a:ln>
          </p:spPr>
        </p:cxnSp>
        <p:cxnSp>
          <p:nvCxnSpPr>
            <p:cNvPr id="54" name="AutoShape 52"/>
            <p:cNvCxnSpPr>
              <a:cxnSpLocks noChangeShapeType="1"/>
              <a:stCxn id="12" idx="3"/>
              <a:endCxn id="71" idx="1"/>
            </p:cNvCxnSpPr>
            <p:nvPr>
              <p:custDataLst>
                <p:tags r:id="rId55"/>
              </p:custDataLst>
            </p:nvPr>
          </p:nvCxnSpPr>
          <p:spPr bwMode="auto">
            <a:xfrm>
              <a:off x="3597275" y="4554538"/>
              <a:ext cx="282575" cy="176212"/>
            </a:xfrm>
            <a:prstGeom prst="bentConnector3">
              <a:avLst>
                <a:gd name="adj1" fmla="val 50000"/>
              </a:avLst>
            </a:prstGeom>
            <a:noFill/>
            <a:ln w="12700">
              <a:solidFill>
                <a:schemeClr val="tx1"/>
              </a:solidFill>
              <a:miter lim="800000"/>
              <a:headEnd/>
              <a:tailEnd/>
            </a:ln>
          </p:spPr>
        </p:cxnSp>
        <p:cxnSp>
          <p:nvCxnSpPr>
            <p:cNvPr id="55" name="AutoShape 53"/>
            <p:cNvCxnSpPr>
              <a:cxnSpLocks noChangeShapeType="1"/>
              <a:stCxn id="10" idx="3"/>
              <a:endCxn id="28" idx="1"/>
            </p:cNvCxnSpPr>
            <p:nvPr>
              <p:custDataLst>
                <p:tags r:id="rId56"/>
              </p:custDataLst>
            </p:nvPr>
          </p:nvCxnSpPr>
          <p:spPr bwMode="auto">
            <a:xfrm flipV="1">
              <a:off x="3597275" y="5089525"/>
              <a:ext cx="282575" cy="180975"/>
            </a:xfrm>
            <a:prstGeom prst="bentConnector3">
              <a:avLst>
                <a:gd name="adj1" fmla="val 50000"/>
              </a:avLst>
            </a:prstGeom>
            <a:noFill/>
            <a:ln w="12700">
              <a:solidFill>
                <a:schemeClr val="tx1"/>
              </a:solidFill>
              <a:miter lim="800000"/>
              <a:headEnd/>
              <a:tailEnd/>
            </a:ln>
          </p:spPr>
        </p:cxnSp>
        <p:cxnSp>
          <p:nvCxnSpPr>
            <p:cNvPr id="56" name="AutoShape 54"/>
            <p:cNvCxnSpPr>
              <a:cxnSpLocks noChangeShapeType="1"/>
              <a:stCxn id="10" idx="3"/>
              <a:endCxn id="29" idx="1"/>
            </p:cNvCxnSpPr>
            <p:nvPr>
              <p:custDataLst>
                <p:tags r:id="rId57"/>
              </p:custDataLst>
            </p:nvPr>
          </p:nvCxnSpPr>
          <p:spPr bwMode="auto">
            <a:xfrm>
              <a:off x="3597275" y="5270500"/>
              <a:ext cx="282575" cy="177800"/>
            </a:xfrm>
            <a:prstGeom prst="bentConnector3">
              <a:avLst>
                <a:gd name="adj1" fmla="val 50000"/>
              </a:avLst>
            </a:prstGeom>
            <a:noFill/>
            <a:ln w="12700">
              <a:solidFill>
                <a:schemeClr val="tx1"/>
              </a:solidFill>
              <a:miter lim="800000"/>
              <a:headEnd/>
              <a:tailEnd/>
            </a:ln>
          </p:spPr>
        </p:cxnSp>
        <p:cxnSp>
          <p:nvCxnSpPr>
            <p:cNvPr id="57" name="AutoShape 55"/>
            <p:cNvCxnSpPr>
              <a:cxnSpLocks noChangeShapeType="1"/>
              <a:stCxn id="13" idx="3"/>
              <a:endCxn id="30" idx="1"/>
            </p:cNvCxnSpPr>
            <p:nvPr>
              <p:custDataLst>
                <p:tags r:id="rId58"/>
              </p:custDataLst>
            </p:nvPr>
          </p:nvCxnSpPr>
          <p:spPr bwMode="auto">
            <a:xfrm flipV="1">
              <a:off x="3598863" y="5807075"/>
              <a:ext cx="280987" cy="180975"/>
            </a:xfrm>
            <a:prstGeom prst="bentConnector3">
              <a:avLst>
                <a:gd name="adj1" fmla="val 50000"/>
              </a:avLst>
            </a:prstGeom>
            <a:noFill/>
            <a:ln w="12700">
              <a:solidFill>
                <a:schemeClr val="tx1"/>
              </a:solidFill>
              <a:miter lim="800000"/>
              <a:headEnd/>
              <a:tailEnd/>
            </a:ln>
          </p:spPr>
        </p:cxnSp>
        <p:cxnSp>
          <p:nvCxnSpPr>
            <p:cNvPr id="58" name="AutoShape 56"/>
            <p:cNvCxnSpPr>
              <a:cxnSpLocks noChangeShapeType="1"/>
              <a:stCxn id="13" idx="3"/>
              <a:endCxn id="31" idx="1"/>
            </p:cNvCxnSpPr>
            <p:nvPr>
              <p:custDataLst>
                <p:tags r:id="rId59"/>
              </p:custDataLst>
            </p:nvPr>
          </p:nvCxnSpPr>
          <p:spPr bwMode="auto">
            <a:xfrm>
              <a:off x="3598863" y="5988050"/>
              <a:ext cx="280987" cy="177800"/>
            </a:xfrm>
            <a:prstGeom prst="bentConnector3">
              <a:avLst>
                <a:gd name="adj1" fmla="val 50000"/>
              </a:avLst>
            </a:prstGeom>
            <a:noFill/>
            <a:ln w="12700">
              <a:solidFill>
                <a:schemeClr val="tx1"/>
              </a:solidFill>
              <a:miter lim="800000"/>
              <a:headEnd/>
              <a:tailEnd/>
            </a:ln>
          </p:spPr>
        </p:cxnSp>
        <p:sp>
          <p:nvSpPr>
            <p:cNvPr id="59" name="Rectangle 57"/>
            <p:cNvSpPr>
              <a:spLocks noChangeArrowheads="1"/>
            </p:cNvSpPr>
            <p:nvPr>
              <p:custDataLst>
                <p:tags r:id="rId60"/>
              </p:custDataLst>
            </p:nvPr>
          </p:nvSpPr>
          <p:spPr bwMode="auto">
            <a:xfrm>
              <a:off x="6365875" y="4586288"/>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110" action="ppaction://hlinksldjump"/>
                </a:rPr>
                <a:t>Flags</a:t>
              </a:r>
              <a:endParaRPr lang="en-GB" altLang="ja-JP" sz="1000">
                <a:solidFill>
                  <a:schemeClr val="tx2"/>
                </a:solidFill>
                <a:ea typeface="ＭＳ Ｐゴシック" pitchFamily="50" charset="-128"/>
              </a:endParaRPr>
            </a:p>
          </p:txBody>
        </p:sp>
        <p:sp>
          <p:nvSpPr>
            <p:cNvPr id="60" name="Rectangle 58"/>
            <p:cNvSpPr>
              <a:spLocks noChangeArrowheads="1"/>
            </p:cNvSpPr>
            <p:nvPr>
              <p:custDataLst>
                <p:tags r:id="rId61"/>
              </p:custDataLst>
            </p:nvPr>
          </p:nvSpPr>
          <p:spPr bwMode="auto">
            <a:xfrm>
              <a:off x="7610475" y="3152775"/>
              <a:ext cx="1128713"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111" action="ppaction://hlinksldjump"/>
                </a:rPr>
                <a:t>Others</a:t>
              </a:r>
              <a:endParaRPr lang="en-GB" altLang="ja-JP" sz="1000">
                <a:solidFill>
                  <a:schemeClr val="tx2"/>
                </a:solidFill>
                <a:ea typeface="ＭＳ Ｐゴシック" pitchFamily="50" charset="-128"/>
              </a:endParaRPr>
            </a:p>
          </p:txBody>
        </p:sp>
        <p:sp>
          <p:nvSpPr>
            <p:cNvPr id="61" name="Rectangle 59"/>
            <p:cNvSpPr>
              <a:spLocks noChangeArrowheads="1"/>
            </p:cNvSpPr>
            <p:nvPr>
              <p:custDataLst>
                <p:tags r:id="rId62"/>
              </p:custDataLst>
            </p:nvPr>
          </p:nvSpPr>
          <p:spPr bwMode="auto">
            <a:xfrm>
              <a:off x="6365875" y="3511550"/>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112" action="ppaction://hlinksldjump"/>
                </a:rPr>
                <a:t>Triangles</a:t>
              </a:r>
              <a:endParaRPr lang="en-GB" altLang="ja-JP" sz="1000">
                <a:solidFill>
                  <a:schemeClr val="tx2"/>
                </a:solidFill>
                <a:ea typeface="ＭＳ Ｐゴシック" pitchFamily="50" charset="-128"/>
              </a:endParaRPr>
            </a:p>
          </p:txBody>
        </p:sp>
        <p:sp>
          <p:nvSpPr>
            <p:cNvPr id="62" name="Rectangle 60"/>
            <p:cNvSpPr>
              <a:spLocks noChangeArrowheads="1"/>
            </p:cNvSpPr>
            <p:nvPr>
              <p:custDataLst>
                <p:tags r:id="rId63"/>
              </p:custDataLst>
            </p:nvPr>
          </p:nvSpPr>
          <p:spPr bwMode="auto">
            <a:xfrm>
              <a:off x="7608888" y="5656263"/>
              <a:ext cx="1128712"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113" action="ppaction://hlinksldjump"/>
                </a:rPr>
                <a:t>Others</a:t>
              </a:r>
              <a:endParaRPr lang="en-GB" altLang="ja-JP" sz="1000">
                <a:solidFill>
                  <a:schemeClr val="tx2"/>
                </a:solidFill>
                <a:ea typeface="ＭＳ Ｐゴシック" pitchFamily="50" charset="-128"/>
              </a:endParaRPr>
            </a:p>
          </p:txBody>
        </p:sp>
        <p:sp>
          <p:nvSpPr>
            <p:cNvPr id="63" name="Oval 61"/>
            <p:cNvSpPr>
              <a:spLocks noChangeArrowheads="1"/>
            </p:cNvSpPr>
            <p:nvPr>
              <p:custDataLst>
                <p:tags r:id="rId64"/>
              </p:custDataLst>
            </p:nvPr>
          </p:nvSpPr>
          <p:spPr bwMode="auto">
            <a:xfrm>
              <a:off x="1979613" y="1381125"/>
              <a:ext cx="266700" cy="260350"/>
            </a:xfrm>
            <a:prstGeom prst="ellipse">
              <a:avLst/>
            </a:prstGeom>
            <a:solidFill>
              <a:schemeClr val="accent3"/>
            </a:solidFill>
            <a:ln w="6350" algn="ctr">
              <a:solidFill>
                <a:schemeClr val="bg1"/>
              </a:solidFill>
              <a:round/>
              <a:headEnd type="none" w="sm" len="sm"/>
              <a:tailEnd type="none" w="med" len="lg"/>
            </a:ln>
            <a:effectLst/>
          </p:spPr>
          <p:txBody>
            <a:bodyPr lIns="0" tIns="0" rIns="0" bIns="0" anchor="ctr"/>
            <a:lstStyle/>
            <a:p>
              <a:pPr algn="ctr">
                <a:lnSpc>
                  <a:spcPct val="110000"/>
                </a:lnSpc>
                <a:defRPr/>
              </a:pPr>
              <a:r>
                <a:rPr lang="en-GB" altLang="ja-JP" sz="1400" b="1">
                  <a:solidFill>
                    <a:schemeClr val="bg1"/>
                  </a:solidFill>
                  <a:ea typeface="ＭＳ Ｐゴシック" pitchFamily="50" charset="-128"/>
                  <a:sym typeface="Wingdings" pitchFamily="2" charset="2"/>
                </a:rPr>
                <a:t>1</a:t>
              </a:r>
            </a:p>
          </p:txBody>
        </p:sp>
        <p:sp>
          <p:nvSpPr>
            <p:cNvPr id="64" name="Oval 62"/>
            <p:cNvSpPr>
              <a:spLocks noChangeArrowheads="1"/>
            </p:cNvSpPr>
            <p:nvPr>
              <p:custDataLst>
                <p:tags r:id="rId65"/>
              </p:custDataLst>
            </p:nvPr>
          </p:nvSpPr>
          <p:spPr bwMode="auto">
            <a:xfrm>
              <a:off x="1979613" y="2059002"/>
              <a:ext cx="266700" cy="260350"/>
            </a:xfrm>
            <a:prstGeom prst="ellipse">
              <a:avLst/>
            </a:prstGeom>
            <a:solidFill>
              <a:schemeClr val="accent3"/>
            </a:solidFill>
            <a:ln w="6350" algn="ctr">
              <a:solidFill>
                <a:schemeClr val="bg1"/>
              </a:solidFill>
              <a:round/>
              <a:headEnd type="none" w="sm" len="sm"/>
              <a:tailEnd type="none" w="med" len="lg"/>
            </a:ln>
            <a:effectLst/>
          </p:spPr>
          <p:txBody>
            <a:bodyPr lIns="0" tIns="0" rIns="0" bIns="0" anchor="ctr"/>
            <a:lstStyle/>
            <a:p>
              <a:pPr marL="12700" indent="-12700" algn="ctr">
                <a:lnSpc>
                  <a:spcPct val="110000"/>
                </a:lnSpc>
                <a:defRPr/>
              </a:pPr>
              <a:r>
                <a:rPr lang="en-GB" altLang="ja-JP" sz="1400" b="1">
                  <a:solidFill>
                    <a:schemeClr val="bg1"/>
                  </a:solidFill>
                  <a:ea typeface="ＭＳ Ｐゴシック" pitchFamily="50" charset="-128"/>
                  <a:sym typeface="Wingdings" pitchFamily="2" charset="2"/>
                </a:rPr>
                <a:t>2</a:t>
              </a:r>
            </a:p>
          </p:txBody>
        </p:sp>
        <p:sp>
          <p:nvSpPr>
            <p:cNvPr id="65" name="Oval 63"/>
            <p:cNvSpPr>
              <a:spLocks noChangeArrowheads="1"/>
            </p:cNvSpPr>
            <p:nvPr>
              <p:custDataLst>
                <p:tags r:id="rId66"/>
              </p:custDataLst>
            </p:nvPr>
          </p:nvSpPr>
          <p:spPr bwMode="auto">
            <a:xfrm>
              <a:off x="1979613" y="2832100"/>
              <a:ext cx="266700" cy="260350"/>
            </a:xfrm>
            <a:prstGeom prst="ellipse">
              <a:avLst/>
            </a:prstGeom>
            <a:solidFill>
              <a:schemeClr val="accent3"/>
            </a:solidFill>
            <a:ln w="6350" algn="ctr">
              <a:solidFill>
                <a:schemeClr val="bg1"/>
              </a:solidFill>
              <a:round/>
              <a:headEnd type="none" w="sm" len="sm"/>
              <a:tailEnd type="none" w="med" len="lg"/>
            </a:ln>
            <a:effectLst/>
          </p:spPr>
          <p:txBody>
            <a:bodyPr lIns="0" tIns="0" rIns="0" bIns="0" anchor="ctr"/>
            <a:lstStyle/>
            <a:p>
              <a:pPr marL="12700" indent="-12700" algn="ctr">
                <a:lnSpc>
                  <a:spcPct val="110000"/>
                </a:lnSpc>
                <a:defRPr/>
              </a:pPr>
              <a:r>
                <a:rPr lang="en-GB" altLang="ja-JP" sz="1400" b="1">
                  <a:solidFill>
                    <a:schemeClr val="bg1"/>
                  </a:solidFill>
                  <a:ea typeface="ＭＳ Ｐゴシック" pitchFamily="50" charset="-128"/>
                  <a:sym typeface="Wingdings" pitchFamily="2" charset="2"/>
                </a:rPr>
                <a:t>3</a:t>
              </a:r>
            </a:p>
          </p:txBody>
        </p:sp>
        <p:sp>
          <p:nvSpPr>
            <p:cNvPr id="66" name="Oval 64"/>
            <p:cNvSpPr>
              <a:spLocks noChangeArrowheads="1"/>
            </p:cNvSpPr>
            <p:nvPr>
              <p:custDataLst>
                <p:tags r:id="rId67"/>
              </p:custDataLst>
            </p:nvPr>
          </p:nvSpPr>
          <p:spPr bwMode="auto">
            <a:xfrm>
              <a:off x="1979613" y="3546475"/>
              <a:ext cx="266700" cy="260350"/>
            </a:xfrm>
            <a:prstGeom prst="ellipse">
              <a:avLst/>
            </a:prstGeom>
            <a:solidFill>
              <a:schemeClr val="accent3"/>
            </a:solidFill>
            <a:ln w="6350" algn="ctr">
              <a:solidFill>
                <a:schemeClr val="bg1"/>
              </a:solidFill>
              <a:round/>
              <a:headEnd type="none" w="sm" len="sm"/>
              <a:tailEnd type="none" w="med" len="lg"/>
            </a:ln>
            <a:effectLst/>
          </p:spPr>
          <p:txBody>
            <a:bodyPr lIns="0" tIns="0" rIns="0" bIns="0" anchor="ctr"/>
            <a:lstStyle/>
            <a:p>
              <a:pPr marL="12700" indent="-12700" algn="ctr">
                <a:lnSpc>
                  <a:spcPct val="110000"/>
                </a:lnSpc>
                <a:defRPr/>
              </a:pPr>
              <a:r>
                <a:rPr lang="en-GB" altLang="ja-JP" sz="1400" b="1">
                  <a:solidFill>
                    <a:schemeClr val="bg1"/>
                  </a:solidFill>
                  <a:ea typeface="ＭＳ Ｐゴシック" pitchFamily="50" charset="-128"/>
                  <a:sym typeface="Wingdings" pitchFamily="2" charset="2"/>
                </a:rPr>
                <a:t>4</a:t>
              </a:r>
            </a:p>
          </p:txBody>
        </p:sp>
        <p:sp>
          <p:nvSpPr>
            <p:cNvPr id="67" name="Oval 65"/>
            <p:cNvSpPr>
              <a:spLocks noChangeArrowheads="1"/>
            </p:cNvSpPr>
            <p:nvPr>
              <p:custDataLst>
                <p:tags r:id="rId68"/>
              </p:custDataLst>
            </p:nvPr>
          </p:nvSpPr>
          <p:spPr bwMode="auto">
            <a:xfrm>
              <a:off x="1979613" y="4260850"/>
              <a:ext cx="266700" cy="260350"/>
            </a:xfrm>
            <a:prstGeom prst="ellipse">
              <a:avLst/>
            </a:prstGeom>
            <a:solidFill>
              <a:schemeClr val="accent3"/>
            </a:solidFill>
            <a:ln w="6350" algn="ctr">
              <a:solidFill>
                <a:schemeClr val="bg1"/>
              </a:solidFill>
              <a:round/>
              <a:headEnd type="none" w="sm" len="sm"/>
              <a:tailEnd type="none" w="med" len="lg"/>
            </a:ln>
            <a:effectLst/>
          </p:spPr>
          <p:txBody>
            <a:bodyPr lIns="0" tIns="0" rIns="0" bIns="0" anchor="ctr"/>
            <a:lstStyle/>
            <a:p>
              <a:pPr marL="12700" indent="-12700" algn="ctr">
                <a:lnSpc>
                  <a:spcPct val="110000"/>
                </a:lnSpc>
                <a:defRPr/>
              </a:pPr>
              <a:r>
                <a:rPr lang="en-GB" altLang="ja-JP" sz="1400" b="1">
                  <a:solidFill>
                    <a:schemeClr val="bg1"/>
                  </a:solidFill>
                  <a:ea typeface="ＭＳ Ｐゴシック" pitchFamily="50" charset="-128"/>
                  <a:sym typeface="Wingdings" pitchFamily="2" charset="2"/>
                </a:rPr>
                <a:t>5</a:t>
              </a:r>
            </a:p>
          </p:txBody>
        </p:sp>
        <p:sp>
          <p:nvSpPr>
            <p:cNvPr id="68" name="Oval 66"/>
            <p:cNvSpPr>
              <a:spLocks noChangeArrowheads="1"/>
            </p:cNvSpPr>
            <p:nvPr>
              <p:custDataLst>
                <p:tags r:id="rId69"/>
              </p:custDataLst>
            </p:nvPr>
          </p:nvSpPr>
          <p:spPr bwMode="auto">
            <a:xfrm>
              <a:off x="1979613" y="4975225"/>
              <a:ext cx="266700" cy="260350"/>
            </a:xfrm>
            <a:prstGeom prst="ellipse">
              <a:avLst/>
            </a:prstGeom>
            <a:solidFill>
              <a:schemeClr val="accent3"/>
            </a:solidFill>
            <a:ln w="6350" algn="ctr">
              <a:solidFill>
                <a:schemeClr val="bg1"/>
              </a:solidFill>
              <a:round/>
              <a:headEnd type="none" w="sm" len="sm"/>
              <a:tailEnd type="none" w="med" len="lg"/>
            </a:ln>
            <a:effectLst/>
          </p:spPr>
          <p:txBody>
            <a:bodyPr lIns="0" tIns="0" rIns="0" bIns="0" anchor="ctr"/>
            <a:lstStyle/>
            <a:p>
              <a:pPr marL="12700" indent="-12700" algn="ctr">
                <a:lnSpc>
                  <a:spcPct val="110000"/>
                </a:lnSpc>
                <a:defRPr/>
              </a:pPr>
              <a:r>
                <a:rPr lang="en-GB" altLang="ja-JP" sz="1400" b="1">
                  <a:solidFill>
                    <a:schemeClr val="bg1"/>
                  </a:solidFill>
                  <a:ea typeface="ＭＳ Ｐゴシック" pitchFamily="50" charset="-128"/>
                  <a:sym typeface="Wingdings" pitchFamily="2" charset="2"/>
                </a:rPr>
                <a:t>6</a:t>
              </a:r>
            </a:p>
          </p:txBody>
        </p:sp>
        <p:sp>
          <p:nvSpPr>
            <p:cNvPr id="69" name="Oval 67"/>
            <p:cNvSpPr>
              <a:spLocks noChangeArrowheads="1"/>
            </p:cNvSpPr>
            <p:nvPr>
              <p:custDataLst>
                <p:tags r:id="rId70"/>
              </p:custDataLst>
            </p:nvPr>
          </p:nvSpPr>
          <p:spPr bwMode="auto">
            <a:xfrm>
              <a:off x="1979613" y="5691188"/>
              <a:ext cx="266700" cy="260350"/>
            </a:xfrm>
            <a:prstGeom prst="ellipse">
              <a:avLst/>
            </a:prstGeom>
            <a:solidFill>
              <a:schemeClr val="accent3"/>
            </a:solidFill>
            <a:ln w="6350" algn="ctr">
              <a:solidFill>
                <a:schemeClr val="bg1"/>
              </a:solidFill>
              <a:round/>
              <a:headEnd type="none" w="sm" len="sm"/>
              <a:tailEnd type="none" w="med" len="lg"/>
            </a:ln>
            <a:effectLst/>
          </p:spPr>
          <p:txBody>
            <a:bodyPr lIns="0" tIns="0" rIns="0" bIns="0" anchor="ctr"/>
            <a:lstStyle/>
            <a:p>
              <a:pPr marL="12700" indent="-12700" algn="ctr">
                <a:lnSpc>
                  <a:spcPct val="110000"/>
                </a:lnSpc>
                <a:defRPr/>
              </a:pPr>
              <a:r>
                <a:rPr lang="en-GB" altLang="ja-JP" sz="1400" b="1">
                  <a:solidFill>
                    <a:schemeClr val="bg1"/>
                  </a:solidFill>
                  <a:ea typeface="ＭＳ Ｐゴシック" pitchFamily="50" charset="-128"/>
                  <a:sym typeface="Wingdings" pitchFamily="2" charset="2"/>
                </a:rPr>
                <a:t>7</a:t>
              </a:r>
            </a:p>
          </p:txBody>
        </p:sp>
        <p:sp>
          <p:nvSpPr>
            <p:cNvPr id="70" name="Rectangle 68"/>
            <p:cNvSpPr>
              <a:spLocks noChangeArrowheads="1"/>
            </p:cNvSpPr>
            <p:nvPr>
              <p:custDataLst>
                <p:tags r:id="rId71"/>
              </p:custDataLst>
            </p:nvPr>
          </p:nvSpPr>
          <p:spPr bwMode="auto">
            <a:xfrm>
              <a:off x="5122863" y="4229100"/>
              <a:ext cx="1130300" cy="287338"/>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114" action="ppaction://hlinksldjump"/>
                </a:rPr>
                <a:t>America</a:t>
              </a:r>
              <a:endParaRPr lang="en-GB" altLang="ja-JP" sz="1000">
                <a:solidFill>
                  <a:schemeClr val="tx2"/>
                </a:solidFill>
                <a:ea typeface="ＭＳ Ｐゴシック" pitchFamily="50" charset="-128"/>
              </a:endParaRPr>
            </a:p>
          </p:txBody>
        </p:sp>
        <p:sp>
          <p:nvSpPr>
            <p:cNvPr id="71" name="Rectangle 69"/>
            <p:cNvSpPr>
              <a:spLocks noChangeArrowheads="1"/>
            </p:cNvSpPr>
            <p:nvPr>
              <p:custDataLst>
                <p:tags r:id="rId72"/>
              </p:custDataLst>
            </p:nvPr>
          </p:nvSpPr>
          <p:spPr bwMode="auto">
            <a:xfrm>
              <a:off x="3879850" y="4586288"/>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115" action="ppaction://hlinksldjump"/>
                </a:rPr>
                <a:t>Europe</a:t>
              </a:r>
              <a:endParaRPr lang="en-GB" altLang="ja-JP" sz="1000">
                <a:solidFill>
                  <a:schemeClr val="tx2"/>
                </a:solidFill>
                <a:ea typeface="ＭＳ Ｐゴシック" pitchFamily="50" charset="-128"/>
              </a:endParaRPr>
            </a:p>
          </p:txBody>
        </p:sp>
        <p:sp>
          <p:nvSpPr>
            <p:cNvPr id="72" name="Rectangle 70"/>
            <p:cNvSpPr>
              <a:spLocks noChangeArrowheads="1"/>
            </p:cNvSpPr>
            <p:nvPr>
              <p:custDataLst>
                <p:tags r:id="rId73"/>
              </p:custDataLst>
            </p:nvPr>
          </p:nvSpPr>
          <p:spPr bwMode="auto">
            <a:xfrm>
              <a:off x="7608888" y="3511550"/>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en-GB" altLang="ja-JP" sz="1000">
                  <a:solidFill>
                    <a:schemeClr val="tx2"/>
                  </a:solidFill>
                  <a:ea typeface="ＭＳ Ｐゴシック" pitchFamily="50" charset="-128"/>
                  <a:hlinkClick r:id="rId116" action="ppaction://hlinksldjump"/>
                </a:rPr>
                <a:t>Others</a:t>
              </a:r>
              <a:endParaRPr lang="en-GB" altLang="ja-JP" sz="1000">
                <a:solidFill>
                  <a:schemeClr val="tx2"/>
                </a:solidFill>
                <a:ea typeface="ＭＳ Ｐゴシック" pitchFamily="50" charset="-128"/>
              </a:endParaRPr>
            </a:p>
          </p:txBody>
        </p:sp>
        <p:sp>
          <p:nvSpPr>
            <p:cNvPr id="74" name="Rectangle 73"/>
            <p:cNvSpPr>
              <a:spLocks noChangeArrowheads="1"/>
            </p:cNvSpPr>
            <p:nvPr>
              <p:custDataLst>
                <p:tags r:id="rId74"/>
              </p:custDataLst>
            </p:nvPr>
          </p:nvSpPr>
          <p:spPr bwMode="auto">
            <a:xfrm>
              <a:off x="3879850" y="1719263"/>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nl-NL" altLang="ja-JP" sz="1000" dirty="0">
                  <a:solidFill>
                    <a:schemeClr val="tx2"/>
                  </a:solidFill>
                  <a:ea typeface="ＭＳ Ｐゴシック" pitchFamily="50" charset="-128"/>
                </a:rPr>
                <a:t>Text </a:t>
              </a:r>
              <a:r>
                <a:rPr lang="nl-NL" altLang="ja-JP" sz="1000" dirty="0" smtClean="0">
                  <a:solidFill>
                    <a:schemeClr val="tx2"/>
                  </a:solidFill>
                  <a:ea typeface="ＭＳ Ｐゴシック" pitchFamily="50" charset="-128"/>
                </a:rPr>
                <a:t>charts</a:t>
              </a:r>
              <a:endParaRPr lang="nl-NL" altLang="ja-JP" sz="1000" dirty="0">
                <a:solidFill>
                  <a:schemeClr val="tx2"/>
                </a:solidFill>
                <a:ea typeface="ＭＳ Ｐゴシック" pitchFamily="50" charset="-128"/>
              </a:endParaRPr>
            </a:p>
          </p:txBody>
        </p:sp>
        <p:cxnSp>
          <p:nvCxnSpPr>
            <p:cNvPr id="75" name="AutoShape 74"/>
            <p:cNvCxnSpPr>
              <a:cxnSpLocks noChangeShapeType="1"/>
              <a:stCxn id="4" idx="3"/>
              <a:endCxn id="74" idx="1"/>
            </p:cNvCxnSpPr>
            <p:nvPr>
              <p:custDataLst>
                <p:tags r:id="rId75"/>
              </p:custDataLst>
            </p:nvPr>
          </p:nvCxnSpPr>
          <p:spPr bwMode="gray">
            <a:xfrm>
              <a:off x="3597275" y="1687513"/>
              <a:ext cx="282575" cy="176213"/>
            </a:xfrm>
            <a:prstGeom prst="bentConnector3">
              <a:avLst>
                <a:gd name="adj1" fmla="val 50000"/>
              </a:avLst>
            </a:prstGeom>
            <a:noFill/>
            <a:ln w="12700">
              <a:solidFill>
                <a:schemeClr val="tx1"/>
              </a:solidFill>
              <a:miter lim="800000"/>
              <a:headEnd/>
              <a:tailEnd/>
            </a:ln>
          </p:spPr>
        </p:cxnSp>
        <p:sp>
          <p:nvSpPr>
            <p:cNvPr id="76" name="Rectangle 75"/>
            <p:cNvSpPr>
              <a:spLocks noChangeArrowheads="1"/>
            </p:cNvSpPr>
            <p:nvPr>
              <p:custDataLst>
                <p:tags r:id="rId76"/>
              </p:custDataLst>
            </p:nvPr>
          </p:nvSpPr>
          <p:spPr bwMode="auto">
            <a:xfrm>
              <a:off x="5122863" y="5662613"/>
              <a:ext cx="1130300" cy="288925"/>
            </a:xfrm>
            <a:prstGeom prst="rect">
              <a:avLst/>
            </a:prstGeom>
            <a:solidFill>
              <a:schemeClr val="bg1"/>
            </a:solidFill>
            <a:ln w="12700" algn="ctr">
              <a:solidFill>
                <a:schemeClr val="accent3"/>
              </a:solidFill>
              <a:miter lim="800000"/>
              <a:headEnd/>
              <a:tailEnd/>
            </a:ln>
          </p:spPr>
          <p:txBody>
            <a:bodyPr tIns="91440" bIns="91440" anchor="ctr"/>
            <a:lstStyle/>
            <a:p>
              <a:pPr algn="ctr">
                <a:defRPr/>
              </a:pPr>
              <a:r>
                <a:rPr lang="nl-NL" altLang="ja-JP" sz="1000">
                  <a:solidFill>
                    <a:schemeClr val="tx2"/>
                  </a:solidFill>
                  <a:ea typeface="ＭＳ Ｐゴシック" pitchFamily="50" charset="-128"/>
                  <a:hlinkClick r:id="rId117" action="ppaction://hlinksldjump"/>
                </a:rPr>
                <a:t>Forces at work</a:t>
              </a:r>
              <a:endParaRPr lang="nl-NL" altLang="ja-JP" sz="1000">
                <a:solidFill>
                  <a:schemeClr val="tx2"/>
                </a:solidFill>
                <a:ea typeface="ＭＳ Ｐゴシック" pitchFamily="50" charset="-128"/>
              </a:endParaRPr>
            </a:p>
          </p:txBody>
        </p:sp>
      </p:gr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4945" name="Title 1"/>
          <p:cNvSpPr>
            <a:spLocks noGrp="1"/>
          </p:cNvSpPr>
          <p:nvPr>
            <p:ph type="title"/>
          </p:nvPr>
        </p:nvSpPr>
        <p:spPr>
          <a:xfrm>
            <a:off x="414338" y="446038"/>
            <a:ext cx="8330184" cy="333425"/>
          </a:xfrm>
        </p:spPr>
        <p:txBody>
          <a:bodyPr/>
          <a:lstStyle/>
          <a:p>
            <a:r>
              <a:rPr lang="nl-NL"/>
              <a:t>Text blocks </a:t>
            </a:r>
            <a:r>
              <a:rPr lang="en-US"/>
              <a:t>—</a:t>
            </a:r>
            <a:r>
              <a:rPr lang="nl-NL" smtClean="0"/>
              <a:t> </a:t>
            </a:r>
            <a:r>
              <a:rPr lang="nl-NL"/>
              <a:t>sequence</a:t>
            </a:r>
          </a:p>
        </p:txBody>
      </p:sp>
      <p:sp>
        <p:nvSpPr>
          <p:cNvPr id="594947" name="Rectangle 3"/>
          <p:cNvSpPr>
            <a:spLocks noChangeArrowheads="1"/>
          </p:cNvSpPr>
          <p:nvPr/>
        </p:nvSpPr>
        <p:spPr bwMode="gray">
          <a:xfrm>
            <a:off x="930275" y="1597754"/>
            <a:ext cx="3776663" cy="647700"/>
          </a:xfrm>
          <a:prstGeom prst="rect">
            <a:avLst/>
          </a:prstGeom>
          <a:solidFill>
            <a:srgbClr val="00A1DE"/>
          </a:solidFill>
          <a:ln w="9525" algn="ctr">
            <a:noFill/>
            <a:miter lim="800000"/>
            <a:headEnd/>
            <a:tailEnd/>
          </a:ln>
        </p:spPr>
        <p:txBody>
          <a:bodyPr lIns="18000" tIns="45720" rIns="18000" bIns="18000"/>
          <a:lstStyle/>
          <a:p>
            <a:pPr marL="168275" lvl="1" indent="-109538" algn="l" defTabSz="957263">
              <a:spcBef>
                <a:spcPts val="400"/>
              </a:spcBef>
              <a:buFont typeface="Arial" charset="0"/>
              <a:buChar char="•"/>
            </a:pPr>
            <a:r>
              <a:rPr lang="nl-NL" sz="1400" b="0" dirty="0" smtClean="0">
                <a:solidFill>
                  <a:schemeClr val="bg1"/>
                </a:solidFill>
              </a:rPr>
              <a:t>Bullet</a:t>
            </a:r>
          </a:p>
          <a:p>
            <a:pPr marL="285750" lvl="3" indent="-117475" algn="l" defTabSz="957263">
              <a:spcBef>
                <a:spcPts val="400"/>
              </a:spcBef>
              <a:buFont typeface="Arial" charset="0"/>
              <a:buChar char="‒"/>
            </a:pPr>
            <a:r>
              <a:rPr lang="nl-NL" sz="1200" b="0" dirty="0">
                <a:solidFill>
                  <a:schemeClr val="bg1"/>
                </a:solidFill>
              </a:rPr>
              <a:t>Dash</a:t>
            </a:r>
          </a:p>
        </p:txBody>
      </p:sp>
      <p:sp>
        <p:nvSpPr>
          <p:cNvPr id="594948" name="Rectangle 4"/>
          <p:cNvSpPr>
            <a:spLocks noChangeArrowheads="1"/>
          </p:cNvSpPr>
          <p:nvPr/>
        </p:nvSpPr>
        <p:spPr bwMode="gray">
          <a:xfrm>
            <a:off x="2105025" y="2582004"/>
            <a:ext cx="3775075" cy="647700"/>
          </a:xfrm>
          <a:prstGeom prst="rect">
            <a:avLst/>
          </a:prstGeom>
          <a:solidFill>
            <a:schemeClr val="accent3"/>
          </a:solidFill>
          <a:ln w="9525" algn="ctr">
            <a:noFill/>
            <a:miter lim="800000"/>
            <a:headEnd/>
            <a:tailEnd/>
          </a:ln>
        </p:spPr>
        <p:txBody>
          <a:bodyPr lIns="18000" tIns="45720" rIns="18000" bIns="18000"/>
          <a:lstStyle/>
          <a:p>
            <a:pPr marL="168275" lvl="1" indent="-109538" algn="l" defTabSz="957263">
              <a:spcBef>
                <a:spcPts val="400"/>
              </a:spcBef>
              <a:buFont typeface="Arial" charset="0"/>
              <a:buChar char="•"/>
            </a:pPr>
            <a:r>
              <a:rPr lang="nl-NL" sz="1400" b="0" dirty="0" smtClean="0">
                <a:solidFill>
                  <a:schemeClr val="bg1"/>
                </a:solidFill>
              </a:rPr>
              <a:t>Bullet</a:t>
            </a:r>
          </a:p>
          <a:p>
            <a:pPr marL="285750" lvl="3" indent="-117475" algn="l" defTabSz="957263">
              <a:spcBef>
                <a:spcPts val="400"/>
              </a:spcBef>
              <a:buFont typeface="Arial" charset="0"/>
              <a:buChar char="‒"/>
            </a:pPr>
            <a:r>
              <a:rPr lang="nl-NL" sz="1200" b="0" dirty="0" smtClean="0">
                <a:solidFill>
                  <a:schemeClr val="bg1"/>
                </a:solidFill>
              </a:rPr>
              <a:t>Dash</a:t>
            </a:r>
            <a:endParaRPr lang="nl-NL" sz="1200" b="0" dirty="0">
              <a:solidFill>
                <a:schemeClr val="bg1"/>
              </a:solidFill>
            </a:endParaRPr>
          </a:p>
        </p:txBody>
      </p:sp>
      <p:sp>
        <p:nvSpPr>
          <p:cNvPr id="594949" name="Rectangle 5"/>
          <p:cNvSpPr>
            <a:spLocks noChangeArrowheads="1"/>
          </p:cNvSpPr>
          <p:nvPr/>
        </p:nvSpPr>
        <p:spPr bwMode="gray">
          <a:xfrm>
            <a:off x="3278188" y="3564666"/>
            <a:ext cx="3776662" cy="647700"/>
          </a:xfrm>
          <a:prstGeom prst="rect">
            <a:avLst/>
          </a:prstGeom>
          <a:solidFill>
            <a:schemeClr val="accent3"/>
          </a:solidFill>
          <a:ln w="9525" algn="ctr">
            <a:noFill/>
            <a:miter lim="800000"/>
            <a:headEnd/>
            <a:tailEnd/>
          </a:ln>
        </p:spPr>
        <p:txBody>
          <a:bodyPr lIns="18000" tIns="45720" rIns="18000" bIns="18000"/>
          <a:lstStyle/>
          <a:p>
            <a:pPr marL="168275" lvl="1" indent="-109538" algn="l" defTabSz="957263">
              <a:spcBef>
                <a:spcPts val="400"/>
              </a:spcBef>
              <a:buFont typeface="Arial" charset="0"/>
              <a:buChar char="•"/>
            </a:pPr>
            <a:r>
              <a:rPr lang="nl-NL" sz="1400" b="0" dirty="0" smtClean="0">
                <a:solidFill>
                  <a:schemeClr val="bg1"/>
                </a:solidFill>
              </a:rPr>
              <a:t>Bullet</a:t>
            </a:r>
          </a:p>
          <a:p>
            <a:pPr marL="285750" lvl="3" indent="-117475" algn="l" defTabSz="957263">
              <a:spcBef>
                <a:spcPts val="400"/>
              </a:spcBef>
              <a:buFont typeface="Arial" charset="0"/>
              <a:buChar char="‒"/>
            </a:pPr>
            <a:r>
              <a:rPr lang="nl-NL" sz="1200" b="0" dirty="0" smtClean="0">
                <a:solidFill>
                  <a:schemeClr val="bg1"/>
                </a:solidFill>
              </a:rPr>
              <a:t>Dash</a:t>
            </a:r>
            <a:endParaRPr lang="nl-NL" sz="1200" b="0" dirty="0">
              <a:solidFill>
                <a:schemeClr val="bg1"/>
              </a:solidFill>
            </a:endParaRPr>
          </a:p>
        </p:txBody>
      </p:sp>
      <p:sp>
        <p:nvSpPr>
          <p:cNvPr id="594950" name="Rectangle 6"/>
          <p:cNvSpPr>
            <a:spLocks noChangeArrowheads="1"/>
          </p:cNvSpPr>
          <p:nvPr/>
        </p:nvSpPr>
        <p:spPr bwMode="gray">
          <a:xfrm>
            <a:off x="4451350" y="4548916"/>
            <a:ext cx="3776663" cy="647700"/>
          </a:xfrm>
          <a:prstGeom prst="rect">
            <a:avLst/>
          </a:prstGeom>
          <a:solidFill>
            <a:schemeClr val="accent3"/>
          </a:solidFill>
          <a:ln w="9525" algn="ctr">
            <a:noFill/>
            <a:miter lim="800000"/>
            <a:headEnd/>
            <a:tailEnd/>
          </a:ln>
        </p:spPr>
        <p:txBody>
          <a:bodyPr lIns="18000" tIns="45720" rIns="18000" bIns="18000"/>
          <a:lstStyle/>
          <a:p>
            <a:pPr marL="168275" lvl="1" indent="-109538" algn="l" defTabSz="957263">
              <a:spcBef>
                <a:spcPts val="400"/>
              </a:spcBef>
              <a:buFont typeface="Arial" charset="0"/>
              <a:buChar char="•"/>
            </a:pPr>
            <a:r>
              <a:rPr lang="nl-NL" sz="1400" b="0" dirty="0" smtClean="0">
                <a:solidFill>
                  <a:schemeClr val="bg1"/>
                </a:solidFill>
              </a:rPr>
              <a:t>Bullet</a:t>
            </a:r>
          </a:p>
          <a:p>
            <a:pPr marL="285750" lvl="3" indent="-117475" algn="l" defTabSz="957263">
              <a:spcBef>
                <a:spcPts val="400"/>
              </a:spcBef>
              <a:buFont typeface="Arial" charset="0"/>
              <a:buChar char="‒"/>
            </a:pPr>
            <a:r>
              <a:rPr lang="nl-NL" sz="1200" b="0" dirty="0" smtClean="0">
                <a:solidFill>
                  <a:schemeClr val="bg1"/>
                </a:solidFill>
              </a:rPr>
              <a:t>Dash</a:t>
            </a:r>
            <a:endParaRPr lang="nl-NL" sz="1200" b="0" dirty="0">
              <a:solidFill>
                <a:schemeClr val="bg1"/>
              </a:solidFill>
            </a:endParaRPr>
          </a:p>
        </p:txBody>
      </p:sp>
      <p:grpSp>
        <p:nvGrpSpPr>
          <p:cNvPr id="2" name="Group 7"/>
          <p:cNvGrpSpPr>
            <a:grpSpLocks/>
          </p:cNvGrpSpPr>
          <p:nvPr/>
        </p:nvGrpSpPr>
        <p:grpSpPr bwMode="auto">
          <a:xfrm flipV="1">
            <a:off x="1525588" y="2389916"/>
            <a:ext cx="398462" cy="576263"/>
            <a:chOff x="4073" y="2750"/>
            <a:chExt cx="408" cy="363"/>
          </a:xfrm>
        </p:grpSpPr>
        <p:sp>
          <p:nvSpPr>
            <p:cNvPr id="9" name="Line 8"/>
            <p:cNvSpPr>
              <a:spLocks noChangeShapeType="1"/>
            </p:cNvSpPr>
            <p:nvPr/>
          </p:nvSpPr>
          <p:spPr bwMode="auto">
            <a:xfrm flipV="1">
              <a:off x="4073" y="2750"/>
              <a:ext cx="0" cy="363"/>
            </a:xfrm>
            <a:prstGeom prst="line">
              <a:avLst/>
            </a:prstGeom>
            <a:noFill/>
            <a:ln w="12700">
              <a:solidFill>
                <a:schemeClr val="tx2"/>
              </a:solidFill>
              <a:round/>
              <a:headEnd/>
              <a:tailEnd/>
            </a:ln>
          </p:spPr>
          <p:txBody>
            <a:bodyPr tIns="91440" bIns="91440" anchor="ctr"/>
            <a:lstStyle/>
            <a:p>
              <a:pPr>
                <a:defRPr/>
              </a:pPr>
              <a:endParaRPr lang="en-GB"/>
            </a:p>
          </p:txBody>
        </p:sp>
        <p:sp>
          <p:nvSpPr>
            <p:cNvPr id="10" name="Line 9"/>
            <p:cNvSpPr>
              <a:spLocks noChangeShapeType="1"/>
            </p:cNvSpPr>
            <p:nvPr/>
          </p:nvSpPr>
          <p:spPr bwMode="auto">
            <a:xfrm>
              <a:off x="4073" y="2750"/>
              <a:ext cx="408" cy="0"/>
            </a:xfrm>
            <a:prstGeom prst="line">
              <a:avLst/>
            </a:prstGeom>
            <a:noFill/>
            <a:ln w="12700">
              <a:solidFill>
                <a:schemeClr val="tx2"/>
              </a:solidFill>
              <a:round/>
              <a:headEnd/>
              <a:tailEnd type="triangle" w="med" len="med"/>
            </a:ln>
          </p:spPr>
          <p:txBody>
            <a:bodyPr tIns="91440" bIns="91440" anchor="ctr"/>
            <a:lstStyle/>
            <a:p>
              <a:pPr>
                <a:defRPr/>
              </a:pPr>
              <a:endParaRPr lang="en-GB"/>
            </a:p>
          </p:txBody>
        </p:sp>
      </p:grpSp>
      <p:grpSp>
        <p:nvGrpSpPr>
          <p:cNvPr id="3" name="Group 10"/>
          <p:cNvGrpSpPr>
            <a:grpSpLocks/>
          </p:cNvGrpSpPr>
          <p:nvPr/>
        </p:nvGrpSpPr>
        <p:grpSpPr bwMode="auto">
          <a:xfrm flipV="1">
            <a:off x="2700338" y="3361466"/>
            <a:ext cx="400050" cy="576263"/>
            <a:chOff x="4073" y="2750"/>
            <a:chExt cx="408" cy="363"/>
          </a:xfrm>
        </p:grpSpPr>
        <p:sp>
          <p:nvSpPr>
            <p:cNvPr id="12" name="Line 11"/>
            <p:cNvSpPr>
              <a:spLocks noChangeShapeType="1"/>
            </p:cNvSpPr>
            <p:nvPr/>
          </p:nvSpPr>
          <p:spPr bwMode="auto">
            <a:xfrm flipV="1">
              <a:off x="4073" y="2750"/>
              <a:ext cx="0" cy="363"/>
            </a:xfrm>
            <a:prstGeom prst="line">
              <a:avLst/>
            </a:prstGeom>
            <a:noFill/>
            <a:ln w="12700">
              <a:solidFill>
                <a:schemeClr val="tx2"/>
              </a:solidFill>
              <a:round/>
              <a:headEnd/>
              <a:tailEnd/>
            </a:ln>
          </p:spPr>
          <p:txBody>
            <a:bodyPr tIns="91440" bIns="91440" anchor="ctr"/>
            <a:lstStyle/>
            <a:p>
              <a:pPr>
                <a:defRPr/>
              </a:pPr>
              <a:endParaRPr lang="en-GB"/>
            </a:p>
          </p:txBody>
        </p:sp>
        <p:sp>
          <p:nvSpPr>
            <p:cNvPr id="13" name="Line 12"/>
            <p:cNvSpPr>
              <a:spLocks noChangeShapeType="1"/>
            </p:cNvSpPr>
            <p:nvPr/>
          </p:nvSpPr>
          <p:spPr bwMode="auto">
            <a:xfrm>
              <a:off x="4073" y="2750"/>
              <a:ext cx="408" cy="0"/>
            </a:xfrm>
            <a:prstGeom prst="line">
              <a:avLst/>
            </a:prstGeom>
            <a:noFill/>
            <a:ln w="12700">
              <a:solidFill>
                <a:schemeClr val="tx2"/>
              </a:solidFill>
              <a:round/>
              <a:headEnd/>
              <a:tailEnd type="triangle" w="med" len="med"/>
            </a:ln>
          </p:spPr>
          <p:txBody>
            <a:bodyPr tIns="91440" bIns="91440" anchor="ctr"/>
            <a:lstStyle/>
            <a:p>
              <a:pPr>
                <a:defRPr/>
              </a:pPr>
              <a:endParaRPr lang="en-GB"/>
            </a:p>
          </p:txBody>
        </p:sp>
      </p:grpSp>
      <p:grpSp>
        <p:nvGrpSpPr>
          <p:cNvPr id="4" name="Group 13"/>
          <p:cNvGrpSpPr>
            <a:grpSpLocks/>
          </p:cNvGrpSpPr>
          <p:nvPr/>
        </p:nvGrpSpPr>
        <p:grpSpPr bwMode="auto">
          <a:xfrm flipV="1">
            <a:off x="3876675" y="4333016"/>
            <a:ext cx="398463" cy="576263"/>
            <a:chOff x="4073" y="2750"/>
            <a:chExt cx="408" cy="363"/>
          </a:xfrm>
        </p:grpSpPr>
        <p:sp>
          <p:nvSpPr>
            <p:cNvPr id="15" name="Line 14"/>
            <p:cNvSpPr>
              <a:spLocks noChangeShapeType="1"/>
            </p:cNvSpPr>
            <p:nvPr/>
          </p:nvSpPr>
          <p:spPr bwMode="auto">
            <a:xfrm flipV="1">
              <a:off x="4073" y="2750"/>
              <a:ext cx="0" cy="363"/>
            </a:xfrm>
            <a:prstGeom prst="line">
              <a:avLst/>
            </a:prstGeom>
            <a:noFill/>
            <a:ln w="12700">
              <a:solidFill>
                <a:schemeClr val="tx2"/>
              </a:solidFill>
              <a:round/>
              <a:headEnd/>
              <a:tailEnd/>
            </a:ln>
          </p:spPr>
          <p:txBody>
            <a:bodyPr tIns="91440" bIns="91440" anchor="ctr"/>
            <a:lstStyle/>
            <a:p>
              <a:pPr>
                <a:defRPr/>
              </a:pPr>
              <a:endParaRPr lang="en-GB"/>
            </a:p>
          </p:txBody>
        </p:sp>
        <p:sp>
          <p:nvSpPr>
            <p:cNvPr id="16" name="Line 15"/>
            <p:cNvSpPr>
              <a:spLocks noChangeShapeType="1"/>
            </p:cNvSpPr>
            <p:nvPr/>
          </p:nvSpPr>
          <p:spPr bwMode="auto">
            <a:xfrm>
              <a:off x="4073" y="2750"/>
              <a:ext cx="408" cy="0"/>
            </a:xfrm>
            <a:prstGeom prst="line">
              <a:avLst/>
            </a:prstGeom>
            <a:noFill/>
            <a:ln w="12700">
              <a:solidFill>
                <a:schemeClr val="tx2"/>
              </a:solidFill>
              <a:round/>
              <a:headEnd/>
              <a:tailEnd type="triangle" w="med" len="med"/>
            </a:ln>
          </p:spPr>
          <p:txBody>
            <a:bodyPr tIns="91440" bIns="91440" anchor="ctr"/>
            <a:lstStyle/>
            <a:p>
              <a:pPr>
                <a:defRPr/>
              </a:pPr>
              <a:endParaRPr lang="en-GB"/>
            </a:p>
          </p:txBody>
        </p:sp>
      </p:grpSp>
      <p:sp>
        <p:nvSpPr>
          <p:cNvPr id="19"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20"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5969" name="Title 1"/>
          <p:cNvSpPr>
            <a:spLocks noGrp="1"/>
          </p:cNvSpPr>
          <p:nvPr>
            <p:ph type="title"/>
          </p:nvPr>
        </p:nvSpPr>
        <p:spPr>
          <a:xfrm>
            <a:off x="414338" y="446038"/>
            <a:ext cx="8330184" cy="333425"/>
          </a:xfrm>
        </p:spPr>
        <p:txBody>
          <a:bodyPr/>
          <a:lstStyle/>
          <a:p>
            <a:r>
              <a:rPr lang="nl-NL"/>
              <a:t>Text blocks </a:t>
            </a:r>
            <a:r>
              <a:rPr lang="en-US"/>
              <a:t>—</a:t>
            </a:r>
            <a:r>
              <a:rPr lang="nl-NL" smtClean="0"/>
              <a:t> </a:t>
            </a:r>
            <a:r>
              <a:rPr lang="nl-NL"/>
              <a:t>enveloping elements</a:t>
            </a:r>
          </a:p>
        </p:txBody>
      </p:sp>
      <p:sp>
        <p:nvSpPr>
          <p:cNvPr id="4" name="Arc 2"/>
          <p:cNvSpPr>
            <a:spLocks/>
          </p:cNvSpPr>
          <p:nvPr/>
        </p:nvSpPr>
        <p:spPr bwMode="auto">
          <a:xfrm>
            <a:off x="1914525" y="2168102"/>
            <a:ext cx="5294313" cy="2224087"/>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635000">
            <a:solidFill>
              <a:schemeClr val="accent3"/>
            </a:solidFill>
            <a:round/>
            <a:headEnd/>
            <a:tailEnd/>
          </a:ln>
        </p:spPr>
        <p:txBody>
          <a:bodyPr wrap="none" lIns="0" tIns="0" rIns="0" bIns="0" anchor="ctr"/>
          <a:lstStyle/>
          <a:p>
            <a:pPr algn="ctr">
              <a:defRPr/>
            </a:pPr>
            <a:r>
              <a:rPr lang="en-GB" altLang="ja-JP" sz="1400" b="1">
                <a:solidFill>
                  <a:schemeClr val="tx2"/>
                </a:solidFill>
                <a:ea typeface="ＭＳ Ｐゴシック" pitchFamily="50" charset="-128"/>
              </a:rPr>
              <a:t>Text</a:t>
            </a:r>
          </a:p>
        </p:txBody>
      </p:sp>
      <p:sp>
        <p:nvSpPr>
          <p:cNvPr id="595972" name="AutoShape 4"/>
          <p:cNvSpPr>
            <a:spLocks noChangeArrowheads="1"/>
          </p:cNvSpPr>
          <p:nvPr/>
        </p:nvSpPr>
        <p:spPr bwMode="auto">
          <a:xfrm flipV="1">
            <a:off x="3322638" y="4171527"/>
            <a:ext cx="2473325" cy="241300"/>
          </a:xfrm>
          <a:prstGeom prst="triangle">
            <a:avLst>
              <a:gd name="adj" fmla="val 50000"/>
            </a:avLst>
          </a:prstGeom>
          <a:solidFill>
            <a:schemeClr val="accent3"/>
          </a:solidFill>
          <a:ln w="6350" algn="ctr">
            <a:noFill/>
            <a:miter lim="800000"/>
            <a:headEnd/>
            <a:tailEnd/>
          </a:ln>
        </p:spPr>
        <p:txBody>
          <a:bodyPr rot="10800000" tIns="91440" bIns="91440" anchor="ctr"/>
          <a:lstStyle/>
          <a:p>
            <a:pPr algn="ctr"/>
            <a:endParaRPr lang="en-GB" sz="1400"/>
          </a:p>
        </p:txBody>
      </p:sp>
      <p:sp>
        <p:nvSpPr>
          <p:cNvPr id="6" name="Oval 5"/>
          <p:cNvSpPr>
            <a:spLocks noChangeArrowheads="1"/>
          </p:cNvSpPr>
          <p:nvPr/>
        </p:nvSpPr>
        <p:spPr bwMode="gray">
          <a:xfrm>
            <a:off x="847725" y="3388889"/>
            <a:ext cx="1738313" cy="876300"/>
          </a:xfrm>
          <a:prstGeom prst="ellipse">
            <a:avLst/>
          </a:prstGeom>
          <a:solidFill>
            <a:schemeClr val="bg1"/>
          </a:solidFill>
          <a:ln w="12700" algn="ctr">
            <a:solidFill>
              <a:schemeClr val="accent3"/>
            </a:solidFill>
            <a:round/>
            <a:headEnd/>
            <a:tailEnd/>
          </a:ln>
        </p:spPr>
        <p:txBody>
          <a:bodyPr lIns="18000" tIns="18000" rIns="18000" bIns="18000" anchor="ctr" anchorCtr="1"/>
          <a:lstStyle/>
          <a:p>
            <a:pPr algn="ctr">
              <a:lnSpc>
                <a:spcPct val="106000"/>
              </a:lnSpc>
              <a:buClr>
                <a:schemeClr val="tx1"/>
              </a:buClr>
              <a:buFont typeface="Wingdings 2" pitchFamily="18" charset="2"/>
              <a:buNone/>
              <a:defRPr/>
            </a:pPr>
            <a:r>
              <a:rPr lang="en-GB" sz="1200" dirty="0" smtClean="0">
                <a:solidFill>
                  <a:schemeClr val="tx2"/>
                </a:solidFill>
                <a:ea typeface="ＭＳ Ｐゴシック" pitchFamily="50" charset="-128"/>
              </a:rPr>
              <a:t>Text</a:t>
            </a:r>
            <a:endParaRPr lang="en-GB" sz="1200" dirty="0">
              <a:solidFill>
                <a:schemeClr val="tx2"/>
              </a:solidFill>
              <a:ea typeface="ＭＳ Ｐゴシック" pitchFamily="50" charset="-128"/>
            </a:endParaRPr>
          </a:p>
        </p:txBody>
      </p:sp>
      <p:sp>
        <p:nvSpPr>
          <p:cNvPr id="7" name="Oval 6"/>
          <p:cNvSpPr>
            <a:spLocks noChangeArrowheads="1"/>
          </p:cNvSpPr>
          <p:nvPr/>
        </p:nvSpPr>
        <p:spPr bwMode="gray">
          <a:xfrm>
            <a:off x="1765300" y="2496714"/>
            <a:ext cx="1738313" cy="876300"/>
          </a:xfrm>
          <a:prstGeom prst="ellipse">
            <a:avLst/>
          </a:prstGeom>
          <a:solidFill>
            <a:schemeClr val="bg1"/>
          </a:solidFill>
          <a:ln w="12700" algn="ctr">
            <a:solidFill>
              <a:schemeClr val="accent3"/>
            </a:solidFill>
            <a:round/>
            <a:headEnd/>
            <a:tailEnd/>
          </a:ln>
        </p:spPr>
        <p:txBody>
          <a:bodyPr lIns="18000" tIns="18000" rIns="18000" bIns="18000" anchor="ctr" anchorCtr="1"/>
          <a:lstStyle/>
          <a:p>
            <a:pPr>
              <a:lnSpc>
                <a:spcPct val="106000"/>
              </a:lnSpc>
              <a:buClr>
                <a:schemeClr val="tx1"/>
              </a:buClr>
              <a:defRPr/>
            </a:pPr>
            <a:r>
              <a:rPr lang="en-GB" sz="1400" dirty="0" smtClean="0">
                <a:solidFill>
                  <a:schemeClr val="tx2"/>
                </a:solidFill>
                <a:ea typeface="ＭＳ Ｐゴシック" pitchFamily="50" charset="-128"/>
              </a:rPr>
              <a:t>Text</a:t>
            </a:r>
            <a:endParaRPr lang="en-GB" sz="1400" dirty="0">
              <a:solidFill>
                <a:schemeClr val="tx2"/>
              </a:solidFill>
              <a:ea typeface="ＭＳ Ｐゴシック" pitchFamily="50" charset="-128"/>
            </a:endParaRPr>
          </a:p>
        </p:txBody>
      </p:sp>
      <p:sp>
        <p:nvSpPr>
          <p:cNvPr id="8" name="Oval 7"/>
          <p:cNvSpPr>
            <a:spLocks noChangeArrowheads="1"/>
          </p:cNvSpPr>
          <p:nvPr/>
        </p:nvSpPr>
        <p:spPr bwMode="gray">
          <a:xfrm>
            <a:off x="2681288" y="1604539"/>
            <a:ext cx="1738312" cy="876300"/>
          </a:xfrm>
          <a:prstGeom prst="ellipse">
            <a:avLst/>
          </a:prstGeom>
          <a:solidFill>
            <a:schemeClr val="bg1"/>
          </a:solidFill>
          <a:ln w="12700" algn="ctr">
            <a:solidFill>
              <a:schemeClr val="accent3"/>
            </a:solidFill>
            <a:round/>
            <a:headEnd/>
            <a:tailEnd/>
          </a:ln>
        </p:spPr>
        <p:txBody>
          <a:bodyPr lIns="18000" tIns="18000" rIns="18000" bIns="18000" anchor="ctr" anchorCtr="1"/>
          <a:lstStyle/>
          <a:p>
            <a:pPr>
              <a:lnSpc>
                <a:spcPct val="106000"/>
              </a:lnSpc>
              <a:buClr>
                <a:schemeClr val="tx1"/>
              </a:buClr>
              <a:defRPr/>
            </a:pPr>
            <a:r>
              <a:rPr lang="en-GB" sz="1400" dirty="0" smtClean="0">
                <a:solidFill>
                  <a:schemeClr val="tx2"/>
                </a:solidFill>
                <a:ea typeface="ＭＳ Ｐゴシック" pitchFamily="50" charset="-128"/>
              </a:rPr>
              <a:t>Text</a:t>
            </a:r>
            <a:endParaRPr lang="en-GB" sz="1400" dirty="0">
              <a:solidFill>
                <a:schemeClr val="tx2"/>
              </a:solidFill>
              <a:ea typeface="ＭＳ Ｐゴシック" pitchFamily="50" charset="-128"/>
            </a:endParaRPr>
          </a:p>
        </p:txBody>
      </p:sp>
      <p:sp>
        <p:nvSpPr>
          <p:cNvPr id="9" name="Oval 8"/>
          <p:cNvSpPr>
            <a:spLocks noChangeArrowheads="1"/>
          </p:cNvSpPr>
          <p:nvPr/>
        </p:nvSpPr>
        <p:spPr bwMode="gray">
          <a:xfrm flipH="1">
            <a:off x="6556375" y="3388889"/>
            <a:ext cx="1738313" cy="876300"/>
          </a:xfrm>
          <a:prstGeom prst="ellipse">
            <a:avLst/>
          </a:prstGeom>
          <a:solidFill>
            <a:schemeClr val="bg1"/>
          </a:solidFill>
          <a:ln w="12700" algn="ctr">
            <a:solidFill>
              <a:schemeClr val="accent3"/>
            </a:solidFill>
            <a:round/>
            <a:headEnd/>
            <a:tailEnd/>
          </a:ln>
        </p:spPr>
        <p:txBody>
          <a:bodyPr lIns="18000" tIns="18000" rIns="18000" bIns="18000" anchor="ctr" anchorCtr="1"/>
          <a:lstStyle/>
          <a:p>
            <a:pPr>
              <a:lnSpc>
                <a:spcPct val="106000"/>
              </a:lnSpc>
              <a:buClr>
                <a:schemeClr val="tx1"/>
              </a:buClr>
              <a:defRPr/>
            </a:pPr>
            <a:r>
              <a:rPr lang="en-GB" sz="1400" dirty="0" smtClean="0">
                <a:solidFill>
                  <a:schemeClr val="tx2"/>
                </a:solidFill>
                <a:ea typeface="ＭＳ Ｐゴシック" pitchFamily="50" charset="-128"/>
              </a:rPr>
              <a:t>Text</a:t>
            </a:r>
            <a:endParaRPr lang="en-GB" sz="1400" dirty="0">
              <a:solidFill>
                <a:schemeClr val="tx2"/>
              </a:solidFill>
              <a:ea typeface="ＭＳ Ｐゴシック" pitchFamily="50" charset="-128"/>
            </a:endParaRPr>
          </a:p>
        </p:txBody>
      </p:sp>
      <p:sp>
        <p:nvSpPr>
          <p:cNvPr id="10" name="Oval 9"/>
          <p:cNvSpPr>
            <a:spLocks noChangeArrowheads="1"/>
          </p:cNvSpPr>
          <p:nvPr/>
        </p:nvSpPr>
        <p:spPr bwMode="gray">
          <a:xfrm flipH="1">
            <a:off x="5630863" y="2496714"/>
            <a:ext cx="1738312" cy="876300"/>
          </a:xfrm>
          <a:prstGeom prst="ellipse">
            <a:avLst/>
          </a:prstGeom>
          <a:solidFill>
            <a:schemeClr val="bg1"/>
          </a:solidFill>
          <a:ln w="12700" algn="ctr">
            <a:solidFill>
              <a:schemeClr val="accent3"/>
            </a:solidFill>
            <a:round/>
            <a:headEnd/>
            <a:tailEnd/>
          </a:ln>
        </p:spPr>
        <p:txBody>
          <a:bodyPr lIns="18000" tIns="18000" rIns="18000" bIns="18000" anchor="ctr" anchorCtr="1"/>
          <a:lstStyle/>
          <a:p>
            <a:pPr>
              <a:lnSpc>
                <a:spcPct val="106000"/>
              </a:lnSpc>
              <a:buClr>
                <a:schemeClr val="tx1"/>
              </a:buClr>
              <a:defRPr/>
            </a:pPr>
            <a:r>
              <a:rPr lang="en-GB" sz="1400" dirty="0" smtClean="0">
                <a:solidFill>
                  <a:schemeClr val="tx2"/>
                </a:solidFill>
                <a:ea typeface="ＭＳ Ｐゴシック" pitchFamily="50" charset="-128"/>
              </a:rPr>
              <a:t>Text</a:t>
            </a:r>
            <a:endParaRPr lang="en-GB" sz="1400" dirty="0">
              <a:solidFill>
                <a:schemeClr val="tx2"/>
              </a:solidFill>
              <a:ea typeface="ＭＳ Ｐゴシック" pitchFamily="50" charset="-128"/>
            </a:endParaRPr>
          </a:p>
        </p:txBody>
      </p:sp>
      <p:sp>
        <p:nvSpPr>
          <p:cNvPr id="11" name="Oval 10"/>
          <p:cNvSpPr>
            <a:spLocks noChangeArrowheads="1"/>
          </p:cNvSpPr>
          <p:nvPr/>
        </p:nvSpPr>
        <p:spPr bwMode="gray">
          <a:xfrm flipH="1">
            <a:off x="4705350" y="1604539"/>
            <a:ext cx="1738313" cy="876300"/>
          </a:xfrm>
          <a:prstGeom prst="ellipse">
            <a:avLst/>
          </a:prstGeom>
          <a:solidFill>
            <a:schemeClr val="bg1"/>
          </a:solidFill>
          <a:ln w="12700" algn="ctr">
            <a:solidFill>
              <a:schemeClr val="accent3"/>
            </a:solidFill>
            <a:round/>
            <a:headEnd/>
            <a:tailEnd/>
          </a:ln>
        </p:spPr>
        <p:txBody>
          <a:bodyPr lIns="18000" tIns="18000" rIns="18000" bIns="18000" anchor="ctr" anchorCtr="1"/>
          <a:lstStyle/>
          <a:p>
            <a:pPr>
              <a:lnSpc>
                <a:spcPct val="106000"/>
              </a:lnSpc>
              <a:buClr>
                <a:schemeClr val="tx1"/>
              </a:buClr>
              <a:defRPr/>
            </a:pPr>
            <a:r>
              <a:rPr lang="en-GB" sz="1400" dirty="0" smtClean="0">
                <a:solidFill>
                  <a:schemeClr val="tx2"/>
                </a:solidFill>
                <a:ea typeface="ＭＳ Ｐゴシック" pitchFamily="50" charset="-128"/>
              </a:rPr>
              <a:t>Text</a:t>
            </a:r>
            <a:endParaRPr lang="en-GB" sz="1400" dirty="0">
              <a:solidFill>
                <a:schemeClr val="tx2"/>
              </a:solidFill>
              <a:ea typeface="ＭＳ Ｐゴシック" pitchFamily="50" charset="-128"/>
            </a:endParaRPr>
          </a:p>
        </p:txBody>
      </p:sp>
      <p:sp>
        <p:nvSpPr>
          <p:cNvPr id="595979" name="Rectangle 11"/>
          <p:cNvSpPr>
            <a:spLocks noChangeArrowheads="1"/>
          </p:cNvSpPr>
          <p:nvPr/>
        </p:nvSpPr>
        <p:spPr bwMode="auto">
          <a:xfrm>
            <a:off x="1477963" y="4369964"/>
            <a:ext cx="890587" cy="358775"/>
          </a:xfrm>
          <a:prstGeom prst="rect">
            <a:avLst/>
          </a:prstGeom>
          <a:noFill/>
          <a:ln w="6350">
            <a:noFill/>
            <a:miter lim="800000"/>
            <a:headEnd/>
            <a:tailEnd/>
          </a:ln>
        </p:spPr>
        <p:txBody>
          <a:bodyPr wrap="none" lIns="0" tIns="0" rIns="0" bIns="0" anchor="ctr"/>
          <a:lstStyle/>
          <a:p>
            <a:pPr algn="ctr"/>
            <a:endParaRPr lang="en-GB"/>
          </a:p>
        </p:txBody>
      </p:sp>
      <p:sp>
        <p:nvSpPr>
          <p:cNvPr id="595980" name="Rectangle 12"/>
          <p:cNvSpPr>
            <a:spLocks noChangeArrowheads="1"/>
          </p:cNvSpPr>
          <p:nvPr/>
        </p:nvSpPr>
        <p:spPr bwMode="auto">
          <a:xfrm>
            <a:off x="6800850" y="4369964"/>
            <a:ext cx="857250" cy="371475"/>
          </a:xfrm>
          <a:prstGeom prst="rect">
            <a:avLst/>
          </a:prstGeom>
          <a:noFill/>
          <a:ln w="6350">
            <a:noFill/>
            <a:miter lim="800000"/>
            <a:headEnd/>
            <a:tailEnd/>
          </a:ln>
        </p:spPr>
        <p:txBody>
          <a:bodyPr wrap="none" lIns="0" tIns="0" rIns="0" bIns="0" anchor="ctr"/>
          <a:lstStyle/>
          <a:p>
            <a:pPr algn="ctr"/>
            <a:endParaRPr lang="en-GB"/>
          </a:p>
        </p:txBody>
      </p:sp>
      <p:sp>
        <p:nvSpPr>
          <p:cNvPr id="595981" name="Rectangle 13"/>
          <p:cNvSpPr>
            <a:spLocks noChangeArrowheads="1"/>
          </p:cNvSpPr>
          <p:nvPr/>
        </p:nvSpPr>
        <p:spPr bwMode="auto">
          <a:xfrm>
            <a:off x="930275" y="4471812"/>
            <a:ext cx="7258050" cy="638175"/>
          </a:xfrm>
          <a:prstGeom prst="rect">
            <a:avLst/>
          </a:prstGeom>
          <a:solidFill>
            <a:schemeClr val="accent3"/>
          </a:solidFill>
          <a:ln w="6350" algn="ctr">
            <a:noFill/>
            <a:miter lim="800000"/>
            <a:headEnd/>
            <a:tailEnd/>
          </a:ln>
        </p:spPr>
        <p:txBody>
          <a:bodyPr tIns="91440" bIns="91440" anchor="ctr"/>
          <a:lstStyle/>
          <a:p>
            <a:pPr algn="ctr"/>
            <a:r>
              <a:rPr lang="en-GB" altLang="ja-JP" sz="1400" b="1" dirty="0">
                <a:solidFill>
                  <a:schemeClr val="bg1"/>
                </a:solidFill>
                <a:ea typeface="ＭＳ Ｐゴシック" charset="-128"/>
              </a:rPr>
              <a:t>Text</a:t>
            </a:r>
          </a:p>
        </p:txBody>
      </p:sp>
      <p:sp>
        <p:nvSpPr>
          <p:cNvPr id="18"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19"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4498"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5363" name="think-cell Slide" r:id="rId11" imgW="0" imgH="0" progId="">
                  <p:embed/>
                </p:oleObj>
              </mc:Choice>
              <mc:Fallback>
                <p:oleObj name="think-cell Slide" r:id="rId11"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4501" name="Title 1"/>
          <p:cNvSpPr>
            <a:spLocks noGrp="1"/>
          </p:cNvSpPr>
          <p:nvPr>
            <p:ph type="title"/>
            <p:custDataLst>
              <p:tags r:id="rId3"/>
            </p:custDataLst>
          </p:nvPr>
        </p:nvSpPr>
        <p:spPr>
          <a:xfrm>
            <a:off x="414338" y="446038"/>
            <a:ext cx="8330184" cy="333425"/>
          </a:xfrm>
        </p:spPr>
        <p:txBody>
          <a:bodyPr/>
          <a:lstStyle/>
          <a:p>
            <a:r>
              <a:rPr lang="en-US"/>
              <a:t>Text blocks — Michelangelo (top alignment)</a:t>
            </a:r>
            <a:endParaRPr lang="nl-NL"/>
          </a:p>
        </p:txBody>
      </p:sp>
      <p:sp>
        <p:nvSpPr>
          <p:cNvPr id="234499" name="Text Placeholder 11"/>
          <p:cNvSpPr>
            <a:spLocks noGrp="1"/>
          </p:cNvSpPr>
          <p:nvPr>
            <p:ph type="body" sz="quarter" idx="4294967295"/>
            <p:custDataLst>
              <p:tags r:id="rId4"/>
            </p:custDataLst>
          </p:nvPr>
        </p:nvSpPr>
        <p:spPr bwMode="auto">
          <a:xfrm>
            <a:off x="4692650" y="2995185"/>
            <a:ext cx="4054475" cy="1524520"/>
          </a:xfrm>
          <a:prstGeom prst="rect">
            <a:avLst/>
          </a:prstGeom>
          <a:noFill/>
          <a:ln>
            <a:miter lim="800000"/>
            <a:headEnd/>
            <a:tailEnd/>
          </a:ln>
        </p:spPr>
        <p:txBody>
          <a:bodyPr vert="horz" wrap="square" numCol="1" anchor="t" anchorCtr="0" compatLnSpc="1">
            <a:prstTxWarp prst="textNoShape">
              <a:avLst/>
            </a:prstTxWarp>
          </a:bodyPr>
          <a:lstStyle/>
          <a:p>
            <a:pPr>
              <a:spcBef>
                <a:spcPts val="400"/>
              </a:spcBef>
            </a:pPr>
            <a:r>
              <a:rPr lang="en-US" dirty="0">
                <a:cs typeface="Arial" charset="0"/>
              </a:rPr>
              <a:t>Paragraph</a:t>
            </a:r>
            <a:br>
              <a:rPr lang="en-US" dirty="0">
                <a:cs typeface="Arial" charset="0"/>
              </a:rPr>
            </a:br>
            <a:r>
              <a:rPr lang="en-US" dirty="0">
                <a:cs typeface="Arial" charset="0"/>
              </a:rPr>
              <a:t>(if not needed, delete)</a:t>
            </a:r>
          </a:p>
          <a:p>
            <a:pPr marL="168275" lvl="1" indent="-168275"/>
            <a:r>
              <a:rPr lang="en-US" dirty="0">
                <a:cs typeface="Arial" charset="0"/>
              </a:rPr>
              <a:t>Bullet</a:t>
            </a:r>
          </a:p>
          <a:p>
            <a:pPr marL="344488" lvl="2" indent="-176213"/>
            <a:r>
              <a:rPr lang="en-US" dirty="0"/>
              <a:t>Dash</a:t>
            </a:r>
          </a:p>
          <a:p>
            <a:pPr marL="511175" lvl="3" indent="-166688"/>
            <a:r>
              <a:rPr lang="en-US" dirty="0" err="1"/>
              <a:t>Subbullet</a:t>
            </a:r>
            <a:endParaRPr lang="en-US" dirty="0"/>
          </a:p>
        </p:txBody>
      </p:sp>
      <p:sp>
        <p:nvSpPr>
          <p:cNvPr id="234502" name="Text Placeholder 3"/>
          <p:cNvSpPr>
            <a:spLocks noGrp="1" noChangeArrowheads="1"/>
          </p:cNvSpPr>
          <p:nvPr>
            <p:ph type="body" sz="quarter" idx="4294967295"/>
            <p:custDataLst>
              <p:tags r:id="rId5"/>
            </p:custDataLst>
          </p:nvPr>
        </p:nvSpPr>
        <p:spPr bwMode="auto">
          <a:xfrm>
            <a:off x="396875" y="2995186"/>
            <a:ext cx="4052888" cy="1524520"/>
          </a:xfrm>
          <a:prstGeom prst="rect">
            <a:avLst/>
          </a:prstGeom>
          <a:noFill/>
          <a:ln>
            <a:miter lim="800000"/>
            <a:headEnd/>
            <a:tailEnd/>
          </a:ln>
        </p:spPr>
        <p:txBody>
          <a:bodyPr vert="horz" wrap="square" numCol="1" anchor="t" anchorCtr="0" compatLnSpc="1">
            <a:prstTxWarp prst="textNoShape">
              <a:avLst/>
            </a:prstTxWarp>
          </a:bodyPr>
          <a:lstStyle/>
          <a:p>
            <a:pPr marL="0" indent="0">
              <a:spcBef>
                <a:spcPts val="400"/>
              </a:spcBef>
              <a:buFont typeface="Wingdings 2" pitchFamily="18" charset="2"/>
              <a:buNone/>
            </a:pPr>
            <a:r>
              <a:rPr smtClean="0">
                <a:cs typeface="Arial" charset="0"/>
              </a:rPr>
              <a:t>Paragraph</a:t>
            </a:r>
            <a:br>
              <a:rPr smtClean="0">
                <a:cs typeface="Arial" charset="0"/>
              </a:rPr>
            </a:br>
            <a:r>
              <a:rPr smtClean="0">
                <a:cs typeface="Arial" charset="0"/>
              </a:rPr>
              <a:t>(if </a:t>
            </a:r>
            <a:r>
              <a:rPr>
                <a:cs typeface="Arial" charset="0"/>
              </a:rPr>
              <a:t>not needed, delete)</a:t>
            </a:r>
          </a:p>
          <a:p>
            <a:pPr marL="168275" lvl="1" indent="-168275"/>
            <a:r>
              <a:rPr lang="en-GB" dirty="0">
                <a:cs typeface="Arial" charset="0"/>
              </a:rPr>
              <a:t>Bullet</a:t>
            </a:r>
          </a:p>
          <a:p>
            <a:pPr marL="344488" lvl="2" indent="-176213"/>
            <a:r>
              <a:rPr lang="en-GB" dirty="0"/>
              <a:t>Dash</a:t>
            </a:r>
          </a:p>
          <a:p>
            <a:pPr marL="511175" lvl="3" indent="-166688"/>
            <a:r>
              <a:rPr lang="en-GB" dirty="0" err="1" smtClean="0"/>
              <a:t>Subbullet</a:t>
            </a:r>
            <a:endParaRPr/>
          </a:p>
        </p:txBody>
      </p:sp>
      <p:sp>
        <p:nvSpPr>
          <p:cNvPr id="234503" name="Freeform 4"/>
          <p:cNvSpPr>
            <a:spLocks/>
          </p:cNvSpPr>
          <p:nvPr>
            <p:custDataLst>
              <p:tags r:id="rId6"/>
            </p:custDataLst>
          </p:nvPr>
        </p:nvSpPr>
        <p:spPr bwMode="gray">
          <a:xfrm>
            <a:off x="396875" y="2303035"/>
            <a:ext cx="8312150" cy="590550"/>
          </a:xfrm>
          <a:custGeom>
            <a:avLst/>
            <a:gdLst>
              <a:gd name="T0" fmla="*/ 0 w 5274"/>
              <a:gd name="T1" fmla="*/ 2147483647 h 372"/>
              <a:gd name="T2" fmla="*/ 2147483647 w 5274"/>
              <a:gd name="T3" fmla="*/ 0 h 372"/>
              <a:gd name="T4" fmla="*/ 2147483647 w 5274"/>
              <a:gd name="T5" fmla="*/ 0 h 372"/>
              <a:gd name="T6" fmla="*/ 2147483647 w 5274"/>
              <a:gd name="T7" fmla="*/ 2147483647 h 372"/>
              <a:gd name="T8" fmla="*/ 0 w 5274"/>
              <a:gd name="T9" fmla="*/ 2147483647 h 372"/>
              <a:gd name="T10" fmla="*/ 0 60000 65536"/>
              <a:gd name="T11" fmla="*/ 0 60000 65536"/>
              <a:gd name="T12" fmla="*/ 0 60000 65536"/>
              <a:gd name="T13" fmla="*/ 0 60000 65536"/>
              <a:gd name="T14" fmla="*/ 0 60000 65536"/>
              <a:gd name="T15" fmla="*/ 0 w 5274"/>
              <a:gd name="T16" fmla="*/ 0 h 372"/>
              <a:gd name="T17" fmla="*/ 5274 w 5274"/>
              <a:gd name="T18" fmla="*/ 372 h 372"/>
            </a:gdLst>
            <a:ahLst/>
            <a:cxnLst>
              <a:cxn ang="T10">
                <a:pos x="T0" y="T1"/>
              </a:cxn>
              <a:cxn ang="T11">
                <a:pos x="T2" y="T3"/>
              </a:cxn>
              <a:cxn ang="T12">
                <a:pos x="T4" y="T5"/>
              </a:cxn>
              <a:cxn ang="T13">
                <a:pos x="T6" y="T7"/>
              </a:cxn>
              <a:cxn ang="T14">
                <a:pos x="T8" y="T9"/>
              </a:cxn>
            </a:cxnLst>
            <a:rect l="T15" t="T16" r="T17" b="T18"/>
            <a:pathLst>
              <a:path w="5274" h="372">
                <a:moveTo>
                  <a:pt x="0" y="372"/>
                </a:moveTo>
                <a:lnTo>
                  <a:pt x="411" y="0"/>
                </a:lnTo>
                <a:lnTo>
                  <a:pt x="1728" y="0"/>
                </a:lnTo>
                <a:lnTo>
                  <a:pt x="5274" y="372"/>
                </a:lnTo>
                <a:lnTo>
                  <a:pt x="0" y="372"/>
                </a:lnTo>
                <a:close/>
              </a:path>
            </a:pathLst>
          </a:custGeom>
          <a:solidFill>
            <a:srgbClr val="00A1DE"/>
          </a:solidFill>
          <a:ln w="12700">
            <a:noFill/>
            <a:round/>
            <a:headEnd/>
            <a:tailEnd/>
          </a:ln>
        </p:spPr>
        <p:txBody>
          <a:bodyPr lIns="54000" tIns="54000" rIns="54000" bIns="54000" anchor="ctr"/>
          <a:lstStyle/>
          <a:p>
            <a:endParaRPr lang="en-GB" sz="1400">
              <a:solidFill>
                <a:schemeClr val="bg1"/>
              </a:solidFill>
            </a:endParaRPr>
          </a:p>
        </p:txBody>
      </p:sp>
      <p:sp>
        <p:nvSpPr>
          <p:cNvPr id="234504" name="Rectangle 5"/>
          <p:cNvSpPr>
            <a:spLocks noChangeArrowheads="1"/>
          </p:cNvSpPr>
          <p:nvPr>
            <p:custDataLst>
              <p:tags r:id="rId7"/>
            </p:custDataLst>
          </p:nvPr>
        </p:nvSpPr>
        <p:spPr bwMode="gray">
          <a:xfrm>
            <a:off x="773113" y="2650792"/>
            <a:ext cx="5295900" cy="198438"/>
          </a:xfrm>
          <a:prstGeom prst="rect">
            <a:avLst/>
          </a:prstGeom>
          <a:noFill/>
          <a:ln w="12700" algn="ctr">
            <a:noFill/>
            <a:miter lim="800000"/>
            <a:headEnd/>
            <a:tailEnd/>
          </a:ln>
        </p:spPr>
        <p:txBody>
          <a:bodyPr lIns="0" tIns="0" rIns="0" bIns="10800" anchor="b" anchorCtr="1"/>
          <a:lstStyle/>
          <a:p>
            <a:pPr algn="l">
              <a:lnSpc>
                <a:spcPct val="95000"/>
              </a:lnSpc>
            </a:pPr>
            <a:r>
              <a:rPr lang="en-US" sz="1400">
                <a:solidFill>
                  <a:schemeClr val="bg1"/>
                </a:solidFill>
              </a:rPr>
              <a:t>Text</a:t>
            </a:r>
          </a:p>
        </p:txBody>
      </p:sp>
      <p:sp>
        <p:nvSpPr>
          <p:cNvPr id="8" name="Rectangle 7"/>
          <p:cNvSpPr>
            <a:spLocks noChangeArrowheads="1"/>
          </p:cNvSpPr>
          <p:nvPr>
            <p:custDataLst>
              <p:tags r:id="rId8"/>
            </p:custDataLst>
          </p:nvPr>
        </p:nvSpPr>
        <p:spPr bwMode="gray">
          <a:xfrm>
            <a:off x="1039813" y="1583898"/>
            <a:ext cx="2052637" cy="720725"/>
          </a:xfrm>
          <a:prstGeom prst="rect">
            <a:avLst/>
          </a:prstGeom>
          <a:solidFill>
            <a:schemeClr val="bg1"/>
          </a:solidFill>
          <a:ln w="12700" algn="ctr">
            <a:solidFill>
              <a:schemeClr val="accent3"/>
            </a:solidFill>
            <a:miter lim="800000"/>
            <a:headEnd/>
            <a:tailEnd/>
          </a:ln>
        </p:spPr>
        <p:txBody>
          <a:bodyPr lIns="73152" tIns="73152" rIns="73152" bIns="73152" anchor="ctr" anchorCtr="1"/>
          <a:lstStyle/>
          <a:p>
            <a:pPr algn="ctr">
              <a:lnSpc>
                <a:spcPct val="106000"/>
              </a:lnSpc>
              <a:defRPr/>
            </a:pPr>
            <a:r>
              <a:rPr lang="en-US" sz="1400" dirty="0">
                <a:solidFill>
                  <a:schemeClr val="tx2"/>
                </a:solidFill>
              </a:rPr>
              <a:t>Image or </a:t>
            </a:r>
            <a:r>
              <a:rPr lang="en-US" sz="1400" dirty="0" smtClean="0">
                <a:solidFill>
                  <a:schemeClr val="tx2"/>
                </a:solidFill>
              </a:rPr>
              <a:t>text </a:t>
            </a:r>
            <a:r>
              <a:rPr lang="en-US" sz="1400" dirty="0">
                <a:solidFill>
                  <a:schemeClr val="tx2"/>
                </a:solidFill>
              </a:rPr>
              <a:t>area</a:t>
            </a:r>
          </a:p>
        </p:txBody>
      </p:sp>
      <p:sp>
        <p:nvSpPr>
          <p:cNvPr id="12" name="Text Placeholder 12"/>
          <p:cNvSpPr>
            <a:spLocks/>
          </p:cNvSpPr>
          <p:nvPr>
            <p:custDataLst>
              <p:tags r:id="rId9"/>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1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6387"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5523" name="Freeform 4"/>
          <p:cNvSpPr>
            <a:spLocks/>
          </p:cNvSpPr>
          <p:nvPr>
            <p:custDataLst>
              <p:tags r:id="rId3"/>
            </p:custDataLst>
          </p:nvPr>
        </p:nvSpPr>
        <p:spPr bwMode="gray">
          <a:xfrm>
            <a:off x="2831633" y="1596551"/>
            <a:ext cx="1741487" cy="4708525"/>
          </a:xfrm>
          <a:custGeom>
            <a:avLst/>
            <a:gdLst>
              <a:gd name="T0" fmla="*/ 0 w 1097"/>
              <a:gd name="T1" fmla="*/ 2058298 h 3150"/>
              <a:gd name="T2" fmla="*/ 1740877 w 1097"/>
              <a:gd name="T3" fmla="*/ 0 h 3150"/>
              <a:gd name="T4" fmla="*/ 1740877 w 1097"/>
              <a:gd name="T5" fmla="*/ 4708525 h 3150"/>
              <a:gd name="T6" fmla="*/ 3174 w 1097"/>
              <a:gd name="T7" fmla="*/ 2708523 h 3150"/>
              <a:gd name="T8" fmla="*/ 0 w 1097"/>
              <a:gd name="T9" fmla="*/ 2058298 h 3150"/>
              <a:gd name="T10" fmla="*/ 0 60000 65536"/>
              <a:gd name="T11" fmla="*/ 0 60000 65536"/>
              <a:gd name="T12" fmla="*/ 0 60000 65536"/>
              <a:gd name="T13" fmla="*/ 0 60000 65536"/>
              <a:gd name="T14" fmla="*/ 0 60000 65536"/>
              <a:gd name="T15" fmla="*/ 0 w 1097"/>
              <a:gd name="T16" fmla="*/ 0 h 3150"/>
              <a:gd name="T17" fmla="*/ 1097 w 1097"/>
              <a:gd name="T18" fmla="*/ 3150 h 3150"/>
            </a:gdLst>
            <a:ahLst/>
            <a:cxnLst>
              <a:cxn ang="T10">
                <a:pos x="T0" y="T1"/>
              </a:cxn>
              <a:cxn ang="T11">
                <a:pos x="T2" y="T3"/>
              </a:cxn>
              <a:cxn ang="T12">
                <a:pos x="T4" y="T5"/>
              </a:cxn>
              <a:cxn ang="T13">
                <a:pos x="T6" y="T7"/>
              </a:cxn>
              <a:cxn ang="T14">
                <a:pos x="T8" y="T9"/>
              </a:cxn>
            </a:cxnLst>
            <a:rect l="T15" t="T16" r="T17" b="T18"/>
            <a:pathLst>
              <a:path w="1097" h="3150">
                <a:moveTo>
                  <a:pt x="0" y="1377"/>
                </a:moveTo>
                <a:lnTo>
                  <a:pt x="1097" y="0"/>
                </a:lnTo>
                <a:lnTo>
                  <a:pt x="1097" y="3150"/>
                </a:lnTo>
                <a:lnTo>
                  <a:pt x="2" y="1812"/>
                </a:lnTo>
                <a:cubicBezTo>
                  <a:pt x="1" y="1660"/>
                  <a:pt x="1" y="1529"/>
                  <a:pt x="0" y="1377"/>
                </a:cubicBezTo>
                <a:close/>
              </a:path>
            </a:pathLst>
          </a:custGeom>
          <a:solidFill>
            <a:srgbClr val="00A1DE"/>
          </a:solidFill>
          <a:ln w="12700" cap="rnd">
            <a:noFill/>
            <a:round/>
            <a:headEnd/>
            <a:tailEnd/>
          </a:ln>
        </p:spPr>
        <p:txBody>
          <a:bodyPr wrap="none" lIns="91438" tIns="45719" rIns="91438" bIns="45719" anchor="ctr"/>
          <a:lstStyle/>
          <a:p>
            <a:pPr algn="ctr"/>
            <a:r>
              <a:rPr lang="en-GB" sz="1400" dirty="0">
                <a:solidFill>
                  <a:schemeClr val="bg1"/>
                </a:solidFill>
              </a:rPr>
              <a:t>Text</a:t>
            </a:r>
          </a:p>
        </p:txBody>
      </p:sp>
      <p:sp>
        <p:nvSpPr>
          <p:cNvPr id="235525" name="Title 1"/>
          <p:cNvSpPr>
            <a:spLocks noGrp="1"/>
          </p:cNvSpPr>
          <p:nvPr>
            <p:ph type="title"/>
            <p:custDataLst>
              <p:tags r:id="rId4"/>
            </p:custDataLst>
          </p:nvPr>
        </p:nvSpPr>
        <p:spPr>
          <a:xfrm>
            <a:off x="414338" y="446038"/>
            <a:ext cx="8330184" cy="333425"/>
          </a:xfrm>
        </p:spPr>
        <p:txBody>
          <a:bodyPr/>
          <a:lstStyle/>
          <a:p>
            <a:r>
              <a:rPr lang="en-US"/>
              <a:t>Text blocks — Michelangelo (left alignment)</a:t>
            </a:r>
            <a:endParaRPr lang="nl-NL"/>
          </a:p>
        </p:txBody>
      </p:sp>
      <p:sp>
        <p:nvSpPr>
          <p:cNvPr id="235526" name="Text Placeholder 3"/>
          <p:cNvSpPr>
            <a:spLocks noGrp="1" noChangeArrowheads="1"/>
          </p:cNvSpPr>
          <p:nvPr>
            <p:ph type="body" sz="quarter" idx="4294967295"/>
            <p:custDataLst>
              <p:tags r:id="rId5"/>
            </p:custDataLst>
          </p:nvPr>
        </p:nvSpPr>
        <p:spPr bwMode="auto">
          <a:xfrm>
            <a:off x="4692650" y="1589334"/>
            <a:ext cx="4054475" cy="1477328"/>
          </a:xfrm>
          <a:prstGeom prst="rect">
            <a:avLst/>
          </a:prstGeom>
          <a:noFill/>
          <a:ln>
            <a:miter lim="800000"/>
            <a:headEnd/>
            <a:tailEnd/>
          </a:ln>
        </p:spPr>
        <p:txBody>
          <a:bodyPr vert="horz" numCol="1" anchor="t" anchorCtr="0" compatLnSpc="1">
            <a:prstTxWarp prst="textNoShape">
              <a:avLst/>
            </a:prstTxWarp>
          </a:bodyPr>
          <a:lstStyle/>
          <a:p>
            <a:pPr marL="0" indent="0">
              <a:spcBef>
                <a:spcPts val="400"/>
              </a:spcBef>
              <a:spcAft>
                <a:spcPct val="0"/>
              </a:spcAft>
              <a:buFont typeface="Wingdings 2" pitchFamily="18" charset="2"/>
              <a:buNone/>
            </a:pPr>
            <a:r>
              <a:rPr>
                <a:cs typeface="Arial" charset="0"/>
              </a:rPr>
              <a:t>Paragraph </a:t>
            </a:r>
            <a:r>
              <a:rPr smtClean="0">
                <a:cs typeface="Arial" charset="0"/>
              </a:rPr>
              <a:t/>
            </a:r>
            <a:br>
              <a:rPr smtClean="0">
                <a:cs typeface="Arial" charset="0"/>
              </a:rPr>
            </a:br>
            <a:r>
              <a:rPr smtClean="0">
                <a:cs typeface="Arial" charset="0"/>
              </a:rPr>
              <a:t>(</a:t>
            </a:r>
            <a:r>
              <a:rPr>
                <a:cs typeface="Arial" charset="0"/>
              </a:rPr>
              <a:t>if not needed, delete)</a:t>
            </a:r>
          </a:p>
          <a:p>
            <a:pPr lvl="1"/>
            <a:r>
              <a:rPr lang="en-GB" dirty="0">
                <a:cs typeface="Arial" charset="0"/>
              </a:rPr>
              <a:t>Bullet</a:t>
            </a:r>
          </a:p>
          <a:p>
            <a:pPr lvl="2">
              <a:spcAft>
                <a:spcPct val="0"/>
              </a:spcAft>
            </a:pPr>
            <a:r>
              <a:rPr lang="en-GB" dirty="0"/>
              <a:t>Dash</a:t>
            </a:r>
          </a:p>
          <a:p>
            <a:pPr lvl="3">
              <a:spcAft>
                <a:spcPct val="0"/>
              </a:spcAft>
            </a:pPr>
            <a:r>
              <a:rPr lang="en-GB" dirty="0" err="1" smtClean="0"/>
              <a:t>Subbullet</a:t>
            </a:r>
            <a:endParaRPr/>
          </a:p>
        </p:txBody>
      </p:sp>
      <p:sp>
        <p:nvSpPr>
          <p:cNvPr id="6" name="Rectangle 5"/>
          <p:cNvSpPr>
            <a:spLocks noChangeArrowheads="1"/>
          </p:cNvSpPr>
          <p:nvPr>
            <p:custDataLst>
              <p:tags r:id="rId6"/>
            </p:custDataLst>
          </p:nvPr>
        </p:nvSpPr>
        <p:spPr bwMode="gray">
          <a:xfrm>
            <a:off x="1363663" y="3641251"/>
            <a:ext cx="1485900" cy="682625"/>
          </a:xfrm>
          <a:prstGeom prst="rect">
            <a:avLst/>
          </a:prstGeom>
          <a:solidFill>
            <a:schemeClr val="bg1"/>
          </a:solidFill>
          <a:ln w="12700" algn="ctr">
            <a:solidFill>
              <a:schemeClr val="accent3"/>
            </a:solidFill>
            <a:miter lim="800000"/>
            <a:headEnd/>
            <a:tailEnd/>
          </a:ln>
        </p:spPr>
        <p:txBody>
          <a:bodyPr lIns="73152" tIns="73152" rIns="73152" bIns="73152" anchor="ctr" anchorCtr="1"/>
          <a:lstStyle/>
          <a:p>
            <a:pPr>
              <a:lnSpc>
                <a:spcPct val="106000"/>
              </a:lnSpc>
              <a:defRPr/>
            </a:pPr>
            <a:r>
              <a:rPr lang="en-US" sz="1400" dirty="0">
                <a:solidFill>
                  <a:schemeClr val="tx2"/>
                </a:solidFill>
              </a:rPr>
              <a:t>Image or </a:t>
            </a:r>
            <a:r>
              <a:rPr lang="en-US" sz="1400" dirty="0" smtClean="0">
                <a:solidFill>
                  <a:schemeClr val="tx2"/>
                </a:solidFill>
              </a:rPr>
              <a:t/>
            </a:r>
            <a:br>
              <a:rPr lang="en-US" sz="1400" dirty="0" smtClean="0">
                <a:solidFill>
                  <a:schemeClr val="tx2"/>
                </a:solidFill>
              </a:rPr>
            </a:br>
            <a:r>
              <a:rPr lang="en-US" sz="1400" dirty="0" smtClean="0">
                <a:solidFill>
                  <a:schemeClr val="tx2"/>
                </a:solidFill>
              </a:rPr>
              <a:t>text </a:t>
            </a:r>
            <a:r>
              <a:rPr lang="en-US" sz="1400" dirty="0">
                <a:solidFill>
                  <a:schemeClr val="tx2"/>
                </a:solidFill>
              </a:rPr>
              <a:t>area</a:t>
            </a:r>
          </a:p>
        </p:txBody>
      </p:sp>
      <p:sp>
        <p:nvSpPr>
          <p:cNvPr id="11" name="Text Placeholder 12"/>
          <p:cNvSpPr>
            <a:spLocks/>
          </p:cNvSpPr>
          <p:nvPr>
            <p:custDataLst>
              <p:tags r:id="rId7"/>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1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041" name="Title 1"/>
          <p:cNvSpPr>
            <a:spLocks noGrp="1"/>
          </p:cNvSpPr>
          <p:nvPr>
            <p:ph type="title"/>
          </p:nvPr>
        </p:nvSpPr>
        <p:spPr>
          <a:xfrm>
            <a:off x="414338" y="446038"/>
            <a:ext cx="8330184" cy="333425"/>
          </a:xfrm>
        </p:spPr>
        <p:txBody>
          <a:bodyPr/>
          <a:lstStyle/>
          <a:p>
            <a:r>
              <a:rPr lang="en-GB" altLang="ja-JP"/>
              <a:t>Text b</a:t>
            </a:r>
            <a:r>
              <a:rPr lang="en-GB"/>
              <a:t>locks </a:t>
            </a:r>
            <a:r>
              <a:rPr lang="en-US"/>
              <a:t>—</a:t>
            </a:r>
            <a:r>
              <a:rPr lang="en-GB" smtClean="0"/>
              <a:t> </a:t>
            </a:r>
            <a:r>
              <a:rPr lang="en-US"/>
              <a:t>two squares</a:t>
            </a:r>
            <a:endParaRPr lang="nl-NL"/>
          </a:p>
        </p:txBody>
      </p:sp>
      <p:sp>
        <p:nvSpPr>
          <p:cNvPr id="5" name="Rectangle 5"/>
          <p:cNvSpPr>
            <a:spLocks noChangeArrowheads="1"/>
          </p:cNvSpPr>
          <p:nvPr/>
        </p:nvSpPr>
        <p:spPr bwMode="gray">
          <a:xfrm>
            <a:off x="4642139" y="1597199"/>
            <a:ext cx="3530600" cy="4060944"/>
          </a:xfrm>
          <a:prstGeom prst="rect">
            <a:avLst/>
          </a:prstGeom>
          <a:solidFill>
            <a:schemeClr val="bg1"/>
          </a:solidFill>
          <a:ln w="12700">
            <a:solidFill>
              <a:schemeClr val="accent3"/>
            </a:solidFill>
            <a:miter lim="800000"/>
            <a:headEnd/>
            <a:tailEnd/>
          </a:ln>
        </p:spPr>
        <p:txBody>
          <a:bodyPr lIns="72000" tIns="72000" rIns="72000" bIns="72000"/>
          <a:lstStyle/>
          <a:p>
            <a:pPr algn="l" defTabSz="957998">
              <a:spcBef>
                <a:spcPts val="400"/>
              </a:spcBef>
              <a:spcAft>
                <a:spcPts val="0"/>
              </a:spcAft>
              <a:defRPr/>
            </a:pPr>
            <a:r>
              <a:rPr lang="en-US" sz="1400" b="0" dirty="0" smtClean="0">
                <a:solidFill>
                  <a:srgbClr val="002776"/>
                </a:solidFill>
              </a:rPr>
              <a:t>Paragraph </a:t>
            </a:r>
            <a:br>
              <a:rPr lang="en-US" sz="1400" b="0" dirty="0" smtClean="0">
                <a:solidFill>
                  <a:srgbClr val="002776"/>
                </a:solidFill>
              </a:rPr>
            </a:br>
            <a:r>
              <a:rPr lang="en-US" sz="1400" b="0" dirty="0" smtClean="0">
                <a:solidFill>
                  <a:srgbClr val="002776"/>
                </a:solidFill>
              </a:rPr>
              <a:t>(if not needed, delete)</a:t>
            </a:r>
          </a:p>
          <a:p>
            <a:pPr marL="168275" lvl="1" indent="-168275" algn="l" defTabSz="957998">
              <a:spcBef>
                <a:spcPts val="400"/>
              </a:spcBef>
              <a:spcAft>
                <a:spcPts val="0"/>
              </a:spcAft>
              <a:buFont typeface="Arial" charset="0"/>
              <a:buChar char="•"/>
              <a:defRPr/>
            </a:pPr>
            <a:r>
              <a:rPr lang="en-GB" sz="1400" b="0" dirty="0" smtClean="0">
                <a:solidFill>
                  <a:srgbClr val="002776"/>
                </a:solidFill>
              </a:rPr>
              <a:t>Bullet</a:t>
            </a:r>
          </a:p>
          <a:p>
            <a:pPr marL="344488" lvl="2" indent="-153988" algn="l" defTabSz="957998">
              <a:spcBef>
                <a:spcPts val="400"/>
              </a:spcBef>
              <a:spcAft>
                <a:spcPts val="0"/>
              </a:spcAft>
              <a:buFont typeface="Arial" charset="0"/>
              <a:buChar char="‒"/>
              <a:defRPr/>
            </a:pPr>
            <a:r>
              <a:rPr lang="en-GB" sz="1200" b="0" dirty="0" smtClean="0">
                <a:solidFill>
                  <a:srgbClr val="002776"/>
                </a:solidFill>
                <a:latin typeface="Arial"/>
              </a:rPr>
              <a:t>Dash</a:t>
            </a:r>
          </a:p>
          <a:p>
            <a:pPr marL="511175" lvl="3" indent="-166688" algn="l" defTabSz="957998">
              <a:spcBef>
                <a:spcPts val="400"/>
              </a:spcBef>
              <a:spcAft>
                <a:spcPts val="0"/>
              </a:spcAft>
              <a:buFont typeface="Arial" charset="0"/>
              <a:buChar char="•"/>
              <a:defRPr/>
            </a:pPr>
            <a:r>
              <a:rPr lang="en-GB" sz="1200" b="0" dirty="0" err="1" smtClean="0">
                <a:solidFill>
                  <a:srgbClr val="002776"/>
                </a:solidFill>
                <a:latin typeface="Arial"/>
              </a:rPr>
              <a:t>Subbullet</a:t>
            </a:r>
            <a:endParaRPr lang="en-US" sz="1200" b="0" dirty="0">
              <a:solidFill>
                <a:srgbClr val="002776"/>
              </a:solidFill>
              <a:latin typeface="Arial"/>
            </a:endParaRPr>
          </a:p>
        </p:txBody>
      </p:sp>
      <p:sp>
        <p:nvSpPr>
          <p:cNvPr id="6" name="Rectangle 6"/>
          <p:cNvSpPr>
            <a:spLocks noChangeArrowheads="1"/>
          </p:cNvSpPr>
          <p:nvPr/>
        </p:nvSpPr>
        <p:spPr bwMode="gray">
          <a:xfrm>
            <a:off x="849313" y="2145006"/>
            <a:ext cx="3201987" cy="2914650"/>
          </a:xfrm>
          <a:prstGeom prst="rect">
            <a:avLst/>
          </a:prstGeom>
          <a:solidFill>
            <a:schemeClr val="bg1"/>
          </a:solidFill>
          <a:ln w="12700" algn="ctr">
            <a:solidFill>
              <a:schemeClr val="accent3"/>
            </a:solidFill>
            <a:miter lim="800000"/>
            <a:headEnd/>
            <a:tailEnd/>
          </a:ln>
        </p:spPr>
        <p:txBody>
          <a:bodyPr lIns="72000" tIns="72000" rIns="72000" bIns="72000"/>
          <a:lstStyle/>
          <a:p>
            <a:pPr algn="l" defTabSz="957998">
              <a:spcBef>
                <a:spcPts val="400"/>
              </a:spcBef>
              <a:spcAft>
                <a:spcPts val="0"/>
              </a:spcAft>
              <a:defRPr/>
            </a:pPr>
            <a:r>
              <a:rPr lang="en-US" sz="1400" b="0" dirty="0">
                <a:solidFill>
                  <a:srgbClr val="002776"/>
                </a:solidFill>
              </a:rPr>
              <a:t>Paragraph </a:t>
            </a:r>
            <a:r>
              <a:rPr lang="en-US" sz="1400" b="0" dirty="0" smtClean="0">
                <a:solidFill>
                  <a:srgbClr val="002776"/>
                </a:solidFill>
              </a:rPr>
              <a:t/>
            </a:r>
            <a:br>
              <a:rPr lang="en-US" sz="1400" b="0" dirty="0" smtClean="0">
                <a:solidFill>
                  <a:srgbClr val="002776"/>
                </a:solidFill>
              </a:rPr>
            </a:br>
            <a:r>
              <a:rPr lang="en-US" sz="1400" b="0" dirty="0" smtClean="0">
                <a:solidFill>
                  <a:srgbClr val="002776"/>
                </a:solidFill>
              </a:rPr>
              <a:t>(</a:t>
            </a:r>
            <a:r>
              <a:rPr lang="en-US" sz="1400" b="0" dirty="0">
                <a:solidFill>
                  <a:srgbClr val="002776"/>
                </a:solidFill>
              </a:rPr>
              <a:t>if not needed, delete)</a:t>
            </a:r>
          </a:p>
          <a:p>
            <a:pPr marL="168275" lvl="1" indent="-168275" algn="l" defTabSz="957998">
              <a:spcBef>
                <a:spcPts val="400"/>
              </a:spcBef>
              <a:spcAft>
                <a:spcPts val="0"/>
              </a:spcAft>
              <a:buFont typeface="Arial" charset="0"/>
              <a:buChar char="•"/>
              <a:defRPr/>
            </a:pPr>
            <a:r>
              <a:rPr lang="en-GB" sz="1400" b="0" dirty="0">
                <a:solidFill>
                  <a:srgbClr val="002776"/>
                </a:solidFill>
                <a:ea typeface="+mj-ea"/>
              </a:rPr>
              <a:t>Bullet</a:t>
            </a:r>
          </a:p>
          <a:p>
            <a:pPr marL="344488" lvl="2" indent="-153988" algn="l" defTabSz="957998">
              <a:spcBef>
                <a:spcPts val="400"/>
              </a:spcBef>
              <a:spcAft>
                <a:spcPts val="0"/>
              </a:spcAft>
              <a:buFont typeface="Arial" charset="0"/>
              <a:buChar char="‒"/>
              <a:defRPr/>
            </a:pPr>
            <a:r>
              <a:rPr lang="en-GB" sz="1200" b="0" dirty="0">
                <a:solidFill>
                  <a:srgbClr val="002776"/>
                </a:solidFill>
                <a:latin typeface="Arial"/>
                <a:ea typeface="+mj-ea"/>
                <a:cs typeface="+mj-cs"/>
              </a:rPr>
              <a:t>Dash</a:t>
            </a:r>
          </a:p>
          <a:p>
            <a:pPr marL="511175" lvl="3" indent="-166688" algn="l" defTabSz="957998">
              <a:spcBef>
                <a:spcPts val="400"/>
              </a:spcBef>
              <a:spcAft>
                <a:spcPts val="0"/>
              </a:spcAft>
              <a:buFont typeface="Arial" charset="0"/>
              <a:buChar char="•"/>
              <a:defRPr/>
            </a:pPr>
            <a:r>
              <a:rPr lang="en-GB" sz="1200" b="0" dirty="0" err="1" smtClean="0">
                <a:solidFill>
                  <a:srgbClr val="002776"/>
                </a:solidFill>
                <a:latin typeface="Arial"/>
                <a:ea typeface="+mj-ea"/>
                <a:cs typeface="+mj-cs"/>
              </a:rPr>
              <a:t>Subbullet</a:t>
            </a:r>
            <a:endParaRPr lang="en-US" sz="1200" b="0" dirty="0">
              <a:solidFill>
                <a:srgbClr val="002776"/>
              </a:solidFill>
              <a:latin typeface="Arial"/>
              <a:ea typeface="+mj-ea"/>
              <a:cs typeface="+mj-cs"/>
            </a:endParaRPr>
          </a:p>
        </p:txBody>
      </p:sp>
      <p:sp>
        <p:nvSpPr>
          <p:cNvPr id="10" name="Freeform 9"/>
          <p:cNvSpPr/>
          <p:nvPr/>
        </p:nvSpPr>
        <p:spPr>
          <a:xfrm>
            <a:off x="4050505" y="1591763"/>
            <a:ext cx="596900" cy="4076880"/>
          </a:xfrm>
          <a:custGeom>
            <a:avLst/>
            <a:gdLst>
              <a:gd name="connsiteX0" fmla="*/ 595313 w 596900"/>
              <a:gd name="connsiteY0" fmla="*/ 0 h 1593056"/>
              <a:gd name="connsiteX1" fmla="*/ 2382 w 596900"/>
              <a:gd name="connsiteY1" fmla="*/ 545306 h 1593056"/>
              <a:gd name="connsiteX2" fmla="*/ 0 w 596900"/>
              <a:gd name="connsiteY2" fmla="*/ 1593056 h 1593056"/>
              <a:gd name="connsiteX3" fmla="*/ 595313 w 596900"/>
              <a:gd name="connsiteY3" fmla="*/ 1581150 h 1593056"/>
              <a:gd name="connsiteX4" fmla="*/ 595313 w 596900"/>
              <a:gd name="connsiteY4" fmla="*/ 0 h 1593056"/>
              <a:gd name="connsiteX0" fmla="*/ 595313 w 596900"/>
              <a:gd name="connsiteY0" fmla="*/ 0 h 4048305"/>
              <a:gd name="connsiteX1" fmla="*/ 2382 w 596900"/>
              <a:gd name="connsiteY1" fmla="*/ 545306 h 4048305"/>
              <a:gd name="connsiteX2" fmla="*/ 0 w 596900"/>
              <a:gd name="connsiteY2" fmla="*/ 1593056 h 4048305"/>
              <a:gd name="connsiteX3" fmla="*/ 595313 w 596900"/>
              <a:gd name="connsiteY3" fmla="*/ 4048305 h 4048305"/>
              <a:gd name="connsiteX4" fmla="*/ 595313 w 596900"/>
              <a:gd name="connsiteY4" fmla="*/ 0 h 4048305"/>
              <a:gd name="connsiteX0" fmla="*/ 595313 w 596900"/>
              <a:gd name="connsiteY0" fmla="*/ 0 h 4048305"/>
              <a:gd name="connsiteX1" fmla="*/ 2382 w 596900"/>
              <a:gd name="connsiteY1" fmla="*/ 545306 h 4048305"/>
              <a:gd name="connsiteX2" fmla="*/ 0 w 596900"/>
              <a:gd name="connsiteY2" fmla="*/ 3473615 h 4048305"/>
              <a:gd name="connsiteX3" fmla="*/ 595313 w 596900"/>
              <a:gd name="connsiteY3" fmla="*/ 4048305 h 4048305"/>
              <a:gd name="connsiteX4" fmla="*/ 595313 w 596900"/>
              <a:gd name="connsiteY4" fmla="*/ 0 h 4048305"/>
              <a:gd name="connsiteX0" fmla="*/ 595313 w 596900"/>
              <a:gd name="connsiteY0" fmla="*/ 0 h 4048305"/>
              <a:gd name="connsiteX1" fmla="*/ 2382 w 596900"/>
              <a:gd name="connsiteY1" fmla="*/ 545306 h 4048305"/>
              <a:gd name="connsiteX2" fmla="*/ 0 w 596900"/>
              <a:gd name="connsiteY2" fmla="*/ 3473615 h 4048305"/>
              <a:gd name="connsiteX3" fmla="*/ 595313 w 596900"/>
              <a:gd name="connsiteY3" fmla="*/ 4048305 h 4048305"/>
              <a:gd name="connsiteX4" fmla="*/ 595313 w 596900"/>
              <a:gd name="connsiteY4" fmla="*/ 0 h 4048305"/>
              <a:gd name="connsiteX0" fmla="*/ 595313 w 596900"/>
              <a:gd name="connsiteY0" fmla="*/ 0 h 4076880"/>
              <a:gd name="connsiteX1" fmla="*/ 2382 w 596900"/>
              <a:gd name="connsiteY1" fmla="*/ 545306 h 4076880"/>
              <a:gd name="connsiteX2" fmla="*/ 0 w 596900"/>
              <a:gd name="connsiteY2" fmla="*/ 3473615 h 4076880"/>
              <a:gd name="connsiteX3" fmla="*/ 595313 w 596900"/>
              <a:gd name="connsiteY3" fmla="*/ 4076880 h 4076880"/>
              <a:gd name="connsiteX4" fmla="*/ 595313 w 596900"/>
              <a:gd name="connsiteY4" fmla="*/ 0 h 4076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00" h="4076880">
                <a:moveTo>
                  <a:pt x="595313" y="0"/>
                </a:moveTo>
                <a:lnTo>
                  <a:pt x="2382" y="545306"/>
                </a:lnTo>
                <a:lnTo>
                  <a:pt x="0" y="3473615"/>
                </a:lnTo>
                <a:lnTo>
                  <a:pt x="595313" y="4076880"/>
                </a:lnTo>
                <a:cubicBezTo>
                  <a:pt x="596107" y="3549036"/>
                  <a:pt x="596900" y="525462"/>
                  <a:pt x="59531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1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0065" name="Title 1"/>
          <p:cNvSpPr>
            <a:spLocks noGrp="1"/>
          </p:cNvSpPr>
          <p:nvPr>
            <p:ph type="title"/>
          </p:nvPr>
        </p:nvSpPr>
        <p:spPr>
          <a:xfrm>
            <a:off x="414338" y="446038"/>
            <a:ext cx="8330184" cy="333425"/>
          </a:xfrm>
        </p:spPr>
        <p:txBody>
          <a:bodyPr/>
          <a:lstStyle/>
          <a:p>
            <a:r>
              <a:rPr lang="nl-NL" dirty="0"/>
              <a:t>Text blocks </a:t>
            </a:r>
            <a:r>
              <a:rPr lang="en-US" dirty="0"/>
              <a:t>—</a:t>
            </a:r>
            <a:r>
              <a:rPr lang="nl-NL" dirty="0" smtClean="0"/>
              <a:t> </a:t>
            </a:r>
            <a:r>
              <a:rPr lang="nl-NL" dirty="0"/>
              <a:t>leading to</a:t>
            </a:r>
          </a:p>
        </p:txBody>
      </p:sp>
      <p:sp>
        <p:nvSpPr>
          <p:cNvPr id="7" name="Oval 5"/>
          <p:cNvSpPr>
            <a:spLocks noChangeArrowheads="1"/>
          </p:cNvSpPr>
          <p:nvPr/>
        </p:nvSpPr>
        <p:spPr bwMode="blackWhite">
          <a:xfrm>
            <a:off x="3270859" y="2193523"/>
            <a:ext cx="2567032" cy="2494013"/>
          </a:xfrm>
          <a:prstGeom prst="ellipse">
            <a:avLst/>
          </a:prstGeom>
          <a:solidFill>
            <a:schemeClr val="accent3"/>
          </a:solidFill>
          <a:ln w="12700">
            <a:solidFill>
              <a:schemeClr val="accent3"/>
            </a:solidFill>
            <a:round/>
            <a:headEnd/>
            <a:tailEnd/>
          </a:ln>
        </p:spPr>
        <p:txBody>
          <a:bodyPr wrap="none" anchor="ctr"/>
          <a:lstStyle/>
          <a:p>
            <a:pPr algn="ctr">
              <a:defRPr/>
            </a:pPr>
            <a:r>
              <a:rPr lang="en-GB" sz="1400" b="1" dirty="0">
                <a:solidFill>
                  <a:schemeClr val="bg1"/>
                </a:solidFill>
                <a:ea typeface="ＭＳ Ｐゴシック" pitchFamily="50" charset="-128"/>
              </a:rPr>
              <a:t>Conclusion</a:t>
            </a:r>
          </a:p>
        </p:txBody>
      </p:sp>
      <p:sp>
        <p:nvSpPr>
          <p:cNvPr id="600068" name="Rectangle 15"/>
          <p:cNvSpPr>
            <a:spLocks noChangeArrowheads="1"/>
          </p:cNvSpPr>
          <p:nvPr>
            <p:custDataLst>
              <p:tags r:id="rId1"/>
            </p:custDataLst>
          </p:nvPr>
        </p:nvSpPr>
        <p:spPr bwMode="gray">
          <a:xfrm>
            <a:off x="736889" y="1783337"/>
            <a:ext cx="2965450" cy="304800"/>
          </a:xfrm>
          <a:prstGeom prst="rect">
            <a:avLst/>
          </a:prstGeom>
          <a:noFill/>
          <a:ln w="9525" algn="ctr">
            <a:noFill/>
            <a:miter lim="800000"/>
            <a:headEnd/>
            <a:tailEnd/>
          </a:ln>
        </p:spPr>
        <p:txBody>
          <a:bodyPr lIns="0" tIns="0" rIns="0" bIns="0"/>
          <a:lstStyle/>
          <a:p>
            <a:pPr marL="117475" lvl="1" indent="-117475" algn="l" defTabSz="957263">
              <a:lnSpc>
                <a:spcPct val="106000"/>
              </a:lnSpc>
              <a:spcBef>
                <a:spcPts val="1350"/>
              </a:spcBef>
              <a:buFont typeface="Arial" charset="0"/>
              <a:buChar char="•"/>
            </a:pPr>
            <a:r>
              <a:rPr lang="en-GB" sz="1400" b="0" dirty="0">
                <a:solidFill>
                  <a:srgbClr val="002776"/>
                </a:solidFill>
              </a:rPr>
              <a:t>Text</a:t>
            </a:r>
          </a:p>
        </p:txBody>
      </p:sp>
      <p:sp>
        <p:nvSpPr>
          <p:cNvPr id="600069" name="Rectangle 16"/>
          <p:cNvSpPr>
            <a:spLocks noChangeArrowheads="1"/>
          </p:cNvSpPr>
          <p:nvPr>
            <p:custDataLst>
              <p:tags r:id="rId2"/>
            </p:custDataLst>
          </p:nvPr>
        </p:nvSpPr>
        <p:spPr bwMode="gray">
          <a:xfrm>
            <a:off x="6212177" y="1783337"/>
            <a:ext cx="2238375" cy="304800"/>
          </a:xfrm>
          <a:prstGeom prst="rect">
            <a:avLst/>
          </a:prstGeom>
          <a:noFill/>
          <a:ln w="9525" algn="ctr">
            <a:noFill/>
            <a:miter lim="800000"/>
            <a:headEnd/>
            <a:tailEnd/>
          </a:ln>
        </p:spPr>
        <p:txBody>
          <a:bodyPr lIns="0" tIns="0" rIns="0" bIns="0"/>
          <a:lstStyle/>
          <a:p>
            <a:pPr marL="117475" lvl="1" indent="-117475" algn="l" defTabSz="957263">
              <a:lnSpc>
                <a:spcPct val="106000"/>
              </a:lnSpc>
              <a:spcBef>
                <a:spcPts val="1350"/>
              </a:spcBef>
              <a:buFont typeface="Arial" charset="0"/>
              <a:buChar char="•"/>
            </a:pPr>
            <a:r>
              <a:rPr lang="en-GB" sz="1400" b="0" dirty="0" smtClean="0">
                <a:solidFill>
                  <a:srgbClr val="002776"/>
                </a:solidFill>
              </a:rPr>
              <a:t>Text</a:t>
            </a:r>
            <a:endParaRPr lang="en-GB" sz="1400" b="0" dirty="0">
              <a:solidFill>
                <a:srgbClr val="002776"/>
              </a:solidFill>
            </a:endParaRPr>
          </a:p>
        </p:txBody>
      </p:sp>
      <p:sp>
        <p:nvSpPr>
          <p:cNvPr id="19" name="Rectangle 17"/>
          <p:cNvSpPr>
            <a:spLocks noChangeArrowheads="1"/>
          </p:cNvSpPr>
          <p:nvPr>
            <p:custDataLst>
              <p:tags r:id="rId3"/>
            </p:custDataLst>
          </p:nvPr>
        </p:nvSpPr>
        <p:spPr bwMode="gray">
          <a:xfrm>
            <a:off x="736889" y="2470724"/>
            <a:ext cx="2428875" cy="201613"/>
          </a:xfrm>
          <a:prstGeom prst="rect">
            <a:avLst/>
          </a:prstGeom>
          <a:noFill/>
          <a:ln w="9525" algn="ctr">
            <a:noFill/>
            <a:miter lim="800000"/>
            <a:headEnd/>
            <a:tailEnd/>
          </a:ln>
        </p:spPr>
        <p:txBody>
          <a:bodyPr lIns="0" tIns="0" rIns="0" bIns="0"/>
          <a:lstStyle/>
          <a:p>
            <a:pPr marL="117475" lvl="1" indent="-117475" algn="l" defTabSz="957263">
              <a:lnSpc>
                <a:spcPct val="106000"/>
              </a:lnSpc>
              <a:spcBef>
                <a:spcPts val="1350"/>
              </a:spcBef>
              <a:buFont typeface="Arial" charset="0"/>
              <a:buChar char="•"/>
            </a:pPr>
            <a:r>
              <a:rPr lang="en-GB" sz="1400" b="0" smtClean="0">
                <a:solidFill>
                  <a:srgbClr val="002776"/>
                </a:solidFill>
              </a:rPr>
              <a:t>Text</a:t>
            </a:r>
            <a:endParaRPr lang="en-GB" sz="1400" b="0">
              <a:solidFill>
                <a:srgbClr val="002776"/>
              </a:solidFill>
            </a:endParaRPr>
          </a:p>
        </p:txBody>
      </p:sp>
      <p:sp>
        <p:nvSpPr>
          <p:cNvPr id="600071" name="Rectangle 18"/>
          <p:cNvSpPr>
            <a:spLocks noChangeArrowheads="1"/>
          </p:cNvSpPr>
          <p:nvPr>
            <p:custDataLst>
              <p:tags r:id="rId4"/>
            </p:custDataLst>
          </p:nvPr>
        </p:nvSpPr>
        <p:spPr bwMode="gray">
          <a:xfrm>
            <a:off x="6212177" y="2432624"/>
            <a:ext cx="2227262" cy="304800"/>
          </a:xfrm>
          <a:prstGeom prst="rect">
            <a:avLst/>
          </a:prstGeom>
          <a:noFill/>
          <a:ln w="9525" algn="ctr">
            <a:noFill/>
            <a:miter lim="800000"/>
            <a:headEnd/>
            <a:tailEnd/>
          </a:ln>
        </p:spPr>
        <p:txBody>
          <a:bodyPr lIns="0" tIns="0" rIns="0" bIns="0"/>
          <a:lstStyle/>
          <a:p>
            <a:pPr marL="117475" lvl="1" indent="-117475" algn="l" defTabSz="957263">
              <a:lnSpc>
                <a:spcPct val="106000"/>
              </a:lnSpc>
              <a:spcBef>
                <a:spcPts val="1350"/>
              </a:spcBef>
              <a:buFont typeface="Arial" charset="0"/>
              <a:buChar char="•"/>
            </a:pPr>
            <a:r>
              <a:rPr lang="en-GB" sz="1400" b="0" smtClean="0">
                <a:solidFill>
                  <a:srgbClr val="002776"/>
                </a:solidFill>
              </a:rPr>
              <a:t>Text</a:t>
            </a:r>
            <a:endParaRPr lang="en-GB" sz="1400" b="0">
              <a:solidFill>
                <a:srgbClr val="002776"/>
              </a:solidFill>
            </a:endParaRPr>
          </a:p>
        </p:txBody>
      </p:sp>
      <p:sp>
        <p:nvSpPr>
          <p:cNvPr id="21" name="Rectangle 19"/>
          <p:cNvSpPr>
            <a:spLocks noChangeArrowheads="1"/>
          </p:cNvSpPr>
          <p:nvPr>
            <p:custDataLst>
              <p:tags r:id="rId5"/>
            </p:custDataLst>
          </p:nvPr>
        </p:nvSpPr>
        <p:spPr bwMode="gray">
          <a:xfrm>
            <a:off x="736889" y="3320037"/>
            <a:ext cx="2233613" cy="201612"/>
          </a:xfrm>
          <a:prstGeom prst="rect">
            <a:avLst/>
          </a:prstGeom>
          <a:noFill/>
          <a:ln w="9525" algn="ctr">
            <a:noFill/>
            <a:miter lim="800000"/>
            <a:headEnd/>
            <a:tailEnd/>
          </a:ln>
        </p:spPr>
        <p:txBody>
          <a:bodyPr lIns="0" tIns="0" rIns="0" bIns="0"/>
          <a:lstStyle/>
          <a:p>
            <a:pPr marL="117475" lvl="1" indent="-117475" algn="l" defTabSz="957263">
              <a:lnSpc>
                <a:spcPct val="106000"/>
              </a:lnSpc>
              <a:spcBef>
                <a:spcPts val="1350"/>
              </a:spcBef>
              <a:buFont typeface="Arial" charset="0"/>
              <a:buChar char="•"/>
            </a:pPr>
            <a:r>
              <a:rPr lang="en-GB" sz="1400" b="0" smtClean="0">
                <a:solidFill>
                  <a:srgbClr val="002776"/>
                </a:solidFill>
              </a:rPr>
              <a:t>Text</a:t>
            </a:r>
            <a:endParaRPr lang="en-GB" sz="1400" b="0">
              <a:solidFill>
                <a:srgbClr val="002776"/>
              </a:solidFill>
            </a:endParaRPr>
          </a:p>
        </p:txBody>
      </p:sp>
      <p:sp>
        <p:nvSpPr>
          <p:cNvPr id="600073" name="Rectangle 20"/>
          <p:cNvSpPr>
            <a:spLocks noChangeArrowheads="1"/>
          </p:cNvSpPr>
          <p:nvPr>
            <p:custDataLst>
              <p:tags r:id="rId6"/>
            </p:custDataLst>
          </p:nvPr>
        </p:nvSpPr>
        <p:spPr bwMode="gray">
          <a:xfrm>
            <a:off x="6212177" y="3269237"/>
            <a:ext cx="2233612" cy="304800"/>
          </a:xfrm>
          <a:prstGeom prst="rect">
            <a:avLst/>
          </a:prstGeom>
          <a:noFill/>
          <a:ln w="9525" algn="ctr">
            <a:noFill/>
            <a:miter lim="800000"/>
            <a:headEnd/>
            <a:tailEnd/>
          </a:ln>
        </p:spPr>
        <p:txBody>
          <a:bodyPr lIns="0" tIns="0" rIns="0" bIns="0"/>
          <a:lstStyle/>
          <a:p>
            <a:pPr marL="117475" lvl="1" indent="-117475" algn="l" defTabSz="957263">
              <a:lnSpc>
                <a:spcPct val="106000"/>
              </a:lnSpc>
              <a:spcBef>
                <a:spcPts val="1350"/>
              </a:spcBef>
              <a:buFont typeface="Arial" charset="0"/>
              <a:buChar char="•"/>
            </a:pPr>
            <a:r>
              <a:rPr lang="en-GB" sz="1400" b="0" smtClean="0">
                <a:solidFill>
                  <a:srgbClr val="002776"/>
                </a:solidFill>
              </a:rPr>
              <a:t>Text</a:t>
            </a:r>
            <a:endParaRPr lang="en-GB" sz="1400" b="0">
              <a:solidFill>
                <a:srgbClr val="002776"/>
              </a:solidFill>
            </a:endParaRPr>
          </a:p>
        </p:txBody>
      </p:sp>
      <p:sp>
        <p:nvSpPr>
          <p:cNvPr id="23" name="Rectangle 21"/>
          <p:cNvSpPr>
            <a:spLocks noChangeArrowheads="1"/>
          </p:cNvSpPr>
          <p:nvPr>
            <p:custDataLst>
              <p:tags r:id="rId7"/>
            </p:custDataLst>
          </p:nvPr>
        </p:nvSpPr>
        <p:spPr bwMode="gray">
          <a:xfrm>
            <a:off x="736889" y="4142362"/>
            <a:ext cx="2435225" cy="306387"/>
          </a:xfrm>
          <a:prstGeom prst="rect">
            <a:avLst/>
          </a:prstGeom>
          <a:noFill/>
          <a:ln w="9525" algn="ctr">
            <a:noFill/>
            <a:miter lim="800000"/>
            <a:headEnd/>
            <a:tailEnd/>
          </a:ln>
        </p:spPr>
        <p:txBody>
          <a:bodyPr lIns="0" tIns="0" rIns="0" bIns="0"/>
          <a:lstStyle/>
          <a:p>
            <a:pPr marL="117475" lvl="1" indent="-117475" algn="l" defTabSz="957263">
              <a:lnSpc>
                <a:spcPct val="106000"/>
              </a:lnSpc>
              <a:spcBef>
                <a:spcPts val="1350"/>
              </a:spcBef>
              <a:buFont typeface="Arial" charset="0"/>
              <a:buChar char="•"/>
            </a:pPr>
            <a:r>
              <a:rPr lang="en-GB" sz="1400" b="0" smtClean="0">
                <a:solidFill>
                  <a:srgbClr val="002776"/>
                </a:solidFill>
              </a:rPr>
              <a:t>Text</a:t>
            </a:r>
            <a:endParaRPr lang="en-GB" sz="1400" b="0">
              <a:solidFill>
                <a:srgbClr val="002776"/>
              </a:solidFill>
            </a:endParaRPr>
          </a:p>
        </p:txBody>
      </p:sp>
      <p:sp>
        <p:nvSpPr>
          <p:cNvPr id="600075" name="Rectangle 22"/>
          <p:cNvSpPr>
            <a:spLocks noChangeArrowheads="1"/>
          </p:cNvSpPr>
          <p:nvPr>
            <p:custDataLst>
              <p:tags r:id="rId8"/>
            </p:custDataLst>
          </p:nvPr>
        </p:nvSpPr>
        <p:spPr bwMode="gray">
          <a:xfrm>
            <a:off x="6212177" y="4124899"/>
            <a:ext cx="2233612" cy="304800"/>
          </a:xfrm>
          <a:prstGeom prst="rect">
            <a:avLst/>
          </a:prstGeom>
          <a:noFill/>
          <a:ln w="9525" algn="ctr">
            <a:noFill/>
            <a:miter lim="800000"/>
            <a:headEnd/>
            <a:tailEnd/>
          </a:ln>
        </p:spPr>
        <p:txBody>
          <a:bodyPr lIns="0" tIns="0" rIns="0" bIns="0"/>
          <a:lstStyle/>
          <a:p>
            <a:pPr marL="117475" lvl="1" indent="-117475" algn="l" defTabSz="957263">
              <a:lnSpc>
                <a:spcPct val="106000"/>
              </a:lnSpc>
              <a:spcBef>
                <a:spcPts val="1350"/>
              </a:spcBef>
              <a:buFont typeface="Arial" charset="0"/>
              <a:buChar char="•"/>
            </a:pPr>
            <a:r>
              <a:rPr lang="en-GB" sz="1400" b="0" smtClean="0">
                <a:solidFill>
                  <a:srgbClr val="002776"/>
                </a:solidFill>
              </a:rPr>
              <a:t>Text</a:t>
            </a:r>
            <a:endParaRPr lang="en-GB" sz="1400" b="0">
              <a:solidFill>
                <a:srgbClr val="002776"/>
              </a:solidFill>
            </a:endParaRPr>
          </a:p>
        </p:txBody>
      </p:sp>
      <p:sp>
        <p:nvSpPr>
          <p:cNvPr id="600076" name="Rectangle 23"/>
          <p:cNvSpPr>
            <a:spLocks noChangeArrowheads="1"/>
          </p:cNvSpPr>
          <p:nvPr>
            <p:custDataLst>
              <p:tags r:id="rId9"/>
            </p:custDataLst>
          </p:nvPr>
        </p:nvSpPr>
        <p:spPr bwMode="gray">
          <a:xfrm>
            <a:off x="736889" y="4813222"/>
            <a:ext cx="2954338" cy="203200"/>
          </a:xfrm>
          <a:prstGeom prst="rect">
            <a:avLst/>
          </a:prstGeom>
          <a:noFill/>
          <a:ln w="9525" algn="ctr">
            <a:noFill/>
            <a:miter lim="800000"/>
            <a:headEnd/>
            <a:tailEnd/>
          </a:ln>
        </p:spPr>
        <p:txBody>
          <a:bodyPr lIns="0" tIns="0" rIns="0" bIns="0"/>
          <a:lstStyle/>
          <a:p>
            <a:pPr marL="117475" lvl="1" indent="-117475" algn="l" defTabSz="957263">
              <a:lnSpc>
                <a:spcPct val="106000"/>
              </a:lnSpc>
              <a:spcBef>
                <a:spcPts val="1350"/>
              </a:spcBef>
              <a:buFont typeface="Arial" charset="0"/>
              <a:buChar char="•"/>
            </a:pPr>
            <a:r>
              <a:rPr lang="en-GB" sz="1400" b="0" smtClean="0">
                <a:solidFill>
                  <a:srgbClr val="002776"/>
                </a:solidFill>
              </a:rPr>
              <a:t>Text</a:t>
            </a:r>
            <a:endParaRPr lang="en-GB" sz="1400" b="0">
              <a:solidFill>
                <a:srgbClr val="002776"/>
              </a:solidFill>
            </a:endParaRPr>
          </a:p>
        </p:txBody>
      </p:sp>
      <p:sp>
        <p:nvSpPr>
          <p:cNvPr id="600077" name="Rectangle 24"/>
          <p:cNvSpPr>
            <a:spLocks noChangeArrowheads="1"/>
          </p:cNvSpPr>
          <p:nvPr>
            <p:custDataLst>
              <p:tags r:id="rId10"/>
            </p:custDataLst>
          </p:nvPr>
        </p:nvSpPr>
        <p:spPr bwMode="gray">
          <a:xfrm>
            <a:off x="6212177" y="4816397"/>
            <a:ext cx="2233612" cy="201612"/>
          </a:xfrm>
          <a:prstGeom prst="rect">
            <a:avLst/>
          </a:prstGeom>
          <a:noFill/>
          <a:ln w="9525" algn="ctr">
            <a:noFill/>
            <a:miter lim="800000"/>
            <a:headEnd/>
            <a:tailEnd/>
          </a:ln>
        </p:spPr>
        <p:txBody>
          <a:bodyPr lIns="0" tIns="0" rIns="0" bIns="0"/>
          <a:lstStyle/>
          <a:p>
            <a:pPr marL="117475" lvl="1" indent="-117475" algn="l" defTabSz="957263">
              <a:lnSpc>
                <a:spcPct val="106000"/>
              </a:lnSpc>
              <a:spcBef>
                <a:spcPts val="1350"/>
              </a:spcBef>
              <a:buFont typeface="Arial" charset="0"/>
              <a:buChar char="•"/>
            </a:pPr>
            <a:r>
              <a:rPr lang="en-GB" sz="1400" b="0" smtClean="0">
                <a:solidFill>
                  <a:srgbClr val="002776"/>
                </a:solidFill>
              </a:rPr>
              <a:t>Text</a:t>
            </a:r>
            <a:endParaRPr lang="en-GB" sz="1400" b="0">
              <a:solidFill>
                <a:srgbClr val="002776"/>
              </a:solidFill>
            </a:endParaRPr>
          </a:p>
        </p:txBody>
      </p:sp>
      <p:sp>
        <p:nvSpPr>
          <p:cNvPr id="27" name="Freeform 2"/>
          <p:cNvSpPr>
            <a:spLocks/>
          </p:cNvSpPr>
          <p:nvPr/>
        </p:nvSpPr>
        <p:spPr bwMode="blackWhite">
          <a:xfrm>
            <a:off x="681327" y="2198979"/>
            <a:ext cx="2901950" cy="358775"/>
          </a:xfrm>
          <a:custGeom>
            <a:avLst/>
            <a:gdLst>
              <a:gd name="T0" fmla="*/ 2147483647 w 937"/>
              <a:gd name="T1" fmla="*/ 2147483647 h 153"/>
              <a:gd name="T2" fmla="*/ 2147483647 w 937"/>
              <a:gd name="T3" fmla="*/ 0 h 153"/>
              <a:gd name="T4" fmla="*/ 0 w 937"/>
              <a:gd name="T5" fmla="*/ 0 h 153"/>
              <a:gd name="T6" fmla="*/ 0 60000 65536"/>
              <a:gd name="T7" fmla="*/ 0 60000 65536"/>
              <a:gd name="T8" fmla="*/ 0 60000 65536"/>
              <a:gd name="T9" fmla="*/ 0 w 937"/>
              <a:gd name="T10" fmla="*/ 0 h 153"/>
              <a:gd name="T11" fmla="*/ 937 w 937"/>
              <a:gd name="T12" fmla="*/ 153 h 153"/>
              <a:gd name="connsiteX0" fmla="*/ 936 w 936"/>
              <a:gd name="connsiteY0" fmla="*/ 152 h 152"/>
              <a:gd name="connsiteX1" fmla="*/ 812 w 936"/>
              <a:gd name="connsiteY1" fmla="*/ 0 h 152"/>
              <a:gd name="connsiteX2" fmla="*/ 0 w 936"/>
              <a:gd name="connsiteY2" fmla="*/ 0 h 152"/>
              <a:gd name="connsiteX0" fmla="*/ 936 w 936"/>
              <a:gd name="connsiteY0" fmla="*/ 152 h 152"/>
              <a:gd name="connsiteX1" fmla="*/ 812 w 936"/>
              <a:gd name="connsiteY1" fmla="*/ 0 h 152"/>
              <a:gd name="connsiteX2" fmla="*/ 0 w 936"/>
              <a:gd name="connsiteY2" fmla="*/ 0 h 152"/>
            </a:gdLst>
            <a:ahLst/>
            <a:cxnLst>
              <a:cxn ang="0">
                <a:pos x="connsiteX0" y="connsiteY0"/>
              </a:cxn>
              <a:cxn ang="0">
                <a:pos x="connsiteX1" y="connsiteY1"/>
              </a:cxn>
              <a:cxn ang="0">
                <a:pos x="connsiteX2" y="connsiteY2"/>
              </a:cxn>
            </a:cxnLst>
            <a:rect l="l" t="t" r="r" b="b"/>
            <a:pathLst>
              <a:path w="936" h="152">
                <a:moveTo>
                  <a:pt x="936" y="152"/>
                </a:moveTo>
                <a:cubicBezTo>
                  <a:pt x="895" y="101"/>
                  <a:pt x="853" y="51"/>
                  <a:pt x="812" y="0"/>
                </a:cubicBezTo>
                <a:lnTo>
                  <a:pt x="0" y="0"/>
                </a:lnTo>
              </a:path>
            </a:pathLst>
          </a:custGeom>
          <a:noFill/>
          <a:ln w="12700" cap="rnd">
            <a:solidFill>
              <a:schemeClr val="accent3"/>
            </a:solidFill>
            <a:round/>
            <a:headEnd type="none" w="sm" len="sm"/>
            <a:tailEnd type="none" w="sm" len="sm"/>
          </a:ln>
        </p:spPr>
        <p:txBody>
          <a:bodyPr lIns="91438" tIns="45719" rIns="91438" bIns="45719"/>
          <a:lstStyle/>
          <a:p>
            <a:pPr>
              <a:defRPr/>
            </a:pPr>
            <a:endParaRPr lang="en-GB"/>
          </a:p>
        </p:txBody>
      </p:sp>
      <p:sp>
        <p:nvSpPr>
          <p:cNvPr id="28" name="Freeform 3"/>
          <p:cNvSpPr>
            <a:spLocks/>
          </p:cNvSpPr>
          <p:nvPr/>
        </p:nvSpPr>
        <p:spPr bwMode="blackWhite">
          <a:xfrm>
            <a:off x="698789" y="2859662"/>
            <a:ext cx="2584450" cy="549275"/>
          </a:xfrm>
          <a:custGeom>
            <a:avLst/>
            <a:gdLst>
              <a:gd name="T0" fmla="*/ 2147483647 w 831"/>
              <a:gd name="T1" fmla="*/ 2147483647 h 182"/>
              <a:gd name="T2" fmla="*/ 2147483647 w 831"/>
              <a:gd name="T3" fmla="*/ 0 h 182"/>
              <a:gd name="T4" fmla="*/ 0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830" y="181"/>
                </a:moveTo>
                <a:lnTo>
                  <a:pt x="639" y="0"/>
                </a:lnTo>
                <a:lnTo>
                  <a:pt x="0" y="0"/>
                </a:lnTo>
              </a:path>
            </a:pathLst>
          </a:custGeom>
          <a:noFill/>
          <a:ln w="12700" cap="rnd">
            <a:solidFill>
              <a:schemeClr val="accent3"/>
            </a:solidFill>
            <a:round/>
            <a:headEnd type="none" w="sm" len="sm"/>
            <a:tailEnd type="none" w="sm" len="sm"/>
          </a:ln>
        </p:spPr>
        <p:txBody>
          <a:bodyPr lIns="91438" tIns="45719" rIns="91438" bIns="45719"/>
          <a:lstStyle/>
          <a:p>
            <a:pPr>
              <a:defRPr/>
            </a:pPr>
            <a:endParaRPr lang="en-GB"/>
          </a:p>
        </p:txBody>
      </p:sp>
      <p:sp>
        <p:nvSpPr>
          <p:cNvPr id="29" name="Freeform 4"/>
          <p:cNvSpPr>
            <a:spLocks/>
          </p:cNvSpPr>
          <p:nvPr/>
        </p:nvSpPr>
        <p:spPr bwMode="blackWhite">
          <a:xfrm>
            <a:off x="698789" y="3423224"/>
            <a:ext cx="2582863" cy="547688"/>
          </a:xfrm>
          <a:custGeom>
            <a:avLst/>
            <a:gdLst>
              <a:gd name="T0" fmla="*/ 2147483647 w 825"/>
              <a:gd name="T1" fmla="*/ 0 h 182"/>
              <a:gd name="T2" fmla="*/ 2147483647 w 825"/>
              <a:gd name="T3" fmla="*/ 2147483647 h 182"/>
              <a:gd name="T4" fmla="*/ 0 w 825"/>
              <a:gd name="T5" fmla="*/ 2147483647 h 182"/>
              <a:gd name="T6" fmla="*/ 0 60000 65536"/>
              <a:gd name="T7" fmla="*/ 0 60000 65536"/>
              <a:gd name="T8" fmla="*/ 0 60000 65536"/>
              <a:gd name="T9" fmla="*/ 0 w 825"/>
              <a:gd name="T10" fmla="*/ 0 h 182"/>
              <a:gd name="T11" fmla="*/ 825 w 825"/>
              <a:gd name="T12" fmla="*/ 182 h 182"/>
            </a:gdLst>
            <a:ahLst/>
            <a:cxnLst>
              <a:cxn ang="T6">
                <a:pos x="T0" y="T1"/>
              </a:cxn>
              <a:cxn ang="T7">
                <a:pos x="T2" y="T3"/>
              </a:cxn>
              <a:cxn ang="T8">
                <a:pos x="T4" y="T5"/>
              </a:cxn>
            </a:cxnLst>
            <a:rect l="T9" t="T10" r="T11" b="T12"/>
            <a:pathLst>
              <a:path w="825" h="182">
                <a:moveTo>
                  <a:pt x="824" y="0"/>
                </a:moveTo>
                <a:lnTo>
                  <a:pt x="639" y="181"/>
                </a:lnTo>
                <a:lnTo>
                  <a:pt x="0" y="181"/>
                </a:lnTo>
              </a:path>
            </a:pathLst>
          </a:custGeom>
          <a:noFill/>
          <a:ln w="12700" cap="rnd">
            <a:solidFill>
              <a:schemeClr val="accent3"/>
            </a:solidFill>
            <a:round/>
            <a:headEnd type="none" w="sm" len="sm"/>
            <a:tailEnd type="none" w="sm" len="sm"/>
          </a:ln>
        </p:spPr>
        <p:txBody>
          <a:bodyPr lIns="91438" tIns="45719" rIns="91438" bIns="45719"/>
          <a:lstStyle/>
          <a:p>
            <a:pPr>
              <a:defRPr/>
            </a:pPr>
            <a:endParaRPr lang="en-GB"/>
          </a:p>
        </p:txBody>
      </p:sp>
      <p:sp>
        <p:nvSpPr>
          <p:cNvPr id="30" name="Freeform 6"/>
          <p:cNvSpPr>
            <a:spLocks/>
          </p:cNvSpPr>
          <p:nvPr/>
        </p:nvSpPr>
        <p:spPr bwMode="blackWhite">
          <a:xfrm>
            <a:off x="698789" y="1596012"/>
            <a:ext cx="3857625" cy="590550"/>
          </a:xfrm>
          <a:custGeom>
            <a:avLst/>
            <a:gdLst>
              <a:gd name="T0" fmla="*/ 2147483647 w 1239"/>
              <a:gd name="T1" fmla="*/ 2147483647 h 195"/>
              <a:gd name="T2" fmla="*/ 2147483647 w 1239"/>
              <a:gd name="T3" fmla="*/ 0 h 195"/>
              <a:gd name="T4" fmla="*/ 0 w 1239"/>
              <a:gd name="T5" fmla="*/ 0 h 195"/>
              <a:gd name="T6" fmla="*/ 0 60000 65536"/>
              <a:gd name="T7" fmla="*/ 0 60000 65536"/>
              <a:gd name="T8" fmla="*/ 0 60000 65536"/>
              <a:gd name="T9" fmla="*/ 0 w 1239"/>
              <a:gd name="T10" fmla="*/ 0 h 195"/>
              <a:gd name="T11" fmla="*/ 1239 w 1239"/>
              <a:gd name="T12" fmla="*/ 195 h 195"/>
            </a:gdLst>
            <a:ahLst/>
            <a:cxnLst>
              <a:cxn ang="T6">
                <a:pos x="T0" y="T1"/>
              </a:cxn>
              <a:cxn ang="T7">
                <a:pos x="T2" y="T3"/>
              </a:cxn>
              <a:cxn ang="T8">
                <a:pos x="T4" y="T5"/>
              </a:cxn>
            </a:cxnLst>
            <a:rect l="T9" t="T10" r="T11" b="T12"/>
            <a:pathLst>
              <a:path w="1239" h="195">
                <a:moveTo>
                  <a:pt x="1238" y="194"/>
                </a:moveTo>
                <a:lnTo>
                  <a:pt x="1047" y="0"/>
                </a:lnTo>
                <a:lnTo>
                  <a:pt x="0" y="0"/>
                </a:lnTo>
              </a:path>
            </a:pathLst>
          </a:custGeom>
          <a:noFill/>
          <a:ln w="12700" cap="rnd">
            <a:solidFill>
              <a:schemeClr val="accent3"/>
            </a:solidFill>
            <a:round/>
            <a:headEnd type="none" w="sm" len="sm"/>
            <a:tailEnd type="none" w="sm" len="sm"/>
          </a:ln>
        </p:spPr>
        <p:txBody>
          <a:bodyPr lIns="91438" tIns="45719" rIns="91438" bIns="45719"/>
          <a:lstStyle/>
          <a:p>
            <a:pPr>
              <a:defRPr/>
            </a:pPr>
            <a:endParaRPr lang="en-GB"/>
          </a:p>
        </p:txBody>
      </p:sp>
      <p:sp>
        <p:nvSpPr>
          <p:cNvPr id="31" name="Freeform 7"/>
          <p:cNvSpPr>
            <a:spLocks/>
          </p:cNvSpPr>
          <p:nvPr/>
        </p:nvSpPr>
        <p:spPr bwMode="blackWhite">
          <a:xfrm>
            <a:off x="698789" y="4693039"/>
            <a:ext cx="3857625" cy="558800"/>
          </a:xfrm>
          <a:custGeom>
            <a:avLst/>
            <a:gdLst>
              <a:gd name="T0" fmla="*/ 2147483647 w 1240"/>
              <a:gd name="T1" fmla="*/ 0 h 185"/>
              <a:gd name="T2" fmla="*/ 2147483647 w 1240"/>
              <a:gd name="T3" fmla="*/ 2147483647 h 185"/>
              <a:gd name="T4" fmla="*/ 0 w 1240"/>
              <a:gd name="T5" fmla="*/ 2147483647 h 185"/>
              <a:gd name="T6" fmla="*/ 0 60000 65536"/>
              <a:gd name="T7" fmla="*/ 0 60000 65536"/>
              <a:gd name="T8" fmla="*/ 0 60000 65536"/>
              <a:gd name="T9" fmla="*/ 0 w 1240"/>
              <a:gd name="T10" fmla="*/ 0 h 185"/>
              <a:gd name="T11" fmla="*/ 1240 w 1240"/>
              <a:gd name="T12" fmla="*/ 185 h 185"/>
            </a:gdLst>
            <a:ahLst/>
            <a:cxnLst>
              <a:cxn ang="T6">
                <a:pos x="T0" y="T1"/>
              </a:cxn>
              <a:cxn ang="T7">
                <a:pos x="T2" y="T3"/>
              </a:cxn>
              <a:cxn ang="T8">
                <a:pos x="T4" y="T5"/>
              </a:cxn>
            </a:cxnLst>
            <a:rect l="T9" t="T10" r="T11" b="T12"/>
            <a:pathLst>
              <a:path w="1240" h="185">
                <a:moveTo>
                  <a:pt x="1239" y="0"/>
                </a:moveTo>
                <a:lnTo>
                  <a:pt x="1047" y="184"/>
                </a:lnTo>
                <a:lnTo>
                  <a:pt x="0" y="184"/>
                </a:lnTo>
              </a:path>
            </a:pathLst>
          </a:custGeom>
          <a:noFill/>
          <a:ln w="12700" cap="rnd">
            <a:solidFill>
              <a:schemeClr val="accent3"/>
            </a:solidFill>
            <a:round/>
            <a:headEnd type="none" w="sm" len="sm"/>
            <a:tailEnd type="none" w="sm" len="sm"/>
          </a:ln>
        </p:spPr>
        <p:txBody>
          <a:bodyPr lIns="91438" tIns="45719" rIns="91438" bIns="45719"/>
          <a:lstStyle/>
          <a:p>
            <a:pPr>
              <a:defRPr/>
            </a:pPr>
            <a:endParaRPr lang="en-GB"/>
          </a:p>
        </p:txBody>
      </p:sp>
      <p:sp>
        <p:nvSpPr>
          <p:cNvPr id="32" name="Freeform 8"/>
          <p:cNvSpPr>
            <a:spLocks/>
          </p:cNvSpPr>
          <p:nvPr/>
        </p:nvSpPr>
        <p:spPr bwMode="blackWhite">
          <a:xfrm>
            <a:off x="698789" y="4235372"/>
            <a:ext cx="2898775" cy="360362"/>
          </a:xfrm>
          <a:custGeom>
            <a:avLst/>
            <a:gdLst>
              <a:gd name="T0" fmla="*/ 2147483647 w 920"/>
              <a:gd name="T1" fmla="*/ 0 h 120"/>
              <a:gd name="T2" fmla="*/ 2147483647 w 920"/>
              <a:gd name="T3" fmla="*/ 2147483647 h 120"/>
              <a:gd name="T4" fmla="*/ 0 w 920"/>
              <a:gd name="T5" fmla="*/ 2147483647 h 120"/>
              <a:gd name="T6" fmla="*/ 0 60000 65536"/>
              <a:gd name="T7" fmla="*/ 0 60000 65536"/>
              <a:gd name="T8" fmla="*/ 0 60000 65536"/>
              <a:gd name="T9" fmla="*/ 0 w 920"/>
              <a:gd name="T10" fmla="*/ 0 h 120"/>
              <a:gd name="T11" fmla="*/ 920 w 920"/>
              <a:gd name="T12" fmla="*/ 120 h 120"/>
            </a:gdLst>
            <a:ahLst/>
            <a:cxnLst>
              <a:cxn ang="T6">
                <a:pos x="T0" y="T1"/>
              </a:cxn>
              <a:cxn ang="T7">
                <a:pos x="T2" y="T3"/>
              </a:cxn>
              <a:cxn ang="T8">
                <a:pos x="T4" y="T5"/>
              </a:cxn>
            </a:cxnLst>
            <a:rect l="T9" t="T10" r="T11" b="T12"/>
            <a:pathLst>
              <a:path w="920" h="120">
                <a:moveTo>
                  <a:pt x="919" y="0"/>
                </a:moveTo>
                <a:lnTo>
                  <a:pt x="799" y="119"/>
                </a:lnTo>
                <a:lnTo>
                  <a:pt x="0" y="119"/>
                </a:lnTo>
              </a:path>
            </a:pathLst>
          </a:custGeom>
          <a:noFill/>
          <a:ln w="12700" cap="rnd">
            <a:solidFill>
              <a:schemeClr val="accent3"/>
            </a:solidFill>
            <a:round/>
            <a:headEnd type="none" w="sm" len="sm"/>
            <a:tailEnd type="none" w="sm" len="sm"/>
          </a:ln>
        </p:spPr>
        <p:txBody>
          <a:bodyPr lIns="91438" tIns="45719" rIns="91438" bIns="45719"/>
          <a:lstStyle/>
          <a:p>
            <a:pPr>
              <a:defRPr/>
            </a:pPr>
            <a:endParaRPr lang="en-GB"/>
          </a:p>
        </p:txBody>
      </p:sp>
      <p:sp>
        <p:nvSpPr>
          <p:cNvPr id="33" name="Freeform 9"/>
          <p:cNvSpPr>
            <a:spLocks/>
          </p:cNvSpPr>
          <p:nvPr/>
        </p:nvSpPr>
        <p:spPr bwMode="blackWhite">
          <a:xfrm>
            <a:off x="4567527" y="1596012"/>
            <a:ext cx="3863975" cy="596900"/>
          </a:xfrm>
          <a:custGeom>
            <a:avLst/>
            <a:gdLst>
              <a:gd name="T0" fmla="*/ 0 w 1233"/>
              <a:gd name="T1" fmla="*/ 2147483647 h 198"/>
              <a:gd name="T2" fmla="*/ 2147483647 w 1233"/>
              <a:gd name="T3" fmla="*/ 0 h 198"/>
              <a:gd name="T4" fmla="*/ 2147483647 w 1233"/>
              <a:gd name="T5" fmla="*/ 0 h 198"/>
              <a:gd name="T6" fmla="*/ 0 60000 65536"/>
              <a:gd name="T7" fmla="*/ 0 60000 65536"/>
              <a:gd name="T8" fmla="*/ 0 60000 65536"/>
              <a:gd name="T9" fmla="*/ 0 w 1233"/>
              <a:gd name="T10" fmla="*/ 0 h 198"/>
              <a:gd name="T11" fmla="*/ 1233 w 1233"/>
              <a:gd name="T12" fmla="*/ 198 h 198"/>
            </a:gdLst>
            <a:ahLst/>
            <a:cxnLst>
              <a:cxn ang="T6">
                <a:pos x="T0" y="T1"/>
              </a:cxn>
              <a:cxn ang="T7">
                <a:pos x="T2" y="T3"/>
              </a:cxn>
              <a:cxn ang="T8">
                <a:pos x="T4" y="T5"/>
              </a:cxn>
            </a:cxnLst>
            <a:rect l="T9" t="T10" r="T11" b="T12"/>
            <a:pathLst>
              <a:path w="1233" h="198">
                <a:moveTo>
                  <a:pt x="0" y="197"/>
                </a:moveTo>
                <a:lnTo>
                  <a:pt x="185" y="0"/>
                </a:lnTo>
                <a:lnTo>
                  <a:pt x="1232" y="0"/>
                </a:lnTo>
              </a:path>
            </a:pathLst>
          </a:custGeom>
          <a:noFill/>
          <a:ln w="12700" cap="rnd">
            <a:solidFill>
              <a:schemeClr val="accent3"/>
            </a:solidFill>
            <a:round/>
            <a:headEnd type="none" w="sm" len="sm"/>
            <a:tailEnd type="none" w="sm" len="sm"/>
          </a:ln>
        </p:spPr>
        <p:txBody>
          <a:bodyPr lIns="91438" tIns="45719" rIns="91438" bIns="45719"/>
          <a:lstStyle/>
          <a:p>
            <a:pPr>
              <a:defRPr/>
            </a:pPr>
            <a:endParaRPr lang="en-GB"/>
          </a:p>
        </p:txBody>
      </p:sp>
      <p:sp>
        <p:nvSpPr>
          <p:cNvPr id="34" name="Freeform 10"/>
          <p:cNvSpPr>
            <a:spLocks/>
          </p:cNvSpPr>
          <p:nvPr/>
        </p:nvSpPr>
        <p:spPr bwMode="blackWhite">
          <a:xfrm>
            <a:off x="5529552" y="2198979"/>
            <a:ext cx="2901950" cy="358775"/>
          </a:xfrm>
          <a:custGeom>
            <a:avLst/>
            <a:gdLst>
              <a:gd name="T0" fmla="*/ 0 w 920"/>
              <a:gd name="T1" fmla="*/ 2147483647 h 112"/>
              <a:gd name="T2" fmla="*/ 2147483647 w 920"/>
              <a:gd name="T3" fmla="*/ 0 h 112"/>
              <a:gd name="T4" fmla="*/ 2147483647 w 920"/>
              <a:gd name="T5" fmla="*/ 0 h 112"/>
              <a:gd name="T6" fmla="*/ 0 60000 65536"/>
              <a:gd name="T7" fmla="*/ 0 60000 65536"/>
              <a:gd name="T8" fmla="*/ 0 60000 65536"/>
              <a:gd name="T9" fmla="*/ 0 w 920"/>
              <a:gd name="T10" fmla="*/ 0 h 112"/>
              <a:gd name="T11" fmla="*/ 920 w 920"/>
              <a:gd name="T12" fmla="*/ 112 h 112"/>
            </a:gdLst>
            <a:ahLst/>
            <a:cxnLst>
              <a:cxn ang="T6">
                <a:pos x="T0" y="T1"/>
              </a:cxn>
              <a:cxn ang="T7">
                <a:pos x="T2" y="T3"/>
              </a:cxn>
              <a:cxn ang="T8">
                <a:pos x="T4" y="T5"/>
              </a:cxn>
            </a:cxnLst>
            <a:rect l="T9" t="T10" r="T11" b="T12"/>
            <a:pathLst>
              <a:path w="920" h="112">
                <a:moveTo>
                  <a:pt x="0" y="111"/>
                </a:moveTo>
                <a:lnTo>
                  <a:pt x="120" y="0"/>
                </a:lnTo>
                <a:lnTo>
                  <a:pt x="919" y="0"/>
                </a:lnTo>
              </a:path>
            </a:pathLst>
          </a:custGeom>
          <a:noFill/>
          <a:ln w="12700" cap="rnd">
            <a:solidFill>
              <a:schemeClr val="accent3"/>
            </a:solidFill>
            <a:round/>
            <a:headEnd type="none" w="sm" len="sm"/>
            <a:tailEnd type="none" w="sm" len="sm"/>
          </a:ln>
        </p:spPr>
        <p:txBody>
          <a:bodyPr lIns="91438" tIns="45719" rIns="91438" bIns="45719"/>
          <a:lstStyle/>
          <a:p>
            <a:pPr>
              <a:defRPr/>
            </a:pPr>
            <a:endParaRPr lang="en-GB"/>
          </a:p>
        </p:txBody>
      </p:sp>
      <p:sp>
        <p:nvSpPr>
          <p:cNvPr id="35" name="Freeform 11"/>
          <p:cNvSpPr>
            <a:spLocks/>
          </p:cNvSpPr>
          <p:nvPr/>
        </p:nvSpPr>
        <p:spPr bwMode="blackWhite">
          <a:xfrm>
            <a:off x="4570702" y="4693039"/>
            <a:ext cx="3860800" cy="558800"/>
          </a:xfrm>
          <a:custGeom>
            <a:avLst/>
            <a:gdLst>
              <a:gd name="T0" fmla="*/ 0 w 1232"/>
              <a:gd name="T1" fmla="*/ 0 h 185"/>
              <a:gd name="T2" fmla="*/ 2147483647 w 1232"/>
              <a:gd name="T3" fmla="*/ 2147483647 h 185"/>
              <a:gd name="T4" fmla="*/ 2147483647 w 1232"/>
              <a:gd name="T5" fmla="*/ 2147483647 h 185"/>
              <a:gd name="T6" fmla="*/ 0 60000 65536"/>
              <a:gd name="T7" fmla="*/ 0 60000 65536"/>
              <a:gd name="T8" fmla="*/ 0 60000 65536"/>
              <a:gd name="T9" fmla="*/ 0 w 1232"/>
              <a:gd name="T10" fmla="*/ 0 h 185"/>
              <a:gd name="T11" fmla="*/ 1232 w 1232"/>
              <a:gd name="T12" fmla="*/ 185 h 185"/>
            </a:gdLst>
            <a:ahLst/>
            <a:cxnLst>
              <a:cxn ang="T6">
                <a:pos x="T0" y="T1"/>
              </a:cxn>
              <a:cxn ang="T7">
                <a:pos x="T2" y="T3"/>
              </a:cxn>
              <a:cxn ang="T8">
                <a:pos x="T4" y="T5"/>
              </a:cxn>
            </a:cxnLst>
            <a:rect l="T9" t="T10" r="T11" b="T12"/>
            <a:pathLst>
              <a:path w="1232" h="185">
                <a:moveTo>
                  <a:pt x="0" y="0"/>
                </a:moveTo>
                <a:lnTo>
                  <a:pt x="184" y="184"/>
                </a:lnTo>
                <a:lnTo>
                  <a:pt x="1231" y="184"/>
                </a:lnTo>
              </a:path>
            </a:pathLst>
          </a:custGeom>
          <a:noFill/>
          <a:ln w="12700" cap="rnd">
            <a:solidFill>
              <a:schemeClr val="accent3"/>
            </a:solidFill>
            <a:round/>
            <a:headEnd type="none" w="sm" len="sm"/>
            <a:tailEnd type="none" w="sm" len="sm"/>
          </a:ln>
        </p:spPr>
        <p:txBody>
          <a:bodyPr lIns="91438" tIns="45719" rIns="91438" bIns="45719"/>
          <a:lstStyle/>
          <a:p>
            <a:pPr>
              <a:defRPr/>
            </a:pPr>
            <a:endParaRPr lang="en-GB"/>
          </a:p>
        </p:txBody>
      </p:sp>
      <p:sp>
        <p:nvSpPr>
          <p:cNvPr id="36" name="Freeform 12"/>
          <p:cNvSpPr>
            <a:spLocks/>
          </p:cNvSpPr>
          <p:nvPr/>
        </p:nvSpPr>
        <p:spPr bwMode="blackWhite">
          <a:xfrm>
            <a:off x="5529552" y="4235372"/>
            <a:ext cx="2901950" cy="360362"/>
          </a:xfrm>
          <a:custGeom>
            <a:avLst/>
            <a:gdLst>
              <a:gd name="T0" fmla="*/ 0 w 918"/>
              <a:gd name="T1" fmla="*/ 0 h 111"/>
              <a:gd name="T2" fmla="*/ 2147483647 w 918"/>
              <a:gd name="T3" fmla="*/ 2147483647 h 111"/>
              <a:gd name="T4" fmla="*/ 2147483647 w 918"/>
              <a:gd name="T5" fmla="*/ 2147483647 h 111"/>
              <a:gd name="T6" fmla="*/ 0 60000 65536"/>
              <a:gd name="T7" fmla="*/ 0 60000 65536"/>
              <a:gd name="T8" fmla="*/ 0 60000 65536"/>
              <a:gd name="T9" fmla="*/ 0 w 918"/>
              <a:gd name="T10" fmla="*/ 0 h 111"/>
              <a:gd name="T11" fmla="*/ 918 w 918"/>
              <a:gd name="T12" fmla="*/ 111 h 111"/>
            </a:gdLst>
            <a:ahLst/>
            <a:cxnLst>
              <a:cxn ang="T6">
                <a:pos x="T0" y="T1"/>
              </a:cxn>
              <a:cxn ang="T7">
                <a:pos x="T2" y="T3"/>
              </a:cxn>
              <a:cxn ang="T8">
                <a:pos x="T4" y="T5"/>
              </a:cxn>
            </a:cxnLst>
            <a:rect l="T9" t="T10" r="T11" b="T12"/>
            <a:pathLst>
              <a:path w="918" h="111">
                <a:moveTo>
                  <a:pt x="0" y="0"/>
                </a:moveTo>
                <a:lnTo>
                  <a:pt x="118" y="110"/>
                </a:lnTo>
                <a:lnTo>
                  <a:pt x="917" y="110"/>
                </a:lnTo>
              </a:path>
            </a:pathLst>
          </a:custGeom>
          <a:noFill/>
          <a:ln w="12700" cap="rnd">
            <a:solidFill>
              <a:schemeClr val="accent3"/>
            </a:solidFill>
            <a:round/>
            <a:headEnd type="none" w="sm" len="sm"/>
            <a:tailEnd type="none" w="sm" len="sm"/>
          </a:ln>
        </p:spPr>
        <p:txBody>
          <a:bodyPr lIns="91438" tIns="45719" rIns="91438" bIns="45719"/>
          <a:lstStyle/>
          <a:p>
            <a:pPr>
              <a:defRPr/>
            </a:pPr>
            <a:endParaRPr lang="en-GB"/>
          </a:p>
        </p:txBody>
      </p:sp>
      <p:sp>
        <p:nvSpPr>
          <p:cNvPr id="37" name="Freeform 13"/>
          <p:cNvSpPr>
            <a:spLocks/>
          </p:cNvSpPr>
          <p:nvPr/>
        </p:nvSpPr>
        <p:spPr bwMode="blackWhite">
          <a:xfrm>
            <a:off x="5826414" y="2859662"/>
            <a:ext cx="2589213" cy="549275"/>
          </a:xfrm>
          <a:custGeom>
            <a:avLst/>
            <a:gdLst>
              <a:gd name="T0" fmla="*/ 0 w 831"/>
              <a:gd name="T1" fmla="*/ 2147483647 h 182"/>
              <a:gd name="T2" fmla="*/ 2147483647 w 831"/>
              <a:gd name="T3" fmla="*/ 0 h 182"/>
              <a:gd name="T4" fmla="*/ 2147483647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0" y="181"/>
                </a:moveTo>
                <a:lnTo>
                  <a:pt x="191" y="0"/>
                </a:lnTo>
                <a:lnTo>
                  <a:pt x="830" y="0"/>
                </a:lnTo>
              </a:path>
            </a:pathLst>
          </a:custGeom>
          <a:noFill/>
          <a:ln w="12700" cap="rnd">
            <a:solidFill>
              <a:schemeClr val="accent3"/>
            </a:solidFill>
            <a:round/>
            <a:headEnd type="none" w="sm" len="sm"/>
            <a:tailEnd type="none" w="sm" len="sm"/>
          </a:ln>
        </p:spPr>
        <p:txBody>
          <a:bodyPr lIns="91438" tIns="45719" rIns="91438" bIns="45719"/>
          <a:lstStyle/>
          <a:p>
            <a:pPr>
              <a:defRPr/>
            </a:pPr>
            <a:endParaRPr lang="en-GB"/>
          </a:p>
        </p:txBody>
      </p:sp>
      <p:sp>
        <p:nvSpPr>
          <p:cNvPr id="38" name="Freeform 14"/>
          <p:cNvSpPr>
            <a:spLocks/>
          </p:cNvSpPr>
          <p:nvPr/>
        </p:nvSpPr>
        <p:spPr bwMode="blackWhite">
          <a:xfrm>
            <a:off x="5826414" y="3420049"/>
            <a:ext cx="2600325" cy="550863"/>
          </a:xfrm>
          <a:custGeom>
            <a:avLst/>
            <a:gdLst>
              <a:gd name="T0" fmla="*/ 0 w 835"/>
              <a:gd name="T1" fmla="*/ 0 h 183"/>
              <a:gd name="T2" fmla="*/ 2147483647 w 835"/>
              <a:gd name="T3" fmla="*/ 2147483647 h 183"/>
              <a:gd name="T4" fmla="*/ 2147483647 w 835"/>
              <a:gd name="T5" fmla="*/ 2147483647 h 183"/>
              <a:gd name="T6" fmla="*/ 0 60000 65536"/>
              <a:gd name="T7" fmla="*/ 0 60000 65536"/>
              <a:gd name="T8" fmla="*/ 0 60000 65536"/>
              <a:gd name="T9" fmla="*/ 0 w 835"/>
              <a:gd name="T10" fmla="*/ 0 h 183"/>
              <a:gd name="T11" fmla="*/ 835 w 835"/>
              <a:gd name="T12" fmla="*/ 183 h 183"/>
            </a:gdLst>
            <a:ahLst/>
            <a:cxnLst>
              <a:cxn ang="T6">
                <a:pos x="T0" y="T1"/>
              </a:cxn>
              <a:cxn ang="T7">
                <a:pos x="T2" y="T3"/>
              </a:cxn>
              <a:cxn ang="T8">
                <a:pos x="T4" y="T5"/>
              </a:cxn>
            </a:cxnLst>
            <a:rect l="T9" t="T10" r="T11" b="T12"/>
            <a:pathLst>
              <a:path w="835" h="183">
                <a:moveTo>
                  <a:pt x="0" y="0"/>
                </a:moveTo>
                <a:lnTo>
                  <a:pt x="196" y="182"/>
                </a:lnTo>
                <a:lnTo>
                  <a:pt x="834" y="182"/>
                </a:lnTo>
              </a:path>
            </a:pathLst>
          </a:custGeom>
          <a:noFill/>
          <a:ln w="12700" cap="rnd">
            <a:solidFill>
              <a:schemeClr val="accent3"/>
            </a:solidFill>
            <a:round/>
            <a:headEnd type="none" w="sm" len="sm"/>
            <a:tailEnd type="none" w="sm" len="sm"/>
          </a:ln>
        </p:spPr>
        <p:txBody>
          <a:bodyPr lIns="91438" tIns="45719" rIns="91438" bIns="45719"/>
          <a:lstStyle/>
          <a:p>
            <a:pPr>
              <a:defRPr/>
            </a:pPr>
            <a:endParaRPr lang="en-GB"/>
          </a:p>
        </p:txBody>
      </p:sp>
      <p:sp>
        <p:nvSpPr>
          <p:cNvPr id="40" name="Text Placeholder 12"/>
          <p:cNvSpPr>
            <a:spLocks/>
          </p:cNvSpPr>
          <p:nvPr>
            <p:custDataLst>
              <p:tags r:id="rId1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4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3"/>
          <p:cNvSpPr>
            <a:spLocks/>
          </p:cNvSpPr>
          <p:nvPr>
            <p:custDataLst>
              <p:tags r:id="rId2"/>
            </p:custDataLst>
          </p:nvPr>
        </p:nvSpPr>
        <p:spPr bwMode="blackWhite">
          <a:xfrm>
            <a:off x="3986989" y="1584971"/>
            <a:ext cx="3865975" cy="3909614"/>
          </a:xfrm>
          <a:custGeom>
            <a:avLst/>
            <a:gdLst>
              <a:gd name="T0" fmla="*/ 2147483647 w 1934"/>
              <a:gd name="T1" fmla="*/ 0 h 1970"/>
              <a:gd name="T2" fmla="*/ 2147483647 w 1934"/>
              <a:gd name="T3" fmla="*/ 0 h 1970"/>
              <a:gd name="T4" fmla="*/ 2147483647 w 1934"/>
              <a:gd name="T5" fmla="*/ 2147483647 h 1970"/>
              <a:gd name="T6" fmla="*/ 2147483647 w 1934"/>
              <a:gd name="T7" fmla="*/ 2147483647 h 1970"/>
              <a:gd name="T8" fmla="*/ 2147483647 w 1934"/>
              <a:gd name="T9" fmla="*/ 2147483647 h 1970"/>
              <a:gd name="T10" fmla="*/ 2147483647 w 1934"/>
              <a:gd name="T11" fmla="*/ 2147483647 h 1970"/>
              <a:gd name="T12" fmla="*/ 2147483647 w 1934"/>
              <a:gd name="T13" fmla="*/ 2147483647 h 1970"/>
              <a:gd name="T14" fmla="*/ 0 w 1934"/>
              <a:gd name="T15" fmla="*/ 2147483647 h 1970"/>
              <a:gd name="T16" fmla="*/ 2147483647 w 1934"/>
              <a:gd name="T17" fmla="*/ 2147483647 h 1970"/>
              <a:gd name="T18" fmla="*/ 2147483647 w 1934"/>
              <a:gd name="T19" fmla="*/ 2147483647 h 1970"/>
              <a:gd name="T20" fmla="*/ 2147483647 w 1934"/>
              <a:gd name="T21" fmla="*/ 2147483647 h 1970"/>
              <a:gd name="T22" fmla="*/ 2147483647 w 1934"/>
              <a:gd name="T23" fmla="*/ 2147483647 h 1970"/>
              <a:gd name="T24" fmla="*/ 2147483647 w 1934"/>
              <a:gd name="T25" fmla="*/ 2147483647 h 1970"/>
              <a:gd name="T26" fmla="*/ 2147483647 w 1934"/>
              <a:gd name="T27" fmla="*/ 2147483647 h 1970"/>
              <a:gd name="T28" fmla="*/ 2147483647 w 1934"/>
              <a:gd name="T29" fmla="*/ 2147483647 h 1970"/>
              <a:gd name="T30" fmla="*/ 2147483647 w 1934"/>
              <a:gd name="T31" fmla="*/ 0 h 19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34"/>
              <a:gd name="T49" fmla="*/ 0 h 1970"/>
              <a:gd name="T50" fmla="*/ 1934 w 1934"/>
              <a:gd name="T51" fmla="*/ 1970 h 1970"/>
              <a:gd name="connsiteX0" fmla="*/ 414 w 1933"/>
              <a:gd name="connsiteY0" fmla="*/ 0 h 1969"/>
              <a:gd name="connsiteX1" fmla="*/ 1933 w 1933"/>
              <a:gd name="connsiteY1" fmla="*/ 0 h 1969"/>
              <a:gd name="connsiteX2" fmla="*/ 1933 w 1933"/>
              <a:gd name="connsiteY2" fmla="*/ 1969 h 1969"/>
              <a:gd name="connsiteX3" fmla="*/ 241 w 1933"/>
              <a:gd name="connsiteY3" fmla="*/ 1969 h 1969"/>
              <a:gd name="connsiteX4" fmla="*/ 284 w 1933"/>
              <a:gd name="connsiteY4" fmla="*/ 1434 h 1969"/>
              <a:gd name="connsiteX5" fmla="*/ 198 w 1933"/>
              <a:gd name="connsiteY5" fmla="*/ 1434 h 1969"/>
              <a:gd name="connsiteX6" fmla="*/ 198 w 1933"/>
              <a:gd name="connsiteY6" fmla="*/ 1683 h 1969"/>
              <a:gd name="connsiteX7" fmla="*/ 0 w 1933"/>
              <a:gd name="connsiteY7" fmla="*/ 1265 h 1969"/>
              <a:gd name="connsiteX8" fmla="*/ 198 w 1933"/>
              <a:gd name="connsiteY8" fmla="*/ 864 h 1969"/>
              <a:gd name="connsiteX9" fmla="*/ 198 w 1933"/>
              <a:gd name="connsiteY9" fmla="*/ 1113 h 1969"/>
              <a:gd name="connsiteX10" fmla="*/ 310 w 1933"/>
              <a:gd name="connsiteY10" fmla="*/ 1113 h 1969"/>
              <a:gd name="connsiteX11" fmla="*/ 345 w 1933"/>
              <a:gd name="connsiteY11" fmla="*/ 864 h 1969"/>
              <a:gd name="connsiteX12" fmla="*/ 336 w 1933"/>
              <a:gd name="connsiteY12" fmla="*/ 1095 h 1969"/>
              <a:gd name="connsiteX13" fmla="*/ 535 w 1933"/>
              <a:gd name="connsiteY13" fmla="*/ 694 h 1969"/>
              <a:gd name="connsiteX14" fmla="*/ 379 w 1933"/>
              <a:gd name="connsiteY14" fmla="*/ 374 h 1969"/>
              <a:gd name="connsiteX15" fmla="*/ 414 w 1933"/>
              <a:gd name="connsiteY15" fmla="*/ 0 h 1969"/>
              <a:gd name="connsiteX0" fmla="*/ 414 w 1933"/>
              <a:gd name="connsiteY0" fmla="*/ 0 h 1969"/>
              <a:gd name="connsiteX1" fmla="*/ 1933 w 1933"/>
              <a:gd name="connsiteY1" fmla="*/ 0 h 1969"/>
              <a:gd name="connsiteX2" fmla="*/ 1933 w 1933"/>
              <a:gd name="connsiteY2" fmla="*/ 1969 h 1969"/>
              <a:gd name="connsiteX3" fmla="*/ 241 w 1933"/>
              <a:gd name="connsiteY3" fmla="*/ 1969 h 1969"/>
              <a:gd name="connsiteX4" fmla="*/ 284 w 1933"/>
              <a:gd name="connsiteY4" fmla="*/ 1434 h 1969"/>
              <a:gd name="connsiteX5" fmla="*/ 198 w 1933"/>
              <a:gd name="connsiteY5" fmla="*/ 1434 h 1969"/>
              <a:gd name="connsiteX6" fmla="*/ 198 w 1933"/>
              <a:gd name="connsiteY6" fmla="*/ 1683 h 1969"/>
              <a:gd name="connsiteX7" fmla="*/ 0 w 1933"/>
              <a:gd name="connsiteY7" fmla="*/ 1265 h 1969"/>
              <a:gd name="connsiteX8" fmla="*/ 198 w 1933"/>
              <a:gd name="connsiteY8" fmla="*/ 864 h 1969"/>
              <a:gd name="connsiteX9" fmla="*/ 198 w 1933"/>
              <a:gd name="connsiteY9" fmla="*/ 1113 h 1969"/>
              <a:gd name="connsiteX10" fmla="*/ 310 w 1933"/>
              <a:gd name="connsiteY10" fmla="*/ 1113 h 1969"/>
              <a:gd name="connsiteX11" fmla="*/ 345 w 1933"/>
              <a:gd name="connsiteY11" fmla="*/ 864 h 1969"/>
              <a:gd name="connsiteX12" fmla="*/ 336 w 1933"/>
              <a:gd name="connsiteY12" fmla="*/ 1095 h 1969"/>
              <a:gd name="connsiteX13" fmla="*/ 535 w 1933"/>
              <a:gd name="connsiteY13" fmla="*/ 694 h 1969"/>
              <a:gd name="connsiteX14" fmla="*/ 379 w 1933"/>
              <a:gd name="connsiteY14" fmla="*/ 374 h 1969"/>
              <a:gd name="connsiteX15" fmla="*/ 414 w 1933"/>
              <a:gd name="connsiteY15" fmla="*/ 0 h 1969"/>
              <a:gd name="connsiteX0" fmla="*/ 414 w 1933"/>
              <a:gd name="connsiteY0" fmla="*/ 0 h 1969"/>
              <a:gd name="connsiteX1" fmla="*/ 1933 w 1933"/>
              <a:gd name="connsiteY1" fmla="*/ 0 h 1969"/>
              <a:gd name="connsiteX2" fmla="*/ 1933 w 1933"/>
              <a:gd name="connsiteY2" fmla="*/ 1969 h 1969"/>
              <a:gd name="connsiteX3" fmla="*/ 241 w 1933"/>
              <a:gd name="connsiteY3" fmla="*/ 1969 h 1969"/>
              <a:gd name="connsiteX4" fmla="*/ 284 w 1933"/>
              <a:gd name="connsiteY4" fmla="*/ 1434 h 1969"/>
              <a:gd name="connsiteX5" fmla="*/ 198 w 1933"/>
              <a:gd name="connsiteY5" fmla="*/ 1434 h 1969"/>
              <a:gd name="connsiteX6" fmla="*/ 198 w 1933"/>
              <a:gd name="connsiteY6" fmla="*/ 1683 h 1969"/>
              <a:gd name="connsiteX7" fmla="*/ 0 w 1933"/>
              <a:gd name="connsiteY7" fmla="*/ 1265 h 1969"/>
              <a:gd name="connsiteX8" fmla="*/ 198 w 1933"/>
              <a:gd name="connsiteY8" fmla="*/ 864 h 1969"/>
              <a:gd name="connsiteX9" fmla="*/ 198 w 1933"/>
              <a:gd name="connsiteY9" fmla="*/ 1113 h 1969"/>
              <a:gd name="connsiteX10" fmla="*/ 310 w 1933"/>
              <a:gd name="connsiteY10" fmla="*/ 1113 h 1969"/>
              <a:gd name="connsiteX11" fmla="*/ 345 w 1933"/>
              <a:gd name="connsiteY11" fmla="*/ 864 h 1969"/>
              <a:gd name="connsiteX12" fmla="*/ 336 w 1933"/>
              <a:gd name="connsiteY12" fmla="*/ 1095 h 1969"/>
              <a:gd name="connsiteX13" fmla="*/ 535 w 1933"/>
              <a:gd name="connsiteY13" fmla="*/ 694 h 1969"/>
              <a:gd name="connsiteX14" fmla="*/ 379 w 1933"/>
              <a:gd name="connsiteY14" fmla="*/ 374 h 1969"/>
              <a:gd name="connsiteX15" fmla="*/ 414 w 1933"/>
              <a:gd name="connsiteY15" fmla="*/ 0 h 1969"/>
              <a:gd name="connsiteX0" fmla="*/ 414 w 1933"/>
              <a:gd name="connsiteY0" fmla="*/ 0 h 1969"/>
              <a:gd name="connsiteX1" fmla="*/ 1933 w 1933"/>
              <a:gd name="connsiteY1" fmla="*/ 0 h 1969"/>
              <a:gd name="connsiteX2" fmla="*/ 1933 w 1933"/>
              <a:gd name="connsiteY2" fmla="*/ 1969 h 1969"/>
              <a:gd name="connsiteX3" fmla="*/ 241 w 1933"/>
              <a:gd name="connsiteY3" fmla="*/ 1969 h 1969"/>
              <a:gd name="connsiteX4" fmla="*/ 284 w 1933"/>
              <a:gd name="connsiteY4" fmla="*/ 1434 h 1969"/>
              <a:gd name="connsiteX5" fmla="*/ 198 w 1933"/>
              <a:gd name="connsiteY5" fmla="*/ 1434 h 1969"/>
              <a:gd name="connsiteX6" fmla="*/ 198 w 1933"/>
              <a:gd name="connsiteY6" fmla="*/ 1683 h 1969"/>
              <a:gd name="connsiteX7" fmla="*/ 0 w 1933"/>
              <a:gd name="connsiteY7" fmla="*/ 1265 h 1969"/>
              <a:gd name="connsiteX8" fmla="*/ 198 w 1933"/>
              <a:gd name="connsiteY8" fmla="*/ 864 h 1969"/>
              <a:gd name="connsiteX9" fmla="*/ 198 w 1933"/>
              <a:gd name="connsiteY9" fmla="*/ 1113 h 1969"/>
              <a:gd name="connsiteX10" fmla="*/ 310 w 1933"/>
              <a:gd name="connsiteY10" fmla="*/ 1113 h 1969"/>
              <a:gd name="connsiteX11" fmla="*/ 345 w 1933"/>
              <a:gd name="connsiteY11" fmla="*/ 864 h 1969"/>
              <a:gd name="connsiteX12" fmla="*/ 336 w 1933"/>
              <a:gd name="connsiteY12" fmla="*/ 1095 h 1969"/>
              <a:gd name="connsiteX13" fmla="*/ 535 w 1933"/>
              <a:gd name="connsiteY13" fmla="*/ 694 h 1969"/>
              <a:gd name="connsiteX14" fmla="*/ 379 w 1933"/>
              <a:gd name="connsiteY14" fmla="*/ 374 h 1969"/>
              <a:gd name="connsiteX15" fmla="*/ 414 w 1933"/>
              <a:gd name="connsiteY15" fmla="*/ 0 h 1969"/>
              <a:gd name="connsiteX0" fmla="*/ 414 w 1933"/>
              <a:gd name="connsiteY0" fmla="*/ 0 h 1969"/>
              <a:gd name="connsiteX1" fmla="*/ 1933 w 1933"/>
              <a:gd name="connsiteY1" fmla="*/ 0 h 1969"/>
              <a:gd name="connsiteX2" fmla="*/ 1933 w 1933"/>
              <a:gd name="connsiteY2" fmla="*/ 1969 h 1969"/>
              <a:gd name="connsiteX3" fmla="*/ 241 w 1933"/>
              <a:gd name="connsiteY3" fmla="*/ 1969 h 1969"/>
              <a:gd name="connsiteX4" fmla="*/ 284 w 1933"/>
              <a:gd name="connsiteY4" fmla="*/ 1434 h 1969"/>
              <a:gd name="connsiteX5" fmla="*/ 198 w 1933"/>
              <a:gd name="connsiteY5" fmla="*/ 1434 h 1969"/>
              <a:gd name="connsiteX6" fmla="*/ 198 w 1933"/>
              <a:gd name="connsiteY6" fmla="*/ 1683 h 1969"/>
              <a:gd name="connsiteX7" fmla="*/ 0 w 1933"/>
              <a:gd name="connsiteY7" fmla="*/ 1265 h 1969"/>
              <a:gd name="connsiteX8" fmla="*/ 198 w 1933"/>
              <a:gd name="connsiteY8" fmla="*/ 864 h 1969"/>
              <a:gd name="connsiteX9" fmla="*/ 198 w 1933"/>
              <a:gd name="connsiteY9" fmla="*/ 1113 h 1969"/>
              <a:gd name="connsiteX10" fmla="*/ 310 w 1933"/>
              <a:gd name="connsiteY10" fmla="*/ 1113 h 1969"/>
              <a:gd name="connsiteX11" fmla="*/ 345 w 1933"/>
              <a:gd name="connsiteY11" fmla="*/ 864 h 1969"/>
              <a:gd name="connsiteX12" fmla="*/ 336 w 1933"/>
              <a:gd name="connsiteY12" fmla="*/ 1095 h 1969"/>
              <a:gd name="connsiteX13" fmla="*/ 535 w 1933"/>
              <a:gd name="connsiteY13" fmla="*/ 694 h 1969"/>
              <a:gd name="connsiteX14" fmla="*/ 535 w 1933"/>
              <a:gd name="connsiteY14" fmla="*/ 692 h 1969"/>
              <a:gd name="connsiteX15" fmla="*/ 379 w 1933"/>
              <a:gd name="connsiteY15" fmla="*/ 374 h 1969"/>
              <a:gd name="connsiteX16" fmla="*/ 414 w 1933"/>
              <a:gd name="connsiteY16" fmla="*/ 0 h 1969"/>
              <a:gd name="connsiteX0" fmla="*/ 414 w 1933"/>
              <a:gd name="connsiteY0" fmla="*/ 0 h 1969"/>
              <a:gd name="connsiteX1" fmla="*/ 1933 w 1933"/>
              <a:gd name="connsiteY1" fmla="*/ 0 h 1969"/>
              <a:gd name="connsiteX2" fmla="*/ 1933 w 1933"/>
              <a:gd name="connsiteY2" fmla="*/ 1969 h 1969"/>
              <a:gd name="connsiteX3" fmla="*/ 241 w 1933"/>
              <a:gd name="connsiteY3" fmla="*/ 1969 h 1969"/>
              <a:gd name="connsiteX4" fmla="*/ 284 w 1933"/>
              <a:gd name="connsiteY4" fmla="*/ 1434 h 1969"/>
              <a:gd name="connsiteX5" fmla="*/ 198 w 1933"/>
              <a:gd name="connsiteY5" fmla="*/ 1434 h 1969"/>
              <a:gd name="connsiteX6" fmla="*/ 198 w 1933"/>
              <a:gd name="connsiteY6" fmla="*/ 1683 h 1969"/>
              <a:gd name="connsiteX7" fmla="*/ 0 w 1933"/>
              <a:gd name="connsiteY7" fmla="*/ 1265 h 1969"/>
              <a:gd name="connsiteX8" fmla="*/ 198 w 1933"/>
              <a:gd name="connsiteY8" fmla="*/ 864 h 1969"/>
              <a:gd name="connsiteX9" fmla="*/ 198 w 1933"/>
              <a:gd name="connsiteY9" fmla="*/ 1113 h 1969"/>
              <a:gd name="connsiteX10" fmla="*/ 310 w 1933"/>
              <a:gd name="connsiteY10" fmla="*/ 1113 h 1969"/>
              <a:gd name="connsiteX11" fmla="*/ 345 w 1933"/>
              <a:gd name="connsiteY11" fmla="*/ 864 h 1969"/>
              <a:gd name="connsiteX12" fmla="*/ 336 w 1933"/>
              <a:gd name="connsiteY12" fmla="*/ 1095 h 1969"/>
              <a:gd name="connsiteX13" fmla="*/ 535 w 1933"/>
              <a:gd name="connsiteY13" fmla="*/ 694 h 1969"/>
              <a:gd name="connsiteX14" fmla="*/ 535 w 1933"/>
              <a:gd name="connsiteY14" fmla="*/ 692 h 1969"/>
              <a:gd name="connsiteX15" fmla="*/ 379 w 1933"/>
              <a:gd name="connsiteY15" fmla="*/ 374 h 1969"/>
              <a:gd name="connsiteX16" fmla="*/ 414 w 1933"/>
              <a:gd name="connsiteY16" fmla="*/ 0 h 1969"/>
              <a:gd name="connsiteX0" fmla="*/ 414 w 1933"/>
              <a:gd name="connsiteY0" fmla="*/ 0 h 1969"/>
              <a:gd name="connsiteX1" fmla="*/ 1933 w 1933"/>
              <a:gd name="connsiteY1" fmla="*/ 0 h 1969"/>
              <a:gd name="connsiteX2" fmla="*/ 1933 w 1933"/>
              <a:gd name="connsiteY2" fmla="*/ 1969 h 1969"/>
              <a:gd name="connsiteX3" fmla="*/ 241 w 1933"/>
              <a:gd name="connsiteY3" fmla="*/ 1969 h 1969"/>
              <a:gd name="connsiteX4" fmla="*/ 284 w 1933"/>
              <a:gd name="connsiteY4" fmla="*/ 1434 h 1969"/>
              <a:gd name="connsiteX5" fmla="*/ 198 w 1933"/>
              <a:gd name="connsiteY5" fmla="*/ 1434 h 1969"/>
              <a:gd name="connsiteX6" fmla="*/ 198 w 1933"/>
              <a:gd name="connsiteY6" fmla="*/ 1683 h 1969"/>
              <a:gd name="connsiteX7" fmla="*/ 0 w 1933"/>
              <a:gd name="connsiteY7" fmla="*/ 1265 h 1969"/>
              <a:gd name="connsiteX8" fmla="*/ 198 w 1933"/>
              <a:gd name="connsiteY8" fmla="*/ 864 h 1969"/>
              <a:gd name="connsiteX9" fmla="*/ 198 w 1933"/>
              <a:gd name="connsiteY9" fmla="*/ 1113 h 1969"/>
              <a:gd name="connsiteX10" fmla="*/ 310 w 1933"/>
              <a:gd name="connsiteY10" fmla="*/ 1113 h 1969"/>
              <a:gd name="connsiteX11" fmla="*/ 345 w 1933"/>
              <a:gd name="connsiteY11" fmla="*/ 864 h 1969"/>
              <a:gd name="connsiteX12" fmla="*/ 336 w 1933"/>
              <a:gd name="connsiteY12" fmla="*/ 1095 h 1969"/>
              <a:gd name="connsiteX13" fmla="*/ 535 w 1933"/>
              <a:gd name="connsiteY13" fmla="*/ 694 h 1969"/>
              <a:gd name="connsiteX14" fmla="*/ 535 w 1933"/>
              <a:gd name="connsiteY14" fmla="*/ 692 h 1969"/>
              <a:gd name="connsiteX15" fmla="*/ 379 w 1933"/>
              <a:gd name="connsiteY15" fmla="*/ 374 h 1969"/>
              <a:gd name="connsiteX16" fmla="*/ 414 w 1933"/>
              <a:gd name="connsiteY16" fmla="*/ 0 h 1969"/>
              <a:gd name="connsiteX0" fmla="*/ 414 w 1933"/>
              <a:gd name="connsiteY0" fmla="*/ 0 h 1969"/>
              <a:gd name="connsiteX1" fmla="*/ 1933 w 1933"/>
              <a:gd name="connsiteY1" fmla="*/ 0 h 1969"/>
              <a:gd name="connsiteX2" fmla="*/ 1933 w 1933"/>
              <a:gd name="connsiteY2" fmla="*/ 1969 h 1969"/>
              <a:gd name="connsiteX3" fmla="*/ 241 w 1933"/>
              <a:gd name="connsiteY3" fmla="*/ 1969 h 1969"/>
              <a:gd name="connsiteX4" fmla="*/ 284 w 1933"/>
              <a:gd name="connsiteY4" fmla="*/ 1434 h 1969"/>
              <a:gd name="connsiteX5" fmla="*/ 198 w 1933"/>
              <a:gd name="connsiteY5" fmla="*/ 1434 h 1969"/>
              <a:gd name="connsiteX6" fmla="*/ 198 w 1933"/>
              <a:gd name="connsiteY6" fmla="*/ 1683 h 1969"/>
              <a:gd name="connsiteX7" fmla="*/ 0 w 1933"/>
              <a:gd name="connsiteY7" fmla="*/ 1265 h 1969"/>
              <a:gd name="connsiteX8" fmla="*/ 198 w 1933"/>
              <a:gd name="connsiteY8" fmla="*/ 864 h 1969"/>
              <a:gd name="connsiteX9" fmla="*/ 198 w 1933"/>
              <a:gd name="connsiteY9" fmla="*/ 1113 h 1969"/>
              <a:gd name="connsiteX10" fmla="*/ 310 w 1933"/>
              <a:gd name="connsiteY10" fmla="*/ 1113 h 1969"/>
              <a:gd name="connsiteX11" fmla="*/ 345 w 1933"/>
              <a:gd name="connsiteY11" fmla="*/ 864 h 1969"/>
              <a:gd name="connsiteX12" fmla="*/ 336 w 1933"/>
              <a:gd name="connsiteY12" fmla="*/ 1095 h 1969"/>
              <a:gd name="connsiteX13" fmla="*/ 535 w 1933"/>
              <a:gd name="connsiteY13" fmla="*/ 694 h 1969"/>
              <a:gd name="connsiteX14" fmla="*/ 535 w 1933"/>
              <a:gd name="connsiteY14" fmla="*/ 692 h 1969"/>
              <a:gd name="connsiteX15" fmla="*/ 379 w 1933"/>
              <a:gd name="connsiteY15" fmla="*/ 374 h 1969"/>
              <a:gd name="connsiteX16" fmla="*/ 414 w 1933"/>
              <a:gd name="connsiteY16" fmla="*/ 0 h 1969"/>
              <a:gd name="connsiteX0" fmla="*/ 414 w 1933"/>
              <a:gd name="connsiteY0" fmla="*/ 0 h 1969"/>
              <a:gd name="connsiteX1" fmla="*/ 1933 w 1933"/>
              <a:gd name="connsiteY1" fmla="*/ 0 h 1969"/>
              <a:gd name="connsiteX2" fmla="*/ 1933 w 1933"/>
              <a:gd name="connsiteY2" fmla="*/ 1969 h 1969"/>
              <a:gd name="connsiteX3" fmla="*/ 241 w 1933"/>
              <a:gd name="connsiteY3" fmla="*/ 1969 h 1969"/>
              <a:gd name="connsiteX4" fmla="*/ 284 w 1933"/>
              <a:gd name="connsiteY4" fmla="*/ 1434 h 1969"/>
              <a:gd name="connsiteX5" fmla="*/ 198 w 1933"/>
              <a:gd name="connsiteY5" fmla="*/ 1434 h 1969"/>
              <a:gd name="connsiteX6" fmla="*/ 198 w 1933"/>
              <a:gd name="connsiteY6" fmla="*/ 1683 h 1969"/>
              <a:gd name="connsiteX7" fmla="*/ 0 w 1933"/>
              <a:gd name="connsiteY7" fmla="*/ 1265 h 1969"/>
              <a:gd name="connsiteX8" fmla="*/ 198 w 1933"/>
              <a:gd name="connsiteY8" fmla="*/ 864 h 1969"/>
              <a:gd name="connsiteX9" fmla="*/ 198 w 1933"/>
              <a:gd name="connsiteY9" fmla="*/ 1113 h 1969"/>
              <a:gd name="connsiteX10" fmla="*/ 310 w 1933"/>
              <a:gd name="connsiteY10" fmla="*/ 1113 h 1969"/>
              <a:gd name="connsiteX11" fmla="*/ 345 w 1933"/>
              <a:gd name="connsiteY11" fmla="*/ 864 h 1969"/>
              <a:gd name="connsiteX12" fmla="*/ 336 w 1933"/>
              <a:gd name="connsiteY12" fmla="*/ 1095 h 1969"/>
              <a:gd name="connsiteX13" fmla="*/ 535 w 1933"/>
              <a:gd name="connsiteY13" fmla="*/ 694 h 1969"/>
              <a:gd name="connsiteX14" fmla="*/ 633 w 1933"/>
              <a:gd name="connsiteY14" fmla="*/ 692 h 1969"/>
              <a:gd name="connsiteX15" fmla="*/ 379 w 1933"/>
              <a:gd name="connsiteY15" fmla="*/ 374 h 1969"/>
              <a:gd name="connsiteX16" fmla="*/ 414 w 1933"/>
              <a:gd name="connsiteY16" fmla="*/ 0 h 1969"/>
              <a:gd name="connsiteX0" fmla="*/ 414 w 1933"/>
              <a:gd name="connsiteY0" fmla="*/ 0 h 1969"/>
              <a:gd name="connsiteX1" fmla="*/ 1933 w 1933"/>
              <a:gd name="connsiteY1" fmla="*/ 0 h 1969"/>
              <a:gd name="connsiteX2" fmla="*/ 1933 w 1933"/>
              <a:gd name="connsiteY2" fmla="*/ 1969 h 1969"/>
              <a:gd name="connsiteX3" fmla="*/ 241 w 1933"/>
              <a:gd name="connsiteY3" fmla="*/ 1969 h 1969"/>
              <a:gd name="connsiteX4" fmla="*/ 284 w 1933"/>
              <a:gd name="connsiteY4" fmla="*/ 1434 h 1969"/>
              <a:gd name="connsiteX5" fmla="*/ 198 w 1933"/>
              <a:gd name="connsiteY5" fmla="*/ 1434 h 1969"/>
              <a:gd name="connsiteX6" fmla="*/ 198 w 1933"/>
              <a:gd name="connsiteY6" fmla="*/ 1683 h 1969"/>
              <a:gd name="connsiteX7" fmla="*/ 0 w 1933"/>
              <a:gd name="connsiteY7" fmla="*/ 1265 h 1969"/>
              <a:gd name="connsiteX8" fmla="*/ 198 w 1933"/>
              <a:gd name="connsiteY8" fmla="*/ 864 h 1969"/>
              <a:gd name="connsiteX9" fmla="*/ 198 w 1933"/>
              <a:gd name="connsiteY9" fmla="*/ 1113 h 1969"/>
              <a:gd name="connsiteX10" fmla="*/ 310 w 1933"/>
              <a:gd name="connsiteY10" fmla="*/ 1113 h 1969"/>
              <a:gd name="connsiteX11" fmla="*/ 345 w 1933"/>
              <a:gd name="connsiteY11" fmla="*/ 864 h 1969"/>
              <a:gd name="connsiteX12" fmla="*/ 336 w 1933"/>
              <a:gd name="connsiteY12" fmla="*/ 1095 h 1969"/>
              <a:gd name="connsiteX13" fmla="*/ 535 w 1933"/>
              <a:gd name="connsiteY13" fmla="*/ 694 h 1969"/>
              <a:gd name="connsiteX14" fmla="*/ 379 w 1933"/>
              <a:gd name="connsiteY14" fmla="*/ 374 h 1969"/>
              <a:gd name="connsiteX15" fmla="*/ 414 w 1933"/>
              <a:gd name="connsiteY15" fmla="*/ 0 h 1969"/>
              <a:gd name="connsiteX0" fmla="*/ 414 w 1933"/>
              <a:gd name="connsiteY0" fmla="*/ 0 h 1969"/>
              <a:gd name="connsiteX1" fmla="*/ 1933 w 1933"/>
              <a:gd name="connsiteY1" fmla="*/ 0 h 1969"/>
              <a:gd name="connsiteX2" fmla="*/ 1933 w 1933"/>
              <a:gd name="connsiteY2" fmla="*/ 1969 h 1969"/>
              <a:gd name="connsiteX3" fmla="*/ 241 w 1933"/>
              <a:gd name="connsiteY3" fmla="*/ 1969 h 1969"/>
              <a:gd name="connsiteX4" fmla="*/ 284 w 1933"/>
              <a:gd name="connsiteY4" fmla="*/ 1434 h 1969"/>
              <a:gd name="connsiteX5" fmla="*/ 198 w 1933"/>
              <a:gd name="connsiteY5" fmla="*/ 1434 h 1969"/>
              <a:gd name="connsiteX6" fmla="*/ 198 w 1933"/>
              <a:gd name="connsiteY6" fmla="*/ 1683 h 1969"/>
              <a:gd name="connsiteX7" fmla="*/ 0 w 1933"/>
              <a:gd name="connsiteY7" fmla="*/ 1265 h 1969"/>
              <a:gd name="connsiteX8" fmla="*/ 198 w 1933"/>
              <a:gd name="connsiteY8" fmla="*/ 864 h 1969"/>
              <a:gd name="connsiteX9" fmla="*/ 198 w 1933"/>
              <a:gd name="connsiteY9" fmla="*/ 1113 h 1969"/>
              <a:gd name="connsiteX10" fmla="*/ 310 w 1933"/>
              <a:gd name="connsiteY10" fmla="*/ 1113 h 1969"/>
              <a:gd name="connsiteX11" fmla="*/ 345 w 1933"/>
              <a:gd name="connsiteY11" fmla="*/ 864 h 1969"/>
              <a:gd name="connsiteX12" fmla="*/ 336 w 1933"/>
              <a:gd name="connsiteY12" fmla="*/ 1095 h 1969"/>
              <a:gd name="connsiteX13" fmla="*/ 535 w 1933"/>
              <a:gd name="connsiteY13" fmla="*/ 694 h 1969"/>
              <a:gd name="connsiteX14" fmla="*/ 532 w 1933"/>
              <a:gd name="connsiteY14" fmla="*/ 727 h 1969"/>
              <a:gd name="connsiteX15" fmla="*/ 379 w 1933"/>
              <a:gd name="connsiteY15" fmla="*/ 374 h 1969"/>
              <a:gd name="connsiteX16" fmla="*/ 414 w 1933"/>
              <a:gd name="connsiteY16" fmla="*/ 0 h 1969"/>
              <a:gd name="connsiteX0" fmla="*/ 414 w 1933"/>
              <a:gd name="connsiteY0" fmla="*/ 0 h 1969"/>
              <a:gd name="connsiteX1" fmla="*/ 1933 w 1933"/>
              <a:gd name="connsiteY1" fmla="*/ 0 h 1969"/>
              <a:gd name="connsiteX2" fmla="*/ 1933 w 1933"/>
              <a:gd name="connsiteY2" fmla="*/ 1969 h 1969"/>
              <a:gd name="connsiteX3" fmla="*/ 241 w 1933"/>
              <a:gd name="connsiteY3" fmla="*/ 1969 h 1969"/>
              <a:gd name="connsiteX4" fmla="*/ 284 w 1933"/>
              <a:gd name="connsiteY4" fmla="*/ 1434 h 1969"/>
              <a:gd name="connsiteX5" fmla="*/ 198 w 1933"/>
              <a:gd name="connsiteY5" fmla="*/ 1434 h 1969"/>
              <a:gd name="connsiteX6" fmla="*/ 198 w 1933"/>
              <a:gd name="connsiteY6" fmla="*/ 1683 h 1969"/>
              <a:gd name="connsiteX7" fmla="*/ 0 w 1933"/>
              <a:gd name="connsiteY7" fmla="*/ 1265 h 1969"/>
              <a:gd name="connsiteX8" fmla="*/ 198 w 1933"/>
              <a:gd name="connsiteY8" fmla="*/ 864 h 1969"/>
              <a:gd name="connsiteX9" fmla="*/ 198 w 1933"/>
              <a:gd name="connsiteY9" fmla="*/ 1113 h 1969"/>
              <a:gd name="connsiteX10" fmla="*/ 310 w 1933"/>
              <a:gd name="connsiteY10" fmla="*/ 1113 h 1969"/>
              <a:gd name="connsiteX11" fmla="*/ 345 w 1933"/>
              <a:gd name="connsiteY11" fmla="*/ 864 h 1969"/>
              <a:gd name="connsiteX12" fmla="*/ 336 w 1933"/>
              <a:gd name="connsiteY12" fmla="*/ 1095 h 1969"/>
              <a:gd name="connsiteX13" fmla="*/ 535 w 1933"/>
              <a:gd name="connsiteY13" fmla="*/ 744 h 1969"/>
              <a:gd name="connsiteX14" fmla="*/ 532 w 1933"/>
              <a:gd name="connsiteY14" fmla="*/ 727 h 1969"/>
              <a:gd name="connsiteX15" fmla="*/ 379 w 1933"/>
              <a:gd name="connsiteY15" fmla="*/ 374 h 1969"/>
              <a:gd name="connsiteX16" fmla="*/ 414 w 1933"/>
              <a:gd name="connsiteY16" fmla="*/ 0 h 1969"/>
              <a:gd name="connsiteX0" fmla="*/ 414 w 1933"/>
              <a:gd name="connsiteY0" fmla="*/ 0 h 1969"/>
              <a:gd name="connsiteX1" fmla="*/ 1933 w 1933"/>
              <a:gd name="connsiteY1" fmla="*/ 0 h 1969"/>
              <a:gd name="connsiteX2" fmla="*/ 1933 w 1933"/>
              <a:gd name="connsiteY2" fmla="*/ 1969 h 1969"/>
              <a:gd name="connsiteX3" fmla="*/ 241 w 1933"/>
              <a:gd name="connsiteY3" fmla="*/ 1969 h 1969"/>
              <a:gd name="connsiteX4" fmla="*/ 284 w 1933"/>
              <a:gd name="connsiteY4" fmla="*/ 1434 h 1969"/>
              <a:gd name="connsiteX5" fmla="*/ 198 w 1933"/>
              <a:gd name="connsiteY5" fmla="*/ 1434 h 1969"/>
              <a:gd name="connsiteX6" fmla="*/ 198 w 1933"/>
              <a:gd name="connsiteY6" fmla="*/ 1683 h 1969"/>
              <a:gd name="connsiteX7" fmla="*/ 0 w 1933"/>
              <a:gd name="connsiteY7" fmla="*/ 1265 h 1969"/>
              <a:gd name="connsiteX8" fmla="*/ 198 w 1933"/>
              <a:gd name="connsiteY8" fmla="*/ 864 h 1969"/>
              <a:gd name="connsiteX9" fmla="*/ 198 w 1933"/>
              <a:gd name="connsiteY9" fmla="*/ 1113 h 1969"/>
              <a:gd name="connsiteX10" fmla="*/ 310 w 1933"/>
              <a:gd name="connsiteY10" fmla="*/ 1113 h 1969"/>
              <a:gd name="connsiteX11" fmla="*/ 345 w 1933"/>
              <a:gd name="connsiteY11" fmla="*/ 864 h 1969"/>
              <a:gd name="connsiteX12" fmla="*/ 336 w 1933"/>
              <a:gd name="connsiteY12" fmla="*/ 1095 h 1969"/>
              <a:gd name="connsiteX13" fmla="*/ 535 w 1933"/>
              <a:gd name="connsiteY13" fmla="*/ 744 h 1969"/>
              <a:gd name="connsiteX14" fmla="*/ 532 w 1933"/>
              <a:gd name="connsiteY14" fmla="*/ 727 h 1969"/>
              <a:gd name="connsiteX15" fmla="*/ 379 w 1933"/>
              <a:gd name="connsiteY15" fmla="*/ 374 h 1969"/>
              <a:gd name="connsiteX16" fmla="*/ 414 w 1933"/>
              <a:gd name="connsiteY16" fmla="*/ 0 h 1969"/>
              <a:gd name="connsiteX0" fmla="*/ 414 w 1933"/>
              <a:gd name="connsiteY0" fmla="*/ 0 h 1969"/>
              <a:gd name="connsiteX1" fmla="*/ 1933 w 1933"/>
              <a:gd name="connsiteY1" fmla="*/ 0 h 1969"/>
              <a:gd name="connsiteX2" fmla="*/ 1933 w 1933"/>
              <a:gd name="connsiteY2" fmla="*/ 1969 h 1969"/>
              <a:gd name="connsiteX3" fmla="*/ 241 w 1933"/>
              <a:gd name="connsiteY3" fmla="*/ 1969 h 1969"/>
              <a:gd name="connsiteX4" fmla="*/ 284 w 1933"/>
              <a:gd name="connsiteY4" fmla="*/ 1434 h 1969"/>
              <a:gd name="connsiteX5" fmla="*/ 198 w 1933"/>
              <a:gd name="connsiteY5" fmla="*/ 1434 h 1969"/>
              <a:gd name="connsiteX6" fmla="*/ 198 w 1933"/>
              <a:gd name="connsiteY6" fmla="*/ 1683 h 1969"/>
              <a:gd name="connsiteX7" fmla="*/ 0 w 1933"/>
              <a:gd name="connsiteY7" fmla="*/ 1265 h 1969"/>
              <a:gd name="connsiteX8" fmla="*/ 198 w 1933"/>
              <a:gd name="connsiteY8" fmla="*/ 864 h 1969"/>
              <a:gd name="connsiteX9" fmla="*/ 198 w 1933"/>
              <a:gd name="connsiteY9" fmla="*/ 1113 h 1969"/>
              <a:gd name="connsiteX10" fmla="*/ 310 w 1933"/>
              <a:gd name="connsiteY10" fmla="*/ 1113 h 1969"/>
              <a:gd name="connsiteX11" fmla="*/ 345 w 1933"/>
              <a:gd name="connsiteY11" fmla="*/ 864 h 1969"/>
              <a:gd name="connsiteX12" fmla="*/ 336 w 1933"/>
              <a:gd name="connsiteY12" fmla="*/ 1095 h 1969"/>
              <a:gd name="connsiteX13" fmla="*/ 535 w 1933"/>
              <a:gd name="connsiteY13" fmla="*/ 710 h 1969"/>
              <a:gd name="connsiteX14" fmla="*/ 532 w 1933"/>
              <a:gd name="connsiteY14" fmla="*/ 727 h 1969"/>
              <a:gd name="connsiteX15" fmla="*/ 379 w 1933"/>
              <a:gd name="connsiteY15" fmla="*/ 374 h 1969"/>
              <a:gd name="connsiteX16" fmla="*/ 414 w 1933"/>
              <a:gd name="connsiteY16" fmla="*/ 0 h 1969"/>
              <a:gd name="connsiteX0" fmla="*/ 414 w 1933"/>
              <a:gd name="connsiteY0" fmla="*/ 0 h 1969"/>
              <a:gd name="connsiteX1" fmla="*/ 1933 w 1933"/>
              <a:gd name="connsiteY1" fmla="*/ 0 h 1969"/>
              <a:gd name="connsiteX2" fmla="*/ 1933 w 1933"/>
              <a:gd name="connsiteY2" fmla="*/ 1969 h 1969"/>
              <a:gd name="connsiteX3" fmla="*/ 241 w 1933"/>
              <a:gd name="connsiteY3" fmla="*/ 1969 h 1969"/>
              <a:gd name="connsiteX4" fmla="*/ 284 w 1933"/>
              <a:gd name="connsiteY4" fmla="*/ 1434 h 1969"/>
              <a:gd name="connsiteX5" fmla="*/ 198 w 1933"/>
              <a:gd name="connsiteY5" fmla="*/ 1434 h 1969"/>
              <a:gd name="connsiteX6" fmla="*/ 198 w 1933"/>
              <a:gd name="connsiteY6" fmla="*/ 1683 h 1969"/>
              <a:gd name="connsiteX7" fmla="*/ 0 w 1933"/>
              <a:gd name="connsiteY7" fmla="*/ 1265 h 1969"/>
              <a:gd name="connsiteX8" fmla="*/ 198 w 1933"/>
              <a:gd name="connsiteY8" fmla="*/ 864 h 1969"/>
              <a:gd name="connsiteX9" fmla="*/ 198 w 1933"/>
              <a:gd name="connsiteY9" fmla="*/ 1113 h 1969"/>
              <a:gd name="connsiteX10" fmla="*/ 310 w 1933"/>
              <a:gd name="connsiteY10" fmla="*/ 1113 h 1969"/>
              <a:gd name="connsiteX11" fmla="*/ 345 w 1933"/>
              <a:gd name="connsiteY11" fmla="*/ 864 h 1969"/>
              <a:gd name="connsiteX12" fmla="*/ 336 w 1933"/>
              <a:gd name="connsiteY12" fmla="*/ 1095 h 1969"/>
              <a:gd name="connsiteX13" fmla="*/ 535 w 1933"/>
              <a:gd name="connsiteY13" fmla="*/ 710 h 1969"/>
              <a:gd name="connsiteX14" fmla="*/ 532 w 1933"/>
              <a:gd name="connsiteY14" fmla="*/ 727 h 1969"/>
              <a:gd name="connsiteX15" fmla="*/ 379 w 1933"/>
              <a:gd name="connsiteY15" fmla="*/ 374 h 1969"/>
              <a:gd name="connsiteX16" fmla="*/ 414 w 1933"/>
              <a:gd name="connsiteY16" fmla="*/ 0 h 1969"/>
              <a:gd name="connsiteX0" fmla="*/ 414 w 1933"/>
              <a:gd name="connsiteY0" fmla="*/ 0 h 1969"/>
              <a:gd name="connsiteX1" fmla="*/ 1933 w 1933"/>
              <a:gd name="connsiteY1" fmla="*/ 0 h 1969"/>
              <a:gd name="connsiteX2" fmla="*/ 1933 w 1933"/>
              <a:gd name="connsiteY2" fmla="*/ 1969 h 1969"/>
              <a:gd name="connsiteX3" fmla="*/ 241 w 1933"/>
              <a:gd name="connsiteY3" fmla="*/ 1969 h 1969"/>
              <a:gd name="connsiteX4" fmla="*/ 284 w 1933"/>
              <a:gd name="connsiteY4" fmla="*/ 1434 h 1969"/>
              <a:gd name="connsiteX5" fmla="*/ 198 w 1933"/>
              <a:gd name="connsiteY5" fmla="*/ 1434 h 1969"/>
              <a:gd name="connsiteX6" fmla="*/ 198 w 1933"/>
              <a:gd name="connsiteY6" fmla="*/ 1683 h 1969"/>
              <a:gd name="connsiteX7" fmla="*/ 0 w 1933"/>
              <a:gd name="connsiteY7" fmla="*/ 1265 h 1969"/>
              <a:gd name="connsiteX8" fmla="*/ 198 w 1933"/>
              <a:gd name="connsiteY8" fmla="*/ 864 h 1969"/>
              <a:gd name="connsiteX9" fmla="*/ 198 w 1933"/>
              <a:gd name="connsiteY9" fmla="*/ 1113 h 1969"/>
              <a:gd name="connsiteX10" fmla="*/ 310 w 1933"/>
              <a:gd name="connsiteY10" fmla="*/ 1113 h 1969"/>
              <a:gd name="connsiteX11" fmla="*/ 345 w 1933"/>
              <a:gd name="connsiteY11" fmla="*/ 864 h 1969"/>
              <a:gd name="connsiteX12" fmla="*/ 336 w 1933"/>
              <a:gd name="connsiteY12" fmla="*/ 1095 h 1969"/>
              <a:gd name="connsiteX13" fmla="*/ 535 w 1933"/>
              <a:gd name="connsiteY13" fmla="*/ 710 h 1969"/>
              <a:gd name="connsiteX14" fmla="*/ 532 w 1933"/>
              <a:gd name="connsiteY14" fmla="*/ 727 h 1969"/>
              <a:gd name="connsiteX15" fmla="*/ 379 w 1933"/>
              <a:gd name="connsiteY15" fmla="*/ 374 h 1969"/>
              <a:gd name="connsiteX16" fmla="*/ 414 w 1933"/>
              <a:gd name="connsiteY16" fmla="*/ 0 h 1969"/>
              <a:gd name="connsiteX0" fmla="*/ 414 w 1933"/>
              <a:gd name="connsiteY0" fmla="*/ 0 h 1969"/>
              <a:gd name="connsiteX1" fmla="*/ 1933 w 1933"/>
              <a:gd name="connsiteY1" fmla="*/ 0 h 1969"/>
              <a:gd name="connsiteX2" fmla="*/ 1933 w 1933"/>
              <a:gd name="connsiteY2" fmla="*/ 1969 h 1969"/>
              <a:gd name="connsiteX3" fmla="*/ 241 w 1933"/>
              <a:gd name="connsiteY3" fmla="*/ 1969 h 1969"/>
              <a:gd name="connsiteX4" fmla="*/ 284 w 1933"/>
              <a:gd name="connsiteY4" fmla="*/ 1434 h 1969"/>
              <a:gd name="connsiteX5" fmla="*/ 198 w 1933"/>
              <a:gd name="connsiteY5" fmla="*/ 1434 h 1969"/>
              <a:gd name="connsiteX6" fmla="*/ 198 w 1933"/>
              <a:gd name="connsiteY6" fmla="*/ 1683 h 1969"/>
              <a:gd name="connsiteX7" fmla="*/ 0 w 1933"/>
              <a:gd name="connsiteY7" fmla="*/ 1265 h 1969"/>
              <a:gd name="connsiteX8" fmla="*/ 198 w 1933"/>
              <a:gd name="connsiteY8" fmla="*/ 864 h 1969"/>
              <a:gd name="connsiteX9" fmla="*/ 198 w 1933"/>
              <a:gd name="connsiteY9" fmla="*/ 1113 h 1969"/>
              <a:gd name="connsiteX10" fmla="*/ 310 w 1933"/>
              <a:gd name="connsiteY10" fmla="*/ 1113 h 1969"/>
              <a:gd name="connsiteX11" fmla="*/ 345 w 1933"/>
              <a:gd name="connsiteY11" fmla="*/ 864 h 1969"/>
              <a:gd name="connsiteX12" fmla="*/ 336 w 1933"/>
              <a:gd name="connsiteY12" fmla="*/ 1095 h 1969"/>
              <a:gd name="connsiteX13" fmla="*/ 535 w 1933"/>
              <a:gd name="connsiteY13" fmla="*/ 710 h 1969"/>
              <a:gd name="connsiteX14" fmla="*/ 532 w 1933"/>
              <a:gd name="connsiteY14" fmla="*/ 701 h 1969"/>
              <a:gd name="connsiteX15" fmla="*/ 379 w 1933"/>
              <a:gd name="connsiteY15" fmla="*/ 374 h 1969"/>
              <a:gd name="connsiteX16" fmla="*/ 414 w 1933"/>
              <a:gd name="connsiteY16" fmla="*/ 0 h 1969"/>
              <a:gd name="connsiteX0" fmla="*/ 428 w 1947"/>
              <a:gd name="connsiteY0" fmla="*/ 0 h 1969"/>
              <a:gd name="connsiteX1" fmla="*/ 1947 w 1947"/>
              <a:gd name="connsiteY1" fmla="*/ 0 h 1969"/>
              <a:gd name="connsiteX2" fmla="*/ 1947 w 1947"/>
              <a:gd name="connsiteY2" fmla="*/ 1969 h 1969"/>
              <a:gd name="connsiteX3" fmla="*/ 255 w 1947"/>
              <a:gd name="connsiteY3" fmla="*/ 1969 h 1969"/>
              <a:gd name="connsiteX4" fmla="*/ 298 w 1947"/>
              <a:gd name="connsiteY4" fmla="*/ 1434 h 1969"/>
              <a:gd name="connsiteX5" fmla="*/ 212 w 1947"/>
              <a:gd name="connsiteY5" fmla="*/ 1434 h 1969"/>
              <a:gd name="connsiteX6" fmla="*/ 212 w 1947"/>
              <a:gd name="connsiteY6" fmla="*/ 1683 h 1969"/>
              <a:gd name="connsiteX7" fmla="*/ 14 w 1947"/>
              <a:gd name="connsiteY7" fmla="*/ 1265 h 1969"/>
              <a:gd name="connsiteX8" fmla="*/ 0 w 1947"/>
              <a:gd name="connsiteY8" fmla="*/ 1265 h 1969"/>
              <a:gd name="connsiteX9" fmla="*/ 212 w 1947"/>
              <a:gd name="connsiteY9" fmla="*/ 864 h 1969"/>
              <a:gd name="connsiteX10" fmla="*/ 212 w 1947"/>
              <a:gd name="connsiteY10" fmla="*/ 1113 h 1969"/>
              <a:gd name="connsiteX11" fmla="*/ 324 w 1947"/>
              <a:gd name="connsiteY11" fmla="*/ 1113 h 1969"/>
              <a:gd name="connsiteX12" fmla="*/ 359 w 1947"/>
              <a:gd name="connsiteY12" fmla="*/ 864 h 1969"/>
              <a:gd name="connsiteX13" fmla="*/ 350 w 1947"/>
              <a:gd name="connsiteY13" fmla="*/ 1095 h 1969"/>
              <a:gd name="connsiteX14" fmla="*/ 549 w 1947"/>
              <a:gd name="connsiteY14" fmla="*/ 710 h 1969"/>
              <a:gd name="connsiteX15" fmla="*/ 546 w 1947"/>
              <a:gd name="connsiteY15" fmla="*/ 701 h 1969"/>
              <a:gd name="connsiteX16" fmla="*/ 393 w 1947"/>
              <a:gd name="connsiteY16" fmla="*/ 374 h 1969"/>
              <a:gd name="connsiteX17" fmla="*/ 428 w 1947"/>
              <a:gd name="connsiteY17" fmla="*/ 0 h 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47" h="1969">
                <a:moveTo>
                  <a:pt x="428" y="0"/>
                </a:moveTo>
                <a:lnTo>
                  <a:pt x="1947" y="0"/>
                </a:lnTo>
                <a:lnTo>
                  <a:pt x="1947" y="1969"/>
                </a:lnTo>
                <a:lnTo>
                  <a:pt x="255" y="1969"/>
                </a:lnTo>
                <a:cubicBezTo>
                  <a:pt x="269" y="1791"/>
                  <a:pt x="284" y="1612"/>
                  <a:pt x="298" y="1434"/>
                </a:cubicBezTo>
                <a:lnTo>
                  <a:pt x="212" y="1434"/>
                </a:lnTo>
                <a:lnTo>
                  <a:pt x="212" y="1683"/>
                </a:lnTo>
                <a:lnTo>
                  <a:pt x="14" y="1265"/>
                </a:lnTo>
                <a:lnTo>
                  <a:pt x="0" y="1265"/>
                </a:lnTo>
                <a:lnTo>
                  <a:pt x="212" y="864"/>
                </a:lnTo>
                <a:lnTo>
                  <a:pt x="212" y="1113"/>
                </a:lnTo>
                <a:lnTo>
                  <a:pt x="324" y="1113"/>
                </a:lnTo>
                <a:cubicBezTo>
                  <a:pt x="336" y="1030"/>
                  <a:pt x="347" y="947"/>
                  <a:pt x="359" y="864"/>
                </a:cubicBezTo>
                <a:lnTo>
                  <a:pt x="350" y="1095"/>
                </a:lnTo>
                <a:cubicBezTo>
                  <a:pt x="416" y="961"/>
                  <a:pt x="463" y="838"/>
                  <a:pt x="549" y="710"/>
                </a:cubicBezTo>
                <a:cubicBezTo>
                  <a:pt x="524" y="672"/>
                  <a:pt x="547" y="701"/>
                  <a:pt x="546" y="701"/>
                </a:cubicBezTo>
                <a:lnTo>
                  <a:pt x="393" y="374"/>
                </a:lnTo>
                <a:cubicBezTo>
                  <a:pt x="405" y="249"/>
                  <a:pt x="416" y="125"/>
                  <a:pt x="428" y="0"/>
                </a:cubicBezTo>
              </a:path>
            </a:pathLst>
          </a:custGeom>
          <a:solidFill>
            <a:schemeClr val="accent3"/>
          </a:solidFill>
          <a:ln w="12700" cap="rnd">
            <a:solidFill>
              <a:schemeClr val="accent3"/>
            </a:solidFill>
            <a:round/>
            <a:headEnd/>
            <a:tailEnd/>
          </a:ln>
        </p:spPr>
        <p:txBody>
          <a:bodyPr/>
          <a:lstStyle/>
          <a:p>
            <a:pPr>
              <a:defRPr/>
            </a:pPr>
            <a:endParaRPr lang="en-GB" dirty="0">
              <a:solidFill>
                <a:schemeClr val="accent3"/>
              </a:solidFill>
            </a:endParaRPr>
          </a:p>
        </p:txBody>
      </p:sp>
      <p:sp>
        <p:nvSpPr>
          <p:cNvPr id="236548" name="Title 1"/>
          <p:cNvSpPr>
            <a:spLocks noGrp="1"/>
          </p:cNvSpPr>
          <p:nvPr>
            <p:ph type="title"/>
            <p:custDataLst>
              <p:tags r:id="rId3"/>
            </p:custDataLst>
          </p:nvPr>
        </p:nvSpPr>
        <p:spPr/>
        <p:txBody>
          <a:bodyPr/>
          <a:lstStyle/>
          <a:p>
            <a:r>
              <a:rPr lang="nl-NL"/>
              <a:t>Text blocks </a:t>
            </a:r>
            <a:r>
              <a:rPr lang="en-US"/>
              <a:t>—</a:t>
            </a:r>
            <a:r>
              <a:rPr lang="nl-NL" smtClean="0"/>
              <a:t> </a:t>
            </a:r>
            <a:r>
              <a:rPr lang="nl-NL"/>
              <a:t>interaction</a:t>
            </a:r>
          </a:p>
        </p:txBody>
      </p:sp>
      <p:sp>
        <p:nvSpPr>
          <p:cNvPr id="4" name="Freeform 2"/>
          <p:cNvSpPr>
            <a:spLocks/>
          </p:cNvSpPr>
          <p:nvPr>
            <p:custDataLst>
              <p:tags r:id="rId4"/>
            </p:custDataLst>
          </p:nvPr>
        </p:nvSpPr>
        <p:spPr bwMode="blackWhite">
          <a:xfrm>
            <a:off x="1238013" y="1593360"/>
            <a:ext cx="3836590" cy="3909614"/>
          </a:xfrm>
          <a:custGeom>
            <a:avLst/>
            <a:gdLst>
              <a:gd name="T0" fmla="*/ 2147483647 w 1934"/>
              <a:gd name="T1" fmla="*/ 2147483647 h 1970"/>
              <a:gd name="T2" fmla="*/ 0 w 1934"/>
              <a:gd name="T3" fmla="*/ 2147483647 h 1970"/>
              <a:gd name="T4" fmla="*/ 0 w 1934"/>
              <a:gd name="T5" fmla="*/ 0 h 1970"/>
              <a:gd name="T6" fmla="*/ 2147483647 w 1934"/>
              <a:gd name="T7" fmla="*/ 0 h 1970"/>
              <a:gd name="T8" fmla="*/ 2147483647 w 1934"/>
              <a:gd name="T9" fmla="*/ 2147483647 h 1970"/>
              <a:gd name="T10" fmla="*/ 2147483647 w 1934"/>
              <a:gd name="T11" fmla="*/ 2147483647 h 1970"/>
              <a:gd name="T12" fmla="*/ 2147483647 w 1934"/>
              <a:gd name="T13" fmla="*/ 2147483647 h 1970"/>
              <a:gd name="T14" fmla="*/ 2147483647 w 1934"/>
              <a:gd name="T15" fmla="*/ 2147483647 h 1970"/>
              <a:gd name="T16" fmla="*/ 2147483647 w 1934"/>
              <a:gd name="T17" fmla="*/ 2147483647 h 1970"/>
              <a:gd name="T18" fmla="*/ 2147483647 w 1934"/>
              <a:gd name="T19" fmla="*/ 2147483647 h 1970"/>
              <a:gd name="T20" fmla="*/ 2147483647 w 1934"/>
              <a:gd name="T21" fmla="*/ 2147483647 h 1970"/>
              <a:gd name="T22" fmla="*/ 2147483647 w 1934"/>
              <a:gd name="T23" fmla="*/ 2147483647 h 1970"/>
              <a:gd name="T24" fmla="*/ 2147483647 w 1934"/>
              <a:gd name="T25" fmla="*/ 2147483647 h 1970"/>
              <a:gd name="T26" fmla="*/ 2147483647 w 1934"/>
              <a:gd name="T27" fmla="*/ 2147483647 h 1970"/>
              <a:gd name="T28" fmla="*/ 2147483647 w 1934"/>
              <a:gd name="T29" fmla="*/ 2147483647 h 1970"/>
              <a:gd name="T30" fmla="*/ 2147483647 w 1934"/>
              <a:gd name="T31" fmla="*/ 2147483647 h 19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34"/>
              <a:gd name="T49" fmla="*/ 0 h 1970"/>
              <a:gd name="T50" fmla="*/ 1934 w 1934"/>
              <a:gd name="T51" fmla="*/ 1970 h 1970"/>
              <a:gd name="connsiteX0" fmla="*/ 1518 w 1933"/>
              <a:gd name="connsiteY0" fmla="*/ 1969 h 1969"/>
              <a:gd name="connsiteX1" fmla="*/ 0 w 1933"/>
              <a:gd name="connsiteY1" fmla="*/ 1969 h 1969"/>
              <a:gd name="connsiteX2" fmla="*/ 0 w 1933"/>
              <a:gd name="connsiteY2" fmla="*/ 0 h 1969"/>
              <a:gd name="connsiteX3" fmla="*/ 1699 w 1933"/>
              <a:gd name="connsiteY3" fmla="*/ 0 h 1969"/>
              <a:gd name="connsiteX4" fmla="*/ 1648 w 1933"/>
              <a:gd name="connsiteY4" fmla="*/ 525 h 1969"/>
              <a:gd name="connsiteX5" fmla="*/ 1734 w 1933"/>
              <a:gd name="connsiteY5" fmla="*/ 525 h 1969"/>
              <a:gd name="connsiteX6" fmla="*/ 1734 w 1933"/>
              <a:gd name="connsiteY6" fmla="*/ 276 h 1969"/>
              <a:gd name="connsiteX7" fmla="*/ 1933 w 1933"/>
              <a:gd name="connsiteY7" fmla="*/ 703 h 1969"/>
              <a:gd name="connsiteX8" fmla="*/ 1734 w 1933"/>
              <a:gd name="connsiteY8" fmla="*/ 1104 h 1969"/>
              <a:gd name="connsiteX9" fmla="*/ 1734 w 1933"/>
              <a:gd name="connsiteY9" fmla="*/ 855 h 1969"/>
              <a:gd name="connsiteX10" fmla="*/ 1622 w 1933"/>
              <a:gd name="connsiteY10" fmla="*/ 855 h 1969"/>
              <a:gd name="connsiteX11" fmla="*/ 1596 w 1933"/>
              <a:gd name="connsiteY11" fmla="*/ 1162 h 1969"/>
              <a:gd name="connsiteX12" fmla="*/ 1596 w 1933"/>
              <a:gd name="connsiteY12" fmla="*/ 864 h 1969"/>
              <a:gd name="connsiteX13" fmla="*/ 1397 w 1933"/>
              <a:gd name="connsiteY13" fmla="*/ 1256 h 1969"/>
              <a:gd name="connsiteX14" fmla="*/ 1556 w 1933"/>
              <a:gd name="connsiteY14" fmla="*/ 1597 h 1969"/>
              <a:gd name="connsiteX15" fmla="*/ 1518 w 1933"/>
              <a:gd name="connsiteY15" fmla="*/ 1969 h 1969"/>
              <a:gd name="connsiteX0" fmla="*/ 1518 w 1933"/>
              <a:gd name="connsiteY0" fmla="*/ 1969 h 1969"/>
              <a:gd name="connsiteX1" fmla="*/ 0 w 1933"/>
              <a:gd name="connsiteY1" fmla="*/ 1969 h 1969"/>
              <a:gd name="connsiteX2" fmla="*/ 0 w 1933"/>
              <a:gd name="connsiteY2" fmla="*/ 0 h 1969"/>
              <a:gd name="connsiteX3" fmla="*/ 1699 w 1933"/>
              <a:gd name="connsiteY3" fmla="*/ 0 h 1969"/>
              <a:gd name="connsiteX4" fmla="*/ 1648 w 1933"/>
              <a:gd name="connsiteY4" fmla="*/ 525 h 1969"/>
              <a:gd name="connsiteX5" fmla="*/ 1734 w 1933"/>
              <a:gd name="connsiteY5" fmla="*/ 525 h 1969"/>
              <a:gd name="connsiteX6" fmla="*/ 1734 w 1933"/>
              <a:gd name="connsiteY6" fmla="*/ 276 h 1969"/>
              <a:gd name="connsiteX7" fmla="*/ 1933 w 1933"/>
              <a:gd name="connsiteY7" fmla="*/ 703 h 1969"/>
              <a:gd name="connsiteX8" fmla="*/ 1734 w 1933"/>
              <a:gd name="connsiteY8" fmla="*/ 1104 h 1969"/>
              <a:gd name="connsiteX9" fmla="*/ 1734 w 1933"/>
              <a:gd name="connsiteY9" fmla="*/ 855 h 1969"/>
              <a:gd name="connsiteX10" fmla="*/ 1622 w 1933"/>
              <a:gd name="connsiteY10" fmla="*/ 855 h 1969"/>
              <a:gd name="connsiteX11" fmla="*/ 1596 w 1933"/>
              <a:gd name="connsiteY11" fmla="*/ 1162 h 1969"/>
              <a:gd name="connsiteX12" fmla="*/ 1596 w 1933"/>
              <a:gd name="connsiteY12" fmla="*/ 864 h 1969"/>
              <a:gd name="connsiteX13" fmla="*/ 1397 w 1933"/>
              <a:gd name="connsiteY13" fmla="*/ 1256 h 1969"/>
              <a:gd name="connsiteX14" fmla="*/ 1556 w 1933"/>
              <a:gd name="connsiteY14" fmla="*/ 1597 h 1969"/>
              <a:gd name="connsiteX15" fmla="*/ 1518 w 1933"/>
              <a:gd name="connsiteY15" fmla="*/ 1969 h 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33" h="1969">
                <a:moveTo>
                  <a:pt x="1518" y="1969"/>
                </a:moveTo>
                <a:lnTo>
                  <a:pt x="0" y="1969"/>
                </a:lnTo>
                <a:lnTo>
                  <a:pt x="0" y="0"/>
                </a:lnTo>
                <a:lnTo>
                  <a:pt x="1699" y="0"/>
                </a:lnTo>
                <a:lnTo>
                  <a:pt x="1648" y="525"/>
                </a:lnTo>
                <a:lnTo>
                  <a:pt x="1734" y="525"/>
                </a:lnTo>
                <a:lnTo>
                  <a:pt x="1734" y="276"/>
                </a:lnTo>
                <a:lnTo>
                  <a:pt x="1933" y="703"/>
                </a:lnTo>
                <a:cubicBezTo>
                  <a:pt x="1867" y="837"/>
                  <a:pt x="1800" y="970"/>
                  <a:pt x="1734" y="1104"/>
                </a:cubicBezTo>
                <a:lnTo>
                  <a:pt x="1734" y="855"/>
                </a:lnTo>
                <a:lnTo>
                  <a:pt x="1622" y="855"/>
                </a:lnTo>
                <a:cubicBezTo>
                  <a:pt x="1613" y="938"/>
                  <a:pt x="1605" y="1079"/>
                  <a:pt x="1596" y="1162"/>
                </a:cubicBezTo>
                <a:lnTo>
                  <a:pt x="1596" y="864"/>
                </a:lnTo>
                <a:cubicBezTo>
                  <a:pt x="1530" y="995"/>
                  <a:pt x="1463" y="1125"/>
                  <a:pt x="1397" y="1256"/>
                </a:cubicBezTo>
                <a:lnTo>
                  <a:pt x="1556" y="1597"/>
                </a:lnTo>
                <a:cubicBezTo>
                  <a:pt x="1543" y="1721"/>
                  <a:pt x="1531" y="1845"/>
                  <a:pt x="1518" y="1969"/>
                </a:cubicBezTo>
              </a:path>
            </a:pathLst>
          </a:custGeom>
          <a:solidFill>
            <a:schemeClr val="bg1"/>
          </a:solidFill>
          <a:ln w="12700" cap="rnd">
            <a:solidFill>
              <a:schemeClr val="accent3"/>
            </a:solidFill>
            <a:round/>
            <a:headEnd/>
            <a:tailEnd/>
          </a:ln>
        </p:spPr>
        <p:txBody>
          <a:bodyPr/>
          <a:lstStyle/>
          <a:p>
            <a:pPr>
              <a:defRPr/>
            </a:pPr>
            <a:endParaRPr lang="en-GB"/>
          </a:p>
        </p:txBody>
      </p:sp>
      <p:graphicFrame>
        <p:nvGraphicFramePr>
          <p:cNvPr id="236546" name="Rectangle 2" hidden="1"/>
          <p:cNvGraphicFramePr>
            <a:graphicFrameLocks/>
          </p:cNvGraphicFramePr>
          <p:nvPr>
            <p:custDataLst>
              <p:tags r:id="rId5"/>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8435" name="think-cell Slide" r:id="rId10" imgW="0" imgH="0" progId="">
                  <p:embed/>
                </p:oleObj>
              </mc:Choice>
              <mc:Fallback>
                <p:oleObj name="think-cell Slide" r:id="rId10"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6551" name="Text Placeholder 8"/>
          <p:cNvSpPr>
            <a:spLocks noGrp="1"/>
          </p:cNvSpPr>
          <p:nvPr>
            <p:ph type="body" sz="quarter" idx="4294967295"/>
            <p:custDataLst>
              <p:tags r:id="rId6"/>
            </p:custDataLst>
          </p:nvPr>
        </p:nvSpPr>
        <p:spPr bwMode="auto">
          <a:xfrm>
            <a:off x="1427956" y="1656408"/>
            <a:ext cx="2855913" cy="1524520"/>
          </a:xfrm>
          <a:noFill/>
          <a:ln>
            <a:miter lim="800000"/>
            <a:headEnd/>
            <a:tailEnd/>
          </a:ln>
        </p:spPr>
        <p:txBody>
          <a:bodyPr vert="horz" wrap="square" numCol="1" anchor="t" anchorCtr="0" compatLnSpc="1">
            <a:prstTxWarp prst="textNoShape">
              <a:avLst/>
            </a:prstTxWarp>
          </a:bodyPr>
          <a:lstStyle/>
          <a:p>
            <a:pPr marL="0" indent="0">
              <a:spcBef>
                <a:spcPts val="400"/>
              </a:spcBef>
            </a:pPr>
            <a:r>
              <a:rPr>
                <a:solidFill>
                  <a:srgbClr val="002776"/>
                </a:solidFill>
              </a:rPr>
              <a:t>Paragraph </a:t>
            </a:r>
            <a:r>
              <a:rPr smtClean="0">
                <a:solidFill>
                  <a:srgbClr val="002776"/>
                </a:solidFill>
              </a:rPr>
              <a:t/>
            </a:r>
            <a:br>
              <a:rPr smtClean="0">
                <a:solidFill>
                  <a:srgbClr val="002776"/>
                </a:solidFill>
              </a:rPr>
            </a:br>
            <a:r>
              <a:rPr smtClean="0">
                <a:solidFill>
                  <a:srgbClr val="002776"/>
                </a:solidFill>
              </a:rPr>
              <a:t>(</a:t>
            </a:r>
            <a:r>
              <a:rPr>
                <a:solidFill>
                  <a:srgbClr val="002776"/>
                </a:solidFill>
              </a:rPr>
              <a:t>if not needed, delete)</a:t>
            </a:r>
          </a:p>
          <a:p>
            <a:pPr lvl="1"/>
            <a:r>
              <a:rPr lang="en-GB" dirty="0">
                <a:solidFill>
                  <a:srgbClr val="002776"/>
                </a:solidFill>
              </a:rPr>
              <a:t>Bullet</a:t>
            </a:r>
          </a:p>
          <a:p>
            <a:pPr lvl="2"/>
            <a:r>
              <a:rPr lang="en-GB" dirty="0">
                <a:solidFill>
                  <a:srgbClr val="002776"/>
                </a:solidFill>
              </a:rPr>
              <a:t>Dash</a:t>
            </a:r>
          </a:p>
          <a:p>
            <a:pPr lvl="3"/>
            <a:r>
              <a:rPr lang="en-GB" dirty="0" err="1" smtClean="0">
                <a:solidFill>
                  <a:srgbClr val="002776"/>
                </a:solidFill>
              </a:rPr>
              <a:t>Subbullet</a:t>
            </a:r>
            <a:endParaRPr lang="en-GB" dirty="0">
              <a:solidFill>
                <a:srgbClr val="002776"/>
              </a:solidFill>
            </a:endParaRPr>
          </a:p>
        </p:txBody>
      </p:sp>
      <p:sp>
        <p:nvSpPr>
          <p:cNvPr id="236552" name="Text Placeholder 9"/>
          <p:cNvSpPr>
            <a:spLocks noGrp="1"/>
          </p:cNvSpPr>
          <p:nvPr>
            <p:ph type="body" sz="quarter" idx="4294967295"/>
            <p:custDataLst>
              <p:tags r:id="rId7"/>
            </p:custDataLst>
          </p:nvPr>
        </p:nvSpPr>
        <p:spPr bwMode="auto">
          <a:xfrm>
            <a:off x="5083229" y="1656408"/>
            <a:ext cx="2601912" cy="1524520"/>
          </a:xfrm>
          <a:noFill/>
          <a:ln>
            <a:miter lim="800000"/>
            <a:headEnd/>
            <a:tailEnd/>
          </a:ln>
        </p:spPr>
        <p:txBody>
          <a:bodyPr vert="horz" wrap="square" numCol="1" anchor="t" anchorCtr="0" compatLnSpc="1">
            <a:prstTxWarp prst="textNoShape">
              <a:avLst/>
            </a:prstTxWarp>
          </a:bodyPr>
          <a:lstStyle/>
          <a:p>
            <a:pPr marL="0" indent="0">
              <a:spcBef>
                <a:spcPts val="400"/>
              </a:spcBef>
            </a:pPr>
            <a:r>
              <a:rPr>
                <a:solidFill>
                  <a:schemeClr val="bg1"/>
                </a:solidFill>
              </a:rPr>
              <a:t>Paragraph </a:t>
            </a:r>
            <a:r>
              <a:rPr smtClean="0">
                <a:solidFill>
                  <a:schemeClr val="bg1"/>
                </a:solidFill>
              </a:rPr>
              <a:t/>
            </a:r>
            <a:br>
              <a:rPr smtClean="0">
                <a:solidFill>
                  <a:schemeClr val="bg1"/>
                </a:solidFill>
              </a:rPr>
            </a:br>
            <a:r>
              <a:rPr smtClean="0">
                <a:solidFill>
                  <a:schemeClr val="bg1"/>
                </a:solidFill>
              </a:rPr>
              <a:t>(</a:t>
            </a:r>
            <a:r>
              <a:rPr>
                <a:solidFill>
                  <a:schemeClr val="bg1"/>
                </a:solidFill>
              </a:rPr>
              <a:t>if not needed, delete)</a:t>
            </a:r>
          </a:p>
          <a:p>
            <a:pPr lvl="1"/>
            <a:r>
              <a:rPr>
                <a:solidFill>
                  <a:schemeClr val="bg1"/>
                </a:solidFill>
              </a:rPr>
              <a:t>Bullet</a:t>
            </a:r>
          </a:p>
          <a:p>
            <a:pPr lvl="2"/>
            <a:r>
              <a:rPr>
                <a:solidFill>
                  <a:schemeClr val="bg1"/>
                </a:solidFill>
              </a:rPr>
              <a:t>Dash</a:t>
            </a:r>
          </a:p>
          <a:p>
            <a:pPr lvl="3"/>
            <a:r>
              <a:rPr lang="en-US" dirty="0" err="1" smtClean="0">
                <a:solidFill>
                  <a:schemeClr val="bg1"/>
                </a:solidFill>
              </a:rPr>
              <a:t>Subbullet</a:t>
            </a:r>
            <a:endParaRPr>
              <a:solidFill>
                <a:schemeClr val="bg1"/>
              </a:solidFill>
            </a:endParaRPr>
          </a:p>
        </p:txBody>
      </p:sp>
      <p:sp>
        <p:nvSpPr>
          <p:cNvPr id="12" name="Text Placeholder 12"/>
          <p:cNvSpPr>
            <a:spLocks/>
          </p:cNvSpPr>
          <p:nvPr>
            <p:custDataLst>
              <p:tags r:id="rId8"/>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2" name="Title 1"/>
          <p:cNvSpPr>
            <a:spLocks noGrp="1"/>
          </p:cNvSpPr>
          <p:nvPr>
            <p:ph type="title"/>
            <p:custDataLst>
              <p:tags r:id="rId2"/>
            </p:custDataLst>
          </p:nvPr>
        </p:nvSpPr>
        <p:spPr>
          <a:xfrm>
            <a:off x="414338" y="446038"/>
            <a:ext cx="8330184" cy="333425"/>
          </a:xfrm>
        </p:spPr>
        <p:txBody>
          <a:bodyPr/>
          <a:lstStyle/>
          <a:p>
            <a:r>
              <a:rPr lang="nl-NL"/>
              <a:t>Text blocks </a:t>
            </a:r>
            <a:r>
              <a:rPr lang="en-US"/>
              <a:t>—</a:t>
            </a:r>
            <a:r>
              <a:rPr lang="nl-NL" smtClean="0"/>
              <a:t> </a:t>
            </a:r>
            <a:r>
              <a:rPr lang="nl-NL"/>
              <a:t>coupled vertical</a:t>
            </a:r>
          </a:p>
        </p:txBody>
      </p:sp>
      <p:sp>
        <p:nvSpPr>
          <p:cNvPr id="9" name="Freeform 3"/>
          <p:cNvSpPr>
            <a:spLocks/>
          </p:cNvSpPr>
          <p:nvPr>
            <p:custDataLst>
              <p:tags r:id="rId3"/>
            </p:custDataLst>
          </p:nvPr>
        </p:nvSpPr>
        <p:spPr bwMode="blackWhite">
          <a:xfrm>
            <a:off x="2322513" y="1602297"/>
            <a:ext cx="4392612" cy="3268662"/>
          </a:xfrm>
          <a:custGeom>
            <a:avLst/>
            <a:gdLst>
              <a:gd name="T0" fmla="*/ 2147483647 w 2543"/>
              <a:gd name="T1" fmla="*/ 2147483647 h 1799"/>
              <a:gd name="T2" fmla="*/ 2147483647 w 2543"/>
              <a:gd name="T3" fmla="*/ 2147483647 h 1799"/>
              <a:gd name="T4" fmla="*/ 2147483647 w 2543"/>
              <a:gd name="T5" fmla="*/ 2147483647 h 1799"/>
              <a:gd name="T6" fmla="*/ 2147483647 w 2543"/>
              <a:gd name="T7" fmla="*/ 2147483647 h 1799"/>
              <a:gd name="T8" fmla="*/ 2147483647 w 2543"/>
              <a:gd name="T9" fmla="*/ 2147483647 h 1799"/>
              <a:gd name="T10" fmla="*/ 2147483647 w 2543"/>
              <a:gd name="T11" fmla="*/ 2147483647 h 1799"/>
              <a:gd name="T12" fmla="*/ 2147483647 w 2543"/>
              <a:gd name="T13" fmla="*/ 2147483647 h 1799"/>
              <a:gd name="T14" fmla="*/ 0 w 2543"/>
              <a:gd name="T15" fmla="*/ 2147483647 h 1799"/>
              <a:gd name="T16" fmla="*/ 0 w 2543"/>
              <a:gd name="T17" fmla="*/ 0 h 1799"/>
              <a:gd name="T18" fmla="*/ 2147483647 w 2543"/>
              <a:gd name="T19" fmla="*/ 0 h 1799"/>
              <a:gd name="T20" fmla="*/ 2147483647 w 2543"/>
              <a:gd name="T21" fmla="*/ 2147483647 h 1799"/>
              <a:gd name="T22" fmla="*/ 2147483647 w 2543"/>
              <a:gd name="T23" fmla="*/ 2147483647 h 1799"/>
              <a:gd name="T24" fmla="*/ 2147483647 w 2543"/>
              <a:gd name="T25" fmla="*/ 2147483647 h 1799"/>
              <a:gd name="T26" fmla="*/ 2147483647 w 2543"/>
              <a:gd name="T27" fmla="*/ 2147483647 h 1799"/>
              <a:gd name="T28" fmla="*/ 2147483647 w 2543"/>
              <a:gd name="T29" fmla="*/ 2147483647 h 1799"/>
              <a:gd name="T30" fmla="*/ 2147483647 w 2543"/>
              <a:gd name="T31" fmla="*/ 2147483647 h 1799"/>
              <a:gd name="T32" fmla="*/ 2147483647 w 2543"/>
              <a:gd name="T33" fmla="*/ 2147483647 h 1799"/>
              <a:gd name="T34" fmla="*/ 2147483647 w 2543"/>
              <a:gd name="T35" fmla="*/ 2147483647 h 1799"/>
              <a:gd name="T36" fmla="*/ 2147483647 w 2543"/>
              <a:gd name="T37" fmla="*/ 2147483647 h 179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43"/>
              <a:gd name="T58" fmla="*/ 0 h 1799"/>
              <a:gd name="T59" fmla="*/ 2543 w 2543"/>
              <a:gd name="T60" fmla="*/ 1799 h 179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43" h="1799">
                <a:moveTo>
                  <a:pt x="839" y="1015"/>
                </a:moveTo>
                <a:lnTo>
                  <a:pt x="839" y="1678"/>
                </a:lnTo>
                <a:lnTo>
                  <a:pt x="943" y="1678"/>
                </a:lnTo>
                <a:lnTo>
                  <a:pt x="719" y="1798"/>
                </a:lnTo>
                <a:lnTo>
                  <a:pt x="496" y="1678"/>
                </a:lnTo>
                <a:lnTo>
                  <a:pt x="608" y="1678"/>
                </a:lnTo>
                <a:lnTo>
                  <a:pt x="608" y="999"/>
                </a:lnTo>
                <a:lnTo>
                  <a:pt x="0" y="959"/>
                </a:lnTo>
                <a:lnTo>
                  <a:pt x="0" y="0"/>
                </a:lnTo>
                <a:lnTo>
                  <a:pt x="2542" y="0"/>
                </a:lnTo>
                <a:lnTo>
                  <a:pt x="2542" y="1127"/>
                </a:lnTo>
                <a:lnTo>
                  <a:pt x="2086" y="1103"/>
                </a:lnTo>
                <a:lnTo>
                  <a:pt x="2086" y="504"/>
                </a:lnTo>
                <a:lnTo>
                  <a:pt x="2190" y="504"/>
                </a:lnTo>
                <a:lnTo>
                  <a:pt x="1974" y="392"/>
                </a:lnTo>
                <a:lnTo>
                  <a:pt x="1751" y="504"/>
                </a:lnTo>
                <a:lnTo>
                  <a:pt x="1855" y="504"/>
                </a:lnTo>
                <a:lnTo>
                  <a:pt x="1855" y="1087"/>
                </a:lnTo>
                <a:lnTo>
                  <a:pt x="839" y="1015"/>
                </a:lnTo>
              </a:path>
            </a:pathLst>
          </a:custGeom>
          <a:solidFill>
            <a:schemeClr val="bg1"/>
          </a:solidFill>
          <a:ln w="12700" cap="rnd">
            <a:solidFill>
              <a:schemeClr val="accent3"/>
            </a:solidFill>
            <a:round/>
            <a:headEnd/>
            <a:tailEnd/>
          </a:ln>
        </p:spPr>
        <p:txBody>
          <a:bodyPr lIns="91438" tIns="45719" rIns="91438" bIns="45719"/>
          <a:lstStyle/>
          <a:p>
            <a:pPr>
              <a:defRPr/>
            </a:pPr>
            <a:endParaRPr lang="en-GB"/>
          </a:p>
        </p:txBody>
      </p:sp>
      <p:sp>
        <p:nvSpPr>
          <p:cNvPr id="10" name="Freeform 4"/>
          <p:cNvSpPr>
            <a:spLocks/>
          </p:cNvSpPr>
          <p:nvPr>
            <p:custDataLst>
              <p:tags r:id="rId4"/>
            </p:custDataLst>
          </p:nvPr>
        </p:nvSpPr>
        <p:spPr bwMode="blackWhite">
          <a:xfrm>
            <a:off x="2319338" y="2300797"/>
            <a:ext cx="4394200" cy="3254375"/>
          </a:xfrm>
          <a:custGeom>
            <a:avLst/>
            <a:gdLst>
              <a:gd name="T0" fmla="*/ 2147483647 w 2543"/>
              <a:gd name="T1" fmla="*/ 2147483647 h 1791"/>
              <a:gd name="T2" fmla="*/ 2147483647 w 2543"/>
              <a:gd name="T3" fmla="*/ 2147483647 h 1791"/>
              <a:gd name="T4" fmla="*/ 2147483647 w 2543"/>
              <a:gd name="T5" fmla="*/ 2147483647 h 1791"/>
              <a:gd name="T6" fmla="*/ 2147483647 w 2543"/>
              <a:gd name="T7" fmla="*/ 0 h 1791"/>
              <a:gd name="T8" fmla="*/ 2147483647 w 2543"/>
              <a:gd name="T9" fmla="*/ 2147483647 h 1791"/>
              <a:gd name="T10" fmla="*/ 2147483647 w 2543"/>
              <a:gd name="T11" fmla="*/ 2147483647 h 1791"/>
              <a:gd name="T12" fmla="*/ 2147483647 w 2543"/>
              <a:gd name="T13" fmla="*/ 2147483647 h 1791"/>
              <a:gd name="T14" fmla="*/ 2147483647 w 2543"/>
              <a:gd name="T15" fmla="*/ 2147483647 h 1791"/>
              <a:gd name="T16" fmla="*/ 2147483647 w 2543"/>
              <a:gd name="T17" fmla="*/ 2147483647 h 1791"/>
              <a:gd name="T18" fmla="*/ 0 w 2543"/>
              <a:gd name="T19" fmla="*/ 2147483647 h 1791"/>
              <a:gd name="T20" fmla="*/ 0 w 2543"/>
              <a:gd name="T21" fmla="*/ 2147483647 h 1791"/>
              <a:gd name="T22" fmla="*/ 2147483647 w 2543"/>
              <a:gd name="T23" fmla="*/ 2147483647 h 1791"/>
              <a:gd name="T24" fmla="*/ 2147483647 w 2543"/>
              <a:gd name="T25" fmla="*/ 2147483647 h 1791"/>
              <a:gd name="T26" fmla="*/ 2147483647 w 2543"/>
              <a:gd name="T27" fmla="*/ 2147483647 h 1791"/>
              <a:gd name="T28" fmla="*/ 2147483647 w 2543"/>
              <a:gd name="T29" fmla="*/ 2147483647 h 1791"/>
              <a:gd name="T30" fmla="*/ 2147483647 w 2543"/>
              <a:gd name="T31" fmla="*/ 2147483647 h 1791"/>
              <a:gd name="T32" fmla="*/ 2147483647 w 2543"/>
              <a:gd name="T33" fmla="*/ 2147483647 h 1791"/>
              <a:gd name="T34" fmla="*/ 2147483647 w 2543"/>
              <a:gd name="T35" fmla="*/ 2147483647 h 1791"/>
              <a:gd name="T36" fmla="*/ 2147483647 w 2543"/>
              <a:gd name="T37" fmla="*/ 2147483647 h 179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43"/>
              <a:gd name="T58" fmla="*/ 0 h 1791"/>
              <a:gd name="T59" fmla="*/ 2543 w 2543"/>
              <a:gd name="T60" fmla="*/ 1791 h 179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43" h="1791">
                <a:moveTo>
                  <a:pt x="1855" y="783"/>
                </a:moveTo>
                <a:lnTo>
                  <a:pt x="1855" y="120"/>
                </a:lnTo>
                <a:lnTo>
                  <a:pt x="1751" y="120"/>
                </a:lnTo>
                <a:lnTo>
                  <a:pt x="1974" y="0"/>
                </a:lnTo>
                <a:lnTo>
                  <a:pt x="2190" y="120"/>
                </a:lnTo>
                <a:lnTo>
                  <a:pt x="2086" y="120"/>
                </a:lnTo>
                <a:lnTo>
                  <a:pt x="2086" y="799"/>
                </a:lnTo>
                <a:lnTo>
                  <a:pt x="2542" y="831"/>
                </a:lnTo>
                <a:lnTo>
                  <a:pt x="2542" y="1790"/>
                </a:lnTo>
                <a:lnTo>
                  <a:pt x="0" y="1790"/>
                </a:lnTo>
                <a:lnTo>
                  <a:pt x="0" y="663"/>
                </a:lnTo>
                <a:lnTo>
                  <a:pt x="608" y="703"/>
                </a:lnTo>
                <a:lnTo>
                  <a:pt x="608" y="1294"/>
                </a:lnTo>
                <a:lnTo>
                  <a:pt x="496" y="1294"/>
                </a:lnTo>
                <a:lnTo>
                  <a:pt x="719" y="1406"/>
                </a:lnTo>
                <a:lnTo>
                  <a:pt x="943" y="1294"/>
                </a:lnTo>
                <a:lnTo>
                  <a:pt x="839" y="1294"/>
                </a:lnTo>
                <a:lnTo>
                  <a:pt x="839" y="711"/>
                </a:lnTo>
                <a:lnTo>
                  <a:pt x="1855" y="783"/>
                </a:lnTo>
              </a:path>
            </a:pathLst>
          </a:custGeom>
          <a:solidFill>
            <a:schemeClr val="accent3"/>
          </a:solidFill>
          <a:ln w="12700" cap="rnd">
            <a:solidFill>
              <a:schemeClr val="accent3"/>
            </a:solidFill>
            <a:round/>
            <a:headEnd/>
            <a:tailEnd/>
          </a:ln>
        </p:spPr>
        <p:txBody>
          <a:bodyPr lIns="91438" tIns="45719" rIns="91438" bIns="45719"/>
          <a:lstStyle/>
          <a:p>
            <a:pPr>
              <a:defRPr/>
            </a:pPr>
            <a:endParaRPr lang="en-GB"/>
          </a:p>
        </p:txBody>
      </p:sp>
      <p:graphicFrame>
        <p:nvGraphicFramePr>
          <p:cNvPr id="237570" name="Rectangle 2" hidden="1"/>
          <p:cNvGraphicFramePr>
            <a:graphicFrameLocks/>
          </p:cNvGraphicFramePr>
          <p:nvPr>
            <p:custDataLst>
              <p:tags r:id="rId5"/>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9459" name="think-cell Slide" r:id="rId10" imgW="0" imgH="0" progId="">
                  <p:embed/>
                </p:oleObj>
              </mc:Choice>
              <mc:Fallback>
                <p:oleObj name="think-cell Slide" r:id="rId10"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7575" name="Text Placeholder 10"/>
          <p:cNvSpPr>
            <a:spLocks noGrp="1"/>
          </p:cNvSpPr>
          <p:nvPr>
            <p:ph type="body" sz="quarter" idx="4294967295"/>
            <p:custDataLst>
              <p:tags r:id="rId6"/>
            </p:custDataLst>
          </p:nvPr>
        </p:nvSpPr>
        <p:spPr bwMode="auto">
          <a:xfrm>
            <a:off x="2403634" y="1667836"/>
            <a:ext cx="2855913" cy="1524000"/>
          </a:xfrm>
          <a:noFill/>
          <a:ln>
            <a:miter lim="800000"/>
            <a:headEnd/>
            <a:tailEnd/>
          </a:ln>
        </p:spPr>
        <p:txBody>
          <a:bodyPr vert="horz" wrap="square" numCol="1" anchor="t" anchorCtr="0" compatLnSpc="1">
            <a:prstTxWarp prst="textNoShape">
              <a:avLst/>
            </a:prstTxWarp>
          </a:bodyPr>
          <a:lstStyle/>
          <a:p>
            <a:pPr marL="0" indent="0">
              <a:spcBef>
                <a:spcPts val="400"/>
              </a:spcBef>
            </a:pPr>
            <a:r>
              <a:rPr>
                <a:solidFill>
                  <a:srgbClr val="002776"/>
                </a:solidFill>
              </a:rPr>
              <a:t>Paragraph </a:t>
            </a:r>
            <a:r>
              <a:rPr smtClean="0">
                <a:solidFill>
                  <a:srgbClr val="002776"/>
                </a:solidFill>
              </a:rPr>
              <a:t/>
            </a:r>
            <a:br>
              <a:rPr smtClean="0">
                <a:solidFill>
                  <a:srgbClr val="002776"/>
                </a:solidFill>
              </a:rPr>
            </a:br>
            <a:r>
              <a:rPr smtClean="0">
                <a:solidFill>
                  <a:srgbClr val="002776"/>
                </a:solidFill>
              </a:rPr>
              <a:t>(</a:t>
            </a:r>
            <a:r>
              <a:rPr>
                <a:solidFill>
                  <a:srgbClr val="002776"/>
                </a:solidFill>
              </a:rPr>
              <a:t>if not needed, delete)</a:t>
            </a:r>
          </a:p>
          <a:p>
            <a:pPr lvl="1"/>
            <a:r>
              <a:rPr>
                <a:solidFill>
                  <a:srgbClr val="002776"/>
                </a:solidFill>
              </a:rPr>
              <a:t>Bullet</a:t>
            </a:r>
          </a:p>
          <a:p>
            <a:pPr lvl="2"/>
            <a:r>
              <a:rPr>
                <a:solidFill>
                  <a:srgbClr val="002776"/>
                </a:solidFill>
              </a:rPr>
              <a:t>Dash</a:t>
            </a:r>
          </a:p>
          <a:p>
            <a:pPr lvl="3"/>
            <a:r>
              <a:rPr lang="en-US" dirty="0" err="1" smtClean="0">
                <a:solidFill>
                  <a:srgbClr val="002776"/>
                </a:solidFill>
              </a:rPr>
              <a:t>Subbullet</a:t>
            </a:r>
            <a:endParaRPr>
              <a:solidFill>
                <a:srgbClr val="002776"/>
              </a:solidFill>
            </a:endParaRPr>
          </a:p>
        </p:txBody>
      </p:sp>
      <p:sp>
        <p:nvSpPr>
          <p:cNvPr id="237576" name="Text Placeholder 11"/>
          <p:cNvSpPr>
            <a:spLocks noGrp="1"/>
          </p:cNvSpPr>
          <p:nvPr>
            <p:ph type="body" sz="quarter" idx="4294967295"/>
            <p:custDataLst>
              <p:tags r:id="rId7"/>
            </p:custDataLst>
          </p:nvPr>
        </p:nvSpPr>
        <p:spPr bwMode="auto">
          <a:xfrm>
            <a:off x="4013359" y="3878772"/>
            <a:ext cx="2492375" cy="1805623"/>
          </a:xfrm>
          <a:noFill/>
          <a:ln>
            <a:miter lim="800000"/>
            <a:headEnd/>
            <a:tailEnd/>
          </a:ln>
        </p:spPr>
        <p:txBody>
          <a:bodyPr vert="horz" wrap="square" numCol="1" anchor="t" anchorCtr="0" compatLnSpc="1">
            <a:prstTxWarp prst="textNoShape">
              <a:avLst/>
            </a:prstTxWarp>
          </a:bodyPr>
          <a:lstStyle/>
          <a:p>
            <a:pPr marL="0" indent="0">
              <a:spcBef>
                <a:spcPts val="400"/>
              </a:spcBef>
            </a:pPr>
            <a:r>
              <a:rPr>
                <a:solidFill>
                  <a:schemeClr val="bg1"/>
                </a:solidFill>
              </a:rPr>
              <a:t>Paragraph </a:t>
            </a:r>
            <a:r>
              <a:rPr smtClean="0">
                <a:solidFill>
                  <a:schemeClr val="bg1"/>
                </a:solidFill>
              </a:rPr>
              <a:t/>
            </a:r>
            <a:br>
              <a:rPr smtClean="0">
                <a:solidFill>
                  <a:schemeClr val="bg1"/>
                </a:solidFill>
              </a:rPr>
            </a:br>
            <a:r>
              <a:rPr smtClean="0">
                <a:solidFill>
                  <a:schemeClr val="bg1"/>
                </a:solidFill>
              </a:rPr>
              <a:t>(</a:t>
            </a:r>
            <a:r>
              <a:rPr>
                <a:solidFill>
                  <a:schemeClr val="bg1"/>
                </a:solidFill>
              </a:rPr>
              <a:t>if not needed, delete)</a:t>
            </a:r>
          </a:p>
          <a:p>
            <a:pPr lvl="1"/>
            <a:r>
              <a:rPr>
                <a:solidFill>
                  <a:schemeClr val="bg1"/>
                </a:solidFill>
              </a:rPr>
              <a:t>Bullet</a:t>
            </a:r>
          </a:p>
          <a:p>
            <a:pPr lvl="2"/>
            <a:r>
              <a:rPr>
                <a:solidFill>
                  <a:schemeClr val="bg1"/>
                </a:solidFill>
              </a:rPr>
              <a:t>Dash</a:t>
            </a:r>
          </a:p>
          <a:p>
            <a:pPr lvl="3"/>
            <a:r>
              <a:rPr lang="en-US" err="1" smtClean="0">
                <a:solidFill>
                  <a:schemeClr val="bg1"/>
                </a:solidFill>
              </a:rPr>
              <a:t>Subbullet</a:t>
            </a:r>
            <a:endParaRPr>
              <a:solidFill>
                <a:schemeClr val="bg1"/>
              </a:solidFill>
            </a:endParaRPr>
          </a:p>
          <a:p>
            <a:pPr marL="0" indent="0">
              <a:spcBef>
                <a:spcPts val="400"/>
              </a:spcBef>
            </a:pPr>
            <a:endParaRPr lang="nl-NL">
              <a:solidFill>
                <a:schemeClr val="bg1"/>
              </a:solidFill>
            </a:endParaRPr>
          </a:p>
        </p:txBody>
      </p:sp>
      <p:sp>
        <p:nvSpPr>
          <p:cNvPr id="13" name="Text Placeholder 12"/>
          <p:cNvSpPr>
            <a:spLocks/>
          </p:cNvSpPr>
          <p:nvPr>
            <p:custDataLst>
              <p:tags r:id="rId8"/>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1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6" name="Title 1"/>
          <p:cNvSpPr>
            <a:spLocks noGrp="1"/>
          </p:cNvSpPr>
          <p:nvPr>
            <p:ph type="title"/>
            <p:custDataLst>
              <p:tags r:id="rId2"/>
            </p:custDataLst>
          </p:nvPr>
        </p:nvSpPr>
        <p:spPr>
          <a:xfrm>
            <a:off x="414338" y="454664"/>
            <a:ext cx="8330184" cy="333425"/>
          </a:xfrm>
        </p:spPr>
        <p:txBody>
          <a:bodyPr/>
          <a:lstStyle/>
          <a:p>
            <a:r>
              <a:rPr lang="nl-NL" dirty="0"/>
              <a:t>Text blocks </a:t>
            </a:r>
            <a:r>
              <a:rPr lang="en-US" dirty="0"/>
              <a:t>—</a:t>
            </a:r>
            <a:r>
              <a:rPr lang="nl-NL" dirty="0" smtClean="0"/>
              <a:t> </a:t>
            </a:r>
            <a:r>
              <a:rPr lang="nl-NL" dirty="0"/>
              <a:t>working together</a:t>
            </a:r>
          </a:p>
        </p:txBody>
      </p:sp>
      <p:sp>
        <p:nvSpPr>
          <p:cNvPr id="4" name="Rectangle 3"/>
          <p:cNvSpPr>
            <a:spLocks noChangeArrowheads="1"/>
          </p:cNvSpPr>
          <p:nvPr>
            <p:custDataLst>
              <p:tags r:id="rId3"/>
            </p:custDataLst>
          </p:nvPr>
        </p:nvSpPr>
        <p:spPr bwMode="auto">
          <a:xfrm>
            <a:off x="1498242" y="3232914"/>
            <a:ext cx="6089578" cy="2070100"/>
          </a:xfrm>
          <a:prstGeom prst="rect">
            <a:avLst/>
          </a:prstGeom>
          <a:solidFill>
            <a:schemeClr val="accent3"/>
          </a:solidFill>
          <a:ln w="12700" algn="ctr">
            <a:solidFill>
              <a:schemeClr val="accent3"/>
            </a:solidFill>
            <a:miter lim="800000"/>
            <a:headEnd type="none" w="sm" len="sm"/>
            <a:tailEnd type="none" w="sm" len="sm"/>
          </a:ln>
        </p:spPr>
        <p:txBody>
          <a:bodyPr tIns="91440" bIns="91440" anchor="ctr"/>
          <a:lstStyle/>
          <a:p>
            <a:pPr algn="ctr">
              <a:defRPr/>
            </a:pPr>
            <a:endParaRPr lang="en-GB" sz="1400"/>
          </a:p>
        </p:txBody>
      </p:sp>
      <p:sp>
        <p:nvSpPr>
          <p:cNvPr id="5" name="AutoShape 4"/>
          <p:cNvSpPr>
            <a:spLocks noChangeArrowheads="1"/>
          </p:cNvSpPr>
          <p:nvPr>
            <p:custDataLst>
              <p:tags r:id="rId4"/>
            </p:custDataLst>
          </p:nvPr>
        </p:nvSpPr>
        <p:spPr bwMode="auto">
          <a:xfrm rot="5400000">
            <a:off x="3571481" y="-480212"/>
            <a:ext cx="1936750" cy="6083228"/>
          </a:xfrm>
          <a:prstGeom prst="rightArrowCallout">
            <a:avLst>
              <a:gd name="adj1" fmla="val 44937"/>
              <a:gd name="adj2" fmla="val 36895"/>
              <a:gd name="adj3" fmla="val 9009"/>
              <a:gd name="adj4" fmla="val 85060"/>
            </a:avLst>
          </a:prstGeom>
          <a:solidFill>
            <a:schemeClr val="bg1"/>
          </a:solidFill>
          <a:ln w="12700" algn="ctr">
            <a:solidFill>
              <a:schemeClr val="accent3"/>
            </a:solidFill>
            <a:miter lim="800000"/>
            <a:headEnd type="none" w="sm" len="sm"/>
            <a:tailEnd type="none" w="sm" len="sm"/>
          </a:ln>
        </p:spPr>
        <p:txBody>
          <a:bodyPr rot="10800000" vert="eaVert" tIns="91440" bIns="91440" anchor="ctr"/>
          <a:lstStyle/>
          <a:p>
            <a:pPr algn="ctr">
              <a:defRPr/>
            </a:pPr>
            <a:endParaRPr lang="en-GB" sz="1400"/>
          </a:p>
        </p:txBody>
      </p:sp>
      <p:sp>
        <p:nvSpPr>
          <p:cNvPr id="6" name="AutoShape 5"/>
          <p:cNvSpPr>
            <a:spLocks noChangeArrowheads="1"/>
          </p:cNvSpPr>
          <p:nvPr>
            <p:custDataLst>
              <p:tags r:id="rId5"/>
            </p:custDataLst>
          </p:nvPr>
        </p:nvSpPr>
        <p:spPr bwMode="auto">
          <a:xfrm rot="5400000" flipH="1">
            <a:off x="4365963" y="2369653"/>
            <a:ext cx="348712" cy="1377810"/>
          </a:xfrm>
          <a:prstGeom prst="rightArrow">
            <a:avLst>
              <a:gd name="adj1" fmla="val 61444"/>
              <a:gd name="adj2" fmla="val 59755"/>
            </a:avLst>
          </a:prstGeom>
          <a:solidFill>
            <a:schemeClr val="accent3"/>
          </a:solidFill>
          <a:ln w="12700" algn="ctr">
            <a:noFill/>
            <a:miter lim="800000"/>
            <a:headEnd type="none" w="sm" len="sm"/>
            <a:tailEnd type="none" w="sm" len="sm"/>
          </a:ln>
        </p:spPr>
        <p:txBody>
          <a:bodyPr rot="10800000" vert="eaVert" tIns="91440" bIns="91440" anchor="ctr"/>
          <a:lstStyle/>
          <a:p>
            <a:pPr algn="ctr">
              <a:defRPr/>
            </a:pPr>
            <a:endParaRPr lang="en-GB" sz="1400"/>
          </a:p>
        </p:txBody>
      </p:sp>
      <p:graphicFrame>
        <p:nvGraphicFramePr>
          <p:cNvPr id="238594" name="Rectangle 2" hidden="1"/>
          <p:cNvGraphicFramePr>
            <a:graphicFrameLocks/>
          </p:cNvGraphicFramePr>
          <p:nvPr>
            <p:custDataLst>
              <p:tags r:id="rId6"/>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0483" name="think-cell Slide" r:id="rId11" imgW="0" imgH="0" progId="">
                  <p:embed/>
                </p:oleObj>
              </mc:Choice>
              <mc:Fallback>
                <p:oleObj name="think-cell Slide" r:id="rId11"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8600" name="Text Placeholder 8"/>
          <p:cNvSpPr>
            <a:spLocks noGrp="1"/>
          </p:cNvSpPr>
          <p:nvPr>
            <p:ph type="body" sz="quarter" idx="4294967295"/>
            <p:custDataLst>
              <p:tags r:id="rId7"/>
            </p:custDataLst>
          </p:nvPr>
        </p:nvSpPr>
        <p:spPr bwMode="auto">
          <a:xfrm>
            <a:off x="1591614" y="1691452"/>
            <a:ext cx="5956300" cy="1247521"/>
          </a:xfrm>
          <a:noFill/>
          <a:ln>
            <a:miter lim="800000"/>
            <a:headEnd/>
            <a:tailEnd/>
          </a:ln>
        </p:spPr>
        <p:txBody>
          <a:bodyPr vert="horz" wrap="square" numCol="1" anchor="t" anchorCtr="0" compatLnSpc="1">
            <a:prstTxWarp prst="textNoShape">
              <a:avLst/>
            </a:prstTxWarp>
          </a:bodyPr>
          <a:lstStyle/>
          <a:p>
            <a:pPr marL="0" indent="0">
              <a:spcBef>
                <a:spcPts val="400"/>
              </a:spcBef>
            </a:pPr>
            <a:r>
              <a:rPr>
                <a:solidFill>
                  <a:srgbClr val="002776"/>
                </a:solidFill>
              </a:rPr>
              <a:t>Paragraph (if not needed, delete)</a:t>
            </a:r>
          </a:p>
          <a:p>
            <a:pPr lvl="1"/>
            <a:r>
              <a:rPr>
                <a:solidFill>
                  <a:srgbClr val="002776"/>
                </a:solidFill>
              </a:rPr>
              <a:t>Bullet</a:t>
            </a:r>
          </a:p>
          <a:p>
            <a:pPr lvl="2"/>
            <a:r>
              <a:rPr>
                <a:solidFill>
                  <a:srgbClr val="002776"/>
                </a:solidFill>
              </a:rPr>
              <a:t>Dash</a:t>
            </a:r>
          </a:p>
          <a:p>
            <a:pPr lvl="3"/>
            <a:r>
              <a:rPr lang="en-US" dirty="0" err="1" smtClean="0">
                <a:solidFill>
                  <a:srgbClr val="002776"/>
                </a:solidFill>
              </a:rPr>
              <a:t>Subbullet</a:t>
            </a:r>
            <a:endParaRPr>
              <a:solidFill>
                <a:srgbClr val="002776"/>
              </a:solidFill>
            </a:endParaRPr>
          </a:p>
        </p:txBody>
      </p:sp>
      <p:sp>
        <p:nvSpPr>
          <p:cNvPr id="238601" name="Text Placeholder 9"/>
          <p:cNvSpPr>
            <a:spLocks noGrp="1"/>
          </p:cNvSpPr>
          <p:nvPr>
            <p:ph type="body" sz="quarter" idx="4294967295"/>
            <p:custDataLst>
              <p:tags r:id="rId8"/>
            </p:custDataLst>
          </p:nvPr>
        </p:nvSpPr>
        <p:spPr bwMode="auto">
          <a:xfrm>
            <a:off x="1666227" y="3731389"/>
            <a:ext cx="5881687" cy="1247521"/>
          </a:xfrm>
          <a:noFill/>
          <a:ln>
            <a:miter lim="800000"/>
            <a:headEnd/>
            <a:tailEnd/>
          </a:ln>
        </p:spPr>
        <p:txBody>
          <a:bodyPr vert="horz" wrap="square" numCol="1" anchor="t" anchorCtr="0" compatLnSpc="1">
            <a:prstTxWarp prst="textNoShape">
              <a:avLst/>
            </a:prstTxWarp>
          </a:bodyPr>
          <a:lstStyle/>
          <a:p>
            <a:pPr marL="0" indent="0">
              <a:spcBef>
                <a:spcPts val="400"/>
              </a:spcBef>
            </a:pPr>
            <a:r>
              <a:rPr>
                <a:solidFill>
                  <a:schemeClr val="bg1"/>
                </a:solidFill>
              </a:rPr>
              <a:t>Paragraph (if not needed, delete)</a:t>
            </a:r>
          </a:p>
          <a:p>
            <a:pPr lvl="1"/>
            <a:r>
              <a:rPr>
                <a:solidFill>
                  <a:schemeClr val="bg1"/>
                </a:solidFill>
              </a:rPr>
              <a:t>Bullet</a:t>
            </a:r>
          </a:p>
          <a:p>
            <a:pPr lvl="2"/>
            <a:r>
              <a:rPr>
                <a:solidFill>
                  <a:schemeClr val="bg1"/>
                </a:solidFill>
              </a:rPr>
              <a:t>Dash</a:t>
            </a:r>
          </a:p>
          <a:p>
            <a:pPr lvl="3"/>
            <a:r>
              <a:rPr lang="en-US" err="1" smtClean="0">
                <a:solidFill>
                  <a:schemeClr val="bg1"/>
                </a:solidFill>
              </a:rPr>
              <a:t>Subbullet</a:t>
            </a:r>
            <a:endParaRPr>
              <a:solidFill>
                <a:schemeClr val="bg1"/>
              </a:solidFill>
            </a:endParaRPr>
          </a:p>
        </p:txBody>
      </p:sp>
      <p:sp>
        <p:nvSpPr>
          <p:cNvPr id="12" name="Text Placeholder 12"/>
          <p:cNvSpPr>
            <a:spLocks/>
          </p:cNvSpPr>
          <p:nvPr>
            <p:custDataLst>
              <p:tags r:id="rId9"/>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1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a:spLocks noChangeArrowheads="1"/>
          </p:cNvSpPr>
          <p:nvPr/>
        </p:nvSpPr>
        <p:spPr bwMode="auto">
          <a:xfrm>
            <a:off x="3760788" y="2792922"/>
            <a:ext cx="1546225" cy="1530350"/>
          </a:xfrm>
          <a:prstGeom prst="ellipse">
            <a:avLst/>
          </a:prstGeom>
          <a:solidFill>
            <a:schemeClr val="accent3"/>
          </a:solidFill>
          <a:ln w="12700" algn="ctr">
            <a:solidFill>
              <a:schemeClr val="bg1"/>
            </a:solidFill>
            <a:round/>
            <a:headEnd/>
            <a:tailEnd/>
          </a:ln>
        </p:spPr>
        <p:txBody>
          <a:bodyPr tIns="91440" bIns="91440" anchor="ctr"/>
          <a:lstStyle/>
          <a:p>
            <a:pPr algn="ctr">
              <a:defRPr/>
            </a:pPr>
            <a:r>
              <a:rPr lang="en-GB" sz="1400" b="1">
                <a:solidFill>
                  <a:schemeClr val="bg1"/>
                </a:solidFill>
                <a:ea typeface="ＭＳ Ｐゴシック" pitchFamily="50" charset="-128"/>
              </a:rPr>
              <a:t>Text</a:t>
            </a:r>
          </a:p>
        </p:txBody>
      </p:sp>
      <p:sp>
        <p:nvSpPr>
          <p:cNvPr id="5" name="AutoShape 4"/>
          <p:cNvSpPr>
            <a:spLocks noChangeArrowheads="1"/>
          </p:cNvSpPr>
          <p:nvPr/>
        </p:nvSpPr>
        <p:spPr bwMode="gray">
          <a:xfrm>
            <a:off x="384175" y="1602297"/>
            <a:ext cx="3617913" cy="3913188"/>
          </a:xfrm>
          <a:prstGeom prst="homePlate">
            <a:avLst>
              <a:gd name="adj" fmla="val 8101"/>
            </a:avLst>
          </a:prstGeom>
          <a:solidFill>
            <a:schemeClr val="bg1"/>
          </a:solidFill>
          <a:ln w="12700" algn="ctr">
            <a:solidFill>
              <a:schemeClr val="accent3"/>
            </a:solidFill>
            <a:miter lim="800000"/>
            <a:headEnd/>
            <a:tailEnd/>
          </a:ln>
        </p:spPr>
        <p:txBody>
          <a:bodyPr lIns="90000" tIns="90000" rIns="90000" bIns="90000"/>
          <a:lstStyle/>
          <a:p>
            <a:pPr algn="l">
              <a:spcBef>
                <a:spcPts val="400"/>
              </a:spcBef>
            </a:pPr>
            <a:r>
              <a:rPr lang="en-US" sz="1800" b="0" dirty="0" smtClean="0">
                <a:solidFill>
                  <a:srgbClr val="002776"/>
                </a:solidFill>
              </a:rPr>
              <a:t>Paragraph </a:t>
            </a:r>
            <a:br>
              <a:rPr lang="en-US" sz="1800" b="0" dirty="0" smtClean="0">
                <a:solidFill>
                  <a:srgbClr val="002776"/>
                </a:solidFill>
              </a:rPr>
            </a:br>
            <a:r>
              <a:rPr lang="en-US" sz="1800" b="0" dirty="0" smtClean="0">
                <a:solidFill>
                  <a:srgbClr val="002776"/>
                </a:solidFill>
              </a:rPr>
              <a:t>(if not needed, delete)</a:t>
            </a:r>
          </a:p>
          <a:p>
            <a:pPr marL="168275" lvl="1" indent="-168275" algn="l">
              <a:spcBef>
                <a:spcPts val="400"/>
              </a:spcBef>
              <a:buFont typeface="Arial" charset="0"/>
              <a:buChar char="•"/>
            </a:pPr>
            <a:r>
              <a:rPr lang="en-US" sz="1600" b="0" dirty="0" smtClean="0">
                <a:solidFill>
                  <a:srgbClr val="002776"/>
                </a:solidFill>
              </a:rPr>
              <a:t>Bullet</a:t>
            </a:r>
          </a:p>
          <a:p>
            <a:pPr marL="344488" lvl="2" indent="-176213" algn="l">
              <a:spcBef>
                <a:spcPts val="400"/>
              </a:spcBef>
              <a:buFont typeface="Arial" charset="0"/>
              <a:buChar char="‒"/>
            </a:pPr>
            <a:r>
              <a:rPr lang="en-US" sz="1600" b="0" dirty="0" smtClean="0">
                <a:solidFill>
                  <a:srgbClr val="002776"/>
                </a:solidFill>
              </a:rPr>
              <a:t>Dash</a:t>
            </a:r>
          </a:p>
          <a:p>
            <a:pPr marL="511175" lvl="3" indent="-166688" algn="l">
              <a:spcBef>
                <a:spcPts val="400"/>
              </a:spcBef>
              <a:buFont typeface="Arial" charset="0"/>
              <a:buChar char="•"/>
            </a:pPr>
            <a:r>
              <a:rPr lang="en-US" sz="1600" b="0" dirty="0" err="1" smtClean="0">
                <a:solidFill>
                  <a:srgbClr val="002776"/>
                </a:solidFill>
              </a:rPr>
              <a:t>Subbullet</a:t>
            </a:r>
            <a:endParaRPr lang="en-US" sz="1600" b="0" dirty="0">
              <a:solidFill>
                <a:srgbClr val="002776"/>
              </a:solidFill>
            </a:endParaRPr>
          </a:p>
        </p:txBody>
      </p:sp>
      <p:sp>
        <p:nvSpPr>
          <p:cNvPr id="6" name="AutoShape 5"/>
          <p:cNvSpPr>
            <a:spLocks noChangeArrowheads="1"/>
          </p:cNvSpPr>
          <p:nvPr/>
        </p:nvSpPr>
        <p:spPr bwMode="gray">
          <a:xfrm flipH="1">
            <a:off x="5065713" y="1602297"/>
            <a:ext cx="3681412" cy="3913188"/>
          </a:xfrm>
          <a:prstGeom prst="homePlate">
            <a:avLst>
              <a:gd name="adj" fmla="val 8242"/>
            </a:avLst>
          </a:prstGeom>
          <a:solidFill>
            <a:schemeClr val="bg1"/>
          </a:solidFill>
          <a:ln w="12700" algn="ctr">
            <a:solidFill>
              <a:schemeClr val="accent3"/>
            </a:solidFill>
            <a:miter lim="800000"/>
            <a:headEnd/>
            <a:tailEnd/>
          </a:ln>
        </p:spPr>
        <p:txBody>
          <a:bodyPr lIns="216000" tIns="90000" rIns="90000" bIns="90000"/>
          <a:lstStyle/>
          <a:p>
            <a:pPr algn="l">
              <a:spcBef>
                <a:spcPts val="400"/>
              </a:spcBef>
            </a:pPr>
            <a:r>
              <a:rPr lang="en-US" sz="1800" b="0" dirty="0" smtClean="0">
                <a:solidFill>
                  <a:srgbClr val="002776"/>
                </a:solidFill>
              </a:rPr>
              <a:t>Paragraph </a:t>
            </a:r>
            <a:br>
              <a:rPr lang="en-US" sz="1800" b="0" dirty="0" smtClean="0">
                <a:solidFill>
                  <a:srgbClr val="002776"/>
                </a:solidFill>
              </a:rPr>
            </a:br>
            <a:r>
              <a:rPr lang="en-US" sz="1800" b="0" dirty="0" smtClean="0">
                <a:solidFill>
                  <a:srgbClr val="002776"/>
                </a:solidFill>
              </a:rPr>
              <a:t>(if not needed, delete)</a:t>
            </a:r>
          </a:p>
          <a:p>
            <a:pPr marL="168275" lvl="1" indent="-168275" algn="l">
              <a:spcBef>
                <a:spcPts val="400"/>
              </a:spcBef>
              <a:buFont typeface="Arial" charset="0"/>
              <a:buChar char="•"/>
            </a:pPr>
            <a:r>
              <a:rPr lang="en-US" sz="1600" b="0" dirty="0" smtClean="0">
                <a:solidFill>
                  <a:srgbClr val="002776"/>
                </a:solidFill>
              </a:rPr>
              <a:t>Bullet</a:t>
            </a:r>
          </a:p>
          <a:p>
            <a:pPr marL="344488" lvl="2" indent="-176213" algn="l">
              <a:spcBef>
                <a:spcPts val="400"/>
              </a:spcBef>
              <a:buFont typeface="Arial" charset="0"/>
              <a:buChar char="‒"/>
            </a:pPr>
            <a:r>
              <a:rPr lang="en-US" sz="1600" b="0" dirty="0" smtClean="0">
                <a:solidFill>
                  <a:srgbClr val="002776"/>
                </a:solidFill>
              </a:rPr>
              <a:t>Dash</a:t>
            </a:r>
          </a:p>
          <a:p>
            <a:pPr marL="511175" lvl="3" indent="-166688" algn="l">
              <a:spcBef>
                <a:spcPts val="400"/>
              </a:spcBef>
              <a:buFont typeface="Arial" charset="0"/>
              <a:buChar char="•"/>
            </a:pPr>
            <a:r>
              <a:rPr lang="en-US" sz="1600" b="0" dirty="0" err="1" smtClean="0">
                <a:solidFill>
                  <a:srgbClr val="002776"/>
                </a:solidFill>
              </a:rPr>
              <a:t>Subbullet</a:t>
            </a:r>
            <a:endParaRPr lang="en-US" sz="1600" b="0" dirty="0">
              <a:solidFill>
                <a:srgbClr val="002776"/>
              </a:solidFill>
            </a:endParaRPr>
          </a:p>
        </p:txBody>
      </p:sp>
      <p:sp>
        <p:nvSpPr>
          <p:cNvPr id="11"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12" name="Text Placeholder 12"/>
          <p:cNvSpPr>
            <a:spLocks/>
          </p:cNvSpPr>
          <p:nvPr>
            <p:custDataLst>
              <p:tags r:id="rId2"/>
            </p:custDataLst>
          </p:nvPr>
        </p:nvSpPr>
        <p:spPr bwMode="auto">
          <a:xfrm>
            <a:off x="5384014"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1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4" name="Title 1"/>
          <p:cNvSpPr txBox="1">
            <a:spLocks/>
          </p:cNvSpPr>
          <p:nvPr>
            <p:custDataLst>
              <p:tags r:id="rId3"/>
            </p:custDataLst>
          </p:nvPr>
        </p:nvSpPr>
        <p:spPr bwMode="gray">
          <a:xfrm>
            <a:off x="414338" y="446038"/>
            <a:ext cx="8330184" cy="333425"/>
          </a:xfrm>
          <a:prstGeom prst="rect">
            <a:avLst/>
          </a:prstGeom>
        </p:spPr>
        <p:txBody>
          <a:bodyPr lIns="0" tIns="0" rIns="0" bIns="0" anchor="b" anchorCtr="0">
            <a:spAutoFit/>
          </a:bodyPr>
          <a:lstStyle/>
          <a:p>
            <a:pPr lvl="0" algn="l">
              <a:lnSpc>
                <a:spcPts val="2600"/>
              </a:lnSpc>
              <a:spcBef>
                <a:spcPct val="0"/>
              </a:spcBef>
            </a:pPr>
            <a:r>
              <a:rPr kumimoji="0" lang="nl-NL" sz="2400" b="1" i="0" u="none" strike="noStrike" kern="1200" cap="none" spc="0" normalizeH="0" baseline="0" noProof="0" dirty="0" smtClean="0">
                <a:ln>
                  <a:noFill/>
                </a:ln>
                <a:solidFill>
                  <a:schemeClr val="tx2"/>
                </a:solidFill>
                <a:effectLst/>
                <a:uLnTx/>
                <a:uFillTx/>
                <a:latin typeface="+mj-lt"/>
                <a:ea typeface="+mj-ea"/>
                <a:cs typeface="+mj-cs"/>
              </a:rPr>
              <a:t>Text blocks </a:t>
            </a:r>
            <a:r>
              <a:rPr kumimoji="0" lang="en-US" sz="2400" b="1" i="0" u="none" strike="noStrike" kern="1200" cap="none" spc="0" normalizeH="0" baseline="0" noProof="0" dirty="0" smtClean="0">
                <a:ln>
                  <a:noFill/>
                </a:ln>
                <a:solidFill>
                  <a:schemeClr val="tx2"/>
                </a:solidFill>
                <a:effectLst/>
                <a:uLnTx/>
                <a:uFillTx/>
                <a:latin typeface="+mj-lt"/>
                <a:ea typeface="+mj-ea"/>
                <a:cs typeface="+mj-cs"/>
              </a:rPr>
              <a:t>—</a:t>
            </a:r>
            <a:r>
              <a:rPr kumimoji="0" lang="nl-NL" sz="2400" b="1" i="0" u="none" strike="noStrike" kern="1200" cap="none" spc="0" normalizeH="0" baseline="0" noProof="0" dirty="0" smtClean="0">
                <a:ln>
                  <a:noFill/>
                </a:ln>
                <a:solidFill>
                  <a:schemeClr val="tx2"/>
                </a:solidFill>
                <a:effectLst/>
                <a:uLnTx/>
                <a:uFillTx/>
                <a:latin typeface="+mj-lt"/>
                <a:ea typeface="+mj-ea"/>
                <a:cs typeface="+mj-cs"/>
              </a:rPr>
              <a:t> </a:t>
            </a:r>
            <a:r>
              <a:rPr lang="en-US" sz="2400" dirty="0" smtClean="0"/>
              <a:t>sources leading to</a:t>
            </a:r>
            <a:endParaRPr kumimoji="0" lang="nl-NL" sz="2400" b="1" i="0" u="none" strike="noStrike" kern="1200" cap="none" spc="0" normalizeH="0" baseline="0" noProof="0" dirty="0">
              <a:ln>
                <a:noFill/>
              </a:ln>
              <a:solidFill>
                <a:schemeClr val="tx2"/>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0913"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47" name="think-cell Slide" r:id="rId55" imgW="0" imgH="0" progId="">
                  <p:embed/>
                </p:oleObj>
              </mc:Choice>
              <mc:Fallback>
                <p:oleObj name="think-cell Slide" r:id="rId5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50915" name="Title 1"/>
          <p:cNvSpPr>
            <a:spLocks noGrp="1"/>
          </p:cNvSpPr>
          <p:nvPr>
            <p:ph type="title"/>
            <p:custDataLst>
              <p:tags r:id="rId3"/>
            </p:custDataLst>
          </p:nvPr>
        </p:nvSpPr>
        <p:spPr>
          <a:xfrm>
            <a:off x="414338" y="446038"/>
            <a:ext cx="8330184" cy="333425"/>
          </a:xfrm>
        </p:spPr>
        <p:txBody>
          <a:bodyPr/>
          <a:lstStyle/>
          <a:p>
            <a:r>
              <a:rPr lang="en-US" altLang="ja-JP" dirty="0">
                <a:ea typeface="ＭＳ Ｐゴシック" charset="-128"/>
                <a:cs typeface="Arial" charset="0"/>
              </a:rPr>
              <a:t>Use these generic elements for copying and pasting</a:t>
            </a:r>
            <a:endParaRPr lang="en-US" dirty="0">
              <a:ea typeface="ＭＳ Ｐゴシック" charset="-128"/>
              <a:cs typeface="Arial" charset="0"/>
            </a:endParaRPr>
          </a:p>
        </p:txBody>
      </p:sp>
      <p:sp>
        <p:nvSpPr>
          <p:cNvPr id="550916" name="Text Placeholder 95"/>
          <p:cNvSpPr>
            <a:spLocks noGrp="1"/>
          </p:cNvSpPr>
          <p:nvPr>
            <p:ph type="body" sz="quarter" idx="4294967295"/>
            <p:custDataLst>
              <p:tags r:id="rId4"/>
            </p:custDataLst>
          </p:nvPr>
        </p:nvSpPr>
        <p:spPr bwMode="auto">
          <a:xfrm>
            <a:off x="6180138" y="1517374"/>
            <a:ext cx="2566987" cy="923330"/>
          </a:xfrm>
          <a:prstGeom prst="rect">
            <a:avLst/>
          </a:prstGeom>
          <a:noFill/>
          <a:ln>
            <a:miter lim="800000"/>
            <a:headEnd/>
            <a:tailEnd/>
          </a:ln>
        </p:spPr>
        <p:txBody>
          <a:bodyPr vert="horz" numCol="1" anchor="t" anchorCtr="0" compatLnSpc="1">
            <a:prstTxWarp prst="textNoShape">
              <a:avLst/>
            </a:prstTxWarp>
          </a:bodyPr>
          <a:lstStyle/>
          <a:p>
            <a:pPr lvl="1"/>
            <a:r>
              <a:rPr/>
              <a:t>Generic text with bullet</a:t>
            </a:r>
          </a:p>
          <a:p>
            <a:pPr lvl="2">
              <a:spcBef>
                <a:spcPts val="575"/>
              </a:spcBef>
              <a:spcAft>
                <a:spcPct val="0"/>
              </a:spcAft>
            </a:pPr>
            <a:r>
              <a:rPr/>
              <a:t>Generic dash text</a:t>
            </a:r>
          </a:p>
          <a:p>
            <a:pPr lvl="3">
              <a:spcBef>
                <a:spcPts val="575"/>
              </a:spcBef>
              <a:spcAft>
                <a:spcPct val="0"/>
              </a:spcAft>
            </a:pPr>
            <a:r>
              <a:rPr/>
              <a:t>Generic </a:t>
            </a:r>
            <a:r>
              <a:rPr lang="en-US" err="1" smtClean="0"/>
              <a:t>Subbullet</a:t>
            </a:r>
            <a:r>
              <a:rPr smtClean="0"/>
              <a:t> </a:t>
            </a:r>
            <a:r>
              <a:rPr/>
              <a:t>text</a:t>
            </a:r>
          </a:p>
        </p:txBody>
      </p:sp>
      <p:sp>
        <p:nvSpPr>
          <p:cNvPr id="550917" name="Text Box 4"/>
          <p:cNvSpPr txBox="1">
            <a:spLocks noChangeArrowheads="1"/>
          </p:cNvSpPr>
          <p:nvPr>
            <p:custDataLst>
              <p:tags r:id="rId5"/>
            </p:custDataLst>
          </p:nvPr>
        </p:nvSpPr>
        <p:spPr bwMode="auto">
          <a:xfrm>
            <a:off x="6569075" y="2620907"/>
            <a:ext cx="322263" cy="492125"/>
          </a:xfrm>
          <a:prstGeom prst="rect">
            <a:avLst/>
          </a:prstGeom>
          <a:noFill/>
          <a:ln w="6350" algn="ctr">
            <a:noFill/>
            <a:miter lim="800000"/>
            <a:headEnd/>
            <a:tailEnd/>
          </a:ln>
        </p:spPr>
        <p:txBody>
          <a:bodyPr wrap="none" lIns="0" tIns="0" rIns="0" bIns="0">
            <a:spAutoFit/>
          </a:bodyPr>
          <a:lstStyle/>
          <a:p>
            <a:r>
              <a:rPr lang="en-US" altLang="ja-JP" sz="3200" dirty="0">
                <a:solidFill>
                  <a:srgbClr val="336600"/>
                </a:solidFill>
                <a:ea typeface="ＭＳ Ｐゴシック" charset="-128"/>
                <a:sym typeface="Wingdings" pitchFamily="2" charset="2"/>
              </a:rPr>
              <a:t></a:t>
            </a:r>
            <a:endParaRPr lang="en-US" sz="3200" dirty="0">
              <a:solidFill>
                <a:srgbClr val="336600"/>
              </a:solidFill>
              <a:ea typeface="ＭＳ Ｐゴシック" charset="-128"/>
              <a:sym typeface="Wingdings" pitchFamily="2" charset="2"/>
            </a:endParaRPr>
          </a:p>
        </p:txBody>
      </p:sp>
      <p:sp>
        <p:nvSpPr>
          <p:cNvPr id="550918" name="Text Box 5"/>
          <p:cNvSpPr txBox="1">
            <a:spLocks noChangeArrowheads="1"/>
          </p:cNvSpPr>
          <p:nvPr>
            <p:custDataLst>
              <p:tags r:id="rId6"/>
            </p:custDataLst>
          </p:nvPr>
        </p:nvSpPr>
        <p:spPr bwMode="auto">
          <a:xfrm>
            <a:off x="7327900" y="2522482"/>
            <a:ext cx="325438" cy="615950"/>
          </a:xfrm>
          <a:prstGeom prst="rect">
            <a:avLst/>
          </a:prstGeom>
          <a:noFill/>
          <a:ln w="6350" algn="ctr">
            <a:noFill/>
            <a:miter lim="800000"/>
            <a:headEnd/>
            <a:tailEnd/>
          </a:ln>
        </p:spPr>
        <p:txBody>
          <a:bodyPr wrap="none" lIns="0" tIns="0" rIns="0" bIns="0">
            <a:spAutoFit/>
          </a:bodyPr>
          <a:lstStyle/>
          <a:p>
            <a:r>
              <a:rPr lang="en-US" altLang="ja-JP" sz="4000" dirty="0">
                <a:solidFill>
                  <a:srgbClr val="CC3300"/>
                </a:solidFill>
                <a:ea typeface="ＭＳ Ｐゴシック" charset="-128"/>
                <a:sym typeface="Wingdings" pitchFamily="2" charset="2"/>
              </a:rPr>
              <a:t></a:t>
            </a:r>
            <a:endParaRPr lang="en-US" sz="4000" dirty="0">
              <a:solidFill>
                <a:srgbClr val="CC3300"/>
              </a:solidFill>
              <a:ea typeface="ＭＳ Ｐゴシック" charset="-128"/>
              <a:sym typeface="Wingdings" pitchFamily="2" charset="2"/>
            </a:endParaRPr>
          </a:p>
        </p:txBody>
      </p:sp>
      <p:sp>
        <p:nvSpPr>
          <p:cNvPr id="550919" name="Text Box 6"/>
          <p:cNvSpPr txBox="1">
            <a:spLocks noChangeArrowheads="1"/>
          </p:cNvSpPr>
          <p:nvPr>
            <p:custDataLst>
              <p:tags r:id="rId7"/>
            </p:custDataLst>
          </p:nvPr>
        </p:nvSpPr>
        <p:spPr bwMode="auto">
          <a:xfrm>
            <a:off x="8018463" y="2663770"/>
            <a:ext cx="239712" cy="369887"/>
          </a:xfrm>
          <a:prstGeom prst="rect">
            <a:avLst/>
          </a:prstGeom>
          <a:noFill/>
          <a:ln w="6350" algn="ctr">
            <a:noFill/>
            <a:miter lim="800000"/>
            <a:headEnd/>
            <a:tailEnd/>
          </a:ln>
        </p:spPr>
        <p:txBody>
          <a:bodyPr wrap="none" lIns="0" tIns="0" rIns="0" bIns="0">
            <a:spAutoFit/>
          </a:bodyPr>
          <a:lstStyle/>
          <a:p>
            <a:r>
              <a:rPr lang="en-US" altLang="ja-JP" sz="2400" b="1" dirty="0">
                <a:solidFill>
                  <a:srgbClr val="FF9900"/>
                </a:solidFill>
                <a:ea typeface="ＭＳ Ｐゴシック" charset="-128"/>
                <a:sym typeface="Wingdings" pitchFamily="2" charset="2"/>
              </a:rPr>
              <a:t>O</a:t>
            </a:r>
            <a:endParaRPr lang="en-US" sz="2400" b="1" dirty="0">
              <a:solidFill>
                <a:srgbClr val="FF9900"/>
              </a:solidFill>
              <a:ea typeface="ＭＳ Ｐゴシック" charset="-128"/>
              <a:sym typeface="Wingdings" pitchFamily="2" charset="2"/>
            </a:endParaRPr>
          </a:p>
        </p:txBody>
      </p:sp>
      <p:sp>
        <p:nvSpPr>
          <p:cNvPr id="8" name="AutoShape 7"/>
          <p:cNvSpPr>
            <a:spLocks noChangeArrowheads="1"/>
          </p:cNvSpPr>
          <p:nvPr>
            <p:custDataLst>
              <p:tags r:id="rId8"/>
            </p:custDataLst>
          </p:nvPr>
        </p:nvSpPr>
        <p:spPr bwMode="auto">
          <a:xfrm>
            <a:off x="1019175" y="1797050"/>
            <a:ext cx="269875" cy="368300"/>
          </a:xfrm>
          <a:prstGeom prst="rightArrow">
            <a:avLst>
              <a:gd name="adj1" fmla="val 50000"/>
              <a:gd name="adj2" fmla="val 52278"/>
            </a:avLst>
          </a:prstGeom>
          <a:solidFill>
            <a:schemeClr val="accent3"/>
          </a:solidFill>
          <a:ln w="6350" algn="ctr">
            <a:noFill/>
            <a:miter lim="800000"/>
            <a:headEnd/>
            <a:tailEnd/>
          </a:ln>
        </p:spPr>
        <p:txBody>
          <a:bodyPr tIns="91440" bIns="91440" anchor="ctr"/>
          <a:lstStyle/>
          <a:p>
            <a:pPr algn="ctr">
              <a:defRPr/>
            </a:pPr>
            <a:endParaRPr lang="en-US"/>
          </a:p>
        </p:txBody>
      </p:sp>
      <p:sp>
        <p:nvSpPr>
          <p:cNvPr id="9" name="AutoShape 8"/>
          <p:cNvSpPr>
            <a:spLocks noChangeArrowheads="1"/>
          </p:cNvSpPr>
          <p:nvPr>
            <p:custDataLst>
              <p:tags r:id="rId9"/>
            </p:custDataLst>
          </p:nvPr>
        </p:nvSpPr>
        <p:spPr bwMode="auto">
          <a:xfrm rot="-5400000">
            <a:off x="742157" y="1561306"/>
            <a:ext cx="279400" cy="357187"/>
          </a:xfrm>
          <a:prstGeom prst="rightArrow">
            <a:avLst>
              <a:gd name="adj1" fmla="val 50000"/>
              <a:gd name="adj2" fmla="val 52278"/>
            </a:avLst>
          </a:prstGeom>
          <a:solidFill>
            <a:schemeClr val="accent3"/>
          </a:solidFill>
          <a:ln w="6350" algn="ctr">
            <a:noFill/>
            <a:miter lim="800000"/>
            <a:headEnd/>
            <a:tailEnd/>
          </a:ln>
        </p:spPr>
        <p:txBody>
          <a:bodyPr vert="eaVert" tIns="91440" bIns="91440" anchor="ctr"/>
          <a:lstStyle/>
          <a:p>
            <a:pPr algn="ctr">
              <a:defRPr/>
            </a:pPr>
            <a:endParaRPr lang="en-US"/>
          </a:p>
        </p:txBody>
      </p:sp>
      <p:sp>
        <p:nvSpPr>
          <p:cNvPr id="10" name="AutoShape 9"/>
          <p:cNvSpPr>
            <a:spLocks noChangeArrowheads="1"/>
          </p:cNvSpPr>
          <p:nvPr>
            <p:custDataLst>
              <p:tags r:id="rId10"/>
            </p:custDataLst>
          </p:nvPr>
        </p:nvSpPr>
        <p:spPr bwMode="auto">
          <a:xfrm rot="16200000" flipH="1">
            <a:off x="742157" y="2056606"/>
            <a:ext cx="279400" cy="357187"/>
          </a:xfrm>
          <a:prstGeom prst="rightArrow">
            <a:avLst>
              <a:gd name="adj1" fmla="val 50000"/>
              <a:gd name="adj2" fmla="val 52278"/>
            </a:avLst>
          </a:prstGeom>
          <a:solidFill>
            <a:schemeClr val="accent3"/>
          </a:solidFill>
          <a:ln w="6350" algn="ctr">
            <a:noFill/>
            <a:miter lim="800000"/>
            <a:headEnd/>
            <a:tailEnd/>
          </a:ln>
        </p:spPr>
        <p:txBody>
          <a:bodyPr vert="eaVert" tIns="91440" bIns="91440" anchor="ctr"/>
          <a:lstStyle/>
          <a:p>
            <a:pPr algn="ctr">
              <a:defRPr/>
            </a:pPr>
            <a:endParaRPr lang="en-US"/>
          </a:p>
        </p:txBody>
      </p:sp>
      <p:sp>
        <p:nvSpPr>
          <p:cNvPr id="11" name="AutoShape 10"/>
          <p:cNvSpPr>
            <a:spLocks noChangeArrowheads="1"/>
          </p:cNvSpPr>
          <p:nvPr>
            <p:custDataLst>
              <p:tags r:id="rId11"/>
            </p:custDataLst>
          </p:nvPr>
        </p:nvSpPr>
        <p:spPr bwMode="auto">
          <a:xfrm flipH="1">
            <a:off x="476250" y="1797050"/>
            <a:ext cx="273050" cy="368300"/>
          </a:xfrm>
          <a:prstGeom prst="rightArrow">
            <a:avLst>
              <a:gd name="adj1" fmla="val 50000"/>
              <a:gd name="adj2" fmla="val 52278"/>
            </a:avLst>
          </a:prstGeom>
          <a:solidFill>
            <a:schemeClr val="accent3"/>
          </a:solidFill>
          <a:ln w="6350" algn="ctr">
            <a:noFill/>
            <a:miter lim="800000"/>
            <a:headEnd/>
            <a:tailEnd/>
          </a:ln>
        </p:spPr>
        <p:txBody>
          <a:bodyPr tIns="91440" bIns="91440" anchor="ctr"/>
          <a:lstStyle/>
          <a:p>
            <a:pPr algn="ctr">
              <a:defRPr/>
            </a:pPr>
            <a:endParaRPr lang="en-US"/>
          </a:p>
        </p:txBody>
      </p:sp>
      <p:sp>
        <p:nvSpPr>
          <p:cNvPr id="12" name="AutoShape 11"/>
          <p:cNvSpPr>
            <a:spLocks noChangeArrowheads="1"/>
          </p:cNvSpPr>
          <p:nvPr>
            <p:custDataLst>
              <p:tags r:id="rId12"/>
            </p:custDataLst>
          </p:nvPr>
        </p:nvSpPr>
        <p:spPr bwMode="auto">
          <a:xfrm>
            <a:off x="492125" y="3657600"/>
            <a:ext cx="493713" cy="368300"/>
          </a:xfrm>
          <a:prstGeom prst="leftRightArrow">
            <a:avLst>
              <a:gd name="adj1" fmla="val 50000"/>
              <a:gd name="adj2" fmla="val 36315"/>
            </a:avLst>
          </a:prstGeom>
          <a:solidFill>
            <a:schemeClr val="accent3"/>
          </a:solidFill>
          <a:ln w="6350" algn="ctr">
            <a:noFill/>
            <a:miter lim="800000"/>
            <a:headEnd/>
            <a:tailEnd/>
          </a:ln>
        </p:spPr>
        <p:txBody>
          <a:bodyPr tIns="91440" bIns="91440" anchor="ctr"/>
          <a:lstStyle/>
          <a:p>
            <a:pPr algn="ctr">
              <a:defRPr/>
            </a:pPr>
            <a:endParaRPr lang="en-US"/>
          </a:p>
        </p:txBody>
      </p:sp>
      <p:sp>
        <p:nvSpPr>
          <p:cNvPr id="13" name="AutoShape 12"/>
          <p:cNvSpPr>
            <a:spLocks noChangeArrowheads="1"/>
          </p:cNvSpPr>
          <p:nvPr>
            <p:custDataLst>
              <p:tags r:id="rId13"/>
            </p:custDataLst>
          </p:nvPr>
        </p:nvSpPr>
        <p:spPr bwMode="auto">
          <a:xfrm rot="5400000">
            <a:off x="1492250" y="3436938"/>
            <a:ext cx="258763" cy="852487"/>
          </a:xfrm>
          <a:prstGeom prst="rightArrow">
            <a:avLst>
              <a:gd name="adj1" fmla="val 50000"/>
              <a:gd name="adj2" fmla="val 52278"/>
            </a:avLst>
          </a:prstGeom>
          <a:solidFill>
            <a:schemeClr val="accent3"/>
          </a:solidFill>
          <a:ln w="6350" algn="ctr">
            <a:noFill/>
            <a:miter lim="800000"/>
            <a:headEnd/>
            <a:tailEnd/>
          </a:ln>
        </p:spPr>
        <p:txBody>
          <a:bodyPr rot="10800000" vert="eaVert" tIns="91440" bIns="91440" anchor="ctr"/>
          <a:lstStyle/>
          <a:p>
            <a:pPr algn="ctr">
              <a:defRPr/>
            </a:pPr>
            <a:endParaRPr lang="en-US"/>
          </a:p>
        </p:txBody>
      </p:sp>
      <p:sp>
        <p:nvSpPr>
          <p:cNvPr id="14" name="AutoShape 13"/>
          <p:cNvSpPr>
            <a:spLocks noChangeArrowheads="1"/>
          </p:cNvSpPr>
          <p:nvPr>
            <p:custDataLst>
              <p:tags r:id="rId14"/>
            </p:custDataLst>
          </p:nvPr>
        </p:nvSpPr>
        <p:spPr bwMode="auto">
          <a:xfrm>
            <a:off x="703263" y="2514600"/>
            <a:ext cx="257175" cy="850900"/>
          </a:xfrm>
          <a:prstGeom prst="rightArrow">
            <a:avLst>
              <a:gd name="adj1" fmla="val 50000"/>
              <a:gd name="adj2" fmla="val 52278"/>
            </a:avLst>
          </a:prstGeom>
          <a:solidFill>
            <a:schemeClr val="accent3"/>
          </a:solidFill>
          <a:ln w="6350" algn="ctr">
            <a:noFill/>
            <a:miter lim="800000"/>
            <a:headEnd/>
            <a:tailEnd/>
          </a:ln>
        </p:spPr>
        <p:txBody>
          <a:bodyPr tIns="91440" bIns="91440" anchor="ctr"/>
          <a:lstStyle/>
          <a:p>
            <a:pPr algn="ctr">
              <a:defRPr/>
            </a:pPr>
            <a:endParaRPr lang="en-US"/>
          </a:p>
        </p:txBody>
      </p:sp>
      <p:sp>
        <p:nvSpPr>
          <p:cNvPr id="15" name="Freeform 14"/>
          <p:cNvSpPr>
            <a:spLocks/>
          </p:cNvSpPr>
          <p:nvPr>
            <p:custDataLst>
              <p:tags r:id="rId15"/>
            </p:custDataLst>
          </p:nvPr>
        </p:nvSpPr>
        <p:spPr bwMode="auto">
          <a:xfrm>
            <a:off x="1476375" y="1600200"/>
            <a:ext cx="304800" cy="844550"/>
          </a:xfrm>
          <a:custGeom>
            <a:avLst/>
            <a:gdLst>
              <a:gd name="T0" fmla="*/ 2147483647 w 347"/>
              <a:gd name="T1" fmla="*/ 0 h 810"/>
              <a:gd name="T2" fmla="*/ 2147483647 w 347"/>
              <a:gd name="T3" fmla="*/ 0 h 810"/>
              <a:gd name="T4" fmla="*/ 2147483647 w 347"/>
              <a:gd name="T5" fmla="*/ 2147483647 h 810"/>
              <a:gd name="T6" fmla="*/ 2147483647 w 347"/>
              <a:gd name="T7" fmla="*/ 2147483647 h 810"/>
              <a:gd name="T8" fmla="*/ 2147483647 w 347"/>
              <a:gd name="T9" fmla="*/ 2147483647 h 810"/>
              <a:gd name="T10" fmla="*/ 2147483647 w 347"/>
              <a:gd name="T11" fmla="*/ 2147483647 h 810"/>
              <a:gd name="T12" fmla="*/ 2147483647 w 347"/>
              <a:gd name="T13" fmla="*/ 2147483647 h 810"/>
              <a:gd name="T14" fmla="*/ 2147483647 w 347"/>
              <a:gd name="T15" fmla="*/ 2147483647 h 810"/>
              <a:gd name="T16" fmla="*/ 2147483647 w 347"/>
              <a:gd name="T17" fmla="*/ 2147483647 h 810"/>
              <a:gd name="T18" fmla="*/ 2147483647 w 347"/>
              <a:gd name="T19" fmla="*/ 2147483647 h 810"/>
              <a:gd name="T20" fmla="*/ 0 w 347"/>
              <a:gd name="T21" fmla="*/ 2147483647 h 810"/>
              <a:gd name="T22" fmla="*/ 2147483647 w 347"/>
              <a:gd name="T23" fmla="*/ 0 h 8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7"/>
              <a:gd name="T37" fmla="*/ 0 h 810"/>
              <a:gd name="T38" fmla="*/ 347 w 347"/>
              <a:gd name="T39" fmla="*/ 810 h 8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7" h="810">
                <a:moveTo>
                  <a:pt x="159" y="0"/>
                </a:moveTo>
                <a:lnTo>
                  <a:pt x="292" y="0"/>
                </a:lnTo>
                <a:lnTo>
                  <a:pt x="63" y="358"/>
                </a:lnTo>
                <a:lnTo>
                  <a:pt x="346" y="188"/>
                </a:lnTo>
                <a:lnTo>
                  <a:pt x="111" y="634"/>
                </a:lnTo>
                <a:lnTo>
                  <a:pt x="187" y="607"/>
                </a:lnTo>
                <a:lnTo>
                  <a:pt x="23" y="809"/>
                </a:lnTo>
                <a:lnTo>
                  <a:pt x="28" y="549"/>
                </a:lnTo>
                <a:lnTo>
                  <a:pt x="68" y="612"/>
                </a:lnTo>
                <a:lnTo>
                  <a:pt x="173" y="341"/>
                </a:lnTo>
                <a:lnTo>
                  <a:pt x="0" y="429"/>
                </a:lnTo>
                <a:lnTo>
                  <a:pt x="159" y="0"/>
                </a:lnTo>
              </a:path>
            </a:pathLst>
          </a:custGeom>
          <a:solidFill>
            <a:schemeClr val="accent3"/>
          </a:solidFill>
          <a:ln w="6350">
            <a:noFill/>
            <a:round/>
            <a:headEnd/>
            <a:tailEnd/>
          </a:ln>
        </p:spPr>
        <p:txBody>
          <a:bodyPr tIns="91440" bIns="91440" anchor="ctr"/>
          <a:lstStyle/>
          <a:p>
            <a:pPr>
              <a:defRPr/>
            </a:pPr>
            <a:endParaRPr lang="en-US"/>
          </a:p>
        </p:txBody>
      </p:sp>
      <p:sp>
        <p:nvSpPr>
          <p:cNvPr id="550928" name="Text Box 15"/>
          <p:cNvSpPr txBox="1">
            <a:spLocks noChangeArrowheads="1"/>
          </p:cNvSpPr>
          <p:nvPr>
            <p:custDataLst>
              <p:tags r:id="rId16"/>
            </p:custDataLst>
          </p:nvPr>
        </p:nvSpPr>
        <p:spPr bwMode="gray">
          <a:xfrm>
            <a:off x="3194050" y="1735138"/>
            <a:ext cx="387927" cy="218586"/>
          </a:xfrm>
          <a:prstGeom prst="rect">
            <a:avLst/>
          </a:prstGeom>
          <a:noFill/>
          <a:ln w="12700" algn="ctr">
            <a:noFill/>
            <a:miter lim="800000"/>
            <a:headEnd/>
            <a:tailEnd/>
          </a:ln>
        </p:spPr>
        <p:txBody>
          <a:bodyPr wrap="none" lIns="0" tIns="0" rIns="0" bIns="0">
            <a:spAutoFit/>
          </a:bodyPr>
          <a:lstStyle/>
          <a:p>
            <a:pPr>
              <a:lnSpc>
                <a:spcPct val="110000"/>
              </a:lnSpc>
            </a:pPr>
            <a:r>
              <a:rPr lang="en-US" sz="1400">
                <a:solidFill>
                  <a:schemeClr val="tx2"/>
                </a:solidFill>
              </a:rPr>
              <a:t>Draft</a:t>
            </a:r>
          </a:p>
        </p:txBody>
      </p:sp>
      <p:sp>
        <p:nvSpPr>
          <p:cNvPr id="550929" name="Text Box 16"/>
          <p:cNvSpPr txBox="1">
            <a:spLocks noChangeArrowheads="1"/>
          </p:cNvSpPr>
          <p:nvPr>
            <p:custDataLst>
              <p:tags r:id="rId17"/>
            </p:custDataLst>
          </p:nvPr>
        </p:nvSpPr>
        <p:spPr bwMode="gray">
          <a:xfrm>
            <a:off x="3239770" y="2028825"/>
            <a:ext cx="1532471" cy="218586"/>
          </a:xfrm>
          <a:prstGeom prst="rect">
            <a:avLst/>
          </a:prstGeom>
          <a:noFill/>
          <a:ln w="12700" algn="ctr">
            <a:noFill/>
            <a:miter lim="800000"/>
            <a:headEnd/>
            <a:tailEnd/>
          </a:ln>
        </p:spPr>
        <p:txBody>
          <a:bodyPr wrap="none" lIns="0" tIns="0" rIns="0" bIns="0">
            <a:spAutoFit/>
          </a:bodyPr>
          <a:lstStyle/>
          <a:p>
            <a:pPr>
              <a:lnSpc>
                <a:spcPct val="110000"/>
              </a:lnSpc>
            </a:pPr>
            <a:r>
              <a:rPr lang="en-US" sz="1400">
                <a:solidFill>
                  <a:schemeClr val="tx2"/>
                </a:solidFill>
              </a:rPr>
              <a:t>For discussion only</a:t>
            </a:r>
          </a:p>
        </p:txBody>
      </p:sp>
      <p:sp>
        <p:nvSpPr>
          <p:cNvPr id="550930" name="Text Box 17"/>
          <p:cNvSpPr txBox="1">
            <a:spLocks noChangeArrowheads="1"/>
          </p:cNvSpPr>
          <p:nvPr>
            <p:custDataLst>
              <p:tags r:id="rId18"/>
            </p:custDataLst>
          </p:nvPr>
        </p:nvSpPr>
        <p:spPr bwMode="gray">
          <a:xfrm>
            <a:off x="3194050" y="2322513"/>
            <a:ext cx="896079" cy="218586"/>
          </a:xfrm>
          <a:prstGeom prst="rect">
            <a:avLst/>
          </a:prstGeom>
          <a:noFill/>
          <a:ln w="12700" algn="ctr">
            <a:noFill/>
            <a:miter lim="800000"/>
            <a:headEnd/>
            <a:tailEnd/>
          </a:ln>
        </p:spPr>
        <p:txBody>
          <a:bodyPr wrap="none" lIns="0" tIns="0" rIns="0" bIns="0">
            <a:spAutoFit/>
          </a:bodyPr>
          <a:lstStyle/>
          <a:p>
            <a:pPr>
              <a:lnSpc>
                <a:spcPct val="110000"/>
              </a:lnSpc>
            </a:pPr>
            <a:r>
              <a:rPr lang="en-US" sz="1400">
                <a:solidFill>
                  <a:schemeClr val="tx2"/>
                </a:solidFill>
              </a:rPr>
              <a:t>Preliminary</a:t>
            </a:r>
          </a:p>
        </p:txBody>
      </p:sp>
      <p:sp>
        <p:nvSpPr>
          <p:cNvPr id="550931" name="Text Box 18"/>
          <p:cNvSpPr txBox="1">
            <a:spLocks noChangeArrowheads="1"/>
          </p:cNvSpPr>
          <p:nvPr>
            <p:custDataLst>
              <p:tags r:id="rId19"/>
            </p:custDataLst>
          </p:nvPr>
        </p:nvSpPr>
        <p:spPr bwMode="gray">
          <a:xfrm>
            <a:off x="4438650" y="2322513"/>
            <a:ext cx="806311" cy="218586"/>
          </a:xfrm>
          <a:prstGeom prst="rect">
            <a:avLst/>
          </a:prstGeom>
          <a:noFill/>
          <a:ln w="12700" algn="ctr">
            <a:noFill/>
            <a:miter lim="800000"/>
            <a:headEnd/>
            <a:tailEnd/>
          </a:ln>
        </p:spPr>
        <p:txBody>
          <a:bodyPr wrap="none" lIns="0" tIns="0" rIns="0" bIns="0">
            <a:spAutoFit/>
          </a:bodyPr>
          <a:lstStyle/>
          <a:p>
            <a:pPr>
              <a:lnSpc>
                <a:spcPct val="110000"/>
              </a:lnSpc>
            </a:pPr>
            <a:r>
              <a:rPr lang="en-US" sz="1400">
                <a:solidFill>
                  <a:schemeClr val="tx2"/>
                </a:solidFill>
              </a:rPr>
              <a:t>Illustrative</a:t>
            </a:r>
          </a:p>
        </p:txBody>
      </p:sp>
      <p:sp>
        <p:nvSpPr>
          <p:cNvPr id="21" name="Oval 20"/>
          <p:cNvSpPr>
            <a:spLocks noChangeAspect="1" noChangeArrowheads="1"/>
          </p:cNvSpPr>
          <p:nvPr>
            <p:custDataLst>
              <p:tags r:id="rId20"/>
            </p:custDataLst>
          </p:nvPr>
        </p:nvSpPr>
        <p:spPr bwMode="gray">
          <a:xfrm>
            <a:off x="3470275" y="3559175"/>
            <a:ext cx="361950" cy="360363"/>
          </a:xfrm>
          <a:prstGeom prst="ellipse">
            <a:avLst/>
          </a:prstGeom>
          <a:solidFill>
            <a:srgbClr val="FFFFFF"/>
          </a:solidFill>
          <a:ln w="12700">
            <a:solidFill>
              <a:schemeClr val="accent3"/>
            </a:solidFill>
            <a:round/>
            <a:headEnd/>
            <a:tailEnd/>
          </a:ln>
        </p:spPr>
        <p:txBody>
          <a:bodyPr wrap="none" anchor="ctr"/>
          <a:lstStyle/>
          <a:p>
            <a:pPr algn="ctr">
              <a:defRPr/>
            </a:pPr>
            <a:endParaRPr lang="en-US" sz="1600"/>
          </a:p>
        </p:txBody>
      </p:sp>
      <p:grpSp>
        <p:nvGrpSpPr>
          <p:cNvPr id="2" name="Group 21"/>
          <p:cNvGrpSpPr>
            <a:grpSpLocks/>
          </p:cNvGrpSpPr>
          <p:nvPr>
            <p:custDataLst>
              <p:tags r:id="rId21"/>
            </p:custDataLst>
          </p:nvPr>
        </p:nvGrpSpPr>
        <p:grpSpPr bwMode="auto">
          <a:xfrm>
            <a:off x="3484563" y="4086225"/>
            <a:ext cx="333375" cy="360363"/>
            <a:chOff x="4801" y="2843"/>
            <a:chExt cx="237" cy="220"/>
          </a:xfrm>
        </p:grpSpPr>
        <p:sp>
          <p:nvSpPr>
            <p:cNvPr id="23" name="Oval 22"/>
            <p:cNvSpPr>
              <a:spLocks noChangeAspect="1" noChangeArrowheads="1"/>
            </p:cNvSpPr>
            <p:nvPr>
              <p:custDataLst>
                <p:tags r:id="rId52"/>
              </p:custDataLst>
            </p:nvPr>
          </p:nvSpPr>
          <p:spPr bwMode="gray">
            <a:xfrm>
              <a:off x="4801" y="2843"/>
              <a:ext cx="237" cy="220"/>
            </a:xfrm>
            <a:prstGeom prst="ellipse">
              <a:avLst/>
            </a:prstGeom>
            <a:solidFill>
              <a:srgbClr val="FFFFFF"/>
            </a:solidFill>
            <a:ln w="12700">
              <a:solidFill>
                <a:schemeClr val="accent3"/>
              </a:solidFill>
              <a:round/>
              <a:headEnd/>
              <a:tailEnd/>
            </a:ln>
          </p:spPr>
          <p:txBody>
            <a:bodyPr wrap="none" anchor="ctr"/>
            <a:lstStyle/>
            <a:p>
              <a:pPr algn="ctr">
                <a:defRPr/>
              </a:pPr>
              <a:endParaRPr lang="en-US" sz="1600"/>
            </a:p>
          </p:txBody>
        </p:sp>
        <p:sp>
          <p:nvSpPr>
            <p:cNvPr id="24" name="Arc 23"/>
            <p:cNvSpPr>
              <a:spLocks noChangeAspect="1"/>
            </p:cNvSpPr>
            <p:nvPr>
              <p:custDataLst>
                <p:tags r:id="rId53"/>
              </p:custDataLst>
            </p:nvPr>
          </p:nvSpPr>
          <p:spPr bwMode="gray">
            <a:xfrm>
              <a:off x="4919" y="2843"/>
              <a:ext cx="119" cy="11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3"/>
            </a:solidFill>
            <a:ln w="12700">
              <a:solidFill>
                <a:schemeClr val="accent3"/>
              </a:solidFill>
              <a:round/>
              <a:headEnd/>
              <a:tailEnd/>
            </a:ln>
          </p:spPr>
          <p:txBody>
            <a:bodyPr wrap="none" anchor="ctr"/>
            <a:lstStyle/>
            <a:p>
              <a:pPr algn="ctr">
                <a:defRPr/>
              </a:pPr>
              <a:endParaRPr lang="en-US" sz="1600"/>
            </a:p>
          </p:txBody>
        </p:sp>
      </p:grpSp>
      <p:grpSp>
        <p:nvGrpSpPr>
          <p:cNvPr id="3" name="Group 24"/>
          <p:cNvGrpSpPr>
            <a:grpSpLocks/>
          </p:cNvGrpSpPr>
          <p:nvPr>
            <p:custDataLst>
              <p:tags r:id="rId22"/>
            </p:custDataLst>
          </p:nvPr>
        </p:nvGrpSpPr>
        <p:grpSpPr bwMode="auto">
          <a:xfrm>
            <a:off x="3484563" y="4614863"/>
            <a:ext cx="333375" cy="360362"/>
            <a:chOff x="4801" y="3144"/>
            <a:chExt cx="237" cy="218"/>
          </a:xfrm>
        </p:grpSpPr>
        <p:sp>
          <p:nvSpPr>
            <p:cNvPr id="26" name="Oval 25"/>
            <p:cNvSpPr>
              <a:spLocks noChangeAspect="1" noChangeArrowheads="1"/>
            </p:cNvSpPr>
            <p:nvPr>
              <p:custDataLst>
                <p:tags r:id="rId50"/>
              </p:custDataLst>
            </p:nvPr>
          </p:nvSpPr>
          <p:spPr bwMode="gray">
            <a:xfrm>
              <a:off x="4801" y="3144"/>
              <a:ext cx="237" cy="217"/>
            </a:xfrm>
            <a:prstGeom prst="ellipse">
              <a:avLst/>
            </a:prstGeom>
            <a:solidFill>
              <a:srgbClr val="FFFFFF"/>
            </a:solidFill>
            <a:ln w="12700">
              <a:solidFill>
                <a:schemeClr val="accent3"/>
              </a:solidFill>
              <a:round/>
              <a:headEnd/>
              <a:tailEnd/>
            </a:ln>
          </p:spPr>
          <p:txBody>
            <a:bodyPr wrap="none" anchor="ctr"/>
            <a:lstStyle/>
            <a:p>
              <a:pPr algn="ctr">
                <a:defRPr/>
              </a:pPr>
              <a:endParaRPr lang="en-US" sz="1600"/>
            </a:p>
          </p:txBody>
        </p:sp>
        <p:sp>
          <p:nvSpPr>
            <p:cNvPr id="27" name="Arc 26"/>
            <p:cNvSpPr>
              <a:spLocks noChangeAspect="1"/>
            </p:cNvSpPr>
            <p:nvPr>
              <p:custDataLst>
                <p:tags r:id="rId51"/>
              </p:custDataLst>
            </p:nvPr>
          </p:nvSpPr>
          <p:spPr bwMode="gray">
            <a:xfrm>
              <a:off x="4919" y="3145"/>
              <a:ext cx="119" cy="2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3"/>
            </a:solidFill>
            <a:ln w="12700">
              <a:noFill/>
              <a:round/>
              <a:headEnd/>
              <a:tailEnd/>
            </a:ln>
          </p:spPr>
          <p:txBody>
            <a:bodyPr wrap="none" anchor="ctr"/>
            <a:lstStyle/>
            <a:p>
              <a:pPr algn="ctr">
                <a:defRPr/>
              </a:pPr>
              <a:endParaRPr lang="en-US" sz="1600"/>
            </a:p>
          </p:txBody>
        </p:sp>
      </p:grpSp>
      <p:grpSp>
        <p:nvGrpSpPr>
          <p:cNvPr id="4" name="Group 27"/>
          <p:cNvGrpSpPr>
            <a:grpSpLocks/>
          </p:cNvGrpSpPr>
          <p:nvPr>
            <p:custDataLst>
              <p:tags r:id="rId23"/>
            </p:custDataLst>
          </p:nvPr>
        </p:nvGrpSpPr>
        <p:grpSpPr bwMode="auto">
          <a:xfrm>
            <a:off x="3484563" y="5154613"/>
            <a:ext cx="333375" cy="360362"/>
            <a:chOff x="4801" y="3442"/>
            <a:chExt cx="239" cy="220"/>
          </a:xfrm>
        </p:grpSpPr>
        <p:sp>
          <p:nvSpPr>
            <p:cNvPr id="29" name="Oval 28"/>
            <p:cNvSpPr>
              <a:spLocks noChangeAspect="1" noChangeArrowheads="1"/>
            </p:cNvSpPr>
            <p:nvPr>
              <p:custDataLst>
                <p:tags r:id="rId48"/>
              </p:custDataLst>
            </p:nvPr>
          </p:nvSpPr>
          <p:spPr bwMode="gray">
            <a:xfrm>
              <a:off x="4801" y="3442"/>
              <a:ext cx="238" cy="219"/>
            </a:xfrm>
            <a:prstGeom prst="ellipse">
              <a:avLst/>
            </a:prstGeom>
            <a:solidFill>
              <a:srgbClr val="FFFFFF"/>
            </a:solidFill>
            <a:ln w="12700">
              <a:solidFill>
                <a:schemeClr val="accent3"/>
              </a:solidFill>
              <a:round/>
              <a:headEnd/>
              <a:tailEnd/>
            </a:ln>
          </p:spPr>
          <p:txBody>
            <a:bodyPr wrap="none" anchor="ctr"/>
            <a:lstStyle/>
            <a:p>
              <a:pPr algn="ctr">
                <a:defRPr/>
              </a:pPr>
              <a:endParaRPr lang="en-US" sz="1600"/>
            </a:p>
          </p:txBody>
        </p:sp>
        <p:sp>
          <p:nvSpPr>
            <p:cNvPr id="30" name="Arc 29"/>
            <p:cNvSpPr>
              <a:spLocks noChangeAspect="1"/>
            </p:cNvSpPr>
            <p:nvPr>
              <p:custDataLst>
                <p:tags r:id="rId49"/>
              </p:custDataLst>
            </p:nvPr>
          </p:nvSpPr>
          <p:spPr bwMode="gray">
            <a:xfrm>
              <a:off x="4802" y="3443"/>
              <a:ext cx="238" cy="219"/>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3"/>
            </a:solidFill>
            <a:ln w="12700">
              <a:solidFill>
                <a:schemeClr val="accent3"/>
              </a:solidFill>
              <a:round/>
              <a:headEnd/>
              <a:tailEnd/>
            </a:ln>
          </p:spPr>
          <p:txBody>
            <a:bodyPr wrap="none" anchor="ctr"/>
            <a:lstStyle/>
            <a:p>
              <a:pPr algn="ctr">
                <a:defRPr/>
              </a:pPr>
              <a:endParaRPr lang="en-US" sz="1600"/>
            </a:p>
          </p:txBody>
        </p:sp>
      </p:grpSp>
      <p:grpSp>
        <p:nvGrpSpPr>
          <p:cNvPr id="5" name="Group 30"/>
          <p:cNvGrpSpPr>
            <a:grpSpLocks/>
          </p:cNvGrpSpPr>
          <p:nvPr>
            <p:custDataLst>
              <p:tags r:id="rId24"/>
            </p:custDataLst>
          </p:nvPr>
        </p:nvGrpSpPr>
        <p:grpSpPr bwMode="auto">
          <a:xfrm>
            <a:off x="3485096" y="5670550"/>
            <a:ext cx="332308" cy="360000"/>
            <a:chOff x="635" y="2178"/>
            <a:chExt cx="218" cy="220"/>
          </a:xfrm>
          <a:solidFill>
            <a:schemeClr val="accent3"/>
          </a:solidFill>
        </p:grpSpPr>
        <p:sp>
          <p:nvSpPr>
            <p:cNvPr id="32" name="Oval 31"/>
            <p:cNvSpPr>
              <a:spLocks noChangeAspect="1" noChangeArrowheads="1"/>
            </p:cNvSpPr>
            <p:nvPr/>
          </p:nvSpPr>
          <p:spPr bwMode="gray">
            <a:xfrm>
              <a:off x="635" y="2178"/>
              <a:ext cx="218" cy="220"/>
            </a:xfrm>
            <a:prstGeom prst="ellipse">
              <a:avLst/>
            </a:prstGeom>
            <a:grpFill/>
            <a:ln w="12700">
              <a:solidFill>
                <a:schemeClr val="accent3"/>
              </a:solidFill>
              <a:round/>
              <a:headEnd/>
              <a:tailEnd/>
            </a:ln>
          </p:spPr>
          <p:txBody>
            <a:bodyPr wrap="none" anchor="ctr"/>
            <a:lstStyle/>
            <a:p>
              <a:pPr algn="ctr">
                <a:defRPr/>
              </a:pPr>
              <a:endParaRPr lang="en-US" sz="1600"/>
            </a:p>
          </p:txBody>
        </p:sp>
        <p:sp>
          <p:nvSpPr>
            <p:cNvPr id="33" name="Oval 32"/>
            <p:cNvSpPr>
              <a:spLocks noChangeAspect="1" noChangeArrowheads="1"/>
            </p:cNvSpPr>
            <p:nvPr/>
          </p:nvSpPr>
          <p:spPr bwMode="gray">
            <a:xfrm>
              <a:off x="635" y="2178"/>
              <a:ext cx="218" cy="220"/>
            </a:xfrm>
            <a:prstGeom prst="ellipse">
              <a:avLst/>
            </a:prstGeom>
            <a:grpFill/>
            <a:ln w="12700">
              <a:solidFill>
                <a:schemeClr val="accent3"/>
              </a:solidFill>
              <a:round/>
              <a:headEnd/>
              <a:tailEnd/>
            </a:ln>
          </p:spPr>
          <p:txBody>
            <a:bodyPr wrap="none" anchor="ctr"/>
            <a:lstStyle/>
            <a:p>
              <a:pPr algn="ctr">
                <a:defRPr/>
              </a:pPr>
              <a:endParaRPr lang="en-US" sz="1600"/>
            </a:p>
          </p:txBody>
        </p:sp>
      </p:grpSp>
      <p:grpSp>
        <p:nvGrpSpPr>
          <p:cNvPr id="6" name="Group 42"/>
          <p:cNvGrpSpPr>
            <a:grpSpLocks/>
          </p:cNvGrpSpPr>
          <p:nvPr>
            <p:custDataLst>
              <p:tags r:id="rId25"/>
            </p:custDataLst>
          </p:nvPr>
        </p:nvGrpSpPr>
        <p:grpSpPr bwMode="auto">
          <a:xfrm>
            <a:off x="2143125" y="3733800"/>
            <a:ext cx="596900" cy="576263"/>
            <a:chOff x="4073" y="2750"/>
            <a:chExt cx="408" cy="363"/>
          </a:xfrm>
        </p:grpSpPr>
        <p:sp>
          <p:nvSpPr>
            <p:cNvPr id="38" name="Line 43"/>
            <p:cNvSpPr>
              <a:spLocks noChangeShapeType="1"/>
            </p:cNvSpPr>
            <p:nvPr/>
          </p:nvSpPr>
          <p:spPr bwMode="auto">
            <a:xfrm flipV="1">
              <a:off x="4073" y="2750"/>
              <a:ext cx="0" cy="363"/>
            </a:xfrm>
            <a:prstGeom prst="line">
              <a:avLst/>
            </a:prstGeom>
            <a:noFill/>
            <a:ln w="9525">
              <a:solidFill>
                <a:schemeClr val="tx2"/>
              </a:solidFill>
              <a:round/>
              <a:headEnd/>
              <a:tailEnd/>
            </a:ln>
          </p:spPr>
          <p:txBody>
            <a:bodyPr tIns="91440" bIns="91440" anchor="ctr"/>
            <a:lstStyle/>
            <a:p>
              <a:pPr>
                <a:defRPr/>
              </a:pPr>
              <a:endParaRPr lang="en-US"/>
            </a:p>
          </p:txBody>
        </p:sp>
        <p:sp>
          <p:nvSpPr>
            <p:cNvPr id="39" name="Line 44"/>
            <p:cNvSpPr>
              <a:spLocks noChangeShapeType="1"/>
            </p:cNvSpPr>
            <p:nvPr/>
          </p:nvSpPr>
          <p:spPr bwMode="auto">
            <a:xfrm>
              <a:off x="4073" y="2750"/>
              <a:ext cx="408" cy="0"/>
            </a:xfrm>
            <a:prstGeom prst="line">
              <a:avLst/>
            </a:prstGeom>
            <a:noFill/>
            <a:ln w="9525">
              <a:solidFill>
                <a:schemeClr val="tx2"/>
              </a:solidFill>
              <a:round/>
              <a:headEnd/>
              <a:tailEnd type="triangle" w="med" len="med"/>
            </a:ln>
          </p:spPr>
          <p:txBody>
            <a:bodyPr tIns="91440" bIns="91440" anchor="ctr"/>
            <a:lstStyle/>
            <a:p>
              <a:pPr>
                <a:defRPr/>
              </a:pPr>
              <a:endParaRPr lang="en-US"/>
            </a:p>
          </p:txBody>
        </p:sp>
      </p:grpSp>
      <p:grpSp>
        <p:nvGrpSpPr>
          <p:cNvPr id="7" name="Group 45"/>
          <p:cNvGrpSpPr>
            <a:grpSpLocks/>
          </p:cNvGrpSpPr>
          <p:nvPr>
            <p:custDataLst>
              <p:tags r:id="rId26"/>
            </p:custDataLst>
          </p:nvPr>
        </p:nvGrpSpPr>
        <p:grpSpPr bwMode="auto">
          <a:xfrm>
            <a:off x="2143125" y="4495800"/>
            <a:ext cx="600075" cy="576263"/>
            <a:chOff x="4798" y="2750"/>
            <a:chExt cx="409" cy="363"/>
          </a:xfrm>
        </p:grpSpPr>
        <p:sp>
          <p:nvSpPr>
            <p:cNvPr id="41" name="Line 46"/>
            <p:cNvSpPr>
              <a:spLocks noChangeShapeType="1"/>
            </p:cNvSpPr>
            <p:nvPr/>
          </p:nvSpPr>
          <p:spPr bwMode="auto">
            <a:xfrm flipV="1">
              <a:off x="4798" y="2750"/>
              <a:ext cx="0" cy="363"/>
            </a:xfrm>
            <a:prstGeom prst="line">
              <a:avLst/>
            </a:prstGeom>
            <a:noFill/>
            <a:ln w="9525">
              <a:solidFill>
                <a:schemeClr val="tx2"/>
              </a:solidFill>
              <a:round/>
              <a:headEnd/>
              <a:tailEnd/>
            </a:ln>
          </p:spPr>
          <p:txBody>
            <a:bodyPr tIns="91440" bIns="91440" anchor="ctr"/>
            <a:lstStyle/>
            <a:p>
              <a:pPr>
                <a:defRPr/>
              </a:pPr>
              <a:endParaRPr lang="en-US"/>
            </a:p>
          </p:txBody>
        </p:sp>
        <p:sp>
          <p:nvSpPr>
            <p:cNvPr id="42" name="Line 47"/>
            <p:cNvSpPr>
              <a:spLocks noChangeShapeType="1"/>
            </p:cNvSpPr>
            <p:nvPr/>
          </p:nvSpPr>
          <p:spPr bwMode="auto">
            <a:xfrm>
              <a:off x="4798" y="2750"/>
              <a:ext cx="408" cy="0"/>
            </a:xfrm>
            <a:prstGeom prst="line">
              <a:avLst/>
            </a:prstGeom>
            <a:noFill/>
            <a:ln w="9525">
              <a:solidFill>
                <a:schemeClr val="tx2"/>
              </a:solidFill>
              <a:round/>
              <a:headEnd/>
              <a:tailEnd/>
            </a:ln>
          </p:spPr>
          <p:txBody>
            <a:bodyPr tIns="91440" bIns="91440" anchor="ctr"/>
            <a:lstStyle/>
            <a:p>
              <a:pPr>
                <a:defRPr/>
              </a:pPr>
              <a:endParaRPr lang="en-US"/>
            </a:p>
          </p:txBody>
        </p:sp>
        <p:sp>
          <p:nvSpPr>
            <p:cNvPr id="43" name="Line 48"/>
            <p:cNvSpPr>
              <a:spLocks noChangeShapeType="1"/>
            </p:cNvSpPr>
            <p:nvPr/>
          </p:nvSpPr>
          <p:spPr bwMode="auto">
            <a:xfrm>
              <a:off x="5207" y="2750"/>
              <a:ext cx="0" cy="363"/>
            </a:xfrm>
            <a:prstGeom prst="line">
              <a:avLst/>
            </a:prstGeom>
            <a:noFill/>
            <a:ln w="9525">
              <a:solidFill>
                <a:schemeClr val="tx2"/>
              </a:solidFill>
              <a:round/>
              <a:headEnd/>
              <a:tailEnd type="triangle" w="med" len="med"/>
            </a:ln>
          </p:spPr>
          <p:txBody>
            <a:bodyPr tIns="91440" bIns="91440" anchor="ctr"/>
            <a:lstStyle/>
            <a:p>
              <a:pPr>
                <a:defRPr/>
              </a:pPr>
              <a:endParaRPr lang="en-US"/>
            </a:p>
          </p:txBody>
        </p:sp>
      </p:grpSp>
      <p:grpSp>
        <p:nvGrpSpPr>
          <p:cNvPr id="16" name="Group 49"/>
          <p:cNvGrpSpPr>
            <a:grpSpLocks/>
          </p:cNvGrpSpPr>
          <p:nvPr>
            <p:custDataLst>
              <p:tags r:id="rId27"/>
            </p:custDataLst>
          </p:nvPr>
        </p:nvGrpSpPr>
        <p:grpSpPr bwMode="auto">
          <a:xfrm>
            <a:off x="2143125" y="5251573"/>
            <a:ext cx="600075" cy="719138"/>
            <a:chOff x="4798" y="3203"/>
            <a:chExt cx="409" cy="726"/>
          </a:xfrm>
        </p:grpSpPr>
        <p:sp>
          <p:nvSpPr>
            <p:cNvPr id="45" name="Line 50"/>
            <p:cNvSpPr>
              <a:spLocks noChangeShapeType="1"/>
            </p:cNvSpPr>
            <p:nvPr/>
          </p:nvSpPr>
          <p:spPr bwMode="auto">
            <a:xfrm flipV="1">
              <a:off x="4798" y="3567"/>
              <a:ext cx="0" cy="362"/>
            </a:xfrm>
            <a:prstGeom prst="line">
              <a:avLst/>
            </a:prstGeom>
            <a:noFill/>
            <a:ln w="9525">
              <a:solidFill>
                <a:schemeClr val="tx2"/>
              </a:solidFill>
              <a:round/>
              <a:headEnd/>
              <a:tailEnd/>
            </a:ln>
          </p:spPr>
          <p:txBody>
            <a:bodyPr tIns="91440" bIns="91440" anchor="ctr"/>
            <a:lstStyle/>
            <a:p>
              <a:pPr>
                <a:defRPr/>
              </a:pPr>
              <a:endParaRPr lang="en-US"/>
            </a:p>
          </p:txBody>
        </p:sp>
        <p:sp>
          <p:nvSpPr>
            <p:cNvPr id="46" name="Line 51"/>
            <p:cNvSpPr>
              <a:spLocks noChangeShapeType="1"/>
            </p:cNvSpPr>
            <p:nvPr/>
          </p:nvSpPr>
          <p:spPr bwMode="auto">
            <a:xfrm>
              <a:off x="4798" y="3567"/>
              <a:ext cx="408" cy="0"/>
            </a:xfrm>
            <a:prstGeom prst="line">
              <a:avLst/>
            </a:prstGeom>
            <a:noFill/>
            <a:ln w="9525">
              <a:solidFill>
                <a:schemeClr val="tx2"/>
              </a:solidFill>
              <a:round/>
              <a:headEnd/>
              <a:tailEnd/>
            </a:ln>
          </p:spPr>
          <p:txBody>
            <a:bodyPr tIns="91440" bIns="91440" anchor="ctr"/>
            <a:lstStyle/>
            <a:p>
              <a:pPr>
                <a:defRPr/>
              </a:pPr>
              <a:endParaRPr lang="en-US"/>
            </a:p>
          </p:txBody>
        </p:sp>
        <p:sp>
          <p:nvSpPr>
            <p:cNvPr id="47" name="Line 52"/>
            <p:cNvSpPr>
              <a:spLocks noChangeShapeType="1"/>
            </p:cNvSpPr>
            <p:nvPr/>
          </p:nvSpPr>
          <p:spPr bwMode="auto">
            <a:xfrm>
              <a:off x="5207" y="3203"/>
              <a:ext cx="0" cy="364"/>
            </a:xfrm>
            <a:prstGeom prst="line">
              <a:avLst/>
            </a:prstGeom>
            <a:noFill/>
            <a:ln w="9525">
              <a:solidFill>
                <a:schemeClr val="tx2"/>
              </a:solidFill>
              <a:round/>
              <a:headEnd type="triangle" w="med" len="med"/>
              <a:tailEnd/>
            </a:ln>
          </p:spPr>
          <p:txBody>
            <a:bodyPr tIns="91440" bIns="91440" anchor="ctr"/>
            <a:lstStyle/>
            <a:p>
              <a:pPr>
                <a:defRPr/>
              </a:pPr>
              <a:endParaRPr lang="en-US"/>
            </a:p>
          </p:txBody>
        </p:sp>
      </p:grpSp>
      <p:grpSp>
        <p:nvGrpSpPr>
          <p:cNvPr id="17" name="Group 53"/>
          <p:cNvGrpSpPr>
            <a:grpSpLocks/>
          </p:cNvGrpSpPr>
          <p:nvPr>
            <p:custDataLst>
              <p:tags r:id="rId28"/>
            </p:custDataLst>
          </p:nvPr>
        </p:nvGrpSpPr>
        <p:grpSpPr bwMode="auto">
          <a:xfrm>
            <a:off x="1266825" y="5240690"/>
            <a:ext cx="598488" cy="576263"/>
            <a:chOff x="4572" y="3430"/>
            <a:chExt cx="409" cy="363"/>
          </a:xfrm>
        </p:grpSpPr>
        <p:sp>
          <p:nvSpPr>
            <p:cNvPr id="49" name="Line 54"/>
            <p:cNvSpPr>
              <a:spLocks noChangeShapeType="1"/>
            </p:cNvSpPr>
            <p:nvPr/>
          </p:nvSpPr>
          <p:spPr bwMode="auto">
            <a:xfrm flipV="1">
              <a:off x="4572" y="3430"/>
              <a:ext cx="0" cy="363"/>
            </a:xfrm>
            <a:prstGeom prst="line">
              <a:avLst/>
            </a:prstGeom>
            <a:noFill/>
            <a:ln w="9525">
              <a:solidFill>
                <a:schemeClr val="tx2"/>
              </a:solidFill>
              <a:round/>
              <a:headEnd/>
              <a:tailEnd/>
            </a:ln>
          </p:spPr>
          <p:txBody>
            <a:bodyPr tIns="91440" bIns="91440" anchor="ctr"/>
            <a:lstStyle/>
            <a:p>
              <a:pPr>
                <a:defRPr/>
              </a:pPr>
              <a:endParaRPr lang="en-US"/>
            </a:p>
          </p:txBody>
        </p:sp>
        <p:sp>
          <p:nvSpPr>
            <p:cNvPr id="50" name="Line 55"/>
            <p:cNvSpPr>
              <a:spLocks noChangeShapeType="1"/>
            </p:cNvSpPr>
            <p:nvPr/>
          </p:nvSpPr>
          <p:spPr bwMode="auto">
            <a:xfrm>
              <a:off x="4572" y="3430"/>
              <a:ext cx="408" cy="0"/>
            </a:xfrm>
            <a:prstGeom prst="line">
              <a:avLst/>
            </a:prstGeom>
            <a:noFill/>
            <a:ln w="9525">
              <a:solidFill>
                <a:schemeClr val="tx2"/>
              </a:solidFill>
              <a:round/>
              <a:headEnd/>
              <a:tailEnd/>
            </a:ln>
          </p:spPr>
          <p:txBody>
            <a:bodyPr tIns="91440" bIns="91440" anchor="ctr"/>
            <a:lstStyle/>
            <a:p>
              <a:pPr>
                <a:defRPr/>
              </a:pPr>
              <a:endParaRPr lang="en-US"/>
            </a:p>
          </p:txBody>
        </p:sp>
        <p:sp>
          <p:nvSpPr>
            <p:cNvPr id="51" name="Line 56"/>
            <p:cNvSpPr>
              <a:spLocks noChangeShapeType="1"/>
            </p:cNvSpPr>
            <p:nvPr/>
          </p:nvSpPr>
          <p:spPr bwMode="auto">
            <a:xfrm>
              <a:off x="4981" y="3430"/>
              <a:ext cx="0" cy="182"/>
            </a:xfrm>
            <a:prstGeom prst="line">
              <a:avLst/>
            </a:prstGeom>
            <a:noFill/>
            <a:ln w="9525">
              <a:solidFill>
                <a:schemeClr val="tx2"/>
              </a:solidFill>
              <a:round/>
              <a:headEnd/>
              <a:tailEnd type="triangle" w="med" len="med"/>
            </a:ln>
          </p:spPr>
          <p:txBody>
            <a:bodyPr tIns="91440" bIns="91440" anchor="ctr"/>
            <a:lstStyle/>
            <a:p>
              <a:pPr>
                <a:defRPr/>
              </a:pPr>
              <a:endParaRPr lang="en-US"/>
            </a:p>
          </p:txBody>
        </p:sp>
      </p:grpSp>
      <p:sp>
        <p:nvSpPr>
          <p:cNvPr id="550941" name="Rectangle 57"/>
          <p:cNvSpPr>
            <a:spLocks noChangeArrowheads="1"/>
          </p:cNvSpPr>
          <p:nvPr/>
        </p:nvSpPr>
        <p:spPr bwMode="auto">
          <a:xfrm>
            <a:off x="6086475" y="5519461"/>
            <a:ext cx="2673350" cy="738664"/>
          </a:xfrm>
          <a:prstGeom prst="rect">
            <a:avLst/>
          </a:prstGeom>
          <a:noFill/>
          <a:ln w="12700" algn="ctr">
            <a:solidFill>
              <a:schemeClr val="tx2"/>
            </a:solidFill>
            <a:miter lim="800000"/>
            <a:headEnd/>
            <a:tailEnd/>
          </a:ln>
        </p:spPr>
        <p:txBody>
          <a:bodyPr tIns="91440" bIns="91440">
            <a:spAutoFit/>
          </a:bodyPr>
          <a:lstStyle/>
          <a:p>
            <a:pPr algn="l"/>
            <a:r>
              <a:rPr lang="en-US" altLang="ja-JP" sz="900" b="0">
                <a:solidFill>
                  <a:schemeClr val="tx2"/>
                </a:solidFill>
                <a:ea typeface="ＭＳ Ｐゴシック" charset="-128"/>
              </a:rPr>
              <a:t>Tip! Use the Paint Brush on the Formatting Toolbar to copy identical settings onto other objects. Rotate and Flip objects as needed using the Draw Toolbar</a:t>
            </a:r>
          </a:p>
        </p:txBody>
      </p:sp>
      <p:sp>
        <p:nvSpPr>
          <p:cNvPr id="56" name="Freeform 62"/>
          <p:cNvSpPr>
            <a:spLocks/>
          </p:cNvSpPr>
          <p:nvPr/>
        </p:nvSpPr>
        <p:spPr bwMode="auto">
          <a:xfrm>
            <a:off x="7276836" y="4546324"/>
            <a:ext cx="184638" cy="384175"/>
          </a:xfrm>
          <a:custGeom>
            <a:avLst/>
            <a:gdLst>
              <a:gd name="T0" fmla="*/ 78 w 147"/>
              <a:gd name="T1" fmla="*/ 0 h 228"/>
              <a:gd name="T2" fmla="*/ 136 w 147"/>
              <a:gd name="T3" fmla="*/ 0 h 228"/>
              <a:gd name="T4" fmla="*/ 79 w 147"/>
              <a:gd name="T5" fmla="*/ 81 h 228"/>
              <a:gd name="T6" fmla="*/ 69 w 147"/>
              <a:gd name="T7" fmla="*/ 89 h 228"/>
              <a:gd name="T8" fmla="*/ 147 w 147"/>
              <a:gd name="T9" fmla="*/ 86 h 228"/>
              <a:gd name="T10" fmla="*/ 63 w 147"/>
              <a:gd name="T11" fmla="*/ 228 h 228"/>
              <a:gd name="T12" fmla="*/ 3 w 147"/>
              <a:gd name="T13" fmla="*/ 228 h 228"/>
              <a:gd name="T14" fmla="*/ 70 w 147"/>
              <a:gd name="T15" fmla="*/ 117 h 228"/>
              <a:gd name="T16" fmla="*/ 0 w 147"/>
              <a:gd name="T17" fmla="*/ 117 h 228"/>
              <a:gd name="T18" fmla="*/ 78 w 147"/>
              <a:gd name="T19" fmla="*/ 0 h 2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7"/>
              <a:gd name="T31" fmla="*/ 0 h 228"/>
              <a:gd name="T32" fmla="*/ 147 w 147"/>
              <a:gd name="T33" fmla="*/ 228 h 2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7" h="228">
                <a:moveTo>
                  <a:pt x="78" y="0"/>
                </a:moveTo>
                <a:lnTo>
                  <a:pt x="136" y="0"/>
                </a:lnTo>
                <a:lnTo>
                  <a:pt x="79" y="81"/>
                </a:lnTo>
                <a:lnTo>
                  <a:pt x="69" y="89"/>
                </a:lnTo>
                <a:lnTo>
                  <a:pt x="147" y="86"/>
                </a:lnTo>
                <a:lnTo>
                  <a:pt x="63" y="228"/>
                </a:lnTo>
                <a:lnTo>
                  <a:pt x="3" y="228"/>
                </a:lnTo>
                <a:lnTo>
                  <a:pt x="70" y="117"/>
                </a:lnTo>
                <a:lnTo>
                  <a:pt x="0" y="117"/>
                </a:lnTo>
                <a:lnTo>
                  <a:pt x="78" y="0"/>
                </a:lnTo>
                <a:close/>
              </a:path>
            </a:pathLst>
          </a:custGeom>
          <a:solidFill>
            <a:schemeClr val="bg1"/>
          </a:solidFill>
          <a:ln w="12700">
            <a:solidFill>
              <a:schemeClr val="accent3"/>
            </a:solidFill>
            <a:round/>
            <a:headEnd/>
            <a:tailEnd/>
          </a:ln>
        </p:spPr>
        <p:txBody>
          <a:bodyPr wrap="none" anchor="ctr">
            <a:spAutoFit/>
          </a:bodyPr>
          <a:lstStyle/>
          <a:p>
            <a:pPr>
              <a:defRPr/>
            </a:pPr>
            <a:endParaRPr lang="en-US"/>
          </a:p>
        </p:txBody>
      </p:sp>
      <p:grpSp>
        <p:nvGrpSpPr>
          <p:cNvPr id="18" name="Group 65"/>
          <p:cNvGrpSpPr>
            <a:grpSpLocks/>
          </p:cNvGrpSpPr>
          <p:nvPr>
            <p:custDataLst>
              <p:tags r:id="rId29"/>
            </p:custDataLst>
          </p:nvPr>
        </p:nvGrpSpPr>
        <p:grpSpPr bwMode="auto">
          <a:xfrm>
            <a:off x="7055440" y="4087536"/>
            <a:ext cx="596900" cy="296863"/>
            <a:chOff x="1672" y="1566"/>
            <a:chExt cx="316" cy="187"/>
          </a:xfrm>
        </p:grpSpPr>
        <p:sp>
          <p:nvSpPr>
            <p:cNvPr id="60" name="Line 66"/>
            <p:cNvSpPr>
              <a:spLocks noChangeShapeType="1"/>
            </p:cNvSpPr>
            <p:nvPr/>
          </p:nvSpPr>
          <p:spPr bwMode="auto">
            <a:xfrm flipV="1">
              <a:off x="1672" y="1643"/>
              <a:ext cx="316" cy="110"/>
            </a:xfrm>
            <a:prstGeom prst="line">
              <a:avLst/>
            </a:prstGeom>
            <a:noFill/>
            <a:ln w="6350">
              <a:solidFill>
                <a:schemeClr val="accent3"/>
              </a:solidFill>
              <a:round/>
              <a:headEnd/>
              <a:tailEnd/>
            </a:ln>
          </p:spPr>
          <p:txBody>
            <a:bodyPr wrap="none" anchor="ctr"/>
            <a:lstStyle/>
            <a:p>
              <a:pPr>
                <a:defRPr/>
              </a:pPr>
              <a:endParaRPr lang="en-US"/>
            </a:p>
          </p:txBody>
        </p:sp>
        <p:sp>
          <p:nvSpPr>
            <p:cNvPr id="61" name="Line 67"/>
            <p:cNvSpPr>
              <a:spLocks noChangeShapeType="1"/>
            </p:cNvSpPr>
            <p:nvPr/>
          </p:nvSpPr>
          <p:spPr bwMode="auto">
            <a:xfrm flipV="1">
              <a:off x="1672" y="1566"/>
              <a:ext cx="316" cy="110"/>
            </a:xfrm>
            <a:prstGeom prst="line">
              <a:avLst/>
            </a:prstGeom>
            <a:noFill/>
            <a:ln w="6350">
              <a:solidFill>
                <a:schemeClr val="accent3"/>
              </a:solidFill>
              <a:round/>
              <a:headEnd/>
              <a:tailEnd/>
            </a:ln>
          </p:spPr>
          <p:txBody>
            <a:bodyPr wrap="none" anchor="ctr"/>
            <a:lstStyle/>
            <a:p>
              <a:pPr>
                <a:defRPr/>
              </a:pPr>
              <a:endParaRPr lang="en-US"/>
            </a:p>
          </p:txBody>
        </p:sp>
      </p:grpSp>
      <p:grpSp>
        <p:nvGrpSpPr>
          <p:cNvPr id="19" name="Group 68"/>
          <p:cNvGrpSpPr>
            <a:grpSpLocks/>
          </p:cNvGrpSpPr>
          <p:nvPr>
            <p:custDataLst>
              <p:tags r:id="rId30"/>
            </p:custDataLst>
          </p:nvPr>
        </p:nvGrpSpPr>
        <p:grpSpPr bwMode="auto">
          <a:xfrm>
            <a:off x="6001340" y="4087536"/>
            <a:ext cx="646113" cy="1397000"/>
            <a:chOff x="671" y="2112"/>
            <a:chExt cx="441" cy="976"/>
          </a:xfrm>
        </p:grpSpPr>
        <p:sp>
          <p:nvSpPr>
            <p:cNvPr id="63" name="Rectangle 69"/>
            <p:cNvSpPr>
              <a:spLocks noChangeArrowheads="1"/>
            </p:cNvSpPr>
            <p:nvPr/>
          </p:nvSpPr>
          <p:spPr bwMode="auto">
            <a:xfrm>
              <a:off x="730" y="2112"/>
              <a:ext cx="323" cy="976"/>
            </a:xfrm>
            <a:prstGeom prst="rect">
              <a:avLst/>
            </a:prstGeom>
            <a:solidFill>
              <a:schemeClr val="accent3"/>
            </a:solidFill>
            <a:ln w="9525" algn="ctr">
              <a:noFill/>
              <a:miter lim="800000"/>
              <a:headEnd/>
              <a:tailEnd/>
            </a:ln>
          </p:spPr>
          <p:txBody>
            <a:bodyPr wrap="none" anchor="ctr"/>
            <a:lstStyle/>
            <a:p>
              <a:pPr algn="ctr">
                <a:defRPr/>
              </a:pPr>
              <a:endParaRPr lang="en-US" sz="1400"/>
            </a:p>
          </p:txBody>
        </p:sp>
        <p:grpSp>
          <p:nvGrpSpPr>
            <p:cNvPr id="20" name="Group 70"/>
            <p:cNvGrpSpPr>
              <a:grpSpLocks/>
            </p:cNvGrpSpPr>
            <p:nvPr/>
          </p:nvGrpSpPr>
          <p:grpSpPr bwMode="auto">
            <a:xfrm rot="-1044367">
              <a:off x="671" y="2320"/>
              <a:ext cx="441" cy="89"/>
              <a:chOff x="788" y="2040"/>
              <a:chExt cx="488" cy="89"/>
            </a:xfrm>
          </p:grpSpPr>
          <p:sp>
            <p:nvSpPr>
              <p:cNvPr id="65" name="Rectangle 71"/>
              <p:cNvSpPr>
                <a:spLocks noChangeArrowheads="1"/>
              </p:cNvSpPr>
              <p:nvPr/>
            </p:nvSpPr>
            <p:spPr bwMode="auto">
              <a:xfrm>
                <a:off x="797" y="2040"/>
                <a:ext cx="468" cy="89"/>
              </a:xfrm>
              <a:prstGeom prst="rect">
                <a:avLst/>
              </a:prstGeom>
              <a:solidFill>
                <a:schemeClr val="bg1"/>
              </a:solidFill>
              <a:ln w="6350" algn="ctr">
                <a:solidFill>
                  <a:schemeClr val="accent3"/>
                </a:solidFill>
                <a:miter lim="800000"/>
                <a:headEnd/>
                <a:tailEnd/>
              </a:ln>
            </p:spPr>
            <p:txBody>
              <a:bodyPr wrap="none" anchor="ctr"/>
              <a:lstStyle/>
              <a:p>
                <a:pPr algn="ctr">
                  <a:defRPr/>
                </a:pPr>
                <a:endParaRPr lang="en-US" sz="1400"/>
              </a:p>
            </p:txBody>
          </p:sp>
          <p:sp>
            <p:nvSpPr>
              <p:cNvPr id="550978" name="Rectangle 72"/>
              <p:cNvSpPr>
                <a:spLocks noChangeArrowheads="1"/>
              </p:cNvSpPr>
              <p:nvPr/>
            </p:nvSpPr>
            <p:spPr bwMode="auto">
              <a:xfrm>
                <a:off x="788" y="2045"/>
                <a:ext cx="488" cy="82"/>
              </a:xfrm>
              <a:prstGeom prst="rect">
                <a:avLst/>
              </a:prstGeom>
              <a:solidFill>
                <a:schemeClr val="bg1"/>
              </a:solidFill>
              <a:ln w="12700">
                <a:noFill/>
                <a:miter lim="800000"/>
                <a:headEnd/>
                <a:tailEnd/>
              </a:ln>
            </p:spPr>
            <p:txBody>
              <a:bodyPr wrap="none" anchor="ctr"/>
              <a:lstStyle/>
              <a:p>
                <a:pPr algn="ctr"/>
                <a:endParaRPr lang="en-US" sz="1400"/>
              </a:p>
            </p:txBody>
          </p:sp>
        </p:grpSp>
      </p:grpSp>
      <p:sp>
        <p:nvSpPr>
          <p:cNvPr id="67" name="Freeform 73"/>
          <p:cNvSpPr>
            <a:spLocks/>
          </p:cNvSpPr>
          <p:nvPr>
            <p:custDataLst>
              <p:tags r:id="rId31"/>
            </p:custDataLst>
          </p:nvPr>
        </p:nvSpPr>
        <p:spPr bwMode="auto">
          <a:xfrm>
            <a:off x="6086475" y="3554136"/>
            <a:ext cx="2151063" cy="276225"/>
          </a:xfrm>
          <a:custGeom>
            <a:avLst/>
            <a:gdLst>
              <a:gd name="T0" fmla="*/ 0 w 2427"/>
              <a:gd name="T1" fmla="*/ 0 h 314"/>
              <a:gd name="T2" fmla="*/ 2147483647 w 2427"/>
              <a:gd name="T3" fmla="*/ 2147483647 h 314"/>
              <a:gd name="T4" fmla="*/ 2147483647 w 2427"/>
              <a:gd name="T5" fmla="*/ 2147483647 h 314"/>
              <a:gd name="T6" fmla="*/ 2147483647 w 2427"/>
              <a:gd name="T7" fmla="*/ 2147483647 h 314"/>
              <a:gd name="T8" fmla="*/ 2147483647 w 2427"/>
              <a:gd name="T9" fmla="*/ 2147483647 h 314"/>
              <a:gd name="T10" fmla="*/ 2147483647 w 2427"/>
              <a:gd name="T11" fmla="*/ 2147483647 h 314"/>
              <a:gd name="T12" fmla="*/ 2147483647 w 2427"/>
              <a:gd name="T13" fmla="*/ 2147483647 h 314"/>
              <a:gd name="T14" fmla="*/ 2147483647 w 2427"/>
              <a:gd name="T15" fmla="*/ 2147483647 h 314"/>
              <a:gd name="T16" fmla="*/ 2147483647 w 2427"/>
              <a:gd name="T17" fmla="*/ 2147483647 h 3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27"/>
              <a:gd name="T28" fmla="*/ 0 h 314"/>
              <a:gd name="T29" fmla="*/ 2427 w 2427"/>
              <a:gd name="T30" fmla="*/ 314 h 3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27" h="314">
                <a:moveTo>
                  <a:pt x="0" y="0"/>
                </a:moveTo>
                <a:lnTo>
                  <a:pt x="272" y="304"/>
                </a:lnTo>
                <a:lnTo>
                  <a:pt x="571" y="13"/>
                </a:lnTo>
                <a:lnTo>
                  <a:pt x="879" y="312"/>
                </a:lnTo>
                <a:lnTo>
                  <a:pt x="1188" y="14"/>
                </a:lnTo>
                <a:lnTo>
                  <a:pt x="1498" y="314"/>
                </a:lnTo>
                <a:lnTo>
                  <a:pt x="1803" y="5"/>
                </a:lnTo>
                <a:lnTo>
                  <a:pt x="2112" y="310"/>
                </a:lnTo>
                <a:lnTo>
                  <a:pt x="2427" y="5"/>
                </a:lnTo>
              </a:path>
            </a:pathLst>
          </a:custGeom>
          <a:noFill/>
          <a:ln w="12700">
            <a:solidFill>
              <a:schemeClr val="accent3"/>
            </a:solidFill>
            <a:round/>
            <a:headEnd/>
            <a:tailEnd/>
          </a:ln>
        </p:spPr>
        <p:txBody>
          <a:bodyPr wrap="none" anchor="ctr"/>
          <a:lstStyle/>
          <a:p>
            <a:pPr>
              <a:defRPr/>
            </a:pPr>
            <a:endParaRPr lang="en-US"/>
          </a:p>
        </p:txBody>
      </p:sp>
      <p:grpSp>
        <p:nvGrpSpPr>
          <p:cNvPr id="22" name="Group 74"/>
          <p:cNvGrpSpPr>
            <a:grpSpLocks/>
          </p:cNvGrpSpPr>
          <p:nvPr>
            <p:custDataLst>
              <p:tags r:id="rId32"/>
            </p:custDataLst>
          </p:nvPr>
        </p:nvGrpSpPr>
        <p:grpSpPr bwMode="auto">
          <a:xfrm>
            <a:off x="7266578" y="5230536"/>
            <a:ext cx="141287" cy="152400"/>
            <a:chOff x="1136" y="3256"/>
            <a:chExt cx="96" cy="96"/>
          </a:xfrm>
        </p:grpSpPr>
        <p:sp>
          <p:nvSpPr>
            <p:cNvPr id="69" name="Line 75"/>
            <p:cNvSpPr>
              <a:spLocks noChangeShapeType="1"/>
            </p:cNvSpPr>
            <p:nvPr/>
          </p:nvSpPr>
          <p:spPr bwMode="auto">
            <a:xfrm>
              <a:off x="1168" y="3272"/>
              <a:ext cx="40" cy="40"/>
            </a:xfrm>
            <a:prstGeom prst="line">
              <a:avLst/>
            </a:prstGeom>
            <a:noFill/>
            <a:ln w="25400">
              <a:solidFill>
                <a:schemeClr val="accent3"/>
              </a:solidFill>
              <a:round/>
              <a:headEnd/>
              <a:tailEnd/>
            </a:ln>
          </p:spPr>
          <p:txBody>
            <a:bodyPr wrap="none" anchor="ctr"/>
            <a:lstStyle/>
            <a:p>
              <a:pPr>
                <a:defRPr/>
              </a:pPr>
              <a:endParaRPr lang="en-US"/>
            </a:p>
          </p:txBody>
        </p:sp>
        <p:sp>
          <p:nvSpPr>
            <p:cNvPr id="70" name="Line 76"/>
            <p:cNvSpPr>
              <a:spLocks noChangeShapeType="1"/>
            </p:cNvSpPr>
            <p:nvPr/>
          </p:nvSpPr>
          <p:spPr bwMode="auto">
            <a:xfrm>
              <a:off x="1168" y="3304"/>
              <a:ext cx="40" cy="40"/>
            </a:xfrm>
            <a:prstGeom prst="line">
              <a:avLst/>
            </a:prstGeom>
            <a:noFill/>
            <a:ln w="25400">
              <a:solidFill>
                <a:schemeClr val="accent3"/>
              </a:solidFill>
              <a:round/>
              <a:headEnd/>
              <a:tailEnd/>
            </a:ln>
          </p:spPr>
          <p:txBody>
            <a:bodyPr wrap="none" anchor="ctr"/>
            <a:lstStyle/>
            <a:p>
              <a:pPr>
                <a:defRPr/>
              </a:pPr>
              <a:endParaRPr lang="en-US"/>
            </a:p>
          </p:txBody>
        </p:sp>
        <p:sp>
          <p:nvSpPr>
            <p:cNvPr id="71" name="Line 77"/>
            <p:cNvSpPr>
              <a:spLocks noChangeShapeType="1"/>
            </p:cNvSpPr>
            <p:nvPr/>
          </p:nvSpPr>
          <p:spPr bwMode="auto">
            <a:xfrm>
              <a:off x="1136" y="3256"/>
              <a:ext cx="96" cy="96"/>
            </a:xfrm>
            <a:prstGeom prst="line">
              <a:avLst/>
            </a:prstGeom>
            <a:noFill/>
            <a:ln w="25400">
              <a:solidFill>
                <a:schemeClr val="accent3"/>
              </a:solidFill>
              <a:round/>
              <a:headEnd/>
              <a:tailEnd/>
            </a:ln>
          </p:spPr>
          <p:txBody>
            <a:bodyPr wrap="none" anchor="ctr"/>
            <a:lstStyle/>
            <a:p>
              <a:pPr>
                <a:defRPr/>
              </a:pPr>
              <a:endParaRPr lang="en-US"/>
            </a:p>
          </p:txBody>
        </p:sp>
      </p:grpSp>
      <p:sp>
        <p:nvSpPr>
          <p:cNvPr id="550947" name="Text Box 78"/>
          <p:cNvSpPr txBox="1">
            <a:spLocks noChangeArrowheads="1"/>
          </p:cNvSpPr>
          <p:nvPr>
            <p:custDataLst>
              <p:tags r:id="rId33"/>
            </p:custDataLst>
          </p:nvPr>
        </p:nvSpPr>
        <p:spPr bwMode="gray">
          <a:xfrm>
            <a:off x="3194050" y="2616200"/>
            <a:ext cx="846386" cy="218586"/>
          </a:xfrm>
          <a:prstGeom prst="rect">
            <a:avLst/>
          </a:prstGeom>
          <a:noFill/>
          <a:ln w="12700" algn="ctr">
            <a:noFill/>
            <a:miter lim="800000"/>
            <a:headEnd/>
            <a:tailEnd/>
          </a:ln>
        </p:spPr>
        <p:txBody>
          <a:bodyPr wrap="none" lIns="0" tIns="0" rIns="0" bIns="0">
            <a:spAutoFit/>
          </a:bodyPr>
          <a:lstStyle/>
          <a:p>
            <a:pPr>
              <a:lnSpc>
                <a:spcPct val="110000"/>
              </a:lnSpc>
            </a:pPr>
            <a:r>
              <a:rPr lang="en-US" sz="1400">
                <a:solidFill>
                  <a:schemeClr val="tx2"/>
                </a:solidFill>
              </a:rPr>
              <a:t>Directional</a:t>
            </a:r>
          </a:p>
        </p:txBody>
      </p:sp>
      <p:sp>
        <p:nvSpPr>
          <p:cNvPr id="550948" name="Text Box 79"/>
          <p:cNvSpPr txBox="1">
            <a:spLocks noChangeArrowheads="1"/>
          </p:cNvSpPr>
          <p:nvPr>
            <p:custDataLst>
              <p:tags r:id="rId34"/>
            </p:custDataLst>
          </p:nvPr>
        </p:nvSpPr>
        <p:spPr bwMode="gray">
          <a:xfrm>
            <a:off x="4438650" y="2616200"/>
            <a:ext cx="756617" cy="218586"/>
          </a:xfrm>
          <a:prstGeom prst="rect">
            <a:avLst/>
          </a:prstGeom>
          <a:noFill/>
          <a:ln w="12700" algn="ctr">
            <a:noFill/>
            <a:miter lim="800000"/>
            <a:headEnd/>
            <a:tailEnd/>
          </a:ln>
        </p:spPr>
        <p:txBody>
          <a:bodyPr wrap="none" lIns="0" tIns="0" rIns="0" bIns="0">
            <a:spAutoFit/>
          </a:bodyPr>
          <a:lstStyle/>
          <a:p>
            <a:pPr>
              <a:lnSpc>
                <a:spcPct val="110000"/>
              </a:lnSpc>
            </a:pPr>
            <a:r>
              <a:rPr lang="en-US" sz="1400">
                <a:solidFill>
                  <a:schemeClr val="tx2"/>
                </a:solidFill>
              </a:rPr>
              <a:t>Indicative</a:t>
            </a:r>
          </a:p>
        </p:txBody>
      </p:sp>
      <p:sp>
        <p:nvSpPr>
          <p:cNvPr id="74" name="AutoShape 80"/>
          <p:cNvSpPr>
            <a:spLocks noChangeArrowheads="1"/>
          </p:cNvSpPr>
          <p:nvPr>
            <p:custDataLst>
              <p:tags r:id="rId35"/>
            </p:custDataLst>
          </p:nvPr>
        </p:nvSpPr>
        <p:spPr bwMode="gray">
          <a:xfrm>
            <a:off x="2063750" y="1587500"/>
            <a:ext cx="820738" cy="850900"/>
          </a:xfrm>
          <a:custGeom>
            <a:avLst/>
            <a:gdLst>
              <a:gd name="T0" fmla="*/ 2147483647 w 21600"/>
              <a:gd name="T1" fmla="*/ 2147483647 h 21600"/>
              <a:gd name="T2" fmla="*/ 2147483647 w 21600"/>
              <a:gd name="T3" fmla="*/ 2147483647 h 21600"/>
              <a:gd name="T4" fmla="*/ 0 w 21600"/>
              <a:gd name="T5" fmla="*/ 2147483647 h 21600"/>
              <a:gd name="T6" fmla="*/ 2147483647 w 21600"/>
              <a:gd name="T7" fmla="*/ 0 h 21600"/>
              <a:gd name="T8" fmla="*/ 0 60000 65536"/>
              <a:gd name="T9" fmla="*/ 5898240 60000 65536"/>
              <a:gd name="T10" fmla="*/ 11796480 60000 65536"/>
              <a:gd name="T11" fmla="*/ 17694720 60000 65536"/>
              <a:gd name="T12" fmla="*/ 2160 w 21600"/>
              <a:gd name="T13" fmla="*/ 8640 h 21600"/>
              <a:gd name="T14" fmla="*/ 19440 w 21600"/>
              <a:gd name="T15" fmla="*/ 12960 h 21600"/>
            </a:gdLst>
            <a:ahLst/>
            <a:cxnLst>
              <a:cxn ang="T8">
                <a:pos x="T0" y="T1"/>
              </a:cxn>
              <a:cxn ang="T9">
                <a:pos x="T2" y="T3"/>
              </a:cxn>
              <a:cxn ang="T10">
                <a:pos x="T4" y="T5"/>
              </a:cxn>
              <a:cxn ang="T11">
                <a:pos x="T6" y="T7"/>
              </a:cxn>
            </a:cxnLst>
            <a:rect l="T12" t="T13" r="T14" b="T15"/>
            <a:pathLst>
              <a:path w="21600" h="21600">
                <a:moveTo>
                  <a:pt x="10800" y="0"/>
                </a:moveTo>
                <a:lnTo>
                  <a:pt x="6480" y="4320"/>
                </a:lnTo>
                <a:lnTo>
                  <a:pt x="8640" y="4320"/>
                </a:lnTo>
                <a:lnTo>
                  <a:pt x="8640" y="8640"/>
                </a:lnTo>
                <a:lnTo>
                  <a:pt x="4320" y="8640"/>
                </a:lnTo>
                <a:lnTo>
                  <a:pt x="4320" y="6480"/>
                </a:lnTo>
                <a:lnTo>
                  <a:pt x="0" y="10800"/>
                </a:lnTo>
                <a:lnTo>
                  <a:pt x="4320" y="15120"/>
                </a:lnTo>
                <a:lnTo>
                  <a:pt x="4320" y="12960"/>
                </a:lnTo>
                <a:lnTo>
                  <a:pt x="8640" y="12960"/>
                </a:lnTo>
                <a:lnTo>
                  <a:pt x="8640" y="17280"/>
                </a:lnTo>
                <a:lnTo>
                  <a:pt x="6480" y="17280"/>
                </a:lnTo>
                <a:lnTo>
                  <a:pt x="10800" y="21600"/>
                </a:lnTo>
                <a:lnTo>
                  <a:pt x="15120" y="17280"/>
                </a:lnTo>
                <a:lnTo>
                  <a:pt x="12960" y="17280"/>
                </a:lnTo>
                <a:lnTo>
                  <a:pt x="12960" y="12960"/>
                </a:lnTo>
                <a:lnTo>
                  <a:pt x="17280" y="12960"/>
                </a:lnTo>
                <a:lnTo>
                  <a:pt x="17280" y="15120"/>
                </a:lnTo>
                <a:lnTo>
                  <a:pt x="21600" y="10800"/>
                </a:lnTo>
                <a:lnTo>
                  <a:pt x="17280" y="6480"/>
                </a:lnTo>
                <a:lnTo>
                  <a:pt x="17280" y="8640"/>
                </a:lnTo>
                <a:lnTo>
                  <a:pt x="12960" y="8640"/>
                </a:lnTo>
                <a:lnTo>
                  <a:pt x="12960" y="4320"/>
                </a:lnTo>
                <a:lnTo>
                  <a:pt x="15120" y="4320"/>
                </a:lnTo>
                <a:close/>
              </a:path>
            </a:pathLst>
          </a:custGeom>
          <a:solidFill>
            <a:schemeClr val="accent3"/>
          </a:solidFill>
          <a:ln w="6350">
            <a:noFill/>
            <a:miter lim="800000"/>
            <a:headEnd/>
            <a:tailEnd/>
          </a:ln>
        </p:spPr>
        <p:txBody>
          <a:bodyPr lIns="0" tIns="0" rIns="0" bIns="0" anchor="ctr" anchorCtr="1"/>
          <a:lstStyle/>
          <a:p>
            <a:pPr algn="ctr">
              <a:defRPr/>
            </a:pPr>
            <a:endParaRPr lang="en-US" sz="1400"/>
          </a:p>
        </p:txBody>
      </p:sp>
      <p:sp>
        <p:nvSpPr>
          <p:cNvPr id="75" name="Freeform 81"/>
          <p:cNvSpPr>
            <a:spLocks/>
          </p:cNvSpPr>
          <p:nvPr>
            <p:custDataLst>
              <p:tags r:id="rId36"/>
            </p:custDataLst>
          </p:nvPr>
        </p:nvSpPr>
        <p:spPr bwMode="gray">
          <a:xfrm>
            <a:off x="1476375" y="2590800"/>
            <a:ext cx="1057275" cy="812800"/>
          </a:xfrm>
          <a:custGeom>
            <a:avLst/>
            <a:gdLst>
              <a:gd name="T0" fmla="*/ 2147483647 w 853"/>
              <a:gd name="T1" fmla="*/ 2147483647 h 918"/>
              <a:gd name="T2" fmla="*/ 0 w 853"/>
              <a:gd name="T3" fmla="*/ 2147483647 h 918"/>
              <a:gd name="T4" fmla="*/ 2147483647 w 853"/>
              <a:gd name="T5" fmla="*/ 2147483647 h 918"/>
              <a:gd name="T6" fmla="*/ 2147483647 w 853"/>
              <a:gd name="T7" fmla="*/ 2147483647 h 918"/>
              <a:gd name="T8" fmla="*/ 2147483647 w 853"/>
              <a:gd name="T9" fmla="*/ 2147483647 h 918"/>
              <a:gd name="T10" fmla="*/ 2147483647 w 853"/>
              <a:gd name="T11" fmla="*/ 2147483647 h 918"/>
              <a:gd name="T12" fmla="*/ 2147483647 w 853"/>
              <a:gd name="T13" fmla="*/ 2147483647 h 918"/>
              <a:gd name="T14" fmla="*/ 2147483647 w 853"/>
              <a:gd name="T15" fmla="*/ 2147483647 h 918"/>
              <a:gd name="T16" fmla="*/ 2147483647 w 853"/>
              <a:gd name="T17" fmla="*/ 2147483647 h 918"/>
              <a:gd name="T18" fmla="*/ 2147483647 w 853"/>
              <a:gd name="T19" fmla="*/ 2147483647 h 918"/>
              <a:gd name="T20" fmla="*/ 2147483647 w 853"/>
              <a:gd name="T21" fmla="*/ 2147483647 h 918"/>
              <a:gd name="T22" fmla="*/ 2147483647 w 853"/>
              <a:gd name="T23" fmla="*/ 2147483647 h 918"/>
              <a:gd name="T24" fmla="*/ 2147483647 w 853"/>
              <a:gd name="T25" fmla="*/ 2147483647 h 918"/>
              <a:gd name="T26" fmla="*/ 2147483647 w 853"/>
              <a:gd name="T27" fmla="*/ 2147483647 h 918"/>
              <a:gd name="T28" fmla="*/ 2147483647 w 853"/>
              <a:gd name="T29" fmla="*/ 2147483647 h 918"/>
              <a:gd name="T30" fmla="*/ 2147483647 w 853"/>
              <a:gd name="T31" fmla="*/ 2147483647 h 918"/>
              <a:gd name="T32" fmla="*/ 2147483647 w 853"/>
              <a:gd name="T33" fmla="*/ 2147483647 h 918"/>
              <a:gd name="T34" fmla="*/ 2147483647 w 853"/>
              <a:gd name="T35" fmla="*/ 2147483647 h 918"/>
              <a:gd name="T36" fmla="*/ 2147483647 w 853"/>
              <a:gd name="T37" fmla="*/ 2147483647 h 918"/>
              <a:gd name="T38" fmla="*/ 2147483647 w 853"/>
              <a:gd name="T39" fmla="*/ 2147483647 h 918"/>
              <a:gd name="T40" fmla="*/ 2147483647 w 853"/>
              <a:gd name="T41" fmla="*/ 2147483647 h 918"/>
              <a:gd name="T42" fmla="*/ 2147483647 w 853"/>
              <a:gd name="T43" fmla="*/ 2147483647 h 918"/>
              <a:gd name="T44" fmla="*/ 2147483647 w 853"/>
              <a:gd name="T45" fmla="*/ 2147483647 h 918"/>
              <a:gd name="T46" fmla="*/ 2147483647 w 853"/>
              <a:gd name="T47" fmla="*/ 2147483647 h 918"/>
              <a:gd name="T48" fmla="*/ 2147483647 w 853"/>
              <a:gd name="T49" fmla="*/ 2147483647 h 918"/>
              <a:gd name="T50" fmla="*/ 2147483647 w 853"/>
              <a:gd name="T51" fmla="*/ 2147483647 h 918"/>
              <a:gd name="T52" fmla="*/ 2147483647 w 853"/>
              <a:gd name="T53" fmla="*/ 2147483647 h 918"/>
              <a:gd name="T54" fmla="*/ 2147483647 w 853"/>
              <a:gd name="T55" fmla="*/ 2147483647 h 918"/>
              <a:gd name="T56" fmla="*/ 2147483647 w 853"/>
              <a:gd name="T57" fmla="*/ 2147483647 h 918"/>
              <a:gd name="T58" fmla="*/ 2147483647 w 853"/>
              <a:gd name="T59" fmla="*/ 2147483647 h 918"/>
              <a:gd name="T60" fmla="*/ 2147483647 w 853"/>
              <a:gd name="T61" fmla="*/ 2147483647 h 918"/>
              <a:gd name="T62" fmla="*/ 2147483647 w 853"/>
              <a:gd name="T63" fmla="*/ 2147483647 h 918"/>
              <a:gd name="T64" fmla="*/ 2147483647 w 853"/>
              <a:gd name="T65" fmla="*/ 2147483647 h 918"/>
              <a:gd name="T66" fmla="*/ 2147483647 w 853"/>
              <a:gd name="T67" fmla="*/ 2147483647 h 918"/>
              <a:gd name="T68" fmla="*/ 2147483647 w 853"/>
              <a:gd name="T69" fmla="*/ 0 h 918"/>
              <a:gd name="T70" fmla="*/ 2147483647 w 853"/>
              <a:gd name="T71" fmla="*/ 0 h 918"/>
              <a:gd name="T72" fmla="*/ 2147483647 w 853"/>
              <a:gd name="T73" fmla="*/ 2147483647 h 918"/>
              <a:gd name="T74" fmla="*/ 2147483647 w 853"/>
              <a:gd name="T75" fmla="*/ 2147483647 h 918"/>
              <a:gd name="T76" fmla="*/ 2147483647 w 853"/>
              <a:gd name="T77" fmla="*/ 2147483647 h 918"/>
              <a:gd name="T78" fmla="*/ 2147483647 w 853"/>
              <a:gd name="T79" fmla="*/ 2147483647 h 918"/>
              <a:gd name="T80" fmla="*/ 2147483647 w 853"/>
              <a:gd name="T81" fmla="*/ 2147483647 h 918"/>
              <a:gd name="T82" fmla="*/ 2147483647 w 853"/>
              <a:gd name="T83" fmla="*/ 2147483647 h 918"/>
              <a:gd name="T84" fmla="*/ 2147483647 w 853"/>
              <a:gd name="T85" fmla="*/ 2147483647 h 918"/>
              <a:gd name="T86" fmla="*/ 2147483647 w 853"/>
              <a:gd name="T87" fmla="*/ 2147483647 h 918"/>
              <a:gd name="T88" fmla="*/ 2147483647 w 853"/>
              <a:gd name="T89" fmla="*/ 2147483647 h 918"/>
              <a:gd name="T90" fmla="*/ 2147483647 w 853"/>
              <a:gd name="T91" fmla="*/ 2147483647 h 9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53"/>
              <a:gd name="T139" fmla="*/ 0 h 918"/>
              <a:gd name="T140" fmla="*/ 853 w 853"/>
              <a:gd name="T141" fmla="*/ 918 h 9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53" h="918">
                <a:moveTo>
                  <a:pt x="2" y="609"/>
                </a:moveTo>
                <a:lnTo>
                  <a:pt x="0" y="807"/>
                </a:lnTo>
                <a:lnTo>
                  <a:pt x="183" y="742"/>
                </a:lnTo>
                <a:lnTo>
                  <a:pt x="143" y="707"/>
                </a:lnTo>
                <a:lnTo>
                  <a:pt x="184" y="659"/>
                </a:lnTo>
                <a:lnTo>
                  <a:pt x="226" y="601"/>
                </a:lnTo>
                <a:lnTo>
                  <a:pt x="259" y="558"/>
                </a:lnTo>
                <a:lnTo>
                  <a:pt x="294" y="503"/>
                </a:lnTo>
                <a:lnTo>
                  <a:pt x="332" y="433"/>
                </a:lnTo>
                <a:lnTo>
                  <a:pt x="363" y="358"/>
                </a:lnTo>
                <a:lnTo>
                  <a:pt x="364" y="757"/>
                </a:lnTo>
                <a:lnTo>
                  <a:pt x="314" y="756"/>
                </a:lnTo>
                <a:lnTo>
                  <a:pt x="424" y="917"/>
                </a:lnTo>
                <a:lnTo>
                  <a:pt x="533" y="756"/>
                </a:lnTo>
                <a:lnTo>
                  <a:pt x="485" y="757"/>
                </a:lnTo>
                <a:lnTo>
                  <a:pt x="485" y="354"/>
                </a:lnTo>
                <a:lnTo>
                  <a:pt x="518" y="430"/>
                </a:lnTo>
                <a:lnTo>
                  <a:pt x="548" y="491"/>
                </a:lnTo>
                <a:lnTo>
                  <a:pt x="585" y="547"/>
                </a:lnTo>
                <a:lnTo>
                  <a:pt x="626" y="604"/>
                </a:lnTo>
                <a:lnTo>
                  <a:pt x="657" y="650"/>
                </a:lnTo>
                <a:lnTo>
                  <a:pt x="705" y="707"/>
                </a:lnTo>
                <a:lnTo>
                  <a:pt x="669" y="742"/>
                </a:lnTo>
                <a:lnTo>
                  <a:pt x="852" y="808"/>
                </a:lnTo>
                <a:lnTo>
                  <a:pt x="847" y="609"/>
                </a:lnTo>
                <a:lnTo>
                  <a:pt x="802" y="639"/>
                </a:lnTo>
                <a:lnTo>
                  <a:pt x="766" y="583"/>
                </a:lnTo>
                <a:lnTo>
                  <a:pt x="725" y="523"/>
                </a:lnTo>
                <a:lnTo>
                  <a:pt x="690" y="467"/>
                </a:lnTo>
                <a:lnTo>
                  <a:pt x="660" y="416"/>
                </a:lnTo>
                <a:lnTo>
                  <a:pt x="634" y="369"/>
                </a:lnTo>
                <a:lnTo>
                  <a:pt x="609" y="318"/>
                </a:lnTo>
                <a:lnTo>
                  <a:pt x="582" y="255"/>
                </a:lnTo>
                <a:lnTo>
                  <a:pt x="570" y="192"/>
                </a:lnTo>
                <a:lnTo>
                  <a:pt x="569" y="0"/>
                </a:lnTo>
                <a:lnTo>
                  <a:pt x="284" y="0"/>
                </a:lnTo>
                <a:lnTo>
                  <a:pt x="284" y="192"/>
                </a:lnTo>
                <a:lnTo>
                  <a:pt x="271" y="255"/>
                </a:lnTo>
                <a:lnTo>
                  <a:pt x="238" y="333"/>
                </a:lnTo>
                <a:lnTo>
                  <a:pt x="210" y="384"/>
                </a:lnTo>
                <a:lnTo>
                  <a:pt x="185" y="427"/>
                </a:lnTo>
                <a:lnTo>
                  <a:pt x="155" y="478"/>
                </a:lnTo>
                <a:lnTo>
                  <a:pt x="125" y="526"/>
                </a:lnTo>
                <a:lnTo>
                  <a:pt x="90" y="579"/>
                </a:lnTo>
                <a:lnTo>
                  <a:pt x="48" y="640"/>
                </a:lnTo>
                <a:lnTo>
                  <a:pt x="2" y="609"/>
                </a:lnTo>
              </a:path>
            </a:pathLst>
          </a:custGeom>
          <a:solidFill>
            <a:schemeClr val="accent3"/>
          </a:solidFill>
          <a:ln w="12700" cap="rnd">
            <a:noFill/>
            <a:round/>
            <a:headEnd/>
            <a:tailEnd/>
          </a:ln>
        </p:spPr>
        <p:txBody>
          <a:bodyPr/>
          <a:lstStyle/>
          <a:p>
            <a:pPr>
              <a:defRPr/>
            </a:pPr>
            <a:endParaRPr lang="en-US"/>
          </a:p>
        </p:txBody>
      </p:sp>
      <p:sp>
        <p:nvSpPr>
          <p:cNvPr id="76" name="AutoShape 82"/>
          <p:cNvSpPr>
            <a:spLocks noChangeArrowheads="1"/>
          </p:cNvSpPr>
          <p:nvPr>
            <p:custDataLst>
              <p:tags r:id="rId37"/>
            </p:custDataLst>
          </p:nvPr>
        </p:nvSpPr>
        <p:spPr bwMode="gray">
          <a:xfrm>
            <a:off x="468313" y="4143375"/>
            <a:ext cx="1360487" cy="682625"/>
          </a:xfrm>
          <a:prstGeom prst="rightArrow">
            <a:avLst>
              <a:gd name="adj1" fmla="val 50000"/>
              <a:gd name="adj2" fmla="val 53953"/>
            </a:avLst>
          </a:prstGeom>
          <a:solidFill>
            <a:schemeClr val="accent3"/>
          </a:solidFill>
          <a:ln w="6350">
            <a:noFill/>
            <a:miter lim="800000"/>
            <a:headEnd/>
            <a:tailEnd/>
          </a:ln>
        </p:spPr>
        <p:txBody>
          <a:bodyPr lIns="0" tIns="0" rIns="0" bIns="0" anchor="ctr" anchorCtr="1"/>
          <a:lstStyle/>
          <a:p>
            <a:pPr algn="ctr">
              <a:defRPr/>
            </a:pPr>
            <a:endParaRPr lang="en-US" sz="1400"/>
          </a:p>
        </p:txBody>
      </p:sp>
      <p:sp>
        <p:nvSpPr>
          <p:cNvPr id="77" name="AutoShape 83"/>
          <p:cNvSpPr>
            <a:spLocks noChangeArrowheads="1"/>
          </p:cNvSpPr>
          <p:nvPr>
            <p:custDataLst>
              <p:tags r:id="rId38"/>
            </p:custDataLst>
          </p:nvPr>
        </p:nvSpPr>
        <p:spPr bwMode="gray">
          <a:xfrm>
            <a:off x="541338" y="4960938"/>
            <a:ext cx="527050" cy="177800"/>
          </a:xfrm>
          <a:prstGeom prst="rightArrow">
            <a:avLst>
              <a:gd name="adj1" fmla="val 35713"/>
              <a:gd name="adj2" fmla="val 82054"/>
            </a:avLst>
          </a:prstGeom>
          <a:solidFill>
            <a:schemeClr val="accent3"/>
          </a:solidFill>
          <a:ln w="6350">
            <a:noFill/>
            <a:miter lim="800000"/>
            <a:headEnd/>
            <a:tailEnd/>
          </a:ln>
        </p:spPr>
        <p:txBody>
          <a:bodyPr lIns="0" tIns="0" rIns="0" bIns="0" anchor="ctr" anchorCtr="1"/>
          <a:lstStyle/>
          <a:p>
            <a:pPr algn="ctr">
              <a:defRPr/>
            </a:pPr>
            <a:endParaRPr lang="en-US" sz="1400"/>
          </a:p>
        </p:txBody>
      </p:sp>
      <p:sp>
        <p:nvSpPr>
          <p:cNvPr id="78" name="AutoShape 84"/>
          <p:cNvSpPr>
            <a:spLocks noChangeArrowheads="1"/>
          </p:cNvSpPr>
          <p:nvPr>
            <p:custDataLst>
              <p:tags r:id="rId39"/>
            </p:custDataLst>
          </p:nvPr>
        </p:nvSpPr>
        <p:spPr bwMode="gray">
          <a:xfrm>
            <a:off x="538163" y="5230813"/>
            <a:ext cx="268287" cy="117475"/>
          </a:xfrm>
          <a:prstGeom prst="rightArrow">
            <a:avLst>
              <a:gd name="adj1" fmla="val 35713"/>
              <a:gd name="adj2" fmla="val 63129"/>
            </a:avLst>
          </a:prstGeom>
          <a:solidFill>
            <a:schemeClr val="accent3"/>
          </a:solidFill>
          <a:ln w="6350">
            <a:noFill/>
            <a:miter lim="800000"/>
            <a:headEnd/>
            <a:tailEnd/>
          </a:ln>
        </p:spPr>
        <p:txBody>
          <a:bodyPr lIns="0" tIns="0" rIns="0" bIns="0" anchor="ctr" anchorCtr="1"/>
          <a:lstStyle/>
          <a:p>
            <a:pPr algn="ctr">
              <a:defRPr/>
            </a:pPr>
            <a:endParaRPr lang="en-US" sz="1400"/>
          </a:p>
        </p:txBody>
      </p:sp>
      <p:sp>
        <p:nvSpPr>
          <p:cNvPr id="79" name="Line 85"/>
          <p:cNvSpPr>
            <a:spLocks noChangeShapeType="1"/>
          </p:cNvSpPr>
          <p:nvPr>
            <p:custDataLst>
              <p:tags r:id="rId40"/>
            </p:custDataLst>
          </p:nvPr>
        </p:nvSpPr>
        <p:spPr bwMode="gray">
          <a:xfrm>
            <a:off x="542925" y="5486400"/>
            <a:ext cx="228600" cy="0"/>
          </a:xfrm>
          <a:prstGeom prst="line">
            <a:avLst/>
          </a:prstGeom>
          <a:noFill/>
          <a:ln w="12700">
            <a:solidFill>
              <a:schemeClr val="accent3"/>
            </a:solidFill>
            <a:round/>
            <a:headEnd/>
            <a:tailEnd type="triangle" w="med" len="med"/>
          </a:ln>
        </p:spPr>
        <p:txBody>
          <a:bodyPr lIns="73152" tIns="73152" rIns="73152" bIns="73152" anchor="ctr" anchorCtr="1"/>
          <a:lstStyle/>
          <a:p>
            <a:pPr>
              <a:defRPr/>
            </a:pPr>
            <a:endParaRPr lang="en-US"/>
          </a:p>
        </p:txBody>
      </p:sp>
      <p:sp>
        <p:nvSpPr>
          <p:cNvPr id="550955" name="Rectangle 4"/>
          <p:cNvSpPr>
            <a:spLocks noChangeArrowheads="1"/>
          </p:cNvSpPr>
          <p:nvPr>
            <p:custDataLst>
              <p:tags r:id="rId41"/>
            </p:custDataLst>
          </p:nvPr>
        </p:nvSpPr>
        <p:spPr bwMode="auto">
          <a:xfrm>
            <a:off x="387350" y="6034088"/>
            <a:ext cx="429605" cy="304699"/>
          </a:xfrm>
          <a:prstGeom prst="rect">
            <a:avLst/>
          </a:prstGeom>
          <a:noFill/>
          <a:ln w="12700" algn="ctr">
            <a:noFill/>
            <a:miter lim="800000"/>
            <a:headEnd/>
            <a:tailEnd/>
          </a:ln>
        </p:spPr>
        <p:txBody>
          <a:bodyPr wrap="none" lIns="0" tIns="0" rIns="0" bIns="0">
            <a:spAutoFit/>
          </a:bodyPr>
          <a:lstStyle/>
          <a:p>
            <a:pPr algn="l" defTabSz="1019175"/>
            <a:r>
              <a:rPr lang="en-US" sz="900" b="1">
                <a:solidFill>
                  <a:schemeClr val="tx2"/>
                </a:solidFill>
              </a:rPr>
              <a:t>Note:</a:t>
            </a:r>
          </a:p>
          <a:p>
            <a:pPr algn="l" defTabSz="1019175"/>
            <a:r>
              <a:rPr lang="en-US" sz="900" b="1">
                <a:solidFill>
                  <a:schemeClr val="tx2"/>
                </a:solidFill>
              </a:rPr>
              <a:t>Source:</a:t>
            </a:r>
          </a:p>
        </p:txBody>
      </p:sp>
      <p:sp>
        <p:nvSpPr>
          <p:cNvPr id="550956" name="Text Placeholder 12"/>
          <p:cNvSpPr>
            <a:spLocks/>
          </p:cNvSpPr>
          <p:nvPr>
            <p:custDataLst>
              <p:tags r:id="rId42"/>
            </p:custDataLst>
          </p:nvPr>
        </p:nvSpPr>
        <p:spPr bwMode="auto">
          <a:xfrm>
            <a:off x="308710" y="1123950"/>
            <a:ext cx="795090" cy="276999"/>
          </a:xfrm>
          <a:prstGeom prst="rect">
            <a:avLst/>
          </a:prstGeom>
          <a:noFill/>
          <a:ln w="9525">
            <a:noFill/>
            <a:miter lim="800000"/>
            <a:headEnd/>
            <a:tailEnd/>
          </a:ln>
        </p:spPr>
        <p:txBody>
          <a:bodyPr wrap="none" lIns="0" tIns="0" rIns="0" bIns="0">
            <a:spAutoFit/>
          </a:bodyPr>
          <a:lstStyle/>
          <a:p>
            <a:pPr defTabSz="1019175">
              <a:spcAft>
                <a:spcPts val="0"/>
              </a:spcAft>
              <a:buFont typeface="Arial" charset="0"/>
              <a:buNone/>
            </a:pPr>
            <a:r>
              <a:rPr lang="en-US" sz="1800" b="1">
                <a:solidFill>
                  <a:schemeClr val="tx2"/>
                </a:solidFill>
              </a:rPr>
              <a:t>Arrows</a:t>
            </a:r>
          </a:p>
        </p:txBody>
      </p:sp>
      <p:sp>
        <p:nvSpPr>
          <p:cNvPr id="550957" name="Text Placeholder 12"/>
          <p:cNvSpPr>
            <a:spLocks/>
          </p:cNvSpPr>
          <p:nvPr>
            <p:custDataLst>
              <p:tags r:id="rId43"/>
            </p:custDataLst>
          </p:nvPr>
        </p:nvSpPr>
        <p:spPr bwMode="auto">
          <a:xfrm>
            <a:off x="3047064" y="1123950"/>
            <a:ext cx="1124219" cy="276999"/>
          </a:xfrm>
          <a:prstGeom prst="rect">
            <a:avLst/>
          </a:prstGeom>
          <a:noFill/>
          <a:ln w="9525">
            <a:noFill/>
            <a:miter lim="800000"/>
            <a:headEnd/>
            <a:tailEnd/>
          </a:ln>
        </p:spPr>
        <p:txBody>
          <a:bodyPr wrap="none" lIns="0" tIns="0" rIns="0" bIns="0">
            <a:spAutoFit/>
          </a:bodyPr>
          <a:lstStyle/>
          <a:p>
            <a:pPr defTabSz="1019175">
              <a:spcAft>
                <a:spcPts val="0"/>
              </a:spcAft>
            </a:pPr>
            <a:r>
              <a:rPr lang="en-US" sz="1800" b="1">
                <a:solidFill>
                  <a:schemeClr val="tx2"/>
                </a:solidFill>
              </a:rPr>
              <a:t>Text items</a:t>
            </a:r>
          </a:p>
        </p:txBody>
      </p:sp>
      <p:sp>
        <p:nvSpPr>
          <p:cNvPr id="550958" name="Text Placeholder 12"/>
          <p:cNvSpPr>
            <a:spLocks/>
          </p:cNvSpPr>
          <p:nvPr>
            <p:custDataLst>
              <p:tags r:id="rId44"/>
            </p:custDataLst>
          </p:nvPr>
        </p:nvSpPr>
        <p:spPr bwMode="auto">
          <a:xfrm>
            <a:off x="6176344" y="1123950"/>
            <a:ext cx="1679947" cy="276999"/>
          </a:xfrm>
          <a:prstGeom prst="rect">
            <a:avLst/>
          </a:prstGeom>
          <a:noFill/>
          <a:ln w="9525">
            <a:noFill/>
            <a:miter lim="800000"/>
            <a:headEnd/>
            <a:tailEnd/>
          </a:ln>
        </p:spPr>
        <p:txBody>
          <a:bodyPr wrap="none" lIns="0" tIns="0" rIns="0" bIns="0">
            <a:spAutoFit/>
          </a:bodyPr>
          <a:lstStyle/>
          <a:p>
            <a:pPr defTabSz="1019175">
              <a:spcAft>
                <a:spcPts val="0"/>
              </a:spcAft>
            </a:pPr>
            <a:r>
              <a:rPr lang="en-US" sz="1800" b="1">
                <a:solidFill>
                  <a:schemeClr val="tx2"/>
                </a:solidFill>
              </a:rPr>
              <a:t>Generic header</a:t>
            </a:r>
          </a:p>
        </p:txBody>
      </p:sp>
      <p:sp>
        <p:nvSpPr>
          <p:cNvPr id="550959" name="Text Placeholder 12"/>
          <p:cNvSpPr>
            <a:spLocks/>
          </p:cNvSpPr>
          <p:nvPr>
            <p:custDataLst>
              <p:tags r:id="rId45"/>
            </p:custDataLst>
          </p:nvPr>
        </p:nvSpPr>
        <p:spPr bwMode="auto">
          <a:xfrm>
            <a:off x="3408559" y="3186113"/>
            <a:ext cx="551434" cy="276999"/>
          </a:xfrm>
          <a:prstGeom prst="rect">
            <a:avLst/>
          </a:prstGeom>
          <a:noFill/>
          <a:ln w="9525">
            <a:noFill/>
            <a:miter lim="800000"/>
            <a:headEnd/>
            <a:tailEnd/>
          </a:ln>
        </p:spPr>
        <p:txBody>
          <a:bodyPr wrap="none" lIns="0" tIns="0" rIns="0" bIns="0">
            <a:spAutoFit/>
          </a:bodyPr>
          <a:lstStyle/>
          <a:p>
            <a:pPr defTabSz="1019175">
              <a:spcAft>
                <a:spcPts val="0"/>
              </a:spcAft>
            </a:pPr>
            <a:r>
              <a:rPr lang="en-US" sz="1800" b="1">
                <a:solidFill>
                  <a:schemeClr val="tx2"/>
                </a:solidFill>
              </a:rPr>
              <a:t>Balls</a:t>
            </a:r>
          </a:p>
        </p:txBody>
      </p:sp>
      <p:sp>
        <p:nvSpPr>
          <p:cNvPr id="550960" name="Text Placeholder 12"/>
          <p:cNvSpPr>
            <a:spLocks/>
          </p:cNvSpPr>
          <p:nvPr>
            <p:custDataLst>
              <p:tags r:id="rId46"/>
            </p:custDataLst>
          </p:nvPr>
        </p:nvSpPr>
        <p:spPr bwMode="auto">
          <a:xfrm>
            <a:off x="5926174" y="3184249"/>
            <a:ext cx="1436292" cy="276999"/>
          </a:xfrm>
          <a:prstGeom prst="rect">
            <a:avLst/>
          </a:prstGeom>
          <a:noFill/>
          <a:ln w="9525">
            <a:noFill/>
            <a:miter lim="800000"/>
            <a:headEnd/>
            <a:tailEnd/>
          </a:ln>
        </p:spPr>
        <p:txBody>
          <a:bodyPr wrap="none" lIns="0" tIns="0" rIns="0" bIns="0">
            <a:spAutoFit/>
          </a:bodyPr>
          <a:lstStyle/>
          <a:p>
            <a:pPr defTabSz="1019175">
              <a:spcAft>
                <a:spcPts val="0"/>
              </a:spcAft>
            </a:pPr>
            <a:r>
              <a:rPr lang="en-US" sz="1800" b="1" dirty="0">
                <a:solidFill>
                  <a:schemeClr val="tx2"/>
                </a:solidFill>
              </a:rPr>
              <a:t>Scale </a:t>
            </a:r>
            <a:r>
              <a:rPr lang="en-US" sz="1800" b="1" dirty="0" smtClean="0">
                <a:solidFill>
                  <a:schemeClr val="tx2"/>
                </a:solidFill>
              </a:rPr>
              <a:t>breaks</a:t>
            </a:r>
            <a:endParaRPr lang="en-US" sz="1800" b="1" dirty="0">
              <a:solidFill>
                <a:schemeClr val="tx2"/>
              </a:solidFill>
            </a:endParaRPr>
          </a:p>
        </p:txBody>
      </p:sp>
      <p:sp>
        <p:nvSpPr>
          <p:cNvPr id="103" name="Oval 102"/>
          <p:cNvSpPr/>
          <p:nvPr/>
        </p:nvSpPr>
        <p:spPr>
          <a:xfrm>
            <a:off x="4279900" y="5168900"/>
            <a:ext cx="330200" cy="330200"/>
          </a:xfrm>
          <a:prstGeom prst="ellipse">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a:t>1</a:t>
            </a:r>
          </a:p>
        </p:txBody>
      </p:sp>
      <p:sp>
        <p:nvSpPr>
          <p:cNvPr id="104" name="Oval 103"/>
          <p:cNvSpPr/>
          <p:nvPr/>
        </p:nvSpPr>
        <p:spPr>
          <a:xfrm>
            <a:off x="4279900" y="5689600"/>
            <a:ext cx="330200" cy="330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a:t>2</a:t>
            </a:r>
          </a:p>
        </p:txBody>
      </p:sp>
      <p:grpSp>
        <p:nvGrpSpPr>
          <p:cNvPr id="88" name="Group 87"/>
          <p:cNvGrpSpPr/>
          <p:nvPr/>
        </p:nvGrpSpPr>
        <p:grpSpPr>
          <a:xfrm>
            <a:off x="4521200" y="1143000"/>
            <a:ext cx="1457325" cy="774700"/>
            <a:chOff x="4521200" y="1143000"/>
            <a:chExt cx="1457325" cy="774700"/>
          </a:xfrm>
        </p:grpSpPr>
        <p:sp>
          <p:nvSpPr>
            <p:cNvPr id="91" name="Rectangle 87"/>
            <p:cNvSpPr>
              <a:spLocks noChangeArrowheads="1"/>
            </p:cNvSpPr>
            <p:nvPr/>
          </p:nvSpPr>
          <p:spPr bwMode="auto">
            <a:xfrm>
              <a:off x="4521200" y="1143000"/>
              <a:ext cx="1457325" cy="774700"/>
            </a:xfrm>
            <a:prstGeom prst="rect">
              <a:avLst/>
            </a:prstGeom>
            <a:solidFill>
              <a:schemeClr val="bg1"/>
            </a:solidFill>
            <a:ln w="69850" algn="ctr">
              <a:solidFill>
                <a:srgbClr val="FF0000"/>
              </a:solidFill>
              <a:miter lim="800000"/>
              <a:headEnd/>
              <a:tailEnd/>
            </a:ln>
          </p:spPr>
          <p:txBody>
            <a:bodyPr lIns="101901" tIns="50950" rIns="101901" bIns="50950" anchor="ctr"/>
            <a:lstStyle/>
            <a:p>
              <a:pPr algn="ctr" defTabSz="1019175"/>
              <a:endParaRPr lang="en-US">
                <a:solidFill>
                  <a:srgbClr val="FFFFFF"/>
                </a:solidFill>
              </a:endParaRPr>
            </a:p>
          </p:txBody>
        </p:sp>
        <p:sp>
          <p:nvSpPr>
            <p:cNvPr id="92" name="TextBox 6"/>
            <p:cNvSpPr txBox="1">
              <a:spLocks noChangeArrowheads="1"/>
            </p:cNvSpPr>
            <p:nvPr/>
          </p:nvSpPr>
          <p:spPr bwMode="auto">
            <a:xfrm>
              <a:off x="4617499" y="1310516"/>
              <a:ext cx="1264727" cy="422287"/>
            </a:xfrm>
            <a:prstGeom prst="rect">
              <a:avLst/>
            </a:prstGeom>
            <a:noFill/>
            <a:ln w="9525">
              <a:noFill/>
              <a:miter lim="800000"/>
              <a:headEnd/>
              <a:tailEnd/>
            </a:ln>
          </p:spPr>
          <p:txBody>
            <a:bodyPr lIns="0" tIns="0" rIns="0" bIns="0">
              <a:spAutoFit/>
            </a:bodyPr>
            <a:lstStyle/>
            <a:p>
              <a:pPr defTabSz="1019175"/>
              <a:r>
                <a:rPr lang="en-US" sz="2900" b="1" dirty="0">
                  <a:solidFill>
                    <a:srgbClr val="FF0000"/>
                  </a:solidFill>
                </a:rPr>
                <a:t>DRAFT</a:t>
              </a:r>
            </a:p>
          </p:txBody>
        </p:sp>
        <p:cxnSp>
          <p:nvCxnSpPr>
            <p:cNvPr id="94" name="Straight Connector 93"/>
            <p:cNvCxnSpPr/>
            <p:nvPr/>
          </p:nvCxnSpPr>
          <p:spPr bwMode="auto">
            <a:xfrm>
              <a:off x="4625975" y="1271588"/>
              <a:ext cx="1247775" cy="1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bwMode="auto">
            <a:xfrm>
              <a:off x="4625975" y="1789113"/>
              <a:ext cx="1247775" cy="158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96" name="Oval 94"/>
          <p:cNvSpPr>
            <a:spLocks noChangeArrowheads="1"/>
          </p:cNvSpPr>
          <p:nvPr/>
        </p:nvSpPr>
        <p:spPr bwMode="gray">
          <a:xfrm>
            <a:off x="4266407" y="4619625"/>
            <a:ext cx="357187" cy="361950"/>
          </a:xfrm>
          <a:prstGeom prst="ellipse">
            <a:avLst/>
          </a:prstGeom>
          <a:solidFill>
            <a:srgbClr val="336600"/>
          </a:solidFill>
          <a:ln w="28575" algn="ctr">
            <a:noFill/>
            <a:round/>
            <a:headEnd/>
            <a:tailEnd/>
          </a:ln>
        </p:spPr>
        <p:txBody>
          <a:bodyPr wrap="none" anchor="ctr"/>
          <a:lstStyle/>
          <a:p>
            <a:endParaRPr lang="en-GB"/>
          </a:p>
        </p:txBody>
      </p:sp>
      <p:sp>
        <p:nvSpPr>
          <p:cNvPr id="97" name="Oval 95"/>
          <p:cNvSpPr>
            <a:spLocks noChangeArrowheads="1"/>
          </p:cNvSpPr>
          <p:nvPr/>
        </p:nvSpPr>
        <p:spPr bwMode="gray">
          <a:xfrm>
            <a:off x="4266407" y="3570288"/>
            <a:ext cx="357187" cy="361950"/>
          </a:xfrm>
          <a:prstGeom prst="ellipse">
            <a:avLst/>
          </a:prstGeom>
          <a:solidFill>
            <a:srgbClr val="CC3300"/>
          </a:solidFill>
          <a:ln w="28575" algn="ctr">
            <a:noFill/>
            <a:round/>
            <a:headEnd/>
            <a:tailEnd/>
          </a:ln>
        </p:spPr>
        <p:txBody>
          <a:bodyPr wrap="none" anchor="ctr"/>
          <a:lstStyle/>
          <a:p>
            <a:endParaRPr lang="en-GB"/>
          </a:p>
        </p:txBody>
      </p:sp>
      <p:sp>
        <p:nvSpPr>
          <p:cNvPr id="98" name="Oval 96"/>
          <p:cNvSpPr>
            <a:spLocks noChangeArrowheads="1"/>
          </p:cNvSpPr>
          <p:nvPr/>
        </p:nvSpPr>
        <p:spPr bwMode="gray">
          <a:xfrm>
            <a:off x="4266407" y="4100513"/>
            <a:ext cx="357187" cy="361950"/>
          </a:xfrm>
          <a:prstGeom prst="ellipse">
            <a:avLst/>
          </a:prstGeom>
          <a:solidFill>
            <a:srgbClr val="FF9900"/>
          </a:solidFill>
          <a:ln w="28575" algn="ctr">
            <a:noFill/>
            <a:round/>
            <a:headEnd/>
            <a:tailEnd/>
          </a:ln>
        </p:spPr>
        <p:txBody>
          <a:bodyPr wrap="none" anchor="ctr"/>
          <a:lstStyle/>
          <a:p>
            <a:endParaRPr lang="en-GB"/>
          </a:p>
        </p:txBody>
      </p:sp>
      <p:sp>
        <p:nvSpPr>
          <p:cNvPr id="99" name="Rectangle 57"/>
          <p:cNvSpPr>
            <a:spLocks noChangeArrowheads="1"/>
          </p:cNvSpPr>
          <p:nvPr>
            <p:custDataLst>
              <p:tags r:id="rId47"/>
            </p:custDataLst>
          </p:nvPr>
        </p:nvSpPr>
        <p:spPr bwMode="auto">
          <a:xfrm>
            <a:off x="977230" y="6156325"/>
            <a:ext cx="5022850" cy="600164"/>
          </a:xfrm>
          <a:prstGeom prst="rect">
            <a:avLst/>
          </a:prstGeom>
          <a:noFill/>
          <a:ln w="12700" algn="ctr">
            <a:solidFill>
              <a:schemeClr val="tx2"/>
            </a:solidFill>
            <a:miter lim="800000"/>
            <a:headEnd/>
            <a:tailEnd/>
          </a:ln>
        </p:spPr>
        <p:txBody>
          <a:bodyPr wrap="square" tIns="91440" bIns="91440">
            <a:spAutoFit/>
          </a:bodyPr>
          <a:lstStyle/>
          <a:p>
            <a:pPr algn="l"/>
            <a:r>
              <a:rPr lang="en-US" altLang="ja-JP" sz="900" b="0" dirty="0">
                <a:solidFill>
                  <a:schemeClr val="tx2"/>
                </a:solidFill>
                <a:ea typeface="ＭＳ Ｐゴシック" charset="-128"/>
              </a:rPr>
              <a:t>Important Note: The colors red and yellow are used as part of heat maps and traffic light signals because these carry apt meaning to their usage. Please do not use these colors for any other purpose, they are strictly for Heat maps and Traffic light signal usage.</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a:xfrm>
            <a:off x="414338" y="446038"/>
            <a:ext cx="8330184" cy="333425"/>
          </a:xfrm>
        </p:spPr>
        <p:txBody>
          <a:bodyPr/>
          <a:lstStyle/>
          <a:p>
            <a:r>
              <a:rPr lang="nl-NL" dirty="0"/>
              <a:t>Text blocks </a:t>
            </a:r>
            <a:r>
              <a:rPr lang="en-US" dirty="0"/>
              <a:t>—</a:t>
            </a:r>
            <a:r>
              <a:rPr lang="nl-NL" dirty="0"/>
              <a:t> </a:t>
            </a:r>
            <a:r>
              <a:rPr lang="nl-NL" dirty="0" smtClean="0"/>
              <a:t>gravitating </a:t>
            </a:r>
            <a:r>
              <a:rPr lang="nl-NL" dirty="0"/>
              <a:t>to</a:t>
            </a:r>
            <a:endParaRPr lang="en-US" dirty="0"/>
          </a:p>
        </p:txBody>
      </p:sp>
      <p:sp>
        <p:nvSpPr>
          <p:cNvPr id="605187" name="Oval 2"/>
          <p:cNvSpPr>
            <a:spLocks noChangeArrowheads="1"/>
          </p:cNvSpPr>
          <p:nvPr/>
        </p:nvSpPr>
        <p:spPr bwMode="blackWhite">
          <a:xfrm>
            <a:off x="3455988" y="3286268"/>
            <a:ext cx="2193925" cy="1017587"/>
          </a:xfrm>
          <a:prstGeom prst="ellipse">
            <a:avLst/>
          </a:prstGeom>
          <a:solidFill>
            <a:schemeClr val="accent3"/>
          </a:solidFill>
          <a:ln w="12700">
            <a:solidFill>
              <a:schemeClr val="accent3"/>
            </a:solidFill>
            <a:round/>
            <a:headEnd/>
            <a:tailEnd/>
          </a:ln>
        </p:spPr>
        <p:txBody>
          <a:bodyPr lIns="18000" tIns="18000" rIns="18000" bIns="18000" anchor="ctr"/>
          <a:lstStyle/>
          <a:p>
            <a:pPr algn="ctr" defTabSz="954088">
              <a:lnSpc>
                <a:spcPct val="95000"/>
              </a:lnSpc>
            </a:pPr>
            <a:r>
              <a:rPr lang="en-GB" sz="1400">
                <a:solidFill>
                  <a:schemeClr val="bg1"/>
                </a:solidFill>
                <a:ea typeface="ＭＳ Ｐゴシック" charset="-128"/>
              </a:rPr>
              <a:t>It all comes </a:t>
            </a:r>
          </a:p>
          <a:p>
            <a:pPr algn="ctr" defTabSz="954088">
              <a:lnSpc>
                <a:spcPct val="95000"/>
              </a:lnSpc>
            </a:pPr>
            <a:r>
              <a:rPr lang="en-GB" sz="1400">
                <a:solidFill>
                  <a:schemeClr val="bg1"/>
                </a:solidFill>
                <a:ea typeface="ＭＳ Ｐゴシック" charset="-128"/>
              </a:rPr>
              <a:t>down to this</a:t>
            </a:r>
          </a:p>
        </p:txBody>
      </p:sp>
      <p:sp>
        <p:nvSpPr>
          <p:cNvPr id="5" name="Rectangle 3"/>
          <p:cNvSpPr>
            <a:spLocks noChangeArrowheads="1"/>
          </p:cNvSpPr>
          <p:nvPr/>
        </p:nvSpPr>
        <p:spPr bwMode="blackWhite">
          <a:xfrm>
            <a:off x="3575050" y="5270643"/>
            <a:ext cx="1955800" cy="725487"/>
          </a:xfrm>
          <a:prstGeom prst="rect">
            <a:avLst/>
          </a:prstGeom>
          <a:solidFill>
            <a:schemeClr val="accent3"/>
          </a:solidFill>
          <a:ln w="12700">
            <a:solidFill>
              <a:schemeClr val="accent3"/>
            </a:solidFill>
            <a:miter lim="800000"/>
            <a:headEnd/>
            <a:tailEnd/>
          </a:ln>
        </p:spPr>
        <p:txBody>
          <a:bodyPr lIns="18000" tIns="18000" rIns="18000" bIns="18000" anchor="ctr"/>
          <a:lstStyle/>
          <a:p>
            <a:pPr algn="ctr" defTabSz="954088">
              <a:lnSpc>
                <a:spcPct val="95000"/>
              </a:lnSpc>
              <a:defRPr/>
            </a:pPr>
            <a:r>
              <a:rPr lang="en-GB" sz="1400" b="0">
                <a:solidFill>
                  <a:schemeClr val="bg1"/>
                </a:solidFill>
                <a:ea typeface="ＭＳ Ｐゴシック" pitchFamily="50" charset="-128"/>
              </a:rPr>
              <a:t>Text</a:t>
            </a:r>
          </a:p>
        </p:txBody>
      </p:sp>
      <p:sp>
        <p:nvSpPr>
          <p:cNvPr id="6" name="Rectangle 4"/>
          <p:cNvSpPr>
            <a:spLocks noChangeArrowheads="1"/>
          </p:cNvSpPr>
          <p:nvPr/>
        </p:nvSpPr>
        <p:spPr bwMode="blackWhite">
          <a:xfrm>
            <a:off x="6286500" y="2327418"/>
            <a:ext cx="1957388" cy="725487"/>
          </a:xfrm>
          <a:prstGeom prst="rect">
            <a:avLst/>
          </a:prstGeom>
          <a:solidFill>
            <a:schemeClr val="accent3"/>
          </a:solidFill>
          <a:ln w="12700" algn="ctr">
            <a:solidFill>
              <a:schemeClr val="accent3"/>
            </a:solidFill>
            <a:miter lim="800000"/>
            <a:headEnd/>
            <a:tailEnd/>
          </a:ln>
        </p:spPr>
        <p:txBody>
          <a:bodyPr lIns="18000" tIns="18000" rIns="18000" bIns="18000" anchor="ctr"/>
          <a:lstStyle/>
          <a:p>
            <a:pPr algn="ctr" defTabSz="954088">
              <a:lnSpc>
                <a:spcPct val="95000"/>
              </a:lnSpc>
              <a:defRPr/>
            </a:pPr>
            <a:r>
              <a:rPr lang="en-GB" sz="1400" b="0">
                <a:solidFill>
                  <a:schemeClr val="bg1"/>
                </a:solidFill>
                <a:ea typeface="ＭＳ Ｐゴシック" pitchFamily="50" charset="-128"/>
              </a:rPr>
              <a:t>Text</a:t>
            </a:r>
          </a:p>
        </p:txBody>
      </p:sp>
      <p:sp>
        <p:nvSpPr>
          <p:cNvPr id="7" name="Rectangle 5"/>
          <p:cNvSpPr>
            <a:spLocks noChangeArrowheads="1"/>
          </p:cNvSpPr>
          <p:nvPr/>
        </p:nvSpPr>
        <p:spPr bwMode="blackWhite">
          <a:xfrm>
            <a:off x="6286500" y="3432318"/>
            <a:ext cx="1957388" cy="723900"/>
          </a:xfrm>
          <a:prstGeom prst="rect">
            <a:avLst/>
          </a:prstGeom>
          <a:solidFill>
            <a:schemeClr val="accent3"/>
          </a:solidFill>
          <a:ln w="12700">
            <a:solidFill>
              <a:schemeClr val="accent3"/>
            </a:solidFill>
            <a:miter lim="800000"/>
            <a:headEnd/>
            <a:tailEnd/>
          </a:ln>
        </p:spPr>
        <p:txBody>
          <a:bodyPr lIns="18000" tIns="18000" rIns="18000" bIns="18000" anchor="ctr"/>
          <a:lstStyle/>
          <a:p>
            <a:pPr algn="ctr" defTabSz="954088">
              <a:lnSpc>
                <a:spcPct val="95000"/>
              </a:lnSpc>
              <a:defRPr/>
            </a:pPr>
            <a:r>
              <a:rPr lang="en-GB" sz="1400" b="0">
                <a:solidFill>
                  <a:schemeClr val="bg1"/>
                </a:solidFill>
                <a:ea typeface="ＭＳ Ｐゴシック" pitchFamily="50" charset="-128"/>
              </a:rPr>
              <a:t>Text</a:t>
            </a:r>
          </a:p>
        </p:txBody>
      </p:sp>
      <p:sp>
        <p:nvSpPr>
          <p:cNvPr id="8" name="Rectangle 6"/>
          <p:cNvSpPr>
            <a:spLocks noChangeArrowheads="1"/>
          </p:cNvSpPr>
          <p:nvPr/>
        </p:nvSpPr>
        <p:spPr bwMode="blackWhite">
          <a:xfrm>
            <a:off x="844550" y="4610243"/>
            <a:ext cx="1955800" cy="723900"/>
          </a:xfrm>
          <a:prstGeom prst="rect">
            <a:avLst/>
          </a:prstGeom>
          <a:solidFill>
            <a:schemeClr val="accent3"/>
          </a:solidFill>
          <a:ln w="12700">
            <a:solidFill>
              <a:schemeClr val="accent3"/>
            </a:solidFill>
            <a:miter lim="800000"/>
            <a:headEnd/>
            <a:tailEnd/>
          </a:ln>
        </p:spPr>
        <p:txBody>
          <a:bodyPr lIns="18000" tIns="18000" rIns="18000" bIns="18000" anchor="ctr"/>
          <a:lstStyle/>
          <a:p>
            <a:pPr algn="ctr" defTabSz="954088">
              <a:lnSpc>
                <a:spcPct val="95000"/>
              </a:lnSpc>
              <a:defRPr/>
            </a:pPr>
            <a:r>
              <a:rPr lang="en-GB" sz="1400" b="0">
                <a:solidFill>
                  <a:schemeClr val="bg1"/>
                </a:solidFill>
                <a:ea typeface="ＭＳ Ｐゴシック" pitchFamily="50" charset="-128"/>
              </a:rPr>
              <a:t>Text</a:t>
            </a:r>
          </a:p>
        </p:txBody>
      </p:sp>
      <p:sp>
        <p:nvSpPr>
          <p:cNvPr id="9" name="Rectangle 7"/>
          <p:cNvSpPr>
            <a:spLocks noChangeArrowheads="1"/>
          </p:cNvSpPr>
          <p:nvPr/>
        </p:nvSpPr>
        <p:spPr bwMode="blackWhite">
          <a:xfrm>
            <a:off x="6286500" y="4610243"/>
            <a:ext cx="1957388" cy="723900"/>
          </a:xfrm>
          <a:prstGeom prst="rect">
            <a:avLst/>
          </a:prstGeom>
          <a:solidFill>
            <a:schemeClr val="accent3"/>
          </a:solidFill>
          <a:ln w="12700">
            <a:solidFill>
              <a:schemeClr val="accent3"/>
            </a:solidFill>
            <a:miter lim="800000"/>
            <a:headEnd/>
            <a:tailEnd/>
          </a:ln>
        </p:spPr>
        <p:txBody>
          <a:bodyPr lIns="18000" tIns="18000" rIns="18000" bIns="18000" anchor="ctr"/>
          <a:lstStyle/>
          <a:p>
            <a:pPr algn="ctr" defTabSz="954088">
              <a:lnSpc>
                <a:spcPct val="95000"/>
              </a:lnSpc>
              <a:defRPr/>
            </a:pPr>
            <a:r>
              <a:rPr lang="en-GB" sz="1400" b="0">
                <a:solidFill>
                  <a:schemeClr val="bg1"/>
                </a:solidFill>
                <a:ea typeface="ＭＳ Ｐゴシック" pitchFamily="50" charset="-128"/>
              </a:rPr>
              <a:t>Text</a:t>
            </a:r>
          </a:p>
        </p:txBody>
      </p:sp>
      <p:sp>
        <p:nvSpPr>
          <p:cNvPr id="10" name="Rectangle 8"/>
          <p:cNvSpPr>
            <a:spLocks noChangeArrowheads="1"/>
          </p:cNvSpPr>
          <p:nvPr/>
        </p:nvSpPr>
        <p:spPr bwMode="blackWhite">
          <a:xfrm>
            <a:off x="3575050" y="1589230"/>
            <a:ext cx="1955800" cy="725488"/>
          </a:xfrm>
          <a:prstGeom prst="rect">
            <a:avLst/>
          </a:prstGeom>
          <a:solidFill>
            <a:schemeClr val="accent3"/>
          </a:solidFill>
          <a:ln w="12700">
            <a:solidFill>
              <a:schemeClr val="accent3"/>
            </a:solidFill>
            <a:miter lim="800000"/>
            <a:headEnd/>
            <a:tailEnd/>
          </a:ln>
        </p:spPr>
        <p:txBody>
          <a:bodyPr lIns="18000" tIns="18000" rIns="18000" bIns="18000" anchor="ctr"/>
          <a:lstStyle/>
          <a:p>
            <a:pPr algn="ctr" defTabSz="954088">
              <a:lnSpc>
                <a:spcPct val="95000"/>
              </a:lnSpc>
              <a:defRPr/>
            </a:pPr>
            <a:r>
              <a:rPr lang="en-GB" sz="1400" b="0">
                <a:solidFill>
                  <a:schemeClr val="bg1"/>
                </a:solidFill>
                <a:ea typeface="ＭＳ Ｐゴシック" pitchFamily="50" charset="-128"/>
              </a:rPr>
              <a:t>Text</a:t>
            </a:r>
          </a:p>
        </p:txBody>
      </p:sp>
      <p:sp>
        <p:nvSpPr>
          <p:cNvPr id="11" name="Rectangle 9"/>
          <p:cNvSpPr>
            <a:spLocks noChangeArrowheads="1"/>
          </p:cNvSpPr>
          <p:nvPr/>
        </p:nvSpPr>
        <p:spPr bwMode="blackWhite">
          <a:xfrm>
            <a:off x="844550" y="3432318"/>
            <a:ext cx="1955800" cy="723900"/>
          </a:xfrm>
          <a:prstGeom prst="rect">
            <a:avLst/>
          </a:prstGeom>
          <a:solidFill>
            <a:schemeClr val="accent3"/>
          </a:solidFill>
          <a:ln w="12700">
            <a:solidFill>
              <a:schemeClr val="accent3"/>
            </a:solidFill>
            <a:miter lim="800000"/>
            <a:headEnd/>
            <a:tailEnd/>
          </a:ln>
        </p:spPr>
        <p:txBody>
          <a:bodyPr lIns="18000" tIns="18000" rIns="18000" bIns="18000" anchor="ctr"/>
          <a:lstStyle/>
          <a:p>
            <a:pPr algn="ctr" defTabSz="954088">
              <a:lnSpc>
                <a:spcPct val="95000"/>
              </a:lnSpc>
              <a:defRPr/>
            </a:pPr>
            <a:r>
              <a:rPr lang="en-GB" sz="1400" b="0">
                <a:solidFill>
                  <a:schemeClr val="bg1"/>
                </a:solidFill>
                <a:ea typeface="ＭＳ Ｐゴシック" pitchFamily="50" charset="-128"/>
              </a:rPr>
              <a:t>Text</a:t>
            </a:r>
          </a:p>
        </p:txBody>
      </p:sp>
      <p:sp>
        <p:nvSpPr>
          <p:cNvPr id="12" name="Rectangle 10"/>
          <p:cNvSpPr>
            <a:spLocks noChangeArrowheads="1"/>
          </p:cNvSpPr>
          <p:nvPr/>
        </p:nvSpPr>
        <p:spPr bwMode="blackWhite">
          <a:xfrm>
            <a:off x="844550" y="2327418"/>
            <a:ext cx="1955800" cy="725487"/>
          </a:xfrm>
          <a:prstGeom prst="rect">
            <a:avLst/>
          </a:prstGeom>
          <a:solidFill>
            <a:schemeClr val="accent3"/>
          </a:solidFill>
          <a:ln w="12700">
            <a:solidFill>
              <a:schemeClr val="accent3"/>
            </a:solidFill>
            <a:miter lim="800000"/>
            <a:headEnd/>
            <a:tailEnd/>
          </a:ln>
        </p:spPr>
        <p:txBody>
          <a:bodyPr lIns="18000" tIns="18000" rIns="18000" bIns="18000" anchor="ctr"/>
          <a:lstStyle/>
          <a:p>
            <a:pPr algn="ctr" defTabSz="954088">
              <a:lnSpc>
                <a:spcPct val="95000"/>
              </a:lnSpc>
              <a:defRPr/>
            </a:pPr>
            <a:r>
              <a:rPr lang="en-GB" sz="1400" b="0">
                <a:solidFill>
                  <a:schemeClr val="bg1"/>
                </a:solidFill>
                <a:ea typeface="ＭＳ Ｐゴシック" pitchFamily="50" charset="-128"/>
              </a:rPr>
              <a:t>Text</a:t>
            </a:r>
          </a:p>
        </p:txBody>
      </p:sp>
      <p:cxnSp>
        <p:nvCxnSpPr>
          <p:cNvPr id="13" name="AutoShape 11"/>
          <p:cNvCxnSpPr>
            <a:cxnSpLocks noChangeShapeType="1"/>
            <a:stCxn id="12" idx="3"/>
            <a:endCxn id="605187" idx="1"/>
          </p:cNvCxnSpPr>
          <p:nvPr/>
        </p:nvCxnSpPr>
        <p:spPr bwMode="auto">
          <a:xfrm>
            <a:off x="2800350" y="2690955"/>
            <a:ext cx="976313" cy="744538"/>
          </a:xfrm>
          <a:prstGeom prst="curvedConnector2">
            <a:avLst/>
          </a:prstGeom>
          <a:noFill/>
          <a:ln w="12700">
            <a:solidFill>
              <a:schemeClr val="tx2"/>
            </a:solidFill>
            <a:round/>
            <a:headEnd/>
            <a:tailEnd type="triangle" w="med" len="med"/>
          </a:ln>
        </p:spPr>
      </p:cxnSp>
      <p:cxnSp>
        <p:nvCxnSpPr>
          <p:cNvPr id="14" name="AutoShape 12"/>
          <p:cNvCxnSpPr>
            <a:cxnSpLocks noChangeShapeType="1"/>
            <a:stCxn id="8" idx="3"/>
            <a:endCxn id="605187" idx="3"/>
          </p:cNvCxnSpPr>
          <p:nvPr/>
        </p:nvCxnSpPr>
        <p:spPr bwMode="auto">
          <a:xfrm flipV="1">
            <a:off x="2800350" y="4154630"/>
            <a:ext cx="976313" cy="817563"/>
          </a:xfrm>
          <a:prstGeom prst="curvedConnector2">
            <a:avLst/>
          </a:prstGeom>
          <a:noFill/>
          <a:ln w="12700">
            <a:solidFill>
              <a:schemeClr val="tx2"/>
            </a:solidFill>
            <a:round/>
            <a:headEnd/>
            <a:tailEnd type="triangle" w="med" len="med"/>
          </a:ln>
        </p:spPr>
      </p:cxnSp>
      <p:cxnSp>
        <p:nvCxnSpPr>
          <p:cNvPr id="15" name="AutoShape 13"/>
          <p:cNvCxnSpPr>
            <a:cxnSpLocks noChangeShapeType="1"/>
            <a:stCxn id="9" idx="1"/>
            <a:endCxn id="605187" idx="5"/>
          </p:cNvCxnSpPr>
          <p:nvPr/>
        </p:nvCxnSpPr>
        <p:spPr bwMode="auto">
          <a:xfrm rot="10800000">
            <a:off x="5329238" y="4154630"/>
            <a:ext cx="957262" cy="817563"/>
          </a:xfrm>
          <a:prstGeom prst="curvedConnector2">
            <a:avLst/>
          </a:prstGeom>
          <a:noFill/>
          <a:ln w="12700">
            <a:solidFill>
              <a:schemeClr val="tx2"/>
            </a:solidFill>
            <a:round/>
            <a:headEnd/>
            <a:tailEnd type="triangle" w="med" len="med"/>
          </a:ln>
        </p:spPr>
      </p:cxnSp>
      <p:cxnSp>
        <p:nvCxnSpPr>
          <p:cNvPr id="16" name="AutoShape 14"/>
          <p:cNvCxnSpPr>
            <a:cxnSpLocks noChangeShapeType="1"/>
            <a:stCxn id="6" idx="1"/>
            <a:endCxn id="605187" idx="7"/>
          </p:cNvCxnSpPr>
          <p:nvPr/>
        </p:nvCxnSpPr>
        <p:spPr bwMode="auto">
          <a:xfrm rot="10800000" flipV="1">
            <a:off x="5329238" y="2690955"/>
            <a:ext cx="957262" cy="744538"/>
          </a:xfrm>
          <a:prstGeom prst="curvedConnector2">
            <a:avLst/>
          </a:prstGeom>
          <a:noFill/>
          <a:ln w="12700">
            <a:solidFill>
              <a:schemeClr val="tx2"/>
            </a:solidFill>
            <a:round/>
            <a:headEnd/>
            <a:tailEnd type="triangle" w="med" len="med"/>
          </a:ln>
        </p:spPr>
      </p:cxnSp>
      <p:cxnSp>
        <p:nvCxnSpPr>
          <p:cNvPr id="17" name="AutoShape 15"/>
          <p:cNvCxnSpPr>
            <a:cxnSpLocks noChangeShapeType="1"/>
            <a:stCxn id="10" idx="2"/>
            <a:endCxn id="605187" idx="0"/>
          </p:cNvCxnSpPr>
          <p:nvPr/>
        </p:nvCxnSpPr>
        <p:spPr bwMode="auto">
          <a:xfrm>
            <a:off x="4552950" y="2314718"/>
            <a:ext cx="0" cy="971550"/>
          </a:xfrm>
          <a:prstGeom prst="straightConnector1">
            <a:avLst/>
          </a:prstGeom>
          <a:noFill/>
          <a:ln w="12700">
            <a:solidFill>
              <a:schemeClr val="tx2"/>
            </a:solidFill>
            <a:round/>
            <a:headEnd/>
            <a:tailEnd type="triangle" w="med" len="med"/>
          </a:ln>
        </p:spPr>
      </p:cxnSp>
      <p:cxnSp>
        <p:nvCxnSpPr>
          <p:cNvPr id="18" name="AutoShape 16"/>
          <p:cNvCxnSpPr>
            <a:cxnSpLocks noChangeShapeType="1"/>
            <a:stCxn id="5" idx="0"/>
            <a:endCxn id="605187" idx="4"/>
          </p:cNvCxnSpPr>
          <p:nvPr/>
        </p:nvCxnSpPr>
        <p:spPr bwMode="auto">
          <a:xfrm flipV="1">
            <a:off x="4552950" y="4303855"/>
            <a:ext cx="0" cy="966788"/>
          </a:xfrm>
          <a:prstGeom prst="straightConnector1">
            <a:avLst/>
          </a:prstGeom>
          <a:noFill/>
          <a:ln w="12700">
            <a:solidFill>
              <a:schemeClr val="tx2"/>
            </a:solidFill>
            <a:round/>
            <a:headEnd/>
            <a:tailEnd type="triangle" w="med" len="med"/>
          </a:ln>
        </p:spPr>
      </p:cxnSp>
      <p:cxnSp>
        <p:nvCxnSpPr>
          <p:cNvPr id="19" name="AutoShape 17"/>
          <p:cNvCxnSpPr>
            <a:cxnSpLocks noChangeShapeType="1"/>
            <a:stCxn id="11" idx="3"/>
            <a:endCxn id="605187" idx="2"/>
          </p:cNvCxnSpPr>
          <p:nvPr/>
        </p:nvCxnSpPr>
        <p:spPr bwMode="auto">
          <a:xfrm>
            <a:off x="2800350" y="3794268"/>
            <a:ext cx="655638" cy="1587"/>
          </a:xfrm>
          <a:prstGeom prst="straightConnector1">
            <a:avLst/>
          </a:prstGeom>
          <a:noFill/>
          <a:ln w="12700">
            <a:solidFill>
              <a:schemeClr val="tx2"/>
            </a:solidFill>
            <a:round/>
            <a:headEnd/>
            <a:tailEnd type="triangle" w="med" len="med"/>
          </a:ln>
        </p:spPr>
      </p:cxnSp>
      <p:cxnSp>
        <p:nvCxnSpPr>
          <p:cNvPr id="20" name="AutoShape 18"/>
          <p:cNvCxnSpPr>
            <a:cxnSpLocks noChangeShapeType="1"/>
            <a:stCxn id="7" idx="1"/>
            <a:endCxn id="605187" idx="6"/>
          </p:cNvCxnSpPr>
          <p:nvPr/>
        </p:nvCxnSpPr>
        <p:spPr bwMode="auto">
          <a:xfrm flipH="1">
            <a:off x="5649913" y="3794268"/>
            <a:ext cx="636587" cy="1587"/>
          </a:xfrm>
          <a:prstGeom prst="straightConnector1">
            <a:avLst/>
          </a:prstGeom>
          <a:noFill/>
          <a:ln w="12700">
            <a:solidFill>
              <a:schemeClr val="tx2"/>
            </a:solidFill>
            <a:round/>
            <a:headEnd/>
            <a:tailEnd type="triangle" w="med" len="med"/>
          </a:ln>
        </p:spPr>
      </p:cxnSp>
      <p:sp>
        <p:nvSpPr>
          <p:cNvPr id="2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25"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6209" name="Title 1"/>
          <p:cNvSpPr>
            <a:spLocks noGrp="1"/>
          </p:cNvSpPr>
          <p:nvPr>
            <p:ph type="title"/>
          </p:nvPr>
        </p:nvSpPr>
        <p:spPr/>
        <p:txBody>
          <a:bodyPr/>
          <a:lstStyle/>
          <a:p>
            <a:r>
              <a:rPr lang="nl-NL"/>
              <a:t>Quotes</a:t>
            </a:r>
          </a:p>
        </p:txBody>
      </p:sp>
      <p:sp>
        <p:nvSpPr>
          <p:cNvPr id="4" name="AutoShape 3"/>
          <p:cNvSpPr>
            <a:spLocks noChangeArrowheads="1"/>
          </p:cNvSpPr>
          <p:nvPr/>
        </p:nvSpPr>
        <p:spPr bwMode="auto">
          <a:xfrm>
            <a:off x="446088" y="1595010"/>
            <a:ext cx="1485900" cy="925513"/>
          </a:xfrm>
          <a:prstGeom prst="wedgeRoundRectCallout">
            <a:avLst>
              <a:gd name="adj1" fmla="val -40102"/>
              <a:gd name="adj2" fmla="val 66667"/>
              <a:gd name="adj3" fmla="val 16667"/>
            </a:avLst>
          </a:prstGeom>
          <a:solidFill>
            <a:schemeClr val="accent3"/>
          </a:solidFill>
          <a:ln w="12700">
            <a:noFill/>
            <a:miter lim="800000"/>
            <a:headEnd/>
            <a:tailEnd/>
          </a:ln>
        </p:spPr>
        <p:txBody>
          <a:bodyPr wrap="none" lIns="18000" tIns="18000" rIns="18000" bIns="18000" anchor="ctr"/>
          <a:lstStyle/>
          <a:p>
            <a:pPr algn="ctr">
              <a:defRPr/>
            </a:pPr>
            <a:r>
              <a:rPr lang="en-GB" sz="1400" b="0" dirty="0" smtClean="0">
                <a:solidFill>
                  <a:schemeClr val="bg1"/>
                </a:solidFill>
                <a:ea typeface="ＭＳ Ｐゴシック" pitchFamily="50" charset="-128"/>
              </a:rPr>
              <a:t>Text</a:t>
            </a:r>
            <a:endParaRPr lang="en-GB" sz="1400" b="0" dirty="0">
              <a:solidFill>
                <a:schemeClr val="bg1"/>
              </a:solidFill>
              <a:ea typeface="ＭＳ Ｐゴシック" pitchFamily="50" charset="-128"/>
            </a:endParaRPr>
          </a:p>
        </p:txBody>
      </p:sp>
      <p:sp>
        <p:nvSpPr>
          <p:cNvPr id="5" name="AutoShape 4"/>
          <p:cNvSpPr>
            <a:spLocks noChangeArrowheads="1"/>
          </p:cNvSpPr>
          <p:nvPr/>
        </p:nvSpPr>
        <p:spPr bwMode="auto">
          <a:xfrm>
            <a:off x="4456113" y="1775118"/>
            <a:ext cx="1890712" cy="901700"/>
          </a:xfrm>
          <a:prstGeom prst="wedgeRoundRectCallout">
            <a:avLst>
              <a:gd name="adj1" fmla="val -40102"/>
              <a:gd name="adj2" fmla="val 66667"/>
              <a:gd name="adj3" fmla="val 16667"/>
            </a:avLst>
          </a:prstGeom>
          <a:solidFill>
            <a:schemeClr val="accent3"/>
          </a:solidFill>
          <a:ln w="12700">
            <a:noFill/>
            <a:miter lim="800000"/>
            <a:headEnd/>
            <a:tailEnd/>
          </a:ln>
        </p:spPr>
        <p:txBody>
          <a:bodyPr wrap="none" lIns="18000" tIns="18000" rIns="18000" bIns="18000" anchor="ctr"/>
          <a:lstStyle/>
          <a:p>
            <a:pPr>
              <a:defRPr/>
            </a:pPr>
            <a:r>
              <a:rPr lang="en-GB" sz="1400" b="0" dirty="0" smtClean="0">
                <a:solidFill>
                  <a:schemeClr val="bg1"/>
                </a:solidFill>
                <a:ea typeface="ＭＳ Ｐゴシック" pitchFamily="50" charset="-128"/>
              </a:rPr>
              <a:t>Text</a:t>
            </a:r>
          </a:p>
        </p:txBody>
      </p:sp>
      <p:sp>
        <p:nvSpPr>
          <p:cNvPr id="6" name="AutoShape 5"/>
          <p:cNvSpPr>
            <a:spLocks noChangeArrowheads="1"/>
          </p:cNvSpPr>
          <p:nvPr/>
        </p:nvSpPr>
        <p:spPr bwMode="auto">
          <a:xfrm>
            <a:off x="2460625" y="1841793"/>
            <a:ext cx="1485900" cy="569913"/>
          </a:xfrm>
          <a:prstGeom prst="wedgeRoundRectCallout">
            <a:avLst>
              <a:gd name="adj1" fmla="val -40102"/>
              <a:gd name="adj2" fmla="val 66667"/>
              <a:gd name="adj3" fmla="val 16667"/>
            </a:avLst>
          </a:prstGeom>
          <a:solidFill>
            <a:schemeClr val="accent3"/>
          </a:solidFill>
          <a:ln w="12700">
            <a:noFill/>
            <a:miter lim="800000"/>
            <a:headEnd/>
            <a:tailEnd/>
          </a:ln>
        </p:spPr>
        <p:txBody>
          <a:bodyPr wrap="none" lIns="18000" tIns="18000" rIns="18000" bIns="18000" anchor="ctr"/>
          <a:lstStyle/>
          <a:p>
            <a:pPr>
              <a:defRPr/>
            </a:pPr>
            <a:r>
              <a:rPr lang="en-GB" sz="1400" b="0" dirty="0" smtClean="0">
                <a:solidFill>
                  <a:schemeClr val="bg1"/>
                </a:solidFill>
                <a:ea typeface="ＭＳ Ｐゴシック" pitchFamily="50" charset="-128"/>
              </a:rPr>
              <a:t>Text</a:t>
            </a:r>
          </a:p>
        </p:txBody>
      </p:sp>
      <p:sp>
        <p:nvSpPr>
          <p:cNvPr id="7" name="AutoShape 6"/>
          <p:cNvSpPr>
            <a:spLocks noChangeArrowheads="1"/>
          </p:cNvSpPr>
          <p:nvPr/>
        </p:nvSpPr>
        <p:spPr bwMode="auto">
          <a:xfrm>
            <a:off x="1873250" y="2889543"/>
            <a:ext cx="2206625" cy="1203325"/>
          </a:xfrm>
          <a:prstGeom prst="wedgeRoundRectCallout">
            <a:avLst>
              <a:gd name="adj1" fmla="val -40102"/>
              <a:gd name="adj2" fmla="val 66667"/>
              <a:gd name="adj3" fmla="val 16667"/>
            </a:avLst>
          </a:prstGeom>
          <a:solidFill>
            <a:schemeClr val="accent3"/>
          </a:solidFill>
          <a:ln w="12700">
            <a:noFill/>
            <a:miter lim="800000"/>
            <a:headEnd/>
            <a:tailEnd/>
          </a:ln>
        </p:spPr>
        <p:txBody>
          <a:bodyPr wrap="none" lIns="18000" tIns="18000" rIns="18000" bIns="18000" anchor="ctr"/>
          <a:lstStyle/>
          <a:p>
            <a:pPr>
              <a:defRPr/>
            </a:pPr>
            <a:r>
              <a:rPr lang="en-GB" sz="1400" b="0" dirty="0" smtClean="0">
                <a:solidFill>
                  <a:schemeClr val="bg1"/>
                </a:solidFill>
                <a:ea typeface="ＭＳ Ｐゴシック" pitchFamily="50" charset="-128"/>
              </a:rPr>
              <a:t>Text</a:t>
            </a:r>
          </a:p>
        </p:txBody>
      </p:sp>
      <p:sp>
        <p:nvSpPr>
          <p:cNvPr id="8" name="AutoShape 7"/>
          <p:cNvSpPr>
            <a:spLocks noChangeArrowheads="1"/>
          </p:cNvSpPr>
          <p:nvPr/>
        </p:nvSpPr>
        <p:spPr bwMode="auto">
          <a:xfrm>
            <a:off x="4833938" y="3346743"/>
            <a:ext cx="1639887" cy="811213"/>
          </a:xfrm>
          <a:prstGeom prst="wedgeRoundRectCallout">
            <a:avLst>
              <a:gd name="adj1" fmla="val -36898"/>
              <a:gd name="adj2" fmla="val 66667"/>
              <a:gd name="adj3" fmla="val 16667"/>
            </a:avLst>
          </a:prstGeom>
          <a:solidFill>
            <a:schemeClr val="accent3"/>
          </a:solidFill>
          <a:ln w="12700">
            <a:noFill/>
            <a:miter lim="800000"/>
            <a:headEnd/>
            <a:tailEnd/>
          </a:ln>
        </p:spPr>
        <p:txBody>
          <a:bodyPr wrap="none" lIns="18000" tIns="18000" rIns="18000" bIns="18000" anchor="ctr"/>
          <a:lstStyle/>
          <a:p>
            <a:pPr>
              <a:defRPr/>
            </a:pPr>
            <a:r>
              <a:rPr lang="en-GB" sz="1400" b="0" dirty="0" smtClean="0">
                <a:solidFill>
                  <a:schemeClr val="bg1"/>
                </a:solidFill>
                <a:ea typeface="ＭＳ Ｐゴシック" pitchFamily="50" charset="-128"/>
              </a:rPr>
              <a:t>Text</a:t>
            </a:r>
          </a:p>
        </p:txBody>
      </p:sp>
      <p:sp>
        <p:nvSpPr>
          <p:cNvPr id="9" name="AutoShape 8"/>
          <p:cNvSpPr>
            <a:spLocks noChangeArrowheads="1"/>
          </p:cNvSpPr>
          <p:nvPr/>
        </p:nvSpPr>
        <p:spPr bwMode="auto">
          <a:xfrm>
            <a:off x="4959350" y="4604043"/>
            <a:ext cx="3436938" cy="763588"/>
          </a:xfrm>
          <a:prstGeom prst="wedgeRoundRectCallout">
            <a:avLst>
              <a:gd name="adj1" fmla="val -31741"/>
              <a:gd name="adj2" fmla="val 66667"/>
              <a:gd name="adj3" fmla="val 16667"/>
            </a:avLst>
          </a:prstGeom>
          <a:solidFill>
            <a:schemeClr val="accent3"/>
          </a:solidFill>
          <a:ln w="12700" algn="ctr">
            <a:noFill/>
            <a:miter lim="800000"/>
            <a:headEnd/>
            <a:tailEnd/>
          </a:ln>
        </p:spPr>
        <p:txBody>
          <a:bodyPr wrap="none" lIns="18000" tIns="18000" rIns="18000" bIns="18000" anchor="ctr"/>
          <a:lstStyle/>
          <a:p>
            <a:pPr>
              <a:defRPr/>
            </a:pPr>
            <a:r>
              <a:rPr lang="en-GB" sz="1400" b="0" dirty="0" smtClean="0">
                <a:solidFill>
                  <a:schemeClr val="bg1"/>
                </a:solidFill>
                <a:ea typeface="ＭＳ Ｐゴシック" pitchFamily="50" charset="-128"/>
              </a:rPr>
              <a:t>Text</a:t>
            </a:r>
          </a:p>
        </p:txBody>
      </p:sp>
      <p:sp>
        <p:nvSpPr>
          <p:cNvPr id="10" name="AutoShape 9"/>
          <p:cNvSpPr>
            <a:spLocks noChangeArrowheads="1"/>
          </p:cNvSpPr>
          <p:nvPr/>
        </p:nvSpPr>
        <p:spPr bwMode="auto">
          <a:xfrm>
            <a:off x="7216775" y="3781718"/>
            <a:ext cx="1484313" cy="544513"/>
          </a:xfrm>
          <a:prstGeom prst="wedgeRoundRectCallout">
            <a:avLst>
              <a:gd name="adj1" fmla="val -33986"/>
              <a:gd name="adj2" fmla="val 66667"/>
              <a:gd name="adj3" fmla="val 16667"/>
            </a:avLst>
          </a:prstGeom>
          <a:solidFill>
            <a:schemeClr val="accent3"/>
          </a:solidFill>
          <a:ln w="12700">
            <a:noFill/>
            <a:miter lim="800000"/>
            <a:headEnd/>
            <a:tailEnd/>
          </a:ln>
        </p:spPr>
        <p:txBody>
          <a:bodyPr wrap="none" lIns="18000" tIns="18000" rIns="18000" bIns="18000" anchor="ctr"/>
          <a:lstStyle/>
          <a:p>
            <a:pPr>
              <a:defRPr/>
            </a:pPr>
            <a:r>
              <a:rPr lang="en-GB" sz="1400" b="0" dirty="0" smtClean="0">
                <a:solidFill>
                  <a:schemeClr val="bg1"/>
                </a:solidFill>
                <a:ea typeface="ＭＳ Ｐゴシック" pitchFamily="50" charset="-128"/>
              </a:rPr>
              <a:t>Text</a:t>
            </a:r>
          </a:p>
        </p:txBody>
      </p:sp>
      <p:sp>
        <p:nvSpPr>
          <p:cNvPr id="11" name="AutoShape 10"/>
          <p:cNvSpPr>
            <a:spLocks noChangeArrowheads="1"/>
          </p:cNvSpPr>
          <p:nvPr/>
        </p:nvSpPr>
        <p:spPr bwMode="auto">
          <a:xfrm>
            <a:off x="6846888" y="1589381"/>
            <a:ext cx="1717675" cy="1644650"/>
          </a:xfrm>
          <a:prstGeom prst="wedgeRoundRectCallout">
            <a:avLst>
              <a:gd name="adj1" fmla="val -33037"/>
              <a:gd name="adj2" fmla="val 66667"/>
              <a:gd name="adj3" fmla="val 16667"/>
            </a:avLst>
          </a:prstGeom>
          <a:solidFill>
            <a:schemeClr val="accent3"/>
          </a:solidFill>
          <a:ln w="12700">
            <a:noFill/>
            <a:miter lim="800000"/>
            <a:headEnd/>
            <a:tailEnd/>
          </a:ln>
        </p:spPr>
        <p:txBody>
          <a:bodyPr wrap="none" lIns="18000" tIns="18000" rIns="18000" bIns="18000" anchor="ctr"/>
          <a:lstStyle/>
          <a:p>
            <a:pPr>
              <a:defRPr/>
            </a:pPr>
            <a:r>
              <a:rPr lang="en-GB" sz="1400" b="0" dirty="0" smtClean="0">
                <a:solidFill>
                  <a:schemeClr val="bg1"/>
                </a:solidFill>
                <a:ea typeface="ＭＳ Ｐゴシック" pitchFamily="50" charset="-128"/>
              </a:rPr>
              <a:t>Text</a:t>
            </a:r>
          </a:p>
        </p:txBody>
      </p:sp>
      <p:sp>
        <p:nvSpPr>
          <p:cNvPr id="12" name="AutoShape 11"/>
          <p:cNvSpPr>
            <a:spLocks noChangeArrowheads="1"/>
          </p:cNvSpPr>
          <p:nvPr/>
        </p:nvSpPr>
        <p:spPr bwMode="auto">
          <a:xfrm>
            <a:off x="2540000" y="4450056"/>
            <a:ext cx="2000250" cy="1128712"/>
          </a:xfrm>
          <a:prstGeom prst="wedgeRoundRectCallout">
            <a:avLst>
              <a:gd name="adj1" fmla="val -40102"/>
              <a:gd name="adj2" fmla="val 66667"/>
              <a:gd name="adj3" fmla="val 16667"/>
            </a:avLst>
          </a:prstGeom>
          <a:solidFill>
            <a:schemeClr val="accent3"/>
          </a:solidFill>
          <a:ln w="12700">
            <a:noFill/>
            <a:miter lim="800000"/>
            <a:headEnd/>
            <a:tailEnd/>
          </a:ln>
        </p:spPr>
        <p:txBody>
          <a:bodyPr wrap="none" lIns="18000" tIns="18000" rIns="18000" bIns="18000" anchor="ctr"/>
          <a:lstStyle/>
          <a:p>
            <a:pPr>
              <a:defRPr/>
            </a:pPr>
            <a:r>
              <a:rPr lang="en-GB" sz="1400" b="0" dirty="0" smtClean="0">
                <a:solidFill>
                  <a:schemeClr val="bg1"/>
                </a:solidFill>
                <a:ea typeface="ＭＳ Ｐゴシック" pitchFamily="50" charset="-128"/>
              </a:rPr>
              <a:t>Text</a:t>
            </a:r>
          </a:p>
        </p:txBody>
      </p:sp>
      <p:sp>
        <p:nvSpPr>
          <p:cNvPr id="13" name="AutoShape 12"/>
          <p:cNvSpPr>
            <a:spLocks noChangeArrowheads="1"/>
          </p:cNvSpPr>
          <p:nvPr/>
        </p:nvSpPr>
        <p:spPr bwMode="auto">
          <a:xfrm>
            <a:off x="463550" y="3438818"/>
            <a:ext cx="1055688" cy="695325"/>
          </a:xfrm>
          <a:prstGeom prst="wedgeRoundRectCallout">
            <a:avLst>
              <a:gd name="adj1" fmla="val -40102"/>
              <a:gd name="adj2" fmla="val 66667"/>
              <a:gd name="adj3" fmla="val 16667"/>
            </a:avLst>
          </a:prstGeom>
          <a:solidFill>
            <a:schemeClr val="accent3"/>
          </a:solidFill>
          <a:ln w="12700">
            <a:noFill/>
            <a:miter lim="800000"/>
            <a:headEnd/>
            <a:tailEnd/>
          </a:ln>
        </p:spPr>
        <p:txBody>
          <a:bodyPr wrap="none" lIns="18000" tIns="18000" rIns="18000" bIns="18000" anchor="ctr"/>
          <a:lstStyle/>
          <a:p>
            <a:pPr>
              <a:defRPr/>
            </a:pPr>
            <a:r>
              <a:rPr lang="en-GB" sz="1400" b="0" dirty="0" smtClean="0">
                <a:solidFill>
                  <a:schemeClr val="bg1"/>
                </a:solidFill>
                <a:ea typeface="ＭＳ Ｐゴシック" pitchFamily="50" charset="-128"/>
              </a:rPr>
              <a:t>Text</a:t>
            </a:r>
          </a:p>
        </p:txBody>
      </p:sp>
      <p:sp>
        <p:nvSpPr>
          <p:cNvPr id="14" name="AutoShape 13"/>
          <p:cNvSpPr>
            <a:spLocks noChangeArrowheads="1"/>
          </p:cNvSpPr>
          <p:nvPr/>
        </p:nvSpPr>
        <p:spPr bwMode="auto">
          <a:xfrm>
            <a:off x="382588" y="4710406"/>
            <a:ext cx="1485900" cy="733425"/>
          </a:xfrm>
          <a:prstGeom prst="wedgeRoundRectCallout">
            <a:avLst>
              <a:gd name="adj1" fmla="val -40102"/>
              <a:gd name="adj2" fmla="val 66667"/>
              <a:gd name="adj3" fmla="val 16667"/>
            </a:avLst>
          </a:prstGeom>
          <a:solidFill>
            <a:schemeClr val="accent3"/>
          </a:solidFill>
          <a:ln w="12700">
            <a:noFill/>
            <a:miter lim="800000"/>
            <a:headEnd/>
            <a:tailEnd/>
          </a:ln>
        </p:spPr>
        <p:txBody>
          <a:bodyPr wrap="none" lIns="18000" tIns="18000" rIns="18000" bIns="18000" anchor="ctr"/>
          <a:lstStyle/>
          <a:p>
            <a:pPr>
              <a:defRPr/>
            </a:pPr>
            <a:r>
              <a:rPr lang="en-GB" sz="1400" b="0" dirty="0" smtClean="0">
                <a:solidFill>
                  <a:schemeClr val="bg1"/>
                </a:solidFill>
                <a:ea typeface="ＭＳ Ｐゴシック" pitchFamily="50" charset="-128"/>
              </a:rPr>
              <a:t>Text</a:t>
            </a:r>
          </a:p>
        </p:txBody>
      </p:sp>
      <p:sp>
        <p:nvSpPr>
          <p:cNvPr id="17"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1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7233" name="Title 1"/>
          <p:cNvSpPr>
            <a:spLocks noGrp="1"/>
          </p:cNvSpPr>
          <p:nvPr>
            <p:ph type="title"/>
          </p:nvPr>
        </p:nvSpPr>
        <p:spPr/>
        <p:txBody>
          <a:bodyPr/>
          <a:lstStyle/>
          <a:p>
            <a:r>
              <a:rPr lang="nl-NL"/>
              <a:t>Quotes</a:t>
            </a:r>
          </a:p>
        </p:txBody>
      </p:sp>
      <p:sp>
        <p:nvSpPr>
          <p:cNvPr id="4" name="AutoShape 3"/>
          <p:cNvSpPr>
            <a:spLocks noChangeArrowheads="1"/>
          </p:cNvSpPr>
          <p:nvPr/>
        </p:nvSpPr>
        <p:spPr bwMode="auto">
          <a:xfrm>
            <a:off x="446088" y="1595010"/>
            <a:ext cx="1485900" cy="925513"/>
          </a:xfrm>
          <a:prstGeom prst="wedgeRoundRectCallout">
            <a:avLst>
              <a:gd name="adj1" fmla="val -40102"/>
              <a:gd name="adj2" fmla="val 66667"/>
              <a:gd name="adj3" fmla="val 16667"/>
            </a:avLst>
          </a:prstGeom>
          <a:solidFill>
            <a:schemeClr val="bg1"/>
          </a:solidFill>
          <a:ln w="12700">
            <a:solidFill>
              <a:schemeClr val="accent3"/>
            </a:solidFill>
            <a:miter lim="800000"/>
            <a:headEnd/>
            <a:tailEnd/>
          </a:ln>
        </p:spPr>
        <p:txBody>
          <a:bodyPr wrap="none" lIns="18000" tIns="18000" rIns="18000" bIns="18000" anchor="ctr"/>
          <a:lstStyle/>
          <a:p>
            <a:pPr algn="ctr">
              <a:defRPr/>
            </a:pPr>
            <a:r>
              <a:rPr lang="en-GB" sz="1400" b="0" dirty="0" smtClean="0">
                <a:solidFill>
                  <a:schemeClr val="tx2"/>
                </a:solidFill>
                <a:ea typeface="ＭＳ Ｐゴシック" pitchFamily="50" charset="-128"/>
              </a:rPr>
              <a:t>Text</a:t>
            </a:r>
            <a:endParaRPr lang="en-GB" sz="1400" b="0" dirty="0">
              <a:solidFill>
                <a:schemeClr val="tx2"/>
              </a:solidFill>
              <a:ea typeface="ＭＳ Ｐゴシック" pitchFamily="50" charset="-128"/>
            </a:endParaRPr>
          </a:p>
        </p:txBody>
      </p:sp>
      <p:sp>
        <p:nvSpPr>
          <p:cNvPr id="5" name="AutoShape 4"/>
          <p:cNvSpPr>
            <a:spLocks noChangeArrowheads="1"/>
          </p:cNvSpPr>
          <p:nvPr/>
        </p:nvSpPr>
        <p:spPr bwMode="auto">
          <a:xfrm>
            <a:off x="4456113" y="1747410"/>
            <a:ext cx="1890712" cy="901700"/>
          </a:xfrm>
          <a:prstGeom prst="wedgeRoundRectCallout">
            <a:avLst>
              <a:gd name="adj1" fmla="val -40102"/>
              <a:gd name="adj2" fmla="val 66667"/>
              <a:gd name="adj3" fmla="val 16667"/>
            </a:avLst>
          </a:prstGeom>
          <a:solidFill>
            <a:schemeClr val="bg1"/>
          </a:solidFill>
          <a:ln w="12700">
            <a:solidFill>
              <a:schemeClr val="accent3"/>
            </a:solidFill>
            <a:miter lim="800000"/>
            <a:headEnd/>
            <a:tailEnd/>
          </a:ln>
        </p:spPr>
        <p:txBody>
          <a:bodyPr wrap="none" lIns="18000" tIns="18000" rIns="18000" bIns="18000" anchor="ctr"/>
          <a:lstStyle/>
          <a:p>
            <a:pPr>
              <a:defRPr/>
            </a:pPr>
            <a:r>
              <a:rPr lang="en-GB" sz="1400" b="0" dirty="0" smtClean="0">
                <a:solidFill>
                  <a:schemeClr val="tx2"/>
                </a:solidFill>
                <a:ea typeface="ＭＳ Ｐゴシック" pitchFamily="50" charset="-128"/>
              </a:rPr>
              <a:t>Text</a:t>
            </a:r>
            <a:endParaRPr lang="en-GB" sz="1400" b="0" dirty="0">
              <a:solidFill>
                <a:schemeClr val="tx2"/>
              </a:solidFill>
              <a:ea typeface="ＭＳ Ｐゴシック" pitchFamily="50" charset="-128"/>
            </a:endParaRPr>
          </a:p>
        </p:txBody>
      </p:sp>
      <p:sp>
        <p:nvSpPr>
          <p:cNvPr id="6" name="AutoShape 5"/>
          <p:cNvSpPr>
            <a:spLocks noChangeArrowheads="1"/>
          </p:cNvSpPr>
          <p:nvPr/>
        </p:nvSpPr>
        <p:spPr bwMode="auto">
          <a:xfrm>
            <a:off x="2460625" y="1814085"/>
            <a:ext cx="1485900" cy="569913"/>
          </a:xfrm>
          <a:prstGeom prst="wedgeRoundRectCallout">
            <a:avLst>
              <a:gd name="adj1" fmla="val -40102"/>
              <a:gd name="adj2" fmla="val 66667"/>
              <a:gd name="adj3" fmla="val 16667"/>
            </a:avLst>
          </a:prstGeom>
          <a:solidFill>
            <a:schemeClr val="bg1"/>
          </a:solidFill>
          <a:ln w="12700">
            <a:solidFill>
              <a:schemeClr val="accent3"/>
            </a:solidFill>
            <a:miter lim="800000"/>
            <a:headEnd/>
            <a:tailEnd/>
          </a:ln>
        </p:spPr>
        <p:txBody>
          <a:bodyPr wrap="none" lIns="18000" tIns="18000" rIns="18000" bIns="18000" anchor="ctr"/>
          <a:lstStyle/>
          <a:p>
            <a:pPr>
              <a:defRPr/>
            </a:pPr>
            <a:r>
              <a:rPr lang="en-GB" sz="1400" b="0" dirty="0" smtClean="0">
                <a:solidFill>
                  <a:schemeClr val="tx2"/>
                </a:solidFill>
                <a:ea typeface="ＭＳ Ｐゴシック" pitchFamily="50" charset="-128"/>
              </a:rPr>
              <a:t>Text</a:t>
            </a:r>
            <a:endParaRPr lang="en-GB" sz="1400" b="0" dirty="0">
              <a:solidFill>
                <a:schemeClr val="tx2"/>
              </a:solidFill>
              <a:ea typeface="ＭＳ Ｐゴシック" pitchFamily="50" charset="-128"/>
            </a:endParaRPr>
          </a:p>
        </p:txBody>
      </p:sp>
      <p:sp>
        <p:nvSpPr>
          <p:cNvPr id="7" name="AutoShape 6"/>
          <p:cNvSpPr>
            <a:spLocks noChangeArrowheads="1"/>
          </p:cNvSpPr>
          <p:nvPr/>
        </p:nvSpPr>
        <p:spPr bwMode="auto">
          <a:xfrm>
            <a:off x="1873250" y="2861835"/>
            <a:ext cx="2206625" cy="1203325"/>
          </a:xfrm>
          <a:prstGeom prst="wedgeRoundRectCallout">
            <a:avLst>
              <a:gd name="adj1" fmla="val -40102"/>
              <a:gd name="adj2" fmla="val 66667"/>
              <a:gd name="adj3" fmla="val 16667"/>
            </a:avLst>
          </a:prstGeom>
          <a:solidFill>
            <a:schemeClr val="bg1"/>
          </a:solidFill>
          <a:ln w="12700">
            <a:solidFill>
              <a:schemeClr val="accent3"/>
            </a:solidFill>
            <a:miter lim="800000"/>
            <a:headEnd/>
            <a:tailEnd/>
          </a:ln>
        </p:spPr>
        <p:txBody>
          <a:bodyPr wrap="none" lIns="18000" tIns="18000" rIns="18000" bIns="18000" anchor="ctr"/>
          <a:lstStyle/>
          <a:p>
            <a:pPr>
              <a:defRPr/>
            </a:pPr>
            <a:r>
              <a:rPr lang="en-GB" sz="1400" b="0" dirty="0" smtClean="0">
                <a:solidFill>
                  <a:schemeClr val="tx2"/>
                </a:solidFill>
                <a:ea typeface="ＭＳ Ｐゴシック" pitchFamily="50" charset="-128"/>
              </a:rPr>
              <a:t>Text</a:t>
            </a:r>
            <a:endParaRPr lang="en-GB" sz="1400" b="0" dirty="0">
              <a:solidFill>
                <a:schemeClr val="tx2"/>
              </a:solidFill>
              <a:ea typeface="ＭＳ Ｐゴシック" pitchFamily="50" charset="-128"/>
            </a:endParaRPr>
          </a:p>
        </p:txBody>
      </p:sp>
      <p:sp>
        <p:nvSpPr>
          <p:cNvPr id="8" name="AutoShape 7"/>
          <p:cNvSpPr>
            <a:spLocks noChangeArrowheads="1"/>
          </p:cNvSpPr>
          <p:nvPr/>
        </p:nvSpPr>
        <p:spPr bwMode="auto">
          <a:xfrm>
            <a:off x="4833938" y="3319035"/>
            <a:ext cx="1639887" cy="811213"/>
          </a:xfrm>
          <a:prstGeom prst="wedgeRoundRectCallout">
            <a:avLst>
              <a:gd name="adj1" fmla="val -36898"/>
              <a:gd name="adj2" fmla="val 66667"/>
              <a:gd name="adj3" fmla="val 16667"/>
            </a:avLst>
          </a:prstGeom>
          <a:solidFill>
            <a:schemeClr val="bg1"/>
          </a:solidFill>
          <a:ln w="12700">
            <a:solidFill>
              <a:schemeClr val="accent3"/>
            </a:solidFill>
            <a:miter lim="800000"/>
            <a:headEnd/>
            <a:tailEnd/>
          </a:ln>
        </p:spPr>
        <p:txBody>
          <a:bodyPr wrap="none" lIns="18000" tIns="18000" rIns="18000" bIns="18000" anchor="ctr"/>
          <a:lstStyle/>
          <a:p>
            <a:pPr>
              <a:defRPr/>
            </a:pPr>
            <a:r>
              <a:rPr lang="en-GB" sz="1400" b="0" dirty="0" smtClean="0">
                <a:solidFill>
                  <a:schemeClr val="tx2"/>
                </a:solidFill>
                <a:ea typeface="ＭＳ Ｐゴシック" pitchFamily="50" charset="-128"/>
              </a:rPr>
              <a:t>Text</a:t>
            </a:r>
            <a:endParaRPr lang="en-GB" sz="1400" b="0" dirty="0">
              <a:solidFill>
                <a:schemeClr val="tx2"/>
              </a:solidFill>
              <a:ea typeface="ＭＳ Ｐゴシック" pitchFamily="50" charset="-128"/>
            </a:endParaRPr>
          </a:p>
        </p:txBody>
      </p:sp>
      <p:sp>
        <p:nvSpPr>
          <p:cNvPr id="9" name="AutoShape 8"/>
          <p:cNvSpPr>
            <a:spLocks noChangeArrowheads="1"/>
          </p:cNvSpPr>
          <p:nvPr/>
        </p:nvSpPr>
        <p:spPr bwMode="auto">
          <a:xfrm>
            <a:off x="4959350" y="4576335"/>
            <a:ext cx="3436938" cy="763588"/>
          </a:xfrm>
          <a:prstGeom prst="wedgeRoundRectCallout">
            <a:avLst>
              <a:gd name="adj1" fmla="val -31741"/>
              <a:gd name="adj2" fmla="val 66667"/>
              <a:gd name="adj3" fmla="val 16667"/>
            </a:avLst>
          </a:prstGeom>
          <a:solidFill>
            <a:schemeClr val="bg1"/>
          </a:solidFill>
          <a:ln w="12700" algn="ctr">
            <a:solidFill>
              <a:schemeClr val="accent3"/>
            </a:solidFill>
            <a:miter lim="800000"/>
            <a:headEnd/>
            <a:tailEnd/>
          </a:ln>
        </p:spPr>
        <p:txBody>
          <a:bodyPr wrap="none" lIns="18000" tIns="18000" rIns="18000" bIns="18000" anchor="ctr"/>
          <a:lstStyle/>
          <a:p>
            <a:pPr>
              <a:defRPr/>
            </a:pPr>
            <a:r>
              <a:rPr lang="en-GB" sz="1400" b="0" dirty="0" smtClean="0">
                <a:solidFill>
                  <a:schemeClr val="tx2"/>
                </a:solidFill>
                <a:ea typeface="ＭＳ Ｐゴシック" pitchFamily="50" charset="-128"/>
              </a:rPr>
              <a:t>Text</a:t>
            </a:r>
            <a:endParaRPr lang="en-GB" sz="1400" b="0" dirty="0">
              <a:solidFill>
                <a:schemeClr val="tx2"/>
              </a:solidFill>
              <a:ea typeface="ＭＳ Ｐゴシック" pitchFamily="50" charset="-128"/>
            </a:endParaRPr>
          </a:p>
        </p:txBody>
      </p:sp>
      <p:sp>
        <p:nvSpPr>
          <p:cNvPr id="10" name="AutoShape 9"/>
          <p:cNvSpPr>
            <a:spLocks noChangeArrowheads="1"/>
          </p:cNvSpPr>
          <p:nvPr/>
        </p:nvSpPr>
        <p:spPr bwMode="auto">
          <a:xfrm>
            <a:off x="7216775" y="3754010"/>
            <a:ext cx="1484313" cy="544513"/>
          </a:xfrm>
          <a:prstGeom prst="wedgeRoundRectCallout">
            <a:avLst>
              <a:gd name="adj1" fmla="val -33986"/>
              <a:gd name="adj2" fmla="val 66667"/>
              <a:gd name="adj3" fmla="val 16667"/>
            </a:avLst>
          </a:prstGeom>
          <a:solidFill>
            <a:schemeClr val="bg1"/>
          </a:solidFill>
          <a:ln w="12700">
            <a:solidFill>
              <a:schemeClr val="accent3"/>
            </a:solidFill>
            <a:miter lim="800000"/>
            <a:headEnd/>
            <a:tailEnd/>
          </a:ln>
        </p:spPr>
        <p:txBody>
          <a:bodyPr wrap="none" lIns="18000" tIns="18000" rIns="18000" bIns="18000" anchor="ctr"/>
          <a:lstStyle/>
          <a:p>
            <a:pPr>
              <a:defRPr/>
            </a:pPr>
            <a:r>
              <a:rPr lang="en-GB" sz="1400" b="0" dirty="0" smtClean="0">
                <a:solidFill>
                  <a:schemeClr val="tx2"/>
                </a:solidFill>
                <a:ea typeface="ＭＳ Ｐゴシック" pitchFamily="50" charset="-128"/>
              </a:rPr>
              <a:t>Text</a:t>
            </a:r>
            <a:endParaRPr lang="en-GB" sz="1400" b="0" dirty="0">
              <a:solidFill>
                <a:schemeClr val="tx2"/>
              </a:solidFill>
              <a:ea typeface="ＭＳ Ｐゴシック" pitchFamily="50" charset="-128"/>
            </a:endParaRPr>
          </a:p>
        </p:txBody>
      </p:sp>
      <p:sp>
        <p:nvSpPr>
          <p:cNvPr id="11" name="AutoShape 10"/>
          <p:cNvSpPr>
            <a:spLocks noChangeArrowheads="1"/>
          </p:cNvSpPr>
          <p:nvPr/>
        </p:nvSpPr>
        <p:spPr bwMode="auto">
          <a:xfrm>
            <a:off x="6846888" y="1589381"/>
            <a:ext cx="1717675" cy="1644650"/>
          </a:xfrm>
          <a:prstGeom prst="wedgeRoundRectCallout">
            <a:avLst>
              <a:gd name="adj1" fmla="val -33037"/>
              <a:gd name="adj2" fmla="val 66667"/>
              <a:gd name="adj3" fmla="val 16667"/>
            </a:avLst>
          </a:prstGeom>
          <a:solidFill>
            <a:schemeClr val="bg1"/>
          </a:solidFill>
          <a:ln w="12700">
            <a:solidFill>
              <a:schemeClr val="accent3"/>
            </a:solidFill>
            <a:miter lim="800000"/>
            <a:headEnd/>
            <a:tailEnd/>
          </a:ln>
        </p:spPr>
        <p:txBody>
          <a:bodyPr wrap="none" lIns="18000" tIns="18000" rIns="18000" bIns="18000" anchor="ctr"/>
          <a:lstStyle/>
          <a:p>
            <a:pPr>
              <a:defRPr/>
            </a:pPr>
            <a:r>
              <a:rPr lang="en-GB" sz="1400" b="0" dirty="0" smtClean="0">
                <a:solidFill>
                  <a:schemeClr val="tx2"/>
                </a:solidFill>
                <a:ea typeface="ＭＳ Ｐゴシック" pitchFamily="50" charset="-128"/>
              </a:rPr>
              <a:t>Text</a:t>
            </a:r>
            <a:endParaRPr lang="en-GB" sz="1400" b="0" dirty="0">
              <a:solidFill>
                <a:schemeClr val="tx2"/>
              </a:solidFill>
              <a:ea typeface="ＭＳ Ｐゴシック" pitchFamily="50" charset="-128"/>
            </a:endParaRPr>
          </a:p>
        </p:txBody>
      </p:sp>
      <p:sp>
        <p:nvSpPr>
          <p:cNvPr id="12" name="AutoShape 11"/>
          <p:cNvSpPr>
            <a:spLocks noChangeArrowheads="1"/>
          </p:cNvSpPr>
          <p:nvPr/>
        </p:nvSpPr>
        <p:spPr bwMode="auto">
          <a:xfrm>
            <a:off x="2540000" y="4422348"/>
            <a:ext cx="2000250" cy="1128712"/>
          </a:xfrm>
          <a:prstGeom prst="wedgeRoundRectCallout">
            <a:avLst>
              <a:gd name="adj1" fmla="val -40102"/>
              <a:gd name="adj2" fmla="val 66667"/>
              <a:gd name="adj3" fmla="val 16667"/>
            </a:avLst>
          </a:prstGeom>
          <a:solidFill>
            <a:schemeClr val="bg1"/>
          </a:solidFill>
          <a:ln w="12700">
            <a:solidFill>
              <a:schemeClr val="accent3"/>
            </a:solidFill>
            <a:miter lim="800000"/>
            <a:headEnd/>
            <a:tailEnd/>
          </a:ln>
        </p:spPr>
        <p:txBody>
          <a:bodyPr wrap="none" lIns="18000" tIns="18000" rIns="18000" bIns="18000" anchor="ctr"/>
          <a:lstStyle/>
          <a:p>
            <a:pPr>
              <a:defRPr/>
            </a:pPr>
            <a:r>
              <a:rPr lang="en-GB" sz="1400" b="0" dirty="0" smtClean="0">
                <a:solidFill>
                  <a:schemeClr val="tx2"/>
                </a:solidFill>
                <a:ea typeface="ＭＳ Ｐゴシック" pitchFamily="50" charset="-128"/>
              </a:rPr>
              <a:t>Text</a:t>
            </a:r>
            <a:endParaRPr lang="en-GB" sz="1400" b="0" dirty="0">
              <a:solidFill>
                <a:schemeClr val="tx2"/>
              </a:solidFill>
              <a:ea typeface="ＭＳ Ｐゴシック" pitchFamily="50" charset="-128"/>
            </a:endParaRPr>
          </a:p>
        </p:txBody>
      </p:sp>
      <p:sp>
        <p:nvSpPr>
          <p:cNvPr id="13" name="AutoShape 12"/>
          <p:cNvSpPr>
            <a:spLocks noChangeArrowheads="1"/>
          </p:cNvSpPr>
          <p:nvPr/>
        </p:nvSpPr>
        <p:spPr bwMode="auto">
          <a:xfrm>
            <a:off x="463550" y="3411110"/>
            <a:ext cx="1055688" cy="695325"/>
          </a:xfrm>
          <a:prstGeom prst="wedgeRoundRectCallout">
            <a:avLst>
              <a:gd name="adj1" fmla="val -40102"/>
              <a:gd name="adj2" fmla="val 66667"/>
              <a:gd name="adj3" fmla="val 16667"/>
            </a:avLst>
          </a:prstGeom>
          <a:solidFill>
            <a:schemeClr val="bg1"/>
          </a:solidFill>
          <a:ln w="12700">
            <a:solidFill>
              <a:schemeClr val="accent3"/>
            </a:solidFill>
            <a:miter lim="800000"/>
            <a:headEnd/>
            <a:tailEnd/>
          </a:ln>
        </p:spPr>
        <p:txBody>
          <a:bodyPr wrap="none" lIns="18000" tIns="18000" rIns="18000" bIns="18000" anchor="ctr"/>
          <a:lstStyle/>
          <a:p>
            <a:pPr>
              <a:defRPr/>
            </a:pPr>
            <a:r>
              <a:rPr lang="en-GB" sz="1400" b="0" dirty="0" smtClean="0">
                <a:solidFill>
                  <a:schemeClr val="tx2"/>
                </a:solidFill>
                <a:ea typeface="ＭＳ Ｐゴシック" pitchFamily="50" charset="-128"/>
              </a:rPr>
              <a:t>Text</a:t>
            </a:r>
            <a:endParaRPr lang="en-GB" sz="1400" b="0" dirty="0">
              <a:solidFill>
                <a:schemeClr val="tx2"/>
              </a:solidFill>
              <a:ea typeface="ＭＳ Ｐゴシック" pitchFamily="50" charset="-128"/>
            </a:endParaRPr>
          </a:p>
        </p:txBody>
      </p:sp>
      <p:sp>
        <p:nvSpPr>
          <p:cNvPr id="14" name="AutoShape 13"/>
          <p:cNvSpPr>
            <a:spLocks noChangeArrowheads="1"/>
          </p:cNvSpPr>
          <p:nvPr/>
        </p:nvSpPr>
        <p:spPr bwMode="auto">
          <a:xfrm>
            <a:off x="382588" y="4682698"/>
            <a:ext cx="1485900" cy="733425"/>
          </a:xfrm>
          <a:prstGeom prst="wedgeRoundRectCallout">
            <a:avLst>
              <a:gd name="adj1" fmla="val -40102"/>
              <a:gd name="adj2" fmla="val 66667"/>
              <a:gd name="adj3" fmla="val 16667"/>
            </a:avLst>
          </a:prstGeom>
          <a:solidFill>
            <a:schemeClr val="bg1"/>
          </a:solidFill>
          <a:ln w="12700">
            <a:solidFill>
              <a:schemeClr val="accent3"/>
            </a:solidFill>
            <a:miter lim="800000"/>
            <a:headEnd/>
            <a:tailEnd/>
          </a:ln>
        </p:spPr>
        <p:txBody>
          <a:bodyPr wrap="none" lIns="18000" tIns="18000" rIns="18000" bIns="18000" anchor="ctr"/>
          <a:lstStyle/>
          <a:p>
            <a:pPr>
              <a:defRPr/>
            </a:pPr>
            <a:r>
              <a:rPr lang="en-GB" sz="1400" b="0" dirty="0" smtClean="0">
                <a:solidFill>
                  <a:schemeClr val="tx2"/>
                </a:solidFill>
                <a:ea typeface="ＭＳ Ｐゴシック" pitchFamily="50" charset="-128"/>
              </a:rPr>
              <a:t>Text</a:t>
            </a:r>
            <a:endParaRPr lang="en-GB" sz="1400" b="0" dirty="0">
              <a:solidFill>
                <a:schemeClr val="tx2"/>
              </a:solidFill>
              <a:ea typeface="ＭＳ Ｐゴシック" pitchFamily="50" charset="-128"/>
            </a:endParaRPr>
          </a:p>
        </p:txBody>
      </p:sp>
      <p:sp>
        <p:nvSpPr>
          <p:cNvPr id="17"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18" name="Text Placeholder 36"/>
          <p:cNvSpPr txBox="1">
            <a:spLocks/>
          </p:cNvSpPr>
          <p:nvPr/>
        </p:nvSpPr>
        <p:spPr bwMode="gray">
          <a:xfrm>
            <a:off x="411479" y="6153912"/>
            <a:ext cx="3995928" cy="128016"/>
          </a:xfrm>
          <a:prstGeom prst="rect">
            <a:avLst/>
          </a:prstGeom>
          <a:ln w="12700">
            <a:noFill/>
          </a:ln>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9618"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1507"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9635" name="Rectangle 2"/>
          <p:cNvSpPr>
            <a:spLocks noGrp="1"/>
          </p:cNvSpPr>
          <p:nvPr>
            <p:ph type="title"/>
            <p:custDataLst>
              <p:tags r:id="rId3"/>
            </p:custDataLst>
          </p:nvPr>
        </p:nvSpPr>
        <p:spPr/>
        <p:txBody>
          <a:bodyPr/>
          <a:lstStyle/>
          <a:p>
            <a:r>
              <a:rPr lang="en-GB"/>
              <a:t>Agenda</a:t>
            </a:r>
            <a:endParaRPr lang="en-US"/>
          </a:p>
        </p:txBody>
      </p:sp>
      <p:graphicFrame>
        <p:nvGraphicFramePr>
          <p:cNvPr id="12" name="Table 11"/>
          <p:cNvGraphicFramePr>
            <a:graphicFrameLocks noGrp="1"/>
          </p:cNvGraphicFramePr>
          <p:nvPr>
            <p:custDataLst>
              <p:tags r:id="rId4"/>
            </p:custDataLst>
          </p:nvPr>
        </p:nvGraphicFramePr>
        <p:xfrm>
          <a:off x="396875" y="1123950"/>
          <a:ext cx="4787154" cy="4067290"/>
        </p:xfrm>
        <a:graphic>
          <a:graphicData uri="http://schemas.openxmlformats.org/drawingml/2006/table">
            <a:tbl>
              <a:tblPr firstRow="1" bandRow="1">
                <a:tableStyleId>{5C22544A-7EE6-4342-B048-85BDC9FD1C3A}</a:tableStyleId>
              </a:tblPr>
              <a:tblGrid>
                <a:gridCol w="4787154"/>
              </a:tblGrid>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Structured text</a:t>
                      </a:r>
                    </a:p>
                  </a:txBody>
                  <a:tcPr marL="49846" marR="49846" marT="54000" marB="54000"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r>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bg1"/>
                          </a:solidFill>
                          <a:effectLst/>
                          <a:latin typeface="Arial" charset="0"/>
                        </a:rPr>
                        <a:t>Trees</a:t>
                      </a:r>
                    </a:p>
                  </a:txBody>
                  <a:tcPr marL="49846" marR="49846" marT="54000" marB="54000" anchor="ctr" horzOverflow="overflow">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solidFill>
                  </a:tcPr>
                </a:tc>
              </a:tr>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Graph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Shape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Map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Special graphic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400" b="0" i="0" u="none" strike="noStrike" cap="none" normalizeH="0" baseline="0" dirty="0">
                          <a:ln>
                            <a:noFill/>
                          </a:ln>
                          <a:solidFill>
                            <a:schemeClr val="tx2"/>
                          </a:solidFill>
                          <a:effectLst/>
                          <a:latin typeface="Arial" charset="0"/>
                        </a:rPr>
                        <a:t>Conceptual chart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0305" name="Title 28"/>
          <p:cNvSpPr>
            <a:spLocks noGrp="1"/>
          </p:cNvSpPr>
          <p:nvPr>
            <p:ph type="title"/>
          </p:nvPr>
        </p:nvSpPr>
        <p:spPr>
          <a:xfrm>
            <a:off x="414338" y="446038"/>
            <a:ext cx="8330184" cy="333425"/>
          </a:xfrm>
        </p:spPr>
        <p:txBody>
          <a:bodyPr/>
          <a:lstStyle/>
          <a:p>
            <a:r>
              <a:rPr lang="en-US"/>
              <a:t>Logic trees — blue, one level plus text</a:t>
            </a:r>
            <a:endParaRPr lang="nl-NL"/>
          </a:p>
        </p:txBody>
      </p:sp>
      <p:sp>
        <p:nvSpPr>
          <p:cNvPr id="610307" name="Text Placeholder 31"/>
          <p:cNvSpPr>
            <a:spLocks noGrp="1"/>
          </p:cNvSpPr>
          <p:nvPr>
            <p:ph type="body" sz="quarter" idx="4294967295"/>
          </p:nvPr>
        </p:nvSpPr>
        <p:spPr bwMode="auto">
          <a:xfrm>
            <a:off x="5005129" y="1600678"/>
            <a:ext cx="3054350" cy="718145"/>
          </a:xfrm>
          <a:prstGeom prst="rect">
            <a:avLst/>
          </a:prstGeom>
          <a:noFill/>
          <a:ln>
            <a:miter lim="800000"/>
            <a:headEnd/>
            <a:tailEnd/>
          </a:ln>
        </p:spPr>
        <p:txBody>
          <a:bodyPr/>
          <a:lstStyle/>
          <a:p>
            <a:pPr marL="117475" lvl="1" indent="-117475"/>
            <a:r>
              <a:rPr sz="1400">
                <a:solidFill>
                  <a:srgbClr val="002776"/>
                </a:solidFill>
              </a:rPr>
              <a:t>Bullet</a:t>
            </a:r>
          </a:p>
          <a:p>
            <a:pPr marL="285750" lvl="2" indent="-168275"/>
            <a:r>
              <a:rPr sz="1400">
                <a:solidFill>
                  <a:srgbClr val="002776"/>
                </a:solidFill>
              </a:rPr>
              <a:t>Dash</a:t>
            </a:r>
          </a:p>
          <a:p>
            <a:pPr marL="403225" lvl="3" indent="-117475"/>
            <a:r>
              <a:rPr lang="en-US" sz="1200" dirty="0" err="1" smtClean="0">
                <a:solidFill>
                  <a:srgbClr val="002776"/>
                </a:solidFill>
              </a:rPr>
              <a:t>Subbullet</a:t>
            </a:r>
            <a:endParaRPr sz="1200">
              <a:solidFill>
                <a:srgbClr val="002776"/>
              </a:solidFill>
            </a:endParaRPr>
          </a:p>
        </p:txBody>
      </p:sp>
      <p:sp>
        <p:nvSpPr>
          <p:cNvPr id="610308" name="Text Placeholder 32"/>
          <p:cNvSpPr>
            <a:spLocks noGrp="1"/>
          </p:cNvSpPr>
          <p:nvPr>
            <p:ph type="body" sz="quarter" idx="4294967295"/>
          </p:nvPr>
        </p:nvSpPr>
        <p:spPr bwMode="auto">
          <a:xfrm>
            <a:off x="5005129" y="2845278"/>
            <a:ext cx="305435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610309" name="Text Placeholder 33"/>
          <p:cNvSpPr>
            <a:spLocks noGrp="1"/>
          </p:cNvSpPr>
          <p:nvPr>
            <p:ph type="body" sz="quarter" idx="4294967295"/>
          </p:nvPr>
        </p:nvSpPr>
        <p:spPr bwMode="auto">
          <a:xfrm>
            <a:off x="5005129" y="4143853"/>
            <a:ext cx="305435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610310" name="Text Placeholder 34"/>
          <p:cNvSpPr>
            <a:spLocks noGrp="1"/>
          </p:cNvSpPr>
          <p:nvPr>
            <p:ph type="body" sz="quarter" idx="4294967295"/>
          </p:nvPr>
        </p:nvSpPr>
        <p:spPr bwMode="auto">
          <a:xfrm>
            <a:off x="5005129" y="5417028"/>
            <a:ext cx="305435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4" name="Rectangle 3"/>
          <p:cNvSpPr>
            <a:spLocks noChangeArrowheads="1"/>
          </p:cNvSpPr>
          <p:nvPr/>
        </p:nvSpPr>
        <p:spPr bwMode="auto">
          <a:xfrm>
            <a:off x="582613" y="3508853"/>
            <a:ext cx="1528762" cy="647700"/>
          </a:xfrm>
          <a:prstGeom prst="rect">
            <a:avLst/>
          </a:prstGeom>
          <a:solidFill>
            <a:schemeClr val="accent3"/>
          </a:solidFill>
          <a:ln w="19050" algn="ctr">
            <a:noFill/>
            <a:miter lim="800000"/>
            <a:headEnd type="none" w="sm" len="sm"/>
            <a:tailEnd type="none" w="med" len="lg"/>
          </a:ln>
        </p:spPr>
        <p:txBody>
          <a:bodyPr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5" name="Rectangle 4"/>
          <p:cNvSpPr>
            <a:spLocks noChangeArrowheads="1"/>
          </p:cNvSpPr>
          <p:nvPr/>
        </p:nvSpPr>
        <p:spPr bwMode="auto">
          <a:xfrm>
            <a:off x="3173413" y="1600678"/>
            <a:ext cx="1528762" cy="647700"/>
          </a:xfrm>
          <a:prstGeom prst="rect">
            <a:avLst/>
          </a:prstGeom>
          <a:solidFill>
            <a:schemeClr val="accent3"/>
          </a:solidFill>
          <a:ln w="19050" algn="ctr">
            <a:noFill/>
            <a:miter lim="800000"/>
            <a:headEnd type="none" w="sm" len="sm"/>
            <a:tailEnd type="none" w="med" len="lg"/>
          </a:ln>
        </p:spPr>
        <p:txBody>
          <a:bodyPr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6" name="Rectangle 5"/>
          <p:cNvSpPr>
            <a:spLocks noChangeArrowheads="1"/>
          </p:cNvSpPr>
          <p:nvPr/>
        </p:nvSpPr>
        <p:spPr bwMode="auto">
          <a:xfrm>
            <a:off x="3173413" y="2845278"/>
            <a:ext cx="1528762" cy="647700"/>
          </a:xfrm>
          <a:prstGeom prst="rect">
            <a:avLst/>
          </a:prstGeom>
          <a:solidFill>
            <a:schemeClr val="accent3"/>
          </a:solidFill>
          <a:ln w="19050" algn="ctr">
            <a:noFill/>
            <a:miter lim="800000"/>
            <a:headEnd type="none" w="sm" len="sm"/>
            <a:tailEnd type="none" w="med" len="lg"/>
          </a:ln>
        </p:spPr>
        <p:txBody>
          <a:bodyPr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7" name="Rectangle 6"/>
          <p:cNvSpPr>
            <a:spLocks noChangeArrowheads="1"/>
          </p:cNvSpPr>
          <p:nvPr/>
        </p:nvSpPr>
        <p:spPr bwMode="auto">
          <a:xfrm>
            <a:off x="3173413" y="4143853"/>
            <a:ext cx="1528762" cy="647700"/>
          </a:xfrm>
          <a:prstGeom prst="rect">
            <a:avLst/>
          </a:prstGeom>
          <a:solidFill>
            <a:schemeClr val="accent3"/>
          </a:solidFill>
          <a:ln w="19050" algn="ctr">
            <a:noFill/>
            <a:miter lim="800000"/>
            <a:headEnd type="none" w="sm" len="sm"/>
            <a:tailEnd type="none" w="med" len="lg"/>
          </a:ln>
        </p:spPr>
        <p:txBody>
          <a:bodyPr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8" name="Rectangle 7"/>
          <p:cNvSpPr>
            <a:spLocks noChangeArrowheads="1"/>
          </p:cNvSpPr>
          <p:nvPr/>
        </p:nvSpPr>
        <p:spPr bwMode="auto">
          <a:xfrm>
            <a:off x="3173413" y="5417028"/>
            <a:ext cx="1528762" cy="647700"/>
          </a:xfrm>
          <a:prstGeom prst="rect">
            <a:avLst/>
          </a:prstGeom>
          <a:solidFill>
            <a:schemeClr val="accent3"/>
          </a:solidFill>
          <a:ln w="19050" algn="ctr">
            <a:noFill/>
            <a:miter lim="800000"/>
            <a:headEnd type="none" w="sm" len="sm"/>
            <a:tailEnd type="none" w="med" len="lg"/>
          </a:ln>
        </p:spPr>
        <p:txBody>
          <a:bodyPr lIns="18000" tIns="18000" rIns="18000" bIns="18000" anchor="ctr"/>
          <a:lstStyle/>
          <a:p>
            <a:pPr algn="ctr">
              <a:defRPr/>
            </a:pPr>
            <a:r>
              <a:rPr lang="en-GB" altLang="ja-JP" sz="1400" b="1">
                <a:solidFill>
                  <a:schemeClr val="bg1"/>
                </a:solidFill>
                <a:ea typeface="ＭＳ Ｐゴシック" pitchFamily="50" charset="-128"/>
              </a:rPr>
              <a:t>Text</a:t>
            </a:r>
          </a:p>
        </p:txBody>
      </p:sp>
      <p:cxnSp>
        <p:nvCxnSpPr>
          <p:cNvPr id="9" name="AutoShape 8"/>
          <p:cNvCxnSpPr>
            <a:cxnSpLocks noChangeShapeType="1"/>
          </p:cNvCxnSpPr>
          <p:nvPr/>
        </p:nvCxnSpPr>
        <p:spPr bwMode="auto">
          <a:xfrm rot="10800000" flipV="1">
            <a:off x="2111375" y="1924528"/>
            <a:ext cx="1062038" cy="1908175"/>
          </a:xfrm>
          <a:prstGeom prst="bentConnector3">
            <a:avLst>
              <a:gd name="adj1" fmla="val 50000"/>
            </a:avLst>
          </a:prstGeom>
          <a:noFill/>
          <a:ln w="12700">
            <a:solidFill>
              <a:schemeClr val="tx2"/>
            </a:solidFill>
            <a:miter lim="800000"/>
            <a:headEnd type="none" w="sm" len="sm"/>
            <a:tailEnd type="none" w="med" len="lg"/>
          </a:ln>
        </p:spPr>
      </p:cxnSp>
      <p:cxnSp>
        <p:nvCxnSpPr>
          <p:cNvPr id="10" name="AutoShape 9"/>
          <p:cNvCxnSpPr>
            <a:cxnSpLocks noChangeShapeType="1"/>
          </p:cNvCxnSpPr>
          <p:nvPr/>
        </p:nvCxnSpPr>
        <p:spPr bwMode="auto">
          <a:xfrm flipV="1">
            <a:off x="2111375" y="3169128"/>
            <a:ext cx="1062038" cy="663575"/>
          </a:xfrm>
          <a:prstGeom prst="bentConnector3">
            <a:avLst>
              <a:gd name="adj1" fmla="val 50000"/>
            </a:avLst>
          </a:prstGeom>
          <a:noFill/>
          <a:ln w="12700">
            <a:solidFill>
              <a:schemeClr val="tx2"/>
            </a:solidFill>
            <a:miter lim="800000"/>
            <a:headEnd type="none" w="sm" len="sm"/>
            <a:tailEnd type="none" w="med" len="lg"/>
          </a:ln>
        </p:spPr>
      </p:cxnSp>
      <p:cxnSp>
        <p:nvCxnSpPr>
          <p:cNvPr id="11" name="AutoShape 10"/>
          <p:cNvCxnSpPr>
            <a:cxnSpLocks noChangeShapeType="1"/>
          </p:cNvCxnSpPr>
          <p:nvPr/>
        </p:nvCxnSpPr>
        <p:spPr bwMode="auto">
          <a:xfrm>
            <a:off x="2111375" y="3832703"/>
            <a:ext cx="1062038" cy="635000"/>
          </a:xfrm>
          <a:prstGeom prst="bentConnector3">
            <a:avLst>
              <a:gd name="adj1" fmla="val 50000"/>
            </a:avLst>
          </a:prstGeom>
          <a:noFill/>
          <a:ln w="12700">
            <a:solidFill>
              <a:schemeClr val="tx2"/>
            </a:solidFill>
            <a:miter lim="800000"/>
            <a:headEnd type="none" w="sm" len="sm"/>
            <a:tailEnd type="none" w="med" len="lg"/>
          </a:ln>
        </p:spPr>
      </p:cxnSp>
      <p:cxnSp>
        <p:nvCxnSpPr>
          <p:cNvPr id="12" name="AutoShape 11"/>
          <p:cNvCxnSpPr>
            <a:cxnSpLocks noChangeShapeType="1"/>
          </p:cNvCxnSpPr>
          <p:nvPr/>
        </p:nvCxnSpPr>
        <p:spPr bwMode="auto">
          <a:xfrm>
            <a:off x="2111375" y="3832703"/>
            <a:ext cx="1062038" cy="1908175"/>
          </a:xfrm>
          <a:prstGeom prst="bentConnector3">
            <a:avLst>
              <a:gd name="adj1" fmla="val 50000"/>
            </a:avLst>
          </a:prstGeom>
          <a:noFill/>
          <a:ln w="12700">
            <a:solidFill>
              <a:schemeClr val="tx2"/>
            </a:solidFill>
            <a:miter lim="800000"/>
            <a:headEnd type="none" w="sm" len="sm"/>
            <a:tailEnd type="none" w="med" len="lg"/>
          </a:ln>
        </p:spPr>
      </p:cxnSp>
      <p:sp>
        <p:nvSpPr>
          <p:cNvPr id="37" name="Text Box 12"/>
          <p:cNvSpPr txBox="1">
            <a:spLocks noChangeArrowheads="1"/>
          </p:cNvSpPr>
          <p:nvPr/>
        </p:nvSpPr>
        <p:spPr bwMode="auto">
          <a:xfrm>
            <a:off x="6372225" y="448527"/>
            <a:ext cx="2374900" cy="1015663"/>
          </a:xfrm>
          <a:prstGeom prst="rect">
            <a:avLst/>
          </a:prstGeom>
          <a:noFill/>
          <a:ln w="12700" algn="ctr">
            <a:solidFill>
              <a:schemeClr val="accent1"/>
            </a:solidFill>
            <a:miter lim="800000"/>
            <a:headEnd/>
            <a:tailEnd/>
          </a:ln>
        </p:spPr>
        <p:txBody>
          <a:bodyPr tIns="91440" bIns="91440">
            <a:spAutoFit/>
          </a:bodyPr>
          <a:lstStyle/>
          <a:p>
            <a:pPr algn="l">
              <a:defRPr/>
            </a:pPr>
            <a:r>
              <a:rPr lang="en-GB" sz="900" b="0" dirty="0">
                <a:solidFill>
                  <a:schemeClr val="tx2"/>
                </a:solidFill>
                <a:ea typeface="ＭＳ Ｐゴシック" pitchFamily="50" charset="-128"/>
              </a:rPr>
              <a:t>Tip! Use the </a:t>
            </a:r>
            <a:r>
              <a:rPr lang="en-GB" sz="900" dirty="0">
                <a:solidFill>
                  <a:schemeClr val="tx2"/>
                </a:solidFill>
                <a:ea typeface="ＭＳ Ｐゴシック" pitchFamily="50" charset="-128"/>
              </a:rPr>
              <a:t>Connectors </a:t>
            </a:r>
            <a:r>
              <a:rPr lang="en-GB" sz="900" b="0" dirty="0">
                <a:solidFill>
                  <a:schemeClr val="tx2"/>
                </a:solidFill>
                <a:ea typeface="ＭＳ Ｐゴシック" pitchFamily="50" charset="-128"/>
              </a:rPr>
              <a:t>under </a:t>
            </a:r>
            <a:r>
              <a:rPr lang="en-GB" sz="900" dirty="0">
                <a:solidFill>
                  <a:schemeClr val="tx2"/>
                </a:solidFill>
                <a:ea typeface="ＭＳ Ｐゴシック" pitchFamily="50" charset="-128"/>
              </a:rPr>
              <a:t>AutoShapes</a:t>
            </a:r>
            <a:r>
              <a:rPr lang="en-GB" sz="900" b="0" dirty="0">
                <a:solidFill>
                  <a:schemeClr val="tx2"/>
                </a:solidFill>
                <a:ea typeface="ＭＳ Ｐゴシック" pitchFamily="50" charset="-128"/>
              </a:rPr>
              <a:t> to connect additional boxes. Use </a:t>
            </a:r>
            <a:r>
              <a:rPr lang="en-GB" sz="900" dirty="0">
                <a:solidFill>
                  <a:schemeClr val="tx2"/>
                </a:solidFill>
                <a:ea typeface="ＭＳ Ｐゴシック" pitchFamily="50" charset="-128"/>
              </a:rPr>
              <a:t>Align and Distribute</a:t>
            </a:r>
            <a:r>
              <a:rPr lang="en-GB" sz="900" b="0" dirty="0">
                <a:solidFill>
                  <a:schemeClr val="tx2"/>
                </a:solidFill>
                <a:ea typeface="ＭＳ Ｐゴシック" pitchFamily="50" charset="-128"/>
              </a:rPr>
              <a:t> in the </a:t>
            </a:r>
            <a:r>
              <a:rPr lang="en-GB" sz="900" dirty="0">
                <a:solidFill>
                  <a:schemeClr val="tx2"/>
                </a:solidFill>
                <a:ea typeface="ＭＳ Ｐゴシック" pitchFamily="50" charset="-128"/>
              </a:rPr>
              <a:t>Draw toolbar </a:t>
            </a:r>
            <a:r>
              <a:rPr lang="en-GB" sz="900" b="0" dirty="0">
                <a:solidFill>
                  <a:schemeClr val="tx2"/>
                </a:solidFill>
                <a:ea typeface="ＭＳ Ｐゴシック" pitchFamily="50" charset="-128"/>
              </a:rPr>
              <a:t>to </a:t>
            </a:r>
            <a:r>
              <a:rPr lang="en-GB" sz="900" b="0" i="1" dirty="0">
                <a:solidFill>
                  <a:schemeClr val="tx2"/>
                </a:solidFill>
                <a:ea typeface="ＭＳ Ｐゴシック" pitchFamily="50" charset="-128"/>
              </a:rPr>
              <a:t>properly</a:t>
            </a:r>
            <a:r>
              <a:rPr lang="en-GB" sz="900" b="0" dirty="0">
                <a:solidFill>
                  <a:schemeClr val="tx2"/>
                </a:solidFill>
                <a:ea typeface="ＭＳ Ｐゴシック" pitchFamily="50" charset="-128"/>
              </a:rPr>
              <a:t> position the boxes on the page. Work from right to left: first align, then distribute</a:t>
            </a:r>
          </a:p>
        </p:txBody>
      </p:sp>
      <p:sp>
        <p:nvSpPr>
          <p:cNvPr id="20"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21" name="Text Placeholder 36"/>
          <p:cNvSpPr txBox="1">
            <a:spLocks/>
          </p:cNvSpPr>
          <p:nvPr/>
        </p:nvSpPr>
        <p:spPr bwMode="gray">
          <a:xfrm>
            <a:off x="411479" y="6179790"/>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1329" name="Title 1"/>
          <p:cNvSpPr>
            <a:spLocks noGrp="1"/>
          </p:cNvSpPr>
          <p:nvPr>
            <p:ph type="title"/>
          </p:nvPr>
        </p:nvSpPr>
        <p:spPr>
          <a:xfrm>
            <a:off x="414338" y="446038"/>
            <a:ext cx="8330184" cy="333425"/>
          </a:xfrm>
        </p:spPr>
        <p:txBody>
          <a:bodyPr/>
          <a:lstStyle/>
          <a:p>
            <a:r>
              <a:rPr lang="en-GB" altLang="ja-JP"/>
              <a:t>Logic trees </a:t>
            </a:r>
            <a:r>
              <a:rPr lang="en-US"/>
              <a:t>—</a:t>
            </a:r>
            <a:r>
              <a:rPr lang="en-GB" altLang="ja-JP" smtClean="0"/>
              <a:t> </a:t>
            </a:r>
            <a:r>
              <a:rPr lang="en-GB" altLang="ja-JP"/>
              <a:t>white, one level plus text</a:t>
            </a:r>
            <a:endParaRPr lang="nl-NL"/>
          </a:p>
        </p:txBody>
      </p:sp>
      <p:sp>
        <p:nvSpPr>
          <p:cNvPr id="611331" name="Text Placeholder 31"/>
          <p:cNvSpPr>
            <a:spLocks noGrp="1"/>
          </p:cNvSpPr>
          <p:nvPr>
            <p:ph type="body" sz="quarter" idx="4294967295"/>
          </p:nvPr>
        </p:nvSpPr>
        <p:spPr bwMode="auto">
          <a:xfrm>
            <a:off x="5090189" y="1592052"/>
            <a:ext cx="305435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611332" name="Text Placeholder 32"/>
          <p:cNvSpPr>
            <a:spLocks noGrp="1"/>
          </p:cNvSpPr>
          <p:nvPr>
            <p:ph type="body" sz="quarter" idx="4294967295"/>
          </p:nvPr>
        </p:nvSpPr>
        <p:spPr bwMode="auto">
          <a:xfrm>
            <a:off x="5090189" y="2836652"/>
            <a:ext cx="305435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611333" name="Text Placeholder 33"/>
          <p:cNvSpPr>
            <a:spLocks noGrp="1"/>
          </p:cNvSpPr>
          <p:nvPr>
            <p:ph type="body" sz="quarter" idx="4294967295"/>
          </p:nvPr>
        </p:nvSpPr>
        <p:spPr bwMode="auto">
          <a:xfrm>
            <a:off x="5090189" y="4135227"/>
            <a:ext cx="305435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611334" name="Text Placeholder 34"/>
          <p:cNvSpPr>
            <a:spLocks noGrp="1"/>
          </p:cNvSpPr>
          <p:nvPr>
            <p:ph type="body" sz="quarter" idx="4294967295"/>
          </p:nvPr>
        </p:nvSpPr>
        <p:spPr bwMode="auto">
          <a:xfrm>
            <a:off x="5090189" y="5408402"/>
            <a:ext cx="3054350" cy="718145"/>
          </a:xfrm>
          <a:prstGeom prst="rect">
            <a:avLst/>
          </a:prstGeom>
          <a:noFill/>
          <a:ln>
            <a:miter lim="800000"/>
            <a:headEnd/>
            <a:tailEnd/>
          </a:ln>
        </p:spPr>
        <p:txBody>
          <a:bodyPr/>
          <a:lstStyle/>
          <a:p>
            <a:pPr marL="117475" lvl="1" indent="-117475"/>
            <a:r>
              <a:rPr lang="en-US" sz="1400" dirty="0">
                <a:solidFill>
                  <a:srgbClr val="002776"/>
                </a:solidFill>
              </a:rPr>
              <a:t>Bullet</a:t>
            </a:r>
          </a:p>
          <a:p>
            <a:pPr marL="285750" lvl="2" indent="-168275"/>
            <a:r>
              <a:rPr lang="en-US" sz="1400" dirty="0">
                <a:solidFill>
                  <a:srgbClr val="002776"/>
                </a:solidFill>
              </a:rPr>
              <a:t>Dash</a:t>
            </a:r>
          </a:p>
          <a:p>
            <a:pPr marL="403225" lvl="3" indent="-117475"/>
            <a:r>
              <a:rPr lang="en-US" sz="1200" dirty="0" err="1">
                <a:solidFill>
                  <a:srgbClr val="002776"/>
                </a:solidFill>
              </a:rPr>
              <a:t>Subbullet</a:t>
            </a:r>
            <a:endParaRPr lang="en-US" sz="1200" dirty="0">
              <a:solidFill>
                <a:srgbClr val="002776"/>
              </a:solidFill>
            </a:endParaRPr>
          </a:p>
        </p:txBody>
      </p:sp>
      <p:sp>
        <p:nvSpPr>
          <p:cNvPr id="8" name="Rectangle 7"/>
          <p:cNvSpPr>
            <a:spLocks noChangeArrowheads="1"/>
          </p:cNvSpPr>
          <p:nvPr/>
        </p:nvSpPr>
        <p:spPr bwMode="auto">
          <a:xfrm>
            <a:off x="582613" y="3500227"/>
            <a:ext cx="1528762" cy="647700"/>
          </a:xfrm>
          <a:prstGeom prst="rect">
            <a:avLst/>
          </a:prstGeom>
          <a:solidFill>
            <a:schemeClr val="bg2"/>
          </a:solidFill>
          <a:ln w="12700" algn="ctr">
            <a:solidFill>
              <a:schemeClr val="accent3"/>
            </a:solidFill>
            <a:miter lim="800000"/>
            <a:headEnd type="none" w="sm" len="sm"/>
            <a:tailEnd type="none" w="med" len="lg"/>
          </a:ln>
        </p:spPr>
        <p:txBody>
          <a:bodyPr lIns="18000" tIns="18000" rIns="18000" bIns="18000" anchor="ctr"/>
          <a:lstStyle/>
          <a:p>
            <a:pPr algn="ctr">
              <a:defRPr/>
            </a:pPr>
            <a:r>
              <a:rPr lang="en-GB" altLang="ja-JP" sz="1400" b="1">
                <a:solidFill>
                  <a:schemeClr val="tx2"/>
                </a:solidFill>
                <a:ea typeface="ＭＳ Ｐゴシック" pitchFamily="50" charset="-128"/>
              </a:rPr>
              <a:t>Text</a:t>
            </a:r>
          </a:p>
        </p:txBody>
      </p:sp>
      <p:sp>
        <p:nvSpPr>
          <p:cNvPr id="9" name="Rectangle 8"/>
          <p:cNvSpPr>
            <a:spLocks noChangeArrowheads="1"/>
          </p:cNvSpPr>
          <p:nvPr/>
        </p:nvSpPr>
        <p:spPr bwMode="auto">
          <a:xfrm>
            <a:off x="3173413" y="1600678"/>
            <a:ext cx="1528762" cy="647700"/>
          </a:xfrm>
          <a:prstGeom prst="rect">
            <a:avLst/>
          </a:prstGeom>
          <a:solidFill>
            <a:schemeClr val="bg2"/>
          </a:solidFill>
          <a:ln w="12700" algn="ctr">
            <a:solidFill>
              <a:schemeClr val="accent3"/>
            </a:solidFill>
            <a:miter lim="800000"/>
            <a:headEnd type="none" w="sm" len="sm"/>
            <a:tailEnd type="none" w="med" len="lg"/>
          </a:ln>
        </p:spPr>
        <p:txBody>
          <a:bodyPr lIns="18000" tIns="18000" rIns="18000" bIns="18000" anchor="ctr"/>
          <a:lstStyle/>
          <a:p>
            <a:pPr algn="ctr">
              <a:defRPr/>
            </a:pPr>
            <a:r>
              <a:rPr lang="en-GB" altLang="ja-JP" sz="1400" b="1">
                <a:solidFill>
                  <a:schemeClr val="tx2"/>
                </a:solidFill>
                <a:ea typeface="ＭＳ Ｐゴシック" pitchFamily="50" charset="-128"/>
              </a:rPr>
              <a:t>Text</a:t>
            </a:r>
          </a:p>
        </p:txBody>
      </p:sp>
      <p:sp>
        <p:nvSpPr>
          <p:cNvPr id="10" name="Rectangle 9"/>
          <p:cNvSpPr>
            <a:spLocks noChangeArrowheads="1"/>
          </p:cNvSpPr>
          <p:nvPr/>
        </p:nvSpPr>
        <p:spPr bwMode="auto">
          <a:xfrm>
            <a:off x="3173413" y="2836652"/>
            <a:ext cx="1528762" cy="647700"/>
          </a:xfrm>
          <a:prstGeom prst="rect">
            <a:avLst/>
          </a:prstGeom>
          <a:solidFill>
            <a:schemeClr val="bg2"/>
          </a:solidFill>
          <a:ln w="12700" algn="ctr">
            <a:solidFill>
              <a:schemeClr val="accent3"/>
            </a:solidFill>
            <a:miter lim="800000"/>
            <a:headEnd type="none" w="sm" len="sm"/>
            <a:tailEnd type="none" w="med" len="lg"/>
          </a:ln>
        </p:spPr>
        <p:txBody>
          <a:bodyPr lIns="18000" tIns="18000" rIns="18000" bIns="18000" anchor="ctr"/>
          <a:lstStyle/>
          <a:p>
            <a:pPr algn="ctr">
              <a:defRPr/>
            </a:pPr>
            <a:r>
              <a:rPr lang="en-GB" altLang="ja-JP" sz="1400" b="1">
                <a:solidFill>
                  <a:schemeClr val="tx2"/>
                </a:solidFill>
                <a:ea typeface="ＭＳ Ｐゴシック" pitchFamily="50" charset="-128"/>
              </a:rPr>
              <a:t>Text</a:t>
            </a:r>
          </a:p>
        </p:txBody>
      </p:sp>
      <p:sp>
        <p:nvSpPr>
          <p:cNvPr id="11" name="Rectangle 10"/>
          <p:cNvSpPr>
            <a:spLocks noChangeArrowheads="1"/>
          </p:cNvSpPr>
          <p:nvPr/>
        </p:nvSpPr>
        <p:spPr bwMode="auto">
          <a:xfrm>
            <a:off x="3173413" y="4135227"/>
            <a:ext cx="1528762" cy="647700"/>
          </a:xfrm>
          <a:prstGeom prst="rect">
            <a:avLst/>
          </a:prstGeom>
          <a:solidFill>
            <a:schemeClr val="bg2"/>
          </a:solidFill>
          <a:ln w="12700" algn="ctr">
            <a:solidFill>
              <a:schemeClr val="accent3"/>
            </a:solidFill>
            <a:miter lim="800000"/>
            <a:headEnd type="none" w="sm" len="sm"/>
            <a:tailEnd type="none" w="med" len="lg"/>
          </a:ln>
        </p:spPr>
        <p:txBody>
          <a:bodyPr lIns="18000" tIns="18000" rIns="18000" bIns="18000" anchor="ctr"/>
          <a:lstStyle/>
          <a:p>
            <a:pPr algn="ctr">
              <a:defRPr/>
            </a:pPr>
            <a:r>
              <a:rPr lang="en-GB" altLang="ja-JP" sz="1400" b="1">
                <a:solidFill>
                  <a:schemeClr val="tx2"/>
                </a:solidFill>
                <a:ea typeface="ＭＳ Ｐゴシック" pitchFamily="50" charset="-128"/>
              </a:rPr>
              <a:t>Text</a:t>
            </a:r>
          </a:p>
        </p:txBody>
      </p:sp>
      <p:sp>
        <p:nvSpPr>
          <p:cNvPr id="12" name="Rectangle 11"/>
          <p:cNvSpPr>
            <a:spLocks noChangeArrowheads="1"/>
          </p:cNvSpPr>
          <p:nvPr/>
        </p:nvSpPr>
        <p:spPr bwMode="auto">
          <a:xfrm>
            <a:off x="3173413" y="5408402"/>
            <a:ext cx="1528762" cy="647700"/>
          </a:xfrm>
          <a:prstGeom prst="rect">
            <a:avLst/>
          </a:prstGeom>
          <a:solidFill>
            <a:schemeClr val="bg2"/>
          </a:solidFill>
          <a:ln w="12700" algn="ctr">
            <a:solidFill>
              <a:schemeClr val="accent3"/>
            </a:solidFill>
            <a:miter lim="800000"/>
            <a:headEnd type="none" w="sm" len="sm"/>
            <a:tailEnd type="none" w="med" len="lg"/>
          </a:ln>
        </p:spPr>
        <p:txBody>
          <a:bodyPr lIns="18000" tIns="18000" rIns="18000" bIns="18000" anchor="ctr"/>
          <a:lstStyle/>
          <a:p>
            <a:pPr algn="ctr">
              <a:defRPr/>
            </a:pPr>
            <a:r>
              <a:rPr lang="en-GB" altLang="ja-JP" sz="1400" b="1">
                <a:solidFill>
                  <a:schemeClr val="tx2"/>
                </a:solidFill>
                <a:ea typeface="ＭＳ Ｐゴシック" pitchFamily="50" charset="-128"/>
              </a:rPr>
              <a:t>Text</a:t>
            </a:r>
          </a:p>
        </p:txBody>
      </p:sp>
      <p:cxnSp>
        <p:nvCxnSpPr>
          <p:cNvPr id="13" name="AutoShape 8"/>
          <p:cNvCxnSpPr>
            <a:cxnSpLocks noChangeShapeType="1"/>
            <a:stCxn id="9" idx="1"/>
            <a:endCxn id="8" idx="3"/>
          </p:cNvCxnSpPr>
          <p:nvPr/>
        </p:nvCxnSpPr>
        <p:spPr bwMode="auto">
          <a:xfrm rot="10800000" flipV="1">
            <a:off x="2111375" y="1924527"/>
            <a:ext cx="1062038" cy="1899549"/>
          </a:xfrm>
          <a:prstGeom prst="bentConnector3">
            <a:avLst>
              <a:gd name="adj1" fmla="val 50000"/>
            </a:avLst>
          </a:prstGeom>
          <a:noFill/>
          <a:ln w="12700">
            <a:solidFill>
              <a:schemeClr val="tx2"/>
            </a:solidFill>
            <a:miter lim="800000"/>
            <a:headEnd type="none" w="sm" len="sm"/>
            <a:tailEnd type="none" w="med" len="lg"/>
          </a:ln>
        </p:spPr>
      </p:cxnSp>
      <p:cxnSp>
        <p:nvCxnSpPr>
          <p:cNvPr id="14" name="AutoShape 9"/>
          <p:cNvCxnSpPr>
            <a:cxnSpLocks noChangeShapeType="1"/>
            <a:stCxn id="8" idx="3"/>
            <a:endCxn id="10" idx="1"/>
          </p:cNvCxnSpPr>
          <p:nvPr/>
        </p:nvCxnSpPr>
        <p:spPr bwMode="auto">
          <a:xfrm flipV="1">
            <a:off x="2111375" y="3160502"/>
            <a:ext cx="1062038" cy="663575"/>
          </a:xfrm>
          <a:prstGeom prst="bentConnector3">
            <a:avLst>
              <a:gd name="adj1" fmla="val 50000"/>
            </a:avLst>
          </a:prstGeom>
          <a:noFill/>
          <a:ln w="12700">
            <a:solidFill>
              <a:schemeClr val="tx2"/>
            </a:solidFill>
            <a:miter lim="800000"/>
            <a:headEnd type="none" w="sm" len="sm"/>
            <a:tailEnd type="none" w="med" len="lg"/>
          </a:ln>
        </p:spPr>
      </p:cxnSp>
      <p:cxnSp>
        <p:nvCxnSpPr>
          <p:cNvPr id="15" name="AutoShape 10"/>
          <p:cNvCxnSpPr>
            <a:cxnSpLocks noChangeShapeType="1"/>
            <a:stCxn id="8" idx="3"/>
            <a:endCxn id="11" idx="1"/>
          </p:cNvCxnSpPr>
          <p:nvPr/>
        </p:nvCxnSpPr>
        <p:spPr bwMode="auto">
          <a:xfrm>
            <a:off x="2111375" y="3824077"/>
            <a:ext cx="1062038" cy="635000"/>
          </a:xfrm>
          <a:prstGeom prst="bentConnector3">
            <a:avLst>
              <a:gd name="adj1" fmla="val 50000"/>
            </a:avLst>
          </a:prstGeom>
          <a:noFill/>
          <a:ln w="12700">
            <a:solidFill>
              <a:schemeClr val="tx2"/>
            </a:solidFill>
            <a:miter lim="800000"/>
            <a:headEnd type="none" w="sm" len="sm"/>
            <a:tailEnd type="none" w="med" len="lg"/>
          </a:ln>
        </p:spPr>
      </p:cxnSp>
      <p:cxnSp>
        <p:nvCxnSpPr>
          <p:cNvPr id="16" name="AutoShape 11"/>
          <p:cNvCxnSpPr>
            <a:cxnSpLocks noChangeShapeType="1"/>
            <a:stCxn id="8" idx="3"/>
            <a:endCxn id="12" idx="1"/>
          </p:cNvCxnSpPr>
          <p:nvPr/>
        </p:nvCxnSpPr>
        <p:spPr bwMode="auto">
          <a:xfrm>
            <a:off x="2111375" y="3824077"/>
            <a:ext cx="1062038" cy="1908175"/>
          </a:xfrm>
          <a:prstGeom prst="bentConnector3">
            <a:avLst>
              <a:gd name="adj1" fmla="val 50000"/>
            </a:avLst>
          </a:prstGeom>
          <a:noFill/>
          <a:ln w="12700">
            <a:solidFill>
              <a:schemeClr val="tx2"/>
            </a:solidFill>
            <a:miter lim="800000"/>
            <a:headEnd type="none" w="sm" len="sm"/>
            <a:tailEnd type="none" w="med" len="lg"/>
          </a:ln>
        </p:spPr>
      </p:cxnSp>
      <p:sp>
        <p:nvSpPr>
          <p:cNvPr id="19"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0" name="Text Placeholder 36"/>
          <p:cNvSpPr txBox="1">
            <a:spLocks/>
          </p:cNvSpPr>
          <p:nvPr/>
        </p:nvSpPr>
        <p:spPr bwMode="gray">
          <a:xfrm>
            <a:off x="411479" y="6171164"/>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5" name="Title 1"/>
          <p:cNvSpPr>
            <a:spLocks noGrp="1"/>
          </p:cNvSpPr>
          <p:nvPr>
            <p:ph type="title"/>
            <p:custDataLst>
              <p:tags r:id="rId2"/>
            </p:custDataLst>
          </p:nvPr>
        </p:nvSpPr>
        <p:spPr>
          <a:xfrm>
            <a:off x="414338" y="446038"/>
            <a:ext cx="8330184" cy="333425"/>
          </a:xfrm>
        </p:spPr>
        <p:txBody>
          <a:bodyPr/>
          <a:lstStyle/>
          <a:p>
            <a:r>
              <a:rPr lang="en-US"/>
              <a:t>Logic trees — blue, two levels</a:t>
            </a:r>
            <a:endParaRPr lang="nl-NL"/>
          </a:p>
        </p:txBody>
      </p:sp>
      <p:sp>
        <p:nvSpPr>
          <p:cNvPr id="4" name="Rectangle 3"/>
          <p:cNvSpPr>
            <a:spLocks noChangeArrowheads="1"/>
          </p:cNvSpPr>
          <p:nvPr>
            <p:custDataLst>
              <p:tags r:id="rId3"/>
            </p:custDataLst>
          </p:nvPr>
        </p:nvSpPr>
        <p:spPr bwMode="auto">
          <a:xfrm>
            <a:off x="3835400" y="1959243"/>
            <a:ext cx="1462088" cy="612775"/>
          </a:xfrm>
          <a:prstGeom prst="rect">
            <a:avLst/>
          </a:prstGeom>
          <a:solidFill>
            <a:schemeClr val="accent3"/>
          </a:solidFill>
          <a:ln w="19050" algn="ctr">
            <a:noFill/>
            <a:miter lim="800000"/>
            <a:headEnd/>
            <a:tailEnd/>
          </a:ln>
        </p:spPr>
        <p:txBody>
          <a:bodyPr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5" name="Rectangle 4"/>
          <p:cNvSpPr>
            <a:spLocks noChangeArrowheads="1"/>
          </p:cNvSpPr>
          <p:nvPr>
            <p:custDataLst>
              <p:tags r:id="rId4"/>
            </p:custDataLst>
          </p:nvPr>
        </p:nvSpPr>
        <p:spPr bwMode="auto">
          <a:xfrm>
            <a:off x="6361113" y="1598880"/>
            <a:ext cx="1462087" cy="612775"/>
          </a:xfrm>
          <a:prstGeom prst="rect">
            <a:avLst/>
          </a:prstGeom>
          <a:solidFill>
            <a:schemeClr val="accent3"/>
          </a:solidFill>
          <a:ln w="19050" algn="ctr">
            <a:noFill/>
            <a:miter lim="800000"/>
            <a:headEnd/>
            <a:tailEnd/>
          </a:ln>
        </p:spPr>
        <p:txBody>
          <a:bodyPr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6" name="Rectangle 5"/>
          <p:cNvSpPr>
            <a:spLocks noChangeArrowheads="1"/>
          </p:cNvSpPr>
          <p:nvPr>
            <p:custDataLst>
              <p:tags r:id="rId5"/>
            </p:custDataLst>
          </p:nvPr>
        </p:nvSpPr>
        <p:spPr bwMode="auto">
          <a:xfrm>
            <a:off x="6361113" y="2354530"/>
            <a:ext cx="1462087" cy="612775"/>
          </a:xfrm>
          <a:prstGeom prst="rect">
            <a:avLst/>
          </a:prstGeom>
          <a:solidFill>
            <a:schemeClr val="accent3"/>
          </a:solidFill>
          <a:ln w="19050" algn="ctr">
            <a:noFill/>
            <a:miter lim="800000"/>
            <a:headEnd/>
            <a:tailEnd/>
          </a:ln>
        </p:spPr>
        <p:txBody>
          <a:bodyPr lIns="18000" tIns="18000" rIns="18000" bIns="18000" anchor="ctr"/>
          <a:lstStyle/>
          <a:p>
            <a:pPr algn="ctr">
              <a:defRPr/>
            </a:pPr>
            <a:r>
              <a:rPr lang="en-GB" altLang="ja-JP" sz="1400" b="1">
                <a:solidFill>
                  <a:schemeClr val="bg1"/>
                </a:solidFill>
                <a:ea typeface="ＭＳ Ｐゴシック" pitchFamily="50" charset="-128"/>
              </a:rPr>
              <a:t>Text</a:t>
            </a:r>
          </a:p>
        </p:txBody>
      </p:sp>
      <p:cxnSp>
        <p:nvCxnSpPr>
          <p:cNvPr id="7" name="AutoShape 6"/>
          <p:cNvCxnSpPr>
            <a:cxnSpLocks noChangeShapeType="1"/>
            <a:stCxn id="4" idx="3"/>
            <a:endCxn id="5" idx="1"/>
          </p:cNvCxnSpPr>
          <p:nvPr>
            <p:custDataLst>
              <p:tags r:id="rId6"/>
            </p:custDataLst>
          </p:nvPr>
        </p:nvCxnSpPr>
        <p:spPr bwMode="auto">
          <a:xfrm flipV="1">
            <a:off x="5297488" y="1905268"/>
            <a:ext cx="1063625" cy="360362"/>
          </a:xfrm>
          <a:prstGeom prst="bentConnector3">
            <a:avLst>
              <a:gd name="adj1" fmla="val 50000"/>
            </a:avLst>
          </a:prstGeom>
          <a:noFill/>
          <a:ln w="12700">
            <a:solidFill>
              <a:schemeClr val="tx2"/>
            </a:solidFill>
            <a:miter lim="800000"/>
            <a:headEnd/>
            <a:tailEnd/>
          </a:ln>
        </p:spPr>
      </p:cxnSp>
      <p:cxnSp>
        <p:nvCxnSpPr>
          <p:cNvPr id="8" name="AutoShape 7"/>
          <p:cNvCxnSpPr>
            <a:cxnSpLocks noChangeShapeType="1"/>
            <a:stCxn id="4" idx="3"/>
            <a:endCxn id="6" idx="1"/>
          </p:cNvCxnSpPr>
          <p:nvPr>
            <p:custDataLst>
              <p:tags r:id="rId7"/>
            </p:custDataLst>
          </p:nvPr>
        </p:nvCxnSpPr>
        <p:spPr bwMode="auto">
          <a:xfrm>
            <a:off x="5297488" y="2265630"/>
            <a:ext cx="1063625" cy="395288"/>
          </a:xfrm>
          <a:prstGeom prst="bentConnector3">
            <a:avLst>
              <a:gd name="adj1" fmla="val 50000"/>
            </a:avLst>
          </a:prstGeom>
          <a:noFill/>
          <a:ln w="12700">
            <a:solidFill>
              <a:schemeClr val="tx2"/>
            </a:solidFill>
            <a:miter lim="800000"/>
            <a:headEnd/>
            <a:tailEnd/>
          </a:ln>
        </p:spPr>
      </p:cxnSp>
      <p:sp>
        <p:nvSpPr>
          <p:cNvPr id="9" name="Rectangle 8"/>
          <p:cNvSpPr>
            <a:spLocks noChangeArrowheads="1"/>
          </p:cNvSpPr>
          <p:nvPr>
            <p:custDataLst>
              <p:tags r:id="rId8"/>
            </p:custDataLst>
          </p:nvPr>
        </p:nvSpPr>
        <p:spPr bwMode="auto">
          <a:xfrm>
            <a:off x="6361113" y="4623068"/>
            <a:ext cx="1462087" cy="612775"/>
          </a:xfrm>
          <a:prstGeom prst="rect">
            <a:avLst/>
          </a:prstGeom>
          <a:solidFill>
            <a:schemeClr val="accent3"/>
          </a:solidFill>
          <a:ln w="19050" algn="ctr">
            <a:noFill/>
            <a:miter lim="800000"/>
            <a:headEnd/>
            <a:tailEnd/>
          </a:ln>
        </p:spPr>
        <p:txBody>
          <a:bodyPr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0" name="Rectangle 9"/>
          <p:cNvSpPr>
            <a:spLocks noChangeArrowheads="1"/>
          </p:cNvSpPr>
          <p:nvPr>
            <p:custDataLst>
              <p:tags r:id="rId9"/>
            </p:custDataLst>
          </p:nvPr>
        </p:nvSpPr>
        <p:spPr bwMode="auto">
          <a:xfrm>
            <a:off x="6361113" y="5380305"/>
            <a:ext cx="1462087" cy="612775"/>
          </a:xfrm>
          <a:prstGeom prst="rect">
            <a:avLst/>
          </a:prstGeom>
          <a:solidFill>
            <a:schemeClr val="accent3"/>
          </a:solidFill>
          <a:ln w="19050" algn="ctr">
            <a:noFill/>
            <a:miter lim="800000"/>
            <a:headEnd/>
            <a:tailEnd/>
          </a:ln>
        </p:spPr>
        <p:txBody>
          <a:bodyPr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1" name="Rectangle 10"/>
          <p:cNvSpPr>
            <a:spLocks noChangeArrowheads="1"/>
          </p:cNvSpPr>
          <p:nvPr>
            <p:custDataLst>
              <p:tags r:id="rId10"/>
            </p:custDataLst>
          </p:nvPr>
        </p:nvSpPr>
        <p:spPr bwMode="auto">
          <a:xfrm>
            <a:off x="3835400" y="5002480"/>
            <a:ext cx="1462088" cy="612775"/>
          </a:xfrm>
          <a:prstGeom prst="rect">
            <a:avLst/>
          </a:prstGeom>
          <a:solidFill>
            <a:schemeClr val="accent3"/>
          </a:solidFill>
          <a:ln w="19050" algn="ctr">
            <a:noFill/>
            <a:miter lim="800000"/>
            <a:headEnd/>
            <a:tailEnd/>
          </a:ln>
        </p:spPr>
        <p:txBody>
          <a:bodyPr lIns="18000" tIns="18000" rIns="18000" bIns="18000" anchor="ctr"/>
          <a:lstStyle/>
          <a:p>
            <a:pPr algn="ctr">
              <a:defRPr/>
            </a:pPr>
            <a:r>
              <a:rPr lang="en-GB" altLang="ja-JP" sz="1400" b="1">
                <a:solidFill>
                  <a:schemeClr val="bg1"/>
                </a:solidFill>
                <a:ea typeface="ＭＳ Ｐゴシック" pitchFamily="50" charset="-128"/>
              </a:rPr>
              <a:t>Text</a:t>
            </a:r>
          </a:p>
        </p:txBody>
      </p:sp>
      <p:cxnSp>
        <p:nvCxnSpPr>
          <p:cNvPr id="12" name="AutoShape 11"/>
          <p:cNvCxnSpPr>
            <a:cxnSpLocks noChangeShapeType="1"/>
            <a:stCxn id="11" idx="3"/>
            <a:endCxn id="9" idx="1"/>
          </p:cNvCxnSpPr>
          <p:nvPr>
            <p:custDataLst>
              <p:tags r:id="rId11"/>
            </p:custDataLst>
          </p:nvPr>
        </p:nvCxnSpPr>
        <p:spPr bwMode="auto">
          <a:xfrm flipV="1">
            <a:off x="5297488" y="4929455"/>
            <a:ext cx="1063625" cy="379413"/>
          </a:xfrm>
          <a:prstGeom prst="bentConnector3">
            <a:avLst>
              <a:gd name="adj1" fmla="val 50000"/>
            </a:avLst>
          </a:prstGeom>
          <a:noFill/>
          <a:ln w="12700">
            <a:solidFill>
              <a:schemeClr val="tx2"/>
            </a:solidFill>
            <a:miter lim="800000"/>
            <a:headEnd/>
            <a:tailEnd/>
          </a:ln>
        </p:spPr>
      </p:cxnSp>
      <p:cxnSp>
        <p:nvCxnSpPr>
          <p:cNvPr id="13" name="AutoShape 12"/>
          <p:cNvCxnSpPr>
            <a:cxnSpLocks noChangeShapeType="1"/>
            <a:stCxn id="11" idx="3"/>
            <a:endCxn id="10" idx="1"/>
          </p:cNvCxnSpPr>
          <p:nvPr>
            <p:custDataLst>
              <p:tags r:id="rId12"/>
            </p:custDataLst>
          </p:nvPr>
        </p:nvCxnSpPr>
        <p:spPr bwMode="auto">
          <a:xfrm>
            <a:off x="5297488" y="5308868"/>
            <a:ext cx="1063625" cy="377825"/>
          </a:xfrm>
          <a:prstGeom prst="bentConnector3">
            <a:avLst>
              <a:gd name="adj1" fmla="val 50000"/>
            </a:avLst>
          </a:prstGeom>
          <a:noFill/>
          <a:ln w="12700">
            <a:solidFill>
              <a:schemeClr val="tx2"/>
            </a:solidFill>
            <a:miter lim="800000"/>
            <a:headEnd/>
            <a:tailEnd/>
          </a:ln>
        </p:spPr>
      </p:cxnSp>
      <p:sp>
        <p:nvSpPr>
          <p:cNvPr id="14" name="Rectangle 13"/>
          <p:cNvSpPr>
            <a:spLocks noChangeArrowheads="1"/>
          </p:cNvSpPr>
          <p:nvPr>
            <p:custDataLst>
              <p:tags r:id="rId13"/>
            </p:custDataLst>
          </p:nvPr>
        </p:nvSpPr>
        <p:spPr bwMode="auto">
          <a:xfrm>
            <a:off x="1308100" y="3489593"/>
            <a:ext cx="1463675" cy="612775"/>
          </a:xfrm>
          <a:prstGeom prst="rect">
            <a:avLst/>
          </a:prstGeom>
          <a:solidFill>
            <a:schemeClr val="accent3"/>
          </a:solidFill>
          <a:ln w="19050" algn="ctr">
            <a:noFill/>
            <a:miter lim="800000"/>
            <a:headEnd/>
            <a:tailEnd/>
          </a:ln>
        </p:spPr>
        <p:txBody>
          <a:bodyPr lIns="18000" tIns="18000" rIns="18000" bIns="18000" anchor="ctr"/>
          <a:lstStyle/>
          <a:p>
            <a:pPr algn="ctr">
              <a:defRPr/>
            </a:pPr>
            <a:r>
              <a:rPr lang="en-GB" altLang="ja-JP" sz="1400" b="1">
                <a:solidFill>
                  <a:schemeClr val="bg1"/>
                </a:solidFill>
                <a:ea typeface="ＭＳ Ｐゴシック" pitchFamily="50" charset="-128"/>
              </a:rPr>
              <a:t>Text</a:t>
            </a:r>
          </a:p>
        </p:txBody>
      </p:sp>
      <p:cxnSp>
        <p:nvCxnSpPr>
          <p:cNvPr id="15" name="AutoShape 14"/>
          <p:cNvCxnSpPr>
            <a:cxnSpLocks noChangeShapeType="1"/>
            <a:stCxn id="4" idx="1"/>
            <a:endCxn id="14" idx="3"/>
          </p:cNvCxnSpPr>
          <p:nvPr>
            <p:custDataLst>
              <p:tags r:id="rId14"/>
            </p:custDataLst>
          </p:nvPr>
        </p:nvCxnSpPr>
        <p:spPr bwMode="auto">
          <a:xfrm rot="10800000" flipV="1">
            <a:off x="2771775" y="2265630"/>
            <a:ext cx="1063625" cy="1530350"/>
          </a:xfrm>
          <a:prstGeom prst="bentConnector3">
            <a:avLst>
              <a:gd name="adj1" fmla="val 50000"/>
            </a:avLst>
          </a:prstGeom>
          <a:noFill/>
          <a:ln w="12700">
            <a:solidFill>
              <a:schemeClr val="tx2"/>
            </a:solidFill>
            <a:miter lim="800000"/>
            <a:headEnd/>
            <a:tailEnd/>
          </a:ln>
        </p:spPr>
      </p:cxnSp>
      <p:cxnSp>
        <p:nvCxnSpPr>
          <p:cNvPr id="16" name="AutoShape 15"/>
          <p:cNvCxnSpPr>
            <a:cxnSpLocks noChangeShapeType="1"/>
            <a:stCxn id="14" idx="3"/>
            <a:endCxn id="11" idx="1"/>
          </p:cNvCxnSpPr>
          <p:nvPr>
            <p:custDataLst>
              <p:tags r:id="rId15"/>
            </p:custDataLst>
          </p:nvPr>
        </p:nvCxnSpPr>
        <p:spPr bwMode="auto">
          <a:xfrm>
            <a:off x="2771775" y="3795980"/>
            <a:ext cx="1063625" cy="1512888"/>
          </a:xfrm>
          <a:prstGeom prst="bentConnector3">
            <a:avLst>
              <a:gd name="adj1" fmla="val 50000"/>
            </a:avLst>
          </a:prstGeom>
          <a:noFill/>
          <a:ln w="12700">
            <a:solidFill>
              <a:schemeClr val="tx2"/>
            </a:solidFill>
            <a:miter lim="800000"/>
            <a:headEnd/>
            <a:tailEnd/>
          </a:ln>
        </p:spPr>
      </p:cxnSp>
      <p:sp>
        <p:nvSpPr>
          <p:cNvPr id="17" name="Rectangle 16"/>
          <p:cNvSpPr>
            <a:spLocks noChangeArrowheads="1"/>
          </p:cNvSpPr>
          <p:nvPr>
            <p:custDataLst>
              <p:tags r:id="rId16"/>
            </p:custDataLst>
          </p:nvPr>
        </p:nvSpPr>
        <p:spPr bwMode="auto">
          <a:xfrm>
            <a:off x="6361113" y="3110180"/>
            <a:ext cx="1462087" cy="612775"/>
          </a:xfrm>
          <a:prstGeom prst="rect">
            <a:avLst/>
          </a:prstGeom>
          <a:solidFill>
            <a:schemeClr val="accent3"/>
          </a:solidFill>
          <a:ln w="19050" algn="ctr">
            <a:noFill/>
            <a:miter lim="800000"/>
            <a:headEnd/>
            <a:tailEnd/>
          </a:ln>
        </p:spPr>
        <p:txBody>
          <a:bodyPr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8" name="Rectangle 17"/>
          <p:cNvSpPr>
            <a:spLocks noChangeArrowheads="1"/>
          </p:cNvSpPr>
          <p:nvPr>
            <p:custDataLst>
              <p:tags r:id="rId17"/>
            </p:custDataLst>
          </p:nvPr>
        </p:nvSpPr>
        <p:spPr bwMode="auto">
          <a:xfrm>
            <a:off x="6361113" y="3867418"/>
            <a:ext cx="1462087" cy="612775"/>
          </a:xfrm>
          <a:prstGeom prst="rect">
            <a:avLst/>
          </a:prstGeom>
          <a:solidFill>
            <a:schemeClr val="accent3"/>
          </a:solidFill>
          <a:ln w="19050" algn="ctr">
            <a:noFill/>
            <a:miter lim="800000"/>
            <a:headEnd/>
            <a:tailEnd/>
          </a:ln>
        </p:spPr>
        <p:txBody>
          <a:bodyPr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9" name="Rectangle 18"/>
          <p:cNvSpPr>
            <a:spLocks noChangeArrowheads="1"/>
          </p:cNvSpPr>
          <p:nvPr>
            <p:custDataLst>
              <p:tags r:id="rId18"/>
            </p:custDataLst>
          </p:nvPr>
        </p:nvSpPr>
        <p:spPr bwMode="auto">
          <a:xfrm>
            <a:off x="3835400" y="3489593"/>
            <a:ext cx="1462088" cy="612775"/>
          </a:xfrm>
          <a:prstGeom prst="rect">
            <a:avLst/>
          </a:prstGeom>
          <a:solidFill>
            <a:schemeClr val="accent3"/>
          </a:solidFill>
          <a:ln w="19050" algn="ctr">
            <a:noFill/>
            <a:miter lim="800000"/>
            <a:headEnd/>
            <a:tailEnd/>
          </a:ln>
        </p:spPr>
        <p:txBody>
          <a:bodyPr lIns="18000" tIns="18000" rIns="18000" bIns="18000" anchor="ctr"/>
          <a:lstStyle/>
          <a:p>
            <a:pPr algn="ctr">
              <a:defRPr/>
            </a:pPr>
            <a:r>
              <a:rPr lang="en-GB" altLang="ja-JP" sz="1400" b="1">
                <a:solidFill>
                  <a:schemeClr val="bg1"/>
                </a:solidFill>
                <a:ea typeface="ＭＳ Ｐゴシック" pitchFamily="50" charset="-128"/>
              </a:rPr>
              <a:t>Text</a:t>
            </a:r>
          </a:p>
        </p:txBody>
      </p:sp>
      <p:cxnSp>
        <p:nvCxnSpPr>
          <p:cNvPr id="20" name="AutoShape 19"/>
          <p:cNvCxnSpPr>
            <a:cxnSpLocks noChangeShapeType="1"/>
            <a:stCxn id="19" idx="3"/>
            <a:endCxn id="17" idx="1"/>
          </p:cNvCxnSpPr>
          <p:nvPr>
            <p:custDataLst>
              <p:tags r:id="rId19"/>
            </p:custDataLst>
          </p:nvPr>
        </p:nvCxnSpPr>
        <p:spPr bwMode="auto">
          <a:xfrm flipV="1">
            <a:off x="5297488" y="3416568"/>
            <a:ext cx="1063625" cy="379412"/>
          </a:xfrm>
          <a:prstGeom prst="bentConnector3">
            <a:avLst>
              <a:gd name="adj1" fmla="val 50000"/>
            </a:avLst>
          </a:prstGeom>
          <a:noFill/>
          <a:ln w="12700">
            <a:solidFill>
              <a:schemeClr val="tx2"/>
            </a:solidFill>
            <a:miter lim="800000"/>
            <a:headEnd/>
            <a:tailEnd/>
          </a:ln>
        </p:spPr>
      </p:cxnSp>
      <p:cxnSp>
        <p:nvCxnSpPr>
          <p:cNvPr id="21" name="AutoShape 20"/>
          <p:cNvCxnSpPr>
            <a:cxnSpLocks noChangeShapeType="1"/>
            <a:stCxn id="19" idx="3"/>
            <a:endCxn id="18" idx="1"/>
          </p:cNvCxnSpPr>
          <p:nvPr>
            <p:custDataLst>
              <p:tags r:id="rId20"/>
            </p:custDataLst>
          </p:nvPr>
        </p:nvCxnSpPr>
        <p:spPr bwMode="auto">
          <a:xfrm>
            <a:off x="5297488" y="3795980"/>
            <a:ext cx="1063625" cy="377825"/>
          </a:xfrm>
          <a:prstGeom prst="bentConnector3">
            <a:avLst>
              <a:gd name="adj1" fmla="val 50000"/>
            </a:avLst>
          </a:prstGeom>
          <a:noFill/>
          <a:ln w="12700">
            <a:solidFill>
              <a:schemeClr val="tx2"/>
            </a:solidFill>
            <a:miter lim="800000"/>
            <a:headEnd/>
            <a:tailEnd/>
          </a:ln>
        </p:spPr>
      </p:cxnSp>
      <p:cxnSp>
        <p:nvCxnSpPr>
          <p:cNvPr id="22" name="AutoShape 21"/>
          <p:cNvCxnSpPr>
            <a:cxnSpLocks noChangeShapeType="1"/>
            <a:stCxn id="14" idx="3"/>
            <a:endCxn id="19" idx="1"/>
          </p:cNvCxnSpPr>
          <p:nvPr>
            <p:custDataLst>
              <p:tags r:id="rId21"/>
            </p:custDataLst>
          </p:nvPr>
        </p:nvCxnSpPr>
        <p:spPr bwMode="auto">
          <a:xfrm>
            <a:off x="2771775" y="3795980"/>
            <a:ext cx="1063625" cy="1588"/>
          </a:xfrm>
          <a:prstGeom prst="straightConnector1">
            <a:avLst/>
          </a:prstGeom>
          <a:noFill/>
          <a:ln w="12700">
            <a:solidFill>
              <a:schemeClr val="tx2"/>
            </a:solidFill>
            <a:round/>
            <a:headEnd/>
            <a:tailEnd/>
          </a:ln>
        </p:spPr>
      </p:cxnSp>
      <p:graphicFrame>
        <p:nvGraphicFramePr>
          <p:cNvPr id="253954" name="Rectangle 2" hidden="1"/>
          <p:cNvGraphicFramePr>
            <a:graphicFrameLocks/>
          </p:cNvGraphicFramePr>
          <p:nvPr>
            <p:custDataLst>
              <p:tags r:id="rId2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2531" name="think-cell Slide" r:id="rId26" imgW="0" imgH="0" progId="">
                  <p:embed/>
                </p:oleObj>
              </mc:Choice>
              <mc:Fallback>
                <p:oleObj name="think-cell Slide" r:id="rId2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 name="Rectangle 23" hidden="1"/>
          <p:cNvSpPr/>
          <p:nvPr>
            <p:custDataLst>
              <p:tags r:id="rId23"/>
            </p:custDataLst>
          </p:nvPr>
        </p:nvSpPr>
        <p:spPr bwMode="auto">
          <a:xfrm>
            <a:off x="0" y="0"/>
            <a:ext cx="146050" cy="158750"/>
          </a:xfrm>
          <a:prstGeom prst="rect">
            <a:avLst/>
          </a:prstGeom>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r>
              <a:rPr lang="nl-NL" sz="1200">
                <a:sym typeface="+mn-lt"/>
              </a:rPr>
              <a:t>100%</a:t>
            </a:r>
          </a:p>
        </p:txBody>
      </p:sp>
      <p:sp>
        <p:nvSpPr>
          <p:cNvPr id="27" name="Text Placeholder 12"/>
          <p:cNvSpPr>
            <a:spLocks/>
          </p:cNvSpPr>
          <p:nvPr>
            <p:custDataLst>
              <p:tags r:id="rId24"/>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8" name="Text Placeholder 36"/>
          <p:cNvSpPr txBox="1">
            <a:spLocks/>
          </p:cNvSpPr>
          <p:nvPr/>
        </p:nvSpPr>
        <p:spPr bwMode="gray">
          <a:xfrm>
            <a:off x="411479" y="619704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7" name="Title 1"/>
          <p:cNvSpPr>
            <a:spLocks noGrp="1"/>
          </p:cNvSpPr>
          <p:nvPr>
            <p:ph type="title"/>
          </p:nvPr>
        </p:nvSpPr>
        <p:spPr>
          <a:xfrm>
            <a:off x="414338" y="446038"/>
            <a:ext cx="8330184" cy="333425"/>
          </a:xfrm>
        </p:spPr>
        <p:txBody>
          <a:bodyPr/>
          <a:lstStyle/>
          <a:p>
            <a:r>
              <a:rPr lang="en-US"/>
              <a:t>Logic trees — white, two levels</a:t>
            </a:r>
            <a:endParaRPr lang="nl-NL"/>
          </a:p>
        </p:txBody>
      </p:sp>
      <p:sp>
        <p:nvSpPr>
          <p:cNvPr id="4" name="Rectangle 3"/>
          <p:cNvSpPr>
            <a:spLocks noChangeArrowheads="1"/>
          </p:cNvSpPr>
          <p:nvPr/>
        </p:nvSpPr>
        <p:spPr bwMode="auto">
          <a:xfrm>
            <a:off x="3818148" y="1959243"/>
            <a:ext cx="1462088" cy="612775"/>
          </a:xfrm>
          <a:prstGeom prst="rect">
            <a:avLst/>
          </a:prstGeom>
          <a:solidFill>
            <a:schemeClr val="bg2"/>
          </a:solidFill>
          <a:ln w="12700" algn="ctr">
            <a:solidFill>
              <a:schemeClr val="accent3"/>
            </a:solidFill>
            <a:miter lim="800000"/>
            <a:headEnd/>
            <a:tailEnd/>
          </a:ln>
        </p:spPr>
        <p:txBody>
          <a:bodyPr lIns="18000" tIns="18000" rIns="18000" bIns="18000" anchor="ctr"/>
          <a:lstStyle/>
          <a:p>
            <a:pPr algn="ctr">
              <a:defRPr/>
            </a:pPr>
            <a:r>
              <a:rPr lang="en-GB" altLang="ja-JP" sz="1400" b="1">
                <a:solidFill>
                  <a:schemeClr val="tx2"/>
                </a:solidFill>
                <a:ea typeface="ＭＳ Ｐゴシック" pitchFamily="50" charset="-128"/>
              </a:rPr>
              <a:t>Text</a:t>
            </a:r>
          </a:p>
        </p:txBody>
      </p:sp>
      <p:sp>
        <p:nvSpPr>
          <p:cNvPr id="5" name="Rectangle 4"/>
          <p:cNvSpPr>
            <a:spLocks noChangeArrowheads="1"/>
          </p:cNvSpPr>
          <p:nvPr/>
        </p:nvSpPr>
        <p:spPr bwMode="auto">
          <a:xfrm>
            <a:off x="6343861" y="1598880"/>
            <a:ext cx="1462087" cy="612775"/>
          </a:xfrm>
          <a:prstGeom prst="rect">
            <a:avLst/>
          </a:prstGeom>
          <a:solidFill>
            <a:schemeClr val="bg2"/>
          </a:solidFill>
          <a:ln w="12700" algn="ctr">
            <a:solidFill>
              <a:schemeClr val="accent3"/>
            </a:solidFill>
            <a:miter lim="800000"/>
            <a:headEnd/>
            <a:tailEnd/>
          </a:ln>
        </p:spPr>
        <p:txBody>
          <a:bodyPr lIns="18000" tIns="18000" rIns="18000" bIns="18000" anchor="ctr"/>
          <a:lstStyle/>
          <a:p>
            <a:pPr algn="ctr">
              <a:defRPr/>
            </a:pPr>
            <a:r>
              <a:rPr lang="en-GB" altLang="ja-JP" sz="1400" b="1">
                <a:solidFill>
                  <a:schemeClr val="tx2"/>
                </a:solidFill>
                <a:ea typeface="ＭＳ Ｐゴシック" pitchFamily="50" charset="-128"/>
              </a:rPr>
              <a:t>Text</a:t>
            </a:r>
          </a:p>
        </p:txBody>
      </p:sp>
      <p:sp>
        <p:nvSpPr>
          <p:cNvPr id="6" name="Rectangle 5"/>
          <p:cNvSpPr>
            <a:spLocks noChangeArrowheads="1"/>
          </p:cNvSpPr>
          <p:nvPr/>
        </p:nvSpPr>
        <p:spPr bwMode="auto">
          <a:xfrm>
            <a:off x="6343861" y="2354530"/>
            <a:ext cx="1462087" cy="612775"/>
          </a:xfrm>
          <a:prstGeom prst="rect">
            <a:avLst/>
          </a:prstGeom>
          <a:solidFill>
            <a:schemeClr val="bg2"/>
          </a:solidFill>
          <a:ln w="12700" algn="ctr">
            <a:solidFill>
              <a:schemeClr val="accent3"/>
            </a:solidFill>
            <a:miter lim="800000"/>
            <a:headEnd/>
            <a:tailEnd/>
          </a:ln>
        </p:spPr>
        <p:txBody>
          <a:bodyPr lIns="18000" tIns="18000" rIns="18000" bIns="18000" anchor="ctr"/>
          <a:lstStyle/>
          <a:p>
            <a:pPr algn="ctr">
              <a:defRPr/>
            </a:pPr>
            <a:r>
              <a:rPr lang="en-GB" altLang="ja-JP" sz="1400" b="1">
                <a:solidFill>
                  <a:schemeClr val="tx2"/>
                </a:solidFill>
                <a:ea typeface="ＭＳ Ｐゴシック" pitchFamily="50" charset="-128"/>
              </a:rPr>
              <a:t>Text</a:t>
            </a:r>
          </a:p>
        </p:txBody>
      </p:sp>
      <p:cxnSp>
        <p:nvCxnSpPr>
          <p:cNvPr id="7" name="AutoShape 6"/>
          <p:cNvCxnSpPr>
            <a:cxnSpLocks noChangeShapeType="1"/>
            <a:stCxn id="4" idx="3"/>
            <a:endCxn id="5" idx="1"/>
          </p:cNvCxnSpPr>
          <p:nvPr/>
        </p:nvCxnSpPr>
        <p:spPr bwMode="auto">
          <a:xfrm flipV="1">
            <a:off x="5280236" y="1905268"/>
            <a:ext cx="1063625" cy="360362"/>
          </a:xfrm>
          <a:prstGeom prst="bentConnector3">
            <a:avLst>
              <a:gd name="adj1" fmla="val 50000"/>
            </a:avLst>
          </a:prstGeom>
          <a:noFill/>
          <a:ln w="12700">
            <a:solidFill>
              <a:schemeClr val="tx2"/>
            </a:solidFill>
            <a:miter lim="800000"/>
            <a:headEnd/>
            <a:tailEnd/>
          </a:ln>
        </p:spPr>
      </p:cxnSp>
      <p:cxnSp>
        <p:nvCxnSpPr>
          <p:cNvPr id="8" name="AutoShape 7"/>
          <p:cNvCxnSpPr>
            <a:cxnSpLocks noChangeShapeType="1"/>
            <a:stCxn id="4" idx="3"/>
            <a:endCxn id="6" idx="1"/>
          </p:cNvCxnSpPr>
          <p:nvPr/>
        </p:nvCxnSpPr>
        <p:spPr bwMode="auto">
          <a:xfrm>
            <a:off x="5280236" y="2265630"/>
            <a:ext cx="1063625" cy="395288"/>
          </a:xfrm>
          <a:prstGeom prst="bentConnector3">
            <a:avLst>
              <a:gd name="adj1" fmla="val 50000"/>
            </a:avLst>
          </a:prstGeom>
          <a:noFill/>
          <a:ln w="12700">
            <a:solidFill>
              <a:schemeClr val="tx2"/>
            </a:solidFill>
            <a:miter lim="800000"/>
            <a:headEnd/>
            <a:tailEnd/>
          </a:ln>
        </p:spPr>
      </p:cxnSp>
      <p:sp>
        <p:nvSpPr>
          <p:cNvPr id="9" name="Rectangle 8"/>
          <p:cNvSpPr>
            <a:spLocks noChangeArrowheads="1"/>
          </p:cNvSpPr>
          <p:nvPr/>
        </p:nvSpPr>
        <p:spPr bwMode="auto">
          <a:xfrm>
            <a:off x="6343861" y="4623068"/>
            <a:ext cx="1462087" cy="612775"/>
          </a:xfrm>
          <a:prstGeom prst="rect">
            <a:avLst/>
          </a:prstGeom>
          <a:solidFill>
            <a:schemeClr val="bg2"/>
          </a:solidFill>
          <a:ln w="12700" algn="ctr">
            <a:solidFill>
              <a:schemeClr val="accent3"/>
            </a:solidFill>
            <a:miter lim="800000"/>
            <a:headEnd/>
            <a:tailEnd/>
          </a:ln>
        </p:spPr>
        <p:txBody>
          <a:bodyPr lIns="18000" tIns="18000" rIns="18000" bIns="18000" anchor="ctr"/>
          <a:lstStyle/>
          <a:p>
            <a:pPr algn="ctr">
              <a:defRPr/>
            </a:pPr>
            <a:r>
              <a:rPr lang="en-GB" altLang="ja-JP" sz="1400" b="1">
                <a:solidFill>
                  <a:schemeClr val="tx2"/>
                </a:solidFill>
                <a:ea typeface="ＭＳ Ｐゴシック" pitchFamily="50" charset="-128"/>
              </a:rPr>
              <a:t>Text</a:t>
            </a:r>
          </a:p>
        </p:txBody>
      </p:sp>
      <p:sp>
        <p:nvSpPr>
          <p:cNvPr id="10" name="Rectangle 9"/>
          <p:cNvSpPr>
            <a:spLocks noChangeArrowheads="1"/>
          </p:cNvSpPr>
          <p:nvPr/>
        </p:nvSpPr>
        <p:spPr bwMode="auto">
          <a:xfrm>
            <a:off x="6343861" y="5380305"/>
            <a:ext cx="1462087" cy="612775"/>
          </a:xfrm>
          <a:prstGeom prst="rect">
            <a:avLst/>
          </a:prstGeom>
          <a:solidFill>
            <a:schemeClr val="bg2"/>
          </a:solidFill>
          <a:ln w="12700" algn="ctr">
            <a:solidFill>
              <a:schemeClr val="accent3"/>
            </a:solidFill>
            <a:miter lim="800000"/>
            <a:headEnd/>
            <a:tailEnd/>
          </a:ln>
        </p:spPr>
        <p:txBody>
          <a:bodyPr lIns="18000" tIns="18000" rIns="18000" bIns="18000" anchor="ctr"/>
          <a:lstStyle/>
          <a:p>
            <a:pPr algn="ctr">
              <a:defRPr/>
            </a:pPr>
            <a:r>
              <a:rPr lang="en-GB" altLang="ja-JP" sz="1400" b="1">
                <a:solidFill>
                  <a:schemeClr val="tx2"/>
                </a:solidFill>
                <a:ea typeface="ＭＳ Ｐゴシック" pitchFamily="50" charset="-128"/>
              </a:rPr>
              <a:t>Text</a:t>
            </a:r>
          </a:p>
        </p:txBody>
      </p:sp>
      <p:sp>
        <p:nvSpPr>
          <p:cNvPr id="11" name="Rectangle 10"/>
          <p:cNvSpPr>
            <a:spLocks noChangeArrowheads="1"/>
          </p:cNvSpPr>
          <p:nvPr/>
        </p:nvSpPr>
        <p:spPr bwMode="auto">
          <a:xfrm>
            <a:off x="3818148" y="5002480"/>
            <a:ext cx="1462088" cy="612775"/>
          </a:xfrm>
          <a:prstGeom prst="rect">
            <a:avLst/>
          </a:prstGeom>
          <a:solidFill>
            <a:schemeClr val="bg2"/>
          </a:solidFill>
          <a:ln w="12700" algn="ctr">
            <a:solidFill>
              <a:schemeClr val="accent3"/>
            </a:solidFill>
            <a:miter lim="800000"/>
            <a:headEnd/>
            <a:tailEnd/>
          </a:ln>
        </p:spPr>
        <p:txBody>
          <a:bodyPr lIns="18000" tIns="18000" rIns="18000" bIns="18000" anchor="ctr"/>
          <a:lstStyle/>
          <a:p>
            <a:pPr algn="ctr">
              <a:defRPr/>
            </a:pPr>
            <a:r>
              <a:rPr lang="en-GB" altLang="ja-JP" sz="1400" b="1">
                <a:solidFill>
                  <a:schemeClr val="tx2"/>
                </a:solidFill>
                <a:ea typeface="ＭＳ Ｐゴシック" pitchFamily="50" charset="-128"/>
              </a:rPr>
              <a:t>Text</a:t>
            </a:r>
          </a:p>
        </p:txBody>
      </p:sp>
      <p:cxnSp>
        <p:nvCxnSpPr>
          <p:cNvPr id="12" name="AutoShape 11"/>
          <p:cNvCxnSpPr>
            <a:cxnSpLocks noChangeShapeType="1"/>
            <a:stCxn id="11" idx="3"/>
            <a:endCxn id="9" idx="1"/>
          </p:cNvCxnSpPr>
          <p:nvPr/>
        </p:nvCxnSpPr>
        <p:spPr bwMode="auto">
          <a:xfrm flipV="1">
            <a:off x="5280236" y="4929455"/>
            <a:ext cx="1063625" cy="379413"/>
          </a:xfrm>
          <a:prstGeom prst="bentConnector3">
            <a:avLst>
              <a:gd name="adj1" fmla="val 50000"/>
            </a:avLst>
          </a:prstGeom>
          <a:noFill/>
          <a:ln w="12700">
            <a:solidFill>
              <a:schemeClr val="tx2"/>
            </a:solidFill>
            <a:miter lim="800000"/>
            <a:headEnd/>
            <a:tailEnd/>
          </a:ln>
        </p:spPr>
      </p:cxnSp>
      <p:cxnSp>
        <p:nvCxnSpPr>
          <p:cNvPr id="13" name="AutoShape 12"/>
          <p:cNvCxnSpPr>
            <a:cxnSpLocks noChangeShapeType="1"/>
            <a:stCxn id="11" idx="3"/>
            <a:endCxn id="10" idx="1"/>
          </p:cNvCxnSpPr>
          <p:nvPr/>
        </p:nvCxnSpPr>
        <p:spPr bwMode="auto">
          <a:xfrm>
            <a:off x="5280236" y="5308868"/>
            <a:ext cx="1063625" cy="377825"/>
          </a:xfrm>
          <a:prstGeom prst="bentConnector3">
            <a:avLst>
              <a:gd name="adj1" fmla="val 50000"/>
            </a:avLst>
          </a:prstGeom>
          <a:noFill/>
          <a:ln w="12700">
            <a:solidFill>
              <a:schemeClr val="tx2"/>
            </a:solidFill>
            <a:miter lim="800000"/>
            <a:headEnd/>
            <a:tailEnd/>
          </a:ln>
        </p:spPr>
      </p:cxnSp>
      <p:sp>
        <p:nvSpPr>
          <p:cNvPr id="14" name="Rectangle 13"/>
          <p:cNvSpPr>
            <a:spLocks noChangeArrowheads="1"/>
          </p:cNvSpPr>
          <p:nvPr/>
        </p:nvSpPr>
        <p:spPr bwMode="auto">
          <a:xfrm>
            <a:off x="1290848" y="3489593"/>
            <a:ext cx="1463675" cy="612775"/>
          </a:xfrm>
          <a:prstGeom prst="rect">
            <a:avLst/>
          </a:prstGeom>
          <a:solidFill>
            <a:schemeClr val="bg2"/>
          </a:solidFill>
          <a:ln w="12700" algn="ctr">
            <a:solidFill>
              <a:schemeClr val="accent3"/>
            </a:solidFill>
            <a:miter lim="800000"/>
            <a:headEnd/>
            <a:tailEnd/>
          </a:ln>
        </p:spPr>
        <p:txBody>
          <a:bodyPr lIns="18000" tIns="18000" rIns="18000" bIns="18000" anchor="ctr"/>
          <a:lstStyle/>
          <a:p>
            <a:pPr algn="ctr">
              <a:defRPr/>
            </a:pPr>
            <a:r>
              <a:rPr lang="en-GB" altLang="ja-JP" sz="1400" b="1" dirty="0">
                <a:solidFill>
                  <a:schemeClr val="tx2"/>
                </a:solidFill>
                <a:ea typeface="ＭＳ Ｐゴシック" pitchFamily="50" charset="-128"/>
              </a:rPr>
              <a:t>Text</a:t>
            </a:r>
          </a:p>
        </p:txBody>
      </p:sp>
      <p:cxnSp>
        <p:nvCxnSpPr>
          <p:cNvPr id="15" name="AutoShape 14"/>
          <p:cNvCxnSpPr>
            <a:cxnSpLocks noChangeShapeType="1"/>
            <a:stCxn id="4" idx="1"/>
            <a:endCxn id="14" idx="3"/>
          </p:cNvCxnSpPr>
          <p:nvPr/>
        </p:nvCxnSpPr>
        <p:spPr bwMode="auto">
          <a:xfrm rot="10800000" flipV="1">
            <a:off x="2754523" y="2265630"/>
            <a:ext cx="1063625" cy="1530350"/>
          </a:xfrm>
          <a:prstGeom prst="bentConnector3">
            <a:avLst>
              <a:gd name="adj1" fmla="val 50000"/>
            </a:avLst>
          </a:prstGeom>
          <a:noFill/>
          <a:ln w="12700">
            <a:solidFill>
              <a:schemeClr val="tx2"/>
            </a:solidFill>
            <a:miter lim="800000"/>
            <a:headEnd/>
            <a:tailEnd/>
          </a:ln>
        </p:spPr>
      </p:cxnSp>
      <p:cxnSp>
        <p:nvCxnSpPr>
          <p:cNvPr id="16" name="AutoShape 15"/>
          <p:cNvCxnSpPr>
            <a:cxnSpLocks noChangeShapeType="1"/>
            <a:stCxn id="14" idx="3"/>
            <a:endCxn id="11" idx="1"/>
          </p:cNvCxnSpPr>
          <p:nvPr/>
        </p:nvCxnSpPr>
        <p:spPr bwMode="auto">
          <a:xfrm>
            <a:off x="2754523" y="3795980"/>
            <a:ext cx="1063625" cy="1512888"/>
          </a:xfrm>
          <a:prstGeom prst="bentConnector3">
            <a:avLst>
              <a:gd name="adj1" fmla="val 50000"/>
            </a:avLst>
          </a:prstGeom>
          <a:noFill/>
          <a:ln w="12700">
            <a:solidFill>
              <a:schemeClr val="tx2"/>
            </a:solidFill>
            <a:miter lim="800000"/>
            <a:headEnd/>
            <a:tailEnd/>
          </a:ln>
        </p:spPr>
      </p:cxnSp>
      <p:sp>
        <p:nvSpPr>
          <p:cNvPr id="17" name="Rectangle 16"/>
          <p:cNvSpPr>
            <a:spLocks noChangeArrowheads="1"/>
          </p:cNvSpPr>
          <p:nvPr/>
        </p:nvSpPr>
        <p:spPr bwMode="auto">
          <a:xfrm>
            <a:off x="6343861" y="3110180"/>
            <a:ext cx="1462087" cy="612775"/>
          </a:xfrm>
          <a:prstGeom prst="rect">
            <a:avLst/>
          </a:prstGeom>
          <a:solidFill>
            <a:schemeClr val="bg2"/>
          </a:solidFill>
          <a:ln w="12700" algn="ctr">
            <a:solidFill>
              <a:schemeClr val="accent3"/>
            </a:solidFill>
            <a:miter lim="800000"/>
            <a:headEnd/>
            <a:tailEnd/>
          </a:ln>
        </p:spPr>
        <p:txBody>
          <a:bodyPr lIns="18000" tIns="18000" rIns="18000" bIns="18000" anchor="ctr"/>
          <a:lstStyle/>
          <a:p>
            <a:pPr algn="ctr">
              <a:defRPr/>
            </a:pPr>
            <a:r>
              <a:rPr lang="en-GB" altLang="ja-JP" sz="1400" b="1">
                <a:solidFill>
                  <a:schemeClr val="tx2"/>
                </a:solidFill>
                <a:ea typeface="ＭＳ Ｐゴシック" pitchFamily="50" charset="-128"/>
              </a:rPr>
              <a:t>Text</a:t>
            </a:r>
          </a:p>
        </p:txBody>
      </p:sp>
      <p:sp>
        <p:nvSpPr>
          <p:cNvPr id="18" name="Rectangle 17"/>
          <p:cNvSpPr>
            <a:spLocks noChangeArrowheads="1"/>
          </p:cNvSpPr>
          <p:nvPr/>
        </p:nvSpPr>
        <p:spPr bwMode="auto">
          <a:xfrm>
            <a:off x="6343861" y="3867418"/>
            <a:ext cx="1462087" cy="612775"/>
          </a:xfrm>
          <a:prstGeom prst="rect">
            <a:avLst/>
          </a:prstGeom>
          <a:solidFill>
            <a:schemeClr val="bg2"/>
          </a:solidFill>
          <a:ln w="12700" algn="ctr">
            <a:solidFill>
              <a:schemeClr val="accent3"/>
            </a:solidFill>
            <a:miter lim="800000"/>
            <a:headEnd/>
            <a:tailEnd/>
          </a:ln>
        </p:spPr>
        <p:txBody>
          <a:bodyPr lIns="18000" tIns="18000" rIns="18000" bIns="18000" anchor="ctr"/>
          <a:lstStyle/>
          <a:p>
            <a:pPr algn="ctr">
              <a:defRPr/>
            </a:pPr>
            <a:r>
              <a:rPr lang="en-GB" altLang="ja-JP" sz="1400" b="1">
                <a:solidFill>
                  <a:schemeClr val="tx2"/>
                </a:solidFill>
                <a:ea typeface="ＭＳ Ｐゴシック" pitchFamily="50" charset="-128"/>
              </a:rPr>
              <a:t>Text</a:t>
            </a:r>
          </a:p>
        </p:txBody>
      </p:sp>
      <p:sp>
        <p:nvSpPr>
          <p:cNvPr id="19" name="Rectangle 18"/>
          <p:cNvSpPr>
            <a:spLocks noChangeArrowheads="1"/>
          </p:cNvSpPr>
          <p:nvPr/>
        </p:nvSpPr>
        <p:spPr bwMode="auto">
          <a:xfrm>
            <a:off x="3818148" y="3489593"/>
            <a:ext cx="1462088" cy="612775"/>
          </a:xfrm>
          <a:prstGeom prst="rect">
            <a:avLst/>
          </a:prstGeom>
          <a:solidFill>
            <a:schemeClr val="bg2"/>
          </a:solidFill>
          <a:ln w="12700" algn="ctr">
            <a:solidFill>
              <a:schemeClr val="accent3"/>
            </a:solidFill>
            <a:miter lim="800000"/>
            <a:headEnd/>
            <a:tailEnd/>
          </a:ln>
        </p:spPr>
        <p:txBody>
          <a:bodyPr lIns="18000" tIns="18000" rIns="18000" bIns="18000" anchor="ctr"/>
          <a:lstStyle/>
          <a:p>
            <a:pPr algn="ctr">
              <a:defRPr/>
            </a:pPr>
            <a:r>
              <a:rPr lang="en-GB" altLang="ja-JP" sz="1400" b="1">
                <a:solidFill>
                  <a:schemeClr val="tx2"/>
                </a:solidFill>
                <a:ea typeface="ＭＳ Ｐゴシック" pitchFamily="50" charset="-128"/>
              </a:rPr>
              <a:t>Text</a:t>
            </a:r>
          </a:p>
        </p:txBody>
      </p:sp>
      <p:cxnSp>
        <p:nvCxnSpPr>
          <p:cNvPr id="20" name="AutoShape 19"/>
          <p:cNvCxnSpPr>
            <a:cxnSpLocks noChangeShapeType="1"/>
            <a:stCxn id="19" idx="3"/>
            <a:endCxn id="17" idx="1"/>
          </p:cNvCxnSpPr>
          <p:nvPr/>
        </p:nvCxnSpPr>
        <p:spPr bwMode="auto">
          <a:xfrm flipV="1">
            <a:off x="5280236" y="3416568"/>
            <a:ext cx="1063625" cy="379412"/>
          </a:xfrm>
          <a:prstGeom prst="bentConnector3">
            <a:avLst>
              <a:gd name="adj1" fmla="val 50000"/>
            </a:avLst>
          </a:prstGeom>
          <a:noFill/>
          <a:ln w="12700">
            <a:solidFill>
              <a:schemeClr val="tx2"/>
            </a:solidFill>
            <a:miter lim="800000"/>
            <a:headEnd/>
            <a:tailEnd/>
          </a:ln>
        </p:spPr>
      </p:cxnSp>
      <p:cxnSp>
        <p:nvCxnSpPr>
          <p:cNvPr id="21" name="AutoShape 20"/>
          <p:cNvCxnSpPr>
            <a:cxnSpLocks noChangeShapeType="1"/>
            <a:stCxn id="19" idx="3"/>
            <a:endCxn id="18" idx="1"/>
          </p:cNvCxnSpPr>
          <p:nvPr/>
        </p:nvCxnSpPr>
        <p:spPr bwMode="auto">
          <a:xfrm>
            <a:off x="5280236" y="3795980"/>
            <a:ext cx="1063625" cy="377825"/>
          </a:xfrm>
          <a:prstGeom prst="bentConnector3">
            <a:avLst>
              <a:gd name="adj1" fmla="val 50000"/>
            </a:avLst>
          </a:prstGeom>
          <a:noFill/>
          <a:ln w="12700">
            <a:solidFill>
              <a:schemeClr val="tx2"/>
            </a:solidFill>
            <a:miter lim="800000"/>
            <a:headEnd/>
            <a:tailEnd/>
          </a:ln>
        </p:spPr>
      </p:cxnSp>
      <p:cxnSp>
        <p:nvCxnSpPr>
          <p:cNvPr id="22" name="AutoShape 21"/>
          <p:cNvCxnSpPr>
            <a:cxnSpLocks noChangeShapeType="1"/>
            <a:stCxn id="14" idx="3"/>
            <a:endCxn id="19" idx="1"/>
          </p:cNvCxnSpPr>
          <p:nvPr/>
        </p:nvCxnSpPr>
        <p:spPr bwMode="auto">
          <a:xfrm>
            <a:off x="2754523" y="3795980"/>
            <a:ext cx="1063625" cy="1588"/>
          </a:xfrm>
          <a:prstGeom prst="straightConnector1">
            <a:avLst/>
          </a:prstGeom>
          <a:noFill/>
          <a:ln w="12700">
            <a:solidFill>
              <a:schemeClr val="tx2"/>
            </a:solidFill>
            <a:round/>
            <a:headEnd/>
            <a:tailEnd/>
          </a:ln>
        </p:spPr>
      </p:cxnSp>
      <p:sp>
        <p:nvSpPr>
          <p:cNvPr id="25"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6"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01" name="Title 1"/>
          <p:cNvSpPr>
            <a:spLocks noGrp="1"/>
          </p:cNvSpPr>
          <p:nvPr>
            <p:ph type="title"/>
          </p:nvPr>
        </p:nvSpPr>
        <p:spPr>
          <a:xfrm>
            <a:off x="414338" y="446038"/>
            <a:ext cx="8330184" cy="333425"/>
          </a:xfrm>
        </p:spPr>
        <p:txBody>
          <a:bodyPr/>
          <a:lstStyle/>
          <a:p>
            <a:r>
              <a:rPr lang="nl-NL"/>
              <a:t>Logic trees </a:t>
            </a:r>
            <a:r>
              <a:rPr lang="en-US"/>
              <a:t>—</a:t>
            </a:r>
            <a:r>
              <a:rPr lang="nl-NL" smtClean="0"/>
              <a:t> </a:t>
            </a:r>
            <a:r>
              <a:rPr lang="nl-NL"/>
              <a:t>vertical</a:t>
            </a:r>
          </a:p>
        </p:txBody>
      </p:sp>
      <p:sp>
        <p:nvSpPr>
          <p:cNvPr id="4" name="Rectangle 3"/>
          <p:cNvSpPr>
            <a:spLocks noChangeArrowheads="1"/>
          </p:cNvSpPr>
          <p:nvPr/>
        </p:nvSpPr>
        <p:spPr bwMode="auto">
          <a:xfrm>
            <a:off x="3933825" y="1600718"/>
            <a:ext cx="1266825" cy="792162"/>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5" name="Rectangle 4"/>
          <p:cNvSpPr>
            <a:spLocks noChangeArrowheads="1"/>
          </p:cNvSpPr>
          <p:nvPr/>
        </p:nvSpPr>
        <p:spPr bwMode="auto">
          <a:xfrm>
            <a:off x="482600" y="4769368"/>
            <a:ext cx="773113" cy="776287"/>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6" name="Rectangle 5"/>
          <p:cNvSpPr>
            <a:spLocks noChangeArrowheads="1"/>
          </p:cNvSpPr>
          <p:nvPr/>
        </p:nvSpPr>
        <p:spPr bwMode="auto">
          <a:xfrm>
            <a:off x="1406525" y="4769368"/>
            <a:ext cx="774700" cy="776287"/>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7" name="Rectangle 6"/>
          <p:cNvSpPr>
            <a:spLocks noChangeArrowheads="1"/>
          </p:cNvSpPr>
          <p:nvPr/>
        </p:nvSpPr>
        <p:spPr bwMode="auto">
          <a:xfrm>
            <a:off x="2332038" y="4769368"/>
            <a:ext cx="771525" cy="776287"/>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8" name="Rectangle 7"/>
          <p:cNvSpPr>
            <a:spLocks noChangeArrowheads="1"/>
          </p:cNvSpPr>
          <p:nvPr/>
        </p:nvSpPr>
        <p:spPr bwMode="auto">
          <a:xfrm>
            <a:off x="3254375" y="4769368"/>
            <a:ext cx="774700" cy="776287"/>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9" name="Rectangle 8"/>
          <p:cNvSpPr>
            <a:spLocks noChangeArrowheads="1"/>
          </p:cNvSpPr>
          <p:nvPr/>
        </p:nvSpPr>
        <p:spPr bwMode="auto">
          <a:xfrm>
            <a:off x="4181475" y="4769368"/>
            <a:ext cx="773113" cy="776287"/>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0" name="Rectangle 9"/>
          <p:cNvSpPr>
            <a:spLocks noChangeArrowheads="1"/>
          </p:cNvSpPr>
          <p:nvPr/>
        </p:nvSpPr>
        <p:spPr bwMode="auto">
          <a:xfrm>
            <a:off x="5105400" y="4769368"/>
            <a:ext cx="771525" cy="776287"/>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1" name="Rectangle 10"/>
          <p:cNvSpPr>
            <a:spLocks noChangeArrowheads="1"/>
          </p:cNvSpPr>
          <p:nvPr/>
        </p:nvSpPr>
        <p:spPr bwMode="auto">
          <a:xfrm>
            <a:off x="6029325" y="4769368"/>
            <a:ext cx="774700" cy="776287"/>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2" name="Rectangle 11"/>
          <p:cNvSpPr>
            <a:spLocks noChangeArrowheads="1"/>
          </p:cNvSpPr>
          <p:nvPr/>
        </p:nvSpPr>
        <p:spPr bwMode="auto">
          <a:xfrm>
            <a:off x="6954838" y="4769368"/>
            <a:ext cx="773112" cy="776287"/>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3" name="Rectangle 12"/>
          <p:cNvSpPr>
            <a:spLocks noChangeArrowheads="1"/>
          </p:cNvSpPr>
          <p:nvPr/>
        </p:nvSpPr>
        <p:spPr bwMode="auto">
          <a:xfrm>
            <a:off x="1160463" y="3185043"/>
            <a:ext cx="1266825" cy="790575"/>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4" name="Rectangle 13"/>
          <p:cNvSpPr>
            <a:spLocks noChangeArrowheads="1"/>
          </p:cNvSpPr>
          <p:nvPr/>
        </p:nvSpPr>
        <p:spPr bwMode="auto">
          <a:xfrm>
            <a:off x="3933825" y="3185043"/>
            <a:ext cx="1266825" cy="790575"/>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5" name="Rectangle 14"/>
          <p:cNvSpPr>
            <a:spLocks noChangeArrowheads="1"/>
          </p:cNvSpPr>
          <p:nvPr/>
        </p:nvSpPr>
        <p:spPr bwMode="auto">
          <a:xfrm>
            <a:off x="6710363" y="3185043"/>
            <a:ext cx="1265237" cy="790575"/>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cxnSp>
        <p:nvCxnSpPr>
          <p:cNvPr id="16" name="AutoShape 15"/>
          <p:cNvCxnSpPr>
            <a:cxnSpLocks noChangeShapeType="1"/>
            <a:stCxn id="4" idx="2"/>
            <a:endCxn id="13" idx="0"/>
          </p:cNvCxnSpPr>
          <p:nvPr/>
        </p:nvCxnSpPr>
        <p:spPr bwMode="auto">
          <a:xfrm rot="5400000">
            <a:off x="2784475" y="1402280"/>
            <a:ext cx="792163" cy="2773363"/>
          </a:xfrm>
          <a:prstGeom prst="bentConnector3">
            <a:avLst>
              <a:gd name="adj1" fmla="val 49898"/>
            </a:avLst>
          </a:prstGeom>
          <a:noFill/>
          <a:ln w="12700">
            <a:solidFill>
              <a:schemeClr val="tx2"/>
            </a:solidFill>
            <a:miter lim="800000"/>
            <a:headEnd/>
            <a:tailEnd/>
          </a:ln>
        </p:spPr>
      </p:cxnSp>
      <p:cxnSp>
        <p:nvCxnSpPr>
          <p:cNvPr id="17" name="AutoShape 16"/>
          <p:cNvCxnSpPr>
            <a:cxnSpLocks noChangeShapeType="1"/>
            <a:stCxn id="4" idx="2"/>
            <a:endCxn id="15" idx="0"/>
          </p:cNvCxnSpPr>
          <p:nvPr/>
        </p:nvCxnSpPr>
        <p:spPr bwMode="auto">
          <a:xfrm rot="16200000" flipH="1">
            <a:off x="5559425" y="1400693"/>
            <a:ext cx="792163" cy="2776537"/>
          </a:xfrm>
          <a:prstGeom prst="bentConnector3">
            <a:avLst>
              <a:gd name="adj1" fmla="val 49898"/>
            </a:avLst>
          </a:prstGeom>
          <a:noFill/>
          <a:ln w="12700">
            <a:solidFill>
              <a:schemeClr val="tx2"/>
            </a:solidFill>
            <a:miter lim="800000"/>
            <a:headEnd/>
            <a:tailEnd/>
          </a:ln>
        </p:spPr>
      </p:cxnSp>
      <p:cxnSp>
        <p:nvCxnSpPr>
          <p:cNvPr id="18" name="AutoShape 17"/>
          <p:cNvCxnSpPr>
            <a:cxnSpLocks noChangeShapeType="1"/>
            <a:stCxn id="14" idx="0"/>
            <a:endCxn id="4" idx="2"/>
          </p:cNvCxnSpPr>
          <p:nvPr/>
        </p:nvCxnSpPr>
        <p:spPr bwMode="auto">
          <a:xfrm rot="16200000">
            <a:off x="4171156" y="2788962"/>
            <a:ext cx="792163" cy="0"/>
          </a:xfrm>
          <a:prstGeom prst="straightConnector1">
            <a:avLst/>
          </a:prstGeom>
          <a:noFill/>
          <a:ln w="12700">
            <a:solidFill>
              <a:schemeClr val="tx2"/>
            </a:solidFill>
            <a:round/>
            <a:headEnd/>
            <a:tailEnd/>
          </a:ln>
        </p:spPr>
      </p:cxnSp>
      <p:cxnSp>
        <p:nvCxnSpPr>
          <p:cNvPr id="19" name="AutoShape 18"/>
          <p:cNvCxnSpPr>
            <a:cxnSpLocks noChangeShapeType="1"/>
            <a:stCxn id="5" idx="0"/>
            <a:endCxn id="13" idx="2"/>
          </p:cNvCxnSpPr>
          <p:nvPr/>
        </p:nvCxnSpPr>
        <p:spPr bwMode="auto">
          <a:xfrm rot="5400000" flipH="1" flipV="1">
            <a:off x="934244" y="3909737"/>
            <a:ext cx="793750" cy="925512"/>
          </a:xfrm>
          <a:prstGeom prst="bentConnector3">
            <a:avLst>
              <a:gd name="adj1" fmla="val 50000"/>
            </a:avLst>
          </a:prstGeom>
          <a:noFill/>
          <a:ln w="12700">
            <a:solidFill>
              <a:schemeClr val="tx2"/>
            </a:solidFill>
            <a:miter lim="800000"/>
            <a:headEnd/>
            <a:tailEnd/>
          </a:ln>
        </p:spPr>
      </p:cxnSp>
      <p:cxnSp>
        <p:nvCxnSpPr>
          <p:cNvPr id="20" name="AutoShape 19"/>
          <p:cNvCxnSpPr>
            <a:cxnSpLocks noChangeShapeType="1"/>
            <a:stCxn id="13" idx="2"/>
            <a:endCxn id="7" idx="0"/>
          </p:cNvCxnSpPr>
          <p:nvPr/>
        </p:nvCxnSpPr>
        <p:spPr bwMode="auto">
          <a:xfrm rot="16200000" flipH="1">
            <a:off x="1858963" y="3910530"/>
            <a:ext cx="793750" cy="923925"/>
          </a:xfrm>
          <a:prstGeom prst="bentConnector3">
            <a:avLst>
              <a:gd name="adj1" fmla="val 50000"/>
            </a:avLst>
          </a:prstGeom>
          <a:noFill/>
          <a:ln w="12700">
            <a:solidFill>
              <a:schemeClr val="tx2"/>
            </a:solidFill>
            <a:miter lim="800000"/>
            <a:headEnd/>
            <a:tailEnd/>
          </a:ln>
        </p:spPr>
      </p:cxnSp>
      <p:cxnSp>
        <p:nvCxnSpPr>
          <p:cNvPr id="21" name="AutoShape 20"/>
          <p:cNvCxnSpPr>
            <a:cxnSpLocks noChangeShapeType="1"/>
            <a:stCxn id="8" idx="0"/>
            <a:endCxn id="14" idx="2"/>
          </p:cNvCxnSpPr>
          <p:nvPr/>
        </p:nvCxnSpPr>
        <p:spPr bwMode="auto">
          <a:xfrm rot="16200000">
            <a:off x="3708401" y="3910530"/>
            <a:ext cx="793750" cy="923925"/>
          </a:xfrm>
          <a:prstGeom prst="bentConnector3">
            <a:avLst>
              <a:gd name="adj1" fmla="val 50000"/>
            </a:avLst>
          </a:prstGeom>
          <a:noFill/>
          <a:ln w="12700">
            <a:solidFill>
              <a:schemeClr val="tx2"/>
            </a:solidFill>
            <a:miter lim="800000"/>
            <a:headEnd/>
            <a:tailEnd/>
          </a:ln>
        </p:spPr>
      </p:cxnSp>
      <p:cxnSp>
        <p:nvCxnSpPr>
          <p:cNvPr id="22" name="AutoShape 21"/>
          <p:cNvCxnSpPr>
            <a:cxnSpLocks noChangeShapeType="1"/>
            <a:stCxn id="14" idx="2"/>
            <a:endCxn id="10" idx="0"/>
          </p:cNvCxnSpPr>
          <p:nvPr/>
        </p:nvCxnSpPr>
        <p:spPr bwMode="auto">
          <a:xfrm rot="16200000" flipH="1">
            <a:off x="4633119" y="3909737"/>
            <a:ext cx="793750" cy="925512"/>
          </a:xfrm>
          <a:prstGeom prst="bentConnector3">
            <a:avLst>
              <a:gd name="adj1" fmla="val 50000"/>
            </a:avLst>
          </a:prstGeom>
          <a:noFill/>
          <a:ln w="12700">
            <a:solidFill>
              <a:schemeClr val="tx2"/>
            </a:solidFill>
            <a:miter lim="800000"/>
            <a:headEnd/>
            <a:tailEnd/>
          </a:ln>
        </p:spPr>
      </p:cxnSp>
      <p:cxnSp>
        <p:nvCxnSpPr>
          <p:cNvPr id="23" name="AutoShape 22"/>
          <p:cNvCxnSpPr>
            <a:cxnSpLocks noChangeShapeType="1"/>
            <a:stCxn id="11" idx="0"/>
            <a:endCxn id="15" idx="2"/>
          </p:cNvCxnSpPr>
          <p:nvPr/>
        </p:nvCxnSpPr>
        <p:spPr bwMode="auto">
          <a:xfrm rot="16200000">
            <a:off x="6483350" y="3908943"/>
            <a:ext cx="793750" cy="927100"/>
          </a:xfrm>
          <a:prstGeom prst="bentConnector3">
            <a:avLst>
              <a:gd name="adj1" fmla="val 50000"/>
            </a:avLst>
          </a:prstGeom>
          <a:noFill/>
          <a:ln w="12700">
            <a:solidFill>
              <a:schemeClr val="tx2"/>
            </a:solidFill>
            <a:miter lim="800000"/>
            <a:headEnd/>
            <a:tailEnd/>
          </a:ln>
        </p:spPr>
      </p:cxnSp>
      <p:cxnSp>
        <p:nvCxnSpPr>
          <p:cNvPr id="24" name="AutoShape 23"/>
          <p:cNvCxnSpPr>
            <a:cxnSpLocks noChangeShapeType="1"/>
            <a:stCxn id="15" idx="2"/>
            <a:endCxn id="28" idx="0"/>
          </p:cNvCxnSpPr>
          <p:nvPr/>
        </p:nvCxnSpPr>
        <p:spPr bwMode="auto">
          <a:xfrm rot="16200000" flipH="1">
            <a:off x="7408863" y="3910530"/>
            <a:ext cx="793750" cy="923925"/>
          </a:xfrm>
          <a:prstGeom prst="bentConnector3">
            <a:avLst>
              <a:gd name="adj1" fmla="val 50000"/>
            </a:avLst>
          </a:prstGeom>
          <a:noFill/>
          <a:ln w="12700">
            <a:solidFill>
              <a:schemeClr val="tx2"/>
            </a:solidFill>
            <a:miter lim="800000"/>
            <a:headEnd/>
            <a:tailEnd/>
          </a:ln>
        </p:spPr>
      </p:cxnSp>
      <p:cxnSp>
        <p:nvCxnSpPr>
          <p:cNvPr id="25" name="AutoShape 24"/>
          <p:cNvCxnSpPr>
            <a:cxnSpLocks noChangeShapeType="1"/>
            <a:stCxn id="6" idx="0"/>
            <a:endCxn id="13" idx="2"/>
          </p:cNvCxnSpPr>
          <p:nvPr/>
        </p:nvCxnSpPr>
        <p:spPr bwMode="auto">
          <a:xfrm rot="16200000">
            <a:off x="1397000" y="4372493"/>
            <a:ext cx="793750" cy="0"/>
          </a:xfrm>
          <a:prstGeom prst="straightConnector1">
            <a:avLst/>
          </a:prstGeom>
          <a:noFill/>
          <a:ln w="12700">
            <a:solidFill>
              <a:schemeClr val="tx2"/>
            </a:solidFill>
            <a:round/>
            <a:headEnd/>
            <a:tailEnd/>
          </a:ln>
        </p:spPr>
      </p:cxnSp>
      <p:cxnSp>
        <p:nvCxnSpPr>
          <p:cNvPr id="26" name="AutoShape 25"/>
          <p:cNvCxnSpPr>
            <a:cxnSpLocks noChangeShapeType="1"/>
            <a:stCxn id="9" idx="0"/>
            <a:endCxn id="14" idx="2"/>
          </p:cNvCxnSpPr>
          <p:nvPr/>
        </p:nvCxnSpPr>
        <p:spPr bwMode="auto">
          <a:xfrm rot="16200000">
            <a:off x="4170363" y="4372493"/>
            <a:ext cx="793750" cy="0"/>
          </a:xfrm>
          <a:prstGeom prst="straightConnector1">
            <a:avLst/>
          </a:prstGeom>
          <a:noFill/>
          <a:ln w="12700">
            <a:solidFill>
              <a:schemeClr val="tx2"/>
            </a:solidFill>
            <a:round/>
            <a:headEnd/>
            <a:tailEnd/>
          </a:ln>
        </p:spPr>
      </p:cxnSp>
      <p:cxnSp>
        <p:nvCxnSpPr>
          <p:cNvPr id="27" name="AutoShape 26"/>
          <p:cNvCxnSpPr>
            <a:cxnSpLocks noChangeShapeType="1"/>
            <a:stCxn id="12" idx="0"/>
            <a:endCxn id="15" idx="2"/>
          </p:cNvCxnSpPr>
          <p:nvPr/>
        </p:nvCxnSpPr>
        <p:spPr bwMode="auto">
          <a:xfrm rot="5400000" flipH="1" flipV="1">
            <a:off x="6946107" y="4371699"/>
            <a:ext cx="793750" cy="1587"/>
          </a:xfrm>
          <a:prstGeom prst="straightConnector1">
            <a:avLst/>
          </a:prstGeom>
          <a:noFill/>
          <a:ln w="12700">
            <a:solidFill>
              <a:schemeClr val="tx2"/>
            </a:solidFill>
            <a:miter lim="800000"/>
            <a:headEnd/>
            <a:tailEnd/>
          </a:ln>
        </p:spPr>
      </p:cxnSp>
      <p:sp>
        <p:nvSpPr>
          <p:cNvPr id="28" name="Rectangle 27"/>
          <p:cNvSpPr>
            <a:spLocks noChangeArrowheads="1"/>
          </p:cNvSpPr>
          <p:nvPr/>
        </p:nvSpPr>
        <p:spPr bwMode="auto">
          <a:xfrm>
            <a:off x="7880350" y="4769368"/>
            <a:ext cx="774700" cy="776287"/>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31"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5425" name="Title 1"/>
          <p:cNvSpPr>
            <a:spLocks noGrp="1"/>
          </p:cNvSpPr>
          <p:nvPr>
            <p:ph type="title"/>
          </p:nvPr>
        </p:nvSpPr>
        <p:spPr>
          <a:xfrm>
            <a:off x="414338" y="446038"/>
            <a:ext cx="8330184" cy="333425"/>
          </a:xfrm>
        </p:spPr>
        <p:txBody>
          <a:bodyPr/>
          <a:lstStyle/>
          <a:p>
            <a:r>
              <a:rPr lang="en-US"/>
              <a:t>Logic trees — vertical with straight lines</a:t>
            </a:r>
            <a:endParaRPr lang="nl-NL"/>
          </a:p>
        </p:txBody>
      </p:sp>
      <p:sp>
        <p:nvSpPr>
          <p:cNvPr id="4" name="Rectangle 3"/>
          <p:cNvSpPr>
            <a:spLocks noChangeArrowheads="1"/>
          </p:cNvSpPr>
          <p:nvPr/>
        </p:nvSpPr>
        <p:spPr bwMode="auto">
          <a:xfrm>
            <a:off x="3933825" y="1600709"/>
            <a:ext cx="1266825" cy="792162"/>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5" name="Rectangle 4"/>
          <p:cNvSpPr>
            <a:spLocks noChangeArrowheads="1"/>
          </p:cNvSpPr>
          <p:nvPr/>
        </p:nvSpPr>
        <p:spPr bwMode="auto">
          <a:xfrm>
            <a:off x="482600" y="4769359"/>
            <a:ext cx="773113" cy="776287"/>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6" name="Rectangle 5"/>
          <p:cNvSpPr>
            <a:spLocks noChangeArrowheads="1"/>
          </p:cNvSpPr>
          <p:nvPr/>
        </p:nvSpPr>
        <p:spPr bwMode="auto">
          <a:xfrm>
            <a:off x="1406525" y="4769359"/>
            <a:ext cx="774700" cy="776287"/>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7" name="Rectangle 6"/>
          <p:cNvSpPr>
            <a:spLocks noChangeArrowheads="1"/>
          </p:cNvSpPr>
          <p:nvPr/>
        </p:nvSpPr>
        <p:spPr bwMode="auto">
          <a:xfrm>
            <a:off x="2332038" y="4769359"/>
            <a:ext cx="771525" cy="776287"/>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8" name="Rectangle 7"/>
          <p:cNvSpPr>
            <a:spLocks noChangeArrowheads="1"/>
          </p:cNvSpPr>
          <p:nvPr/>
        </p:nvSpPr>
        <p:spPr bwMode="auto">
          <a:xfrm>
            <a:off x="3254375" y="4769359"/>
            <a:ext cx="774700" cy="776287"/>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9" name="Rectangle 8"/>
          <p:cNvSpPr>
            <a:spLocks noChangeArrowheads="1"/>
          </p:cNvSpPr>
          <p:nvPr/>
        </p:nvSpPr>
        <p:spPr bwMode="auto">
          <a:xfrm>
            <a:off x="4181475" y="4769359"/>
            <a:ext cx="773113" cy="776287"/>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0" name="Rectangle 9"/>
          <p:cNvSpPr>
            <a:spLocks noChangeArrowheads="1"/>
          </p:cNvSpPr>
          <p:nvPr/>
        </p:nvSpPr>
        <p:spPr bwMode="auto">
          <a:xfrm>
            <a:off x="5105400" y="4769359"/>
            <a:ext cx="771525" cy="776287"/>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1" name="Rectangle 10"/>
          <p:cNvSpPr>
            <a:spLocks noChangeArrowheads="1"/>
          </p:cNvSpPr>
          <p:nvPr/>
        </p:nvSpPr>
        <p:spPr bwMode="auto">
          <a:xfrm>
            <a:off x="6029325" y="4769359"/>
            <a:ext cx="774700" cy="776287"/>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2" name="Rectangle 11"/>
          <p:cNvSpPr>
            <a:spLocks noChangeArrowheads="1"/>
          </p:cNvSpPr>
          <p:nvPr/>
        </p:nvSpPr>
        <p:spPr bwMode="auto">
          <a:xfrm>
            <a:off x="6954838" y="4769359"/>
            <a:ext cx="773112" cy="776287"/>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3" name="Rectangle 12"/>
          <p:cNvSpPr>
            <a:spLocks noChangeArrowheads="1"/>
          </p:cNvSpPr>
          <p:nvPr/>
        </p:nvSpPr>
        <p:spPr bwMode="auto">
          <a:xfrm>
            <a:off x="1160463" y="3185034"/>
            <a:ext cx="1266825" cy="790575"/>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4" name="Rectangle 13"/>
          <p:cNvSpPr>
            <a:spLocks noChangeArrowheads="1"/>
          </p:cNvSpPr>
          <p:nvPr/>
        </p:nvSpPr>
        <p:spPr bwMode="auto">
          <a:xfrm>
            <a:off x="3933825" y="3185034"/>
            <a:ext cx="1266825" cy="790575"/>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5" name="Rectangle 14"/>
          <p:cNvSpPr>
            <a:spLocks noChangeArrowheads="1"/>
          </p:cNvSpPr>
          <p:nvPr/>
        </p:nvSpPr>
        <p:spPr bwMode="auto">
          <a:xfrm>
            <a:off x="6710363" y="3185034"/>
            <a:ext cx="1265237" cy="790575"/>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cxnSp>
        <p:nvCxnSpPr>
          <p:cNvPr id="16" name="AutoShape 15"/>
          <p:cNvCxnSpPr>
            <a:cxnSpLocks noChangeShapeType="1"/>
            <a:stCxn id="4" idx="2"/>
            <a:endCxn id="13" idx="0"/>
          </p:cNvCxnSpPr>
          <p:nvPr/>
        </p:nvCxnSpPr>
        <p:spPr bwMode="auto">
          <a:xfrm rot="5400000">
            <a:off x="2784476" y="1402271"/>
            <a:ext cx="792163" cy="2773362"/>
          </a:xfrm>
          <a:prstGeom prst="straightConnector1">
            <a:avLst/>
          </a:prstGeom>
          <a:noFill/>
          <a:ln w="12700">
            <a:solidFill>
              <a:schemeClr val="tx2"/>
            </a:solidFill>
            <a:miter lim="800000"/>
            <a:headEnd/>
            <a:tailEnd/>
          </a:ln>
        </p:spPr>
      </p:cxnSp>
      <p:cxnSp>
        <p:nvCxnSpPr>
          <p:cNvPr id="17" name="AutoShape 16"/>
          <p:cNvCxnSpPr>
            <a:cxnSpLocks noChangeShapeType="1"/>
            <a:stCxn id="4" idx="2"/>
            <a:endCxn id="15" idx="0"/>
          </p:cNvCxnSpPr>
          <p:nvPr/>
        </p:nvCxnSpPr>
        <p:spPr bwMode="auto">
          <a:xfrm rot="16200000" flipH="1">
            <a:off x="5559425" y="1400684"/>
            <a:ext cx="792163" cy="2776537"/>
          </a:xfrm>
          <a:prstGeom prst="straightConnector1">
            <a:avLst/>
          </a:prstGeom>
          <a:noFill/>
          <a:ln w="12700">
            <a:solidFill>
              <a:schemeClr val="tx2"/>
            </a:solidFill>
            <a:miter lim="800000"/>
            <a:headEnd/>
            <a:tailEnd/>
          </a:ln>
        </p:spPr>
      </p:cxnSp>
      <p:cxnSp>
        <p:nvCxnSpPr>
          <p:cNvPr id="18" name="AutoShape 17"/>
          <p:cNvCxnSpPr>
            <a:cxnSpLocks noChangeShapeType="1"/>
            <a:stCxn id="14" idx="0"/>
            <a:endCxn id="4" idx="2"/>
          </p:cNvCxnSpPr>
          <p:nvPr/>
        </p:nvCxnSpPr>
        <p:spPr bwMode="auto">
          <a:xfrm rot="16200000">
            <a:off x="4171156" y="2788953"/>
            <a:ext cx="792163" cy="0"/>
          </a:xfrm>
          <a:prstGeom prst="straightConnector1">
            <a:avLst/>
          </a:prstGeom>
          <a:noFill/>
          <a:ln w="12700">
            <a:solidFill>
              <a:schemeClr val="tx2"/>
            </a:solidFill>
            <a:round/>
            <a:headEnd/>
            <a:tailEnd/>
          </a:ln>
        </p:spPr>
      </p:cxnSp>
      <p:cxnSp>
        <p:nvCxnSpPr>
          <p:cNvPr id="19" name="AutoShape 18"/>
          <p:cNvCxnSpPr>
            <a:cxnSpLocks noChangeShapeType="1"/>
            <a:stCxn id="5" idx="0"/>
            <a:endCxn id="13" idx="2"/>
          </p:cNvCxnSpPr>
          <p:nvPr/>
        </p:nvCxnSpPr>
        <p:spPr bwMode="auto">
          <a:xfrm rot="5400000" flipH="1" flipV="1">
            <a:off x="934244" y="3909728"/>
            <a:ext cx="793750" cy="925512"/>
          </a:xfrm>
          <a:prstGeom prst="straightConnector1">
            <a:avLst/>
          </a:prstGeom>
          <a:noFill/>
          <a:ln w="12700">
            <a:solidFill>
              <a:schemeClr val="tx2"/>
            </a:solidFill>
            <a:miter lim="800000"/>
            <a:headEnd/>
            <a:tailEnd/>
          </a:ln>
        </p:spPr>
      </p:cxnSp>
      <p:cxnSp>
        <p:nvCxnSpPr>
          <p:cNvPr id="20" name="AutoShape 19"/>
          <p:cNvCxnSpPr>
            <a:cxnSpLocks noChangeShapeType="1"/>
            <a:stCxn id="13" idx="2"/>
            <a:endCxn id="7" idx="0"/>
          </p:cNvCxnSpPr>
          <p:nvPr/>
        </p:nvCxnSpPr>
        <p:spPr bwMode="auto">
          <a:xfrm rot="16200000" flipH="1">
            <a:off x="1858963" y="3910521"/>
            <a:ext cx="793750" cy="923925"/>
          </a:xfrm>
          <a:prstGeom prst="straightConnector1">
            <a:avLst/>
          </a:prstGeom>
          <a:noFill/>
          <a:ln w="12700">
            <a:solidFill>
              <a:schemeClr val="tx2"/>
            </a:solidFill>
            <a:miter lim="800000"/>
            <a:headEnd/>
            <a:tailEnd/>
          </a:ln>
        </p:spPr>
      </p:cxnSp>
      <p:cxnSp>
        <p:nvCxnSpPr>
          <p:cNvPr id="21" name="AutoShape 20"/>
          <p:cNvCxnSpPr>
            <a:cxnSpLocks noChangeShapeType="1"/>
            <a:stCxn id="8" idx="0"/>
            <a:endCxn id="14" idx="2"/>
          </p:cNvCxnSpPr>
          <p:nvPr/>
        </p:nvCxnSpPr>
        <p:spPr bwMode="auto">
          <a:xfrm rot="5400000" flipH="1" flipV="1">
            <a:off x="3707607" y="3909727"/>
            <a:ext cx="793750" cy="925513"/>
          </a:xfrm>
          <a:prstGeom prst="straightConnector1">
            <a:avLst/>
          </a:prstGeom>
          <a:noFill/>
          <a:ln w="12700">
            <a:solidFill>
              <a:schemeClr val="tx2"/>
            </a:solidFill>
            <a:miter lim="800000"/>
            <a:headEnd/>
            <a:tailEnd/>
          </a:ln>
        </p:spPr>
      </p:cxnSp>
      <p:cxnSp>
        <p:nvCxnSpPr>
          <p:cNvPr id="22" name="AutoShape 21"/>
          <p:cNvCxnSpPr>
            <a:cxnSpLocks noChangeShapeType="1"/>
            <a:stCxn id="14" idx="2"/>
            <a:endCxn id="10" idx="0"/>
          </p:cNvCxnSpPr>
          <p:nvPr/>
        </p:nvCxnSpPr>
        <p:spPr bwMode="auto">
          <a:xfrm rot="16200000" flipH="1">
            <a:off x="4632326" y="3910521"/>
            <a:ext cx="793750" cy="923925"/>
          </a:xfrm>
          <a:prstGeom prst="straightConnector1">
            <a:avLst/>
          </a:prstGeom>
          <a:noFill/>
          <a:ln w="12700">
            <a:solidFill>
              <a:schemeClr val="tx2"/>
            </a:solidFill>
            <a:miter lim="800000"/>
            <a:headEnd/>
            <a:tailEnd/>
          </a:ln>
        </p:spPr>
      </p:cxnSp>
      <p:cxnSp>
        <p:nvCxnSpPr>
          <p:cNvPr id="23" name="AutoShape 22"/>
          <p:cNvCxnSpPr>
            <a:cxnSpLocks noChangeShapeType="1"/>
            <a:stCxn id="11" idx="0"/>
            <a:endCxn id="15" idx="2"/>
          </p:cNvCxnSpPr>
          <p:nvPr/>
        </p:nvCxnSpPr>
        <p:spPr bwMode="auto">
          <a:xfrm rot="5400000" flipH="1" flipV="1">
            <a:off x="6483350" y="3908934"/>
            <a:ext cx="793750" cy="927100"/>
          </a:xfrm>
          <a:prstGeom prst="straightConnector1">
            <a:avLst/>
          </a:prstGeom>
          <a:noFill/>
          <a:ln w="12700">
            <a:solidFill>
              <a:schemeClr val="tx2"/>
            </a:solidFill>
            <a:miter lim="800000"/>
            <a:headEnd/>
            <a:tailEnd/>
          </a:ln>
        </p:spPr>
      </p:cxnSp>
      <p:cxnSp>
        <p:nvCxnSpPr>
          <p:cNvPr id="24" name="AutoShape 23"/>
          <p:cNvCxnSpPr>
            <a:cxnSpLocks noChangeShapeType="1"/>
            <a:stCxn id="15" idx="2"/>
            <a:endCxn id="28" idx="0"/>
          </p:cNvCxnSpPr>
          <p:nvPr/>
        </p:nvCxnSpPr>
        <p:spPr bwMode="auto">
          <a:xfrm rot="16200000" flipH="1">
            <a:off x="7408863" y="3910521"/>
            <a:ext cx="793750" cy="923925"/>
          </a:xfrm>
          <a:prstGeom prst="straightConnector1">
            <a:avLst/>
          </a:prstGeom>
          <a:noFill/>
          <a:ln w="12700">
            <a:solidFill>
              <a:schemeClr val="tx2"/>
            </a:solidFill>
            <a:miter lim="800000"/>
            <a:headEnd/>
            <a:tailEnd/>
          </a:ln>
        </p:spPr>
      </p:cxnSp>
      <p:cxnSp>
        <p:nvCxnSpPr>
          <p:cNvPr id="25" name="AutoShape 24"/>
          <p:cNvCxnSpPr>
            <a:cxnSpLocks noChangeShapeType="1"/>
            <a:stCxn id="6" idx="0"/>
            <a:endCxn id="13" idx="2"/>
          </p:cNvCxnSpPr>
          <p:nvPr/>
        </p:nvCxnSpPr>
        <p:spPr bwMode="auto">
          <a:xfrm rot="16200000">
            <a:off x="1397000" y="4372484"/>
            <a:ext cx="793750" cy="0"/>
          </a:xfrm>
          <a:prstGeom prst="straightConnector1">
            <a:avLst/>
          </a:prstGeom>
          <a:noFill/>
          <a:ln w="12700">
            <a:solidFill>
              <a:schemeClr val="tx2"/>
            </a:solidFill>
            <a:round/>
            <a:headEnd/>
            <a:tailEnd/>
          </a:ln>
        </p:spPr>
      </p:cxnSp>
      <p:cxnSp>
        <p:nvCxnSpPr>
          <p:cNvPr id="26" name="AutoShape 25"/>
          <p:cNvCxnSpPr>
            <a:cxnSpLocks noChangeShapeType="1"/>
            <a:stCxn id="9" idx="0"/>
            <a:endCxn id="14" idx="2"/>
          </p:cNvCxnSpPr>
          <p:nvPr/>
        </p:nvCxnSpPr>
        <p:spPr bwMode="auto">
          <a:xfrm rot="16200000">
            <a:off x="4170363" y="4372484"/>
            <a:ext cx="793750" cy="0"/>
          </a:xfrm>
          <a:prstGeom prst="straightConnector1">
            <a:avLst/>
          </a:prstGeom>
          <a:noFill/>
          <a:ln w="12700">
            <a:solidFill>
              <a:schemeClr val="tx2"/>
            </a:solidFill>
            <a:round/>
            <a:headEnd/>
            <a:tailEnd/>
          </a:ln>
        </p:spPr>
      </p:cxnSp>
      <p:cxnSp>
        <p:nvCxnSpPr>
          <p:cNvPr id="27" name="AutoShape 26"/>
          <p:cNvCxnSpPr>
            <a:cxnSpLocks noChangeShapeType="1"/>
            <a:stCxn id="12" idx="0"/>
            <a:endCxn id="15" idx="2"/>
          </p:cNvCxnSpPr>
          <p:nvPr/>
        </p:nvCxnSpPr>
        <p:spPr bwMode="auto">
          <a:xfrm rot="5400000" flipH="1" flipV="1">
            <a:off x="6946107" y="4371690"/>
            <a:ext cx="793750" cy="1587"/>
          </a:xfrm>
          <a:prstGeom prst="straightConnector1">
            <a:avLst/>
          </a:prstGeom>
          <a:noFill/>
          <a:ln w="12700">
            <a:solidFill>
              <a:schemeClr val="tx2"/>
            </a:solidFill>
            <a:miter lim="800000"/>
            <a:headEnd/>
            <a:tailEnd/>
          </a:ln>
        </p:spPr>
      </p:cxnSp>
      <p:sp>
        <p:nvSpPr>
          <p:cNvPr id="28" name="Rectangle 27"/>
          <p:cNvSpPr>
            <a:spLocks noChangeArrowheads="1"/>
          </p:cNvSpPr>
          <p:nvPr/>
        </p:nvSpPr>
        <p:spPr bwMode="auto">
          <a:xfrm>
            <a:off x="7880350" y="4769359"/>
            <a:ext cx="774700" cy="776287"/>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31"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9890"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71"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49932" name="Title 1"/>
          <p:cNvSpPr>
            <a:spLocks noGrp="1"/>
          </p:cNvSpPr>
          <p:nvPr>
            <p:ph type="title"/>
            <p:custDataLst>
              <p:tags r:id="rId3"/>
            </p:custDataLst>
          </p:nvPr>
        </p:nvSpPr>
        <p:spPr/>
        <p:txBody>
          <a:bodyPr/>
          <a:lstStyle/>
          <a:p>
            <a:r>
              <a:rPr lang="en-US" altLang="ja-JP">
                <a:ea typeface="ＭＳ Ｐゴシック" charset="-128"/>
                <a:cs typeface="Arial" charset="0"/>
              </a:rPr>
              <a:t>Use this color scheme, with the indicated text colors</a:t>
            </a:r>
            <a:endParaRPr lang="en-US">
              <a:ea typeface="ＭＳ Ｐゴシック" charset="-128"/>
              <a:cs typeface="Arial" charset="0"/>
            </a:endParaRPr>
          </a:p>
        </p:txBody>
      </p:sp>
      <p:sp>
        <p:nvSpPr>
          <p:cNvPr id="549892" name="Rectangle 3"/>
          <p:cNvSpPr>
            <a:spLocks noChangeArrowheads="1"/>
          </p:cNvSpPr>
          <p:nvPr>
            <p:custDataLst>
              <p:tags r:id="rId4"/>
            </p:custDataLst>
          </p:nvPr>
        </p:nvSpPr>
        <p:spPr bwMode="auto">
          <a:xfrm>
            <a:off x="5314950" y="6369050"/>
            <a:ext cx="3390900" cy="150813"/>
          </a:xfrm>
          <a:prstGeom prst="rect">
            <a:avLst/>
          </a:prstGeom>
          <a:noFill/>
          <a:ln w="9525">
            <a:noFill/>
            <a:miter lim="800000"/>
            <a:headEnd/>
            <a:tailEnd/>
          </a:ln>
        </p:spPr>
        <p:txBody>
          <a:bodyPr lIns="0" tIns="0" rIns="0" bIns="0" anchor="b"/>
          <a:lstStyle/>
          <a:p>
            <a:pPr algn="r"/>
            <a:endParaRPr lang="en-US" sz="1800"/>
          </a:p>
        </p:txBody>
      </p:sp>
      <p:grpSp>
        <p:nvGrpSpPr>
          <p:cNvPr id="49" name="Group 50"/>
          <p:cNvGrpSpPr>
            <a:grpSpLocks/>
          </p:cNvGrpSpPr>
          <p:nvPr/>
        </p:nvGrpSpPr>
        <p:grpSpPr bwMode="gray">
          <a:xfrm>
            <a:off x="1828800" y="1393825"/>
            <a:ext cx="1174750" cy="4551363"/>
            <a:chOff x="1129" y="878"/>
            <a:chExt cx="740" cy="2867"/>
          </a:xfrm>
        </p:grpSpPr>
        <p:sp>
          <p:nvSpPr>
            <p:cNvPr id="50" name="Rectangle 15"/>
            <p:cNvSpPr>
              <a:spLocks noChangeArrowheads="1"/>
            </p:cNvSpPr>
            <p:nvPr/>
          </p:nvSpPr>
          <p:spPr bwMode="gray">
            <a:xfrm>
              <a:off x="1145" y="1680"/>
              <a:ext cx="545" cy="576"/>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000" dirty="0"/>
                <a:t>Deloitte Green</a:t>
              </a:r>
            </a:p>
            <a:p>
              <a:pPr algn="l" defTabSz="873125">
                <a:spcBef>
                  <a:spcPct val="0"/>
                </a:spcBef>
              </a:pPr>
              <a:r>
                <a:rPr lang="en-GB" sz="1000" b="0" dirty="0"/>
                <a:t>Pantone 375</a:t>
              </a:r>
            </a:p>
            <a:p>
              <a:pPr algn="l" defTabSz="873125">
                <a:spcBef>
                  <a:spcPct val="0"/>
                </a:spcBef>
              </a:pPr>
              <a:endParaRPr lang="en-GB" sz="1000" b="0" dirty="0"/>
            </a:p>
            <a:p>
              <a:pPr algn="l" defTabSz="873125">
                <a:spcBef>
                  <a:spcPct val="0"/>
                </a:spcBef>
              </a:pPr>
              <a:r>
                <a:rPr lang="en-GB" sz="1000" b="0" dirty="0"/>
                <a:t>R 146</a:t>
              </a:r>
            </a:p>
            <a:p>
              <a:pPr algn="l" defTabSz="873125">
                <a:spcBef>
                  <a:spcPct val="0"/>
                </a:spcBef>
              </a:pPr>
              <a:r>
                <a:rPr lang="en-GB" sz="1000" b="0" dirty="0"/>
                <a:t>G 212</a:t>
              </a:r>
            </a:p>
            <a:p>
              <a:pPr algn="l" defTabSz="873125">
                <a:spcBef>
                  <a:spcPct val="0"/>
                </a:spcBef>
              </a:pPr>
              <a:r>
                <a:rPr lang="en-GB" sz="1000" b="0" dirty="0"/>
                <a:t>B 0</a:t>
              </a:r>
            </a:p>
          </p:txBody>
        </p:sp>
        <p:sp>
          <p:nvSpPr>
            <p:cNvPr id="51" name="Rectangle 26"/>
            <p:cNvSpPr>
              <a:spLocks noChangeArrowheads="1"/>
            </p:cNvSpPr>
            <p:nvPr/>
          </p:nvSpPr>
          <p:spPr bwMode="gray">
            <a:xfrm>
              <a:off x="1130" y="878"/>
              <a:ext cx="739" cy="744"/>
            </a:xfrm>
            <a:prstGeom prst="rect">
              <a:avLst/>
            </a:prstGeom>
            <a:solidFill>
              <a:srgbClr val="92D400"/>
            </a:solidFill>
            <a:ln w="12700" algn="ctr">
              <a:noFill/>
              <a:miter lim="800000"/>
              <a:headEnd/>
              <a:tailEnd/>
            </a:ln>
          </p:spPr>
          <p:txBody>
            <a:bodyPr wrap="none" lIns="0" tIns="0" rIns="0" bIns="0" anchor="ctr"/>
            <a:lstStyle/>
            <a:p>
              <a:pPr algn="l" defTabSz="873125">
                <a:spcBef>
                  <a:spcPct val="0"/>
                </a:spcBef>
              </a:pPr>
              <a:endParaRPr lang="en-GB" sz="1000" b="0" dirty="0"/>
            </a:p>
          </p:txBody>
        </p:sp>
        <p:sp>
          <p:nvSpPr>
            <p:cNvPr id="52" name="Rectangle 26"/>
            <p:cNvSpPr>
              <a:spLocks noChangeAspect="1" noChangeArrowheads="1"/>
            </p:cNvSpPr>
            <p:nvPr/>
          </p:nvSpPr>
          <p:spPr bwMode="gray">
            <a:xfrm>
              <a:off x="1129" y="2768"/>
              <a:ext cx="295" cy="298"/>
            </a:xfrm>
            <a:prstGeom prst="rect">
              <a:avLst/>
            </a:prstGeom>
            <a:solidFill>
              <a:schemeClr val="accent2">
                <a:lumMod val="75000"/>
              </a:schemeClr>
            </a:solidFill>
            <a:ln w="12700" algn="ctr">
              <a:noFill/>
              <a:miter lim="800000"/>
              <a:headEnd/>
              <a:tailEnd/>
            </a:ln>
          </p:spPr>
          <p:txBody>
            <a:bodyPr wrap="none" lIns="0" tIns="0" rIns="0" bIns="0" anchor="ctr"/>
            <a:lstStyle/>
            <a:p>
              <a:pPr algn="l" defTabSz="873125">
                <a:spcBef>
                  <a:spcPct val="0"/>
                </a:spcBef>
              </a:pPr>
              <a:endParaRPr lang="en-GB" sz="1000" b="0" dirty="0"/>
            </a:p>
          </p:txBody>
        </p:sp>
        <p:sp>
          <p:nvSpPr>
            <p:cNvPr id="53" name="Rectangle 26"/>
            <p:cNvSpPr>
              <a:spLocks noChangeAspect="1" noChangeArrowheads="1"/>
            </p:cNvSpPr>
            <p:nvPr/>
          </p:nvSpPr>
          <p:spPr bwMode="gray">
            <a:xfrm>
              <a:off x="1129" y="3448"/>
              <a:ext cx="295" cy="297"/>
            </a:xfrm>
            <a:prstGeom prst="rect">
              <a:avLst/>
            </a:prstGeom>
            <a:solidFill>
              <a:srgbClr val="C7FF4C"/>
            </a:solidFill>
            <a:ln w="12700" algn="ctr">
              <a:noFill/>
              <a:miter lim="800000"/>
              <a:headEnd/>
              <a:tailEnd/>
            </a:ln>
            <a:effectLst/>
          </p:spPr>
          <p:txBody>
            <a:bodyPr wrap="none" lIns="0" tIns="0" rIns="0" bIns="0" anchor="ctr"/>
            <a:lstStyle/>
            <a:p>
              <a:pPr algn="l" defTabSz="873125">
                <a:spcBef>
                  <a:spcPct val="0"/>
                </a:spcBef>
              </a:pPr>
              <a:endParaRPr lang="en-GB" sz="1000" b="0" dirty="0"/>
            </a:p>
          </p:txBody>
        </p:sp>
        <p:sp>
          <p:nvSpPr>
            <p:cNvPr id="65" name="Rectangle 14"/>
            <p:cNvSpPr>
              <a:spLocks noChangeArrowheads="1"/>
            </p:cNvSpPr>
            <p:nvPr/>
          </p:nvSpPr>
          <p:spPr bwMode="gray">
            <a:xfrm>
              <a:off x="1497" y="2774"/>
              <a:ext cx="216" cy="288"/>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000" b="0" dirty="0"/>
                <a:t>R 109</a:t>
              </a:r>
            </a:p>
            <a:p>
              <a:pPr algn="l" defTabSz="873125">
                <a:spcBef>
                  <a:spcPct val="0"/>
                </a:spcBef>
              </a:pPr>
              <a:r>
                <a:rPr lang="en-GB" sz="1000" b="0" dirty="0"/>
                <a:t>G 159</a:t>
              </a:r>
            </a:p>
            <a:p>
              <a:pPr algn="l" defTabSz="873125">
                <a:spcBef>
                  <a:spcPct val="0"/>
                </a:spcBef>
              </a:pPr>
              <a:r>
                <a:rPr lang="en-GB" sz="1000" b="0" dirty="0"/>
                <a:t>B 0</a:t>
              </a:r>
            </a:p>
          </p:txBody>
        </p:sp>
        <p:sp>
          <p:nvSpPr>
            <p:cNvPr id="66" name="Rectangle 14"/>
            <p:cNvSpPr>
              <a:spLocks noChangeArrowheads="1"/>
            </p:cNvSpPr>
            <p:nvPr/>
          </p:nvSpPr>
          <p:spPr bwMode="gray">
            <a:xfrm>
              <a:off x="1497" y="3451"/>
              <a:ext cx="216" cy="288"/>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000" b="0" dirty="0"/>
                <a:t>R 199</a:t>
              </a:r>
            </a:p>
            <a:p>
              <a:pPr algn="l" defTabSz="873125">
                <a:spcBef>
                  <a:spcPct val="0"/>
                </a:spcBef>
              </a:pPr>
              <a:r>
                <a:rPr lang="en-GB" sz="1000" b="0" dirty="0"/>
                <a:t>G 255</a:t>
              </a:r>
            </a:p>
            <a:p>
              <a:pPr algn="l" defTabSz="873125">
                <a:spcBef>
                  <a:spcPct val="0"/>
                </a:spcBef>
              </a:pPr>
              <a:r>
                <a:rPr lang="en-GB" sz="1000" b="0" dirty="0"/>
                <a:t>B 76</a:t>
              </a:r>
            </a:p>
          </p:txBody>
        </p:sp>
      </p:grpSp>
      <p:grpSp>
        <p:nvGrpSpPr>
          <p:cNvPr id="67" name="Group 49"/>
          <p:cNvGrpSpPr>
            <a:grpSpLocks/>
          </p:cNvGrpSpPr>
          <p:nvPr/>
        </p:nvGrpSpPr>
        <p:grpSpPr bwMode="gray">
          <a:xfrm>
            <a:off x="3254375" y="1393825"/>
            <a:ext cx="1173163" cy="4551363"/>
            <a:chOff x="2045" y="878"/>
            <a:chExt cx="739" cy="2867"/>
          </a:xfrm>
        </p:grpSpPr>
        <p:sp>
          <p:nvSpPr>
            <p:cNvPr id="68" name="Rectangle 16"/>
            <p:cNvSpPr>
              <a:spLocks noChangeArrowheads="1"/>
            </p:cNvSpPr>
            <p:nvPr/>
          </p:nvSpPr>
          <p:spPr bwMode="gray">
            <a:xfrm>
              <a:off x="2063" y="1680"/>
              <a:ext cx="449" cy="576"/>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000" dirty="0"/>
                <a:t>Mid Blue</a:t>
              </a:r>
            </a:p>
            <a:p>
              <a:pPr algn="l" defTabSz="873125">
                <a:spcBef>
                  <a:spcPct val="0"/>
                </a:spcBef>
              </a:pPr>
              <a:r>
                <a:rPr lang="en-GB" sz="1000" b="0" dirty="0"/>
                <a:t>Pantone 299</a:t>
              </a:r>
            </a:p>
            <a:p>
              <a:pPr algn="l" defTabSz="873125">
                <a:spcBef>
                  <a:spcPct val="0"/>
                </a:spcBef>
              </a:pPr>
              <a:endParaRPr lang="en-GB" sz="1000" b="0" dirty="0"/>
            </a:p>
            <a:p>
              <a:pPr algn="l" defTabSz="873125">
                <a:spcBef>
                  <a:spcPct val="0"/>
                </a:spcBef>
              </a:pPr>
              <a:r>
                <a:rPr lang="en-GB" sz="1000" b="0" dirty="0"/>
                <a:t>R 0</a:t>
              </a:r>
            </a:p>
            <a:p>
              <a:pPr algn="l" defTabSz="873125">
                <a:spcBef>
                  <a:spcPct val="0"/>
                </a:spcBef>
              </a:pPr>
              <a:r>
                <a:rPr lang="en-GB" sz="1000" b="0" dirty="0"/>
                <a:t>G 161</a:t>
              </a:r>
            </a:p>
            <a:p>
              <a:pPr algn="l" defTabSz="873125">
                <a:spcBef>
                  <a:spcPct val="0"/>
                </a:spcBef>
              </a:pPr>
              <a:r>
                <a:rPr lang="en-GB" sz="1000" b="0" dirty="0"/>
                <a:t>B 222</a:t>
              </a:r>
            </a:p>
          </p:txBody>
        </p:sp>
        <p:sp>
          <p:nvSpPr>
            <p:cNvPr id="69" name="Rectangle 27"/>
            <p:cNvSpPr>
              <a:spLocks noChangeArrowheads="1"/>
            </p:cNvSpPr>
            <p:nvPr/>
          </p:nvSpPr>
          <p:spPr bwMode="gray">
            <a:xfrm>
              <a:off x="2045" y="878"/>
              <a:ext cx="739" cy="744"/>
            </a:xfrm>
            <a:prstGeom prst="rect">
              <a:avLst/>
            </a:prstGeom>
            <a:solidFill>
              <a:srgbClr val="00A1DE"/>
            </a:solidFill>
            <a:ln w="12700" algn="ctr">
              <a:noFill/>
              <a:miter lim="800000"/>
              <a:headEnd/>
              <a:tailEnd/>
            </a:ln>
          </p:spPr>
          <p:txBody>
            <a:bodyPr wrap="none" lIns="0" tIns="0" rIns="0" bIns="0" anchor="ctr"/>
            <a:lstStyle/>
            <a:p>
              <a:pPr algn="l" defTabSz="873125">
                <a:spcBef>
                  <a:spcPct val="0"/>
                </a:spcBef>
              </a:pPr>
              <a:endParaRPr lang="en-GB" sz="1000" b="0" dirty="0"/>
            </a:p>
          </p:txBody>
        </p:sp>
        <p:sp>
          <p:nvSpPr>
            <p:cNvPr id="70" name="Rectangle 27"/>
            <p:cNvSpPr>
              <a:spLocks noChangeAspect="1" noChangeArrowheads="1"/>
            </p:cNvSpPr>
            <p:nvPr/>
          </p:nvSpPr>
          <p:spPr bwMode="gray">
            <a:xfrm>
              <a:off x="2055" y="2768"/>
              <a:ext cx="296" cy="298"/>
            </a:xfrm>
            <a:prstGeom prst="rect">
              <a:avLst/>
            </a:prstGeom>
            <a:solidFill>
              <a:schemeClr val="accent3">
                <a:lumMod val="75000"/>
              </a:schemeClr>
            </a:solidFill>
            <a:ln w="12700" algn="ctr">
              <a:noFill/>
              <a:miter lim="800000"/>
              <a:headEnd/>
              <a:tailEnd/>
            </a:ln>
          </p:spPr>
          <p:txBody>
            <a:bodyPr wrap="none" lIns="0" tIns="0" rIns="0" bIns="0" anchor="ctr"/>
            <a:lstStyle/>
            <a:p>
              <a:pPr algn="l" defTabSz="873125">
                <a:spcBef>
                  <a:spcPct val="0"/>
                </a:spcBef>
              </a:pPr>
              <a:endParaRPr lang="en-GB" sz="1000" b="0" dirty="0"/>
            </a:p>
          </p:txBody>
        </p:sp>
        <p:sp>
          <p:nvSpPr>
            <p:cNvPr id="71" name="Rectangle 27"/>
            <p:cNvSpPr>
              <a:spLocks noChangeAspect="1" noChangeArrowheads="1"/>
            </p:cNvSpPr>
            <p:nvPr/>
          </p:nvSpPr>
          <p:spPr bwMode="gray">
            <a:xfrm>
              <a:off x="2049" y="3448"/>
              <a:ext cx="296" cy="297"/>
            </a:xfrm>
            <a:prstGeom prst="rect">
              <a:avLst/>
            </a:prstGeom>
            <a:solidFill>
              <a:schemeClr val="accent3">
                <a:lumMod val="60000"/>
                <a:lumOff val="40000"/>
              </a:schemeClr>
            </a:solidFill>
            <a:ln w="12700" algn="ctr">
              <a:noFill/>
              <a:miter lim="800000"/>
              <a:headEnd/>
              <a:tailEnd/>
            </a:ln>
          </p:spPr>
          <p:txBody>
            <a:bodyPr wrap="none" lIns="0" tIns="0" rIns="0" bIns="0" anchor="ctr"/>
            <a:lstStyle/>
            <a:p>
              <a:pPr algn="l" defTabSz="873125">
                <a:spcBef>
                  <a:spcPct val="0"/>
                </a:spcBef>
              </a:pPr>
              <a:endParaRPr lang="en-GB" sz="1000" b="0" dirty="0"/>
            </a:p>
          </p:txBody>
        </p:sp>
        <p:sp>
          <p:nvSpPr>
            <p:cNvPr id="72" name="Rectangle 14"/>
            <p:cNvSpPr>
              <a:spLocks noChangeArrowheads="1"/>
            </p:cNvSpPr>
            <p:nvPr/>
          </p:nvSpPr>
          <p:spPr bwMode="gray">
            <a:xfrm>
              <a:off x="2401" y="2774"/>
              <a:ext cx="216" cy="288"/>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000" b="0" dirty="0"/>
                <a:t>R 0</a:t>
              </a:r>
            </a:p>
            <a:p>
              <a:pPr algn="l" defTabSz="873125">
                <a:spcBef>
                  <a:spcPct val="0"/>
                </a:spcBef>
              </a:pPr>
              <a:r>
                <a:rPr lang="en-GB" sz="1000" b="0" dirty="0"/>
                <a:t>G 121</a:t>
              </a:r>
            </a:p>
            <a:p>
              <a:pPr algn="l" defTabSz="873125">
                <a:spcBef>
                  <a:spcPct val="0"/>
                </a:spcBef>
              </a:pPr>
              <a:r>
                <a:rPr lang="en-GB" sz="1000" b="0" dirty="0"/>
                <a:t>B 166</a:t>
              </a:r>
            </a:p>
          </p:txBody>
        </p:sp>
        <p:sp>
          <p:nvSpPr>
            <p:cNvPr id="73" name="Rectangle 14"/>
            <p:cNvSpPr>
              <a:spLocks noChangeArrowheads="1"/>
            </p:cNvSpPr>
            <p:nvPr/>
          </p:nvSpPr>
          <p:spPr bwMode="gray">
            <a:xfrm>
              <a:off x="2401" y="3451"/>
              <a:ext cx="216" cy="288"/>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000" b="0" dirty="0"/>
                <a:t>R 82</a:t>
              </a:r>
            </a:p>
            <a:p>
              <a:pPr algn="l" defTabSz="873125">
                <a:spcBef>
                  <a:spcPct val="0"/>
                </a:spcBef>
              </a:pPr>
              <a:r>
                <a:rPr lang="en-GB" sz="1000" b="0" dirty="0"/>
                <a:t>G 208</a:t>
              </a:r>
            </a:p>
            <a:p>
              <a:pPr algn="l" defTabSz="873125">
                <a:spcBef>
                  <a:spcPct val="0"/>
                </a:spcBef>
              </a:pPr>
              <a:r>
                <a:rPr lang="en-GB" sz="1000" b="0" dirty="0"/>
                <a:t>B 255</a:t>
              </a:r>
            </a:p>
          </p:txBody>
        </p:sp>
      </p:grpSp>
      <p:grpSp>
        <p:nvGrpSpPr>
          <p:cNvPr id="74" name="Group 48"/>
          <p:cNvGrpSpPr>
            <a:grpSpLocks/>
          </p:cNvGrpSpPr>
          <p:nvPr/>
        </p:nvGrpSpPr>
        <p:grpSpPr bwMode="gray">
          <a:xfrm>
            <a:off x="4678363" y="1393825"/>
            <a:ext cx="1214437" cy="4551363"/>
            <a:chOff x="2959" y="878"/>
            <a:chExt cx="765" cy="2867"/>
          </a:xfrm>
        </p:grpSpPr>
        <p:sp>
          <p:nvSpPr>
            <p:cNvPr id="75" name="Rectangle 17"/>
            <p:cNvSpPr>
              <a:spLocks noChangeArrowheads="1"/>
            </p:cNvSpPr>
            <p:nvPr/>
          </p:nvSpPr>
          <p:spPr bwMode="gray">
            <a:xfrm>
              <a:off x="2962" y="1680"/>
              <a:ext cx="449" cy="576"/>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000" dirty="0"/>
                <a:t>Light Blue</a:t>
              </a:r>
            </a:p>
            <a:p>
              <a:pPr algn="l" defTabSz="873125">
                <a:spcBef>
                  <a:spcPct val="0"/>
                </a:spcBef>
              </a:pPr>
              <a:r>
                <a:rPr lang="en-GB" sz="1000" b="0" dirty="0"/>
                <a:t>Pantone 297</a:t>
              </a:r>
            </a:p>
            <a:p>
              <a:pPr algn="l" defTabSz="873125">
                <a:spcBef>
                  <a:spcPct val="0"/>
                </a:spcBef>
              </a:pPr>
              <a:endParaRPr lang="en-GB" sz="1000" b="0" dirty="0"/>
            </a:p>
            <a:p>
              <a:pPr algn="l" defTabSz="873125">
                <a:spcBef>
                  <a:spcPct val="0"/>
                </a:spcBef>
              </a:pPr>
              <a:r>
                <a:rPr lang="en-GB" sz="1000" b="0" dirty="0"/>
                <a:t>R 114</a:t>
              </a:r>
            </a:p>
            <a:p>
              <a:pPr algn="l" defTabSz="873125">
                <a:spcBef>
                  <a:spcPct val="0"/>
                </a:spcBef>
              </a:pPr>
              <a:r>
                <a:rPr lang="en-GB" sz="1000" b="0" dirty="0"/>
                <a:t>G 199</a:t>
              </a:r>
            </a:p>
            <a:p>
              <a:pPr algn="l" defTabSz="873125">
                <a:spcBef>
                  <a:spcPct val="0"/>
                </a:spcBef>
              </a:pPr>
              <a:r>
                <a:rPr lang="en-GB" sz="1000" b="0" dirty="0"/>
                <a:t>B 231</a:t>
              </a:r>
            </a:p>
          </p:txBody>
        </p:sp>
        <p:sp>
          <p:nvSpPr>
            <p:cNvPr id="76" name="Rectangle 28"/>
            <p:cNvSpPr>
              <a:spLocks noChangeArrowheads="1"/>
            </p:cNvSpPr>
            <p:nvPr/>
          </p:nvSpPr>
          <p:spPr bwMode="gray">
            <a:xfrm>
              <a:off x="2962" y="878"/>
              <a:ext cx="738" cy="744"/>
            </a:xfrm>
            <a:prstGeom prst="rect">
              <a:avLst/>
            </a:prstGeom>
            <a:solidFill>
              <a:srgbClr val="72C7E7"/>
            </a:solidFill>
            <a:ln w="12700" algn="ctr">
              <a:noFill/>
              <a:miter lim="800000"/>
              <a:headEnd/>
              <a:tailEnd/>
            </a:ln>
          </p:spPr>
          <p:txBody>
            <a:bodyPr wrap="none" lIns="0" tIns="0" rIns="0" bIns="0" anchor="ctr"/>
            <a:lstStyle/>
            <a:p>
              <a:pPr algn="l" defTabSz="873125">
                <a:spcBef>
                  <a:spcPct val="0"/>
                </a:spcBef>
              </a:pPr>
              <a:endParaRPr lang="en-GB" sz="1000" b="0" dirty="0"/>
            </a:p>
          </p:txBody>
        </p:sp>
        <p:sp>
          <p:nvSpPr>
            <p:cNvPr id="77" name="Rectangle 28"/>
            <p:cNvSpPr>
              <a:spLocks noChangeAspect="1" noChangeArrowheads="1"/>
            </p:cNvSpPr>
            <p:nvPr/>
          </p:nvSpPr>
          <p:spPr bwMode="gray">
            <a:xfrm>
              <a:off x="2959" y="2768"/>
              <a:ext cx="294" cy="298"/>
            </a:xfrm>
            <a:prstGeom prst="rect">
              <a:avLst/>
            </a:prstGeom>
            <a:solidFill>
              <a:schemeClr val="accent5">
                <a:lumMod val="75000"/>
              </a:schemeClr>
            </a:solidFill>
            <a:ln w="12700" algn="ctr">
              <a:noFill/>
              <a:miter lim="800000"/>
              <a:headEnd/>
              <a:tailEnd/>
            </a:ln>
          </p:spPr>
          <p:txBody>
            <a:bodyPr wrap="none" lIns="0" tIns="0" rIns="0" bIns="0" anchor="ctr"/>
            <a:lstStyle/>
            <a:p>
              <a:pPr algn="l" defTabSz="873125">
                <a:spcBef>
                  <a:spcPct val="0"/>
                </a:spcBef>
              </a:pPr>
              <a:endParaRPr lang="en-GB" sz="1000" b="0" dirty="0"/>
            </a:p>
          </p:txBody>
        </p:sp>
        <p:sp>
          <p:nvSpPr>
            <p:cNvPr id="78" name="Rectangle 28"/>
            <p:cNvSpPr>
              <a:spLocks noChangeAspect="1" noChangeArrowheads="1"/>
            </p:cNvSpPr>
            <p:nvPr/>
          </p:nvSpPr>
          <p:spPr bwMode="gray">
            <a:xfrm>
              <a:off x="2959" y="3448"/>
              <a:ext cx="294" cy="297"/>
            </a:xfrm>
            <a:prstGeom prst="rect">
              <a:avLst/>
            </a:prstGeom>
            <a:solidFill>
              <a:schemeClr val="accent5">
                <a:lumMod val="60000"/>
                <a:lumOff val="40000"/>
              </a:schemeClr>
            </a:solidFill>
            <a:ln w="12700" algn="ctr">
              <a:noFill/>
              <a:miter lim="800000"/>
              <a:headEnd/>
              <a:tailEnd/>
            </a:ln>
          </p:spPr>
          <p:txBody>
            <a:bodyPr wrap="none" lIns="0" tIns="0" rIns="0" bIns="0" anchor="ctr"/>
            <a:lstStyle/>
            <a:p>
              <a:pPr algn="l" defTabSz="873125">
                <a:spcBef>
                  <a:spcPct val="0"/>
                </a:spcBef>
              </a:pPr>
              <a:endParaRPr lang="en-GB" sz="1000" b="0" dirty="0"/>
            </a:p>
          </p:txBody>
        </p:sp>
        <p:sp>
          <p:nvSpPr>
            <p:cNvPr id="79" name="Rectangle 14"/>
            <p:cNvSpPr>
              <a:spLocks noChangeArrowheads="1"/>
            </p:cNvSpPr>
            <p:nvPr/>
          </p:nvSpPr>
          <p:spPr bwMode="gray">
            <a:xfrm>
              <a:off x="3318" y="2774"/>
              <a:ext cx="216" cy="288"/>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000" b="0" dirty="0"/>
                <a:t>R 40</a:t>
              </a:r>
            </a:p>
            <a:p>
              <a:pPr algn="l" defTabSz="873125">
                <a:spcBef>
                  <a:spcPct val="0"/>
                </a:spcBef>
              </a:pPr>
              <a:r>
                <a:rPr lang="en-GB" sz="1000" b="0" dirty="0"/>
                <a:t>G 170</a:t>
              </a:r>
            </a:p>
            <a:p>
              <a:pPr algn="l" defTabSz="873125">
                <a:spcBef>
                  <a:spcPct val="0"/>
                </a:spcBef>
              </a:pPr>
              <a:r>
                <a:rPr lang="en-GB" sz="1000" b="0" dirty="0"/>
                <a:t>B 218</a:t>
              </a:r>
            </a:p>
          </p:txBody>
        </p:sp>
        <p:sp>
          <p:nvSpPr>
            <p:cNvPr id="80" name="Rectangle 14"/>
            <p:cNvSpPr>
              <a:spLocks noChangeArrowheads="1"/>
            </p:cNvSpPr>
            <p:nvPr/>
          </p:nvSpPr>
          <p:spPr bwMode="gray">
            <a:xfrm>
              <a:off x="3318" y="3451"/>
              <a:ext cx="406" cy="288"/>
            </a:xfrm>
            <a:prstGeom prst="rect">
              <a:avLst/>
            </a:prstGeom>
            <a:noFill/>
            <a:ln w="12700" algn="ctr">
              <a:noFill/>
              <a:miter lim="800000"/>
              <a:headEnd/>
              <a:tailEnd/>
            </a:ln>
          </p:spPr>
          <p:txBody>
            <a:bodyPr lIns="0" tIns="0" rIns="0" bIns="0">
              <a:spAutoFit/>
            </a:bodyPr>
            <a:lstStyle/>
            <a:p>
              <a:pPr algn="l" defTabSz="873125">
                <a:spcBef>
                  <a:spcPct val="0"/>
                </a:spcBef>
              </a:pPr>
              <a:r>
                <a:rPr lang="en-GB" sz="1000" b="0" dirty="0"/>
                <a:t>R 170</a:t>
              </a:r>
            </a:p>
            <a:p>
              <a:pPr algn="l" defTabSz="873125">
                <a:spcBef>
                  <a:spcPct val="0"/>
                </a:spcBef>
              </a:pPr>
              <a:r>
                <a:rPr lang="en-GB" sz="1000" b="0" dirty="0"/>
                <a:t>G 221</a:t>
              </a:r>
            </a:p>
            <a:p>
              <a:pPr algn="l" defTabSz="873125">
                <a:spcBef>
                  <a:spcPct val="0"/>
                </a:spcBef>
              </a:pPr>
              <a:r>
                <a:rPr lang="en-GB" sz="1000" b="0" dirty="0"/>
                <a:t>B 241</a:t>
              </a:r>
            </a:p>
          </p:txBody>
        </p:sp>
      </p:grpSp>
      <p:grpSp>
        <p:nvGrpSpPr>
          <p:cNvPr id="81" name="Group 46"/>
          <p:cNvGrpSpPr>
            <a:grpSpLocks/>
          </p:cNvGrpSpPr>
          <p:nvPr/>
        </p:nvGrpSpPr>
        <p:grpSpPr bwMode="gray">
          <a:xfrm>
            <a:off x="6143625" y="1393825"/>
            <a:ext cx="1173163" cy="4551363"/>
            <a:chOff x="3876" y="878"/>
            <a:chExt cx="739" cy="2867"/>
          </a:xfrm>
        </p:grpSpPr>
        <p:sp>
          <p:nvSpPr>
            <p:cNvPr id="82" name="Rectangle 18"/>
            <p:cNvSpPr>
              <a:spLocks noChangeArrowheads="1"/>
            </p:cNvSpPr>
            <p:nvPr/>
          </p:nvSpPr>
          <p:spPr bwMode="gray">
            <a:xfrm>
              <a:off x="3878" y="1680"/>
              <a:ext cx="449" cy="576"/>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000" dirty="0"/>
                <a:t>Dark Green</a:t>
              </a:r>
            </a:p>
            <a:p>
              <a:pPr algn="l" defTabSz="873125">
                <a:spcBef>
                  <a:spcPct val="0"/>
                </a:spcBef>
              </a:pPr>
              <a:r>
                <a:rPr lang="en-GB" sz="1000" b="0" dirty="0"/>
                <a:t>Pantone 363</a:t>
              </a:r>
            </a:p>
            <a:p>
              <a:pPr algn="l" defTabSz="873125">
                <a:spcBef>
                  <a:spcPct val="0"/>
                </a:spcBef>
              </a:pPr>
              <a:endParaRPr lang="en-GB" sz="1000" b="0" dirty="0"/>
            </a:p>
            <a:p>
              <a:pPr algn="l" defTabSz="873125">
                <a:spcBef>
                  <a:spcPct val="0"/>
                </a:spcBef>
              </a:pPr>
              <a:r>
                <a:rPr lang="en-GB" sz="1000" b="0" dirty="0"/>
                <a:t>R 60</a:t>
              </a:r>
            </a:p>
            <a:p>
              <a:pPr algn="l" defTabSz="873125">
                <a:spcBef>
                  <a:spcPct val="0"/>
                </a:spcBef>
              </a:pPr>
              <a:r>
                <a:rPr lang="en-GB" sz="1000" b="0" dirty="0"/>
                <a:t>G 138</a:t>
              </a:r>
            </a:p>
            <a:p>
              <a:pPr algn="l" defTabSz="873125">
                <a:spcBef>
                  <a:spcPct val="0"/>
                </a:spcBef>
              </a:pPr>
              <a:r>
                <a:rPr lang="en-GB" sz="1000" b="0" dirty="0"/>
                <a:t>B </a:t>
              </a:r>
              <a:r>
                <a:rPr lang="en-GB" sz="1000" b="0" dirty="0" smtClean="0"/>
                <a:t>46</a:t>
              </a:r>
              <a:endParaRPr lang="en-GB" sz="1000" b="0" dirty="0"/>
            </a:p>
          </p:txBody>
        </p:sp>
        <p:sp>
          <p:nvSpPr>
            <p:cNvPr id="83" name="Rectangle 29"/>
            <p:cNvSpPr>
              <a:spLocks noChangeArrowheads="1"/>
            </p:cNvSpPr>
            <p:nvPr/>
          </p:nvSpPr>
          <p:spPr bwMode="gray">
            <a:xfrm>
              <a:off x="3876" y="878"/>
              <a:ext cx="739" cy="744"/>
            </a:xfrm>
            <a:prstGeom prst="rect">
              <a:avLst/>
            </a:prstGeom>
            <a:solidFill>
              <a:srgbClr val="3C8A2D"/>
            </a:solidFill>
            <a:ln w="12700" algn="ctr">
              <a:noFill/>
              <a:miter lim="800000"/>
              <a:headEnd/>
              <a:tailEnd/>
            </a:ln>
          </p:spPr>
          <p:txBody>
            <a:bodyPr wrap="none" lIns="0" tIns="0" rIns="0" bIns="0" anchor="ctr"/>
            <a:lstStyle/>
            <a:p>
              <a:pPr algn="l" defTabSz="873125">
                <a:spcBef>
                  <a:spcPct val="0"/>
                </a:spcBef>
              </a:pPr>
              <a:endParaRPr lang="en-GB" sz="1000" b="0" dirty="0"/>
            </a:p>
          </p:txBody>
        </p:sp>
        <p:sp>
          <p:nvSpPr>
            <p:cNvPr id="84" name="Rectangle 29"/>
            <p:cNvSpPr>
              <a:spLocks noChangeAspect="1" noChangeArrowheads="1"/>
            </p:cNvSpPr>
            <p:nvPr/>
          </p:nvSpPr>
          <p:spPr bwMode="gray">
            <a:xfrm>
              <a:off x="3878" y="2768"/>
              <a:ext cx="296" cy="298"/>
            </a:xfrm>
            <a:prstGeom prst="rect">
              <a:avLst/>
            </a:prstGeom>
            <a:solidFill>
              <a:schemeClr val="accent4">
                <a:lumMod val="75000"/>
              </a:schemeClr>
            </a:solidFill>
            <a:ln w="12700" algn="ctr">
              <a:noFill/>
              <a:miter lim="800000"/>
              <a:headEnd/>
              <a:tailEnd/>
            </a:ln>
          </p:spPr>
          <p:txBody>
            <a:bodyPr wrap="none" lIns="0" tIns="0" rIns="0" bIns="0" anchor="ctr"/>
            <a:lstStyle/>
            <a:p>
              <a:pPr algn="l" defTabSz="873125">
                <a:spcBef>
                  <a:spcPct val="0"/>
                </a:spcBef>
              </a:pPr>
              <a:endParaRPr lang="en-GB" sz="1000" b="0" dirty="0"/>
            </a:p>
          </p:txBody>
        </p:sp>
        <p:sp>
          <p:nvSpPr>
            <p:cNvPr id="85" name="Rectangle 29"/>
            <p:cNvSpPr>
              <a:spLocks noChangeAspect="1" noChangeArrowheads="1"/>
            </p:cNvSpPr>
            <p:nvPr/>
          </p:nvSpPr>
          <p:spPr bwMode="gray">
            <a:xfrm>
              <a:off x="3878" y="3448"/>
              <a:ext cx="296" cy="297"/>
            </a:xfrm>
            <a:prstGeom prst="rect">
              <a:avLst/>
            </a:prstGeom>
            <a:solidFill>
              <a:schemeClr val="accent4">
                <a:lumMod val="60000"/>
                <a:lumOff val="40000"/>
              </a:schemeClr>
            </a:solidFill>
            <a:ln w="12700" algn="ctr">
              <a:noFill/>
              <a:miter lim="800000"/>
              <a:headEnd/>
              <a:tailEnd/>
            </a:ln>
          </p:spPr>
          <p:txBody>
            <a:bodyPr wrap="none" lIns="0" tIns="0" rIns="0" bIns="0" anchor="ctr"/>
            <a:lstStyle/>
            <a:p>
              <a:pPr algn="l" defTabSz="873125">
                <a:spcBef>
                  <a:spcPct val="0"/>
                </a:spcBef>
              </a:pPr>
              <a:endParaRPr lang="en-GB" sz="1000" b="0" dirty="0"/>
            </a:p>
          </p:txBody>
        </p:sp>
        <p:sp>
          <p:nvSpPr>
            <p:cNvPr id="86" name="Rectangle 14"/>
            <p:cNvSpPr>
              <a:spLocks noChangeArrowheads="1"/>
            </p:cNvSpPr>
            <p:nvPr/>
          </p:nvSpPr>
          <p:spPr bwMode="gray">
            <a:xfrm>
              <a:off x="4233" y="2774"/>
              <a:ext cx="216" cy="288"/>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000" b="0" dirty="0"/>
                <a:t>R 45</a:t>
              </a:r>
            </a:p>
            <a:p>
              <a:pPr algn="l" defTabSz="873125">
                <a:spcBef>
                  <a:spcPct val="0"/>
                </a:spcBef>
              </a:pPr>
              <a:r>
                <a:rPr lang="en-GB" sz="1000" b="0" dirty="0"/>
                <a:t>G 104</a:t>
              </a:r>
            </a:p>
            <a:p>
              <a:pPr algn="l" defTabSz="873125">
                <a:spcBef>
                  <a:spcPct val="0"/>
                </a:spcBef>
              </a:pPr>
              <a:r>
                <a:rPr lang="en-GB" sz="1000" b="0" dirty="0"/>
                <a:t>B 35</a:t>
              </a:r>
            </a:p>
          </p:txBody>
        </p:sp>
        <p:sp>
          <p:nvSpPr>
            <p:cNvPr id="87" name="Rectangle 14"/>
            <p:cNvSpPr>
              <a:spLocks noChangeArrowheads="1"/>
            </p:cNvSpPr>
            <p:nvPr/>
          </p:nvSpPr>
          <p:spPr bwMode="gray">
            <a:xfrm>
              <a:off x="4233" y="3451"/>
              <a:ext cx="216" cy="288"/>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000" b="0" dirty="0"/>
                <a:t>R 123</a:t>
              </a:r>
            </a:p>
            <a:p>
              <a:pPr algn="l" defTabSz="873125">
                <a:spcBef>
                  <a:spcPct val="0"/>
                </a:spcBef>
              </a:pPr>
              <a:r>
                <a:rPr lang="en-GB" sz="1000" b="0" dirty="0"/>
                <a:t>G 206</a:t>
              </a:r>
            </a:p>
            <a:p>
              <a:pPr algn="l" defTabSz="873125">
                <a:spcBef>
                  <a:spcPct val="0"/>
                </a:spcBef>
              </a:pPr>
              <a:r>
                <a:rPr lang="en-GB" sz="1000" b="0" dirty="0"/>
                <a:t>B 108</a:t>
              </a:r>
            </a:p>
          </p:txBody>
        </p:sp>
      </p:grpSp>
      <p:grpSp>
        <p:nvGrpSpPr>
          <p:cNvPr id="88" name="Group 47"/>
          <p:cNvGrpSpPr>
            <a:grpSpLocks/>
          </p:cNvGrpSpPr>
          <p:nvPr/>
        </p:nvGrpSpPr>
        <p:grpSpPr bwMode="gray">
          <a:xfrm>
            <a:off x="7567613" y="1393825"/>
            <a:ext cx="1171575" cy="4551363"/>
            <a:chOff x="4757" y="878"/>
            <a:chExt cx="738" cy="2867"/>
          </a:xfrm>
        </p:grpSpPr>
        <p:sp>
          <p:nvSpPr>
            <p:cNvPr id="89" name="Rectangle 19"/>
            <p:cNvSpPr>
              <a:spLocks noChangeArrowheads="1"/>
            </p:cNvSpPr>
            <p:nvPr/>
          </p:nvSpPr>
          <p:spPr bwMode="gray">
            <a:xfrm>
              <a:off x="4759" y="1680"/>
              <a:ext cx="449" cy="576"/>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000" dirty="0"/>
                <a:t>Light Green</a:t>
              </a:r>
            </a:p>
            <a:p>
              <a:pPr algn="l" defTabSz="873125">
                <a:spcBef>
                  <a:spcPct val="0"/>
                </a:spcBef>
              </a:pPr>
              <a:r>
                <a:rPr lang="en-GB" sz="1000" b="0" dirty="0"/>
                <a:t>Pantone 381</a:t>
              </a:r>
            </a:p>
            <a:p>
              <a:pPr algn="l" defTabSz="873125">
                <a:spcBef>
                  <a:spcPct val="0"/>
                </a:spcBef>
              </a:pPr>
              <a:endParaRPr lang="en-GB" sz="1000" b="0" dirty="0"/>
            </a:p>
            <a:p>
              <a:pPr algn="l" defTabSz="873125">
                <a:spcBef>
                  <a:spcPct val="0"/>
                </a:spcBef>
              </a:pPr>
              <a:r>
                <a:rPr lang="en-GB" sz="1000" b="0" dirty="0"/>
                <a:t>R 201</a:t>
              </a:r>
            </a:p>
            <a:p>
              <a:pPr algn="l" defTabSz="873125">
                <a:spcBef>
                  <a:spcPct val="0"/>
                </a:spcBef>
              </a:pPr>
              <a:r>
                <a:rPr lang="en-GB" sz="1000" b="0" dirty="0"/>
                <a:t>G 221</a:t>
              </a:r>
            </a:p>
            <a:p>
              <a:pPr algn="l" defTabSz="873125">
                <a:spcBef>
                  <a:spcPct val="0"/>
                </a:spcBef>
              </a:pPr>
              <a:r>
                <a:rPr lang="en-GB" sz="1000" b="0" dirty="0"/>
                <a:t>B 3</a:t>
              </a:r>
            </a:p>
          </p:txBody>
        </p:sp>
        <p:sp>
          <p:nvSpPr>
            <p:cNvPr id="90" name="Rectangle 30"/>
            <p:cNvSpPr>
              <a:spLocks noChangeArrowheads="1"/>
            </p:cNvSpPr>
            <p:nvPr/>
          </p:nvSpPr>
          <p:spPr bwMode="gray">
            <a:xfrm>
              <a:off x="4758" y="878"/>
              <a:ext cx="737" cy="744"/>
            </a:xfrm>
            <a:prstGeom prst="rect">
              <a:avLst/>
            </a:prstGeom>
            <a:solidFill>
              <a:srgbClr val="C9DD03"/>
            </a:solidFill>
            <a:ln w="12700" algn="ctr">
              <a:noFill/>
              <a:miter lim="800000"/>
              <a:headEnd/>
              <a:tailEnd/>
            </a:ln>
          </p:spPr>
          <p:txBody>
            <a:bodyPr wrap="none" lIns="0" tIns="0" rIns="0" bIns="0" anchor="ctr"/>
            <a:lstStyle/>
            <a:p>
              <a:pPr algn="l" defTabSz="873125">
                <a:spcBef>
                  <a:spcPct val="0"/>
                </a:spcBef>
              </a:pPr>
              <a:endParaRPr lang="en-GB" sz="1000" b="0" dirty="0"/>
            </a:p>
          </p:txBody>
        </p:sp>
        <p:sp>
          <p:nvSpPr>
            <p:cNvPr id="91" name="Rectangle 30"/>
            <p:cNvSpPr>
              <a:spLocks noChangeAspect="1" noChangeArrowheads="1"/>
            </p:cNvSpPr>
            <p:nvPr/>
          </p:nvSpPr>
          <p:spPr bwMode="gray">
            <a:xfrm>
              <a:off x="4757" y="2768"/>
              <a:ext cx="294" cy="298"/>
            </a:xfrm>
            <a:prstGeom prst="rect">
              <a:avLst/>
            </a:prstGeom>
            <a:solidFill>
              <a:schemeClr val="accent6">
                <a:lumMod val="75000"/>
              </a:schemeClr>
            </a:solidFill>
            <a:ln w="12700" algn="ctr">
              <a:noFill/>
              <a:miter lim="800000"/>
              <a:headEnd/>
              <a:tailEnd/>
            </a:ln>
          </p:spPr>
          <p:txBody>
            <a:bodyPr wrap="none" lIns="0" tIns="0" rIns="0" bIns="0" anchor="ctr"/>
            <a:lstStyle/>
            <a:p>
              <a:pPr algn="l" defTabSz="873125">
                <a:spcBef>
                  <a:spcPct val="0"/>
                </a:spcBef>
              </a:pPr>
              <a:endParaRPr lang="en-GB" sz="1000" b="0" dirty="0"/>
            </a:p>
          </p:txBody>
        </p:sp>
        <p:sp>
          <p:nvSpPr>
            <p:cNvPr id="92" name="Rectangle 30"/>
            <p:cNvSpPr>
              <a:spLocks noChangeAspect="1" noChangeArrowheads="1"/>
            </p:cNvSpPr>
            <p:nvPr/>
          </p:nvSpPr>
          <p:spPr bwMode="gray">
            <a:xfrm>
              <a:off x="4757" y="3448"/>
              <a:ext cx="294" cy="297"/>
            </a:xfrm>
            <a:prstGeom prst="rect">
              <a:avLst/>
            </a:prstGeom>
            <a:solidFill>
              <a:schemeClr val="accent6">
                <a:lumMod val="60000"/>
                <a:lumOff val="40000"/>
              </a:schemeClr>
            </a:solidFill>
            <a:ln w="12700" algn="ctr">
              <a:noFill/>
              <a:miter lim="800000"/>
              <a:headEnd/>
              <a:tailEnd/>
            </a:ln>
          </p:spPr>
          <p:txBody>
            <a:bodyPr wrap="none" lIns="0" tIns="0" rIns="0" bIns="0" anchor="ctr"/>
            <a:lstStyle/>
            <a:p>
              <a:pPr algn="l" defTabSz="873125">
                <a:spcBef>
                  <a:spcPct val="0"/>
                </a:spcBef>
              </a:pPr>
              <a:endParaRPr lang="en-GB" sz="1000" b="0" dirty="0"/>
            </a:p>
          </p:txBody>
        </p:sp>
        <p:sp>
          <p:nvSpPr>
            <p:cNvPr id="93" name="Rectangle 14"/>
            <p:cNvSpPr>
              <a:spLocks noChangeArrowheads="1"/>
            </p:cNvSpPr>
            <p:nvPr/>
          </p:nvSpPr>
          <p:spPr bwMode="gray">
            <a:xfrm>
              <a:off x="5108" y="2774"/>
              <a:ext cx="216" cy="288"/>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000" b="0" dirty="0"/>
                <a:t>R 151</a:t>
              </a:r>
            </a:p>
            <a:p>
              <a:pPr algn="l" defTabSz="873125">
                <a:spcBef>
                  <a:spcPct val="0"/>
                </a:spcBef>
              </a:pPr>
              <a:r>
                <a:rPr lang="en-GB" sz="1000" b="0" dirty="0"/>
                <a:t>G 166</a:t>
              </a:r>
            </a:p>
            <a:p>
              <a:pPr algn="l" defTabSz="873125">
                <a:spcBef>
                  <a:spcPct val="0"/>
                </a:spcBef>
              </a:pPr>
              <a:r>
                <a:rPr lang="en-GB" sz="1000" b="0" dirty="0"/>
                <a:t>B 2</a:t>
              </a:r>
            </a:p>
          </p:txBody>
        </p:sp>
        <p:sp>
          <p:nvSpPr>
            <p:cNvPr id="94" name="Rectangle 14"/>
            <p:cNvSpPr>
              <a:spLocks noChangeArrowheads="1"/>
            </p:cNvSpPr>
            <p:nvPr/>
          </p:nvSpPr>
          <p:spPr bwMode="gray">
            <a:xfrm>
              <a:off x="5108" y="3451"/>
              <a:ext cx="216" cy="288"/>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000" b="0" dirty="0"/>
                <a:t>R 237</a:t>
              </a:r>
            </a:p>
            <a:p>
              <a:pPr algn="l" defTabSz="873125">
                <a:spcBef>
                  <a:spcPct val="0"/>
                </a:spcBef>
              </a:pPr>
              <a:r>
                <a:rPr lang="en-GB" sz="1000" b="0" dirty="0"/>
                <a:t>G 253</a:t>
              </a:r>
            </a:p>
            <a:p>
              <a:pPr algn="l" defTabSz="873125">
                <a:spcBef>
                  <a:spcPct val="0"/>
                </a:spcBef>
              </a:pPr>
              <a:r>
                <a:rPr lang="en-GB" sz="1000" b="0" dirty="0"/>
                <a:t>B 86</a:t>
              </a:r>
            </a:p>
          </p:txBody>
        </p:sp>
      </p:grpSp>
      <p:grpSp>
        <p:nvGrpSpPr>
          <p:cNvPr id="95" name="Group 51"/>
          <p:cNvGrpSpPr>
            <a:grpSpLocks/>
          </p:cNvGrpSpPr>
          <p:nvPr/>
        </p:nvGrpSpPr>
        <p:grpSpPr bwMode="gray">
          <a:xfrm>
            <a:off x="398463" y="1393825"/>
            <a:ext cx="1181100" cy="4551363"/>
            <a:chOff x="246" y="878"/>
            <a:chExt cx="744" cy="2867"/>
          </a:xfrm>
        </p:grpSpPr>
        <p:sp>
          <p:nvSpPr>
            <p:cNvPr id="96" name="Rectangle 14"/>
            <p:cNvSpPr>
              <a:spLocks noChangeArrowheads="1"/>
            </p:cNvSpPr>
            <p:nvPr/>
          </p:nvSpPr>
          <p:spPr bwMode="gray">
            <a:xfrm>
              <a:off x="266" y="1680"/>
              <a:ext cx="488" cy="576"/>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000" dirty="0"/>
                <a:t>Deloitte Blue</a:t>
              </a:r>
            </a:p>
            <a:p>
              <a:pPr algn="l" defTabSz="873125">
                <a:spcBef>
                  <a:spcPct val="0"/>
                </a:spcBef>
              </a:pPr>
              <a:r>
                <a:rPr lang="en-GB" sz="1000" b="0" dirty="0"/>
                <a:t>Pantone 280</a:t>
              </a:r>
            </a:p>
            <a:p>
              <a:pPr algn="l" defTabSz="873125">
                <a:spcBef>
                  <a:spcPct val="0"/>
                </a:spcBef>
              </a:pPr>
              <a:endParaRPr lang="en-GB" sz="1000" b="0" dirty="0"/>
            </a:p>
            <a:p>
              <a:pPr algn="l" defTabSz="873125">
                <a:spcBef>
                  <a:spcPct val="0"/>
                </a:spcBef>
              </a:pPr>
              <a:r>
                <a:rPr lang="en-GB" sz="1000" b="0" dirty="0"/>
                <a:t>R 0</a:t>
              </a:r>
            </a:p>
            <a:p>
              <a:pPr algn="l" defTabSz="873125">
                <a:spcBef>
                  <a:spcPct val="0"/>
                </a:spcBef>
              </a:pPr>
              <a:r>
                <a:rPr lang="en-GB" sz="1000" b="0" dirty="0"/>
                <a:t>G 39</a:t>
              </a:r>
            </a:p>
            <a:p>
              <a:pPr algn="l" defTabSz="873125">
                <a:spcBef>
                  <a:spcPct val="0"/>
                </a:spcBef>
              </a:pPr>
              <a:r>
                <a:rPr lang="en-GB" sz="1000" b="0" dirty="0"/>
                <a:t>B 118</a:t>
              </a:r>
            </a:p>
          </p:txBody>
        </p:sp>
        <p:sp>
          <p:nvSpPr>
            <p:cNvPr id="97" name="Rectangle 25"/>
            <p:cNvSpPr>
              <a:spLocks noChangeArrowheads="1"/>
            </p:cNvSpPr>
            <p:nvPr/>
          </p:nvSpPr>
          <p:spPr bwMode="gray">
            <a:xfrm>
              <a:off x="251" y="878"/>
              <a:ext cx="739" cy="744"/>
            </a:xfrm>
            <a:prstGeom prst="rect">
              <a:avLst/>
            </a:prstGeom>
            <a:solidFill>
              <a:srgbClr val="002776"/>
            </a:solidFill>
            <a:ln w="12700" algn="ctr">
              <a:noFill/>
              <a:miter lim="800000"/>
              <a:headEnd/>
              <a:tailEnd/>
            </a:ln>
          </p:spPr>
          <p:txBody>
            <a:bodyPr wrap="none" lIns="0" tIns="0" rIns="0" bIns="0" anchor="ctr"/>
            <a:lstStyle/>
            <a:p>
              <a:pPr algn="l" defTabSz="873125">
                <a:spcBef>
                  <a:spcPct val="0"/>
                </a:spcBef>
              </a:pPr>
              <a:endParaRPr lang="en-GB" sz="1000" b="0" dirty="0"/>
            </a:p>
          </p:txBody>
        </p:sp>
        <p:sp>
          <p:nvSpPr>
            <p:cNvPr id="98" name="Rectangle 25"/>
            <p:cNvSpPr>
              <a:spLocks noChangeAspect="1" noChangeArrowheads="1"/>
            </p:cNvSpPr>
            <p:nvPr/>
          </p:nvSpPr>
          <p:spPr bwMode="gray">
            <a:xfrm>
              <a:off x="252" y="2768"/>
              <a:ext cx="295" cy="298"/>
            </a:xfrm>
            <a:prstGeom prst="rect">
              <a:avLst/>
            </a:prstGeom>
            <a:solidFill>
              <a:schemeClr val="tx2">
                <a:lumMod val="75000"/>
              </a:schemeClr>
            </a:solidFill>
            <a:ln w="12700" algn="ctr">
              <a:noFill/>
              <a:miter lim="800000"/>
              <a:headEnd/>
              <a:tailEnd/>
            </a:ln>
          </p:spPr>
          <p:txBody>
            <a:bodyPr wrap="none" lIns="0" tIns="0" rIns="0" bIns="0" anchor="ctr"/>
            <a:lstStyle/>
            <a:p>
              <a:pPr algn="l" defTabSz="873125">
                <a:spcBef>
                  <a:spcPct val="0"/>
                </a:spcBef>
              </a:pPr>
              <a:endParaRPr lang="en-GB" sz="1000" b="0" dirty="0"/>
            </a:p>
          </p:txBody>
        </p:sp>
        <p:sp>
          <p:nvSpPr>
            <p:cNvPr id="99" name="Rectangle 25"/>
            <p:cNvSpPr>
              <a:spLocks noChangeAspect="1" noChangeArrowheads="1"/>
            </p:cNvSpPr>
            <p:nvPr/>
          </p:nvSpPr>
          <p:spPr bwMode="gray">
            <a:xfrm>
              <a:off x="252" y="3448"/>
              <a:ext cx="295" cy="297"/>
            </a:xfrm>
            <a:prstGeom prst="rect">
              <a:avLst/>
            </a:prstGeom>
            <a:solidFill>
              <a:schemeClr val="tx2">
                <a:lumMod val="60000"/>
                <a:lumOff val="40000"/>
              </a:schemeClr>
            </a:solidFill>
            <a:ln w="12700" algn="ctr">
              <a:noFill/>
              <a:miter lim="800000"/>
              <a:headEnd/>
              <a:tailEnd/>
            </a:ln>
          </p:spPr>
          <p:txBody>
            <a:bodyPr wrap="none" lIns="0" tIns="0" rIns="0" bIns="0" anchor="ctr"/>
            <a:lstStyle/>
            <a:p>
              <a:pPr algn="l" defTabSz="873125">
                <a:spcBef>
                  <a:spcPct val="0"/>
                </a:spcBef>
              </a:pPr>
              <a:endParaRPr lang="en-GB" sz="1000" b="0" dirty="0"/>
            </a:p>
          </p:txBody>
        </p:sp>
        <p:sp>
          <p:nvSpPr>
            <p:cNvPr id="100" name="Rectangle 14"/>
            <p:cNvSpPr>
              <a:spLocks noChangeArrowheads="1"/>
            </p:cNvSpPr>
            <p:nvPr/>
          </p:nvSpPr>
          <p:spPr bwMode="gray">
            <a:xfrm>
              <a:off x="608" y="2774"/>
              <a:ext cx="172" cy="288"/>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000" b="0" dirty="0"/>
                <a:t>R 0</a:t>
              </a:r>
            </a:p>
            <a:p>
              <a:pPr algn="l" defTabSz="873125">
                <a:spcBef>
                  <a:spcPct val="0"/>
                </a:spcBef>
              </a:pPr>
              <a:r>
                <a:rPr lang="en-GB" sz="1000" b="0" dirty="0"/>
                <a:t>G 29</a:t>
              </a:r>
            </a:p>
            <a:p>
              <a:pPr algn="l" defTabSz="873125">
                <a:spcBef>
                  <a:spcPct val="0"/>
                </a:spcBef>
              </a:pPr>
              <a:r>
                <a:rPr lang="en-GB" sz="1000" b="0" dirty="0"/>
                <a:t>B 89</a:t>
              </a:r>
            </a:p>
          </p:txBody>
        </p:sp>
        <p:sp>
          <p:nvSpPr>
            <p:cNvPr id="101" name="Rectangle 14"/>
            <p:cNvSpPr>
              <a:spLocks noChangeArrowheads="1"/>
            </p:cNvSpPr>
            <p:nvPr/>
          </p:nvSpPr>
          <p:spPr bwMode="gray">
            <a:xfrm>
              <a:off x="608" y="3451"/>
              <a:ext cx="207" cy="288"/>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000" b="0" dirty="0"/>
                <a:t>R 20</a:t>
              </a:r>
            </a:p>
            <a:p>
              <a:pPr algn="l" defTabSz="873125">
                <a:spcBef>
                  <a:spcPct val="0"/>
                </a:spcBef>
              </a:pPr>
              <a:r>
                <a:rPr lang="en-GB" sz="1000" b="0" dirty="0"/>
                <a:t>G 98</a:t>
              </a:r>
            </a:p>
            <a:p>
              <a:pPr algn="l" defTabSz="873125">
                <a:spcBef>
                  <a:spcPct val="0"/>
                </a:spcBef>
              </a:pPr>
              <a:r>
                <a:rPr lang="en-GB" sz="1000" b="0" dirty="0"/>
                <a:t>B 255</a:t>
              </a:r>
            </a:p>
          </p:txBody>
        </p:sp>
        <p:sp>
          <p:nvSpPr>
            <p:cNvPr id="102" name="Rectangle 14"/>
            <p:cNvSpPr>
              <a:spLocks noChangeArrowheads="1"/>
            </p:cNvSpPr>
            <p:nvPr/>
          </p:nvSpPr>
          <p:spPr bwMode="gray">
            <a:xfrm>
              <a:off x="246" y="2575"/>
              <a:ext cx="489" cy="97"/>
            </a:xfrm>
            <a:prstGeom prst="rect">
              <a:avLst/>
            </a:prstGeom>
            <a:noFill/>
            <a:ln w="12700" algn="ctr">
              <a:noFill/>
              <a:miter lim="800000"/>
              <a:headEnd/>
              <a:tailEnd/>
            </a:ln>
          </p:spPr>
          <p:txBody>
            <a:bodyPr lIns="0" tIns="0" rIns="0" bIns="0">
              <a:spAutoFit/>
            </a:bodyPr>
            <a:lstStyle/>
            <a:p>
              <a:pPr algn="l" defTabSz="873125">
                <a:spcBef>
                  <a:spcPct val="0"/>
                </a:spcBef>
              </a:pPr>
              <a:r>
                <a:rPr lang="en-GB" sz="1000" dirty="0"/>
                <a:t>Darker 25%</a:t>
              </a:r>
            </a:p>
          </p:txBody>
        </p:sp>
        <p:sp>
          <p:nvSpPr>
            <p:cNvPr id="103" name="Rectangle 14"/>
            <p:cNvSpPr>
              <a:spLocks noChangeArrowheads="1"/>
            </p:cNvSpPr>
            <p:nvPr/>
          </p:nvSpPr>
          <p:spPr bwMode="gray">
            <a:xfrm>
              <a:off x="246" y="3303"/>
              <a:ext cx="489" cy="97"/>
            </a:xfrm>
            <a:prstGeom prst="rect">
              <a:avLst/>
            </a:prstGeom>
            <a:noFill/>
            <a:ln w="12700" algn="ctr">
              <a:noFill/>
              <a:miter lim="800000"/>
              <a:headEnd/>
              <a:tailEnd/>
            </a:ln>
          </p:spPr>
          <p:txBody>
            <a:bodyPr lIns="0" tIns="0" rIns="0" bIns="0">
              <a:spAutoFit/>
            </a:bodyPr>
            <a:lstStyle/>
            <a:p>
              <a:pPr algn="l" defTabSz="873125">
                <a:spcBef>
                  <a:spcPct val="0"/>
                </a:spcBef>
              </a:pPr>
              <a:r>
                <a:rPr lang="en-GB" sz="1000" dirty="0"/>
                <a:t>Lighter 40%</a:t>
              </a:r>
            </a:p>
          </p:txBody>
        </p:sp>
      </p:gr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66" name="Text Box 10"/>
          <p:cNvSpPr txBox="1">
            <a:spLocks noChangeArrowheads="1"/>
          </p:cNvSpPr>
          <p:nvPr/>
        </p:nvSpPr>
        <p:spPr bwMode="auto">
          <a:xfrm>
            <a:off x="387350" y="1595145"/>
            <a:ext cx="1987550" cy="206769"/>
          </a:xfrm>
          <a:prstGeom prst="rect">
            <a:avLst/>
          </a:prstGeom>
          <a:solidFill>
            <a:srgbClr val="00A1DE"/>
          </a:solidFill>
          <a:ln w="12700" algn="ctr">
            <a:solidFill>
              <a:srgbClr val="00A1DE"/>
            </a:solidFill>
            <a:miter lim="800000"/>
            <a:headEnd/>
            <a:tailEnd type="none" w="sm" len="med"/>
          </a:ln>
        </p:spPr>
        <p:txBody>
          <a:bodyPr lIns="40118" tIns="36000" rIns="40118" bIns="36000" anchor="ctr" anchorCtr="1"/>
          <a:lstStyle/>
          <a:p>
            <a:pPr defTabSz="957263"/>
            <a:r>
              <a:rPr lang="en-US" sz="1200" b="1" dirty="0">
                <a:solidFill>
                  <a:srgbClr val="FFFFFF"/>
                </a:solidFill>
              </a:rPr>
              <a:t>Introduction</a:t>
            </a:r>
          </a:p>
        </p:txBody>
      </p:sp>
      <p:sp>
        <p:nvSpPr>
          <p:cNvPr id="240667" name="Rectangle 11"/>
          <p:cNvSpPr>
            <a:spLocks noChangeArrowheads="1"/>
          </p:cNvSpPr>
          <p:nvPr/>
        </p:nvSpPr>
        <p:spPr bwMode="auto">
          <a:xfrm>
            <a:off x="387350" y="1808414"/>
            <a:ext cx="1987550" cy="753518"/>
          </a:xfrm>
          <a:prstGeom prst="rect">
            <a:avLst/>
          </a:prstGeom>
          <a:noFill/>
          <a:ln w="12700" algn="ctr">
            <a:solidFill>
              <a:srgbClr val="00A1DE"/>
            </a:solidFill>
            <a:miter lim="800000"/>
            <a:headEnd/>
            <a:tailEnd/>
          </a:ln>
        </p:spPr>
        <p:txBody>
          <a:bodyPr lIns="0" tIns="40118" rIns="0" bIns="40118" anchor="ctr" anchorCtr="1"/>
          <a:lstStyle/>
          <a:p>
            <a:pPr marL="117475" indent="-117475" algn="l" defTabSz="957263">
              <a:spcBef>
                <a:spcPts val="0"/>
              </a:spcBef>
              <a:spcAft>
                <a:spcPts val="300"/>
              </a:spcAft>
              <a:buFont typeface="Arial" charset="0"/>
              <a:buChar char="•"/>
            </a:pPr>
            <a:r>
              <a:rPr lang="fr-FR" sz="1200" b="0" dirty="0">
                <a:solidFill>
                  <a:schemeClr val="tx2"/>
                </a:solidFill>
              </a:rPr>
              <a:t>Situation: </a:t>
            </a:r>
            <a:r>
              <a:rPr lang="fr-FR" sz="1200" b="0" dirty="0" err="1">
                <a:solidFill>
                  <a:schemeClr val="tx2"/>
                </a:solidFill>
              </a:rPr>
              <a:t>Text</a:t>
            </a:r>
            <a:r>
              <a:rPr lang="fr-FR" sz="1200" b="0" dirty="0">
                <a:solidFill>
                  <a:schemeClr val="tx2"/>
                </a:solidFill>
              </a:rPr>
              <a:t>	</a:t>
            </a:r>
          </a:p>
          <a:p>
            <a:pPr marL="117475" indent="-117475" algn="l" defTabSz="957263">
              <a:spcBef>
                <a:spcPts val="0"/>
              </a:spcBef>
              <a:spcAft>
                <a:spcPts val="300"/>
              </a:spcAft>
              <a:buFont typeface="Arial" charset="0"/>
              <a:buChar char="•"/>
            </a:pPr>
            <a:r>
              <a:rPr lang="fr-FR" sz="1200" b="0" dirty="0">
                <a:solidFill>
                  <a:schemeClr val="tx2"/>
                </a:solidFill>
              </a:rPr>
              <a:t>Complication: </a:t>
            </a:r>
            <a:r>
              <a:rPr lang="fr-FR" sz="1200" b="0" dirty="0" err="1">
                <a:solidFill>
                  <a:schemeClr val="tx2"/>
                </a:solidFill>
              </a:rPr>
              <a:t>Text</a:t>
            </a:r>
            <a:endParaRPr lang="fr-FR" sz="1200" b="0" dirty="0">
              <a:solidFill>
                <a:schemeClr val="tx2"/>
              </a:solidFill>
            </a:endParaRPr>
          </a:p>
          <a:p>
            <a:pPr marL="117475" indent="-117475" algn="l" defTabSz="957263">
              <a:spcBef>
                <a:spcPts val="0"/>
              </a:spcBef>
              <a:spcAft>
                <a:spcPts val="300"/>
              </a:spcAft>
              <a:buFont typeface="Arial" charset="0"/>
              <a:buChar char="•"/>
            </a:pPr>
            <a:r>
              <a:rPr lang="fr-FR" sz="1200" b="0" dirty="0">
                <a:solidFill>
                  <a:schemeClr val="tx2"/>
                </a:solidFill>
              </a:rPr>
              <a:t>Question: </a:t>
            </a:r>
            <a:r>
              <a:rPr lang="fr-FR" sz="1200" b="0" dirty="0" err="1">
                <a:solidFill>
                  <a:schemeClr val="tx2"/>
                </a:solidFill>
              </a:rPr>
              <a:t>Text</a:t>
            </a:r>
            <a:endParaRPr lang="fr-FR" sz="1200" b="0" dirty="0">
              <a:solidFill>
                <a:schemeClr val="tx2"/>
              </a:solidFill>
            </a:endParaRPr>
          </a:p>
        </p:txBody>
      </p:sp>
      <p:cxnSp>
        <p:nvCxnSpPr>
          <p:cNvPr id="23" name="AutoShape 7"/>
          <p:cNvCxnSpPr>
            <a:cxnSpLocks noChangeShapeType="1"/>
          </p:cNvCxnSpPr>
          <p:nvPr>
            <p:custDataLst>
              <p:tags r:id="rId2"/>
            </p:custDataLst>
          </p:nvPr>
        </p:nvCxnSpPr>
        <p:spPr bwMode="auto">
          <a:xfrm flipV="1">
            <a:off x="2374900" y="2167140"/>
            <a:ext cx="142875" cy="2188"/>
          </a:xfrm>
          <a:prstGeom prst="straightConnector1">
            <a:avLst/>
          </a:prstGeom>
          <a:noFill/>
          <a:ln w="12700">
            <a:solidFill>
              <a:schemeClr val="tx2"/>
            </a:solidFill>
            <a:round/>
            <a:headEnd/>
            <a:tailEnd type="triangle" w="med" len="med"/>
          </a:ln>
        </p:spPr>
      </p:cxnSp>
      <p:sp>
        <p:nvSpPr>
          <p:cNvPr id="240645" name="Title 1"/>
          <p:cNvSpPr>
            <a:spLocks noGrp="1"/>
          </p:cNvSpPr>
          <p:nvPr>
            <p:ph type="title"/>
            <p:custDataLst>
              <p:tags r:id="rId3"/>
            </p:custDataLst>
          </p:nvPr>
        </p:nvSpPr>
        <p:spPr>
          <a:xfrm>
            <a:off x="414338" y="446038"/>
            <a:ext cx="8330184" cy="333425"/>
          </a:xfrm>
        </p:spPr>
        <p:txBody>
          <a:bodyPr/>
          <a:lstStyle/>
          <a:p>
            <a:r>
              <a:rPr lang="nl-NL"/>
              <a:t>Logic trees </a:t>
            </a:r>
            <a:r>
              <a:rPr lang="en-US"/>
              <a:t>—</a:t>
            </a:r>
            <a:r>
              <a:rPr lang="nl-NL" smtClean="0"/>
              <a:t> </a:t>
            </a:r>
            <a:r>
              <a:rPr lang="nl-NL"/>
              <a:t>hypothesis tree</a:t>
            </a:r>
          </a:p>
        </p:txBody>
      </p:sp>
      <p:sp>
        <p:nvSpPr>
          <p:cNvPr id="4" name="Rectangle 3"/>
          <p:cNvSpPr>
            <a:spLocks noChangeArrowheads="1"/>
          </p:cNvSpPr>
          <p:nvPr>
            <p:custDataLst>
              <p:tags r:id="rId4"/>
            </p:custDataLst>
          </p:nvPr>
        </p:nvSpPr>
        <p:spPr bwMode="auto">
          <a:xfrm>
            <a:off x="384175" y="3333199"/>
            <a:ext cx="1981200" cy="2418063"/>
          </a:xfrm>
          <a:prstGeom prst="rect">
            <a:avLst/>
          </a:prstGeom>
          <a:noFill/>
          <a:ln w="12700" algn="ctr">
            <a:solidFill>
              <a:schemeClr val="accent3"/>
            </a:solidFill>
            <a:miter lim="800000"/>
            <a:headEnd type="none" w="sm" len="sm"/>
            <a:tailEnd type="none" w="sm" len="sm"/>
          </a:ln>
        </p:spPr>
        <p:txBody>
          <a:bodyPr lIns="45720" tIns="45720" rIns="18000" bIns="18000"/>
          <a:lstStyle/>
          <a:p>
            <a:pPr marL="117475" lvl="1" indent="-117475" algn="l" defTabSz="957998">
              <a:lnSpc>
                <a:spcPct val="106000"/>
              </a:lnSpc>
              <a:spcBef>
                <a:spcPts val="1344"/>
              </a:spcBef>
              <a:spcAft>
                <a:spcPts val="0"/>
              </a:spcAft>
              <a:buFont typeface="Arial" charset="0"/>
              <a:buChar char="•"/>
              <a:defRPr/>
            </a:pPr>
            <a:r>
              <a:rPr lang="en-US" sz="1200" b="0" dirty="0">
                <a:solidFill>
                  <a:srgbClr val="002776"/>
                </a:solidFill>
                <a:latin typeface="Arial"/>
                <a:ea typeface="+mj-ea"/>
                <a:cs typeface="+mj-cs"/>
              </a:rPr>
              <a:t>Slide hypothesis</a:t>
            </a:r>
          </a:p>
          <a:p>
            <a:pPr marL="285750" lvl="2" indent="-168275" algn="l" defTabSz="957998">
              <a:lnSpc>
                <a:spcPct val="106000"/>
              </a:lnSpc>
              <a:spcBef>
                <a:spcPct val="40000"/>
              </a:spcBef>
              <a:spcAft>
                <a:spcPts val="0"/>
              </a:spcAft>
              <a:buFont typeface="Arial" charset="0"/>
              <a:buChar char="‒"/>
              <a:defRPr/>
            </a:pPr>
            <a:r>
              <a:rPr lang="en-US" sz="1200" b="0" dirty="0">
                <a:solidFill>
                  <a:srgbClr val="002776"/>
                </a:solidFill>
                <a:latin typeface="Arial"/>
                <a:ea typeface="+mj-ea"/>
                <a:cs typeface="+mj-cs"/>
              </a:rPr>
              <a:t>Dash</a:t>
            </a:r>
          </a:p>
        </p:txBody>
      </p:sp>
      <p:sp>
        <p:nvSpPr>
          <p:cNvPr id="5" name="Rectangle 4"/>
          <p:cNvSpPr>
            <a:spLocks noChangeArrowheads="1"/>
          </p:cNvSpPr>
          <p:nvPr>
            <p:custDataLst>
              <p:tags r:id="rId5"/>
            </p:custDataLst>
          </p:nvPr>
        </p:nvSpPr>
        <p:spPr bwMode="auto">
          <a:xfrm>
            <a:off x="2511425" y="3333200"/>
            <a:ext cx="1981200" cy="2418062"/>
          </a:xfrm>
          <a:prstGeom prst="rect">
            <a:avLst/>
          </a:prstGeom>
          <a:noFill/>
          <a:ln w="12700" algn="ctr">
            <a:solidFill>
              <a:schemeClr val="accent3"/>
            </a:solidFill>
            <a:miter lim="800000"/>
            <a:headEnd type="none" w="sm" len="sm"/>
            <a:tailEnd type="none" w="sm" len="sm"/>
          </a:ln>
        </p:spPr>
        <p:txBody>
          <a:bodyPr lIns="45720" tIns="45720" rIns="18000" bIns="18000"/>
          <a:lstStyle/>
          <a:p>
            <a:pPr marL="117475" lvl="1" indent="-117475" algn="l" defTabSz="957998">
              <a:lnSpc>
                <a:spcPct val="106000"/>
              </a:lnSpc>
              <a:spcBef>
                <a:spcPts val="1344"/>
              </a:spcBef>
              <a:spcAft>
                <a:spcPts val="0"/>
              </a:spcAft>
              <a:buFont typeface="Arial" charset="0"/>
              <a:buChar char="•"/>
              <a:defRPr/>
            </a:pPr>
            <a:r>
              <a:rPr lang="en-US" sz="1200" b="0" dirty="0" smtClean="0">
                <a:solidFill>
                  <a:srgbClr val="002776"/>
                </a:solidFill>
                <a:latin typeface="Arial"/>
              </a:rPr>
              <a:t>Slide hypothesis</a:t>
            </a:r>
          </a:p>
          <a:p>
            <a:pPr marL="285750" lvl="2" indent="-168275" algn="l" defTabSz="957998">
              <a:lnSpc>
                <a:spcPct val="106000"/>
              </a:lnSpc>
              <a:spcBef>
                <a:spcPct val="40000"/>
              </a:spcBef>
              <a:spcAft>
                <a:spcPts val="0"/>
              </a:spcAft>
              <a:buFont typeface="Arial" charset="0"/>
              <a:buChar char="‒"/>
              <a:defRPr/>
            </a:pPr>
            <a:r>
              <a:rPr lang="en-US" sz="1200" b="0" dirty="0" smtClean="0">
                <a:solidFill>
                  <a:srgbClr val="002776"/>
                </a:solidFill>
                <a:latin typeface="Arial"/>
              </a:rPr>
              <a:t>Dash</a:t>
            </a:r>
            <a:endParaRPr lang="en-US" sz="1200" b="0" dirty="0">
              <a:solidFill>
                <a:srgbClr val="002776"/>
              </a:solidFill>
              <a:latin typeface="Arial"/>
            </a:endParaRPr>
          </a:p>
        </p:txBody>
      </p:sp>
      <p:sp>
        <p:nvSpPr>
          <p:cNvPr id="6" name="Rectangle 5"/>
          <p:cNvSpPr>
            <a:spLocks noChangeArrowheads="1"/>
          </p:cNvSpPr>
          <p:nvPr>
            <p:custDataLst>
              <p:tags r:id="rId6"/>
            </p:custDataLst>
          </p:nvPr>
        </p:nvSpPr>
        <p:spPr bwMode="auto">
          <a:xfrm>
            <a:off x="4638675" y="3333199"/>
            <a:ext cx="1981200" cy="2416435"/>
          </a:xfrm>
          <a:prstGeom prst="rect">
            <a:avLst/>
          </a:prstGeom>
          <a:noFill/>
          <a:ln w="12700" algn="ctr">
            <a:solidFill>
              <a:schemeClr val="accent3"/>
            </a:solidFill>
            <a:miter lim="800000"/>
            <a:headEnd type="none" w="sm" len="sm"/>
            <a:tailEnd type="none" w="sm" len="sm"/>
          </a:ln>
        </p:spPr>
        <p:txBody>
          <a:bodyPr lIns="45720" tIns="45720" rIns="18000" bIns="18000"/>
          <a:lstStyle/>
          <a:p>
            <a:pPr marL="117475" lvl="1" indent="-117475" algn="l" defTabSz="957998">
              <a:lnSpc>
                <a:spcPct val="106000"/>
              </a:lnSpc>
              <a:spcBef>
                <a:spcPts val="1344"/>
              </a:spcBef>
              <a:spcAft>
                <a:spcPts val="0"/>
              </a:spcAft>
              <a:buFont typeface="Arial" charset="0"/>
              <a:buChar char="•"/>
              <a:defRPr/>
            </a:pPr>
            <a:r>
              <a:rPr lang="en-US" sz="1200" b="0" dirty="0" smtClean="0">
                <a:solidFill>
                  <a:srgbClr val="002776"/>
                </a:solidFill>
                <a:latin typeface="Arial"/>
              </a:rPr>
              <a:t>Slide hypothesis</a:t>
            </a:r>
          </a:p>
          <a:p>
            <a:pPr marL="285750" lvl="2" indent="-168275" algn="l" defTabSz="957998">
              <a:lnSpc>
                <a:spcPct val="106000"/>
              </a:lnSpc>
              <a:spcBef>
                <a:spcPct val="40000"/>
              </a:spcBef>
              <a:spcAft>
                <a:spcPts val="0"/>
              </a:spcAft>
              <a:buFont typeface="Arial" charset="0"/>
              <a:buChar char="‒"/>
              <a:defRPr/>
            </a:pPr>
            <a:r>
              <a:rPr lang="en-US" sz="1200" b="0" dirty="0" smtClean="0">
                <a:solidFill>
                  <a:srgbClr val="002776"/>
                </a:solidFill>
                <a:latin typeface="Arial"/>
              </a:rPr>
              <a:t>Dash</a:t>
            </a:r>
            <a:endParaRPr lang="en-US" sz="1200" b="0" dirty="0">
              <a:solidFill>
                <a:srgbClr val="002776"/>
              </a:solidFill>
              <a:latin typeface="Arial"/>
            </a:endParaRPr>
          </a:p>
        </p:txBody>
      </p:sp>
      <p:sp>
        <p:nvSpPr>
          <p:cNvPr id="7" name="Rectangle 6"/>
          <p:cNvSpPr>
            <a:spLocks noChangeArrowheads="1"/>
          </p:cNvSpPr>
          <p:nvPr>
            <p:custDataLst>
              <p:tags r:id="rId7"/>
            </p:custDataLst>
          </p:nvPr>
        </p:nvSpPr>
        <p:spPr bwMode="auto">
          <a:xfrm>
            <a:off x="6765925" y="3333200"/>
            <a:ext cx="1981200" cy="2418062"/>
          </a:xfrm>
          <a:prstGeom prst="rect">
            <a:avLst/>
          </a:prstGeom>
          <a:noFill/>
          <a:ln w="12700" algn="ctr">
            <a:solidFill>
              <a:schemeClr val="accent3"/>
            </a:solidFill>
            <a:miter lim="800000"/>
            <a:headEnd type="none" w="sm" len="sm"/>
            <a:tailEnd type="none" w="sm" len="sm"/>
          </a:ln>
        </p:spPr>
        <p:txBody>
          <a:bodyPr lIns="45720" tIns="45720" rIns="18000" bIns="18000"/>
          <a:lstStyle/>
          <a:p>
            <a:pPr marL="117475" lvl="1" indent="-117475" algn="l" defTabSz="957998">
              <a:lnSpc>
                <a:spcPct val="106000"/>
              </a:lnSpc>
              <a:spcBef>
                <a:spcPts val="1344"/>
              </a:spcBef>
              <a:spcAft>
                <a:spcPts val="0"/>
              </a:spcAft>
              <a:buFont typeface="Arial" charset="0"/>
              <a:buChar char="•"/>
              <a:defRPr/>
            </a:pPr>
            <a:r>
              <a:rPr lang="en-US" sz="1200" b="0" dirty="0" smtClean="0">
                <a:solidFill>
                  <a:srgbClr val="002776"/>
                </a:solidFill>
                <a:latin typeface="Arial"/>
              </a:rPr>
              <a:t>Slide hypothesis</a:t>
            </a:r>
          </a:p>
          <a:p>
            <a:pPr marL="285750" lvl="2" indent="-168275" algn="l" defTabSz="957998">
              <a:lnSpc>
                <a:spcPct val="106000"/>
              </a:lnSpc>
              <a:spcBef>
                <a:spcPct val="40000"/>
              </a:spcBef>
              <a:spcAft>
                <a:spcPts val="0"/>
              </a:spcAft>
              <a:buFont typeface="Arial" charset="0"/>
              <a:buChar char="‒"/>
              <a:defRPr/>
            </a:pPr>
            <a:r>
              <a:rPr lang="en-US" sz="1200" b="0" dirty="0" smtClean="0">
                <a:solidFill>
                  <a:srgbClr val="002776"/>
                </a:solidFill>
                <a:latin typeface="Arial"/>
              </a:rPr>
              <a:t>Dash</a:t>
            </a:r>
            <a:endParaRPr lang="en-US" sz="1200" b="0" dirty="0">
              <a:solidFill>
                <a:srgbClr val="002776"/>
              </a:solidFill>
              <a:latin typeface="Arial"/>
            </a:endParaRPr>
          </a:p>
        </p:txBody>
      </p:sp>
      <p:grpSp>
        <p:nvGrpSpPr>
          <p:cNvPr id="2" name="Group 12"/>
          <p:cNvGrpSpPr>
            <a:grpSpLocks/>
          </p:cNvGrpSpPr>
          <p:nvPr>
            <p:custDataLst>
              <p:tags r:id="rId8"/>
            </p:custDataLst>
          </p:nvPr>
        </p:nvGrpSpPr>
        <p:grpSpPr bwMode="auto">
          <a:xfrm>
            <a:off x="387350" y="2676372"/>
            <a:ext cx="1979613" cy="543352"/>
            <a:chOff x="300" y="873"/>
            <a:chExt cx="1847" cy="450"/>
          </a:xfrm>
        </p:grpSpPr>
        <p:sp>
          <p:nvSpPr>
            <p:cNvPr id="240664" name="Text Box 10"/>
            <p:cNvSpPr txBox="1">
              <a:spLocks noChangeArrowheads="1"/>
            </p:cNvSpPr>
            <p:nvPr/>
          </p:nvSpPr>
          <p:spPr bwMode="auto">
            <a:xfrm>
              <a:off x="300" y="873"/>
              <a:ext cx="1847" cy="160"/>
            </a:xfrm>
            <a:prstGeom prst="rect">
              <a:avLst/>
            </a:prstGeom>
            <a:solidFill>
              <a:srgbClr val="00A1DE"/>
            </a:solidFill>
            <a:ln w="12700" algn="ctr">
              <a:solidFill>
                <a:srgbClr val="00A1DE"/>
              </a:solidFill>
              <a:miter lim="800000"/>
              <a:headEnd/>
              <a:tailEnd type="none" w="sm" len="med"/>
            </a:ln>
          </p:spPr>
          <p:txBody>
            <a:bodyPr lIns="40118" tIns="36000" rIns="40118" bIns="36000" anchor="ctr" anchorCtr="1"/>
            <a:lstStyle/>
            <a:p>
              <a:pPr defTabSz="957263"/>
              <a:r>
                <a:rPr lang="en-US" sz="1200" b="1" dirty="0">
                  <a:solidFill>
                    <a:srgbClr val="FFFFFF"/>
                  </a:solidFill>
                </a:rPr>
                <a:t>Chapter X</a:t>
              </a:r>
            </a:p>
          </p:txBody>
        </p:sp>
        <p:sp>
          <p:nvSpPr>
            <p:cNvPr id="13" name="Rectangle 11"/>
            <p:cNvSpPr>
              <a:spLocks noChangeArrowheads="1"/>
            </p:cNvSpPr>
            <p:nvPr/>
          </p:nvSpPr>
          <p:spPr bwMode="auto">
            <a:xfrm>
              <a:off x="300" y="1031"/>
              <a:ext cx="1847" cy="292"/>
            </a:xfrm>
            <a:prstGeom prst="rect">
              <a:avLst/>
            </a:prstGeom>
            <a:noFill/>
            <a:ln w="12700" algn="ctr">
              <a:solidFill>
                <a:srgbClr val="00A1DE"/>
              </a:solidFill>
              <a:miter lim="800000"/>
              <a:headEnd/>
              <a:tailEnd/>
            </a:ln>
          </p:spPr>
          <p:txBody>
            <a:bodyPr lIns="40118" tIns="40118" rIns="40118" bIns="40118" anchor="ctr"/>
            <a:lstStyle/>
            <a:p>
              <a:pPr algn="ctr" defTabSz="957998">
                <a:spcAft>
                  <a:spcPts val="300"/>
                </a:spcAft>
                <a:defRPr/>
              </a:pPr>
              <a:r>
                <a:rPr lang="en-US" sz="1200" kern="0" dirty="0">
                  <a:solidFill>
                    <a:srgbClr val="002776"/>
                  </a:solidFill>
                  <a:latin typeface="Arial"/>
                </a:rPr>
                <a:t>Supporting </a:t>
              </a:r>
              <a:r>
                <a:rPr lang="en-US" sz="1200" dirty="0">
                  <a:solidFill>
                    <a:srgbClr val="002776"/>
                  </a:solidFill>
                  <a:latin typeface="Arial"/>
                </a:rPr>
                <a:t>hypothesis</a:t>
              </a:r>
              <a:endParaRPr lang="en-US" sz="1200" kern="0" dirty="0">
                <a:solidFill>
                  <a:srgbClr val="002776"/>
                </a:solidFill>
                <a:latin typeface="Arial"/>
              </a:endParaRPr>
            </a:p>
          </p:txBody>
        </p:sp>
      </p:grpSp>
      <p:graphicFrame>
        <p:nvGraphicFramePr>
          <p:cNvPr id="240642" name="Rectangle 2" hidden="1"/>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64195" name="think-cell Slide" r:id="rId15" imgW="0" imgH="0" progId="">
                  <p:embed/>
                </p:oleObj>
              </mc:Choice>
              <mc:Fallback>
                <p:oleObj name="think-cell Slide" r:id="rId1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0656" name="Text Box 10"/>
          <p:cNvSpPr txBox="1">
            <a:spLocks noChangeArrowheads="1"/>
          </p:cNvSpPr>
          <p:nvPr/>
        </p:nvSpPr>
        <p:spPr bwMode="auto">
          <a:xfrm>
            <a:off x="2517775" y="1591970"/>
            <a:ext cx="6229350" cy="207114"/>
          </a:xfrm>
          <a:prstGeom prst="rect">
            <a:avLst/>
          </a:prstGeom>
          <a:solidFill>
            <a:srgbClr val="00A1DE"/>
          </a:solidFill>
          <a:ln w="12700" algn="ctr">
            <a:solidFill>
              <a:srgbClr val="00A1DE"/>
            </a:solidFill>
            <a:miter lim="800000"/>
            <a:headEnd/>
            <a:tailEnd type="none" w="sm" len="med"/>
          </a:ln>
        </p:spPr>
        <p:txBody>
          <a:bodyPr lIns="40118" tIns="36000" rIns="40118" bIns="36000" anchor="ctr" anchorCtr="1"/>
          <a:lstStyle/>
          <a:p>
            <a:pPr defTabSz="957263"/>
            <a:r>
              <a:rPr lang="en-US" sz="1200" b="1" dirty="0">
                <a:solidFill>
                  <a:srgbClr val="FFFFFF"/>
                </a:solidFill>
              </a:rPr>
              <a:t>Answer</a:t>
            </a:r>
          </a:p>
        </p:txBody>
      </p:sp>
      <p:sp>
        <p:nvSpPr>
          <p:cNvPr id="240657" name="Rectangle 11"/>
          <p:cNvSpPr>
            <a:spLocks noChangeArrowheads="1"/>
          </p:cNvSpPr>
          <p:nvPr/>
        </p:nvSpPr>
        <p:spPr bwMode="auto">
          <a:xfrm>
            <a:off x="2517775" y="1808414"/>
            <a:ext cx="6229350" cy="751956"/>
          </a:xfrm>
          <a:prstGeom prst="rect">
            <a:avLst/>
          </a:prstGeom>
          <a:noFill/>
          <a:ln w="12700" algn="ctr">
            <a:solidFill>
              <a:srgbClr val="00A1DE"/>
            </a:solidFill>
            <a:miter lim="800000"/>
            <a:headEnd/>
            <a:tailEnd/>
          </a:ln>
        </p:spPr>
        <p:txBody>
          <a:bodyPr lIns="40118" tIns="40118" rIns="40118" bIns="40118" anchor="ctr" anchorCtr="1"/>
          <a:lstStyle/>
          <a:p>
            <a:pPr marL="180975" indent="-180975" defTabSz="957263">
              <a:spcAft>
                <a:spcPts val="300"/>
              </a:spcAft>
            </a:pPr>
            <a:r>
              <a:rPr lang="fr-FR" sz="1200" dirty="0">
                <a:solidFill>
                  <a:schemeClr val="tx2"/>
                </a:solidFill>
              </a:rPr>
              <a:t>Main hypothesis</a:t>
            </a:r>
          </a:p>
        </p:txBody>
      </p:sp>
      <p:grpSp>
        <p:nvGrpSpPr>
          <p:cNvPr id="3" name="Group 12"/>
          <p:cNvGrpSpPr>
            <a:grpSpLocks/>
          </p:cNvGrpSpPr>
          <p:nvPr>
            <p:custDataLst>
              <p:tags r:id="rId10"/>
            </p:custDataLst>
          </p:nvPr>
        </p:nvGrpSpPr>
        <p:grpSpPr bwMode="auto">
          <a:xfrm>
            <a:off x="2506573" y="2673497"/>
            <a:ext cx="1979613" cy="543352"/>
            <a:chOff x="300" y="873"/>
            <a:chExt cx="1847" cy="450"/>
          </a:xfrm>
        </p:grpSpPr>
        <p:sp>
          <p:nvSpPr>
            <p:cNvPr id="29" name="Text Box 10"/>
            <p:cNvSpPr txBox="1">
              <a:spLocks noChangeArrowheads="1"/>
            </p:cNvSpPr>
            <p:nvPr/>
          </p:nvSpPr>
          <p:spPr bwMode="auto">
            <a:xfrm>
              <a:off x="300" y="873"/>
              <a:ext cx="1847" cy="160"/>
            </a:xfrm>
            <a:prstGeom prst="rect">
              <a:avLst/>
            </a:prstGeom>
            <a:solidFill>
              <a:srgbClr val="00A1DE"/>
            </a:solidFill>
            <a:ln w="12700" algn="ctr">
              <a:solidFill>
                <a:srgbClr val="00A1DE"/>
              </a:solidFill>
              <a:miter lim="800000"/>
              <a:headEnd/>
              <a:tailEnd type="none" w="sm" len="med"/>
            </a:ln>
          </p:spPr>
          <p:txBody>
            <a:bodyPr lIns="40118" tIns="36000" rIns="40118" bIns="36000" anchor="ctr" anchorCtr="1"/>
            <a:lstStyle/>
            <a:p>
              <a:pPr defTabSz="957263"/>
              <a:r>
                <a:rPr lang="en-US" sz="1200" b="1" dirty="0">
                  <a:solidFill>
                    <a:srgbClr val="FFFFFF"/>
                  </a:solidFill>
                </a:rPr>
                <a:t>Chapter X</a:t>
              </a:r>
              <a:endParaRPr lang="en-US" sz="1400" b="1" dirty="0">
                <a:solidFill>
                  <a:srgbClr val="FFFFFF"/>
                </a:solidFill>
              </a:endParaRPr>
            </a:p>
          </p:txBody>
        </p:sp>
        <p:sp>
          <p:nvSpPr>
            <p:cNvPr id="30" name="Rectangle 11"/>
            <p:cNvSpPr>
              <a:spLocks noChangeArrowheads="1"/>
            </p:cNvSpPr>
            <p:nvPr/>
          </p:nvSpPr>
          <p:spPr bwMode="auto">
            <a:xfrm>
              <a:off x="300" y="1031"/>
              <a:ext cx="1847" cy="292"/>
            </a:xfrm>
            <a:prstGeom prst="rect">
              <a:avLst/>
            </a:prstGeom>
            <a:noFill/>
            <a:ln w="12700" algn="ctr">
              <a:solidFill>
                <a:srgbClr val="00A1DE"/>
              </a:solidFill>
              <a:miter lim="800000"/>
              <a:headEnd/>
              <a:tailEnd/>
            </a:ln>
          </p:spPr>
          <p:txBody>
            <a:bodyPr lIns="40118" tIns="40118" rIns="40118" bIns="40118" anchor="ctr"/>
            <a:lstStyle/>
            <a:p>
              <a:pPr defTabSz="957998">
                <a:spcAft>
                  <a:spcPts val="300"/>
                </a:spcAft>
                <a:defRPr/>
              </a:pPr>
              <a:r>
                <a:rPr lang="en-US" sz="1200" kern="0" dirty="0" smtClean="0">
                  <a:solidFill>
                    <a:srgbClr val="002776"/>
                  </a:solidFill>
                  <a:latin typeface="Arial"/>
                </a:rPr>
                <a:t>Supporting </a:t>
              </a:r>
              <a:r>
                <a:rPr lang="en-US" sz="1200" dirty="0" smtClean="0">
                  <a:solidFill>
                    <a:srgbClr val="002776"/>
                  </a:solidFill>
                  <a:latin typeface="Arial"/>
                </a:rPr>
                <a:t>hypothesis</a:t>
              </a:r>
              <a:endParaRPr lang="en-US" sz="1200" kern="0" dirty="0">
                <a:solidFill>
                  <a:srgbClr val="002776"/>
                </a:solidFill>
                <a:latin typeface="Arial"/>
              </a:endParaRPr>
            </a:p>
          </p:txBody>
        </p:sp>
      </p:grpSp>
      <p:grpSp>
        <p:nvGrpSpPr>
          <p:cNvPr id="8" name="Group 12"/>
          <p:cNvGrpSpPr>
            <a:grpSpLocks/>
          </p:cNvGrpSpPr>
          <p:nvPr>
            <p:custDataLst>
              <p:tags r:id="rId11"/>
            </p:custDataLst>
          </p:nvPr>
        </p:nvGrpSpPr>
        <p:grpSpPr bwMode="auto">
          <a:xfrm>
            <a:off x="4637296" y="2673497"/>
            <a:ext cx="1979613" cy="543352"/>
            <a:chOff x="300" y="873"/>
            <a:chExt cx="1847" cy="450"/>
          </a:xfrm>
        </p:grpSpPr>
        <p:sp>
          <p:nvSpPr>
            <p:cNvPr id="38" name="Text Box 10"/>
            <p:cNvSpPr txBox="1">
              <a:spLocks noChangeArrowheads="1"/>
            </p:cNvSpPr>
            <p:nvPr/>
          </p:nvSpPr>
          <p:spPr bwMode="auto">
            <a:xfrm>
              <a:off x="300" y="873"/>
              <a:ext cx="1847" cy="160"/>
            </a:xfrm>
            <a:prstGeom prst="rect">
              <a:avLst/>
            </a:prstGeom>
            <a:solidFill>
              <a:srgbClr val="00A1DE"/>
            </a:solidFill>
            <a:ln w="12700" algn="ctr">
              <a:solidFill>
                <a:srgbClr val="00A1DE"/>
              </a:solidFill>
              <a:miter lim="800000"/>
              <a:headEnd/>
              <a:tailEnd type="none" w="sm" len="med"/>
            </a:ln>
          </p:spPr>
          <p:txBody>
            <a:bodyPr lIns="40118" tIns="36000" rIns="40118" bIns="36000" anchor="ctr" anchorCtr="1"/>
            <a:lstStyle/>
            <a:p>
              <a:pPr defTabSz="957263"/>
              <a:r>
                <a:rPr lang="en-US" sz="1200" b="1" dirty="0">
                  <a:solidFill>
                    <a:srgbClr val="FFFFFF"/>
                  </a:solidFill>
                </a:rPr>
                <a:t>Chapter X</a:t>
              </a:r>
              <a:endParaRPr lang="en-US" sz="1400" b="1" dirty="0">
                <a:solidFill>
                  <a:srgbClr val="FFFFFF"/>
                </a:solidFill>
              </a:endParaRPr>
            </a:p>
          </p:txBody>
        </p:sp>
        <p:sp>
          <p:nvSpPr>
            <p:cNvPr id="39" name="Rectangle 11"/>
            <p:cNvSpPr>
              <a:spLocks noChangeArrowheads="1"/>
            </p:cNvSpPr>
            <p:nvPr/>
          </p:nvSpPr>
          <p:spPr bwMode="auto">
            <a:xfrm>
              <a:off x="300" y="1031"/>
              <a:ext cx="1847" cy="292"/>
            </a:xfrm>
            <a:prstGeom prst="rect">
              <a:avLst/>
            </a:prstGeom>
            <a:noFill/>
            <a:ln w="12700" algn="ctr">
              <a:solidFill>
                <a:srgbClr val="00A1DE"/>
              </a:solidFill>
              <a:miter lim="800000"/>
              <a:headEnd/>
              <a:tailEnd/>
            </a:ln>
          </p:spPr>
          <p:txBody>
            <a:bodyPr lIns="40118" tIns="40118" rIns="40118" bIns="40118" anchor="ctr"/>
            <a:lstStyle/>
            <a:p>
              <a:pPr algn="ctr" defTabSz="957998">
                <a:spcAft>
                  <a:spcPts val="300"/>
                </a:spcAft>
                <a:defRPr/>
              </a:pPr>
              <a:r>
                <a:rPr lang="en-US" sz="1200" kern="0" dirty="0">
                  <a:solidFill>
                    <a:srgbClr val="002776"/>
                  </a:solidFill>
                  <a:latin typeface="Arial"/>
                </a:rPr>
                <a:t>Supporting </a:t>
              </a:r>
              <a:r>
                <a:rPr lang="en-US" sz="1200" dirty="0">
                  <a:solidFill>
                    <a:srgbClr val="002776"/>
                  </a:solidFill>
                  <a:latin typeface="Arial"/>
                </a:rPr>
                <a:t>hypothesis</a:t>
              </a:r>
              <a:endParaRPr lang="en-US" sz="1200" kern="0" dirty="0">
                <a:solidFill>
                  <a:srgbClr val="002776"/>
                </a:solidFill>
                <a:latin typeface="Arial"/>
              </a:endParaRPr>
            </a:p>
          </p:txBody>
        </p:sp>
      </p:grpSp>
      <p:grpSp>
        <p:nvGrpSpPr>
          <p:cNvPr id="9" name="Group 12"/>
          <p:cNvGrpSpPr>
            <a:grpSpLocks/>
          </p:cNvGrpSpPr>
          <p:nvPr>
            <p:custDataLst>
              <p:tags r:id="rId12"/>
            </p:custDataLst>
          </p:nvPr>
        </p:nvGrpSpPr>
        <p:grpSpPr bwMode="auto">
          <a:xfrm>
            <a:off x="6756519" y="2670622"/>
            <a:ext cx="1979613" cy="543352"/>
            <a:chOff x="300" y="873"/>
            <a:chExt cx="1847" cy="450"/>
          </a:xfrm>
        </p:grpSpPr>
        <p:sp>
          <p:nvSpPr>
            <p:cNvPr id="41" name="Text Box 10"/>
            <p:cNvSpPr txBox="1">
              <a:spLocks noChangeArrowheads="1"/>
            </p:cNvSpPr>
            <p:nvPr/>
          </p:nvSpPr>
          <p:spPr bwMode="auto">
            <a:xfrm>
              <a:off x="300" y="873"/>
              <a:ext cx="1847" cy="160"/>
            </a:xfrm>
            <a:prstGeom prst="rect">
              <a:avLst/>
            </a:prstGeom>
            <a:solidFill>
              <a:srgbClr val="00A1DE"/>
            </a:solidFill>
            <a:ln w="12700" algn="ctr">
              <a:solidFill>
                <a:srgbClr val="00A1DE"/>
              </a:solidFill>
              <a:miter lim="800000"/>
              <a:headEnd/>
              <a:tailEnd type="none" w="sm" len="med"/>
            </a:ln>
          </p:spPr>
          <p:txBody>
            <a:bodyPr lIns="40118" tIns="36000" rIns="40118" bIns="36000" anchor="ctr" anchorCtr="1"/>
            <a:lstStyle/>
            <a:p>
              <a:pPr defTabSz="957263"/>
              <a:r>
                <a:rPr lang="en-US" sz="1200" b="1">
                  <a:solidFill>
                    <a:srgbClr val="FFFFFF"/>
                  </a:solidFill>
                </a:rPr>
                <a:t>Chapter X</a:t>
              </a:r>
              <a:endParaRPr lang="en-US" sz="1400" b="1">
                <a:solidFill>
                  <a:srgbClr val="FFFFFF"/>
                </a:solidFill>
              </a:endParaRPr>
            </a:p>
          </p:txBody>
        </p:sp>
        <p:sp>
          <p:nvSpPr>
            <p:cNvPr id="42" name="Rectangle 11"/>
            <p:cNvSpPr>
              <a:spLocks noChangeArrowheads="1"/>
            </p:cNvSpPr>
            <p:nvPr/>
          </p:nvSpPr>
          <p:spPr bwMode="auto">
            <a:xfrm>
              <a:off x="300" y="1031"/>
              <a:ext cx="1847" cy="292"/>
            </a:xfrm>
            <a:prstGeom prst="rect">
              <a:avLst/>
            </a:prstGeom>
            <a:noFill/>
            <a:ln w="12700" algn="ctr">
              <a:solidFill>
                <a:srgbClr val="00A1DE"/>
              </a:solidFill>
              <a:miter lim="800000"/>
              <a:headEnd/>
              <a:tailEnd/>
            </a:ln>
          </p:spPr>
          <p:txBody>
            <a:bodyPr lIns="40118" tIns="40118" rIns="40118" bIns="40118" anchor="ctr"/>
            <a:lstStyle/>
            <a:p>
              <a:pPr algn="ctr" defTabSz="957998">
                <a:spcAft>
                  <a:spcPts val="300"/>
                </a:spcAft>
                <a:defRPr/>
              </a:pPr>
              <a:r>
                <a:rPr lang="en-US" sz="1200" kern="0" dirty="0">
                  <a:solidFill>
                    <a:srgbClr val="002776"/>
                  </a:solidFill>
                  <a:latin typeface="Arial"/>
                </a:rPr>
                <a:t>Supporting </a:t>
              </a:r>
              <a:r>
                <a:rPr lang="en-US" sz="1200" dirty="0">
                  <a:solidFill>
                    <a:srgbClr val="002776"/>
                  </a:solidFill>
                  <a:latin typeface="Arial"/>
                </a:rPr>
                <a:t>hypothesis</a:t>
              </a:r>
              <a:endParaRPr lang="en-US" sz="1200" kern="0" dirty="0">
                <a:solidFill>
                  <a:srgbClr val="002776"/>
                </a:solidFill>
                <a:latin typeface="Arial"/>
              </a:endParaRPr>
            </a:p>
          </p:txBody>
        </p:sp>
      </p:grpSp>
      <p:sp>
        <p:nvSpPr>
          <p:cNvPr id="28" name="Text Placeholder 12"/>
          <p:cNvSpPr>
            <a:spLocks/>
          </p:cNvSpPr>
          <p:nvPr>
            <p:custDataLst>
              <p:tags r:id="rId13"/>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7473" name="Title 1"/>
          <p:cNvSpPr>
            <a:spLocks noGrp="1"/>
          </p:cNvSpPr>
          <p:nvPr>
            <p:ph type="title"/>
          </p:nvPr>
        </p:nvSpPr>
        <p:spPr>
          <a:xfrm>
            <a:off x="414338" y="446038"/>
            <a:ext cx="8330184" cy="333425"/>
          </a:xfrm>
        </p:spPr>
        <p:txBody>
          <a:bodyPr/>
          <a:lstStyle/>
          <a:p>
            <a:r>
              <a:rPr lang="en-US"/>
              <a:t>Logic trees — executive summary tree</a:t>
            </a:r>
            <a:endParaRPr lang="nl-NL"/>
          </a:p>
        </p:txBody>
      </p:sp>
      <p:grpSp>
        <p:nvGrpSpPr>
          <p:cNvPr id="2" name="Group 12"/>
          <p:cNvGrpSpPr>
            <a:grpSpLocks/>
          </p:cNvGrpSpPr>
          <p:nvPr/>
        </p:nvGrpSpPr>
        <p:grpSpPr bwMode="auto">
          <a:xfrm>
            <a:off x="387351" y="1599950"/>
            <a:ext cx="8351208" cy="635968"/>
            <a:chOff x="300" y="822"/>
            <a:chExt cx="1847" cy="589"/>
          </a:xfrm>
        </p:grpSpPr>
        <p:sp>
          <p:nvSpPr>
            <p:cNvPr id="617492" name="Text Box 10"/>
            <p:cNvSpPr txBox="1">
              <a:spLocks noChangeArrowheads="1"/>
            </p:cNvSpPr>
            <p:nvPr/>
          </p:nvSpPr>
          <p:spPr bwMode="auto">
            <a:xfrm>
              <a:off x="300" y="822"/>
              <a:ext cx="1847" cy="254"/>
            </a:xfrm>
            <a:prstGeom prst="rect">
              <a:avLst/>
            </a:prstGeom>
            <a:solidFill>
              <a:schemeClr val="accent3"/>
            </a:solidFill>
            <a:ln w="12700" algn="ctr">
              <a:solidFill>
                <a:schemeClr val="accent3"/>
              </a:solidFill>
              <a:miter lim="800000"/>
              <a:headEnd/>
              <a:tailEnd type="none" w="sm" len="med"/>
            </a:ln>
          </p:spPr>
          <p:txBody>
            <a:bodyPr lIns="45720" tIns="45720" rIns="45720" bIns="45720" anchor="ctr" anchorCtr="1"/>
            <a:lstStyle/>
            <a:p>
              <a:pPr defTabSz="957263"/>
              <a:r>
                <a:rPr lang="en-US" sz="1400" b="1" dirty="0">
                  <a:solidFill>
                    <a:srgbClr val="FFFFFF"/>
                  </a:solidFill>
                </a:rPr>
                <a:t>Report title</a:t>
              </a:r>
            </a:p>
          </p:txBody>
        </p:sp>
        <p:sp>
          <p:nvSpPr>
            <p:cNvPr id="6" name="Rectangle 11"/>
            <p:cNvSpPr>
              <a:spLocks noChangeArrowheads="1"/>
            </p:cNvSpPr>
            <p:nvPr/>
          </p:nvSpPr>
          <p:spPr bwMode="auto">
            <a:xfrm>
              <a:off x="300" y="1076"/>
              <a:ext cx="1847" cy="335"/>
            </a:xfrm>
            <a:prstGeom prst="rect">
              <a:avLst/>
            </a:prstGeom>
            <a:noFill/>
            <a:ln w="12700" algn="ctr">
              <a:solidFill>
                <a:schemeClr val="accent3"/>
              </a:solidFill>
              <a:miter lim="800000"/>
              <a:headEnd/>
              <a:tailEnd/>
            </a:ln>
          </p:spPr>
          <p:txBody>
            <a:bodyPr lIns="40118" tIns="40118" rIns="40118" bIns="40118" anchor="ctr"/>
            <a:lstStyle/>
            <a:p>
              <a:pPr algn="ctr" defTabSz="957998">
                <a:spcAft>
                  <a:spcPts val="300"/>
                </a:spcAft>
                <a:defRPr/>
              </a:pPr>
              <a:r>
                <a:rPr lang="en-US" sz="1200" dirty="0">
                  <a:solidFill>
                    <a:schemeClr val="tx2"/>
                  </a:solidFill>
                </a:rPr>
                <a:t>Main </a:t>
              </a:r>
              <a:r>
                <a:rPr lang="en-US" sz="1200" dirty="0" smtClean="0">
                  <a:solidFill>
                    <a:schemeClr val="tx2"/>
                  </a:solidFill>
                </a:rPr>
                <a:t>conclusion</a:t>
              </a:r>
              <a:endParaRPr lang="en-US" sz="1200" kern="0" dirty="0">
                <a:solidFill>
                  <a:srgbClr val="002776"/>
                </a:solidFill>
                <a:latin typeface="Arial"/>
              </a:endParaRPr>
            </a:p>
          </p:txBody>
        </p:sp>
      </p:grpSp>
      <p:sp>
        <p:nvSpPr>
          <p:cNvPr id="617490" name="Text Box 10"/>
          <p:cNvSpPr txBox="1">
            <a:spLocks noChangeArrowheads="1"/>
          </p:cNvSpPr>
          <p:nvPr/>
        </p:nvSpPr>
        <p:spPr bwMode="auto">
          <a:xfrm>
            <a:off x="387350" y="2341350"/>
            <a:ext cx="1979613" cy="229122"/>
          </a:xfrm>
          <a:prstGeom prst="rect">
            <a:avLst/>
          </a:prstGeom>
          <a:solidFill>
            <a:srgbClr val="00A1DE"/>
          </a:solidFill>
          <a:ln w="12700" algn="ctr">
            <a:solidFill>
              <a:srgbClr val="00A1DE"/>
            </a:solidFill>
            <a:miter lim="800000"/>
            <a:headEnd/>
            <a:tailEnd type="none" w="sm" len="med"/>
          </a:ln>
        </p:spPr>
        <p:txBody>
          <a:bodyPr lIns="40118" tIns="36000" rIns="40118" bIns="36000" anchor="ctr" anchorCtr="1"/>
          <a:lstStyle/>
          <a:p>
            <a:pPr defTabSz="957263"/>
            <a:r>
              <a:rPr lang="en-US" sz="1200" b="1" dirty="0" smtClean="0">
                <a:solidFill>
                  <a:srgbClr val="FFFFFF"/>
                </a:solidFill>
              </a:rPr>
              <a:t>Chapter title</a:t>
            </a:r>
            <a:endParaRPr lang="en-US" sz="1400" b="1" dirty="0">
              <a:solidFill>
                <a:srgbClr val="FFFFFF"/>
              </a:solidFill>
            </a:endParaRPr>
          </a:p>
        </p:txBody>
      </p:sp>
      <p:sp>
        <p:nvSpPr>
          <p:cNvPr id="9" name="Rectangle 11"/>
          <p:cNvSpPr>
            <a:spLocks noChangeArrowheads="1"/>
          </p:cNvSpPr>
          <p:nvPr/>
        </p:nvSpPr>
        <p:spPr bwMode="auto">
          <a:xfrm>
            <a:off x="387350" y="2570472"/>
            <a:ext cx="1979613" cy="274515"/>
          </a:xfrm>
          <a:prstGeom prst="rect">
            <a:avLst/>
          </a:prstGeom>
          <a:noFill/>
          <a:ln w="12700" algn="ctr">
            <a:solidFill>
              <a:srgbClr val="00A1DE"/>
            </a:solidFill>
            <a:miter lim="800000"/>
            <a:headEnd/>
            <a:tailEnd/>
          </a:ln>
        </p:spPr>
        <p:txBody>
          <a:bodyPr lIns="40118" tIns="40118" rIns="40118" bIns="40118" anchor="ctr"/>
          <a:lstStyle/>
          <a:p>
            <a:pPr algn="ctr" defTabSz="957998">
              <a:spcAft>
                <a:spcPts val="300"/>
              </a:spcAft>
              <a:defRPr/>
            </a:pPr>
            <a:r>
              <a:rPr lang="en-US" sz="1200" kern="0" dirty="0">
                <a:solidFill>
                  <a:srgbClr val="002776"/>
                </a:solidFill>
                <a:latin typeface="Arial"/>
              </a:rPr>
              <a:t>Supporting conclusion</a:t>
            </a:r>
          </a:p>
        </p:txBody>
      </p:sp>
      <p:sp>
        <p:nvSpPr>
          <p:cNvPr id="19" name="Rectangle 18"/>
          <p:cNvSpPr>
            <a:spLocks noChangeArrowheads="1"/>
          </p:cNvSpPr>
          <p:nvPr>
            <p:custDataLst>
              <p:tags r:id="rId1"/>
            </p:custDataLst>
          </p:nvPr>
        </p:nvSpPr>
        <p:spPr bwMode="auto">
          <a:xfrm>
            <a:off x="384175" y="2963165"/>
            <a:ext cx="1981200" cy="2906572"/>
          </a:xfrm>
          <a:prstGeom prst="rect">
            <a:avLst/>
          </a:prstGeom>
          <a:noFill/>
          <a:ln w="12700" algn="ctr">
            <a:solidFill>
              <a:schemeClr val="accent3"/>
            </a:solidFill>
            <a:miter lim="800000"/>
            <a:headEnd type="none" w="sm" len="sm"/>
            <a:tailEnd type="none" w="sm" len="sm"/>
          </a:ln>
        </p:spPr>
        <p:txBody>
          <a:bodyPr lIns="45720" tIns="45720" rIns="18000" bIns="18000"/>
          <a:lstStyle/>
          <a:p>
            <a:pPr marL="117475" lvl="1" indent="-117475" algn="l" defTabSz="957998">
              <a:lnSpc>
                <a:spcPct val="106000"/>
              </a:lnSpc>
              <a:spcBef>
                <a:spcPts val="1344"/>
              </a:spcBef>
              <a:spcAft>
                <a:spcPts val="0"/>
              </a:spcAft>
              <a:buFont typeface="Arial" charset="0"/>
              <a:buChar char="•"/>
              <a:defRPr/>
            </a:pPr>
            <a:r>
              <a:rPr lang="en-US" sz="1200" b="0" dirty="0" smtClean="0">
                <a:solidFill>
                  <a:srgbClr val="002776"/>
                </a:solidFill>
                <a:latin typeface="Arial"/>
              </a:rPr>
              <a:t>Slide text</a:t>
            </a:r>
          </a:p>
          <a:p>
            <a:pPr marL="285750" lvl="2" indent="-168275" algn="l" defTabSz="957998">
              <a:lnSpc>
                <a:spcPct val="106000"/>
              </a:lnSpc>
              <a:spcBef>
                <a:spcPct val="40000"/>
              </a:spcBef>
              <a:spcAft>
                <a:spcPts val="0"/>
              </a:spcAft>
              <a:buFont typeface="Arial" charset="0"/>
              <a:buChar char="‒"/>
              <a:defRPr/>
            </a:pPr>
            <a:r>
              <a:rPr lang="en-US" sz="1200" b="0" dirty="0" smtClean="0">
                <a:solidFill>
                  <a:srgbClr val="002776"/>
                </a:solidFill>
                <a:latin typeface="Arial"/>
              </a:rPr>
              <a:t>Dash</a:t>
            </a:r>
            <a:endParaRPr lang="en-US" sz="1200" b="0" dirty="0">
              <a:solidFill>
                <a:srgbClr val="002776"/>
              </a:solidFill>
              <a:latin typeface="Arial"/>
            </a:endParaRPr>
          </a:p>
        </p:txBody>
      </p:sp>
      <p:sp>
        <p:nvSpPr>
          <p:cNvPr id="20" name="Rectangle 19"/>
          <p:cNvSpPr>
            <a:spLocks noChangeArrowheads="1"/>
          </p:cNvSpPr>
          <p:nvPr>
            <p:custDataLst>
              <p:tags r:id="rId2"/>
            </p:custDataLst>
          </p:nvPr>
        </p:nvSpPr>
        <p:spPr bwMode="auto">
          <a:xfrm>
            <a:off x="2511425" y="2963165"/>
            <a:ext cx="1981200" cy="2906572"/>
          </a:xfrm>
          <a:prstGeom prst="rect">
            <a:avLst/>
          </a:prstGeom>
          <a:noFill/>
          <a:ln w="12700" algn="ctr">
            <a:solidFill>
              <a:schemeClr val="accent3"/>
            </a:solidFill>
            <a:miter lim="800000"/>
            <a:headEnd type="none" w="sm" len="sm"/>
            <a:tailEnd type="none" w="sm" len="sm"/>
          </a:ln>
        </p:spPr>
        <p:txBody>
          <a:bodyPr lIns="45720" tIns="45720" rIns="18000" bIns="18000"/>
          <a:lstStyle/>
          <a:p>
            <a:pPr marL="117475" lvl="1" indent="-117475" algn="l" defTabSz="957998">
              <a:lnSpc>
                <a:spcPct val="106000"/>
              </a:lnSpc>
              <a:spcBef>
                <a:spcPts val="1344"/>
              </a:spcBef>
              <a:spcAft>
                <a:spcPts val="0"/>
              </a:spcAft>
              <a:buFont typeface="Arial" charset="0"/>
              <a:buChar char="•"/>
              <a:defRPr/>
            </a:pPr>
            <a:r>
              <a:rPr lang="en-US" sz="1200" b="0" dirty="0" smtClean="0">
                <a:solidFill>
                  <a:srgbClr val="002776"/>
                </a:solidFill>
                <a:latin typeface="Arial"/>
              </a:rPr>
              <a:t>Slide text</a:t>
            </a:r>
          </a:p>
          <a:p>
            <a:pPr marL="285750" lvl="2" indent="-168275" algn="l" defTabSz="957998">
              <a:lnSpc>
                <a:spcPct val="106000"/>
              </a:lnSpc>
              <a:spcBef>
                <a:spcPct val="40000"/>
              </a:spcBef>
              <a:spcAft>
                <a:spcPts val="0"/>
              </a:spcAft>
              <a:buFont typeface="Arial" charset="0"/>
              <a:buChar char="‒"/>
              <a:defRPr/>
            </a:pPr>
            <a:r>
              <a:rPr lang="en-US" sz="1200" b="0" dirty="0" smtClean="0">
                <a:solidFill>
                  <a:srgbClr val="002776"/>
                </a:solidFill>
                <a:latin typeface="Arial"/>
              </a:rPr>
              <a:t>Dash</a:t>
            </a:r>
            <a:endParaRPr lang="en-US" sz="1200" b="0" dirty="0">
              <a:solidFill>
                <a:srgbClr val="002776"/>
              </a:solidFill>
              <a:latin typeface="Arial"/>
            </a:endParaRPr>
          </a:p>
        </p:txBody>
      </p:sp>
      <p:sp>
        <p:nvSpPr>
          <p:cNvPr id="21" name="Rectangle 20"/>
          <p:cNvSpPr>
            <a:spLocks noChangeArrowheads="1"/>
          </p:cNvSpPr>
          <p:nvPr>
            <p:custDataLst>
              <p:tags r:id="rId3"/>
            </p:custDataLst>
          </p:nvPr>
        </p:nvSpPr>
        <p:spPr bwMode="auto">
          <a:xfrm>
            <a:off x="4638675" y="2963165"/>
            <a:ext cx="1981200" cy="2906572"/>
          </a:xfrm>
          <a:prstGeom prst="rect">
            <a:avLst/>
          </a:prstGeom>
          <a:noFill/>
          <a:ln w="12700" algn="ctr">
            <a:solidFill>
              <a:schemeClr val="accent3"/>
            </a:solidFill>
            <a:miter lim="800000"/>
            <a:headEnd type="none" w="sm" len="sm"/>
            <a:tailEnd type="none" w="sm" len="sm"/>
          </a:ln>
        </p:spPr>
        <p:txBody>
          <a:bodyPr lIns="45720" tIns="45720" rIns="18000" bIns="18000"/>
          <a:lstStyle/>
          <a:p>
            <a:pPr marL="117475" lvl="1" indent="-117475" algn="l" defTabSz="957998">
              <a:lnSpc>
                <a:spcPct val="106000"/>
              </a:lnSpc>
              <a:spcBef>
                <a:spcPts val="1344"/>
              </a:spcBef>
              <a:spcAft>
                <a:spcPts val="0"/>
              </a:spcAft>
              <a:buFont typeface="Arial" charset="0"/>
              <a:buChar char="•"/>
              <a:defRPr/>
            </a:pPr>
            <a:r>
              <a:rPr lang="en-US" sz="1200" b="0" dirty="0" smtClean="0">
                <a:solidFill>
                  <a:srgbClr val="002776"/>
                </a:solidFill>
                <a:latin typeface="Arial"/>
              </a:rPr>
              <a:t>Slide text</a:t>
            </a:r>
          </a:p>
          <a:p>
            <a:pPr marL="285750" lvl="2" indent="-168275" algn="l" defTabSz="957998">
              <a:lnSpc>
                <a:spcPct val="106000"/>
              </a:lnSpc>
              <a:spcBef>
                <a:spcPct val="40000"/>
              </a:spcBef>
              <a:spcAft>
                <a:spcPts val="0"/>
              </a:spcAft>
              <a:buFont typeface="Arial" charset="0"/>
              <a:buChar char="‒"/>
              <a:defRPr/>
            </a:pPr>
            <a:r>
              <a:rPr lang="en-US" sz="1200" b="0" dirty="0" smtClean="0">
                <a:solidFill>
                  <a:srgbClr val="002776"/>
                </a:solidFill>
                <a:latin typeface="Arial"/>
              </a:rPr>
              <a:t>Dash</a:t>
            </a:r>
            <a:endParaRPr lang="en-US" sz="1200" b="0" dirty="0">
              <a:solidFill>
                <a:srgbClr val="002776"/>
              </a:solidFill>
              <a:latin typeface="Arial"/>
            </a:endParaRPr>
          </a:p>
        </p:txBody>
      </p:sp>
      <p:sp>
        <p:nvSpPr>
          <p:cNvPr id="22" name="Rectangle 21"/>
          <p:cNvSpPr>
            <a:spLocks noChangeArrowheads="1"/>
          </p:cNvSpPr>
          <p:nvPr>
            <p:custDataLst>
              <p:tags r:id="rId4"/>
            </p:custDataLst>
          </p:nvPr>
        </p:nvSpPr>
        <p:spPr bwMode="auto">
          <a:xfrm>
            <a:off x="6765925" y="2963165"/>
            <a:ext cx="1981200" cy="2906572"/>
          </a:xfrm>
          <a:prstGeom prst="rect">
            <a:avLst/>
          </a:prstGeom>
          <a:noFill/>
          <a:ln w="12700" algn="ctr">
            <a:solidFill>
              <a:schemeClr val="accent3"/>
            </a:solidFill>
            <a:miter lim="800000"/>
            <a:headEnd type="none" w="sm" len="sm"/>
            <a:tailEnd type="none" w="sm" len="sm"/>
          </a:ln>
        </p:spPr>
        <p:txBody>
          <a:bodyPr lIns="45720" tIns="45720" rIns="18000" bIns="18000"/>
          <a:lstStyle/>
          <a:p>
            <a:pPr marL="117475" lvl="1" indent="-117475" algn="l" defTabSz="957998">
              <a:lnSpc>
                <a:spcPct val="106000"/>
              </a:lnSpc>
              <a:spcBef>
                <a:spcPts val="1344"/>
              </a:spcBef>
              <a:spcAft>
                <a:spcPts val="0"/>
              </a:spcAft>
              <a:buFont typeface="Arial" charset="0"/>
              <a:buChar char="•"/>
              <a:defRPr/>
            </a:pPr>
            <a:r>
              <a:rPr lang="en-US" sz="1200" b="0" dirty="0" smtClean="0">
                <a:solidFill>
                  <a:srgbClr val="002776"/>
                </a:solidFill>
                <a:latin typeface="Arial"/>
              </a:rPr>
              <a:t>Slide text</a:t>
            </a:r>
          </a:p>
          <a:p>
            <a:pPr marL="285750" lvl="2" indent="-168275" algn="l" defTabSz="957998">
              <a:lnSpc>
                <a:spcPct val="106000"/>
              </a:lnSpc>
              <a:spcBef>
                <a:spcPct val="40000"/>
              </a:spcBef>
              <a:spcAft>
                <a:spcPts val="0"/>
              </a:spcAft>
              <a:buFont typeface="Arial" charset="0"/>
              <a:buChar char="‒"/>
              <a:defRPr/>
            </a:pPr>
            <a:r>
              <a:rPr lang="en-US" sz="1200" b="0" dirty="0" smtClean="0">
                <a:solidFill>
                  <a:srgbClr val="002776"/>
                </a:solidFill>
                <a:latin typeface="Arial"/>
              </a:rPr>
              <a:t>Dash</a:t>
            </a:r>
            <a:endParaRPr lang="en-US" sz="1200" b="0" dirty="0">
              <a:solidFill>
                <a:srgbClr val="002776"/>
              </a:solidFill>
              <a:latin typeface="Arial"/>
            </a:endParaRPr>
          </a:p>
        </p:txBody>
      </p:sp>
      <p:sp>
        <p:nvSpPr>
          <p:cNvPr id="24" name="Text Box 10"/>
          <p:cNvSpPr txBox="1">
            <a:spLocks noChangeArrowheads="1"/>
          </p:cNvSpPr>
          <p:nvPr/>
        </p:nvSpPr>
        <p:spPr bwMode="auto">
          <a:xfrm>
            <a:off x="2506574" y="2338474"/>
            <a:ext cx="1979613" cy="229123"/>
          </a:xfrm>
          <a:prstGeom prst="rect">
            <a:avLst/>
          </a:prstGeom>
          <a:solidFill>
            <a:schemeClr val="accent3"/>
          </a:solidFill>
          <a:ln w="12700" algn="ctr">
            <a:solidFill>
              <a:schemeClr val="accent3"/>
            </a:solidFill>
            <a:miter lim="800000"/>
            <a:headEnd/>
            <a:tailEnd type="none" w="sm" len="med"/>
          </a:ln>
        </p:spPr>
        <p:txBody>
          <a:bodyPr lIns="40118" tIns="36000" rIns="40118" bIns="36000" anchor="ctr" anchorCtr="1"/>
          <a:lstStyle/>
          <a:p>
            <a:pPr defTabSz="957263"/>
            <a:r>
              <a:rPr lang="en-US" sz="1200" b="1" dirty="0">
                <a:solidFill>
                  <a:srgbClr val="FFFFFF"/>
                </a:solidFill>
              </a:rPr>
              <a:t>Chapter title</a:t>
            </a:r>
            <a:endParaRPr lang="en-US" sz="1400" b="1" dirty="0">
              <a:solidFill>
                <a:srgbClr val="FFFFFF"/>
              </a:solidFill>
            </a:endParaRPr>
          </a:p>
        </p:txBody>
      </p:sp>
      <p:sp>
        <p:nvSpPr>
          <p:cNvPr id="25" name="Rectangle 11"/>
          <p:cNvSpPr>
            <a:spLocks noChangeArrowheads="1"/>
          </p:cNvSpPr>
          <p:nvPr/>
        </p:nvSpPr>
        <p:spPr bwMode="auto">
          <a:xfrm>
            <a:off x="2506574" y="2570472"/>
            <a:ext cx="1979613" cy="273801"/>
          </a:xfrm>
          <a:prstGeom prst="rect">
            <a:avLst/>
          </a:prstGeom>
          <a:noFill/>
          <a:ln w="12700" algn="ctr">
            <a:solidFill>
              <a:schemeClr val="accent3"/>
            </a:solidFill>
            <a:miter lim="800000"/>
            <a:headEnd/>
            <a:tailEnd/>
          </a:ln>
        </p:spPr>
        <p:txBody>
          <a:bodyPr lIns="40118" tIns="40118" rIns="40118" bIns="40118" anchor="ctr"/>
          <a:lstStyle/>
          <a:p>
            <a:pPr defTabSz="957998">
              <a:spcAft>
                <a:spcPts val="300"/>
              </a:spcAft>
              <a:defRPr/>
            </a:pPr>
            <a:r>
              <a:rPr lang="en-US" sz="1200" kern="0" dirty="0" smtClean="0">
                <a:solidFill>
                  <a:srgbClr val="002776"/>
                </a:solidFill>
                <a:latin typeface="Arial"/>
              </a:rPr>
              <a:t>Supporting conclusion</a:t>
            </a:r>
            <a:endParaRPr lang="en-US" sz="1200" kern="0" dirty="0">
              <a:solidFill>
                <a:srgbClr val="002776"/>
              </a:solidFill>
              <a:latin typeface="Arial"/>
            </a:endParaRPr>
          </a:p>
        </p:txBody>
      </p:sp>
      <p:sp>
        <p:nvSpPr>
          <p:cNvPr id="27" name="Text Box 10"/>
          <p:cNvSpPr txBox="1">
            <a:spLocks noChangeArrowheads="1"/>
          </p:cNvSpPr>
          <p:nvPr/>
        </p:nvSpPr>
        <p:spPr bwMode="auto">
          <a:xfrm>
            <a:off x="4637298" y="2338497"/>
            <a:ext cx="1979613" cy="229123"/>
          </a:xfrm>
          <a:prstGeom prst="rect">
            <a:avLst/>
          </a:prstGeom>
          <a:solidFill>
            <a:schemeClr val="accent3"/>
          </a:solidFill>
          <a:ln w="12700" algn="ctr">
            <a:solidFill>
              <a:schemeClr val="accent3"/>
            </a:solidFill>
            <a:miter lim="800000"/>
            <a:headEnd/>
            <a:tailEnd type="none" w="sm" len="med"/>
          </a:ln>
        </p:spPr>
        <p:txBody>
          <a:bodyPr lIns="40118" tIns="36000" rIns="40118" bIns="36000" anchor="ctr" anchorCtr="1"/>
          <a:lstStyle/>
          <a:p>
            <a:pPr defTabSz="957263"/>
            <a:r>
              <a:rPr lang="en-US" sz="1200" b="1" dirty="0">
                <a:solidFill>
                  <a:srgbClr val="FFFFFF"/>
                </a:solidFill>
              </a:rPr>
              <a:t>Chapter title</a:t>
            </a:r>
            <a:endParaRPr lang="en-US" sz="1400" b="1" dirty="0">
              <a:solidFill>
                <a:srgbClr val="FFFFFF"/>
              </a:solidFill>
            </a:endParaRPr>
          </a:p>
        </p:txBody>
      </p:sp>
      <p:sp>
        <p:nvSpPr>
          <p:cNvPr id="28" name="Rectangle 11"/>
          <p:cNvSpPr>
            <a:spLocks noChangeArrowheads="1"/>
          </p:cNvSpPr>
          <p:nvPr/>
        </p:nvSpPr>
        <p:spPr bwMode="auto">
          <a:xfrm>
            <a:off x="4637298" y="2570473"/>
            <a:ext cx="1979613" cy="273824"/>
          </a:xfrm>
          <a:prstGeom prst="rect">
            <a:avLst/>
          </a:prstGeom>
          <a:noFill/>
          <a:ln w="12700" algn="ctr">
            <a:solidFill>
              <a:schemeClr val="accent3"/>
            </a:solidFill>
            <a:miter lim="800000"/>
            <a:headEnd/>
            <a:tailEnd/>
          </a:ln>
        </p:spPr>
        <p:txBody>
          <a:bodyPr lIns="40118" tIns="40118" rIns="40118" bIns="40118" anchor="ctr"/>
          <a:lstStyle/>
          <a:p>
            <a:pPr algn="ctr" defTabSz="957998">
              <a:spcAft>
                <a:spcPts val="300"/>
              </a:spcAft>
              <a:defRPr/>
            </a:pPr>
            <a:r>
              <a:rPr lang="en-US" sz="1200" kern="0" dirty="0">
                <a:solidFill>
                  <a:srgbClr val="002776"/>
                </a:solidFill>
                <a:latin typeface="Arial"/>
              </a:rPr>
              <a:t>Supporting conclusion</a:t>
            </a:r>
          </a:p>
        </p:txBody>
      </p:sp>
      <p:sp>
        <p:nvSpPr>
          <p:cNvPr id="30" name="Text Box 10"/>
          <p:cNvSpPr txBox="1">
            <a:spLocks noChangeArrowheads="1"/>
          </p:cNvSpPr>
          <p:nvPr/>
        </p:nvSpPr>
        <p:spPr bwMode="auto">
          <a:xfrm>
            <a:off x="6756522" y="2335621"/>
            <a:ext cx="1979613" cy="229122"/>
          </a:xfrm>
          <a:prstGeom prst="rect">
            <a:avLst/>
          </a:prstGeom>
          <a:solidFill>
            <a:schemeClr val="accent3"/>
          </a:solidFill>
          <a:ln w="12700" algn="ctr">
            <a:solidFill>
              <a:schemeClr val="accent3"/>
            </a:solidFill>
            <a:miter lim="800000"/>
            <a:headEnd/>
            <a:tailEnd type="none" w="sm" len="med"/>
          </a:ln>
        </p:spPr>
        <p:txBody>
          <a:bodyPr lIns="40118" tIns="36000" rIns="40118" bIns="36000" anchor="ctr" anchorCtr="1"/>
          <a:lstStyle/>
          <a:p>
            <a:pPr defTabSz="957263"/>
            <a:r>
              <a:rPr lang="en-US" sz="1200" b="1" dirty="0">
                <a:solidFill>
                  <a:srgbClr val="FFFFFF"/>
                </a:solidFill>
              </a:rPr>
              <a:t>Chapter title</a:t>
            </a:r>
            <a:endParaRPr lang="en-US" sz="1400" b="1" dirty="0">
              <a:solidFill>
                <a:srgbClr val="FFFFFF"/>
              </a:solidFill>
            </a:endParaRPr>
          </a:p>
        </p:txBody>
      </p:sp>
      <p:sp>
        <p:nvSpPr>
          <p:cNvPr id="31" name="Rectangle 11"/>
          <p:cNvSpPr>
            <a:spLocks noChangeArrowheads="1"/>
          </p:cNvSpPr>
          <p:nvPr/>
        </p:nvSpPr>
        <p:spPr bwMode="auto">
          <a:xfrm>
            <a:off x="6756522" y="2570473"/>
            <a:ext cx="1979613" cy="274189"/>
          </a:xfrm>
          <a:prstGeom prst="rect">
            <a:avLst/>
          </a:prstGeom>
          <a:noFill/>
          <a:ln w="12700" algn="ctr">
            <a:solidFill>
              <a:schemeClr val="accent3"/>
            </a:solidFill>
            <a:miter lim="800000"/>
            <a:headEnd/>
            <a:tailEnd/>
          </a:ln>
        </p:spPr>
        <p:txBody>
          <a:bodyPr lIns="40118" tIns="40118" rIns="40118" bIns="40118" anchor="ctr"/>
          <a:lstStyle/>
          <a:p>
            <a:pPr algn="ctr" defTabSz="957998">
              <a:spcAft>
                <a:spcPts val="300"/>
              </a:spcAft>
              <a:defRPr/>
            </a:pPr>
            <a:r>
              <a:rPr lang="en-US" sz="1200" kern="0" dirty="0">
                <a:solidFill>
                  <a:srgbClr val="002776"/>
                </a:solidFill>
                <a:latin typeface="Arial"/>
              </a:rPr>
              <a:t>Supporting conclusion</a:t>
            </a:r>
          </a:p>
        </p:txBody>
      </p:sp>
      <p:sp>
        <p:nvSpPr>
          <p:cNvPr id="2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6" name="Text Placeholder 12"/>
          <p:cNvSpPr>
            <a:spLocks/>
          </p:cNvSpPr>
          <p:nvPr>
            <p:custDataLst>
              <p:tags r:id="rId5"/>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8497" name="Title 1"/>
          <p:cNvSpPr>
            <a:spLocks noGrp="1"/>
          </p:cNvSpPr>
          <p:nvPr>
            <p:ph type="title"/>
          </p:nvPr>
        </p:nvSpPr>
        <p:spPr>
          <a:xfrm>
            <a:off x="414338" y="446038"/>
            <a:ext cx="8330184" cy="333425"/>
          </a:xfrm>
        </p:spPr>
        <p:txBody>
          <a:bodyPr/>
          <a:lstStyle/>
          <a:p>
            <a:r>
              <a:rPr lang="en-GB" altLang="ja-JP"/>
              <a:t>Driver trees </a:t>
            </a:r>
            <a:r>
              <a:rPr lang="en-US"/>
              <a:t>—</a:t>
            </a:r>
            <a:r>
              <a:rPr lang="en-GB" altLang="ja-JP" smtClean="0"/>
              <a:t> </a:t>
            </a:r>
            <a:r>
              <a:rPr lang="en-GB" altLang="ja-JP"/>
              <a:t>arrows showing base trends</a:t>
            </a:r>
            <a:endParaRPr lang="nl-NL"/>
          </a:p>
        </p:txBody>
      </p:sp>
      <p:sp>
        <p:nvSpPr>
          <p:cNvPr id="4" name="Rectangle 3"/>
          <p:cNvSpPr>
            <a:spLocks noChangeArrowheads="1"/>
          </p:cNvSpPr>
          <p:nvPr/>
        </p:nvSpPr>
        <p:spPr bwMode="auto">
          <a:xfrm>
            <a:off x="849313" y="3427413"/>
            <a:ext cx="1214437" cy="460375"/>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5" name="Rectangle 4"/>
          <p:cNvSpPr>
            <a:spLocks noChangeArrowheads="1"/>
          </p:cNvSpPr>
          <p:nvPr/>
        </p:nvSpPr>
        <p:spPr bwMode="auto">
          <a:xfrm>
            <a:off x="2487613" y="2420938"/>
            <a:ext cx="1217612" cy="460375"/>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6" name="Rectangle 5"/>
          <p:cNvSpPr>
            <a:spLocks noChangeArrowheads="1"/>
          </p:cNvSpPr>
          <p:nvPr/>
        </p:nvSpPr>
        <p:spPr bwMode="auto">
          <a:xfrm>
            <a:off x="2487613" y="4435475"/>
            <a:ext cx="1217612" cy="460375"/>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7" name="Rectangle 6"/>
          <p:cNvSpPr>
            <a:spLocks noChangeArrowheads="1"/>
          </p:cNvSpPr>
          <p:nvPr/>
        </p:nvSpPr>
        <p:spPr bwMode="auto">
          <a:xfrm>
            <a:off x="4251325" y="4435475"/>
            <a:ext cx="1214438" cy="460375"/>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8" name="Rectangle 7"/>
          <p:cNvSpPr>
            <a:spLocks noChangeArrowheads="1"/>
          </p:cNvSpPr>
          <p:nvPr/>
        </p:nvSpPr>
        <p:spPr bwMode="auto">
          <a:xfrm>
            <a:off x="4251325" y="3629025"/>
            <a:ext cx="1214438" cy="460375"/>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cxnSp>
        <p:nvCxnSpPr>
          <p:cNvPr id="9" name="AutoShape 8"/>
          <p:cNvCxnSpPr>
            <a:cxnSpLocks noChangeShapeType="1"/>
            <a:stCxn id="4" idx="3"/>
            <a:endCxn id="5" idx="1"/>
          </p:cNvCxnSpPr>
          <p:nvPr/>
        </p:nvCxnSpPr>
        <p:spPr bwMode="auto">
          <a:xfrm flipV="1">
            <a:off x="2063750" y="2651125"/>
            <a:ext cx="423863" cy="1006475"/>
          </a:xfrm>
          <a:prstGeom prst="bentConnector3">
            <a:avLst>
              <a:gd name="adj1" fmla="val 50000"/>
            </a:avLst>
          </a:prstGeom>
          <a:noFill/>
          <a:ln w="12700">
            <a:solidFill>
              <a:schemeClr val="tx2"/>
            </a:solidFill>
            <a:miter lim="800000"/>
            <a:headEnd type="none" w="sm" len="sm"/>
            <a:tailEnd type="none" w="sm" len="sm"/>
          </a:ln>
        </p:spPr>
      </p:cxnSp>
      <p:cxnSp>
        <p:nvCxnSpPr>
          <p:cNvPr id="10" name="AutoShape 9"/>
          <p:cNvCxnSpPr>
            <a:cxnSpLocks noChangeShapeType="1"/>
            <a:stCxn id="4" idx="3"/>
            <a:endCxn id="6" idx="1"/>
          </p:cNvCxnSpPr>
          <p:nvPr/>
        </p:nvCxnSpPr>
        <p:spPr bwMode="auto">
          <a:xfrm>
            <a:off x="2063750" y="3657600"/>
            <a:ext cx="423863" cy="1008063"/>
          </a:xfrm>
          <a:prstGeom prst="bentConnector3">
            <a:avLst>
              <a:gd name="adj1" fmla="val 50000"/>
            </a:avLst>
          </a:prstGeom>
          <a:noFill/>
          <a:ln w="12700">
            <a:solidFill>
              <a:schemeClr val="tx2"/>
            </a:solidFill>
            <a:miter lim="800000"/>
            <a:headEnd type="none" w="sm" len="sm"/>
            <a:tailEnd type="none" w="sm" len="sm"/>
          </a:ln>
        </p:spPr>
      </p:cxnSp>
      <p:cxnSp>
        <p:nvCxnSpPr>
          <p:cNvPr id="11" name="AutoShape 10"/>
          <p:cNvCxnSpPr>
            <a:cxnSpLocks noChangeShapeType="1"/>
            <a:stCxn id="6" idx="3"/>
            <a:endCxn id="8" idx="1"/>
          </p:cNvCxnSpPr>
          <p:nvPr/>
        </p:nvCxnSpPr>
        <p:spPr bwMode="auto">
          <a:xfrm flipV="1">
            <a:off x="3705225" y="3859213"/>
            <a:ext cx="546100" cy="806450"/>
          </a:xfrm>
          <a:prstGeom prst="bentConnector3">
            <a:avLst>
              <a:gd name="adj1" fmla="val 49866"/>
            </a:avLst>
          </a:prstGeom>
          <a:noFill/>
          <a:ln w="12700">
            <a:solidFill>
              <a:schemeClr val="tx2"/>
            </a:solidFill>
            <a:miter lim="800000"/>
            <a:headEnd type="none" w="sm" len="sm"/>
            <a:tailEnd type="none" w="sm" len="sm"/>
          </a:ln>
        </p:spPr>
      </p:cxnSp>
      <p:cxnSp>
        <p:nvCxnSpPr>
          <p:cNvPr id="12" name="AutoShape 11"/>
          <p:cNvCxnSpPr>
            <a:cxnSpLocks noChangeShapeType="1"/>
            <a:stCxn id="6" idx="3"/>
            <a:endCxn id="7" idx="1"/>
          </p:cNvCxnSpPr>
          <p:nvPr/>
        </p:nvCxnSpPr>
        <p:spPr bwMode="auto">
          <a:xfrm>
            <a:off x="3705225" y="4665663"/>
            <a:ext cx="546100" cy="0"/>
          </a:xfrm>
          <a:prstGeom prst="straightConnector1">
            <a:avLst/>
          </a:prstGeom>
          <a:noFill/>
          <a:ln w="12700">
            <a:solidFill>
              <a:schemeClr val="tx2"/>
            </a:solidFill>
            <a:round/>
            <a:headEnd type="none" w="sm" len="sm"/>
            <a:tailEnd type="none" w="sm" len="sm"/>
          </a:ln>
        </p:spPr>
      </p:cxnSp>
      <p:sp>
        <p:nvSpPr>
          <p:cNvPr id="13" name="Rectangle 12"/>
          <p:cNvSpPr>
            <a:spLocks noChangeArrowheads="1"/>
          </p:cNvSpPr>
          <p:nvPr/>
        </p:nvSpPr>
        <p:spPr bwMode="auto">
          <a:xfrm>
            <a:off x="4251325" y="2822575"/>
            <a:ext cx="1214438" cy="460375"/>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4" name="Rectangle 13"/>
          <p:cNvSpPr>
            <a:spLocks noChangeArrowheads="1"/>
          </p:cNvSpPr>
          <p:nvPr/>
        </p:nvSpPr>
        <p:spPr bwMode="auto">
          <a:xfrm>
            <a:off x="4251325" y="2016125"/>
            <a:ext cx="1214438" cy="461963"/>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cxnSp>
        <p:nvCxnSpPr>
          <p:cNvPr id="15" name="AutoShape 14"/>
          <p:cNvCxnSpPr>
            <a:cxnSpLocks noChangeShapeType="1"/>
            <a:stCxn id="5" idx="3"/>
            <a:endCxn id="14" idx="1"/>
          </p:cNvCxnSpPr>
          <p:nvPr/>
        </p:nvCxnSpPr>
        <p:spPr bwMode="auto">
          <a:xfrm flipV="1">
            <a:off x="3705225" y="2247900"/>
            <a:ext cx="546100" cy="403225"/>
          </a:xfrm>
          <a:prstGeom prst="bentConnector3">
            <a:avLst>
              <a:gd name="adj1" fmla="val 49866"/>
            </a:avLst>
          </a:prstGeom>
          <a:noFill/>
          <a:ln w="12700">
            <a:solidFill>
              <a:schemeClr val="tx2"/>
            </a:solidFill>
            <a:miter lim="800000"/>
            <a:headEnd type="none" w="sm" len="sm"/>
            <a:tailEnd type="none" w="sm" len="sm"/>
          </a:ln>
        </p:spPr>
      </p:cxnSp>
      <p:cxnSp>
        <p:nvCxnSpPr>
          <p:cNvPr id="16" name="AutoShape 15"/>
          <p:cNvCxnSpPr>
            <a:cxnSpLocks noChangeShapeType="1"/>
            <a:stCxn id="5" idx="3"/>
            <a:endCxn id="13" idx="1"/>
          </p:cNvCxnSpPr>
          <p:nvPr/>
        </p:nvCxnSpPr>
        <p:spPr bwMode="auto">
          <a:xfrm>
            <a:off x="3705225" y="2651125"/>
            <a:ext cx="546100" cy="401638"/>
          </a:xfrm>
          <a:prstGeom prst="bentConnector3">
            <a:avLst>
              <a:gd name="adj1" fmla="val 49866"/>
            </a:avLst>
          </a:prstGeom>
          <a:noFill/>
          <a:ln w="12700">
            <a:solidFill>
              <a:schemeClr val="tx2"/>
            </a:solidFill>
            <a:miter lim="800000"/>
            <a:headEnd type="none" w="sm" len="sm"/>
            <a:tailEnd type="none" w="sm" len="sm"/>
          </a:ln>
        </p:spPr>
      </p:cxnSp>
      <p:sp>
        <p:nvSpPr>
          <p:cNvPr id="17" name="Rectangle 24"/>
          <p:cNvSpPr>
            <a:spLocks noChangeArrowheads="1"/>
          </p:cNvSpPr>
          <p:nvPr/>
        </p:nvSpPr>
        <p:spPr bwMode="auto">
          <a:xfrm>
            <a:off x="4251325" y="5241925"/>
            <a:ext cx="1214438" cy="460375"/>
          </a:xfrm>
          <a:prstGeom prst="rect">
            <a:avLst/>
          </a:prstGeom>
          <a:solidFill>
            <a:schemeClr val="accent3"/>
          </a:solidFill>
          <a:ln w="19050" algn="ctr">
            <a:noFill/>
            <a:miter lim="800000"/>
            <a:headEnd type="none" w="sm" len="sm"/>
            <a:tailEnd type="none" w="sm" len="sm"/>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cxnSp>
        <p:nvCxnSpPr>
          <p:cNvPr id="18" name="AutoShape 25"/>
          <p:cNvCxnSpPr>
            <a:cxnSpLocks noChangeShapeType="1"/>
            <a:stCxn id="6" idx="3"/>
            <a:endCxn id="17" idx="1"/>
          </p:cNvCxnSpPr>
          <p:nvPr/>
        </p:nvCxnSpPr>
        <p:spPr bwMode="auto">
          <a:xfrm>
            <a:off x="3705225" y="4665663"/>
            <a:ext cx="546100" cy="806450"/>
          </a:xfrm>
          <a:prstGeom prst="bentConnector3">
            <a:avLst>
              <a:gd name="adj1" fmla="val 49866"/>
            </a:avLst>
          </a:prstGeom>
          <a:noFill/>
          <a:ln w="12700">
            <a:solidFill>
              <a:schemeClr val="tx2"/>
            </a:solidFill>
            <a:miter lim="800000"/>
            <a:headEnd type="none" w="sm" len="sm"/>
            <a:tailEnd type="none" w="sm" len="sm"/>
          </a:ln>
        </p:spPr>
      </p:cxnSp>
      <p:sp>
        <p:nvSpPr>
          <p:cNvPr id="618514" name="AutoShape 16"/>
          <p:cNvSpPr>
            <a:spLocks noChangeArrowheads="1"/>
          </p:cNvSpPr>
          <p:nvPr/>
        </p:nvSpPr>
        <p:spPr bwMode="gray">
          <a:xfrm rot="-5400000">
            <a:off x="6043612" y="1976438"/>
            <a:ext cx="263525" cy="425450"/>
          </a:xfrm>
          <a:prstGeom prst="rightArrow">
            <a:avLst>
              <a:gd name="adj1" fmla="val 55954"/>
              <a:gd name="adj2" fmla="val 40625"/>
            </a:avLst>
          </a:prstGeom>
          <a:solidFill>
            <a:srgbClr val="3C8A2D"/>
          </a:solidFill>
          <a:ln w="28575" algn="ctr">
            <a:noFill/>
            <a:miter lim="800000"/>
            <a:headEnd type="none" w="sm" len="sm"/>
            <a:tailEnd type="none" w="sm" len="sm"/>
          </a:ln>
        </p:spPr>
        <p:txBody>
          <a:bodyPr vert="eaVert" wrap="none" anchor="ctr"/>
          <a:lstStyle/>
          <a:p>
            <a:pPr algn="ctr"/>
            <a:endParaRPr lang="en-GB"/>
          </a:p>
        </p:txBody>
      </p:sp>
      <p:sp>
        <p:nvSpPr>
          <p:cNvPr id="618515" name="AutoShape 17"/>
          <p:cNvSpPr>
            <a:spLocks noChangeArrowheads="1"/>
          </p:cNvSpPr>
          <p:nvPr/>
        </p:nvSpPr>
        <p:spPr bwMode="gray">
          <a:xfrm rot="-5400000">
            <a:off x="6858000" y="1976438"/>
            <a:ext cx="263525" cy="425450"/>
          </a:xfrm>
          <a:prstGeom prst="rightArrow">
            <a:avLst>
              <a:gd name="adj1" fmla="val 55954"/>
              <a:gd name="adj2" fmla="val 40625"/>
            </a:avLst>
          </a:prstGeom>
          <a:solidFill>
            <a:srgbClr val="3C8A2D"/>
          </a:solidFill>
          <a:ln w="28575" algn="ctr">
            <a:noFill/>
            <a:miter lim="800000"/>
            <a:headEnd type="none" w="sm" len="sm"/>
            <a:tailEnd type="none" w="sm" len="sm"/>
          </a:ln>
        </p:spPr>
        <p:txBody>
          <a:bodyPr vert="eaVert" wrap="none" anchor="ctr"/>
          <a:lstStyle/>
          <a:p>
            <a:pPr algn="ctr"/>
            <a:endParaRPr lang="en-GB"/>
          </a:p>
        </p:txBody>
      </p:sp>
      <p:sp>
        <p:nvSpPr>
          <p:cNvPr id="618516" name="AutoShape 18"/>
          <p:cNvSpPr>
            <a:spLocks noChangeArrowheads="1"/>
          </p:cNvSpPr>
          <p:nvPr/>
        </p:nvSpPr>
        <p:spPr bwMode="gray">
          <a:xfrm rot="-5400000">
            <a:off x="7686675" y="1976438"/>
            <a:ext cx="263525" cy="425450"/>
          </a:xfrm>
          <a:prstGeom prst="rightArrow">
            <a:avLst>
              <a:gd name="adj1" fmla="val 55954"/>
              <a:gd name="adj2" fmla="val 40625"/>
            </a:avLst>
          </a:prstGeom>
          <a:solidFill>
            <a:srgbClr val="3C8A2D"/>
          </a:solidFill>
          <a:ln w="28575" algn="ctr">
            <a:noFill/>
            <a:miter lim="800000"/>
            <a:headEnd type="none" w="sm" len="sm"/>
            <a:tailEnd type="none" w="sm" len="sm"/>
          </a:ln>
        </p:spPr>
        <p:txBody>
          <a:bodyPr vert="eaVert" wrap="none" anchor="ctr"/>
          <a:lstStyle/>
          <a:p>
            <a:pPr algn="ctr"/>
            <a:endParaRPr lang="en-GB"/>
          </a:p>
        </p:txBody>
      </p:sp>
      <p:sp>
        <p:nvSpPr>
          <p:cNvPr id="618517" name="AutoShape 19"/>
          <p:cNvSpPr>
            <a:spLocks noChangeArrowheads="1"/>
          </p:cNvSpPr>
          <p:nvPr/>
        </p:nvSpPr>
        <p:spPr bwMode="gray">
          <a:xfrm>
            <a:off x="6053138" y="2816225"/>
            <a:ext cx="242887" cy="460375"/>
          </a:xfrm>
          <a:prstGeom prst="rightArrow">
            <a:avLst>
              <a:gd name="adj1" fmla="val 55954"/>
              <a:gd name="adj2" fmla="val 40625"/>
            </a:avLst>
          </a:prstGeom>
          <a:solidFill>
            <a:srgbClr val="FF9900"/>
          </a:solidFill>
          <a:ln w="28575" algn="ctr">
            <a:noFill/>
            <a:miter lim="800000"/>
            <a:headEnd type="none" w="sm" len="sm"/>
            <a:tailEnd type="none" w="sm" len="sm"/>
          </a:ln>
        </p:spPr>
        <p:txBody>
          <a:bodyPr wrap="none" anchor="ctr"/>
          <a:lstStyle/>
          <a:p>
            <a:pPr algn="ctr"/>
            <a:endParaRPr lang="en-GB"/>
          </a:p>
        </p:txBody>
      </p:sp>
      <p:sp>
        <p:nvSpPr>
          <p:cNvPr id="618518" name="AutoShape 20"/>
          <p:cNvSpPr>
            <a:spLocks noChangeArrowheads="1"/>
          </p:cNvSpPr>
          <p:nvPr/>
        </p:nvSpPr>
        <p:spPr bwMode="gray">
          <a:xfrm>
            <a:off x="7697788" y="2816225"/>
            <a:ext cx="241300" cy="460375"/>
          </a:xfrm>
          <a:prstGeom prst="rightArrow">
            <a:avLst>
              <a:gd name="adj1" fmla="val 55954"/>
              <a:gd name="adj2" fmla="val 40625"/>
            </a:avLst>
          </a:prstGeom>
          <a:solidFill>
            <a:srgbClr val="FF9900"/>
          </a:solidFill>
          <a:ln w="28575" algn="ctr">
            <a:noFill/>
            <a:miter lim="800000"/>
            <a:headEnd type="none" w="sm" len="sm"/>
            <a:tailEnd type="none" w="sm" len="sm"/>
          </a:ln>
        </p:spPr>
        <p:txBody>
          <a:bodyPr wrap="none" anchor="ctr"/>
          <a:lstStyle/>
          <a:p>
            <a:pPr algn="ctr"/>
            <a:endParaRPr lang="en-GB"/>
          </a:p>
        </p:txBody>
      </p:sp>
      <p:sp>
        <p:nvSpPr>
          <p:cNvPr id="618519" name="AutoShape 21"/>
          <p:cNvSpPr>
            <a:spLocks noChangeArrowheads="1"/>
          </p:cNvSpPr>
          <p:nvPr/>
        </p:nvSpPr>
        <p:spPr bwMode="gray">
          <a:xfrm rot="5400000">
            <a:off x="7686675" y="3652838"/>
            <a:ext cx="263525" cy="425450"/>
          </a:xfrm>
          <a:prstGeom prst="rightArrow">
            <a:avLst>
              <a:gd name="adj1" fmla="val 55954"/>
              <a:gd name="adj2" fmla="val 40625"/>
            </a:avLst>
          </a:prstGeom>
          <a:solidFill>
            <a:srgbClr val="CC3300"/>
          </a:solidFill>
          <a:ln w="28575" algn="ctr">
            <a:noFill/>
            <a:miter lim="800000"/>
            <a:headEnd type="none" w="sm" len="sm"/>
            <a:tailEnd type="none" w="sm" len="sm"/>
          </a:ln>
        </p:spPr>
        <p:txBody>
          <a:bodyPr rot="10800000" vert="eaVert" wrap="none" anchor="ctr"/>
          <a:lstStyle/>
          <a:p>
            <a:pPr algn="ctr"/>
            <a:endParaRPr lang="en-GB"/>
          </a:p>
        </p:txBody>
      </p:sp>
      <p:sp>
        <p:nvSpPr>
          <p:cNvPr id="618520" name="AutoShape 22"/>
          <p:cNvSpPr>
            <a:spLocks noChangeArrowheads="1"/>
          </p:cNvSpPr>
          <p:nvPr/>
        </p:nvSpPr>
        <p:spPr bwMode="gray">
          <a:xfrm rot="5400000">
            <a:off x="6043612" y="3652838"/>
            <a:ext cx="263525" cy="425450"/>
          </a:xfrm>
          <a:prstGeom prst="rightArrow">
            <a:avLst>
              <a:gd name="adj1" fmla="val 55954"/>
              <a:gd name="adj2" fmla="val 40625"/>
            </a:avLst>
          </a:prstGeom>
          <a:solidFill>
            <a:srgbClr val="CC3300"/>
          </a:solidFill>
          <a:ln w="28575" algn="ctr">
            <a:noFill/>
            <a:miter lim="800000"/>
            <a:headEnd type="none" w="sm" len="sm"/>
            <a:tailEnd type="none" w="sm" len="sm"/>
          </a:ln>
        </p:spPr>
        <p:txBody>
          <a:bodyPr rot="10800000" vert="eaVert" wrap="none" anchor="ctr"/>
          <a:lstStyle/>
          <a:p>
            <a:pPr algn="ctr"/>
            <a:endParaRPr lang="en-GB"/>
          </a:p>
        </p:txBody>
      </p:sp>
      <p:sp>
        <p:nvSpPr>
          <p:cNvPr id="618521" name="AutoShape 23"/>
          <p:cNvSpPr>
            <a:spLocks noChangeArrowheads="1"/>
          </p:cNvSpPr>
          <p:nvPr/>
        </p:nvSpPr>
        <p:spPr bwMode="gray">
          <a:xfrm rot="5400000">
            <a:off x="6858000" y="3652838"/>
            <a:ext cx="263525" cy="425450"/>
          </a:xfrm>
          <a:prstGeom prst="rightArrow">
            <a:avLst>
              <a:gd name="adj1" fmla="val 55954"/>
              <a:gd name="adj2" fmla="val 40625"/>
            </a:avLst>
          </a:prstGeom>
          <a:solidFill>
            <a:srgbClr val="CC3300"/>
          </a:solidFill>
          <a:ln w="28575" algn="ctr">
            <a:noFill/>
            <a:miter lim="800000"/>
            <a:headEnd type="none" w="sm" len="sm"/>
            <a:tailEnd type="none" w="sm" len="sm"/>
          </a:ln>
        </p:spPr>
        <p:txBody>
          <a:bodyPr rot="10800000" vert="eaVert" wrap="none" anchor="ctr"/>
          <a:lstStyle/>
          <a:p>
            <a:pPr algn="ctr"/>
            <a:endParaRPr lang="en-GB"/>
          </a:p>
        </p:txBody>
      </p:sp>
      <p:sp>
        <p:nvSpPr>
          <p:cNvPr id="618522" name="Text Box 26"/>
          <p:cNvSpPr txBox="1">
            <a:spLocks noChangeArrowheads="1"/>
          </p:cNvSpPr>
          <p:nvPr/>
        </p:nvSpPr>
        <p:spPr bwMode="auto">
          <a:xfrm>
            <a:off x="6011863" y="1693863"/>
            <a:ext cx="327025" cy="215900"/>
          </a:xfrm>
          <a:prstGeom prst="rect">
            <a:avLst/>
          </a:prstGeom>
          <a:noFill/>
          <a:ln w="9525">
            <a:noFill/>
            <a:miter lim="800000"/>
            <a:headEnd type="none" w="sm" len="sm"/>
            <a:tailEnd type="none" w="sm" len="sm"/>
          </a:ln>
        </p:spPr>
        <p:txBody>
          <a:bodyPr wrap="none" lIns="0" tIns="0" rIns="0" bIns="0">
            <a:spAutoFit/>
          </a:bodyPr>
          <a:lstStyle/>
          <a:p>
            <a:pPr algn="ctr"/>
            <a:r>
              <a:rPr lang="en-GB" altLang="ja-JP" sz="1400">
                <a:solidFill>
                  <a:schemeClr val="tx2"/>
                </a:solidFill>
                <a:ea typeface="ＭＳ Ｐゴシック" charset="-128"/>
              </a:rPr>
              <a:t>Text</a:t>
            </a:r>
          </a:p>
        </p:txBody>
      </p:sp>
      <p:sp>
        <p:nvSpPr>
          <p:cNvPr id="618523" name="Text Box 27"/>
          <p:cNvSpPr txBox="1">
            <a:spLocks noChangeArrowheads="1"/>
          </p:cNvSpPr>
          <p:nvPr/>
        </p:nvSpPr>
        <p:spPr bwMode="auto">
          <a:xfrm>
            <a:off x="6826250" y="1693863"/>
            <a:ext cx="328613" cy="215900"/>
          </a:xfrm>
          <a:prstGeom prst="rect">
            <a:avLst/>
          </a:prstGeom>
          <a:noFill/>
          <a:ln w="9525">
            <a:noFill/>
            <a:miter lim="800000"/>
            <a:headEnd type="none" w="sm" len="sm"/>
            <a:tailEnd type="none" w="sm" len="sm"/>
          </a:ln>
        </p:spPr>
        <p:txBody>
          <a:bodyPr wrap="none" lIns="0" tIns="0" rIns="0" bIns="0">
            <a:spAutoFit/>
          </a:bodyPr>
          <a:lstStyle/>
          <a:p>
            <a:pPr algn="ctr"/>
            <a:r>
              <a:rPr lang="en-GB" altLang="ja-JP" sz="1400">
                <a:solidFill>
                  <a:schemeClr val="tx2"/>
                </a:solidFill>
                <a:ea typeface="ＭＳ Ｐゴシック" charset="-128"/>
              </a:rPr>
              <a:t>Text</a:t>
            </a:r>
          </a:p>
        </p:txBody>
      </p:sp>
      <p:sp>
        <p:nvSpPr>
          <p:cNvPr id="618524" name="Text Box 28"/>
          <p:cNvSpPr txBox="1">
            <a:spLocks noChangeArrowheads="1"/>
          </p:cNvSpPr>
          <p:nvPr/>
        </p:nvSpPr>
        <p:spPr bwMode="auto">
          <a:xfrm>
            <a:off x="7654925" y="1693863"/>
            <a:ext cx="327025" cy="215900"/>
          </a:xfrm>
          <a:prstGeom prst="rect">
            <a:avLst/>
          </a:prstGeom>
          <a:noFill/>
          <a:ln w="9525">
            <a:noFill/>
            <a:miter lim="800000"/>
            <a:headEnd type="none" w="sm" len="sm"/>
            <a:tailEnd type="none" w="sm" len="sm"/>
          </a:ln>
        </p:spPr>
        <p:txBody>
          <a:bodyPr wrap="none" lIns="0" tIns="0" rIns="0" bIns="0">
            <a:spAutoFit/>
          </a:bodyPr>
          <a:lstStyle/>
          <a:p>
            <a:pPr algn="ctr"/>
            <a:r>
              <a:rPr lang="en-GB" altLang="ja-JP" sz="1400">
                <a:solidFill>
                  <a:schemeClr val="tx2"/>
                </a:solidFill>
                <a:ea typeface="ＭＳ Ｐゴシック" charset="-128"/>
              </a:rPr>
              <a:t>Text</a:t>
            </a:r>
          </a:p>
        </p:txBody>
      </p:sp>
      <p:sp>
        <p:nvSpPr>
          <p:cNvPr id="618525" name="AutoShape 29"/>
          <p:cNvSpPr>
            <a:spLocks noChangeArrowheads="1"/>
          </p:cNvSpPr>
          <p:nvPr/>
        </p:nvSpPr>
        <p:spPr bwMode="gray">
          <a:xfrm>
            <a:off x="6869113" y="2816225"/>
            <a:ext cx="242887" cy="460375"/>
          </a:xfrm>
          <a:prstGeom prst="rightArrow">
            <a:avLst>
              <a:gd name="adj1" fmla="val 55954"/>
              <a:gd name="adj2" fmla="val 40625"/>
            </a:avLst>
          </a:prstGeom>
          <a:solidFill>
            <a:srgbClr val="FF9900"/>
          </a:solidFill>
          <a:ln w="28575" algn="ctr">
            <a:noFill/>
            <a:miter lim="800000"/>
            <a:headEnd type="none" w="sm" len="sm"/>
            <a:tailEnd type="none" w="sm" len="sm"/>
          </a:ln>
        </p:spPr>
        <p:txBody>
          <a:bodyPr wrap="none" anchor="ctr"/>
          <a:lstStyle/>
          <a:p>
            <a:pPr algn="ctr"/>
            <a:endParaRPr lang="en-GB"/>
          </a:p>
        </p:txBody>
      </p:sp>
      <p:sp>
        <p:nvSpPr>
          <p:cNvPr id="618526" name="AutoShape 30"/>
          <p:cNvSpPr>
            <a:spLocks noChangeArrowheads="1"/>
          </p:cNvSpPr>
          <p:nvPr/>
        </p:nvSpPr>
        <p:spPr bwMode="gray">
          <a:xfrm rot="-5400000">
            <a:off x="6043612" y="4414838"/>
            <a:ext cx="263525" cy="425450"/>
          </a:xfrm>
          <a:prstGeom prst="rightArrow">
            <a:avLst>
              <a:gd name="adj1" fmla="val 55954"/>
              <a:gd name="adj2" fmla="val 40625"/>
            </a:avLst>
          </a:prstGeom>
          <a:solidFill>
            <a:srgbClr val="3C8A2D"/>
          </a:solidFill>
          <a:ln w="28575" algn="ctr">
            <a:noFill/>
            <a:miter lim="800000"/>
            <a:headEnd type="none" w="sm" len="sm"/>
            <a:tailEnd type="none" w="sm" len="sm"/>
          </a:ln>
        </p:spPr>
        <p:txBody>
          <a:bodyPr vert="eaVert" wrap="none" anchor="ctr"/>
          <a:lstStyle/>
          <a:p>
            <a:pPr algn="ctr"/>
            <a:endParaRPr lang="en-GB"/>
          </a:p>
        </p:txBody>
      </p:sp>
      <p:sp>
        <p:nvSpPr>
          <p:cNvPr id="618527" name="AutoShape 31"/>
          <p:cNvSpPr>
            <a:spLocks noChangeArrowheads="1"/>
          </p:cNvSpPr>
          <p:nvPr/>
        </p:nvSpPr>
        <p:spPr bwMode="gray">
          <a:xfrm rot="-5400000">
            <a:off x="6858000" y="4414838"/>
            <a:ext cx="263525" cy="425450"/>
          </a:xfrm>
          <a:prstGeom prst="rightArrow">
            <a:avLst>
              <a:gd name="adj1" fmla="val 55954"/>
              <a:gd name="adj2" fmla="val 40625"/>
            </a:avLst>
          </a:prstGeom>
          <a:solidFill>
            <a:srgbClr val="3C8A2D"/>
          </a:solidFill>
          <a:ln w="28575" algn="ctr">
            <a:noFill/>
            <a:miter lim="800000"/>
            <a:headEnd type="none" w="sm" len="sm"/>
            <a:tailEnd type="none" w="sm" len="sm"/>
          </a:ln>
        </p:spPr>
        <p:txBody>
          <a:bodyPr vert="eaVert" wrap="none" anchor="ctr"/>
          <a:lstStyle/>
          <a:p>
            <a:pPr algn="ctr"/>
            <a:endParaRPr lang="en-GB"/>
          </a:p>
        </p:txBody>
      </p:sp>
      <p:sp>
        <p:nvSpPr>
          <p:cNvPr id="618528" name="AutoShape 32"/>
          <p:cNvSpPr>
            <a:spLocks noChangeArrowheads="1"/>
          </p:cNvSpPr>
          <p:nvPr/>
        </p:nvSpPr>
        <p:spPr bwMode="gray">
          <a:xfrm rot="-5400000">
            <a:off x="7686675" y="4414838"/>
            <a:ext cx="263525" cy="425450"/>
          </a:xfrm>
          <a:prstGeom prst="rightArrow">
            <a:avLst>
              <a:gd name="adj1" fmla="val 55954"/>
              <a:gd name="adj2" fmla="val 40625"/>
            </a:avLst>
          </a:prstGeom>
          <a:solidFill>
            <a:srgbClr val="3C8A2D"/>
          </a:solidFill>
          <a:ln w="28575" algn="ctr">
            <a:noFill/>
            <a:miter lim="800000"/>
            <a:headEnd type="none" w="sm" len="sm"/>
            <a:tailEnd type="none" w="sm" len="sm"/>
          </a:ln>
        </p:spPr>
        <p:txBody>
          <a:bodyPr vert="eaVert" wrap="none" anchor="ctr"/>
          <a:lstStyle/>
          <a:p>
            <a:pPr algn="ctr"/>
            <a:endParaRPr lang="en-GB"/>
          </a:p>
        </p:txBody>
      </p:sp>
      <p:sp>
        <p:nvSpPr>
          <p:cNvPr id="618529" name="AutoShape 33"/>
          <p:cNvSpPr>
            <a:spLocks noChangeArrowheads="1"/>
          </p:cNvSpPr>
          <p:nvPr/>
        </p:nvSpPr>
        <p:spPr bwMode="gray">
          <a:xfrm>
            <a:off x="6053138" y="5254625"/>
            <a:ext cx="242887" cy="460375"/>
          </a:xfrm>
          <a:prstGeom prst="rightArrow">
            <a:avLst>
              <a:gd name="adj1" fmla="val 55954"/>
              <a:gd name="adj2" fmla="val 40625"/>
            </a:avLst>
          </a:prstGeom>
          <a:solidFill>
            <a:srgbClr val="FF9900"/>
          </a:solidFill>
          <a:ln w="28575" algn="ctr">
            <a:noFill/>
            <a:miter lim="800000"/>
            <a:headEnd type="none" w="sm" len="sm"/>
            <a:tailEnd type="none" w="sm" len="sm"/>
          </a:ln>
        </p:spPr>
        <p:txBody>
          <a:bodyPr wrap="none" anchor="ctr"/>
          <a:lstStyle/>
          <a:p>
            <a:pPr algn="ctr"/>
            <a:endParaRPr lang="en-GB"/>
          </a:p>
        </p:txBody>
      </p:sp>
      <p:sp>
        <p:nvSpPr>
          <p:cNvPr id="618530" name="AutoShape 34"/>
          <p:cNvSpPr>
            <a:spLocks noChangeArrowheads="1"/>
          </p:cNvSpPr>
          <p:nvPr/>
        </p:nvSpPr>
        <p:spPr bwMode="gray">
          <a:xfrm>
            <a:off x="7697788" y="5254625"/>
            <a:ext cx="241300" cy="460375"/>
          </a:xfrm>
          <a:prstGeom prst="rightArrow">
            <a:avLst>
              <a:gd name="adj1" fmla="val 55954"/>
              <a:gd name="adj2" fmla="val 40625"/>
            </a:avLst>
          </a:prstGeom>
          <a:solidFill>
            <a:srgbClr val="FF9900"/>
          </a:solidFill>
          <a:ln w="28575" algn="ctr">
            <a:noFill/>
            <a:miter lim="800000"/>
            <a:headEnd type="none" w="sm" len="sm"/>
            <a:tailEnd type="none" w="sm" len="sm"/>
          </a:ln>
        </p:spPr>
        <p:txBody>
          <a:bodyPr wrap="none" anchor="ctr"/>
          <a:lstStyle/>
          <a:p>
            <a:pPr algn="ctr"/>
            <a:endParaRPr lang="en-GB"/>
          </a:p>
        </p:txBody>
      </p:sp>
      <p:sp>
        <p:nvSpPr>
          <p:cNvPr id="618531" name="AutoShape 35"/>
          <p:cNvSpPr>
            <a:spLocks noChangeArrowheads="1"/>
          </p:cNvSpPr>
          <p:nvPr/>
        </p:nvSpPr>
        <p:spPr bwMode="gray">
          <a:xfrm>
            <a:off x="6869113" y="5254625"/>
            <a:ext cx="242887" cy="460375"/>
          </a:xfrm>
          <a:prstGeom prst="rightArrow">
            <a:avLst>
              <a:gd name="adj1" fmla="val 55954"/>
              <a:gd name="adj2" fmla="val 40625"/>
            </a:avLst>
          </a:prstGeom>
          <a:solidFill>
            <a:srgbClr val="FF9900"/>
          </a:solidFill>
          <a:ln w="28575" algn="ctr">
            <a:noFill/>
            <a:miter lim="800000"/>
            <a:headEnd type="none" w="sm" len="sm"/>
            <a:tailEnd type="none" w="sm" len="sm"/>
          </a:ln>
        </p:spPr>
        <p:txBody>
          <a:bodyPr wrap="none" anchor="ctr"/>
          <a:lstStyle/>
          <a:p>
            <a:pPr algn="ctr"/>
            <a:endParaRPr lang="en-GB"/>
          </a:p>
        </p:txBody>
      </p:sp>
      <p:sp>
        <p:nvSpPr>
          <p:cNvPr id="40"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4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46" name="Rectangle 15"/>
          <p:cNvSpPr>
            <a:spLocks noChangeArrowheads="1"/>
          </p:cNvSpPr>
          <p:nvPr/>
        </p:nvSpPr>
        <p:spPr bwMode="gray">
          <a:xfrm>
            <a:off x="5936771" y="1447800"/>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AutoShape 12"/>
          <p:cNvCxnSpPr>
            <a:cxnSpLocks noChangeShapeType="1"/>
          </p:cNvCxnSpPr>
          <p:nvPr/>
        </p:nvCxnSpPr>
        <p:spPr bwMode="auto">
          <a:xfrm>
            <a:off x="2081402" y="3775803"/>
            <a:ext cx="1138048" cy="3968"/>
          </a:xfrm>
          <a:prstGeom prst="bentConnector3">
            <a:avLst>
              <a:gd name="adj1" fmla="val 50000"/>
            </a:avLst>
          </a:prstGeom>
          <a:noFill/>
          <a:ln w="12700">
            <a:solidFill>
              <a:schemeClr val="tx2"/>
            </a:solidFill>
            <a:miter lim="800000"/>
            <a:headEnd type="none" w="sm" len="sm"/>
            <a:tailEnd type="none" w="sm" len="sm"/>
          </a:ln>
        </p:spPr>
      </p:cxnSp>
      <p:sp>
        <p:nvSpPr>
          <p:cNvPr id="619521" name="Title 1"/>
          <p:cNvSpPr>
            <a:spLocks noGrp="1"/>
          </p:cNvSpPr>
          <p:nvPr>
            <p:ph type="title"/>
          </p:nvPr>
        </p:nvSpPr>
        <p:spPr>
          <a:xfrm>
            <a:off x="414338" y="446038"/>
            <a:ext cx="8330184" cy="333425"/>
          </a:xfrm>
        </p:spPr>
        <p:txBody>
          <a:bodyPr/>
          <a:lstStyle/>
          <a:p>
            <a:r>
              <a:rPr lang="en-US"/>
              <a:t>Driver trees — moons showing base trends</a:t>
            </a:r>
            <a:endParaRPr lang="nl-NL"/>
          </a:p>
        </p:txBody>
      </p:sp>
      <p:sp>
        <p:nvSpPr>
          <p:cNvPr id="4" name="Rectangle 3"/>
          <p:cNvSpPr>
            <a:spLocks noChangeArrowheads="1"/>
          </p:cNvSpPr>
          <p:nvPr/>
        </p:nvSpPr>
        <p:spPr bwMode="auto">
          <a:xfrm>
            <a:off x="384175" y="3503652"/>
            <a:ext cx="1195388" cy="533400"/>
          </a:xfrm>
          <a:prstGeom prst="rect">
            <a:avLst/>
          </a:prstGeom>
          <a:solidFill>
            <a:schemeClr val="accent3"/>
          </a:solidFill>
          <a:ln w="19050" algn="ctr">
            <a:noFill/>
            <a:miter lim="800000"/>
            <a:headEnd type="none" w="sm" len="sm"/>
            <a:tailEnd type="none" w="sm" len="sm"/>
          </a:ln>
        </p:spPr>
        <p:txBody>
          <a:bodyPr lIns="18000" tIns="18000" rIns="18000" bIns="18000" anchor="ctr"/>
          <a:lstStyle/>
          <a:p>
            <a:pPr marL="12700" indent="-12700" algn="ctr">
              <a:lnSpc>
                <a:spcPct val="110000"/>
              </a:lnSpc>
              <a:defRPr/>
            </a:pPr>
            <a:r>
              <a:rPr lang="en-GB" altLang="ja-JP" sz="1400" b="1">
                <a:solidFill>
                  <a:schemeClr val="bg1"/>
                </a:solidFill>
                <a:ea typeface="ＭＳ Ｐゴシック" pitchFamily="50" charset="-128"/>
              </a:rPr>
              <a:t>Text</a:t>
            </a:r>
          </a:p>
        </p:txBody>
      </p:sp>
      <p:sp>
        <p:nvSpPr>
          <p:cNvPr id="5" name="Rectangle 4"/>
          <p:cNvSpPr>
            <a:spLocks noChangeArrowheads="1"/>
          </p:cNvSpPr>
          <p:nvPr/>
        </p:nvSpPr>
        <p:spPr bwMode="auto">
          <a:xfrm>
            <a:off x="2579688" y="5127665"/>
            <a:ext cx="1195387" cy="533400"/>
          </a:xfrm>
          <a:prstGeom prst="rect">
            <a:avLst/>
          </a:prstGeom>
          <a:solidFill>
            <a:schemeClr val="accent3"/>
          </a:solidFill>
          <a:ln w="19050" algn="ctr">
            <a:noFill/>
            <a:miter lim="800000"/>
            <a:headEnd type="none" w="sm" len="sm"/>
            <a:tailEnd type="none" w="sm" len="sm"/>
          </a:ln>
        </p:spPr>
        <p:txBody>
          <a:bodyPr lIns="18000" tIns="18000" rIns="18000" bIns="18000" anchor="ctr"/>
          <a:lstStyle/>
          <a:p>
            <a:pPr marL="12700" indent="-12700" algn="ctr">
              <a:lnSpc>
                <a:spcPct val="110000"/>
              </a:lnSpc>
              <a:defRPr/>
            </a:pPr>
            <a:r>
              <a:rPr lang="en-GB" altLang="ja-JP" sz="1400" b="1">
                <a:solidFill>
                  <a:schemeClr val="bg1"/>
                </a:solidFill>
                <a:ea typeface="ＭＳ Ｐゴシック" pitchFamily="50" charset="-128"/>
              </a:rPr>
              <a:t>Text</a:t>
            </a:r>
          </a:p>
        </p:txBody>
      </p:sp>
      <p:sp>
        <p:nvSpPr>
          <p:cNvPr id="6" name="Rectangle 5"/>
          <p:cNvSpPr>
            <a:spLocks noChangeArrowheads="1"/>
          </p:cNvSpPr>
          <p:nvPr/>
        </p:nvSpPr>
        <p:spPr bwMode="auto">
          <a:xfrm>
            <a:off x="2579688" y="4316452"/>
            <a:ext cx="1195387" cy="533400"/>
          </a:xfrm>
          <a:prstGeom prst="rect">
            <a:avLst/>
          </a:prstGeom>
          <a:solidFill>
            <a:schemeClr val="accent3"/>
          </a:solidFill>
          <a:ln w="19050" algn="ctr">
            <a:noFill/>
            <a:miter lim="800000"/>
            <a:headEnd type="none" w="sm" len="sm"/>
            <a:tailEnd type="none" w="sm" len="sm"/>
          </a:ln>
        </p:spPr>
        <p:txBody>
          <a:bodyPr lIns="18000" tIns="18000" rIns="18000" bIns="18000" anchor="ctr"/>
          <a:lstStyle/>
          <a:p>
            <a:pPr marL="12700" indent="-12700" algn="ctr">
              <a:lnSpc>
                <a:spcPct val="110000"/>
              </a:lnSpc>
              <a:defRPr/>
            </a:pPr>
            <a:r>
              <a:rPr lang="en-GB" altLang="ja-JP" sz="1400" b="1">
                <a:solidFill>
                  <a:schemeClr val="bg1"/>
                </a:solidFill>
                <a:ea typeface="ＭＳ Ｐゴシック" pitchFamily="50" charset="-128"/>
              </a:rPr>
              <a:t>Text</a:t>
            </a:r>
          </a:p>
        </p:txBody>
      </p:sp>
      <p:sp>
        <p:nvSpPr>
          <p:cNvPr id="7" name="Rectangle 6"/>
          <p:cNvSpPr>
            <a:spLocks noChangeArrowheads="1"/>
          </p:cNvSpPr>
          <p:nvPr/>
        </p:nvSpPr>
        <p:spPr bwMode="auto">
          <a:xfrm>
            <a:off x="2579688" y="1885990"/>
            <a:ext cx="1195387" cy="533400"/>
          </a:xfrm>
          <a:prstGeom prst="rect">
            <a:avLst/>
          </a:prstGeom>
          <a:solidFill>
            <a:schemeClr val="accent3"/>
          </a:solidFill>
          <a:ln w="19050" algn="ctr">
            <a:noFill/>
            <a:miter lim="800000"/>
            <a:headEnd type="none" w="sm" len="sm"/>
            <a:tailEnd type="none" w="sm" len="sm"/>
          </a:ln>
        </p:spPr>
        <p:txBody>
          <a:bodyPr lIns="18000" tIns="18000" rIns="18000" bIns="18000" anchor="ctr"/>
          <a:lstStyle/>
          <a:p>
            <a:pPr marL="12700" indent="-12700" algn="ctr">
              <a:lnSpc>
                <a:spcPct val="110000"/>
              </a:lnSpc>
              <a:defRPr/>
            </a:pPr>
            <a:r>
              <a:rPr lang="en-GB" altLang="ja-JP" sz="1400" b="1">
                <a:solidFill>
                  <a:schemeClr val="bg1"/>
                </a:solidFill>
                <a:ea typeface="ＭＳ Ｐゴシック" pitchFamily="50" charset="-128"/>
              </a:rPr>
              <a:t>Text</a:t>
            </a:r>
          </a:p>
        </p:txBody>
      </p:sp>
      <p:sp>
        <p:nvSpPr>
          <p:cNvPr id="8" name="Rectangle 7"/>
          <p:cNvSpPr>
            <a:spLocks noChangeArrowheads="1"/>
          </p:cNvSpPr>
          <p:nvPr/>
        </p:nvSpPr>
        <p:spPr bwMode="auto">
          <a:xfrm>
            <a:off x="2579688" y="2695615"/>
            <a:ext cx="1195387" cy="533400"/>
          </a:xfrm>
          <a:prstGeom prst="rect">
            <a:avLst/>
          </a:prstGeom>
          <a:solidFill>
            <a:schemeClr val="accent3"/>
          </a:solidFill>
          <a:ln w="19050" algn="ctr">
            <a:noFill/>
            <a:miter lim="800000"/>
            <a:headEnd type="none" w="sm" len="sm"/>
            <a:tailEnd type="none" w="sm" len="sm"/>
          </a:ln>
        </p:spPr>
        <p:txBody>
          <a:bodyPr lIns="18000" tIns="18000" rIns="18000" bIns="18000" anchor="ctr"/>
          <a:lstStyle/>
          <a:p>
            <a:pPr marL="12700" indent="-12700" algn="ctr">
              <a:lnSpc>
                <a:spcPct val="110000"/>
              </a:lnSpc>
              <a:defRPr/>
            </a:pPr>
            <a:r>
              <a:rPr lang="en-GB" altLang="ja-JP" sz="1400" b="1">
                <a:solidFill>
                  <a:schemeClr val="bg1"/>
                </a:solidFill>
                <a:ea typeface="ＭＳ Ｐゴシック" pitchFamily="50" charset="-128"/>
              </a:rPr>
              <a:t>Text</a:t>
            </a:r>
          </a:p>
        </p:txBody>
      </p:sp>
      <p:sp>
        <p:nvSpPr>
          <p:cNvPr id="9" name="Rectangle 8"/>
          <p:cNvSpPr>
            <a:spLocks noChangeArrowheads="1"/>
          </p:cNvSpPr>
          <p:nvPr/>
        </p:nvSpPr>
        <p:spPr bwMode="auto">
          <a:xfrm>
            <a:off x="2579688" y="3506827"/>
            <a:ext cx="1195387" cy="533400"/>
          </a:xfrm>
          <a:prstGeom prst="rect">
            <a:avLst/>
          </a:prstGeom>
          <a:solidFill>
            <a:schemeClr val="accent3"/>
          </a:solidFill>
          <a:ln w="19050" algn="ctr">
            <a:noFill/>
            <a:miter lim="800000"/>
            <a:headEnd type="none" w="sm" len="sm"/>
            <a:tailEnd type="none" w="sm" len="sm"/>
          </a:ln>
        </p:spPr>
        <p:txBody>
          <a:bodyPr lIns="18000" tIns="18000" rIns="18000" bIns="18000" anchor="ctr"/>
          <a:lstStyle/>
          <a:p>
            <a:pPr marL="12700" indent="-12700" algn="ctr">
              <a:lnSpc>
                <a:spcPct val="110000"/>
              </a:lnSpc>
              <a:defRPr/>
            </a:pPr>
            <a:r>
              <a:rPr lang="en-GB" altLang="ja-JP" sz="1400" b="1">
                <a:solidFill>
                  <a:schemeClr val="bg1"/>
                </a:solidFill>
                <a:ea typeface="ＭＳ Ｐゴシック" pitchFamily="50" charset="-128"/>
              </a:rPr>
              <a:t>Text</a:t>
            </a:r>
          </a:p>
        </p:txBody>
      </p:sp>
      <p:cxnSp>
        <p:nvCxnSpPr>
          <p:cNvPr id="10" name="AutoShape 9"/>
          <p:cNvCxnSpPr>
            <a:cxnSpLocks noChangeShapeType="1"/>
          </p:cNvCxnSpPr>
          <p:nvPr/>
        </p:nvCxnSpPr>
        <p:spPr bwMode="auto">
          <a:xfrm>
            <a:off x="1581340" y="3779771"/>
            <a:ext cx="1000125" cy="812800"/>
          </a:xfrm>
          <a:prstGeom prst="bentConnector3">
            <a:avLst>
              <a:gd name="adj1" fmla="val 50000"/>
            </a:avLst>
          </a:prstGeom>
          <a:noFill/>
          <a:ln w="12700">
            <a:solidFill>
              <a:schemeClr val="tx2"/>
            </a:solidFill>
            <a:miter lim="800000"/>
            <a:headEnd type="none" w="sm" len="sm"/>
            <a:tailEnd type="none" w="sm" len="sm"/>
          </a:ln>
        </p:spPr>
      </p:cxnSp>
      <p:cxnSp>
        <p:nvCxnSpPr>
          <p:cNvPr id="11" name="AutoShape 10"/>
          <p:cNvCxnSpPr>
            <a:cxnSpLocks noChangeShapeType="1"/>
          </p:cNvCxnSpPr>
          <p:nvPr/>
        </p:nvCxnSpPr>
        <p:spPr bwMode="auto">
          <a:xfrm flipV="1">
            <a:off x="1579563" y="2162216"/>
            <a:ext cx="1000125" cy="1617662"/>
          </a:xfrm>
          <a:prstGeom prst="bentConnector3">
            <a:avLst>
              <a:gd name="adj1" fmla="val 50000"/>
            </a:avLst>
          </a:prstGeom>
          <a:noFill/>
          <a:ln w="12700">
            <a:solidFill>
              <a:schemeClr val="tx2"/>
            </a:solidFill>
            <a:miter lim="800000"/>
            <a:headEnd type="none" w="sm" len="sm"/>
            <a:tailEnd type="none" w="sm" len="sm"/>
          </a:ln>
        </p:spPr>
      </p:cxnSp>
      <p:cxnSp>
        <p:nvCxnSpPr>
          <p:cNvPr id="12" name="AutoShape 11"/>
          <p:cNvCxnSpPr>
            <a:cxnSpLocks noChangeShapeType="1"/>
          </p:cNvCxnSpPr>
          <p:nvPr/>
        </p:nvCxnSpPr>
        <p:spPr bwMode="auto">
          <a:xfrm flipV="1">
            <a:off x="1579563" y="2972634"/>
            <a:ext cx="1000125" cy="808037"/>
          </a:xfrm>
          <a:prstGeom prst="bentConnector3">
            <a:avLst>
              <a:gd name="adj1" fmla="val 50000"/>
            </a:avLst>
          </a:prstGeom>
          <a:noFill/>
          <a:ln w="12700">
            <a:solidFill>
              <a:schemeClr val="tx2"/>
            </a:solidFill>
            <a:miter lim="800000"/>
            <a:headEnd type="none" w="sm" len="sm"/>
            <a:tailEnd type="none" w="sm" len="sm"/>
          </a:ln>
        </p:spPr>
      </p:cxnSp>
      <p:cxnSp>
        <p:nvCxnSpPr>
          <p:cNvPr id="14" name="AutoShape 14"/>
          <p:cNvCxnSpPr>
            <a:cxnSpLocks noChangeShapeType="1"/>
          </p:cNvCxnSpPr>
          <p:nvPr/>
        </p:nvCxnSpPr>
        <p:spPr bwMode="auto">
          <a:xfrm rot="10800000">
            <a:off x="1579562" y="3780671"/>
            <a:ext cx="1000125" cy="1624013"/>
          </a:xfrm>
          <a:prstGeom prst="bentConnector3">
            <a:avLst>
              <a:gd name="adj1" fmla="val 50000"/>
            </a:avLst>
          </a:prstGeom>
          <a:noFill/>
          <a:ln w="12700">
            <a:solidFill>
              <a:schemeClr val="tx2"/>
            </a:solidFill>
            <a:miter lim="800000"/>
            <a:headEnd type="none" w="sm" len="sm"/>
            <a:tailEnd type="none" w="med" len="lg"/>
          </a:ln>
        </p:spPr>
      </p:cxnSp>
      <p:grpSp>
        <p:nvGrpSpPr>
          <p:cNvPr id="2" name="Group 30"/>
          <p:cNvGrpSpPr>
            <a:grpSpLocks/>
          </p:cNvGrpSpPr>
          <p:nvPr/>
        </p:nvGrpSpPr>
        <p:grpSpPr bwMode="auto">
          <a:xfrm>
            <a:off x="363165" y="5851483"/>
            <a:ext cx="1842463" cy="368300"/>
            <a:chOff x="233" y="841"/>
            <a:chExt cx="1258" cy="232"/>
          </a:xfrm>
        </p:grpSpPr>
        <p:sp>
          <p:nvSpPr>
            <p:cNvPr id="16" name="Oval 31"/>
            <p:cNvSpPr>
              <a:spLocks noChangeArrowheads="1"/>
            </p:cNvSpPr>
            <p:nvPr/>
          </p:nvSpPr>
          <p:spPr bwMode="auto">
            <a:xfrm>
              <a:off x="288" y="872"/>
              <a:ext cx="157" cy="158"/>
            </a:xfrm>
            <a:prstGeom prst="ellipse">
              <a:avLst/>
            </a:prstGeom>
            <a:solidFill>
              <a:schemeClr val="accent3"/>
            </a:solidFill>
            <a:ln w="12700" cap="rnd" algn="ctr">
              <a:solidFill>
                <a:schemeClr val="accent3"/>
              </a:solidFill>
              <a:round/>
              <a:headEnd/>
              <a:tailEnd/>
            </a:ln>
          </p:spPr>
          <p:txBody>
            <a:bodyPr wrap="none" anchor="ctr"/>
            <a:lstStyle/>
            <a:p>
              <a:pPr algn="ctr">
                <a:defRPr/>
              </a:pPr>
              <a:endParaRPr lang="en-GB" sz="1400"/>
            </a:p>
          </p:txBody>
        </p:sp>
        <p:sp>
          <p:nvSpPr>
            <p:cNvPr id="619598" name="Text Box 32"/>
            <p:cNvSpPr txBox="1">
              <a:spLocks noChangeArrowheads="1"/>
            </p:cNvSpPr>
            <p:nvPr/>
          </p:nvSpPr>
          <p:spPr bwMode="auto">
            <a:xfrm>
              <a:off x="452" y="864"/>
              <a:ext cx="465" cy="194"/>
            </a:xfrm>
            <a:prstGeom prst="rect">
              <a:avLst/>
            </a:prstGeom>
            <a:noFill/>
            <a:ln w="9525">
              <a:noFill/>
              <a:miter lim="800000"/>
              <a:headEnd type="none" w="sm" len="sm"/>
              <a:tailEnd type="none" w="sm" len="sm"/>
            </a:ln>
          </p:spPr>
          <p:txBody>
            <a:bodyPr wrap="none">
              <a:spAutoFit/>
            </a:bodyPr>
            <a:lstStyle/>
            <a:p>
              <a:r>
                <a:rPr lang="en-GB" altLang="ja-JP" sz="1400" dirty="0">
                  <a:solidFill>
                    <a:schemeClr val="tx2"/>
                  </a:solidFill>
                  <a:ea typeface="ＭＳ Ｐゴシック" charset="-128"/>
                </a:rPr>
                <a:t>strong</a:t>
              </a:r>
            </a:p>
          </p:txBody>
        </p:sp>
        <p:sp>
          <p:nvSpPr>
            <p:cNvPr id="18" name="Oval 33"/>
            <p:cNvSpPr>
              <a:spLocks noChangeArrowheads="1"/>
            </p:cNvSpPr>
            <p:nvPr/>
          </p:nvSpPr>
          <p:spPr bwMode="auto">
            <a:xfrm>
              <a:off x="912" y="872"/>
              <a:ext cx="158" cy="158"/>
            </a:xfrm>
            <a:prstGeom prst="ellipse">
              <a:avLst/>
            </a:prstGeom>
            <a:solidFill>
              <a:srgbClr val="FFFFFF"/>
            </a:solidFill>
            <a:ln w="12700">
              <a:solidFill>
                <a:schemeClr val="accent3"/>
              </a:solidFill>
              <a:round/>
              <a:headEnd/>
              <a:tailEnd/>
            </a:ln>
          </p:spPr>
          <p:txBody>
            <a:bodyPr wrap="none" anchor="ctr"/>
            <a:lstStyle/>
            <a:p>
              <a:pPr algn="ctr">
                <a:defRPr/>
              </a:pPr>
              <a:endParaRPr lang="en-GB" sz="1400"/>
            </a:p>
          </p:txBody>
        </p:sp>
        <p:sp>
          <p:nvSpPr>
            <p:cNvPr id="619600" name="Text Box 34"/>
            <p:cNvSpPr txBox="1">
              <a:spLocks noChangeArrowheads="1"/>
            </p:cNvSpPr>
            <p:nvPr/>
          </p:nvSpPr>
          <p:spPr bwMode="auto">
            <a:xfrm>
              <a:off x="1068" y="864"/>
              <a:ext cx="412" cy="194"/>
            </a:xfrm>
            <a:prstGeom prst="rect">
              <a:avLst/>
            </a:prstGeom>
            <a:noFill/>
            <a:ln w="9525">
              <a:noFill/>
              <a:miter lim="800000"/>
              <a:headEnd type="none" w="sm" len="sm"/>
              <a:tailEnd type="none" w="sm" len="sm"/>
            </a:ln>
          </p:spPr>
          <p:txBody>
            <a:bodyPr wrap="none">
              <a:spAutoFit/>
            </a:bodyPr>
            <a:lstStyle/>
            <a:p>
              <a:r>
                <a:rPr lang="en-GB" altLang="ja-JP" sz="1400">
                  <a:solidFill>
                    <a:schemeClr val="tx2"/>
                  </a:solidFill>
                  <a:ea typeface="ＭＳ Ｐゴシック" charset="-128"/>
                </a:rPr>
                <a:t>weak</a:t>
              </a:r>
            </a:p>
          </p:txBody>
        </p:sp>
        <p:sp>
          <p:nvSpPr>
            <p:cNvPr id="20" name="Rectangle 35"/>
            <p:cNvSpPr>
              <a:spLocks noChangeArrowheads="1"/>
            </p:cNvSpPr>
            <p:nvPr/>
          </p:nvSpPr>
          <p:spPr bwMode="auto">
            <a:xfrm>
              <a:off x="233" y="841"/>
              <a:ext cx="1258" cy="232"/>
            </a:xfrm>
            <a:prstGeom prst="rect">
              <a:avLst/>
            </a:prstGeom>
            <a:noFill/>
            <a:ln w="12700">
              <a:solidFill>
                <a:schemeClr val="tx2"/>
              </a:solidFill>
              <a:miter lim="800000"/>
              <a:headEnd type="none" w="sm" len="sm"/>
              <a:tailEnd type="none" w="sm" len="sm"/>
            </a:ln>
          </p:spPr>
          <p:txBody>
            <a:bodyPr wrap="none" anchor="ctr"/>
            <a:lstStyle/>
            <a:p>
              <a:pPr algn="ctr">
                <a:defRPr/>
              </a:pPr>
              <a:endParaRPr lang="en-GB" sz="1400"/>
            </a:p>
          </p:txBody>
        </p:sp>
      </p:grpSp>
      <p:sp>
        <p:nvSpPr>
          <p:cNvPr id="619535" name="Rectangle 18"/>
          <p:cNvSpPr>
            <a:spLocks noChangeArrowheads="1"/>
          </p:cNvSpPr>
          <p:nvPr/>
        </p:nvSpPr>
        <p:spPr bwMode="auto">
          <a:xfrm>
            <a:off x="7829550" y="1557377"/>
            <a:ext cx="327025" cy="215900"/>
          </a:xfrm>
          <a:prstGeom prst="rect">
            <a:avLst/>
          </a:prstGeom>
          <a:noFill/>
          <a:ln w="9525">
            <a:noFill/>
            <a:miter lim="800000"/>
            <a:headEnd type="none" w="sm" len="sm"/>
            <a:tailEnd type="none" w="sm" len="sm"/>
          </a:ln>
        </p:spPr>
        <p:txBody>
          <a:bodyPr wrap="none" lIns="0" tIns="0" rIns="0" bIns="0" anchor="ctr">
            <a:spAutoFit/>
          </a:bodyPr>
          <a:lstStyle/>
          <a:p>
            <a:pPr algn="ctr"/>
            <a:r>
              <a:rPr lang="en-GB" altLang="ja-JP" sz="1400">
                <a:solidFill>
                  <a:schemeClr val="tx2"/>
                </a:solidFill>
                <a:ea typeface="ＭＳ Ｐゴシック" charset="-128"/>
              </a:rPr>
              <a:t>Text</a:t>
            </a:r>
          </a:p>
        </p:txBody>
      </p:sp>
      <p:sp>
        <p:nvSpPr>
          <p:cNvPr id="26" name="Oval 19"/>
          <p:cNvSpPr>
            <a:spLocks noChangeArrowheads="1"/>
          </p:cNvSpPr>
          <p:nvPr/>
        </p:nvSpPr>
        <p:spPr bwMode="auto">
          <a:xfrm>
            <a:off x="7850188" y="1997115"/>
            <a:ext cx="287337" cy="311150"/>
          </a:xfrm>
          <a:prstGeom prst="ellipse">
            <a:avLst/>
          </a:prstGeom>
          <a:solidFill>
            <a:schemeClr val="accent3"/>
          </a:solidFill>
          <a:ln w="12700">
            <a:solidFill>
              <a:schemeClr val="accent3"/>
            </a:solidFill>
            <a:round/>
            <a:headEnd/>
            <a:tailEnd/>
          </a:ln>
        </p:spPr>
        <p:txBody>
          <a:bodyPr wrap="none" anchor="ctr"/>
          <a:lstStyle/>
          <a:p>
            <a:pPr algn="ctr">
              <a:defRPr/>
            </a:pPr>
            <a:endParaRPr lang="en-GB"/>
          </a:p>
        </p:txBody>
      </p:sp>
      <p:sp>
        <p:nvSpPr>
          <p:cNvPr id="27" name="Oval 20"/>
          <p:cNvSpPr>
            <a:spLocks noChangeArrowheads="1"/>
          </p:cNvSpPr>
          <p:nvPr/>
        </p:nvSpPr>
        <p:spPr bwMode="auto">
          <a:xfrm>
            <a:off x="7850188" y="5241965"/>
            <a:ext cx="287337" cy="304800"/>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grpSp>
        <p:nvGrpSpPr>
          <p:cNvPr id="3" name="Group 21"/>
          <p:cNvGrpSpPr>
            <a:grpSpLocks/>
          </p:cNvGrpSpPr>
          <p:nvPr/>
        </p:nvGrpSpPr>
        <p:grpSpPr bwMode="auto">
          <a:xfrm>
            <a:off x="7845425" y="3621127"/>
            <a:ext cx="295275" cy="307975"/>
            <a:chOff x="5340" y="2406"/>
            <a:chExt cx="202" cy="194"/>
          </a:xfrm>
        </p:grpSpPr>
        <p:sp>
          <p:nvSpPr>
            <p:cNvPr id="29" name="Oval 22"/>
            <p:cNvSpPr>
              <a:spLocks noChangeArrowheads="1"/>
            </p:cNvSpPr>
            <p:nvPr/>
          </p:nvSpPr>
          <p:spPr bwMode="auto">
            <a:xfrm flipH="1">
              <a:off x="5340" y="2407"/>
              <a:ext cx="197" cy="193"/>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sp>
          <p:nvSpPr>
            <p:cNvPr id="30" name="Arc 23"/>
            <p:cNvSpPr>
              <a:spLocks/>
            </p:cNvSpPr>
            <p:nvPr/>
          </p:nvSpPr>
          <p:spPr bwMode="auto">
            <a:xfrm flipH="1">
              <a:off x="5439" y="2406"/>
              <a:ext cx="103" cy="193"/>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12700" cap="rnd">
              <a:solidFill>
                <a:schemeClr val="accent3"/>
              </a:solidFill>
              <a:round/>
              <a:headEnd/>
              <a:tailEnd/>
            </a:ln>
          </p:spPr>
          <p:txBody>
            <a:bodyPr wrap="none" anchor="ctr"/>
            <a:lstStyle/>
            <a:p>
              <a:pPr algn="ctr">
                <a:defRPr/>
              </a:pPr>
              <a:endParaRPr lang="en-GB"/>
            </a:p>
          </p:txBody>
        </p:sp>
      </p:grpSp>
      <p:grpSp>
        <p:nvGrpSpPr>
          <p:cNvPr id="15" name="Group 24"/>
          <p:cNvGrpSpPr>
            <a:grpSpLocks/>
          </p:cNvGrpSpPr>
          <p:nvPr/>
        </p:nvGrpSpPr>
        <p:grpSpPr bwMode="auto">
          <a:xfrm>
            <a:off x="7842250" y="2808327"/>
            <a:ext cx="303213" cy="311150"/>
            <a:chOff x="5338" y="1894"/>
            <a:chExt cx="207" cy="196"/>
          </a:xfrm>
        </p:grpSpPr>
        <p:sp>
          <p:nvSpPr>
            <p:cNvPr id="32" name="Oval 25"/>
            <p:cNvSpPr>
              <a:spLocks noChangeArrowheads="1"/>
            </p:cNvSpPr>
            <p:nvPr/>
          </p:nvSpPr>
          <p:spPr bwMode="auto">
            <a:xfrm flipH="1">
              <a:off x="5340" y="1895"/>
              <a:ext cx="198" cy="195"/>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sp>
          <p:nvSpPr>
            <p:cNvPr id="33" name="Arc 26"/>
            <p:cNvSpPr>
              <a:spLocks/>
            </p:cNvSpPr>
            <p:nvPr/>
          </p:nvSpPr>
          <p:spPr bwMode="auto">
            <a:xfrm flipH="1">
              <a:off x="5338" y="1894"/>
              <a:ext cx="207" cy="195"/>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12700" cap="rnd">
              <a:solidFill>
                <a:schemeClr val="accent3"/>
              </a:solidFill>
              <a:round/>
              <a:headEnd/>
              <a:tailEnd/>
            </a:ln>
          </p:spPr>
          <p:txBody>
            <a:bodyPr wrap="none" anchor="ctr"/>
            <a:lstStyle/>
            <a:p>
              <a:pPr algn="ctr">
                <a:defRPr/>
              </a:pPr>
              <a:endParaRPr lang="en-GB"/>
            </a:p>
          </p:txBody>
        </p:sp>
      </p:grpSp>
      <p:grpSp>
        <p:nvGrpSpPr>
          <p:cNvPr id="17" name="Group 27"/>
          <p:cNvGrpSpPr>
            <a:grpSpLocks/>
          </p:cNvGrpSpPr>
          <p:nvPr/>
        </p:nvGrpSpPr>
        <p:grpSpPr bwMode="auto">
          <a:xfrm>
            <a:off x="7847013" y="4429165"/>
            <a:ext cx="292100" cy="311150"/>
            <a:chOff x="5341" y="2915"/>
            <a:chExt cx="200" cy="196"/>
          </a:xfrm>
        </p:grpSpPr>
        <p:sp>
          <p:nvSpPr>
            <p:cNvPr id="35" name="Oval 28"/>
            <p:cNvSpPr>
              <a:spLocks noChangeArrowheads="1"/>
            </p:cNvSpPr>
            <p:nvPr/>
          </p:nvSpPr>
          <p:spPr bwMode="auto">
            <a:xfrm flipH="1">
              <a:off x="5341" y="2916"/>
              <a:ext cx="198" cy="195"/>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sp>
          <p:nvSpPr>
            <p:cNvPr id="36" name="Arc 29"/>
            <p:cNvSpPr>
              <a:spLocks/>
            </p:cNvSpPr>
            <p:nvPr/>
          </p:nvSpPr>
          <p:spPr bwMode="auto">
            <a:xfrm flipH="1">
              <a:off x="5438" y="2915"/>
              <a:ext cx="103" cy="1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12700" cap="rnd">
              <a:solidFill>
                <a:schemeClr val="accent3"/>
              </a:solidFill>
              <a:round/>
              <a:headEnd/>
              <a:tailEnd/>
            </a:ln>
          </p:spPr>
          <p:txBody>
            <a:bodyPr wrap="none" anchor="ctr"/>
            <a:lstStyle/>
            <a:p>
              <a:pPr algn="ctr">
                <a:defRPr/>
              </a:pPr>
              <a:endParaRPr lang="en-GB"/>
            </a:p>
          </p:txBody>
        </p:sp>
      </p:grpSp>
      <p:sp>
        <p:nvSpPr>
          <p:cNvPr id="619541" name="Rectangle 17"/>
          <p:cNvSpPr>
            <a:spLocks noChangeArrowheads="1"/>
          </p:cNvSpPr>
          <p:nvPr/>
        </p:nvSpPr>
        <p:spPr bwMode="auto">
          <a:xfrm>
            <a:off x="6931025" y="1557377"/>
            <a:ext cx="328613" cy="215900"/>
          </a:xfrm>
          <a:prstGeom prst="rect">
            <a:avLst/>
          </a:prstGeom>
          <a:noFill/>
          <a:ln w="9525">
            <a:noFill/>
            <a:miter lim="800000"/>
            <a:headEnd type="none" w="sm" len="sm"/>
            <a:tailEnd type="none" w="sm" len="sm"/>
          </a:ln>
        </p:spPr>
        <p:txBody>
          <a:bodyPr wrap="none" lIns="0" tIns="0" rIns="0" bIns="0" anchor="ctr">
            <a:spAutoFit/>
          </a:bodyPr>
          <a:lstStyle/>
          <a:p>
            <a:pPr algn="ctr"/>
            <a:r>
              <a:rPr lang="en-GB" altLang="ja-JP" sz="1400">
                <a:solidFill>
                  <a:schemeClr val="tx2"/>
                </a:solidFill>
                <a:ea typeface="ＭＳ Ｐゴシック" charset="-128"/>
              </a:rPr>
              <a:t>Text</a:t>
            </a:r>
          </a:p>
        </p:txBody>
      </p:sp>
      <p:sp>
        <p:nvSpPr>
          <p:cNvPr id="37" name="Oval 36"/>
          <p:cNvSpPr>
            <a:spLocks noChangeArrowheads="1"/>
          </p:cNvSpPr>
          <p:nvPr/>
        </p:nvSpPr>
        <p:spPr bwMode="auto">
          <a:xfrm>
            <a:off x="6951663" y="1997115"/>
            <a:ext cx="287337" cy="311150"/>
          </a:xfrm>
          <a:prstGeom prst="ellipse">
            <a:avLst/>
          </a:prstGeom>
          <a:solidFill>
            <a:schemeClr val="accent3"/>
          </a:solidFill>
          <a:ln w="12700">
            <a:solidFill>
              <a:schemeClr val="accent3"/>
            </a:solidFill>
            <a:round/>
            <a:headEnd/>
            <a:tailEnd/>
          </a:ln>
        </p:spPr>
        <p:txBody>
          <a:bodyPr wrap="none" anchor="ctr"/>
          <a:lstStyle/>
          <a:p>
            <a:pPr algn="ctr">
              <a:defRPr/>
            </a:pPr>
            <a:endParaRPr lang="en-GB"/>
          </a:p>
        </p:txBody>
      </p:sp>
      <p:sp>
        <p:nvSpPr>
          <p:cNvPr id="38" name="Oval 37"/>
          <p:cNvSpPr>
            <a:spLocks noChangeArrowheads="1"/>
          </p:cNvSpPr>
          <p:nvPr/>
        </p:nvSpPr>
        <p:spPr bwMode="auto">
          <a:xfrm>
            <a:off x="6951663" y="5241965"/>
            <a:ext cx="287337" cy="304800"/>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grpSp>
        <p:nvGrpSpPr>
          <p:cNvPr id="19" name="Group 38"/>
          <p:cNvGrpSpPr>
            <a:grpSpLocks/>
          </p:cNvGrpSpPr>
          <p:nvPr/>
        </p:nvGrpSpPr>
        <p:grpSpPr bwMode="auto">
          <a:xfrm>
            <a:off x="6948488" y="3621127"/>
            <a:ext cx="295275" cy="307975"/>
            <a:chOff x="4746" y="2406"/>
            <a:chExt cx="202" cy="194"/>
          </a:xfrm>
        </p:grpSpPr>
        <p:sp>
          <p:nvSpPr>
            <p:cNvPr id="40" name="Oval 39"/>
            <p:cNvSpPr>
              <a:spLocks noChangeArrowheads="1"/>
            </p:cNvSpPr>
            <p:nvPr/>
          </p:nvSpPr>
          <p:spPr bwMode="auto">
            <a:xfrm flipH="1">
              <a:off x="4746" y="2407"/>
              <a:ext cx="197" cy="193"/>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sp>
          <p:nvSpPr>
            <p:cNvPr id="41" name="Arc 40"/>
            <p:cNvSpPr>
              <a:spLocks/>
            </p:cNvSpPr>
            <p:nvPr/>
          </p:nvSpPr>
          <p:spPr bwMode="auto">
            <a:xfrm flipH="1">
              <a:off x="4845" y="2406"/>
              <a:ext cx="103" cy="193"/>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12700" cap="rnd">
              <a:solidFill>
                <a:schemeClr val="accent3"/>
              </a:solidFill>
              <a:round/>
              <a:headEnd/>
              <a:tailEnd/>
            </a:ln>
          </p:spPr>
          <p:txBody>
            <a:bodyPr wrap="none" anchor="ctr"/>
            <a:lstStyle/>
            <a:p>
              <a:pPr algn="ctr">
                <a:defRPr/>
              </a:pPr>
              <a:endParaRPr lang="en-GB"/>
            </a:p>
          </p:txBody>
        </p:sp>
      </p:grpSp>
      <p:grpSp>
        <p:nvGrpSpPr>
          <p:cNvPr id="21" name="Group 41"/>
          <p:cNvGrpSpPr>
            <a:grpSpLocks/>
          </p:cNvGrpSpPr>
          <p:nvPr/>
        </p:nvGrpSpPr>
        <p:grpSpPr bwMode="auto">
          <a:xfrm>
            <a:off x="6943725" y="2808327"/>
            <a:ext cx="303213" cy="311150"/>
            <a:chOff x="4744" y="1894"/>
            <a:chExt cx="207" cy="196"/>
          </a:xfrm>
        </p:grpSpPr>
        <p:sp>
          <p:nvSpPr>
            <p:cNvPr id="43" name="Oval 42"/>
            <p:cNvSpPr>
              <a:spLocks noChangeArrowheads="1"/>
            </p:cNvSpPr>
            <p:nvPr/>
          </p:nvSpPr>
          <p:spPr bwMode="auto">
            <a:xfrm flipH="1">
              <a:off x="4746" y="1895"/>
              <a:ext cx="198" cy="195"/>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sp>
          <p:nvSpPr>
            <p:cNvPr id="44" name="Arc 43"/>
            <p:cNvSpPr>
              <a:spLocks/>
            </p:cNvSpPr>
            <p:nvPr/>
          </p:nvSpPr>
          <p:spPr bwMode="auto">
            <a:xfrm flipH="1">
              <a:off x="4744" y="1894"/>
              <a:ext cx="207" cy="195"/>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12700" cap="rnd">
              <a:solidFill>
                <a:schemeClr val="accent3"/>
              </a:solidFill>
              <a:round/>
              <a:headEnd/>
              <a:tailEnd/>
            </a:ln>
          </p:spPr>
          <p:txBody>
            <a:bodyPr wrap="none" anchor="ctr"/>
            <a:lstStyle/>
            <a:p>
              <a:pPr algn="ctr">
                <a:defRPr/>
              </a:pPr>
              <a:endParaRPr lang="en-GB"/>
            </a:p>
          </p:txBody>
        </p:sp>
      </p:grpSp>
      <p:grpSp>
        <p:nvGrpSpPr>
          <p:cNvPr id="22" name="Group 44"/>
          <p:cNvGrpSpPr>
            <a:grpSpLocks/>
          </p:cNvGrpSpPr>
          <p:nvPr/>
        </p:nvGrpSpPr>
        <p:grpSpPr bwMode="auto">
          <a:xfrm>
            <a:off x="6948488" y="4429165"/>
            <a:ext cx="293687" cy="311150"/>
            <a:chOff x="4747" y="2915"/>
            <a:chExt cx="200" cy="196"/>
          </a:xfrm>
        </p:grpSpPr>
        <p:sp>
          <p:nvSpPr>
            <p:cNvPr id="46" name="Oval 45"/>
            <p:cNvSpPr>
              <a:spLocks noChangeArrowheads="1"/>
            </p:cNvSpPr>
            <p:nvPr/>
          </p:nvSpPr>
          <p:spPr bwMode="auto">
            <a:xfrm flipH="1">
              <a:off x="4747" y="2916"/>
              <a:ext cx="198" cy="195"/>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sp>
          <p:nvSpPr>
            <p:cNvPr id="47" name="Arc 46"/>
            <p:cNvSpPr>
              <a:spLocks/>
            </p:cNvSpPr>
            <p:nvPr/>
          </p:nvSpPr>
          <p:spPr bwMode="auto">
            <a:xfrm flipH="1">
              <a:off x="4844" y="2915"/>
              <a:ext cx="103" cy="1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12700" cap="rnd">
              <a:solidFill>
                <a:schemeClr val="accent3"/>
              </a:solidFill>
              <a:round/>
              <a:headEnd/>
              <a:tailEnd/>
            </a:ln>
          </p:spPr>
          <p:txBody>
            <a:bodyPr wrap="none" anchor="ctr"/>
            <a:lstStyle/>
            <a:p>
              <a:pPr algn="ctr">
                <a:defRPr/>
              </a:pPr>
              <a:endParaRPr lang="en-GB"/>
            </a:p>
          </p:txBody>
        </p:sp>
      </p:grpSp>
      <p:sp>
        <p:nvSpPr>
          <p:cNvPr id="619547" name="Rectangle 16"/>
          <p:cNvSpPr>
            <a:spLocks noChangeArrowheads="1"/>
          </p:cNvSpPr>
          <p:nvPr/>
        </p:nvSpPr>
        <p:spPr bwMode="auto">
          <a:xfrm>
            <a:off x="6034088" y="1557377"/>
            <a:ext cx="328612" cy="215900"/>
          </a:xfrm>
          <a:prstGeom prst="rect">
            <a:avLst/>
          </a:prstGeom>
          <a:noFill/>
          <a:ln w="9525">
            <a:noFill/>
            <a:miter lim="800000"/>
            <a:headEnd type="none" w="sm" len="sm"/>
            <a:tailEnd type="none" w="sm" len="sm"/>
          </a:ln>
        </p:spPr>
        <p:txBody>
          <a:bodyPr wrap="none" lIns="0" tIns="0" rIns="0" bIns="0" anchor="ctr">
            <a:spAutoFit/>
          </a:bodyPr>
          <a:lstStyle/>
          <a:p>
            <a:pPr algn="ctr"/>
            <a:r>
              <a:rPr lang="en-GB" altLang="ja-JP" sz="1400">
                <a:solidFill>
                  <a:schemeClr val="tx2"/>
                </a:solidFill>
                <a:ea typeface="ＭＳ Ｐゴシック" charset="-128"/>
              </a:rPr>
              <a:t>Text</a:t>
            </a:r>
          </a:p>
        </p:txBody>
      </p:sp>
      <p:sp>
        <p:nvSpPr>
          <p:cNvPr id="48" name="Oval 47"/>
          <p:cNvSpPr>
            <a:spLocks noChangeArrowheads="1"/>
          </p:cNvSpPr>
          <p:nvPr/>
        </p:nvSpPr>
        <p:spPr bwMode="auto">
          <a:xfrm>
            <a:off x="6054725" y="1997115"/>
            <a:ext cx="287338" cy="311150"/>
          </a:xfrm>
          <a:prstGeom prst="ellipse">
            <a:avLst/>
          </a:prstGeom>
          <a:solidFill>
            <a:schemeClr val="accent3"/>
          </a:solidFill>
          <a:ln w="12700">
            <a:solidFill>
              <a:schemeClr val="accent3"/>
            </a:solidFill>
            <a:round/>
            <a:headEnd/>
            <a:tailEnd/>
          </a:ln>
        </p:spPr>
        <p:txBody>
          <a:bodyPr wrap="none" anchor="ctr"/>
          <a:lstStyle/>
          <a:p>
            <a:pPr algn="ctr">
              <a:defRPr/>
            </a:pPr>
            <a:endParaRPr lang="en-GB"/>
          </a:p>
        </p:txBody>
      </p:sp>
      <p:sp>
        <p:nvSpPr>
          <p:cNvPr id="49" name="Oval 48"/>
          <p:cNvSpPr>
            <a:spLocks noChangeArrowheads="1"/>
          </p:cNvSpPr>
          <p:nvPr/>
        </p:nvSpPr>
        <p:spPr bwMode="auto">
          <a:xfrm>
            <a:off x="6054725" y="5241965"/>
            <a:ext cx="287338" cy="304800"/>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grpSp>
        <p:nvGrpSpPr>
          <p:cNvPr id="23" name="Group 49"/>
          <p:cNvGrpSpPr>
            <a:grpSpLocks/>
          </p:cNvGrpSpPr>
          <p:nvPr/>
        </p:nvGrpSpPr>
        <p:grpSpPr bwMode="auto">
          <a:xfrm>
            <a:off x="6049963" y="3621127"/>
            <a:ext cx="296862" cy="307975"/>
            <a:chOff x="4151" y="2406"/>
            <a:chExt cx="202" cy="194"/>
          </a:xfrm>
        </p:grpSpPr>
        <p:sp>
          <p:nvSpPr>
            <p:cNvPr id="51" name="Oval 50"/>
            <p:cNvSpPr>
              <a:spLocks noChangeArrowheads="1"/>
            </p:cNvSpPr>
            <p:nvPr/>
          </p:nvSpPr>
          <p:spPr bwMode="auto">
            <a:xfrm flipH="1">
              <a:off x="4151" y="2407"/>
              <a:ext cx="198" cy="193"/>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sp>
          <p:nvSpPr>
            <p:cNvPr id="52" name="Arc 51"/>
            <p:cNvSpPr>
              <a:spLocks/>
            </p:cNvSpPr>
            <p:nvPr/>
          </p:nvSpPr>
          <p:spPr bwMode="auto">
            <a:xfrm flipH="1">
              <a:off x="4250" y="2406"/>
              <a:ext cx="103" cy="193"/>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12700" cap="rnd">
              <a:solidFill>
                <a:schemeClr val="accent3"/>
              </a:solidFill>
              <a:round/>
              <a:headEnd/>
              <a:tailEnd/>
            </a:ln>
          </p:spPr>
          <p:txBody>
            <a:bodyPr wrap="none" anchor="ctr"/>
            <a:lstStyle/>
            <a:p>
              <a:pPr algn="ctr">
                <a:defRPr/>
              </a:pPr>
              <a:endParaRPr lang="en-GB"/>
            </a:p>
          </p:txBody>
        </p:sp>
      </p:grpSp>
      <p:grpSp>
        <p:nvGrpSpPr>
          <p:cNvPr id="24" name="Group 52"/>
          <p:cNvGrpSpPr>
            <a:grpSpLocks/>
          </p:cNvGrpSpPr>
          <p:nvPr/>
        </p:nvGrpSpPr>
        <p:grpSpPr bwMode="auto">
          <a:xfrm>
            <a:off x="6046788" y="2808327"/>
            <a:ext cx="303212" cy="311150"/>
            <a:chOff x="4149" y="1894"/>
            <a:chExt cx="207" cy="196"/>
          </a:xfrm>
        </p:grpSpPr>
        <p:sp>
          <p:nvSpPr>
            <p:cNvPr id="54" name="Oval 53"/>
            <p:cNvSpPr>
              <a:spLocks noChangeArrowheads="1"/>
            </p:cNvSpPr>
            <p:nvPr/>
          </p:nvSpPr>
          <p:spPr bwMode="auto">
            <a:xfrm flipH="1">
              <a:off x="4151" y="1895"/>
              <a:ext cx="198" cy="195"/>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sp>
          <p:nvSpPr>
            <p:cNvPr id="55" name="Arc 54"/>
            <p:cNvSpPr>
              <a:spLocks/>
            </p:cNvSpPr>
            <p:nvPr/>
          </p:nvSpPr>
          <p:spPr bwMode="auto">
            <a:xfrm flipH="1">
              <a:off x="4149" y="1894"/>
              <a:ext cx="207" cy="195"/>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12700" cap="rnd">
              <a:solidFill>
                <a:schemeClr val="accent3"/>
              </a:solidFill>
              <a:round/>
              <a:headEnd/>
              <a:tailEnd/>
            </a:ln>
          </p:spPr>
          <p:txBody>
            <a:bodyPr wrap="none" anchor="ctr"/>
            <a:lstStyle/>
            <a:p>
              <a:pPr algn="ctr">
                <a:defRPr/>
              </a:pPr>
              <a:endParaRPr lang="en-GB"/>
            </a:p>
          </p:txBody>
        </p:sp>
      </p:grpSp>
      <p:grpSp>
        <p:nvGrpSpPr>
          <p:cNvPr id="25" name="Group 55"/>
          <p:cNvGrpSpPr>
            <a:grpSpLocks/>
          </p:cNvGrpSpPr>
          <p:nvPr/>
        </p:nvGrpSpPr>
        <p:grpSpPr bwMode="auto">
          <a:xfrm>
            <a:off x="6051550" y="4429165"/>
            <a:ext cx="293688" cy="311150"/>
            <a:chOff x="4152" y="2915"/>
            <a:chExt cx="200" cy="196"/>
          </a:xfrm>
        </p:grpSpPr>
        <p:sp>
          <p:nvSpPr>
            <p:cNvPr id="57" name="Oval 56"/>
            <p:cNvSpPr>
              <a:spLocks noChangeArrowheads="1"/>
            </p:cNvSpPr>
            <p:nvPr/>
          </p:nvSpPr>
          <p:spPr bwMode="auto">
            <a:xfrm flipH="1">
              <a:off x="4152" y="2916"/>
              <a:ext cx="198" cy="195"/>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sp>
          <p:nvSpPr>
            <p:cNvPr id="58" name="Arc 57"/>
            <p:cNvSpPr>
              <a:spLocks/>
            </p:cNvSpPr>
            <p:nvPr/>
          </p:nvSpPr>
          <p:spPr bwMode="auto">
            <a:xfrm flipH="1">
              <a:off x="4249" y="2915"/>
              <a:ext cx="103" cy="1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12700" cap="rnd">
              <a:solidFill>
                <a:schemeClr val="accent3"/>
              </a:solidFill>
              <a:round/>
              <a:headEnd/>
              <a:tailEnd/>
            </a:ln>
          </p:spPr>
          <p:txBody>
            <a:bodyPr wrap="none" anchor="ctr"/>
            <a:lstStyle/>
            <a:p>
              <a:pPr algn="ctr">
                <a:defRPr/>
              </a:pPr>
              <a:endParaRPr lang="en-GB"/>
            </a:p>
          </p:txBody>
        </p:sp>
      </p:grpSp>
      <p:sp>
        <p:nvSpPr>
          <p:cNvPr id="619553" name="Rectangle 15"/>
          <p:cNvSpPr>
            <a:spLocks noChangeArrowheads="1"/>
          </p:cNvSpPr>
          <p:nvPr/>
        </p:nvSpPr>
        <p:spPr bwMode="auto">
          <a:xfrm>
            <a:off x="5135563" y="1557377"/>
            <a:ext cx="328612" cy="215900"/>
          </a:xfrm>
          <a:prstGeom prst="rect">
            <a:avLst/>
          </a:prstGeom>
          <a:noFill/>
          <a:ln w="9525">
            <a:noFill/>
            <a:miter lim="800000"/>
            <a:headEnd type="none" w="sm" len="sm"/>
            <a:tailEnd type="none" w="sm" len="sm"/>
          </a:ln>
        </p:spPr>
        <p:txBody>
          <a:bodyPr wrap="none" lIns="0" tIns="0" rIns="0" bIns="0" anchor="ctr">
            <a:spAutoFit/>
          </a:bodyPr>
          <a:lstStyle/>
          <a:p>
            <a:pPr algn="ctr"/>
            <a:r>
              <a:rPr lang="en-GB" altLang="ja-JP" sz="1400">
                <a:solidFill>
                  <a:schemeClr val="tx2"/>
                </a:solidFill>
                <a:ea typeface="ＭＳ Ｐゴシック" charset="-128"/>
              </a:rPr>
              <a:t>Text</a:t>
            </a:r>
          </a:p>
        </p:txBody>
      </p:sp>
      <p:sp>
        <p:nvSpPr>
          <p:cNvPr id="59" name="Oval 58"/>
          <p:cNvSpPr>
            <a:spLocks noChangeArrowheads="1"/>
          </p:cNvSpPr>
          <p:nvPr/>
        </p:nvSpPr>
        <p:spPr bwMode="auto">
          <a:xfrm>
            <a:off x="5156200" y="1997115"/>
            <a:ext cx="287338" cy="311150"/>
          </a:xfrm>
          <a:prstGeom prst="ellipse">
            <a:avLst/>
          </a:prstGeom>
          <a:solidFill>
            <a:schemeClr val="accent3"/>
          </a:solidFill>
          <a:ln w="12700">
            <a:solidFill>
              <a:schemeClr val="accent3"/>
            </a:solidFill>
            <a:round/>
            <a:headEnd/>
            <a:tailEnd/>
          </a:ln>
        </p:spPr>
        <p:txBody>
          <a:bodyPr wrap="none" anchor="ctr"/>
          <a:lstStyle/>
          <a:p>
            <a:pPr algn="ctr">
              <a:defRPr/>
            </a:pPr>
            <a:endParaRPr lang="en-GB"/>
          </a:p>
        </p:txBody>
      </p:sp>
      <p:sp>
        <p:nvSpPr>
          <p:cNvPr id="60" name="Oval 59"/>
          <p:cNvSpPr>
            <a:spLocks noChangeArrowheads="1"/>
          </p:cNvSpPr>
          <p:nvPr/>
        </p:nvSpPr>
        <p:spPr bwMode="auto">
          <a:xfrm>
            <a:off x="5156200" y="5241965"/>
            <a:ext cx="287338" cy="304800"/>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grpSp>
        <p:nvGrpSpPr>
          <p:cNvPr id="28" name="Group 60"/>
          <p:cNvGrpSpPr>
            <a:grpSpLocks/>
          </p:cNvGrpSpPr>
          <p:nvPr/>
        </p:nvGrpSpPr>
        <p:grpSpPr bwMode="auto">
          <a:xfrm>
            <a:off x="5151438" y="3621127"/>
            <a:ext cx="296862" cy="307975"/>
            <a:chOff x="3493" y="2406"/>
            <a:chExt cx="202" cy="194"/>
          </a:xfrm>
        </p:grpSpPr>
        <p:sp>
          <p:nvSpPr>
            <p:cNvPr id="62" name="Oval 61"/>
            <p:cNvSpPr>
              <a:spLocks noChangeArrowheads="1"/>
            </p:cNvSpPr>
            <p:nvPr/>
          </p:nvSpPr>
          <p:spPr bwMode="auto">
            <a:xfrm flipH="1">
              <a:off x="3493" y="2407"/>
              <a:ext cx="197" cy="193"/>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sp>
          <p:nvSpPr>
            <p:cNvPr id="63" name="Arc 62"/>
            <p:cNvSpPr>
              <a:spLocks/>
            </p:cNvSpPr>
            <p:nvPr/>
          </p:nvSpPr>
          <p:spPr bwMode="auto">
            <a:xfrm flipH="1">
              <a:off x="3592" y="2406"/>
              <a:ext cx="103" cy="193"/>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12700" cap="rnd">
              <a:solidFill>
                <a:schemeClr val="accent3"/>
              </a:solidFill>
              <a:round/>
              <a:headEnd/>
              <a:tailEnd/>
            </a:ln>
          </p:spPr>
          <p:txBody>
            <a:bodyPr wrap="none" anchor="ctr"/>
            <a:lstStyle/>
            <a:p>
              <a:pPr algn="ctr">
                <a:defRPr/>
              </a:pPr>
              <a:endParaRPr lang="en-GB"/>
            </a:p>
          </p:txBody>
        </p:sp>
      </p:grpSp>
      <p:grpSp>
        <p:nvGrpSpPr>
          <p:cNvPr id="31" name="Group 63"/>
          <p:cNvGrpSpPr>
            <a:grpSpLocks/>
          </p:cNvGrpSpPr>
          <p:nvPr/>
        </p:nvGrpSpPr>
        <p:grpSpPr bwMode="auto">
          <a:xfrm>
            <a:off x="5148263" y="2808327"/>
            <a:ext cx="304800" cy="311150"/>
            <a:chOff x="3491" y="1894"/>
            <a:chExt cx="208" cy="196"/>
          </a:xfrm>
        </p:grpSpPr>
        <p:sp>
          <p:nvSpPr>
            <p:cNvPr id="65" name="Oval 64"/>
            <p:cNvSpPr>
              <a:spLocks noChangeArrowheads="1"/>
            </p:cNvSpPr>
            <p:nvPr/>
          </p:nvSpPr>
          <p:spPr bwMode="auto">
            <a:xfrm flipH="1">
              <a:off x="3493" y="1895"/>
              <a:ext cx="199" cy="195"/>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sp>
          <p:nvSpPr>
            <p:cNvPr id="66" name="Arc 65"/>
            <p:cNvSpPr>
              <a:spLocks/>
            </p:cNvSpPr>
            <p:nvPr/>
          </p:nvSpPr>
          <p:spPr bwMode="auto">
            <a:xfrm flipH="1">
              <a:off x="3491" y="1894"/>
              <a:ext cx="208" cy="195"/>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12700" cap="rnd">
              <a:solidFill>
                <a:schemeClr val="accent3"/>
              </a:solidFill>
              <a:round/>
              <a:headEnd/>
              <a:tailEnd/>
            </a:ln>
          </p:spPr>
          <p:txBody>
            <a:bodyPr wrap="none" anchor="ctr"/>
            <a:lstStyle/>
            <a:p>
              <a:pPr algn="ctr">
                <a:defRPr/>
              </a:pPr>
              <a:endParaRPr lang="en-GB"/>
            </a:p>
          </p:txBody>
        </p:sp>
      </p:grpSp>
      <p:grpSp>
        <p:nvGrpSpPr>
          <p:cNvPr id="619584" name="Group 66"/>
          <p:cNvGrpSpPr>
            <a:grpSpLocks/>
          </p:cNvGrpSpPr>
          <p:nvPr/>
        </p:nvGrpSpPr>
        <p:grpSpPr bwMode="auto">
          <a:xfrm>
            <a:off x="5153025" y="4429165"/>
            <a:ext cx="293688" cy="311150"/>
            <a:chOff x="3494" y="2915"/>
            <a:chExt cx="200" cy="196"/>
          </a:xfrm>
        </p:grpSpPr>
        <p:sp>
          <p:nvSpPr>
            <p:cNvPr id="68" name="Oval 67"/>
            <p:cNvSpPr>
              <a:spLocks noChangeArrowheads="1"/>
            </p:cNvSpPr>
            <p:nvPr/>
          </p:nvSpPr>
          <p:spPr bwMode="auto">
            <a:xfrm flipH="1">
              <a:off x="3494" y="2916"/>
              <a:ext cx="198" cy="195"/>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sp>
          <p:nvSpPr>
            <p:cNvPr id="69" name="Arc 68"/>
            <p:cNvSpPr>
              <a:spLocks/>
            </p:cNvSpPr>
            <p:nvPr/>
          </p:nvSpPr>
          <p:spPr bwMode="auto">
            <a:xfrm flipH="1">
              <a:off x="3591" y="2915"/>
              <a:ext cx="103" cy="1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12700" cap="rnd">
              <a:solidFill>
                <a:schemeClr val="accent3"/>
              </a:solidFill>
              <a:round/>
              <a:headEnd/>
              <a:tailEnd/>
            </a:ln>
          </p:spPr>
          <p:txBody>
            <a:bodyPr wrap="none" anchor="ctr"/>
            <a:lstStyle/>
            <a:p>
              <a:pPr algn="ctr">
                <a:defRPr/>
              </a:pPr>
              <a:endParaRPr lang="en-GB"/>
            </a:p>
          </p:txBody>
        </p:sp>
      </p:grpSp>
      <p:sp>
        <p:nvSpPr>
          <p:cNvPr id="619559" name="Rectangle 13"/>
          <p:cNvSpPr>
            <a:spLocks noChangeArrowheads="1"/>
          </p:cNvSpPr>
          <p:nvPr/>
        </p:nvSpPr>
        <p:spPr bwMode="auto">
          <a:xfrm>
            <a:off x="4238625" y="1557377"/>
            <a:ext cx="327025" cy="215900"/>
          </a:xfrm>
          <a:prstGeom prst="rect">
            <a:avLst/>
          </a:prstGeom>
          <a:noFill/>
          <a:ln w="9525">
            <a:noFill/>
            <a:miter lim="800000"/>
            <a:headEnd type="none" w="sm" len="sm"/>
            <a:tailEnd type="none" w="sm" len="sm"/>
          </a:ln>
        </p:spPr>
        <p:txBody>
          <a:bodyPr wrap="none" lIns="0" tIns="0" rIns="0" bIns="0" anchor="ctr">
            <a:spAutoFit/>
          </a:bodyPr>
          <a:lstStyle/>
          <a:p>
            <a:pPr algn="ctr"/>
            <a:r>
              <a:rPr lang="en-GB" altLang="ja-JP" sz="1400">
                <a:solidFill>
                  <a:schemeClr val="tx2"/>
                </a:solidFill>
                <a:ea typeface="ＭＳ Ｐゴシック" charset="-128"/>
              </a:rPr>
              <a:t>Text</a:t>
            </a:r>
          </a:p>
        </p:txBody>
      </p:sp>
      <p:sp>
        <p:nvSpPr>
          <p:cNvPr id="70" name="Oval 69"/>
          <p:cNvSpPr>
            <a:spLocks noChangeArrowheads="1"/>
          </p:cNvSpPr>
          <p:nvPr/>
        </p:nvSpPr>
        <p:spPr bwMode="auto">
          <a:xfrm>
            <a:off x="4257675" y="1997115"/>
            <a:ext cx="287338" cy="311150"/>
          </a:xfrm>
          <a:prstGeom prst="ellipse">
            <a:avLst/>
          </a:prstGeom>
          <a:solidFill>
            <a:schemeClr val="accent3"/>
          </a:solidFill>
          <a:ln w="12700">
            <a:solidFill>
              <a:schemeClr val="accent3"/>
            </a:solidFill>
            <a:round/>
            <a:headEnd/>
            <a:tailEnd/>
          </a:ln>
        </p:spPr>
        <p:txBody>
          <a:bodyPr wrap="none" anchor="ctr"/>
          <a:lstStyle/>
          <a:p>
            <a:pPr algn="ctr">
              <a:defRPr/>
            </a:pPr>
            <a:endParaRPr lang="en-GB"/>
          </a:p>
        </p:txBody>
      </p:sp>
      <p:sp>
        <p:nvSpPr>
          <p:cNvPr id="71" name="Oval 70"/>
          <p:cNvSpPr>
            <a:spLocks noChangeArrowheads="1"/>
          </p:cNvSpPr>
          <p:nvPr/>
        </p:nvSpPr>
        <p:spPr bwMode="auto">
          <a:xfrm>
            <a:off x="4257675" y="5241965"/>
            <a:ext cx="287338" cy="304800"/>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grpSp>
        <p:nvGrpSpPr>
          <p:cNvPr id="619585" name="Group 71"/>
          <p:cNvGrpSpPr>
            <a:grpSpLocks/>
          </p:cNvGrpSpPr>
          <p:nvPr/>
        </p:nvGrpSpPr>
        <p:grpSpPr bwMode="auto">
          <a:xfrm>
            <a:off x="4254500" y="3621127"/>
            <a:ext cx="295275" cy="307975"/>
            <a:chOff x="2906" y="2406"/>
            <a:chExt cx="202" cy="194"/>
          </a:xfrm>
        </p:grpSpPr>
        <p:sp>
          <p:nvSpPr>
            <p:cNvPr id="73" name="Oval 72"/>
            <p:cNvSpPr>
              <a:spLocks noChangeArrowheads="1"/>
            </p:cNvSpPr>
            <p:nvPr/>
          </p:nvSpPr>
          <p:spPr bwMode="auto">
            <a:xfrm flipH="1">
              <a:off x="2906" y="2407"/>
              <a:ext cx="197" cy="193"/>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sp>
          <p:nvSpPr>
            <p:cNvPr id="74" name="Arc 73"/>
            <p:cNvSpPr>
              <a:spLocks/>
            </p:cNvSpPr>
            <p:nvPr/>
          </p:nvSpPr>
          <p:spPr bwMode="auto">
            <a:xfrm flipH="1">
              <a:off x="3005" y="2406"/>
              <a:ext cx="103" cy="193"/>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accent3"/>
            </a:solidFill>
            <a:ln w="12700" cap="rnd">
              <a:solidFill>
                <a:schemeClr val="accent3"/>
              </a:solidFill>
              <a:round/>
              <a:headEnd/>
              <a:tailEnd/>
            </a:ln>
          </p:spPr>
          <p:txBody>
            <a:bodyPr wrap="none" anchor="ctr"/>
            <a:lstStyle/>
            <a:p>
              <a:pPr algn="ctr">
                <a:defRPr/>
              </a:pPr>
              <a:endParaRPr lang="en-GB"/>
            </a:p>
          </p:txBody>
        </p:sp>
      </p:grpSp>
      <p:grpSp>
        <p:nvGrpSpPr>
          <p:cNvPr id="619586" name="Group 74"/>
          <p:cNvGrpSpPr>
            <a:grpSpLocks/>
          </p:cNvGrpSpPr>
          <p:nvPr/>
        </p:nvGrpSpPr>
        <p:grpSpPr bwMode="auto">
          <a:xfrm>
            <a:off x="4249738" y="2808327"/>
            <a:ext cx="303212" cy="311150"/>
            <a:chOff x="2904" y="1894"/>
            <a:chExt cx="207" cy="196"/>
          </a:xfrm>
        </p:grpSpPr>
        <p:sp>
          <p:nvSpPr>
            <p:cNvPr id="76" name="Oval 75"/>
            <p:cNvSpPr>
              <a:spLocks noChangeArrowheads="1"/>
            </p:cNvSpPr>
            <p:nvPr/>
          </p:nvSpPr>
          <p:spPr bwMode="auto">
            <a:xfrm flipH="1">
              <a:off x="2906" y="1895"/>
              <a:ext cx="198" cy="195"/>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sp>
          <p:nvSpPr>
            <p:cNvPr id="77" name="Arc 76"/>
            <p:cNvSpPr>
              <a:spLocks/>
            </p:cNvSpPr>
            <p:nvPr/>
          </p:nvSpPr>
          <p:spPr bwMode="auto">
            <a:xfrm flipH="1">
              <a:off x="2904" y="1894"/>
              <a:ext cx="207" cy="195"/>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accent3"/>
            </a:solidFill>
            <a:ln w="12700" cap="rnd">
              <a:solidFill>
                <a:schemeClr val="accent3"/>
              </a:solidFill>
              <a:round/>
              <a:headEnd/>
              <a:tailEnd/>
            </a:ln>
          </p:spPr>
          <p:txBody>
            <a:bodyPr wrap="none" anchor="ctr"/>
            <a:lstStyle/>
            <a:p>
              <a:pPr algn="ctr">
                <a:defRPr/>
              </a:pPr>
              <a:endParaRPr lang="en-GB"/>
            </a:p>
          </p:txBody>
        </p:sp>
      </p:grpSp>
      <p:grpSp>
        <p:nvGrpSpPr>
          <p:cNvPr id="619587" name="Group 77"/>
          <p:cNvGrpSpPr>
            <a:grpSpLocks/>
          </p:cNvGrpSpPr>
          <p:nvPr/>
        </p:nvGrpSpPr>
        <p:grpSpPr bwMode="auto">
          <a:xfrm>
            <a:off x="4256088" y="4429165"/>
            <a:ext cx="292100" cy="311150"/>
            <a:chOff x="2907" y="2915"/>
            <a:chExt cx="200" cy="196"/>
          </a:xfrm>
        </p:grpSpPr>
        <p:sp>
          <p:nvSpPr>
            <p:cNvPr id="79" name="Oval 78"/>
            <p:cNvSpPr>
              <a:spLocks noChangeArrowheads="1"/>
            </p:cNvSpPr>
            <p:nvPr/>
          </p:nvSpPr>
          <p:spPr bwMode="auto">
            <a:xfrm flipH="1">
              <a:off x="2907" y="2916"/>
              <a:ext cx="198" cy="195"/>
            </a:xfrm>
            <a:prstGeom prst="ellipse">
              <a:avLst/>
            </a:prstGeom>
            <a:solidFill>
              <a:srgbClr val="FFFFFF"/>
            </a:solidFill>
            <a:ln w="12700">
              <a:solidFill>
                <a:schemeClr val="accent3"/>
              </a:solidFill>
              <a:round/>
              <a:headEnd/>
              <a:tailEnd/>
            </a:ln>
          </p:spPr>
          <p:txBody>
            <a:bodyPr wrap="none" anchor="ctr"/>
            <a:lstStyle/>
            <a:p>
              <a:pPr algn="ctr">
                <a:defRPr/>
              </a:pPr>
              <a:endParaRPr lang="en-GB"/>
            </a:p>
          </p:txBody>
        </p:sp>
        <p:sp>
          <p:nvSpPr>
            <p:cNvPr id="80" name="Arc 79"/>
            <p:cNvSpPr>
              <a:spLocks/>
            </p:cNvSpPr>
            <p:nvPr/>
          </p:nvSpPr>
          <p:spPr bwMode="auto">
            <a:xfrm flipH="1">
              <a:off x="3004" y="2915"/>
              <a:ext cx="103" cy="1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accent3"/>
            </a:solidFill>
            <a:ln w="12700" cap="rnd">
              <a:solidFill>
                <a:schemeClr val="accent3"/>
              </a:solidFill>
              <a:round/>
              <a:headEnd/>
              <a:tailEnd/>
            </a:ln>
          </p:spPr>
          <p:txBody>
            <a:bodyPr wrap="none" anchor="ctr"/>
            <a:lstStyle/>
            <a:p>
              <a:pPr algn="ctr">
                <a:defRPr/>
              </a:pPr>
              <a:endParaRPr lang="en-GB"/>
            </a:p>
          </p:txBody>
        </p:sp>
      </p:grpSp>
      <p:sp>
        <p:nvSpPr>
          <p:cNvPr id="83"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84" name="Text Placeholder 36"/>
          <p:cNvSpPr txBox="1">
            <a:spLocks/>
          </p:cNvSpPr>
          <p:nvPr/>
        </p:nvSpPr>
        <p:spPr bwMode="gray">
          <a:xfrm>
            <a:off x="411479" y="6316910"/>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93" name="Rectangle 15"/>
          <p:cNvSpPr>
            <a:spLocks noChangeArrowheads="1"/>
          </p:cNvSpPr>
          <p:nvPr/>
        </p:nvSpPr>
        <p:spPr bwMode="gray">
          <a:xfrm>
            <a:off x="5134810" y="1213579"/>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545" name="Title 1"/>
          <p:cNvSpPr>
            <a:spLocks noGrp="1"/>
          </p:cNvSpPr>
          <p:nvPr>
            <p:ph type="title"/>
          </p:nvPr>
        </p:nvSpPr>
        <p:spPr>
          <a:xfrm>
            <a:off x="414338" y="446038"/>
            <a:ext cx="8330184" cy="333425"/>
          </a:xfrm>
        </p:spPr>
        <p:txBody>
          <a:bodyPr/>
          <a:lstStyle/>
          <a:p>
            <a:r>
              <a:rPr lang="en-US"/>
              <a:t>Driver trees — text with general trends</a:t>
            </a:r>
            <a:endParaRPr lang="nl-NL"/>
          </a:p>
        </p:txBody>
      </p:sp>
      <p:sp>
        <p:nvSpPr>
          <p:cNvPr id="620547" name="Text Placeholder 31"/>
          <p:cNvSpPr>
            <a:spLocks noGrp="1"/>
          </p:cNvSpPr>
          <p:nvPr>
            <p:ph type="body" sz="quarter" idx="4294967295"/>
          </p:nvPr>
        </p:nvSpPr>
        <p:spPr bwMode="auto">
          <a:xfrm>
            <a:off x="6107113" y="1604121"/>
            <a:ext cx="2640012" cy="451406"/>
          </a:xfrm>
          <a:prstGeom prst="rect">
            <a:avLst/>
          </a:prstGeom>
          <a:noFill/>
          <a:ln>
            <a:miter lim="800000"/>
            <a:headEnd/>
            <a:tailEnd/>
          </a:ln>
        </p:spPr>
        <p:txBody>
          <a:bodyPr/>
          <a:lstStyle/>
          <a:p>
            <a:pPr marL="117475" lvl="1" indent="-117475"/>
            <a:r>
              <a:rPr sz="1400">
                <a:solidFill>
                  <a:srgbClr val="002776"/>
                </a:solidFill>
              </a:rPr>
              <a:t>Bullet</a:t>
            </a:r>
          </a:p>
          <a:p>
            <a:pPr marL="227013" lvl="2" indent="-109538"/>
            <a:r>
              <a:rPr sz="1200">
                <a:solidFill>
                  <a:srgbClr val="002776"/>
                </a:solidFill>
              </a:rPr>
              <a:t>Dash</a:t>
            </a:r>
          </a:p>
        </p:txBody>
      </p:sp>
      <p:sp>
        <p:nvSpPr>
          <p:cNvPr id="620548" name="Text Placeholder 32"/>
          <p:cNvSpPr>
            <a:spLocks noGrp="1"/>
          </p:cNvSpPr>
          <p:nvPr>
            <p:ph type="body" sz="quarter" idx="4294967295"/>
          </p:nvPr>
        </p:nvSpPr>
        <p:spPr bwMode="auto">
          <a:xfrm>
            <a:off x="6107113" y="2367708"/>
            <a:ext cx="2640012" cy="451406"/>
          </a:xfrm>
          <a:prstGeom prst="rect">
            <a:avLst/>
          </a:prstGeom>
          <a:noFill/>
          <a:ln>
            <a:miter lim="800000"/>
            <a:headEnd/>
            <a:tailEnd/>
          </a:ln>
        </p:spPr>
        <p:txBody>
          <a:bodyPr/>
          <a:lstStyle/>
          <a:p>
            <a:pPr marL="117475" lvl="1" indent="-117475"/>
            <a:r>
              <a:rPr lang="en-US" sz="1400" dirty="0">
                <a:solidFill>
                  <a:srgbClr val="002776"/>
                </a:solidFill>
              </a:rPr>
              <a:t>Bullet</a:t>
            </a:r>
          </a:p>
          <a:p>
            <a:pPr marL="227013" lvl="2" indent="-109538"/>
            <a:r>
              <a:rPr lang="en-US" sz="1200" dirty="0">
                <a:solidFill>
                  <a:srgbClr val="002776"/>
                </a:solidFill>
              </a:rPr>
              <a:t>Dash</a:t>
            </a:r>
          </a:p>
        </p:txBody>
      </p:sp>
      <p:sp>
        <p:nvSpPr>
          <p:cNvPr id="620549" name="Text Placeholder 33"/>
          <p:cNvSpPr>
            <a:spLocks noGrp="1"/>
          </p:cNvSpPr>
          <p:nvPr>
            <p:ph type="body" sz="quarter" idx="4294967295"/>
          </p:nvPr>
        </p:nvSpPr>
        <p:spPr bwMode="auto">
          <a:xfrm>
            <a:off x="6107113" y="3132883"/>
            <a:ext cx="2640012" cy="451406"/>
          </a:xfrm>
          <a:prstGeom prst="rect">
            <a:avLst/>
          </a:prstGeom>
          <a:noFill/>
          <a:ln>
            <a:miter lim="800000"/>
            <a:headEnd/>
            <a:tailEnd/>
          </a:ln>
        </p:spPr>
        <p:txBody>
          <a:bodyPr/>
          <a:lstStyle/>
          <a:p>
            <a:pPr marL="117475" lvl="1" indent="-117475"/>
            <a:r>
              <a:rPr lang="en-US" sz="1400" dirty="0">
                <a:solidFill>
                  <a:srgbClr val="002776"/>
                </a:solidFill>
              </a:rPr>
              <a:t>Bullet</a:t>
            </a:r>
          </a:p>
          <a:p>
            <a:pPr marL="227013" lvl="2" indent="-109538"/>
            <a:r>
              <a:rPr lang="en-US" sz="1200" dirty="0">
                <a:solidFill>
                  <a:srgbClr val="002776"/>
                </a:solidFill>
              </a:rPr>
              <a:t>Dash</a:t>
            </a:r>
          </a:p>
        </p:txBody>
      </p:sp>
      <p:sp>
        <p:nvSpPr>
          <p:cNvPr id="620550" name="Text Placeholder 34"/>
          <p:cNvSpPr>
            <a:spLocks noGrp="1"/>
          </p:cNvSpPr>
          <p:nvPr>
            <p:ph type="body" sz="quarter" idx="4294967295"/>
          </p:nvPr>
        </p:nvSpPr>
        <p:spPr bwMode="auto">
          <a:xfrm>
            <a:off x="6107113" y="3898058"/>
            <a:ext cx="2640012" cy="451406"/>
          </a:xfrm>
          <a:prstGeom prst="rect">
            <a:avLst/>
          </a:prstGeom>
          <a:noFill/>
          <a:ln>
            <a:miter lim="800000"/>
            <a:headEnd/>
            <a:tailEnd/>
          </a:ln>
        </p:spPr>
        <p:txBody>
          <a:bodyPr/>
          <a:lstStyle/>
          <a:p>
            <a:pPr marL="117475" lvl="1" indent="-117475"/>
            <a:r>
              <a:rPr lang="en-US" sz="1400" dirty="0">
                <a:solidFill>
                  <a:srgbClr val="002776"/>
                </a:solidFill>
              </a:rPr>
              <a:t>Bullet</a:t>
            </a:r>
          </a:p>
          <a:p>
            <a:pPr marL="227013" lvl="2" indent="-109538"/>
            <a:r>
              <a:rPr lang="en-US" sz="1200" dirty="0">
                <a:solidFill>
                  <a:srgbClr val="002776"/>
                </a:solidFill>
              </a:rPr>
              <a:t>Dash</a:t>
            </a:r>
          </a:p>
        </p:txBody>
      </p:sp>
      <p:sp>
        <p:nvSpPr>
          <p:cNvPr id="620568" name="Text Placeholder 34"/>
          <p:cNvSpPr>
            <a:spLocks noGrp="1"/>
          </p:cNvSpPr>
          <p:nvPr>
            <p:ph type="body" sz="quarter" idx="4294967295"/>
          </p:nvPr>
        </p:nvSpPr>
        <p:spPr bwMode="auto">
          <a:xfrm>
            <a:off x="6107113" y="4663233"/>
            <a:ext cx="2640012" cy="451406"/>
          </a:xfrm>
          <a:prstGeom prst="rect">
            <a:avLst/>
          </a:prstGeom>
          <a:noFill/>
          <a:ln>
            <a:miter lim="800000"/>
            <a:headEnd/>
            <a:tailEnd/>
          </a:ln>
        </p:spPr>
        <p:txBody>
          <a:bodyPr/>
          <a:lstStyle/>
          <a:p>
            <a:pPr marL="117475" lvl="1" indent="-117475"/>
            <a:r>
              <a:rPr lang="en-US" sz="1400" dirty="0">
                <a:solidFill>
                  <a:srgbClr val="002776"/>
                </a:solidFill>
              </a:rPr>
              <a:t>Bullet</a:t>
            </a:r>
          </a:p>
          <a:p>
            <a:pPr marL="227013" lvl="2" indent="-109538"/>
            <a:r>
              <a:rPr lang="en-US" sz="1200" dirty="0">
                <a:solidFill>
                  <a:srgbClr val="002776"/>
                </a:solidFill>
              </a:rPr>
              <a:t>Dash</a:t>
            </a:r>
          </a:p>
        </p:txBody>
      </p:sp>
      <p:sp>
        <p:nvSpPr>
          <p:cNvPr id="620569" name="Text Placeholder 34"/>
          <p:cNvSpPr>
            <a:spLocks noGrp="1"/>
          </p:cNvSpPr>
          <p:nvPr>
            <p:ph type="body" sz="quarter" idx="4294967295"/>
          </p:nvPr>
        </p:nvSpPr>
        <p:spPr bwMode="auto">
          <a:xfrm>
            <a:off x="6107113" y="5428408"/>
            <a:ext cx="2640012" cy="451406"/>
          </a:xfrm>
          <a:prstGeom prst="rect">
            <a:avLst/>
          </a:prstGeom>
          <a:noFill/>
          <a:ln>
            <a:miter lim="800000"/>
            <a:headEnd/>
            <a:tailEnd/>
          </a:ln>
        </p:spPr>
        <p:txBody>
          <a:bodyPr/>
          <a:lstStyle/>
          <a:p>
            <a:pPr marL="117475" lvl="1" indent="-117475"/>
            <a:r>
              <a:rPr lang="en-US" sz="1400" dirty="0">
                <a:solidFill>
                  <a:srgbClr val="002776"/>
                </a:solidFill>
              </a:rPr>
              <a:t>Bullet</a:t>
            </a:r>
          </a:p>
          <a:p>
            <a:pPr marL="227013" lvl="2" indent="-109538"/>
            <a:r>
              <a:rPr lang="en-US" sz="1200" dirty="0">
                <a:solidFill>
                  <a:srgbClr val="002776"/>
                </a:solidFill>
              </a:rPr>
              <a:t>Dash</a:t>
            </a:r>
          </a:p>
        </p:txBody>
      </p:sp>
      <p:sp>
        <p:nvSpPr>
          <p:cNvPr id="9" name="Rectangle 3"/>
          <p:cNvSpPr>
            <a:spLocks noChangeArrowheads="1"/>
          </p:cNvSpPr>
          <p:nvPr/>
        </p:nvSpPr>
        <p:spPr bwMode="auto">
          <a:xfrm>
            <a:off x="409575" y="3515471"/>
            <a:ext cx="1393825" cy="584200"/>
          </a:xfrm>
          <a:prstGeom prst="rect">
            <a:avLst/>
          </a:prstGeom>
          <a:solidFill>
            <a:schemeClr val="accent3"/>
          </a:solidFill>
          <a:ln w="19050" algn="ctr">
            <a:noFill/>
            <a:miter lim="800000"/>
            <a:headEnd/>
            <a:tailEnd/>
          </a:ln>
        </p:spPr>
        <p:txBody>
          <a:bodyPr lIns="18000" tIns="18000" rIns="18000" bIns="18000" anchor="ctr"/>
          <a:lstStyle/>
          <a:p>
            <a:pPr marL="12700" indent="-12700" algn="ctr">
              <a:lnSpc>
                <a:spcPct val="110000"/>
              </a:lnSpc>
              <a:defRPr/>
            </a:pPr>
            <a:r>
              <a:rPr lang="en-GB" sz="1400" b="1">
                <a:solidFill>
                  <a:schemeClr val="bg1"/>
                </a:solidFill>
                <a:ea typeface="ＭＳ Ｐゴシック" pitchFamily="50" charset="-128"/>
              </a:rPr>
              <a:t>Text</a:t>
            </a:r>
          </a:p>
        </p:txBody>
      </p:sp>
      <p:sp>
        <p:nvSpPr>
          <p:cNvPr id="10" name="Rectangle 4"/>
          <p:cNvSpPr>
            <a:spLocks noChangeArrowheads="1"/>
          </p:cNvSpPr>
          <p:nvPr/>
        </p:nvSpPr>
        <p:spPr bwMode="auto">
          <a:xfrm>
            <a:off x="2419350" y="2367708"/>
            <a:ext cx="1397000" cy="584200"/>
          </a:xfrm>
          <a:prstGeom prst="rect">
            <a:avLst/>
          </a:prstGeom>
          <a:solidFill>
            <a:schemeClr val="accent3"/>
          </a:solidFill>
          <a:ln w="19050" algn="ctr">
            <a:noFill/>
            <a:miter lim="800000"/>
            <a:headEnd/>
            <a:tailEnd/>
          </a:ln>
        </p:spPr>
        <p:txBody>
          <a:bodyPr lIns="18000" tIns="18000" rIns="18000" bIns="18000" anchor="ctr"/>
          <a:lstStyle/>
          <a:p>
            <a:pPr marL="12700" indent="-12700" algn="ctr">
              <a:lnSpc>
                <a:spcPct val="110000"/>
              </a:lnSpc>
              <a:defRPr/>
            </a:pPr>
            <a:r>
              <a:rPr lang="en-GB" sz="1400" b="1">
                <a:solidFill>
                  <a:schemeClr val="bg1"/>
                </a:solidFill>
                <a:ea typeface="ＭＳ Ｐゴシック" pitchFamily="50" charset="-128"/>
              </a:rPr>
              <a:t>Text</a:t>
            </a:r>
          </a:p>
        </p:txBody>
      </p:sp>
      <p:sp>
        <p:nvSpPr>
          <p:cNvPr id="11" name="Rectangle 5"/>
          <p:cNvSpPr>
            <a:spLocks noChangeArrowheads="1"/>
          </p:cNvSpPr>
          <p:nvPr/>
        </p:nvSpPr>
        <p:spPr bwMode="auto">
          <a:xfrm>
            <a:off x="2419350" y="4663233"/>
            <a:ext cx="1397000" cy="584200"/>
          </a:xfrm>
          <a:prstGeom prst="rect">
            <a:avLst/>
          </a:prstGeom>
          <a:solidFill>
            <a:schemeClr val="accent3"/>
          </a:solidFill>
          <a:ln w="19050" algn="ctr">
            <a:noFill/>
            <a:miter lim="800000"/>
            <a:headEnd/>
            <a:tailEnd/>
          </a:ln>
        </p:spPr>
        <p:txBody>
          <a:bodyPr lIns="18000" tIns="18000" rIns="18000" bIns="18000" anchor="ctr"/>
          <a:lstStyle/>
          <a:p>
            <a:pPr marL="12700" indent="-12700" algn="ctr">
              <a:lnSpc>
                <a:spcPct val="110000"/>
              </a:lnSpc>
              <a:defRPr/>
            </a:pPr>
            <a:r>
              <a:rPr lang="en-GB" sz="1400" b="1">
                <a:solidFill>
                  <a:schemeClr val="bg1"/>
                </a:solidFill>
                <a:ea typeface="ＭＳ Ｐゴシック" pitchFamily="50" charset="-128"/>
              </a:rPr>
              <a:t>Text</a:t>
            </a:r>
          </a:p>
        </p:txBody>
      </p:sp>
      <p:sp>
        <p:nvSpPr>
          <p:cNvPr id="12" name="Rectangle 6"/>
          <p:cNvSpPr>
            <a:spLocks noChangeArrowheads="1"/>
          </p:cNvSpPr>
          <p:nvPr/>
        </p:nvSpPr>
        <p:spPr bwMode="auto">
          <a:xfrm>
            <a:off x="4430713" y="1604121"/>
            <a:ext cx="1393825" cy="584200"/>
          </a:xfrm>
          <a:prstGeom prst="rect">
            <a:avLst/>
          </a:prstGeom>
          <a:solidFill>
            <a:schemeClr val="accent3"/>
          </a:solidFill>
          <a:ln w="19050" algn="ctr">
            <a:noFill/>
            <a:miter lim="800000"/>
            <a:headEnd/>
            <a:tailEnd/>
          </a:ln>
        </p:spPr>
        <p:txBody>
          <a:bodyPr lIns="18000" tIns="18000" rIns="18000" bIns="18000" anchor="ctr"/>
          <a:lstStyle/>
          <a:p>
            <a:pPr marL="12700" indent="-12700" algn="ctr">
              <a:lnSpc>
                <a:spcPct val="110000"/>
              </a:lnSpc>
              <a:defRPr/>
            </a:pPr>
            <a:r>
              <a:rPr lang="en-GB" sz="1400" b="1">
                <a:solidFill>
                  <a:schemeClr val="bg1"/>
                </a:solidFill>
                <a:ea typeface="ＭＳ Ｐゴシック" pitchFamily="50" charset="-128"/>
              </a:rPr>
              <a:t>Text</a:t>
            </a:r>
          </a:p>
        </p:txBody>
      </p:sp>
      <p:sp>
        <p:nvSpPr>
          <p:cNvPr id="13" name="Rectangle 7"/>
          <p:cNvSpPr>
            <a:spLocks noChangeArrowheads="1"/>
          </p:cNvSpPr>
          <p:nvPr/>
        </p:nvSpPr>
        <p:spPr bwMode="auto">
          <a:xfrm>
            <a:off x="4430713" y="2367708"/>
            <a:ext cx="1393825" cy="584200"/>
          </a:xfrm>
          <a:prstGeom prst="rect">
            <a:avLst/>
          </a:prstGeom>
          <a:solidFill>
            <a:schemeClr val="accent3"/>
          </a:solidFill>
          <a:ln w="19050" algn="ctr">
            <a:noFill/>
            <a:miter lim="800000"/>
            <a:headEnd/>
            <a:tailEnd/>
          </a:ln>
        </p:spPr>
        <p:txBody>
          <a:bodyPr lIns="18000" tIns="18000" rIns="18000" bIns="18000" anchor="ctr"/>
          <a:lstStyle/>
          <a:p>
            <a:pPr marL="12700" indent="-12700" algn="ctr">
              <a:lnSpc>
                <a:spcPct val="110000"/>
              </a:lnSpc>
              <a:defRPr/>
            </a:pPr>
            <a:r>
              <a:rPr lang="en-GB" sz="1400" b="1">
                <a:solidFill>
                  <a:schemeClr val="bg1"/>
                </a:solidFill>
                <a:ea typeface="ＭＳ Ｐゴシック" pitchFamily="50" charset="-128"/>
              </a:rPr>
              <a:t>Text</a:t>
            </a:r>
          </a:p>
        </p:txBody>
      </p:sp>
      <p:sp>
        <p:nvSpPr>
          <p:cNvPr id="14" name="Rectangle 8"/>
          <p:cNvSpPr>
            <a:spLocks noChangeArrowheads="1"/>
          </p:cNvSpPr>
          <p:nvPr/>
        </p:nvSpPr>
        <p:spPr bwMode="auto">
          <a:xfrm>
            <a:off x="4430713" y="3132883"/>
            <a:ext cx="1393825" cy="584200"/>
          </a:xfrm>
          <a:prstGeom prst="rect">
            <a:avLst/>
          </a:prstGeom>
          <a:solidFill>
            <a:schemeClr val="accent3"/>
          </a:solidFill>
          <a:ln w="19050" algn="ctr">
            <a:noFill/>
            <a:miter lim="800000"/>
            <a:headEnd/>
            <a:tailEnd/>
          </a:ln>
        </p:spPr>
        <p:txBody>
          <a:bodyPr lIns="18000" tIns="18000" rIns="18000" bIns="18000" anchor="ctr"/>
          <a:lstStyle/>
          <a:p>
            <a:pPr marL="12700" indent="-12700" algn="ctr">
              <a:lnSpc>
                <a:spcPct val="110000"/>
              </a:lnSpc>
              <a:defRPr/>
            </a:pPr>
            <a:r>
              <a:rPr lang="en-GB" sz="1400" b="1">
                <a:solidFill>
                  <a:schemeClr val="bg1"/>
                </a:solidFill>
                <a:ea typeface="ＭＳ Ｐゴシック" pitchFamily="50" charset="-128"/>
              </a:rPr>
              <a:t>Text</a:t>
            </a:r>
          </a:p>
        </p:txBody>
      </p:sp>
      <p:sp>
        <p:nvSpPr>
          <p:cNvPr id="15" name="Rectangle 9"/>
          <p:cNvSpPr>
            <a:spLocks noChangeArrowheads="1"/>
          </p:cNvSpPr>
          <p:nvPr/>
        </p:nvSpPr>
        <p:spPr bwMode="auto">
          <a:xfrm>
            <a:off x="4430713" y="3898058"/>
            <a:ext cx="1393825" cy="584200"/>
          </a:xfrm>
          <a:prstGeom prst="rect">
            <a:avLst/>
          </a:prstGeom>
          <a:solidFill>
            <a:schemeClr val="accent3"/>
          </a:solidFill>
          <a:ln w="19050" algn="ctr">
            <a:noFill/>
            <a:miter lim="800000"/>
            <a:headEnd/>
            <a:tailEnd/>
          </a:ln>
        </p:spPr>
        <p:txBody>
          <a:bodyPr lIns="18000" tIns="18000" rIns="18000" bIns="18000" anchor="ctr"/>
          <a:lstStyle/>
          <a:p>
            <a:pPr marL="12700" indent="-12700" algn="ctr">
              <a:lnSpc>
                <a:spcPct val="110000"/>
              </a:lnSpc>
              <a:defRPr/>
            </a:pPr>
            <a:r>
              <a:rPr lang="en-GB" sz="1400" b="1">
                <a:solidFill>
                  <a:schemeClr val="bg1"/>
                </a:solidFill>
                <a:ea typeface="ＭＳ Ｐゴシック" pitchFamily="50" charset="-128"/>
              </a:rPr>
              <a:t>Text</a:t>
            </a:r>
          </a:p>
        </p:txBody>
      </p:sp>
      <p:sp>
        <p:nvSpPr>
          <p:cNvPr id="16" name="Rectangle 10"/>
          <p:cNvSpPr>
            <a:spLocks noChangeArrowheads="1"/>
          </p:cNvSpPr>
          <p:nvPr/>
        </p:nvSpPr>
        <p:spPr bwMode="auto">
          <a:xfrm>
            <a:off x="4430713" y="4663233"/>
            <a:ext cx="1393825" cy="584200"/>
          </a:xfrm>
          <a:prstGeom prst="rect">
            <a:avLst/>
          </a:prstGeom>
          <a:solidFill>
            <a:schemeClr val="accent3"/>
          </a:solidFill>
          <a:ln w="19050" algn="ctr">
            <a:noFill/>
            <a:miter lim="800000"/>
            <a:headEnd/>
            <a:tailEnd/>
          </a:ln>
        </p:spPr>
        <p:txBody>
          <a:bodyPr lIns="18000" tIns="18000" rIns="18000" bIns="18000" anchor="ctr"/>
          <a:lstStyle/>
          <a:p>
            <a:pPr marL="12700" indent="-12700" algn="ctr">
              <a:lnSpc>
                <a:spcPct val="110000"/>
              </a:lnSpc>
              <a:defRPr/>
            </a:pPr>
            <a:r>
              <a:rPr lang="en-GB" sz="1400" b="1">
                <a:solidFill>
                  <a:schemeClr val="bg1"/>
                </a:solidFill>
                <a:ea typeface="ＭＳ Ｐゴシック" pitchFamily="50" charset="-128"/>
              </a:rPr>
              <a:t>Text</a:t>
            </a:r>
          </a:p>
        </p:txBody>
      </p:sp>
      <p:sp>
        <p:nvSpPr>
          <p:cNvPr id="17" name="Rectangle 11"/>
          <p:cNvSpPr>
            <a:spLocks noChangeArrowheads="1"/>
          </p:cNvSpPr>
          <p:nvPr/>
        </p:nvSpPr>
        <p:spPr bwMode="auto">
          <a:xfrm>
            <a:off x="4430713" y="5428408"/>
            <a:ext cx="1393825" cy="584200"/>
          </a:xfrm>
          <a:prstGeom prst="rect">
            <a:avLst/>
          </a:prstGeom>
          <a:solidFill>
            <a:schemeClr val="accent3"/>
          </a:solidFill>
          <a:ln w="19050" algn="ctr">
            <a:noFill/>
            <a:miter lim="800000"/>
            <a:headEnd/>
            <a:tailEnd/>
          </a:ln>
        </p:spPr>
        <p:txBody>
          <a:bodyPr lIns="18000" tIns="18000" rIns="18000" bIns="18000" anchor="ctr"/>
          <a:lstStyle/>
          <a:p>
            <a:pPr marL="12700" indent="-12700" algn="ctr">
              <a:lnSpc>
                <a:spcPct val="110000"/>
              </a:lnSpc>
              <a:defRPr/>
            </a:pPr>
            <a:r>
              <a:rPr lang="en-GB" sz="1400" b="1">
                <a:solidFill>
                  <a:schemeClr val="bg1"/>
                </a:solidFill>
                <a:ea typeface="ＭＳ Ｐゴシック" pitchFamily="50" charset="-128"/>
              </a:rPr>
              <a:t>Text</a:t>
            </a:r>
          </a:p>
        </p:txBody>
      </p:sp>
      <p:cxnSp>
        <p:nvCxnSpPr>
          <p:cNvPr id="18" name="AutoShape 12"/>
          <p:cNvCxnSpPr>
            <a:cxnSpLocks noChangeShapeType="1"/>
            <a:stCxn id="9" idx="3"/>
            <a:endCxn id="10" idx="1"/>
          </p:cNvCxnSpPr>
          <p:nvPr/>
        </p:nvCxnSpPr>
        <p:spPr bwMode="auto">
          <a:xfrm flipV="1">
            <a:off x="1803400" y="2659808"/>
            <a:ext cx="615950" cy="1147763"/>
          </a:xfrm>
          <a:prstGeom prst="bentConnector3">
            <a:avLst>
              <a:gd name="adj1" fmla="val 50000"/>
            </a:avLst>
          </a:prstGeom>
          <a:noFill/>
          <a:ln w="12700">
            <a:solidFill>
              <a:schemeClr val="tx2"/>
            </a:solidFill>
            <a:miter lim="800000"/>
            <a:headEnd/>
            <a:tailEnd/>
          </a:ln>
        </p:spPr>
      </p:cxnSp>
      <p:cxnSp>
        <p:nvCxnSpPr>
          <p:cNvPr id="19" name="AutoShape 13"/>
          <p:cNvCxnSpPr>
            <a:cxnSpLocks noChangeShapeType="1"/>
            <a:stCxn id="9" idx="3"/>
            <a:endCxn id="11" idx="1"/>
          </p:cNvCxnSpPr>
          <p:nvPr/>
        </p:nvCxnSpPr>
        <p:spPr bwMode="auto">
          <a:xfrm>
            <a:off x="1803400" y="3807571"/>
            <a:ext cx="615950" cy="1147762"/>
          </a:xfrm>
          <a:prstGeom prst="bentConnector3">
            <a:avLst>
              <a:gd name="adj1" fmla="val 50000"/>
            </a:avLst>
          </a:prstGeom>
          <a:noFill/>
          <a:ln w="12700">
            <a:solidFill>
              <a:schemeClr val="tx2"/>
            </a:solidFill>
            <a:miter lim="800000"/>
            <a:headEnd/>
            <a:tailEnd/>
          </a:ln>
        </p:spPr>
      </p:cxnSp>
      <p:cxnSp>
        <p:nvCxnSpPr>
          <p:cNvPr id="20" name="AutoShape 14"/>
          <p:cNvCxnSpPr>
            <a:cxnSpLocks noChangeShapeType="1"/>
            <a:stCxn id="10" idx="3"/>
            <a:endCxn id="12" idx="1"/>
          </p:cNvCxnSpPr>
          <p:nvPr/>
        </p:nvCxnSpPr>
        <p:spPr bwMode="auto">
          <a:xfrm flipV="1">
            <a:off x="3816350" y="1896221"/>
            <a:ext cx="614363" cy="763587"/>
          </a:xfrm>
          <a:prstGeom prst="bentConnector3">
            <a:avLst>
              <a:gd name="adj1" fmla="val 50000"/>
            </a:avLst>
          </a:prstGeom>
          <a:noFill/>
          <a:ln w="12700">
            <a:solidFill>
              <a:schemeClr val="tx2"/>
            </a:solidFill>
            <a:miter lim="800000"/>
            <a:headEnd/>
            <a:tailEnd/>
          </a:ln>
        </p:spPr>
      </p:cxnSp>
      <p:cxnSp>
        <p:nvCxnSpPr>
          <p:cNvPr id="21" name="AutoShape 15"/>
          <p:cNvCxnSpPr>
            <a:cxnSpLocks noChangeShapeType="1"/>
            <a:stCxn id="10" idx="3"/>
            <a:endCxn id="13" idx="1"/>
          </p:cNvCxnSpPr>
          <p:nvPr/>
        </p:nvCxnSpPr>
        <p:spPr bwMode="auto">
          <a:xfrm>
            <a:off x="3816350" y="2659808"/>
            <a:ext cx="614363" cy="1588"/>
          </a:xfrm>
          <a:prstGeom prst="straightConnector1">
            <a:avLst/>
          </a:prstGeom>
          <a:noFill/>
          <a:ln w="12700">
            <a:solidFill>
              <a:schemeClr val="tx2"/>
            </a:solidFill>
            <a:round/>
            <a:headEnd/>
            <a:tailEnd/>
          </a:ln>
        </p:spPr>
      </p:cxnSp>
      <p:cxnSp>
        <p:nvCxnSpPr>
          <p:cNvPr id="22" name="AutoShape 16"/>
          <p:cNvCxnSpPr>
            <a:cxnSpLocks noChangeShapeType="1"/>
            <a:stCxn id="10" idx="3"/>
            <a:endCxn id="14" idx="1"/>
          </p:cNvCxnSpPr>
          <p:nvPr/>
        </p:nvCxnSpPr>
        <p:spPr bwMode="auto">
          <a:xfrm>
            <a:off x="3816350" y="2659808"/>
            <a:ext cx="614363" cy="765175"/>
          </a:xfrm>
          <a:prstGeom prst="bentConnector3">
            <a:avLst>
              <a:gd name="adj1" fmla="val 50000"/>
            </a:avLst>
          </a:prstGeom>
          <a:noFill/>
          <a:ln w="12700">
            <a:solidFill>
              <a:schemeClr val="tx2"/>
            </a:solidFill>
            <a:miter lim="800000"/>
            <a:headEnd/>
            <a:tailEnd/>
          </a:ln>
        </p:spPr>
      </p:cxnSp>
      <p:cxnSp>
        <p:nvCxnSpPr>
          <p:cNvPr id="23" name="AutoShape 17"/>
          <p:cNvCxnSpPr>
            <a:cxnSpLocks noChangeShapeType="1"/>
            <a:stCxn id="11" idx="3"/>
            <a:endCxn id="15" idx="1"/>
          </p:cNvCxnSpPr>
          <p:nvPr/>
        </p:nvCxnSpPr>
        <p:spPr bwMode="auto">
          <a:xfrm flipV="1">
            <a:off x="3816350" y="4190158"/>
            <a:ext cx="614363" cy="765175"/>
          </a:xfrm>
          <a:prstGeom prst="bentConnector3">
            <a:avLst>
              <a:gd name="adj1" fmla="val 50000"/>
            </a:avLst>
          </a:prstGeom>
          <a:noFill/>
          <a:ln w="12700">
            <a:solidFill>
              <a:schemeClr val="tx2"/>
            </a:solidFill>
            <a:miter lim="800000"/>
            <a:headEnd/>
            <a:tailEnd/>
          </a:ln>
        </p:spPr>
      </p:cxnSp>
      <p:cxnSp>
        <p:nvCxnSpPr>
          <p:cNvPr id="24" name="AutoShape 18"/>
          <p:cNvCxnSpPr>
            <a:cxnSpLocks noChangeShapeType="1"/>
            <a:stCxn id="11" idx="3"/>
            <a:endCxn id="16" idx="1"/>
          </p:cNvCxnSpPr>
          <p:nvPr/>
        </p:nvCxnSpPr>
        <p:spPr bwMode="auto">
          <a:xfrm>
            <a:off x="3816350" y="4955333"/>
            <a:ext cx="614363" cy="1588"/>
          </a:xfrm>
          <a:prstGeom prst="straightConnector1">
            <a:avLst/>
          </a:prstGeom>
          <a:noFill/>
          <a:ln w="12700">
            <a:solidFill>
              <a:schemeClr val="tx2"/>
            </a:solidFill>
            <a:round/>
            <a:headEnd/>
            <a:tailEnd/>
          </a:ln>
        </p:spPr>
      </p:cxnSp>
      <p:cxnSp>
        <p:nvCxnSpPr>
          <p:cNvPr id="25" name="AutoShape 19"/>
          <p:cNvCxnSpPr>
            <a:cxnSpLocks noChangeShapeType="1"/>
            <a:stCxn id="11" idx="3"/>
            <a:endCxn id="17" idx="1"/>
          </p:cNvCxnSpPr>
          <p:nvPr/>
        </p:nvCxnSpPr>
        <p:spPr bwMode="auto">
          <a:xfrm>
            <a:off x="3816350" y="4955333"/>
            <a:ext cx="614363" cy="765175"/>
          </a:xfrm>
          <a:prstGeom prst="bentConnector3">
            <a:avLst>
              <a:gd name="adj1" fmla="val 50000"/>
            </a:avLst>
          </a:prstGeom>
          <a:noFill/>
          <a:ln w="12700">
            <a:solidFill>
              <a:schemeClr val="tx2"/>
            </a:solidFill>
            <a:miter lim="800000"/>
            <a:headEnd/>
            <a:tailEnd/>
          </a:ln>
        </p:spPr>
      </p:cxnSp>
      <p:sp>
        <p:nvSpPr>
          <p:cNvPr id="28"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0"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2"/>
          <p:cNvGrpSpPr>
            <a:grpSpLocks/>
          </p:cNvGrpSpPr>
          <p:nvPr/>
        </p:nvGrpSpPr>
        <p:grpSpPr bwMode="auto">
          <a:xfrm>
            <a:off x="5075238" y="2101526"/>
            <a:ext cx="2952750" cy="1530350"/>
            <a:chOff x="300" y="872"/>
            <a:chExt cx="1847" cy="1688"/>
          </a:xfrm>
        </p:grpSpPr>
        <p:sp>
          <p:nvSpPr>
            <p:cNvPr id="241694" name="Text Box 10"/>
            <p:cNvSpPr txBox="1">
              <a:spLocks noChangeArrowheads="1"/>
            </p:cNvSpPr>
            <p:nvPr/>
          </p:nvSpPr>
          <p:spPr bwMode="auto">
            <a:xfrm>
              <a:off x="300" y="872"/>
              <a:ext cx="1847" cy="303"/>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en-US" sz="1400" b="1" dirty="0">
                  <a:solidFill>
                    <a:srgbClr val="FFFFFF"/>
                  </a:solidFill>
                </a:rPr>
                <a:t>Text</a:t>
              </a:r>
            </a:p>
          </p:txBody>
        </p:sp>
        <p:sp>
          <p:nvSpPr>
            <p:cNvPr id="40" name="Rectangle 39"/>
            <p:cNvSpPr>
              <a:spLocks noChangeArrowheads="1"/>
            </p:cNvSpPr>
            <p:nvPr/>
          </p:nvSpPr>
          <p:spPr bwMode="auto">
            <a:xfrm>
              <a:off x="300" y="1175"/>
              <a:ext cx="1847" cy="1385"/>
            </a:xfrm>
            <a:prstGeom prst="rect">
              <a:avLst/>
            </a:prstGeom>
            <a:noFill/>
            <a:ln w="12700" algn="ctr">
              <a:solidFill>
                <a:srgbClr val="00A1DE"/>
              </a:solidFill>
              <a:miter lim="800000"/>
              <a:headEnd/>
              <a:tailEnd/>
            </a:ln>
          </p:spPr>
          <p:txBody>
            <a:bodyPr lIns="40118" tIns="40118" rIns="40118" bIns="40118"/>
            <a:lstStyle/>
            <a:p>
              <a:pPr algn="l" defTabSz="957998">
                <a:spcBef>
                  <a:spcPts val="400"/>
                </a:spcBef>
                <a:spcAft>
                  <a:spcPts val="0"/>
                </a:spcAft>
                <a:defRPr/>
              </a:pPr>
              <a:r>
                <a:rPr lang="nl-NL" sz="1400" b="0" dirty="0">
                  <a:solidFill>
                    <a:srgbClr val="002776"/>
                  </a:solidFill>
                  <a:latin typeface="Arial"/>
                  <a:cs typeface="+mn-cs"/>
                </a:rPr>
                <a:t>Paragraph </a:t>
              </a:r>
              <a:r>
                <a:rPr lang="nl-NL" sz="1400" b="0" dirty="0" smtClean="0">
                  <a:solidFill>
                    <a:srgbClr val="002776"/>
                  </a:solidFill>
                  <a:latin typeface="Arial"/>
                  <a:cs typeface="+mn-cs"/>
                </a:rPr>
                <a:t/>
              </a:r>
              <a:br>
                <a:rPr lang="nl-NL" sz="1400" b="0" dirty="0" smtClean="0">
                  <a:solidFill>
                    <a:srgbClr val="002776"/>
                  </a:solidFill>
                  <a:latin typeface="Arial"/>
                  <a:cs typeface="+mn-cs"/>
                </a:rPr>
              </a:br>
              <a:r>
                <a:rPr lang="nl-NL" sz="1400" b="0" dirty="0" smtClean="0">
                  <a:solidFill>
                    <a:srgbClr val="002776"/>
                  </a:solidFill>
                  <a:latin typeface="Arial"/>
                  <a:cs typeface="+mn-cs"/>
                </a:rPr>
                <a:t>(</a:t>
              </a:r>
              <a:r>
                <a:rPr lang="nl-NL" sz="1400" b="0" dirty="0">
                  <a:solidFill>
                    <a:srgbClr val="002776"/>
                  </a:solidFill>
                  <a:latin typeface="Arial"/>
                  <a:cs typeface="+mn-cs"/>
                </a:rPr>
                <a:t>if not needed, delete)</a:t>
              </a:r>
            </a:p>
            <a:p>
              <a:pPr marL="117475" lvl="1" indent="-117475" algn="l" defTabSz="957998">
                <a:spcBef>
                  <a:spcPts val="400"/>
                </a:spcBef>
                <a:spcAft>
                  <a:spcPts val="0"/>
                </a:spcAft>
                <a:buFont typeface="Arial" charset="0"/>
                <a:buChar char="•"/>
                <a:defRPr/>
              </a:pPr>
              <a:r>
                <a:rPr lang="nl-NL" sz="1400" b="0" dirty="0">
                  <a:solidFill>
                    <a:srgbClr val="002776"/>
                  </a:solidFill>
                  <a:latin typeface="Arial"/>
                  <a:ea typeface="+mj-ea"/>
                  <a:cs typeface="+mj-cs"/>
                </a:rPr>
                <a:t>Bullet</a:t>
              </a:r>
            </a:p>
            <a:p>
              <a:pPr marL="285750" lvl="2" indent="-168275" algn="l" defTabSz="957998">
                <a:spcBef>
                  <a:spcPts val="400"/>
                </a:spcBef>
                <a:spcAft>
                  <a:spcPts val="0"/>
                </a:spcAft>
                <a:buFont typeface="Arial" charset="0"/>
                <a:buChar char="‒"/>
                <a:defRPr/>
              </a:pPr>
              <a:r>
                <a:rPr lang="nl-NL" sz="1200" b="0" dirty="0">
                  <a:solidFill>
                    <a:srgbClr val="002776"/>
                  </a:solidFill>
                  <a:latin typeface="Arial"/>
                  <a:ea typeface="+mj-ea"/>
                  <a:cs typeface="+mj-cs"/>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ea typeface="+mj-ea"/>
                  <a:cs typeface="+mj-cs"/>
                </a:rPr>
                <a:t>Subbullet</a:t>
              </a:r>
              <a:endParaRPr lang="nl-NL" sz="1200" b="0" dirty="0">
                <a:solidFill>
                  <a:srgbClr val="002776"/>
                </a:solidFill>
                <a:latin typeface="Arial"/>
                <a:ea typeface="+mj-ea"/>
                <a:cs typeface="+mj-cs"/>
              </a:endParaRPr>
            </a:p>
            <a:p>
              <a:pPr marL="359623" indent="-359623" algn="l" defTabSz="957998">
                <a:lnSpc>
                  <a:spcPct val="106000"/>
                </a:lnSpc>
                <a:spcBef>
                  <a:spcPts val="1344"/>
                </a:spcBef>
                <a:spcAft>
                  <a:spcPts val="0"/>
                </a:spcAft>
                <a:defRPr/>
              </a:pPr>
              <a:endParaRPr lang="nl-NL" sz="1400" b="0" dirty="0">
                <a:solidFill>
                  <a:srgbClr val="002776"/>
                </a:solidFill>
                <a:latin typeface="Arial"/>
                <a:cs typeface="+mn-cs"/>
              </a:endParaRPr>
            </a:p>
          </p:txBody>
        </p:sp>
      </p:grpSp>
      <p:sp>
        <p:nvSpPr>
          <p:cNvPr id="241668" name="Title 1"/>
          <p:cNvSpPr>
            <a:spLocks noGrp="1"/>
          </p:cNvSpPr>
          <p:nvPr>
            <p:ph type="title"/>
            <p:custDataLst>
              <p:tags r:id="rId2"/>
            </p:custDataLst>
          </p:nvPr>
        </p:nvSpPr>
        <p:spPr>
          <a:xfrm>
            <a:off x="414338" y="446038"/>
            <a:ext cx="8330184" cy="333425"/>
          </a:xfrm>
        </p:spPr>
        <p:txBody>
          <a:bodyPr/>
          <a:lstStyle/>
          <a:p>
            <a:r>
              <a:rPr lang="nl-NL"/>
              <a:t>Driver trees </a:t>
            </a:r>
            <a:r>
              <a:rPr lang="en-US"/>
              <a:t>—</a:t>
            </a:r>
            <a:r>
              <a:rPr lang="nl-NL" smtClean="0"/>
              <a:t> </a:t>
            </a:r>
            <a:r>
              <a:rPr lang="nl-NL"/>
              <a:t>expanded text</a:t>
            </a:r>
          </a:p>
        </p:txBody>
      </p:sp>
      <p:sp>
        <p:nvSpPr>
          <p:cNvPr id="10" name="Rectangle 3"/>
          <p:cNvSpPr>
            <a:spLocks noChangeArrowheads="1"/>
          </p:cNvSpPr>
          <p:nvPr>
            <p:custDataLst>
              <p:tags r:id="rId3"/>
            </p:custDataLst>
          </p:nvPr>
        </p:nvSpPr>
        <p:spPr bwMode="auto">
          <a:xfrm>
            <a:off x="904875" y="3549747"/>
            <a:ext cx="931863" cy="401637"/>
          </a:xfrm>
          <a:prstGeom prst="rect">
            <a:avLst/>
          </a:prstGeom>
          <a:solidFill>
            <a:schemeClr val="accent3"/>
          </a:solidFill>
          <a:ln w="6350" algn="ctr">
            <a:noFill/>
            <a:miter lim="800000"/>
            <a:headEnd/>
            <a:tailEnd/>
          </a:ln>
        </p:spPr>
        <p:txBody>
          <a:bodyPr tIns="91440" bIns="91440" anchor="ctr"/>
          <a:lstStyle/>
          <a:p>
            <a:pPr marL="12700" indent="-12700" algn="ctr">
              <a:lnSpc>
                <a:spcPct val="110000"/>
              </a:lnSpc>
              <a:defRPr/>
            </a:pPr>
            <a:r>
              <a:rPr lang="en-GB" sz="1400" b="1">
                <a:solidFill>
                  <a:schemeClr val="bg1"/>
                </a:solidFill>
                <a:ea typeface="ＭＳ Ｐゴシック" pitchFamily="50" charset="-128"/>
              </a:rPr>
              <a:t>Text</a:t>
            </a:r>
            <a:endParaRPr lang="en-GB" altLang="ja-JP" sz="1400" b="1">
              <a:solidFill>
                <a:schemeClr val="bg1"/>
              </a:solidFill>
              <a:ea typeface="ＭＳ Ｐゴシック" pitchFamily="50" charset="-128"/>
            </a:endParaRPr>
          </a:p>
        </p:txBody>
      </p:sp>
      <p:sp>
        <p:nvSpPr>
          <p:cNvPr id="11" name="AutoShape 4"/>
          <p:cNvSpPr>
            <a:spLocks noChangeArrowheads="1"/>
          </p:cNvSpPr>
          <p:nvPr>
            <p:custDataLst>
              <p:tags r:id="rId4"/>
            </p:custDataLst>
          </p:nvPr>
        </p:nvSpPr>
        <p:spPr bwMode="auto">
          <a:xfrm>
            <a:off x="852488" y="1603051"/>
            <a:ext cx="7386637" cy="366712"/>
          </a:xfrm>
          <a:prstGeom prst="homePlate">
            <a:avLst>
              <a:gd name="adj" fmla="val 58990"/>
            </a:avLst>
          </a:prstGeom>
          <a:solidFill>
            <a:schemeClr val="accent3"/>
          </a:solidFill>
          <a:ln w="6350" algn="ctr">
            <a:noFill/>
            <a:miter lim="800000"/>
            <a:headEnd/>
            <a:tailEnd/>
          </a:ln>
        </p:spPr>
        <p:txBody>
          <a:bodyPr tIns="91440" bIns="91440" anchor="ctr"/>
          <a:lstStyle/>
          <a:p>
            <a:pPr algn="ctr">
              <a:defRPr/>
            </a:pPr>
            <a:r>
              <a:rPr lang="en-GB" sz="1400" b="1">
                <a:solidFill>
                  <a:schemeClr val="bg1"/>
                </a:solidFill>
                <a:ea typeface="ＭＳ Ｐゴシック" pitchFamily="50" charset="-128"/>
              </a:rPr>
              <a:t>Text</a:t>
            </a:r>
            <a:endParaRPr lang="en-GB" altLang="ja-JP" sz="1400" b="1">
              <a:solidFill>
                <a:schemeClr val="bg1"/>
              </a:solidFill>
              <a:ea typeface="ＭＳ Ｐゴシック" pitchFamily="50" charset="-128"/>
            </a:endParaRPr>
          </a:p>
        </p:txBody>
      </p:sp>
      <p:sp>
        <p:nvSpPr>
          <p:cNvPr id="13" name="Rectangle 6"/>
          <p:cNvSpPr>
            <a:spLocks noChangeArrowheads="1"/>
          </p:cNvSpPr>
          <p:nvPr>
            <p:custDataLst>
              <p:tags r:id="rId5"/>
            </p:custDataLst>
          </p:nvPr>
        </p:nvSpPr>
        <p:spPr bwMode="auto">
          <a:xfrm>
            <a:off x="2460625" y="4363713"/>
            <a:ext cx="933450" cy="401638"/>
          </a:xfrm>
          <a:prstGeom prst="rect">
            <a:avLst/>
          </a:prstGeom>
          <a:solidFill>
            <a:schemeClr val="accent3"/>
          </a:solidFill>
          <a:ln w="19050" algn="ctr">
            <a:noFill/>
            <a:miter lim="800000"/>
            <a:headEnd/>
            <a:tailEnd/>
          </a:ln>
        </p:spPr>
        <p:txBody>
          <a:bodyPr lIns="18000" tIns="18000" rIns="18000" bIns="18000" anchor="ctr"/>
          <a:lstStyle/>
          <a:p>
            <a:pPr marL="12700" indent="-12700" algn="ctr">
              <a:lnSpc>
                <a:spcPct val="110000"/>
              </a:lnSpc>
              <a:defRPr/>
            </a:pPr>
            <a:r>
              <a:rPr lang="en-GB" sz="1400" b="1">
                <a:solidFill>
                  <a:schemeClr val="bg1"/>
                </a:solidFill>
                <a:ea typeface="ＭＳ Ｐゴシック" pitchFamily="50" charset="-128"/>
              </a:rPr>
              <a:t>Text</a:t>
            </a:r>
            <a:endParaRPr lang="en-GB" altLang="ja-JP" sz="1400" b="1">
              <a:solidFill>
                <a:schemeClr val="bg1"/>
              </a:solidFill>
              <a:ea typeface="ＭＳ Ｐゴシック" pitchFamily="50" charset="-128"/>
            </a:endParaRPr>
          </a:p>
        </p:txBody>
      </p:sp>
      <p:sp>
        <p:nvSpPr>
          <p:cNvPr id="14" name="Rectangle 7"/>
          <p:cNvSpPr>
            <a:spLocks noChangeArrowheads="1"/>
          </p:cNvSpPr>
          <p:nvPr>
            <p:custDataLst>
              <p:tags r:id="rId6"/>
            </p:custDataLst>
          </p:nvPr>
        </p:nvSpPr>
        <p:spPr bwMode="auto">
          <a:xfrm>
            <a:off x="2460625" y="2655563"/>
            <a:ext cx="933450" cy="400050"/>
          </a:xfrm>
          <a:prstGeom prst="rect">
            <a:avLst/>
          </a:prstGeom>
          <a:solidFill>
            <a:schemeClr val="accent3"/>
          </a:solidFill>
          <a:ln w="19050" algn="ctr">
            <a:noFill/>
            <a:miter lim="800000"/>
            <a:headEnd/>
            <a:tailEnd/>
          </a:ln>
        </p:spPr>
        <p:txBody>
          <a:bodyPr lIns="18000" tIns="18000" rIns="18000" bIns="18000" anchor="ctr"/>
          <a:lstStyle/>
          <a:p>
            <a:pPr marL="12700" indent="-12700" algn="ctr">
              <a:lnSpc>
                <a:spcPct val="110000"/>
              </a:lnSpc>
              <a:defRPr/>
            </a:pPr>
            <a:r>
              <a:rPr lang="en-GB" sz="1400" b="1">
                <a:solidFill>
                  <a:schemeClr val="bg1"/>
                </a:solidFill>
                <a:ea typeface="ＭＳ Ｐゴシック" pitchFamily="50" charset="-128"/>
              </a:rPr>
              <a:t>Text</a:t>
            </a:r>
            <a:endParaRPr lang="en-GB" altLang="ja-JP" sz="1400" b="1">
              <a:solidFill>
                <a:schemeClr val="bg1"/>
              </a:solidFill>
              <a:ea typeface="ＭＳ Ｐゴシック" pitchFamily="50" charset="-128"/>
            </a:endParaRPr>
          </a:p>
        </p:txBody>
      </p:sp>
      <p:sp>
        <p:nvSpPr>
          <p:cNvPr id="15" name="Rectangle 8"/>
          <p:cNvSpPr>
            <a:spLocks noChangeArrowheads="1"/>
          </p:cNvSpPr>
          <p:nvPr>
            <p:custDataLst>
              <p:tags r:id="rId7"/>
            </p:custDataLst>
          </p:nvPr>
        </p:nvSpPr>
        <p:spPr bwMode="auto">
          <a:xfrm>
            <a:off x="4017963" y="2668263"/>
            <a:ext cx="931862" cy="400050"/>
          </a:xfrm>
          <a:prstGeom prst="rect">
            <a:avLst/>
          </a:prstGeom>
          <a:solidFill>
            <a:schemeClr val="accent3"/>
          </a:solidFill>
          <a:ln w="19050" algn="ctr">
            <a:noFill/>
            <a:miter lim="800000"/>
            <a:headEnd/>
            <a:tailEnd/>
          </a:ln>
        </p:spPr>
        <p:txBody>
          <a:bodyPr lIns="18000" tIns="18000" rIns="18000" bIns="18000" anchor="ctr"/>
          <a:lstStyle/>
          <a:p>
            <a:pPr marL="12700" indent="-12700" algn="ctr">
              <a:lnSpc>
                <a:spcPct val="110000"/>
              </a:lnSpc>
              <a:defRPr/>
            </a:pPr>
            <a:r>
              <a:rPr lang="en-GB" sz="1400" b="1">
                <a:solidFill>
                  <a:schemeClr val="bg1"/>
                </a:solidFill>
                <a:ea typeface="ＭＳ Ｐゴシック" pitchFamily="50" charset="-128"/>
              </a:rPr>
              <a:t>Text</a:t>
            </a:r>
            <a:endParaRPr lang="en-GB" altLang="ja-JP" sz="1400" b="1">
              <a:solidFill>
                <a:schemeClr val="bg1"/>
              </a:solidFill>
              <a:ea typeface="ＭＳ Ｐゴシック" pitchFamily="50" charset="-128"/>
            </a:endParaRPr>
          </a:p>
        </p:txBody>
      </p:sp>
      <p:sp>
        <p:nvSpPr>
          <p:cNvPr id="16" name="Rectangle 9"/>
          <p:cNvSpPr>
            <a:spLocks noChangeArrowheads="1"/>
          </p:cNvSpPr>
          <p:nvPr>
            <p:custDataLst>
              <p:tags r:id="rId8"/>
            </p:custDataLst>
          </p:nvPr>
        </p:nvSpPr>
        <p:spPr bwMode="auto">
          <a:xfrm>
            <a:off x="4017963" y="3793801"/>
            <a:ext cx="931862" cy="401637"/>
          </a:xfrm>
          <a:prstGeom prst="rect">
            <a:avLst/>
          </a:prstGeom>
          <a:solidFill>
            <a:schemeClr val="accent3"/>
          </a:solidFill>
          <a:ln w="19050" algn="ctr">
            <a:noFill/>
            <a:miter lim="800000"/>
            <a:headEnd/>
            <a:tailEnd/>
          </a:ln>
        </p:spPr>
        <p:txBody>
          <a:bodyPr lIns="18000" tIns="18000" rIns="18000" bIns="18000" anchor="ctr"/>
          <a:lstStyle/>
          <a:p>
            <a:pPr marL="12700" indent="-12700" algn="ctr">
              <a:lnSpc>
                <a:spcPct val="110000"/>
              </a:lnSpc>
              <a:defRPr/>
            </a:pPr>
            <a:r>
              <a:rPr lang="en-GB" sz="1400" b="1">
                <a:solidFill>
                  <a:schemeClr val="bg1"/>
                </a:solidFill>
                <a:ea typeface="ＭＳ Ｐゴシック" pitchFamily="50" charset="-128"/>
              </a:rPr>
              <a:t>Text</a:t>
            </a:r>
            <a:endParaRPr lang="en-GB" altLang="ja-JP" sz="1400" b="1">
              <a:solidFill>
                <a:schemeClr val="bg1"/>
              </a:solidFill>
              <a:ea typeface="ＭＳ Ｐゴシック" pitchFamily="50" charset="-128"/>
            </a:endParaRPr>
          </a:p>
        </p:txBody>
      </p:sp>
      <p:sp>
        <p:nvSpPr>
          <p:cNvPr id="17" name="Rectangle 10"/>
          <p:cNvSpPr>
            <a:spLocks noChangeArrowheads="1"/>
          </p:cNvSpPr>
          <p:nvPr>
            <p:custDataLst>
              <p:tags r:id="rId9"/>
            </p:custDataLst>
          </p:nvPr>
        </p:nvSpPr>
        <p:spPr bwMode="auto">
          <a:xfrm>
            <a:off x="4017963" y="3231826"/>
            <a:ext cx="930275" cy="400050"/>
          </a:xfrm>
          <a:prstGeom prst="rect">
            <a:avLst/>
          </a:prstGeom>
          <a:solidFill>
            <a:schemeClr val="accent3"/>
          </a:solidFill>
          <a:ln w="19050" algn="ctr">
            <a:noFill/>
            <a:miter lim="800000"/>
            <a:headEnd/>
            <a:tailEnd/>
          </a:ln>
        </p:spPr>
        <p:txBody>
          <a:bodyPr lIns="18000" tIns="18000" rIns="18000" bIns="18000" anchor="ctr"/>
          <a:lstStyle/>
          <a:p>
            <a:pPr marL="12700" indent="-12700" algn="ctr">
              <a:lnSpc>
                <a:spcPct val="110000"/>
              </a:lnSpc>
              <a:defRPr/>
            </a:pPr>
            <a:r>
              <a:rPr lang="en-GB" sz="1400" b="1">
                <a:solidFill>
                  <a:schemeClr val="bg1"/>
                </a:solidFill>
                <a:ea typeface="ＭＳ Ｐゴシック" pitchFamily="50" charset="-128"/>
              </a:rPr>
              <a:t>Text</a:t>
            </a:r>
            <a:endParaRPr lang="en-GB" altLang="ja-JP" sz="1400" b="1">
              <a:solidFill>
                <a:schemeClr val="bg1"/>
              </a:solidFill>
              <a:ea typeface="ＭＳ Ｐゴシック" pitchFamily="50" charset="-128"/>
            </a:endParaRPr>
          </a:p>
        </p:txBody>
      </p:sp>
      <p:sp>
        <p:nvSpPr>
          <p:cNvPr id="18" name="Rectangle 11"/>
          <p:cNvSpPr>
            <a:spLocks noChangeArrowheads="1"/>
          </p:cNvSpPr>
          <p:nvPr>
            <p:custDataLst>
              <p:tags r:id="rId10"/>
            </p:custDataLst>
          </p:nvPr>
        </p:nvSpPr>
        <p:spPr bwMode="auto">
          <a:xfrm>
            <a:off x="4017963" y="2101526"/>
            <a:ext cx="930275" cy="401637"/>
          </a:xfrm>
          <a:prstGeom prst="rect">
            <a:avLst/>
          </a:prstGeom>
          <a:solidFill>
            <a:schemeClr val="accent3"/>
          </a:solidFill>
          <a:ln w="19050" algn="ctr">
            <a:noFill/>
            <a:miter lim="800000"/>
            <a:headEnd/>
            <a:tailEnd/>
          </a:ln>
        </p:spPr>
        <p:txBody>
          <a:bodyPr lIns="18000" tIns="18000" rIns="18000" bIns="18000" anchor="ctr"/>
          <a:lstStyle/>
          <a:p>
            <a:pPr marL="12700" indent="-12700" algn="ctr">
              <a:lnSpc>
                <a:spcPct val="110000"/>
              </a:lnSpc>
              <a:defRPr/>
            </a:pPr>
            <a:r>
              <a:rPr lang="en-GB" sz="1400" b="1">
                <a:solidFill>
                  <a:schemeClr val="bg1"/>
                </a:solidFill>
                <a:ea typeface="ＭＳ Ｐゴシック" pitchFamily="50" charset="-128"/>
              </a:rPr>
              <a:t>Text</a:t>
            </a:r>
            <a:endParaRPr lang="en-GB" altLang="ja-JP" sz="1400" b="1">
              <a:solidFill>
                <a:schemeClr val="bg1"/>
              </a:solidFill>
              <a:ea typeface="ＭＳ Ｐゴシック" pitchFamily="50" charset="-128"/>
            </a:endParaRPr>
          </a:p>
        </p:txBody>
      </p:sp>
      <p:sp>
        <p:nvSpPr>
          <p:cNvPr id="19" name="Rectangle 12"/>
          <p:cNvSpPr>
            <a:spLocks noChangeArrowheads="1"/>
          </p:cNvSpPr>
          <p:nvPr>
            <p:custDataLst>
              <p:tags r:id="rId11"/>
            </p:custDataLst>
          </p:nvPr>
        </p:nvSpPr>
        <p:spPr bwMode="auto">
          <a:xfrm>
            <a:off x="4017963" y="4924101"/>
            <a:ext cx="930275" cy="400050"/>
          </a:xfrm>
          <a:prstGeom prst="rect">
            <a:avLst/>
          </a:prstGeom>
          <a:solidFill>
            <a:schemeClr val="accent3"/>
          </a:solidFill>
          <a:ln w="19050" algn="ctr">
            <a:noFill/>
            <a:miter lim="800000"/>
            <a:headEnd/>
            <a:tailEnd/>
          </a:ln>
        </p:spPr>
        <p:txBody>
          <a:bodyPr lIns="18000" tIns="18000" rIns="18000" bIns="18000" anchor="ctr"/>
          <a:lstStyle/>
          <a:p>
            <a:pPr marL="12700" indent="-12700" algn="ctr">
              <a:lnSpc>
                <a:spcPct val="110000"/>
              </a:lnSpc>
              <a:defRPr/>
            </a:pPr>
            <a:r>
              <a:rPr lang="en-GB" sz="1400" b="1">
                <a:solidFill>
                  <a:schemeClr val="bg1"/>
                </a:solidFill>
                <a:ea typeface="ＭＳ Ｐゴシック" pitchFamily="50" charset="-128"/>
              </a:rPr>
              <a:t>Text</a:t>
            </a:r>
            <a:endParaRPr lang="en-GB" altLang="ja-JP" sz="1400" b="1">
              <a:solidFill>
                <a:schemeClr val="bg1"/>
              </a:solidFill>
              <a:ea typeface="ＭＳ Ｐゴシック" pitchFamily="50" charset="-128"/>
            </a:endParaRPr>
          </a:p>
        </p:txBody>
      </p:sp>
      <p:sp>
        <p:nvSpPr>
          <p:cNvPr id="20" name="Rectangle 13"/>
          <p:cNvSpPr>
            <a:spLocks noChangeArrowheads="1"/>
          </p:cNvSpPr>
          <p:nvPr>
            <p:custDataLst>
              <p:tags r:id="rId12"/>
            </p:custDataLst>
          </p:nvPr>
        </p:nvSpPr>
        <p:spPr bwMode="auto">
          <a:xfrm>
            <a:off x="4017963" y="4358951"/>
            <a:ext cx="930275" cy="401637"/>
          </a:xfrm>
          <a:prstGeom prst="rect">
            <a:avLst/>
          </a:prstGeom>
          <a:solidFill>
            <a:schemeClr val="accent3"/>
          </a:solidFill>
          <a:ln w="19050" algn="ctr">
            <a:noFill/>
            <a:miter lim="800000"/>
            <a:headEnd/>
            <a:tailEnd/>
          </a:ln>
        </p:spPr>
        <p:txBody>
          <a:bodyPr lIns="18000" tIns="18000" rIns="18000" bIns="18000" anchor="ctr"/>
          <a:lstStyle/>
          <a:p>
            <a:pPr marL="12700" indent="-12700" algn="ctr">
              <a:lnSpc>
                <a:spcPct val="110000"/>
              </a:lnSpc>
              <a:defRPr/>
            </a:pPr>
            <a:r>
              <a:rPr lang="en-GB" sz="1400" b="1">
                <a:solidFill>
                  <a:schemeClr val="bg1"/>
                </a:solidFill>
                <a:ea typeface="ＭＳ Ｐゴシック" pitchFamily="50" charset="-128"/>
              </a:rPr>
              <a:t>Text</a:t>
            </a:r>
            <a:endParaRPr lang="en-GB" altLang="ja-JP" sz="1400" b="1">
              <a:solidFill>
                <a:schemeClr val="bg1"/>
              </a:solidFill>
              <a:ea typeface="ＭＳ Ｐゴシック" pitchFamily="50" charset="-128"/>
            </a:endParaRPr>
          </a:p>
        </p:txBody>
      </p:sp>
      <p:sp>
        <p:nvSpPr>
          <p:cNvPr id="21" name="AutoShape 14"/>
          <p:cNvSpPr>
            <a:spLocks noChangeArrowheads="1"/>
          </p:cNvSpPr>
          <p:nvPr>
            <p:custDataLst>
              <p:tags r:id="rId13"/>
            </p:custDataLst>
          </p:nvPr>
        </p:nvSpPr>
        <p:spPr bwMode="auto">
          <a:xfrm flipH="1">
            <a:off x="846138" y="5441218"/>
            <a:ext cx="7192076" cy="366712"/>
          </a:xfrm>
          <a:prstGeom prst="homePlate">
            <a:avLst>
              <a:gd name="adj" fmla="val 58967"/>
            </a:avLst>
          </a:prstGeom>
          <a:solidFill>
            <a:schemeClr val="accent3"/>
          </a:solidFill>
          <a:ln w="6350" algn="ctr">
            <a:noFill/>
            <a:miter lim="800000"/>
            <a:headEnd/>
            <a:tailEnd/>
          </a:ln>
        </p:spPr>
        <p:txBody>
          <a:bodyPr tIns="91440" bIns="91440" anchor="ctr"/>
          <a:lstStyle/>
          <a:p>
            <a:pPr algn="ctr">
              <a:defRPr/>
            </a:pPr>
            <a:r>
              <a:rPr lang="en-GB" sz="1400" b="1">
                <a:solidFill>
                  <a:schemeClr val="bg1"/>
                </a:solidFill>
                <a:ea typeface="ＭＳ Ｐゴシック" pitchFamily="50" charset="-128"/>
              </a:rPr>
              <a:t>Text</a:t>
            </a:r>
            <a:endParaRPr lang="en-GB" altLang="ja-JP" sz="1400" b="1">
              <a:solidFill>
                <a:schemeClr val="bg1"/>
              </a:solidFill>
              <a:ea typeface="ＭＳ Ｐゴシック" pitchFamily="50" charset="-128"/>
            </a:endParaRPr>
          </a:p>
        </p:txBody>
      </p:sp>
      <p:cxnSp>
        <p:nvCxnSpPr>
          <p:cNvPr id="27" name="AutoShape 21"/>
          <p:cNvCxnSpPr>
            <a:cxnSpLocks noChangeShapeType="1"/>
            <a:stCxn id="18" idx="1"/>
            <a:endCxn id="14" idx="3"/>
          </p:cNvCxnSpPr>
          <p:nvPr>
            <p:custDataLst>
              <p:tags r:id="rId14"/>
            </p:custDataLst>
          </p:nvPr>
        </p:nvCxnSpPr>
        <p:spPr bwMode="gray">
          <a:xfrm rot="10800000" flipV="1">
            <a:off x="3394075" y="2303138"/>
            <a:ext cx="623888" cy="552450"/>
          </a:xfrm>
          <a:prstGeom prst="bentConnector3">
            <a:avLst>
              <a:gd name="adj1" fmla="val 50000"/>
            </a:avLst>
          </a:prstGeom>
          <a:noFill/>
          <a:ln w="12700">
            <a:solidFill>
              <a:schemeClr val="tx2"/>
            </a:solidFill>
            <a:miter lim="800000"/>
            <a:headEnd/>
            <a:tailEnd type="triangle" w="med" len="med"/>
          </a:ln>
        </p:spPr>
      </p:cxnSp>
      <p:cxnSp>
        <p:nvCxnSpPr>
          <p:cNvPr id="28" name="AutoShape 22"/>
          <p:cNvCxnSpPr>
            <a:cxnSpLocks noChangeShapeType="1"/>
            <a:stCxn id="15" idx="1"/>
            <a:endCxn id="14" idx="3"/>
          </p:cNvCxnSpPr>
          <p:nvPr>
            <p:custDataLst>
              <p:tags r:id="rId15"/>
            </p:custDataLst>
          </p:nvPr>
        </p:nvCxnSpPr>
        <p:spPr bwMode="gray">
          <a:xfrm rot="10800000">
            <a:off x="3394075" y="2855588"/>
            <a:ext cx="623888" cy="0"/>
          </a:xfrm>
          <a:prstGeom prst="straightConnector1">
            <a:avLst/>
          </a:prstGeom>
          <a:noFill/>
          <a:ln w="12700">
            <a:solidFill>
              <a:schemeClr val="tx2"/>
            </a:solidFill>
            <a:round/>
            <a:headEnd/>
            <a:tailEnd type="triangle" w="med" len="med"/>
          </a:ln>
        </p:spPr>
      </p:cxnSp>
      <p:cxnSp>
        <p:nvCxnSpPr>
          <p:cNvPr id="29" name="AutoShape 23"/>
          <p:cNvCxnSpPr>
            <a:cxnSpLocks noChangeShapeType="1"/>
            <a:stCxn id="17" idx="1"/>
            <a:endCxn id="14" idx="3"/>
          </p:cNvCxnSpPr>
          <p:nvPr>
            <p:custDataLst>
              <p:tags r:id="rId16"/>
            </p:custDataLst>
          </p:nvPr>
        </p:nvCxnSpPr>
        <p:spPr bwMode="gray">
          <a:xfrm rot="10800000">
            <a:off x="3394075" y="2855588"/>
            <a:ext cx="623888" cy="576263"/>
          </a:xfrm>
          <a:prstGeom prst="bentConnector3">
            <a:avLst>
              <a:gd name="adj1" fmla="val 50000"/>
            </a:avLst>
          </a:prstGeom>
          <a:noFill/>
          <a:ln w="12700">
            <a:solidFill>
              <a:schemeClr val="tx2"/>
            </a:solidFill>
            <a:miter lim="800000"/>
            <a:headEnd/>
            <a:tailEnd type="triangle" w="med" len="med"/>
          </a:ln>
        </p:spPr>
      </p:cxnSp>
      <p:cxnSp>
        <p:nvCxnSpPr>
          <p:cNvPr id="30" name="AutoShape 24"/>
          <p:cNvCxnSpPr>
            <a:cxnSpLocks noChangeShapeType="1"/>
            <a:stCxn id="16" idx="1"/>
            <a:endCxn id="13" idx="3"/>
          </p:cNvCxnSpPr>
          <p:nvPr>
            <p:custDataLst>
              <p:tags r:id="rId17"/>
            </p:custDataLst>
          </p:nvPr>
        </p:nvCxnSpPr>
        <p:spPr bwMode="gray">
          <a:xfrm rot="10800000" flipV="1">
            <a:off x="3394075" y="3995413"/>
            <a:ext cx="623888" cy="569913"/>
          </a:xfrm>
          <a:prstGeom prst="bentConnector3">
            <a:avLst>
              <a:gd name="adj1" fmla="val 50000"/>
            </a:avLst>
          </a:prstGeom>
          <a:noFill/>
          <a:ln w="12700">
            <a:solidFill>
              <a:schemeClr val="tx2"/>
            </a:solidFill>
            <a:miter lim="800000"/>
            <a:headEnd/>
            <a:tailEnd type="triangle" w="med" len="med"/>
          </a:ln>
        </p:spPr>
      </p:cxnSp>
      <p:cxnSp>
        <p:nvCxnSpPr>
          <p:cNvPr id="31" name="AutoShape 25"/>
          <p:cNvCxnSpPr>
            <a:cxnSpLocks noChangeShapeType="1"/>
            <a:stCxn id="20" idx="1"/>
            <a:endCxn id="13" idx="3"/>
          </p:cNvCxnSpPr>
          <p:nvPr>
            <p:custDataLst>
              <p:tags r:id="rId18"/>
            </p:custDataLst>
          </p:nvPr>
        </p:nvCxnSpPr>
        <p:spPr bwMode="gray">
          <a:xfrm rot="10800000">
            <a:off x="3394075" y="4565326"/>
            <a:ext cx="623888" cy="0"/>
          </a:xfrm>
          <a:prstGeom prst="straightConnector1">
            <a:avLst/>
          </a:prstGeom>
          <a:noFill/>
          <a:ln w="12700">
            <a:solidFill>
              <a:schemeClr val="tx2"/>
            </a:solidFill>
            <a:round/>
            <a:headEnd/>
            <a:tailEnd type="triangle" w="med" len="med"/>
          </a:ln>
        </p:spPr>
      </p:cxnSp>
      <p:cxnSp>
        <p:nvCxnSpPr>
          <p:cNvPr id="32" name="AutoShape 26"/>
          <p:cNvCxnSpPr>
            <a:cxnSpLocks noChangeShapeType="1"/>
            <a:stCxn id="19" idx="1"/>
            <a:endCxn id="13" idx="3"/>
          </p:cNvCxnSpPr>
          <p:nvPr>
            <p:custDataLst>
              <p:tags r:id="rId19"/>
            </p:custDataLst>
          </p:nvPr>
        </p:nvCxnSpPr>
        <p:spPr bwMode="gray">
          <a:xfrm rot="10800000">
            <a:off x="3394075" y="4565326"/>
            <a:ext cx="623888" cy="558800"/>
          </a:xfrm>
          <a:prstGeom prst="bentConnector3">
            <a:avLst>
              <a:gd name="adj1" fmla="val 50000"/>
            </a:avLst>
          </a:prstGeom>
          <a:noFill/>
          <a:ln w="12700">
            <a:solidFill>
              <a:schemeClr val="tx2"/>
            </a:solidFill>
            <a:miter lim="800000"/>
            <a:headEnd/>
            <a:tailEnd type="triangle" w="med" len="med"/>
          </a:ln>
        </p:spPr>
      </p:cxnSp>
      <p:cxnSp>
        <p:nvCxnSpPr>
          <p:cNvPr id="33" name="AutoShape 27"/>
          <p:cNvCxnSpPr>
            <a:cxnSpLocks noChangeShapeType="1"/>
            <a:stCxn id="14" idx="1"/>
          </p:cNvCxnSpPr>
          <p:nvPr>
            <p:custDataLst>
              <p:tags r:id="rId20"/>
            </p:custDataLst>
          </p:nvPr>
        </p:nvCxnSpPr>
        <p:spPr bwMode="gray">
          <a:xfrm rot="10800000" flipV="1">
            <a:off x="1836739" y="2855588"/>
            <a:ext cx="623887" cy="870534"/>
          </a:xfrm>
          <a:prstGeom prst="bentConnector3">
            <a:avLst>
              <a:gd name="adj1" fmla="val 50000"/>
            </a:avLst>
          </a:prstGeom>
          <a:noFill/>
          <a:ln w="12700">
            <a:solidFill>
              <a:schemeClr val="tx2"/>
            </a:solidFill>
            <a:miter lim="800000"/>
            <a:headEnd/>
            <a:tailEnd type="triangle" w="med" len="med"/>
          </a:ln>
        </p:spPr>
      </p:cxnSp>
      <p:cxnSp>
        <p:nvCxnSpPr>
          <p:cNvPr id="34" name="AutoShape 28"/>
          <p:cNvCxnSpPr>
            <a:cxnSpLocks noChangeShapeType="1"/>
            <a:stCxn id="13" idx="1"/>
          </p:cNvCxnSpPr>
          <p:nvPr>
            <p:custDataLst>
              <p:tags r:id="rId21"/>
            </p:custDataLst>
          </p:nvPr>
        </p:nvCxnSpPr>
        <p:spPr bwMode="gray">
          <a:xfrm rot="10800000">
            <a:off x="1836739" y="3726122"/>
            <a:ext cx="623887" cy="838410"/>
          </a:xfrm>
          <a:prstGeom prst="bentConnector3">
            <a:avLst>
              <a:gd name="adj1" fmla="val 50000"/>
            </a:avLst>
          </a:prstGeom>
          <a:noFill/>
          <a:ln w="12700">
            <a:solidFill>
              <a:schemeClr val="tx2"/>
            </a:solidFill>
            <a:miter lim="800000"/>
            <a:headEnd/>
            <a:tailEnd type="triangle" w="med" len="med"/>
          </a:ln>
        </p:spPr>
      </p:cxnSp>
      <p:graphicFrame>
        <p:nvGraphicFramePr>
          <p:cNvPr id="241666" name="Rectangle 2" hidden="1"/>
          <p:cNvGraphicFramePr>
            <a:graphicFrameLocks/>
          </p:cNvGraphicFramePr>
          <p:nvPr>
            <p:custDataLst>
              <p:tags r:id="rId2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65219" name="think-cell Slide" r:id="rId26" imgW="0" imgH="0" progId="">
                  <p:embed/>
                </p:oleObj>
              </mc:Choice>
              <mc:Fallback>
                <p:oleObj name="think-cell Slide" r:id="rId2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oup 12"/>
          <p:cNvGrpSpPr>
            <a:grpSpLocks/>
          </p:cNvGrpSpPr>
          <p:nvPr>
            <p:custDataLst>
              <p:tags r:id="rId23"/>
            </p:custDataLst>
          </p:nvPr>
        </p:nvGrpSpPr>
        <p:grpSpPr bwMode="auto">
          <a:xfrm>
            <a:off x="5075238" y="3793801"/>
            <a:ext cx="2952750" cy="1530350"/>
            <a:chOff x="300" y="872"/>
            <a:chExt cx="1847" cy="1688"/>
          </a:xfrm>
        </p:grpSpPr>
        <p:sp>
          <p:nvSpPr>
            <p:cNvPr id="241692" name="Text Box 10"/>
            <p:cNvSpPr txBox="1">
              <a:spLocks noChangeArrowheads="1"/>
            </p:cNvSpPr>
            <p:nvPr/>
          </p:nvSpPr>
          <p:spPr bwMode="auto">
            <a:xfrm>
              <a:off x="300" y="872"/>
              <a:ext cx="1847" cy="303"/>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en-US" sz="1400" b="1" dirty="0">
                  <a:solidFill>
                    <a:srgbClr val="FFFFFF"/>
                  </a:solidFill>
                </a:rPr>
                <a:t>Text</a:t>
              </a:r>
            </a:p>
          </p:txBody>
        </p:sp>
        <p:sp>
          <p:nvSpPr>
            <p:cNvPr id="44" name="Rectangle 43"/>
            <p:cNvSpPr>
              <a:spLocks noChangeArrowheads="1"/>
            </p:cNvSpPr>
            <p:nvPr/>
          </p:nvSpPr>
          <p:spPr bwMode="auto">
            <a:xfrm>
              <a:off x="300" y="1175"/>
              <a:ext cx="1847" cy="1385"/>
            </a:xfrm>
            <a:prstGeom prst="rect">
              <a:avLst/>
            </a:prstGeom>
            <a:noFill/>
            <a:ln w="12700" algn="ctr">
              <a:solidFill>
                <a:srgbClr val="00A1DE"/>
              </a:solidFill>
              <a:miter lim="800000"/>
              <a:headEnd/>
              <a:tailEnd/>
            </a:ln>
          </p:spPr>
          <p:txBody>
            <a:bodyPr lIns="40118" tIns="40118" rIns="40118" bIns="40118"/>
            <a:lstStyle/>
            <a:p>
              <a:pPr algn="l" defTabSz="957998">
                <a:spcBef>
                  <a:spcPts val="400"/>
                </a:spcBef>
                <a:spcAft>
                  <a:spcPts val="0"/>
                </a:spcAft>
                <a:defRPr/>
              </a:pPr>
              <a:r>
                <a:rPr lang="nl-NL" sz="1400" b="0" dirty="0" smtClean="0">
                  <a:solidFill>
                    <a:srgbClr val="002776"/>
                  </a:solidFill>
                  <a:latin typeface="Arial"/>
                </a:rPr>
                <a:t>Paragraph </a:t>
              </a:r>
              <a:br>
                <a:rPr lang="nl-NL" sz="1400" b="0" dirty="0" smtClean="0">
                  <a:solidFill>
                    <a:srgbClr val="002776"/>
                  </a:solidFill>
                  <a:latin typeface="Arial"/>
                </a:rPr>
              </a:br>
              <a:r>
                <a:rPr lang="nl-NL" sz="1400" b="0" dirty="0" smtClean="0">
                  <a:solidFill>
                    <a:srgbClr val="002776"/>
                  </a:solidFill>
                  <a:latin typeface="Arial"/>
                </a:rPr>
                <a:t>(if not needed, delete)</a:t>
              </a:r>
            </a:p>
            <a:p>
              <a:pPr marL="117475" lvl="1" indent="-117475" algn="l" defTabSz="957998">
                <a:spcBef>
                  <a:spcPts val="400"/>
                </a:spcBef>
                <a:spcAft>
                  <a:spcPts val="0"/>
                </a:spcAft>
                <a:buFont typeface="Arial" charset="0"/>
                <a:buChar char="•"/>
                <a:defRPr/>
              </a:pPr>
              <a:r>
                <a:rPr lang="nl-NL" sz="1400" b="0" dirty="0" smtClean="0">
                  <a:solidFill>
                    <a:srgbClr val="002776"/>
                  </a:solidFill>
                  <a:latin typeface="Arial"/>
                </a:rPr>
                <a:t>Bullet</a:t>
              </a:r>
            </a:p>
            <a:p>
              <a:pPr marL="285750" lvl="2" indent="-168275" algn="l" defTabSz="957998">
                <a:spcBef>
                  <a:spcPts val="400"/>
                </a:spcBef>
                <a:spcAft>
                  <a:spcPts val="0"/>
                </a:spcAft>
                <a:buFont typeface="Arial" charset="0"/>
                <a:buChar char="‒"/>
                <a:defRPr/>
              </a:pPr>
              <a:r>
                <a:rPr lang="nl-NL" sz="1200" b="0" dirty="0" smtClean="0">
                  <a:solidFill>
                    <a:srgbClr val="002776"/>
                  </a:solidFill>
                  <a:latin typeface="Arial"/>
                </a:rPr>
                <a:t>Dash</a:t>
              </a:r>
            </a:p>
            <a:p>
              <a:pPr marL="403225" lvl="3" indent="-117475" algn="l" defTabSz="957998">
                <a:spcBef>
                  <a:spcPts val="400"/>
                </a:spcBef>
                <a:spcAft>
                  <a:spcPts val="0"/>
                </a:spcAft>
                <a:buFont typeface="Arial" charset="0"/>
                <a:buChar char="•"/>
                <a:defRPr/>
              </a:pPr>
              <a:r>
                <a:rPr lang="nl-NL" sz="1200" b="0" dirty="0" smtClean="0">
                  <a:solidFill>
                    <a:srgbClr val="002776"/>
                  </a:solidFill>
                  <a:latin typeface="Arial"/>
                </a:rPr>
                <a:t>Subbullet</a:t>
              </a:r>
              <a:endParaRPr lang="nl-NL" sz="1200" b="0" dirty="0">
                <a:solidFill>
                  <a:srgbClr val="002776"/>
                </a:solidFill>
                <a:latin typeface="Arial"/>
              </a:endParaRPr>
            </a:p>
          </p:txBody>
        </p:sp>
      </p:grpSp>
      <p:sp>
        <p:nvSpPr>
          <p:cNvPr id="35" name="Text Placeholder 12"/>
          <p:cNvSpPr>
            <a:spLocks/>
          </p:cNvSpPr>
          <p:nvPr>
            <p:custDataLst>
              <p:tags r:id="rId24"/>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7"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2593" name="Title 1"/>
          <p:cNvSpPr>
            <a:spLocks noGrp="1"/>
          </p:cNvSpPr>
          <p:nvPr>
            <p:ph type="title"/>
          </p:nvPr>
        </p:nvSpPr>
        <p:spPr>
          <a:xfrm>
            <a:off x="414338" y="446038"/>
            <a:ext cx="8330184" cy="333425"/>
          </a:xfrm>
        </p:spPr>
        <p:txBody>
          <a:bodyPr/>
          <a:lstStyle/>
          <a:p>
            <a:r>
              <a:rPr lang="en-US"/>
              <a:t>Driver </a:t>
            </a:r>
            <a:r>
              <a:rPr lang="en-US" smtClean="0"/>
              <a:t>trees </a:t>
            </a:r>
            <a:r>
              <a:rPr lang="en-US"/>
              <a:t>— arrows showing trend</a:t>
            </a:r>
            <a:endParaRPr lang="nl-NL"/>
          </a:p>
        </p:txBody>
      </p:sp>
      <p:sp>
        <p:nvSpPr>
          <p:cNvPr id="4" name="Rectangle 3"/>
          <p:cNvSpPr>
            <a:spLocks noChangeArrowheads="1"/>
          </p:cNvSpPr>
          <p:nvPr/>
        </p:nvSpPr>
        <p:spPr bwMode="auto">
          <a:xfrm>
            <a:off x="660400" y="3878263"/>
            <a:ext cx="1404938" cy="555625"/>
          </a:xfrm>
          <a:prstGeom prst="rect">
            <a:avLst/>
          </a:prstGeom>
          <a:solidFill>
            <a:schemeClr val="accent3"/>
          </a:solidFill>
          <a:ln w="19050" algn="ctr">
            <a:noFill/>
            <a:miter lim="800000"/>
            <a:headEnd/>
            <a:tailEnd/>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5" name="Rectangle 4"/>
          <p:cNvSpPr>
            <a:spLocks noChangeArrowheads="1"/>
          </p:cNvSpPr>
          <p:nvPr/>
        </p:nvSpPr>
        <p:spPr bwMode="auto">
          <a:xfrm>
            <a:off x="2617788" y="2828925"/>
            <a:ext cx="1408112" cy="555625"/>
          </a:xfrm>
          <a:prstGeom prst="rect">
            <a:avLst/>
          </a:prstGeom>
          <a:solidFill>
            <a:schemeClr val="accent3"/>
          </a:solidFill>
          <a:ln w="19050" algn="ctr">
            <a:noFill/>
            <a:miter lim="800000"/>
            <a:headEnd/>
            <a:tailEnd/>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6" name="Rectangle 5"/>
          <p:cNvSpPr>
            <a:spLocks noChangeArrowheads="1"/>
          </p:cNvSpPr>
          <p:nvPr/>
        </p:nvSpPr>
        <p:spPr bwMode="auto">
          <a:xfrm>
            <a:off x="2617788" y="4962525"/>
            <a:ext cx="1408112" cy="555625"/>
          </a:xfrm>
          <a:prstGeom prst="rect">
            <a:avLst/>
          </a:prstGeom>
          <a:solidFill>
            <a:schemeClr val="accent3"/>
          </a:solidFill>
          <a:ln w="19050" algn="ctr">
            <a:noFill/>
            <a:miter lim="800000"/>
            <a:headEnd/>
            <a:tailEnd/>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7" name="Rectangle 6"/>
          <p:cNvSpPr>
            <a:spLocks noChangeArrowheads="1"/>
          </p:cNvSpPr>
          <p:nvPr/>
        </p:nvSpPr>
        <p:spPr bwMode="auto">
          <a:xfrm>
            <a:off x="4562475" y="2352675"/>
            <a:ext cx="1406525" cy="555625"/>
          </a:xfrm>
          <a:prstGeom prst="rect">
            <a:avLst/>
          </a:prstGeom>
          <a:solidFill>
            <a:schemeClr val="accent3"/>
          </a:solidFill>
          <a:ln w="19050" algn="ctr">
            <a:noFill/>
            <a:miter lim="800000"/>
            <a:headEnd/>
            <a:tailEnd/>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8" name="Rectangle 7"/>
          <p:cNvSpPr>
            <a:spLocks noChangeArrowheads="1"/>
          </p:cNvSpPr>
          <p:nvPr/>
        </p:nvSpPr>
        <p:spPr bwMode="auto">
          <a:xfrm>
            <a:off x="4562475" y="3409950"/>
            <a:ext cx="1406525" cy="555625"/>
          </a:xfrm>
          <a:prstGeom prst="rect">
            <a:avLst/>
          </a:prstGeom>
          <a:solidFill>
            <a:schemeClr val="accent3"/>
          </a:solidFill>
          <a:ln w="19050" algn="ctr">
            <a:noFill/>
            <a:miter lim="800000"/>
            <a:headEnd/>
            <a:tailEnd/>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9" name="Rectangle 8"/>
          <p:cNvSpPr>
            <a:spLocks noChangeArrowheads="1"/>
          </p:cNvSpPr>
          <p:nvPr/>
        </p:nvSpPr>
        <p:spPr bwMode="auto">
          <a:xfrm>
            <a:off x="4562475" y="4397375"/>
            <a:ext cx="1406525" cy="555625"/>
          </a:xfrm>
          <a:prstGeom prst="rect">
            <a:avLst/>
          </a:prstGeom>
          <a:solidFill>
            <a:schemeClr val="accent3"/>
          </a:solidFill>
          <a:ln w="19050" algn="ctr">
            <a:noFill/>
            <a:miter lim="800000"/>
            <a:headEnd/>
            <a:tailEnd/>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0" name="Rectangle 9"/>
          <p:cNvSpPr>
            <a:spLocks noChangeArrowheads="1"/>
          </p:cNvSpPr>
          <p:nvPr/>
        </p:nvSpPr>
        <p:spPr bwMode="auto">
          <a:xfrm>
            <a:off x="4562475" y="5405438"/>
            <a:ext cx="1406525" cy="555625"/>
          </a:xfrm>
          <a:prstGeom prst="rect">
            <a:avLst/>
          </a:prstGeom>
          <a:solidFill>
            <a:schemeClr val="accent3"/>
          </a:solidFill>
          <a:ln w="19050" algn="ctr">
            <a:noFill/>
            <a:miter lim="800000"/>
            <a:headEnd/>
            <a:tailEnd/>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cxnSp>
        <p:nvCxnSpPr>
          <p:cNvPr id="11" name="AutoShape 10"/>
          <p:cNvCxnSpPr>
            <a:cxnSpLocks noChangeShapeType="1"/>
            <a:stCxn id="7" idx="1"/>
            <a:endCxn id="5" idx="3"/>
          </p:cNvCxnSpPr>
          <p:nvPr/>
        </p:nvCxnSpPr>
        <p:spPr bwMode="auto">
          <a:xfrm rot="10800000" flipV="1">
            <a:off x="4025900" y="2630488"/>
            <a:ext cx="536575" cy="476250"/>
          </a:xfrm>
          <a:prstGeom prst="bentConnector3">
            <a:avLst>
              <a:gd name="adj1" fmla="val 50000"/>
            </a:avLst>
          </a:prstGeom>
          <a:noFill/>
          <a:ln w="12700">
            <a:solidFill>
              <a:schemeClr val="tx2"/>
            </a:solidFill>
            <a:miter lim="800000"/>
            <a:headEnd/>
            <a:tailEnd/>
          </a:ln>
        </p:spPr>
      </p:cxnSp>
      <p:cxnSp>
        <p:nvCxnSpPr>
          <p:cNvPr id="12" name="AutoShape 11"/>
          <p:cNvCxnSpPr>
            <a:cxnSpLocks noChangeShapeType="1"/>
            <a:stCxn id="8" idx="1"/>
            <a:endCxn id="5" idx="3"/>
          </p:cNvCxnSpPr>
          <p:nvPr/>
        </p:nvCxnSpPr>
        <p:spPr bwMode="auto">
          <a:xfrm rot="10800000">
            <a:off x="4025900" y="3106738"/>
            <a:ext cx="536575" cy="581025"/>
          </a:xfrm>
          <a:prstGeom prst="bentConnector3">
            <a:avLst>
              <a:gd name="adj1" fmla="val 50000"/>
            </a:avLst>
          </a:prstGeom>
          <a:noFill/>
          <a:ln w="12700">
            <a:solidFill>
              <a:schemeClr val="tx2"/>
            </a:solidFill>
            <a:miter lim="800000"/>
            <a:headEnd/>
            <a:tailEnd/>
          </a:ln>
        </p:spPr>
      </p:cxnSp>
      <p:cxnSp>
        <p:nvCxnSpPr>
          <p:cNvPr id="13" name="AutoShape 12"/>
          <p:cNvCxnSpPr>
            <a:cxnSpLocks noChangeShapeType="1"/>
            <a:stCxn id="9" idx="1"/>
            <a:endCxn id="6" idx="3"/>
          </p:cNvCxnSpPr>
          <p:nvPr/>
        </p:nvCxnSpPr>
        <p:spPr bwMode="auto">
          <a:xfrm rot="10800000" flipV="1">
            <a:off x="4025900" y="4675188"/>
            <a:ext cx="536575" cy="565150"/>
          </a:xfrm>
          <a:prstGeom prst="bentConnector3">
            <a:avLst>
              <a:gd name="adj1" fmla="val 50000"/>
            </a:avLst>
          </a:prstGeom>
          <a:noFill/>
          <a:ln w="12700">
            <a:solidFill>
              <a:schemeClr val="tx2"/>
            </a:solidFill>
            <a:miter lim="800000"/>
            <a:headEnd/>
            <a:tailEnd/>
          </a:ln>
        </p:spPr>
      </p:cxnSp>
      <p:cxnSp>
        <p:nvCxnSpPr>
          <p:cNvPr id="14" name="AutoShape 13"/>
          <p:cNvCxnSpPr>
            <a:cxnSpLocks noChangeShapeType="1"/>
            <a:stCxn id="10" idx="1"/>
            <a:endCxn id="6" idx="3"/>
          </p:cNvCxnSpPr>
          <p:nvPr/>
        </p:nvCxnSpPr>
        <p:spPr bwMode="auto">
          <a:xfrm rot="10800000">
            <a:off x="4025900" y="5240338"/>
            <a:ext cx="536575" cy="442912"/>
          </a:xfrm>
          <a:prstGeom prst="bentConnector3">
            <a:avLst>
              <a:gd name="adj1" fmla="val 50000"/>
            </a:avLst>
          </a:prstGeom>
          <a:noFill/>
          <a:ln w="12700">
            <a:solidFill>
              <a:schemeClr val="tx2"/>
            </a:solidFill>
            <a:miter lim="800000"/>
            <a:headEnd/>
            <a:tailEnd/>
          </a:ln>
        </p:spPr>
      </p:cxnSp>
      <p:cxnSp>
        <p:nvCxnSpPr>
          <p:cNvPr id="15" name="AutoShape 14"/>
          <p:cNvCxnSpPr>
            <a:cxnSpLocks noChangeShapeType="1"/>
            <a:stCxn id="5" idx="1"/>
            <a:endCxn id="4" idx="3"/>
          </p:cNvCxnSpPr>
          <p:nvPr/>
        </p:nvCxnSpPr>
        <p:spPr bwMode="auto">
          <a:xfrm rot="10800000" flipV="1">
            <a:off x="2065338" y="3106738"/>
            <a:ext cx="552450" cy="1049337"/>
          </a:xfrm>
          <a:prstGeom prst="bentConnector3">
            <a:avLst>
              <a:gd name="adj1" fmla="val 50000"/>
            </a:avLst>
          </a:prstGeom>
          <a:noFill/>
          <a:ln w="12700">
            <a:solidFill>
              <a:schemeClr val="tx2"/>
            </a:solidFill>
            <a:miter lim="800000"/>
            <a:headEnd/>
            <a:tailEnd/>
          </a:ln>
        </p:spPr>
      </p:cxnSp>
      <p:cxnSp>
        <p:nvCxnSpPr>
          <p:cNvPr id="16" name="AutoShape 15"/>
          <p:cNvCxnSpPr>
            <a:cxnSpLocks noChangeShapeType="1"/>
            <a:stCxn id="6" idx="1"/>
            <a:endCxn id="4" idx="3"/>
          </p:cNvCxnSpPr>
          <p:nvPr/>
        </p:nvCxnSpPr>
        <p:spPr bwMode="auto">
          <a:xfrm rot="10800000">
            <a:off x="2065338" y="4156075"/>
            <a:ext cx="552450" cy="1084263"/>
          </a:xfrm>
          <a:prstGeom prst="bentConnector3">
            <a:avLst>
              <a:gd name="adj1" fmla="val 50000"/>
            </a:avLst>
          </a:prstGeom>
          <a:noFill/>
          <a:ln w="12700">
            <a:solidFill>
              <a:schemeClr val="tx2"/>
            </a:solidFill>
            <a:miter lim="800000"/>
            <a:headEnd/>
            <a:tailEnd/>
          </a:ln>
        </p:spPr>
      </p:cxnSp>
      <p:sp>
        <p:nvSpPr>
          <p:cNvPr id="17" name="Rectangle 16"/>
          <p:cNvSpPr>
            <a:spLocks noChangeArrowheads="1"/>
          </p:cNvSpPr>
          <p:nvPr/>
        </p:nvSpPr>
        <p:spPr bwMode="auto">
          <a:xfrm>
            <a:off x="6608763" y="1587500"/>
            <a:ext cx="1406525" cy="555625"/>
          </a:xfrm>
          <a:prstGeom prst="rect">
            <a:avLst/>
          </a:prstGeom>
          <a:solidFill>
            <a:schemeClr val="accent3"/>
          </a:solidFill>
          <a:ln w="19050" algn="ctr">
            <a:noFill/>
            <a:miter lim="800000"/>
            <a:headEnd/>
            <a:tailEnd/>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8" name="Rectangle 17"/>
          <p:cNvSpPr>
            <a:spLocks noChangeArrowheads="1"/>
          </p:cNvSpPr>
          <p:nvPr/>
        </p:nvSpPr>
        <p:spPr bwMode="auto">
          <a:xfrm>
            <a:off x="6608763" y="2349500"/>
            <a:ext cx="1406525" cy="555625"/>
          </a:xfrm>
          <a:prstGeom prst="rect">
            <a:avLst/>
          </a:prstGeom>
          <a:solidFill>
            <a:schemeClr val="accent3"/>
          </a:solidFill>
          <a:ln w="19050" algn="ctr">
            <a:noFill/>
            <a:miter lim="800000"/>
            <a:headEnd/>
            <a:tailEnd/>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sp>
        <p:nvSpPr>
          <p:cNvPr id="19" name="Rectangle 18"/>
          <p:cNvSpPr>
            <a:spLocks noChangeArrowheads="1"/>
          </p:cNvSpPr>
          <p:nvPr/>
        </p:nvSpPr>
        <p:spPr bwMode="auto">
          <a:xfrm>
            <a:off x="6608763" y="3111500"/>
            <a:ext cx="1406525" cy="555625"/>
          </a:xfrm>
          <a:prstGeom prst="rect">
            <a:avLst/>
          </a:prstGeom>
          <a:solidFill>
            <a:schemeClr val="accent3"/>
          </a:solidFill>
          <a:ln w="19050" algn="ctr">
            <a:noFill/>
            <a:miter lim="800000"/>
            <a:headEnd/>
            <a:tailEnd/>
          </a:ln>
        </p:spPr>
        <p:txBody>
          <a:bodyPr wrap="none" lIns="18000" tIns="18000" rIns="18000" bIns="18000" anchor="ctr"/>
          <a:lstStyle/>
          <a:p>
            <a:pPr algn="ctr">
              <a:defRPr/>
            </a:pPr>
            <a:r>
              <a:rPr lang="en-GB" altLang="ja-JP" sz="1400" b="1">
                <a:solidFill>
                  <a:schemeClr val="bg1"/>
                </a:solidFill>
                <a:ea typeface="ＭＳ Ｐゴシック" pitchFamily="50" charset="-128"/>
              </a:rPr>
              <a:t>Text</a:t>
            </a:r>
          </a:p>
        </p:txBody>
      </p:sp>
      <p:cxnSp>
        <p:nvCxnSpPr>
          <p:cNvPr id="20" name="AutoShape 19"/>
          <p:cNvCxnSpPr>
            <a:cxnSpLocks noChangeShapeType="1"/>
          </p:cNvCxnSpPr>
          <p:nvPr/>
        </p:nvCxnSpPr>
        <p:spPr bwMode="auto">
          <a:xfrm rot="10800000" flipV="1">
            <a:off x="5969000" y="1865313"/>
            <a:ext cx="639763" cy="765175"/>
          </a:xfrm>
          <a:prstGeom prst="bentConnector3">
            <a:avLst>
              <a:gd name="adj1" fmla="val 50000"/>
            </a:avLst>
          </a:prstGeom>
          <a:noFill/>
          <a:ln w="12700">
            <a:solidFill>
              <a:schemeClr val="tx2"/>
            </a:solidFill>
            <a:miter lim="800000"/>
            <a:headEnd/>
            <a:tailEnd/>
          </a:ln>
        </p:spPr>
      </p:cxnSp>
      <p:cxnSp>
        <p:nvCxnSpPr>
          <p:cNvPr id="22" name="AutoShape 21"/>
          <p:cNvCxnSpPr>
            <a:cxnSpLocks noChangeShapeType="1"/>
          </p:cNvCxnSpPr>
          <p:nvPr/>
        </p:nvCxnSpPr>
        <p:spPr bwMode="auto">
          <a:xfrm rot="10800000">
            <a:off x="5969000" y="2630488"/>
            <a:ext cx="639763" cy="758825"/>
          </a:xfrm>
          <a:prstGeom prst="bentConnector3">
            <a:avLst>
              <a:gd name="adj1" fmla="val 50000"/>
            </a:avLst>
          </a:prstGeom>
          <a:noFill/>
          <a:ln w="12700">
            <a:solidFill>
              <a:schemeClr val="tx2"/>
            </a:solidFill>
            <a:miter lim="800000"/>
            <a:headEnd/>
            <a:tailEnd/>
          </a:ln>
        </p:spPr>
      </p:cxnSp>
      <p:sp>
        <p:nvSpPr>
          <p:cNvPr id="622614" name="AutoShape 22"/>
          <p:cNvSpPr>
            <a:spLocks noChangeAspect="1" noChangeArrowheads="1"/>
          </p:cNvSpPr>
          <p:nvPr/>
        </p:nvSpPr>
        <p:spPr bwMode="gray">
          <a:xfrm>
            <a:off x="8101013" y="1841500"/>
            <a:ext cx="247650" cy="269875"/>
          </a:xfrm>
          <a:prstGeom prst="upArrow">
            <a:avLst>
              <a:gd name="adj1" fmla="val 44694"/>
              <a:gd name="adj2" fmla="val 46894"/>
            </a:avLst>
          </a:prstGeom>
          <a:solidFill>
            <a:srgbClr val="336600"/>
          </a:solidFill>
          <a:ln w="28575" algn="ctr">
            <a:noFill/>
            <a:miter lim="800000"/>
            <a:headEnd type="none" w="sm" len="sm"/>
            <a:tailEnd type="none" w="med" len="lg"/>
          </a:ln>
        </p:spPr>
        <p:txBody>
          <a:bodyPr wrap="none" anchor="ctr"/>
          <a:lstStyle/>
          <a:p>
            <a:pPr algn="ctr"/>
            <a:endParaRPr lang="en-GB"/>
          </a:p>
        </p:txBody>
      </p:sp>
      <p:sp>
        <p:nvSpPr>
          <p:cNvPr id="622615" name="AutoShape 23"/>
          <p:cNvSpPr>
            <a:spLocks noChangeAspect="1" noChangeArrowheads="1"/>
          </p:cNvSpPr>
          <p:nvPr/>
        </p:nvSpPr>
        <p:spPr bwMode="gray">
          <a:xfrm>
            <a:off x="8101013" y="3314700"/>
            <a:ext cx="247650" cy="269875"/>
          </a:xfrm>
          <a:prstGeom prst="upArrow">
            <a:avLst>
              <a:gd name="adj1" fmla="val 44694"/>
              <a:gd name="adj2" fmla="val 46894"/>
            </a:avLst>
          </a:prstGeom>
          <a:solidFill>
            <a:srgbClr val="336600"/>
          </a:solidFill>
          <a:ln w="28575" algn="ctr">
            <a:noFill/>
            <a:miter lim="800000"/>
            <a:headEnd/>
            <a:tailEnd/>
          </a:ln>
        </p:spPr>
        <p:txBody>
          <a:bodyPr wrap="none" anchor="ctr"/>
          <a:lstStyle/>
          <a:p>
            <a:pPr algn="ctr"/>
            <a:endParaRPr lang="en-GB"/>
          </a:p>
        </p:txBody>
      </p:sp>
      <p:sp>
        <p:nvSpPr>
          <p:cNvPr id="622616" name="AutoShape 24"/>
          <p:cNvSpPr>
            <a:spLocks noChangeAspect="1" noChangeArrowheads="1"/>
          </p:cNvSpPr>
          <p:nvPr/>
        </p:nvSpPr>
        <p:spPr bwMode="gray">
          <a:xfrm rot="10800000">
            <a:off x="6078538" y="4627563"/>
            <a:ext cx="247650" cy="268287"/>
          </a:xfrm>
          <a:prstGeom prst="upArrow">
            <a:avLst>
              <a:gd name="adj1" fmla="val 44694"/>
              <a:gd name="adj2" fmla="val 46618"/>
            </a:avLst>
          </a:prstGeom>
          <a:solidFill>
            <a:srgbClr val="CC3300"/>
          </a:solidFill>
          <a:ln w="28575" algn="ctr">
            <a:noFill/>
            <a:miter lim="800000"/>
            <a:headEnd type="none" w="sm" len="sm"/>
            <a:tailEnd type="none" w="med" len="lg"/>
          </a:ln>
        </p:spPr>
        <p:txBody>
          <a:bodyPr rot="10800000" wrap="none" anchor="ctr"/>
          <a:lstStyle/>
          <a:p>
            <a:pPr algn="ctr"/>
            <a:endParaRPr lang="en-GB"/>
          </a:p>
        </p:txBody>
      </p:sp>
      <p:sp>
        <p:nvSpPr>
          <p:cNvPr id="622617" name="AutoShape 25"/>
          <p:cNvSpPr>
            <a:spLocks noChangeAspect="1" noChangeArrowheads="1"/>
          </p:cNvSpPr>
          <p:nvPr/>
        </p:nvSpPr>
        <p:spPr bwMode="gray">
          <a:xfrm rot="5400000">
            <a:off x="6067425" y="5699126"/>
            <a:ext cx="269875" cy="247650"/>
          </a:xfrm>
          <a:prstGeom prst="upArrow">
            <a:avLst>
              <a:gd name="adj1" fmla="val 44694"/>
              <a:gd name="adj2" fmla="val 46620"/>
            </a:avLst>
          </a:prstGeom>
          <a:solidFill>
            <a:srgbClr val="FF9900"/>
          </a:solidFill>
          <a:ln w="28575" algn="ctr">
            <a:noFill/>
            <a:miter lim="800000"/>
            <a:headEnd/>
            <a:tailEnd/>
          </a:ln>
        </p:spPr>
        <p:txBody>
          <a:bodyPr rot="10800000" vert="eaVert" wrap="none" anchor="ctr"/>
          <a:lstStyle/>
          <a:p>
            <a:pPr algn="ctr"/>
            <a:endParaRPr lang="en-GB"/>
          </a:p>
        </p:txBody>
      </p:sp>
      <p:sp>
        <p:nvSpPr>
          <p:cNvPr id="622618" name="AutoShape 26"/>
          <p:cNvSpPr>
            <a:spLocks noChangeAspect="1" noChangeArrowheads="1"/>
          </p:cNvSpPr>
          <p:nvPr/>
        </p:nvSpPr>
        <p:spPr bwMode="gray">
          <a:xfrm>
            <a:off x="5140325" y="2000250"/>
            <a:ext cx="250825" cy="268288"/>
          </a:xfrm>
          <a:prstGeom prst="upArrow">
            <a:avLst>
              <a:gd name="adj1" fmla="val 44694"/>
              <a:gd name="adj2" fmla="val 46845"/>
            </a:avLst>
          </a:prstGeom>
          <a:solidFill>
            <a:srgbClr val="336600"/>
          </a:solidFill>
          <a:ln w="28575" algn="ctr">
            <a:noFill/>
            <a:miter lim="800000"/>
            <a:headEnd/>
            <a:tailEnd/>
          </a:ln>
        </p:spPr>
        <p:txBody>
          <a:bodyPr wrap="none" anchor="ctr"/>
          <a:lstStyle/>
          <a:p>
            <a:pPr algn="ctr"/>
            <a:endParaRPr lang="en-GB"/>
          </a:p>
        </p:txBody>
      </p:sp>
      <p:sp>
        <p:nvSpPr>
          <p:cNvPr id="622619" name="AutoShape 27"/>
          <p:cNvSpPr>
            <a:spLocks noChangeAspect="1" noChangeArrowheads="1"/>
          </p:cNvSpPr>
          <p:nvPr/>
        </p:nvSpPr>
        <p:spPr bwMode="gray">
          <a:xfrm>
            <a:off x="3197225" y="2463800"/>
            <a:ext cx="247650" cy="268288"/>
          </a:xfrm>
          <a:prstGeom prst="upArrow">
            <a:avLst>
              <a:gd name="adj1" fmla="val 44694"/>
              <a:gd name="adj2" fmla="val 46619"/>
            </a:avLst>
          </a:prstGeom>
          <a:solidFill>
            <a:srgbClr val="336600"/>
          </a:solidFill>
          <a:ln w="28575" algn="ctr">
            <a:noFill/>
            <a:miter lim="800000"/>
            <a:headEnd/>
            <a:tailEnd/>
          </a:ln>
        </p:spPr>
        <p:txBody>
          <a:bodyPr wrap="none" anchor="ctr"/>
          <a:lstStyle/>
          <a:p>
            <a:pPr algn="ctr"/>
            <a:endParaRPr lang="en-GB" sz="1400"/>
          </a:p>
        </p:txBody>
      </p:sp>
      <p:sp>
        <p:nvSpPr>
          <p:cNvPr id="622620" name="AutoShape 28"/>
          <p:cNvSpPr>
            <a:spLocks noChangeAspect="1" noChangeArrowheads="1"/>
          </p:cNvSpPr>
          <p:nvPr/>
        </p:nvSpPr>
        <p:spPr bwMode="gray">
          <a:xfrm>
            <a:off x="1238250" y="3459163"/>
            <a:ext cx="249238" cy="269875"/>
          </a:xfrm>
          <a:prstGeom prst="upArrow">
            <a:avLst>
              <a:gd name="adj1" fmla="val 44694"/>
              <a:gd name="adj2" fmla="val 46596"/>
            </a:avLst>
          </a:prstGeom>
          <a:solidFill>
            <a:srgbClr val="336600"/>
          </a:solidFill>
          <a:ln w="28575" algn="ctr">
            <a:noFill/>
            <a:miter lim="800000"/>
            <a:headEnd/>
            <a:tailEnd/>
          </a:ln>
        </p:spPr>
        <p:txBody>
          <a:bodyPr wrap="none" anchor="ctr"/>
          <a:lstStyle/>
          <a:p>
            <a:pPr algn="ctr"/>
            <a:endParaRPr lang="en-GB" sz="1400"/>
          </a:p>
        </p:txBody>
      </p:sp>
      <p:sp>
        <p:nvSpPr>
          <p:cNvPr id="622621" name="Text Box 29"/>
          <p:cNvSpPr txBox="1">
            <a:spLocks noChangeArrowheads="1"/>
          </p:cNvSpPr>
          <p:nvPr/>
        </p:nvSpPr>
        <p:spPr bwMode="auto">
          <a:xfrm>
            <a:off x="1108075" y="3121025"/>
            <a:ext cx="509588" cy="309563"/>
          </a:xfrm>
          <a:prstGeom prst="rect">
            <a:avLst/>
          </a:prstGeom>
          <a:noFill/>
          <a:ln w="9525" algn="ctr">
            <a:noFill/>
            <a:miter lim="800000"/>
            <a:headEnd type="none" w="sm" len="sm"/>
            <a:tailEnd type="none" w="med" len="lg"/>
          </a:ln>
        </p:spPr>
        <p:txBody>
          <a:bodyPr wrap="none" lIns="90000" tIns="46800" rIns="90000" bIns="46800">
            <a:spAutoFit/>
          </a:bodyPr>
          <a:lstStyle/>
          <a:p>
            <a:pPr algn="ctr"/>
            <a:r>
              <a:rPr lang="en-GB" altLang="ja-JP" sz="1400">
                <a:solidFill>
                  <a:schemeClr val="tx2"/>
                </a:solidFill>
                <a:ea typeface="ＭＳ Ｐゴシック" charset="-128"/>
              </a:rPr>
              <a:t>Text</a:t>
            </a:r>
          </a:p>
        </p:txBody>
      </p:sp>
      <p:sp>
        <p:nvSpPr>
          <p:cNvPr id="622622" name="Text Box 30"/>
          <p:cNvSpPr txBox="1">
            <a:spLocks noChangeArrowheads="1"/>
          </p:cNvSpPr>
          <p:nvPr/>
        </p:nvSpPr>
        <p:spPr bwMode="auto">
          <a:xfrm>
            <a:off x="3067050" y="2090738"/>
            <a:ext cx="509588" cy="309562"/>
          </a:xfrm>
          <a:prstGeom prst="rect">
            <a:avLst/>
          </a:prstGeom>
          <a:noFill/>
          <a:ln w="9525" algn="ctr">
            <a:noFill/>
            <a:miter lim="800000"/>
            <a:headEnd type="none" w="sm" len="sm"/>
            <a:tailEnd type="none" w="med" len="lg"/>
          </a:ln>
        </p:spPr>
        <p:txBody>
          <a:bodyPr wrap="none" lIns="90000" tIns="46800" rIns="90000" bIns="46800">
            <a:spAutoFit/>
          </a:bodyPr>
          <a:lstStyle/>
          <a:p>
            <a:pPr algn="ctr"/>
            <a:r>
              <a:rPr lang="en-GB" altLang="ja-JP" sz="1400">
                <a:solidFill>
                  <a:schemeClr val="tx2"/>
                </a:solidFill>
                <a:ea typeface="ＭＳ Ｐゴシック" charset="-128"/>
              </a:rPr>
              <a:t>Text</a:t>
            </a:r>
          </a:p>
        </p:txBody>
      </p:sp>
      <p:sp>
        <p:nvSpPr>
          <p:cNvPr id="622623" name="Text Box 31"/>
          <p:cNvSpPr txBox="1">
            <a:spLocks noChangeArrowheads="1"/>
          </p:cNvSpPr>
          <p:nvPr/>
        </p:nvSpPr>
        <p:spPr bwMode="auto">
          <a:xfrm>
            <a:off x="3067050" y="4264025"/>
            <a:ext cx="509588" cy="309563"/>
          </a:xfrm>
          <a:prstGeom prst="rect">
            <a:avLst/>
          </a:prstGeom>
          <a:noFill/>
          <a:ln w="9525" algn="ctr">
            <a:noFill/>
            <a:miter lim="800000"/>
            <a:headEnd type="none" w="sm" len="sm"/>
            <a:tailEnd type="none" w="med" len="lg"/>
          </a:ln>
        </p:spPr>
        <p:txBody>
          <a:bodyPr wrap="none" lIns="90000" tIns="46800" rIns="90000" bIns="46800">
            <a:spAutoFit/>
          </a:bodyPr>
          <a:lstStyle/>
          <a:p>
            <a:pPr algn="ctr"/>
            <a:r>
              <a:rPr lang="en-GB" altLang="ja-JP" sz="1400">
                <a:solidFill>
                  <a:schemeClr val="tx2"/>
                </a:solidFill>
                <a:ea typeface="ＭＳ Ｐゴシック" charset="-128"/>
              </a:rPr>
              <a:t>Text</a:t>
            </a:r>
          </a:p>
        </p:txBody>
      </p:sp>
      <p:sp>
        <p:nvSpPr>
          <p:cNvPr id="622624" name="Text Box 32"/>
          <p:cNvSpPr txBox="1">
            <a:spLocks noChangeArrowheads="1"/>
          </p:cNvSpPr>
          <p:nvPr/>
        </p:nvSpPr>
        <p:spPr bwMode="auto">
          <a:xfrm>
            <a:off x="5011738" y="1676400"/>
            <a:ext cx="509587" cy="309563"/>
          </a:xfrm>
          <a:prstGeom prst="rect">
            <a:avLst/>
          </a:prstGeom>
          <a:noFill/>
          <a:ln w="9525" algn="ctr">
            <a:noFill/>
            <a:miter lim="800000"/>
            <a:headEnd type="none" w="sm" len="sm"/>
            <a:tailEnd type="none" w="med" len="lg"/>
          </a:ln>
        </p:spPr>
        <p:txBody>
          <a:bodyPr wrap="none" lIns="90000" tIns="46800" rIns="90000" bIns="46800">
            <a:spAutoFit/>
          </a:bodyPr>
          <a:lstStyle/>
          <a:p>
            <a:pPr algn="ctr"/>
            <a:r>
              <a:rPr lang="en-GB" altLang="ja-JP" sz="1400">
                <a:solidFill>
                  <a:schemeClr val="tx2"/>
                </a:solidFill>
                <a:ea typeface="ＭＳ Ｐゴシック" charset="-128"/>
              </a:rPr>
              <a:t>Text</a:t>
            </a:r>
          </a:p>
        </p:txBody>
      </p:sp>
      <p:sp>
        <p:nvSpPr>
          <p:cNvPr id="622625" name="Text Box 33"/>
          <p:cNvSpPr txBox="1">
            <a:spLocks noChangeArrowheads="1"/>
          </p:cNvSpPr>
          <p:nvPr/>
        </p:nvSpPr>
        <p:spPr bwMode="auto">
          <a:xfrm>
            <a:off x="5946775" y="4321175"/>
            <a:ext cx="511175" cy="309563"/>
          </a:xfrm>
          <a:prstGeom prst="rect">
            <a:avLst/>
          </a:prstGeom>
          <a:noFill/>
          <a:ln w="9525" algn="ctr">
            <a:noFill/>
            <a:miter lim="800000"/>
            <a:headEnd type="none" w="sm" len="sm"/>
            <a:tailEnd type="none" w="med" len="lg"/>
          </a:ln>
        </p:spPr>
        <p:txBody>
          <a:bodyPr wrap="none" lIns="90000" tIns="46800" rIns="90000" bIns="46800">
            <a:spAutoFit/>
          </a:bodyPr>
          <a:lstStyle/>
          <a:p>
            <a:pPr algn="ctr"/>
            <a:r>
              <a:rPr lang="en-GB" altLang="ja-JP" sz="1400">
                <a:solidFill>
                  <a:schemeClr val="tx2"/>
                </a:solidFill>
                <a:ea typeface="ＭＳ Ｐゴシック" charset="-128"/>
              </a:rPr>
              <a:t>Text</a:t>
            </a:r>
          </a:p>
        </p:txBody>
      </p:sp>
      <p:sp>
        <p:nvSpPr>
          <p:cNvPr id="622626" name="Text Box 34"/>
          <p:cNvSpPr txBox="1">
            <a:spLocks noChangeArrowheads="1"/>
          </p:cNvSpPr>
          <p:nvPr/>
        </p:nvSpPr>
        <p:spPr bwMode="auto">
          <a:xfrm>
            <a:off x="5946775" y="5337175"/>
            <a:ext cx="511175" cy="311150"/>
          </a:xfrm>
          <a:prstGeom prst="rect">
            <a:avLst/>
          </a:prstGeom>
          <a:noFill/>
          <a:ln w="9525" algn="ctr">
            <a:noFill/>
            <a:miter lim="800000"/>
            <a:headEnd type="none" w="sm" len="sm"/>
            <a:tailEnd type="none" w="med" len="lg"/>
          </a:ln>
        </p:spPr>
        <p:txBody>
          <a:bodyPr wrap="none" lIns="90000" tIns="46800" rIns="90000" bIns="46800">
            <a:spAutoFit/>
          </a:bodyPr>
          <a:lstStyle/>
          <a:p>
            <a:pPr algn="ctr"/>
            <a:r>
              <a:rPr lang="en-GB" altLang="ja-JP" sz="1400">
                <a:solidFill>
                  <a:schemeClr val="tx2"/>
                </a:solidFill>
                <a:ea typeface="ＭＳ Ｐゴシック" charset="-128"/>
              </a:rPr>
              <a:t>Text</a:t>
            </a:r>
          </a:p>
        </p:txBody>
      </p:sp>
      <p:sp>
        <p:nvSpPr>
          <p:cNvPr id="622627" name="AutoShape 35"/>
          <p:cNvSpPr>
            <a:spLocks noChangeAspect="1" noChangeArrowheads="1"/>
          </p:cNvSpPr>
          <p:nvPr/>
        </p:nvSpPr>
        <p:spPr bwMode="gray">
          <a:xfrm rot="10800000">
            <a:off x="3198813" y="4610100"/>
            <a:ext cx="246062" cy="266700"/>
          </a:xfrm>
          <a:prstGeom prst="upArrow">
            <a:avLst>
              <a:gd name="adj1" fmla="val 44694"/>
              <a:gd name="adj2" fmla="val 46642"/>
            </a:avLst>
          </a:prstGeom>
          <a:solidFill>
            <a:srgbClr val="CC3300"/>
          </a:solidFill>
          <a:ln w="28575" algn="ctr">
            <a:noFill/>
            <a:miter lim="800000"/>
            <a:headEnd type="none" w="sm" len="sm"/>
            <a:tailEnd type="none" w="med" len="lg"/>
          </a:ln>
        </p:spPr>
        <p:txBody>
          <a:bodyPr rot="10800000" wrap="none" anchor="ctr"/>
          <a:lstStyle/>
          <a:p>
            <a:pPr algn="ctr"/>
            <a:endParaRPr lang="en-GB" sz="1400"/>
          </a:p>
        </p:txBody>
      </p:sp>
      <p:sp>
        <p:nvSpPr>
          <p:cNvPr id="622628" name="Text Box 36"/>
          <p:cNvSpPr txBox="1">
            <a:spLocks noChangeArrowheads="1"/>
          </p:cNvSpPr>
          <p:nvPr/>
        </p:nvSpPr>
        <p:spPr bwMode="auto">
          <a:xfrm>
            <a:off x="5946775" y="3336925"/>
            <a:ext cx="511175" cy="309563"/>
          </a:xfrm>
          <a:prstGeom prst="rect">
            <a:avLst/>
          </a:prstGeom>
          <a:noFill/>
          <a:ln w="9525" algn="ctr">
            <a:noFill/>
            <a:miter lim="800000"/>
            <a:headEnd type="none" w="sm" len="sm"/>
            <a:tailEnd type="none" w="med" len="lg"/>
          </a:ln>
        </p:spPr>
        <p:txBody>
          <a:bodyPr wrap="none" lIns="90000" tIns="46800" rIns="90000" bIns="46800">
            <a:spAutoFit/>
          </a:bodyPr>
          <a:lstStyle/>
          <a:p>
            <a:pPr algn="ctr"/>
            <a:r>
              <a:rPr lang="en-GB" altLang="ja-JP" sz="1400">
                <a:solidFill>
                  <a:schemeClr val="tx2"/>
                </a:solidFill>
                <a:ea typeface="ＭＳ Ｐゴシック" charset="-128"/>
              </a:rPr>
              <a:t>Text</a:t>
            </a:r>
          </a:p>
        </p:txBody>
      </p:sp>
      <p:sp>
        <p:nvSpPr>
          <p:cNvPr id="622629" name="AutoShape 37"/>
          <p:cNvSpPr>
            <a:spLocks noChangeAspect="1" noChangeArrowheads="1"/>
          </p:cNvSpPr>
          <p:nvPr/>
        </p:nvSpPr>
        <p:spPr bwMode="gray">
          <a:xfrm rot="10800000">
            <a:off x="8101013" y="2605088"/>
            <a:ext cx="247650" cy="266700"/>
          </a:xfrm>
          <a:prstGeom prst="upArrow">
            <a:avLst>
              <a:gd name="adj1" fmla="val 44694"/>
              <a:gd name="adj2" fmla="val 46622"/>
            </a:avLst>
          </a:prstGeom>
          <a:solidFill>
            <a:srgbClr val="CC3300"/>
          </a:solidFill>
          <a:ln w="28575" algn="ctr">
            <a:noFill/>
            <a:miter lim="800000"/>
            <a:headEnd type="none" w="sm" len="sm"/>
            <a:tailEnd type="none" w="med" len="lg"/>
          </a:ln>
        </p:spPr>
        <p:txBody>
          <a:bodyPr rot="10800000" wrap="none" anchor="ctr"/>
          <a:lstStyle/>
          <a:p>
            <a:pPr algn="ctr"/>
            <a:endParaRPr lang="en-GB"/>
          </a:p>
        </p:txBody>
      </p:sp>
      <p:sp>
        <p:nvSpPr>
          <p:cNvPr id="622630" name="Text Box 38"/>
          <p:cNvSpPr txBox="1">
            <a:spLocks noChangeArrowheads="1"/>
          </p:cNvSpPr>
          <p:nvPr/>
        </p:nvSpPr>
        <p:spPr bwMode="auto">
          <a:xfrm>
            <a:off x="7970838" y="1530350"/>
            <a:ext cx="509587" cy="309563"/>
          </a:xfrm>
          <a:prstGeom prst="rect">
            <a:avLst/>
          </a:prstGeom>
          <a:noFill/>
          <a:ln w="9525" algn="ctr">
            <a:noFill/>
            <a:miter lim="800000"/>
            <a:headEnd type="none" w="sm" len="sm"/>
            <a:tailEnd type="none" w="med" len="lg"/>
          </a:ln>
        </p:spPr>
        <p:txBody>
          <a:bodyPr wrap="none" lIns="90000" tIns="46800" rIns="90000" bIns="46800">
            <a:spAutoFit/>
          </a:bodyPr>
          <a:lstStyle/>
          <a:p>
            <a:pPr algn="ctr"/>
            <a:r>
              <a:rPr lang="en-GB" altLang="ja-JP" sz="1400">
                <a:solidFill>
                  <a:schemeClr val="tx2"/>
                </a:solidFill>
                <a:ea typeface="ＭＳ Ｐゴシック" charset="-128"/>
              </a:rPr>
              <a:t>Text</a:t>
            </a:r>
          </a:p>
        </p:txBody>
      </p:sp>
      <p:sp>
        <p:nvSpPr>
          <p:cNvPr id="622631" name="Text Box 39"/>
          <p:cNvSpPr txBox="1">
            <a:spLocks noChangeArrowheads="1"/>
          </p:cNvSpPr>
          <p:nvPr/>
        </p:nvSpPr>
        <p:spPr bwMode="auto">
          <a:xfrm>
            <a:off x="7970838" y="2273300"/>
            <a:ext cx="509587" cy="309563"/>
          </a:xfrm>
          <a:prstGeom prst="rect">
            <a:avLst/>
          </a:prstGeom>
          <a:noFill/>
          <a:ln w="9525" algn="ctr">
            <a:noFill/>
            <a:miter lim="800000"/>
            <a:headEnd type="none" w="sm" len="sm"/>
            <a:tailEnd type="none" w="med" len="lg"/>
          </a:ln>
        </p:spPr>
        <p:txBody>
          <a:bodyPr wrap="none" lIns="90000" tIns="46800" rIns="90000" bIns="46800">
            <a:spAutoFit/>
          </a:bodyPr>
          <a:lstStyle/>
          <a:p>
            <a:pPr algn="ctr"/>
            <a:r>
              <a:rPr lang="en-GB" altLang="ja-JP" sz="1400">
                <a:solidFill>
                  <a:schemeClr val="tx2"/>
                </a:solidFill>
                <a:ea typeface="ＭＳ Ｐゴシック" charset="-128"/>
              </a:rPr>
              <a:t>Text</a:t>
            </a:r>
          </a:p>
        </p:txBody>
      </p:sp>
      <p:sp>
        <p:nvSpPr>
          <p:cNvPr id="622632" name="Text Box 40"/>
          <p:cNvSpPr txBox="1">
            <a:spLocks noChangeArrowheads="1"/>
          </p:cNvSpPr>
          <p:nvPr/>
        </p:nvSpPr>
        <p:spPr bwMode="auto">
          <a:xfrm>
            <a:off x="7970838" y="3035300"/>
            <a:ext cx="509587" cy="309563"/>
          </a:xfrm>
          <a:prstGeom prst="rect">
            <a:avLst/>
          </a:prstGeom>
          <a:noFill/>
          <a:ln w="9525" algn="ctr">
            <a:noFill/>
            <a:miter lim="800000"/>
            <a:headEnd type="none" w="sm" len="sm"/>
            <a:tailEnd type="none" w="med" len="lg"/>
          </a:ln>
        </p:spPr>
        <p:txBody>
          <a:bodyPr wrap="none" lIns="90000" tIns="46800" rIns="90000" bIns="46800">
            <a:spAutoFit/>
          </a:bodyPr>
          <a:lstStyle/>
          <a:p>
            <a:pPr algn="ctr"/>
            <a:r>
              <a:rPr lang="en-GB" altLang="ja-JP" sz="1400">
                <a:solidFill>
                  <a:schemeClr val="tx2"/>
                </a:solidFill>
                <a:ea typeface="ＭＳ Ｐゴシック" charset="-128"/>
              </a:rPr>
              <a:t>Text</a:t>
            </a:r>
          </a:p>
        </p:txBody>
      </p:sp>
      <p:sp>
        <p:nvSpPr>
          <p:cNvPr id="622633" name="AutoShape 44"/>
          <p:cNvSpPr>
            <a:spLocks noChangeAspect="1" noChangeArrowheads="1"/>
          </p:cNvSpPr>
          <p:nvPr/>
        </p:nvSpPr>
        <p:spPr bwMode="gray">
          <a:xfrm rot="5400000">
            <a:off x="6067425" y="3651251"/>
            <a:ext cx="269875" cy="247650"/>
          </a:xfrm>
          <a:prstGeom prst="upArrow">
            <a:avLst>
              <a:gd name="adj1" fmla="val 44694"/>
              <a:gd name="adj2" fmla="val 46620"/>
            </a:avLst>
          </a:prstGeom>
          <a:solidFill>
            <a:srgbClr val="FF9900"/>
          </a:solidFill>
          <a:ln w="28575" algn="ctr">
            <a:noFill/>
            <a:miter lim="800000"/>
            <a:headEnd/>
            <a:tailEnd/>
          </a:ln>
        </p:spPr>
        <p:txBody>
          <a:bodyPr rot="10800000" vert="eaVert" wrap="none" anchor="ctr"/>
          <a:lstStyle/>
          <a:p>
            <a:pPr algn="ctr"/>
            <a:endParaRPr lang="en-GB"/>
          </a:p>
        </p:txBody>
      </p:sp>
      <p:sp>
        <p:nvSpPr>
          <p:cNvPr id="4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46"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cxnSp>
        <p:nvCxnSpPr>
          <p:cNvPr id="49" name="Straight Connector 48"/>
          <p:cNvCxnSpPr/>
          <p:nvPr/>
        </p:nvCxnSpPr>
        <p:spPr>
          <a:xfrm>
            <a:off x="6078537" y="2627313"/>
            <a:ext cx="53022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AutoShape 4"/>
          <p:cNvCxnSpPr>
            <a:cxnSpLocks noChangeShapeType="1"/>
          </p:cNvCxnSpPr>
          <p:nvPr>
            <p:custDataLst>
              <p:tags r:id="rId2"/>
            </p:custDataLst>
          </p:nvPr>
        </p:nvCxnSpPr>
        <p:spPr bwMode="gray">
          <a:xfrm rot="5400000">
            <a:off x="1168797" y="3626773"/>
            <a:ext cx="323850" cy="673894"/>
          </a:xfrm>
          <a:prstGeom prst="bentConnector3">
            <a:avLst>
              <a:gd name="adj1" fmla="val 50000"/>
            </a:avLst>
          </a:prstGeom>
          <a:noFill/>
          <a:ln w="12700">
            <a:solidFill>
              <a:schemeClr val="tx2"/>
            </a:solidFill>
            <a:miter lim="800000"/>
            <a:headEnd/>
            <a:tailEnd/>
          </a:ln>
        </p:spPr>
      </p:cxnSp>
      <p:cxnSp>
        <p:nvCxnSpPr>
          <p:cNvPr id="7" name="AutoShape 6"/>
          <p:cNvCxnSpPr>
            <a:cxnSpLocks noChangeShapeType="1"/>
          </p:cNvCxnSpPr>
          <p:nvPr>
            <p:custDataLst>
              <p:tags r:id="rId3"/>
            </p:custDataLst>
          </p:nvPr>
        </p:nvCxnSpPr>
        <p:spPr bwMode="gray">
          <a:xfrm rot="16200000" flipH="1">
            <a:off x="1845866" y="3623598"/>
            <a:ext cx="323850" cy="680244"/>
          </a:xfrm>
          <a:prstGeom prst="bentConnector3">
            <a:avLst>
              <a:gd name="adj1" fmla="val 50000"/>
            </a:avLst>
          </a:prstGeom>
          <a:noFill/>
          <a:ln w="12700">
            <a:solidFill>
              <a:schemeClr val="tx2"/>
            </a:solidFill>
            <a:miter lim="800000"/>
            <a:headEnd/>
            <a:tailEnd/>
          </a:ln>
        </p:spPr>
      </p:cxnSp>
      <p:cxnSp>
        <p:nvCxnSpPr>
          <p:cNvPr id="8" name="AutoShape 7"/>
          <p:cNvCxnSpPr>
            <a:cxnSpLocks noChangeShapeType="1"/>
          </p:cNvCxnSpPr>
          <p:nvPr>
            <p:custDataLst>
              <p:tags r:id="rId4"/>
            </p:custDataLst>
          </p:nvPr>
        </p:nvCxnSpPr>
        <p:spPr bwMode="gray">
          <a:xfrm rot="5400000">
            <a:off x="4059238" y="3616057"/>
            <a:ext cx="323850" cy="695326"/>
          </a:xfrm>
          <a:prstGeom prst="bentConnector3">
            <a:avLst>
              <a:gd name="adj1" fmla="val 50000"/>
            </a:avLst>
          </a:prstGeom>
          <a:noFill/>
          <a:ln w="12700">
            <a:solidFill>
              <a:schemeClr val="tx2"/>
            </a:solidFill>
            <a:miter lim="800000"/>
            <a:headEnd/>
            <a:tailEnd/>
          </a:ln>
        </p:spPr>
      </p:cxnSp>
      <p:cxnSp>
        <p:nvCxnSpPr>
          <p:cNvPr id="9" name="AutoShape 8"/>
          <p:cNvCxnSpPr>
            <a:cxnSpLocks noChangeShapeType="1"/>
          </p:cNvCxnSpPr>
          <p:nvPr>
            <p:custDataLst>
              <p:tags r:id="rId5"/>
            </p:custDataLst>
          </p:nvPr>
        </p:nvCxnSpPr>
        <p:spPr bwMode="gray">
          <a:xfrm rot="16200000" flipH="1">
            <a:off x="4749007" y="3621614"/>
            <a:ext cx="323850" cy="684212"/>
          </a:xfrm>
          <a:prstGeom prst="bentConnector3">
            <a:avLst>
              <a:gd name="adj1" fmla="val 50000"/>
            </a:avLst>
          </a:prstGeom>
          <a:noFill/>
          <a:ln w="12700">
            <a:solidFill>
              <a:schemeClr val="tx2"/>
            </a:solidFill>
            <a:miter lim="800000"/>
            <a:headEnd/>
            <a:tailEnd/>
          </a:ln>
        </p:spPr>
      </p:cxnSp>
      <p:cxnSp>
        <p:nvCxnSpPr>
          <p:cNvPr id="10" name="AutoShape 9"/>
          <p:cNvCxnSpPr>
            <a:cxnSpLocks noChangeShapeType="1"/>
          </p:cNvCxnSpPr>
          <p:nvPr>
            <p:custDataLst>
              <p:tags r:id="rId6"/>
            </p:custDataLst>
          </p:nvPr>
        </p:nvCxnSpPr>
        <p:spPr bwMode="gray">
          <a:xfrm rot="5400000">
            <a:off x="6943726" y="3620820"/>
            <a:ext cx="334962" cy="674688"/>
          </a:xfrm>
          <a:prstGeom prst="bentConnector3">
            <a:avLst>
              <a:gd name="adj1" fmla="val 50000"/>
            </a:avLst>
          </a:prstGeom>
          <a:noFill/>
          <a:ln w="12700">
            <a:solidFill>
              <a:schemeClr val="tx2"/>
            </a:solidFill>
            <a:miter lim="800000"/>
            <a:headEnd/>
            <a:tailEnd/>
          </a:ln>
        </p:spPr>
      </p:cxnSp>
      <p:cxnSp>
        <p:nvCxnSpPr>
          <p:cNvPr id="11" name="AutoShape 10"/>
          <p:cNvCxnSpPr>
            <a:cxnSpLocks noChangeShapeType="1"/>
          </p:cNvCxnSpPr>
          <p:nvPr>
            <p:custDataLst>
              <p:tags r:id="rId7"/>
            </p:custDataLst>
          </p:nvPr>
        </p:nvCxnSpPr>
        <p:spPr bwMode="gray">
          <a:xfrm rot="16200000" flipH="1">
            <a:off x="7633494" y="3605739"/>
            <a:ext cx="334962" cy="704849"/>
          </a:xfrm>
          <a:prstGeom prst="bentConnector3">
            <a:avLst>
              <a:gd name="adj1" fmla="val 50000"/>
            </a:avLst>
          </a:prstGeom>
          <a:noFill/>
          <a:ln w="12700">
            <a:solidFill>
              <a:schemeClr val="tx2"/>
            </a:solidFill>
            <a:miter lim="800000"/>
            <a:headEnd/>
            <a:tailEnd/>
          </a:ln>
        </p:spPr>
      </p:cxnSp>
      <p:sp>
        <p:nvSpPr>
          <p:cNvPr id="242719" name="Text Box 10"/>
          <p:cNvSpPr txBox="1">
            <a:spLocks noChangeArrowheads="1"/>
          </p:cNvSpPr>
          <p:nvPr/>
        </p:nvSpPr>
        <p:spPr bwMode="auto">
          <a:xfrm>
            <a:off x="6669088" y="2860408"/>
            <a:ext cx="1558925" cy="228756"/>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45" name="Rectangle 44"/>
          <p:cNvSpPr>
            <a:spLocks noChangeArrowheads="1"/>
          </p:cNvSpPr>
          <p:nvPr/>
        </p:nvSpPr>
        <p:spPr bwMode="auto">
          <a:xfrm>
            <a:off x="6669088" y="3098181"/>
            <a:ext cx="1558925" cy="692502"/>
          </a:xfrm>
          <a:prstGeom prst="rect">
            <a:avLst/>
          </a:prstGeom>
          <a:noFill/>
          <a:ln w="12700" algn="ctr">
            <a:solidFill>
              <a:srgbClr val="00A1DE"/>
            </a:solidFill>
            <a:miter lim="800000"/>
            <a:headEnd/>
            <a:tailEnd/>
          </a:ln>
        </p:spPr>
        <p:txBody>
          <a:bodyPr lIns="40118" tIns="40118" rIns="40118" bIns="40118" anchor="ctr"/>
          <a:lstStyle/>
          <a:p>
            <a:pPr marL="359623" indent="-359623" defTabSz="957998">
              <a:spcBef>
                <a:spcPts val="400"/>
              </a:spcBef>
              <a:spcAft>
                <a:spcPts val="0"/>
              </a:spcAft>
              <a:defRPr/>
            </a:pPr>
            <a:r>
              <a:rPr lang="nl-NL" sz="1200" b="0" dirty="0" smtClean="0">
                <a:solidFill>
                  <a:srgbClr val="002776"/>
                </a:solidFill>
                <a:latin typeface="Arial"/>
              </a:rPr>
              <a:t>Line 1</a:t>
            </a:r>
          </a:p>
          <a:p>
            <a:pPr marL="359623" indent="-359623" defTabSz="957998">
              <a:spcBef>
                <a:spcPts val="400"/>
              </a:spcBef>
              <a:spcAft>
                <a:spcPts val="0"/>
              </a:spcAft>
              <a:defRPr/>
            </a:pPr>
            <a:r>
              <a:rPr lang="nl-NL" sz="1200" b="0" dirty="0" smtClean="0">
                <a:solidFill>
                  <a:srgbClr val="002776"/>
                </a:solidFill>
                <a:latin typeface="Arial"/>
              </a:rPr>
              <a:t>Line 2</a:t>
            </a:r>
            <a:endParaRPr lang="nl-NL" sz="1200" b="0" dirty="0">
              <a:solidFill>
                <a:srgbClr val="002776"/>
              </a:solidFill>
              <a:latin typeface="Arial"/>
            </a:endParaRPr>
          </a:p>
        </p:txBody>
      </p:sp>
      <p:grpSp>
        <p:nvGrpSpPr>
          <p:cNvPr id="2" name="Group 12"/>
          <p:cNvGrpSpPr>
            <a:grpSpLocks/>
          </p:cNvGrpSpPr>
          <p:nvPr>
            <p:custDataLst>
              <p:tags r:id="rId8"/>
            </p:custDataLst>
          </p:nvPr>
        </p:nvGrpSpPr>
        <p:grpSpPr bwMode="auto">
          <a:xfrm>
            <a:off x="889000" y="2869933"/>
            <a:ext cx="1557338" cy="931862"/>
            <a:chOff x="300" y="872"/>
            <a:chExt cx="1847" cy="1037"/>
          </a:xfrm>
        </p:grpSpPr>
        <p:sp>
          <p:nvSpPr>
            <p:cNvPr id="242717" name="Text Box 10"/>
            <p:cNvSpPr txBox="1">
              <a:spLocks noChangeArrowheads="1"/>
            </p:cNvSpPr>
            <p:nvPr/>
          </p:nvSpPr>
          <p:spPr bwMode="auto">
            <a:xfrm>
              <a:off x="300" y="872"/>
              <a:ext cx="1847" cy="254"/>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53" name="Rectangle 52"/>
            <p:cNvSpPr>
              <a:spLocks noChangeArrowheads="1"/>
            </p:cNvSpPr>
            <p:nvPr/>
          </p:nvSpPr>
          <p:spPr bwMode="auto">
            <a:xfrm>
              <a:off x="300" y="1126"/>
              <a:ext cx="1847" cy="783"/>
            </a:xfrm>
            <a:prstGeom prst="rect">
              <a:avLst/>
            </a:prstGeom>
            <a:noFill/>
            <a:ln w="12700" algn="ctr">
              <a:solidFill>
                <a:srgbClr val="00A1DE"/>
              </a:solidFill>
              <a:miter lim="800000"/>
              <a:headEnd/>
              <a:tailEnd/>
            </a:ln>
          </p:spPr>
          <p:txBody>
            <a:bodyPr lIns="40118" tIns="40118" rIns="40118" bIns="40118" anchor="ctr"/>
            <a:lstStyle/>
            <a:p>
              <a:pPr marL="359623" indent="-359623" defTabSz="957998">
                <a:spcBef>
                  <a:spcPts val="400"/>
                </a:spcBef>
                <a:spcAft>
                  <a:spcPts val="0"/>
                </a:spcAft>
                <a:defRPr/>
              </a:pPr>
              <a:r>
                <a:rPr lang="nl-NL" sz="1200" b="0" dirty="0" smtClean="0">
                  <a:solidFill>
                    <a:srgbClr val="002776"/>
                  </a:solidFill>
                  <a:latin typeface="Arial"/>
                </a:rPr>
                <a:t>Line 1</a:t>
              </a:r>
            </a:p>
            <a:p>
              <a:pPr marL="359623" indent="-359623" defTabSz="957998">
                <a:spcBef>
                  <a:spcPts val="400"/>
                </a:spcBef>
                <a:spcAft>
                  <a:spcPts val="0"/>
                </a:spcAft>
                <a:defRPr/>
              </a:pPr>
              <a:r>
                <a:rPr lang="nl-NL" sz="1200" b="0" dirty="0" smtClean="0">
                  <a:solidFill>
                    <a:srgbClr val="002776"/>
                  </a:solidFill>
                  <a:latin typeface="Arial"/>
                </a:rPr>
                <a:t>Line 2</a:t>
              </a:r>
              <a:endParaRPr lang="nl-NL" sz="1200" b="0" dirty="0">
                <a:solidFill>
                  <a:srgbClr val="002776"/>
                </a:solidFill>
                <a:latin typeface="Arial"/>
              </a:endParaRPr>
            </a:p>
          </p:txBody>
        </p:sp>
      </p:grpSp>
      <p:sp>
        <p:nvSpPr>
          <p:cNvPr id="242715" name="Text Box 10"/>
          <p:cNvSpPr txBox="1">
            <a:spLocks noChangeArrowheads="1"/>
          </p:cNvSpPr>
          <p:nvPr/>
        </p:nvSpPr>
        <p:spPr bwMode="auto">
          <a:xfrm>
            <a:off x="3789363" y="2869933"/>
            <a:ext cx="1558925" cy="228248"/>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56" name="Rectangle 55"/>
          <p:cNvSpPr>
            <a:spLocks noChangeArrowheads="1"/>
          </p:cNvSpPr>
          <p:nvPr/>
        </p:nvSpPr>
        <p:spPr bwMode="auto">
          <a:xfrm>
            <a:off x="3789363" y="3098181"/>
            <a:ext cx="1558925" cy="703614"/>
          </a:xfrm>
          <a:prstGeom prst="rect">
            <a:avLst/>
          </a:prstGeom>
          <a:noFill/>
          <a:ln w="12700" algn="ctr">
            <a:solidFill>
              <a:srgbClr val="00A1DE"/>
            </a:solidFill>
            <a:miter lim="800000"/>
            <a:headEnd/>
            <a:tailEnd/>
          </a:ln>
        </p:spPr>
        <p:txBody>
          <a:bodyPr lIns="40118" tIns="40118" rIns="40118" bIns="40118" anchor="ctr"/>
          <a:lstStyle/>
          <a:p>
            <a:pPr marL="359623" indent="-359623" defTabSz="957998">
              <a:spcBef>
                <a:spcPts val="400"/>
              </a:spcBef>
              <a:spcAft>
                <a:spcPts val="0"/>
              </a:spcAft>
              <a:defRPr/>
            </a:pPr>
            <a:r>
              <a:rPr lang="nl-NL" sz="1200" b="0" dirty="0" smtClean="0">
                <a:solidFill>
                  <a:srgbClr val="002776"/>
                </a:solidFill>
                <a:latin typeface="Arial"/>
              </a:rPr>
              <a:t>Line 1</a:t>
            </a:r>
          </a:p>
          <a:p>
            <a:pPr marL="359623" indent="-359623" defTabSz="957998">
              <a:spcBef>
                <a:spcPts val="400"/>
              </a:spcBef>
              <a:spcAft>
                <a:spcPts val="0"/>
              </a:spcAft>
              <a:defRPr/>
            </a:pPr>
            <a:r>
              <a:rPr lang="nl-NL" sz="1200" b="0" dirty="0" smtClean="0">
                <a:solidFill>
                  <a:srgbClr val="002776"/>
                </a:solidFill>
                <a:latin typeface="Arial"/>
              </a:rPr>
              <a:t>Line 2</a:t>
            </a:r>
            <a:endParaRPr lang="nl-NL" sz="1200" b="0" dirty="0">
              <a:solidFill>
                <a:srgbClr val="002776"/>
              </a:solidFill>
              <a:latin typeface="Arial"/>
            </a:endParaRPr>
          </a:p>
        </p:txBody>
      </p:sp>
      <p:grpSp>
        <p:nvGrpSpPr>
          <p:cNvPr id="3" name="Group 12"/>
          <p:cNvGrpSpPr>
            <a:grpSpLocks/>
          </p:cNvGrpSpPr>
          <p:nvPr>
            <p:custDataLst>
              <p:tags r:id="rId9"/>
            </p:custDataLst>
          </p:nvPr>
        </p:nvGrpSpPr>
        <p:grpSpPr bwMode="auto">
          <a:xfrm>
            <a:off x="3789363" y="1596758"/>
            <a:ext cx="1558925" cy="930275"/>
            <a:chOff x="300" y="872"/>
            <a:chExt cx="1847" cy="1037"/>
          </a:xfrm>
        </p:grpSpPr>
        <p:sp>
          <p:nvSpPr>
            <p:cNvPr id="242713" name="Text Box 10"/>
            <p:cNvSpPr txBox="1">
              <a:spLocks noChangeArrowheads="1"/>
            </p:cNvSpPr>
            <p:nvPr/>
          </p:nvSpPr>
          <p:spPr bwMode="auto">
            <a:xfrm>
              <a:off x="300" y="872"/>
              <a:ext cx="1847" cy="255"/>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38" name="Rectangle 37"/>
            <p:cNvSpPr>
              <a:spLocks noChangeArrowheads="1"/>
            </p:cNvSpPr>
            <p:nvPr/>
          </p:nvSpPr>
          <p:spPr bwMode="auto">
            <a:xfrm>
              <a:off x="300" y="1127"/>
              <a:ext cx="1847" cy="782"/>
            </a:xfrm>
            <a:prstGeom prst="rect">
              <a:avLst/>
            </a:prstGeom>
            <a:noFill/>
            <a:ln w="12700" algn="ctr">
              <a:solidFill>
                <a:schemeClr val="accent3"/>
              </a:solidFill>
              <a:miter lim="800000"/>
              <a:headEnd/>
              <a:tailEnd/>
            </a:ln>
          </p:spPr>
          <p:txBody>
            <a:bodyPr lIns="40118" tIns="40118" rIns="40118" bIns="40118" anchor="ctr"/>
            <a:lstStyle/>
            <a:p>
              <a:pPr marL="359623" indent="-359623" defTabSz="957998">
                <a:spcBef>
                  <a:spcPts val="400"/>
                </a:spcBef>
                <a:spcAft>
                  <a:spcPts val="0"/>
                </a:spcAft>
                <a:defRPr/>
              </a:pPr>
              <a:r>
                <a:rPr lang="nl-NL" sz="1200" b="0" dirty="0" smtClean="0">
                  <a:solidFill>
                    <a:srgbClr val="002776"/>
                  </a:solidFill>
                  <a:latin typeface="Arial"/>
                </a:rPr>
                <a:t>Line 1</a:t>
              </a:r>
            </a:p>
            <a:p>
              <a:pPr marL="359623" indent="-359623" defTabSz="957998">
                <a:spcBef>
                  <a:spcPts val="400"/>
                </a:spcBef>
                <a:spcAft>
                  <a:spcPts val="0"/>
                </a:spcAft>
                <a:defRPr/>
              </a:pPr>
              <a:r>
                <a:rPr lang="nl-NL" sz="1200" b="0" dirty="0" smtClean="0">
                  <a:solidFill>
                    <a:srgbClr val="002776"/>
                  </a:solidFill>
                  <a:latin typeface="Arial"/>
                </a:rPr>
                <a:t>Line 2</a:t>
              </a:r>
              <a:endParaRPr lang="nl-NL" sz="1200" b="0" dirty="0">
                <a:solidFill>
                  <a:srgbClr val="002776"/>
                </a:solidFill>
                <a:latin typeface="Arial"/>
              </a:endParaRPr>
            </a:p>
          </p:txBody>
        </p:sp>
      </p:grpSp>
      <p:sp>
        <p:nvSpPr>
          <p:cNvPr id="242701" name="Title 1"/>
          <p:cNvSpPr>
            <a:spLocks noGrp="1"/>
          </p:cNvSpPr>
          <p:nvPr>
            <p:ph type="title"/>
            <p:custDataLst>
              <p:tags r:id="rId10"/>
            </p:custDataLst>
          </p:nvPr>
        </p:nvSpPr>
        <p:spPr>
          <a:xfrm>
            <a:off x="414338" y="446038"/>
            <a:ext cx="8330184" cy="333425"/>
          </a:xfrm>
        </p:spPr>
        <p:txBody>
          <a:bodyPr/>
          <a:lstStyle/>
          <a:p>
            <a:r>
              <a:rPr lang="nl-NL"/>
              <a:t>Organization chart </a:t>
            </a:r>
            <a:r>
              <a:rPr lang="en-US"/>
              <a:t>—</a:t>
            </a:r>
            <a:r>
              <a:rPr lang="nl-NL" smtClean="0"/>
              <a:t> </a:t>
            </a:r>
            <a:r>
              <a:rPr lang="nl-NL"/>
              <a:t>simple</a:t>
            </a:r>
          </a:p>
        </p:txBody>
      </p:sp>
      <p:cxnSp>
        <p:nvCxnSpPr>
          <p:cNvPr id="4" name="AutoShape 3"/>
          <p:cNvCxnSpPr>
            <a:cxnSpLocks noChangeShapeType="1"/>
          </p:cNvCxnSpPr>
          <p:nvPr>
            <p:custDataLst>
              <p:tags r:id="rId11"/>
            </p:custDataLst>
          </p:nvPr>
        </p:nvCxnSpPr>
        <p:spPr bwMode="gray">
          <a:xfrm rot="5400000">
            <a:off x="2946294" y="1248302"/>
            <a:ext cx="342900" cy="2900362"/>
          </a:xfrm>
          <a:prstGeom prst="bentConnector3">
            <a:avLst>
              <a:gd name="adj1" fmla="val 47554"/>
            </a:avLst>
          </a:prstGeom>
          <a:noFill/>
          <a:ln w="12700">
            <a:solidFill>
              <a:schemeClr val="tx2"/>
            </a:solidFill>
            <a:miter lim="800000"/>
            <a:headEnd/>
            <a:tailEnd/>
          </a:ln>
        </p:spPr>
      </p:cxnSp>
      <p:cxnSp>
        <p:nvCxnSpPr>
          <p:cNvPr id="6" name="AutoShape 5"/>
          <p:cNvCxnSpPr>
            <a:cxnSpLocks noChangeShapeType="1"/>
          </p:cNvCxnSpPr>
          <p:nvPr>
            <p:custDataLst>
              <p:tags r:id="rId12"/>
            </p:custDataLst>
          </p:nvPr>
        </p:nvCxnSpPr>
        <p:spPr bwMode="gray">
          <a:xfrm rot="16200000" flipH="1">
            <a:off x="5841207" y="1253858"/>
            <a:ext cx="333375" cy="2879725"/>
          </a:xfrm>
          <a:prstGeom prst="bentConnector3">
            <a:avLst>
              <a:gd name="adj1" fmla="val 50000"/>
            </a:avLst>
          </a:prstGeom>
          <a:noFill/>
          <a:ln w="12700">
            <a:solidFill>
              <a:schemeClr val="tx2"/>
            </a:solidFill>
            <a:miter lim="800000"/>
            <a:headEnd/>
            <a:tailEnd/>
          </a:ln>
        </p:spPr>
      </p:cxnSp>
      <p:cxnSp>
        <p:nvCxnSpPr>
          <p:cNvPr id="34" name="AutoShape 34"/>
          <p:cNvCxnSpPr>
            <a:cxnSpLocks noChangeShapeType="1"/>
          </p:cNvCxnSpPr>
          <p:nvPr>
            <p:custDataLst>
              <p:tags r:id="rId13"/>
            </p:custDataLst>
          </p:nvPr>
        </p:nvCxnSpPr>
        <p:spPr bwMode="gray">
          <a:xfrm rot="5400000">
            <a:off x="4397376" y="2698483"/>
            <a:ext cx="342900" cy="1588"/>
          </a:xfrm>
          <a:prstGeom prst="straightConnector1">
            <a:avLst/>
          </a:prstGeom>
          <a:noFill/>
          <a:ln w="12700">
            <a:solidFill>
              <a:schemeClr val="tx2"/>
            </a:solidFill>
            <a:miter lim="800000"/>
            <a:headEnd/>
            <a:tailEnd/>
          </a:ln>
        </p:spPr>
      </p:cxnSp>
      <p:graphicFrame>
        <p:nvGraphicFramePr>
          <p:cNvPr id="242690" name="Rectangle 2" hidden="1"/>
          <p:cNvGraphicFramePr>
            <a:graphicFrameLocks/>
          </p:cNvGraphicFramePr>
          <p:nvPr>
            <p:custDataLst>
              <p:tags r:id="rId14"/>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66243" name="think-cell Slide" r:id="rId23" imgW="0" imgH="0" progId="">
                  <p:embed/>
                </p:oleObj>
              </mc:Choice>
              <mc:Fallback>
                <p:oleObj name="think-cell Slide" r:id="rId2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2" name="Group 12"/>
          <p:cNvGrpSpPr>
            <a:grpSpLocks/>
          </p:cNvGrpSpPr>
          <p:nvPr>
            <p:custDataLst>
              <p:tags r:id="rId15"/>
            </p:custDataLst>
          </p:nvPr>
        </p:nvGrpSpPr>
        <p:grpSpPr bwMode="auto">
          <a:xfrm>
            <a:off x="387350" y="4125645"/>
            <a:ext cx="1212850" cy="930275"/>
            <a:chOff x="300" y="872"/>
            <a:chExt cx="1847" cy="1037"/>
          </a:xfrm>
        </p:grpSpPr>
        <p:sp>
          <p:nvSpPr>
            <p:cNvPr id="242731" name="Text Box 10"/>
            <p:cNvSpPr txBox="1">
              <a:spLocks noChangeArrowheads="1"/>
            </p:cNvSpPr>
            <p:nvPr/>
          </p:nvSpPr>
          <p:spPr bwMode="auto">
            <a:xfrm>
              <a:off x="300" y="872"/>
              <a:ext cx="1847" cy="255"/>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61" name="Rectangle 60"/>
            <p:cNvSpPr>
              <a:spLocks noChangeArrowheads="1"/>
            </p:cNvSpPr>
            <p:nvPr/>
          </p:nvSpPr>
          <p:spPr bwMode="auto">
            <a:xfrm>
              <a:off x="300" y="1127"/>
              <a:ext cx="1847" cy="782"/>
            </a:xfrm>
            <a:prstGeom prst="rect">
              <a:avLst/>
            </a:prstGeom>
            <a:noFill/>
            <a:ln w="12700" algn="ctr">
              <a:solidFill>
                <a:schemeClr val="accent3"/>
              </a:solidFill>
              <a:miter lim="800000"/>
              <a:headEnd/>
              <a:tailEnd/>
            </a:ln>
          </p:spPr>
          <p:txBody>
            <a:bodyPr lIns="40118" tIns="40118" rIns="40118" bIns="40118" anchor="ctr"/>
            <a:lstStyle/>
            <a:p>
              <a:pPr marL="359623" indent="-359623" defTabSz="957998">
                <a:spcBef>
                  <a:spcPts val="400"/>
                </a:spcBef>
                <a:spcAft>
                  <a:spcPts val="0"/>
                </a:spcAft>
                <a:defRPr/>
              </a:pPr>
              <a:r>
                <a:rPr lang="nl-NL" sz="1200" b="0" dirty="0" smtClean="0">
                  <a:solidFill>
                    <a:srgbClr val="002776"/>
                  </a:solidFill>
                  <a:latin typeface="Arial"/>
                </a:rPr>
                <a:t>Line 1</a:t>
              </a:r>
            </a:p>
            <a:p>
              <a:pPr marL="359623" indent="-359623" defTabSz="957998">
                <a:spcBef>
                  <a:spcPts val="400"/>
                </a:spcBef>
                <a:spcAft>
                  <a:spcPts val="0"/>
                </a:spcAft>
                <a:defRPr/>
              </a:pPr>
              <a:r>
                <a:rPr lang="nl-NL" sz="1200" b="0" dirty="0" smtClean="0">
                  <a:solidFill>
                    <a:srgbClr val="002776"/>
                  </a:solidFill>
                  <a:latin typeface="Arial"/>
                </a:rPr>
                <a:t>Line 2</a:t>
              </a:r>
              <a:endParaRPr lang="nl-NL" sz="1200" b="0" dirty="0">
                <a:solidFill>
                  <a:srgbClr val="002776"/>
                </a:solidFill>
                <a:latin typeface="Arial"/>
              </a:endParaRPr>
            </a:p>
          </p:txBody>
        </p:sp>
      </p:grpSp>
      <p:sp>
        <p:nvSpPr>
          <p:cNvPr id="46" name="Text Placeholder 12"/>
          <p:cNvSpPr>
            <a:spLocks/>
          </p:cNvSpPr>
          <p:nvPr>
            <p:custDataLst>
              <p:tags r:id="rId16"/>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4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grpSp>
        <p:nvGrpSpPr>
          <p:cNvPr id="13" name="Group 12"/>
          <p:cNvGrpSpPr>
            <a:grpSpLocks/>
          </p:cNvGrpSpPr>
          <p:nvPr>
            <p:custDataLst>
              <p:tags r:id="rId17"/>
            </p:custDataLst>
          </p:nvPr>
        </p:nvGrpSpPr>
        <p:grpSpPr bwMode="auto">
          <a:xfrm>
            <a:off x="1764549" y="4125645"/>
            <a:ext cx="1212850" cy="930275"/>
            <a:chOff x="300" y="872"/>
            <a:chExt cx="1847" cy="1037"/>
          </a:xfrm>
        </p:grpSpPr>
        <p:sp>
          <p:nvSpPr>
            <p:cNvPr id="63" name="Text Box 10"/>
            <p:cNvSpPr txBox="1">
              <a:spLocks noChangeArrowheads="1"/>
            </p:cNvSpPr>
            <p:nvPr/>
          </p:nvSpPr>
          <p:spPr bwMode="auto">
            <a:xfrm>
              <a:off x="300" y="872"/>
              <a:ext cx="1847" cy="255"/>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65" name="Rectangle 64"/>
            <p:cNvSpPr>
              <a:spLocks noChangeArrowheads="1"/>
            </p:cNvSpPr>
            <p:nvPr/>
          </p:nvSpPr>
          <p:spPr bwMode="auto">
            <a:xfrm>
              <a:off x="300" y="1127"/>
              <a:ext cx="1847" cy="782"/>
            </a:xfrm>
            <a:prstGeom prst="rect">
              <a:avLst/>
            </a:prstGeom>
            <a:noFill/>
            <a:ln w="12700" algn="ctr">
              <a:solidFill>
                <a:schemeClr val="accent3"/>
              </a:solidFill>
              <a:miter lim="800000"/>
              <a:headEnd/>
              <a:tailEnd/>
            </a:ln>
          </p:spPr>
          <p:txBody>
            <a:bodyPr lIns="40118" tIns="40118" rIns="40118" bIns="40118" anchor="ctr"/>
            <a:lstStyle/>
            <a:p>
              <a:pPr marL="359623" indent="-359623" defTabSz="957998">
                <a:spcBef>
                  <a:spcPts val="400"/>
                </a:spcBef>
                <a:spcAft>
                  <a:spcPts val="0"/>
                </a:spcAft>
                <a:defRPr/>
              </a:pPr>
              <a:r>
                <a:rPr lang="nl-NL" sz="1200" b="0" dirty="0" smtClean="0">
                  <a:solidFill>
                    <a:srgbClr val="002776"/>
                  </a:solidFill>
                  <a:latin typeface="Arial"/>
                </a:rPr>
                <a:t>Line 1</a:t>
              </a:r>
            </a:p>
            <a:p>
              <a:pPr marL="359623" indent="-359623" defTabSz="957998">
                <a:spcBef>
                  <a:spcPts val="400"/>
                </a:spcBef>
                <a:spcAft>
                  <a:spcPts val="0"/>
                </a:spcAft>
                <a:defRPr/>
              </a:pPr>
              <a:r>
                <a:rPr lang="nl-NL" sz="1200" b="0" dirty="0" smtClean="0">
                  <a:solidFill>
                    <a:srgbClr val="002776"/>
                  </a:solidFill>
                  <a:latin typeface="Arial"/>
                </a:rPr>
                <a:t>Line 2</a:t>
              </a:r>
              <a:endParaRPr lang="nl-NL" sz="1200" b="0" dirty="0">
                <a:solidFill>
                  <a:srgbClr val="002776"/>
                </a:solidFill>
                <a:latin typeface="Arial"/>
              </a:endParaRPr>
            </a:p>
          </p:txBody>
        </p:sp>
      </p:grpSp>
      <p:grpSp>
        <p:nvGrpSpPr>
          <p:cNvPr id="14" name="Group 12"/>
          <p:cNvGrpSpPr>
            <a:grpSpLocks/>
          </p:cNvGrpSpPr>
          <p:nvPr>
            <p:custDataLst>
              <p:tags r:id="rId18"/>
            </p:custDataLst>
          </p:nvPr>
        </p:nvGrpSpPr>
        <p:grpSpPr bwMode="auto">
          <a:xfrm>
            <a:off x="3267075" y="4125645"/>
            <a:ext cx="1212850" cy="930275"/>
            <a:chOff x="300" y="872"/>
            <a:chExt cx="1847" cy="1037"/>
          </a:xfrm>
        </p:grpSpPr>
        <p:sp>
          <p:nvSpPr>
            <p:cNvPr id="68" name="Text Box 10"/>
            <p:cNvSpPr txBox="1">
              <a:spLocks noChangeArrowheads="1"/>
            </p:cNvSpPr>
            <p:nvPr/>
          </p:nvSpPr>
          <p:spPr bwMode="auto">
            <a:xfrm>
              <a:off x="300" y="872"/>
              <a:ext cx="1847" cy="255"/>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69" name="Rectangle 68"/>
            <p:cNvSpPr>
              <a:spLocks noChangeArrowheads="1"/>
            </p:cNvSpPr>
            <p:nvPr/>
          </p:nvSpPr>
          <p:spPr bwMode="auto">
            <a:xfrm>
              <a:off x="300" y="1127"/>
              <a:ext cx="1847" cy="782"/>
            </a:xfrm>
            <a:prstGeom prst="rect">
              <a:avLst/>
            </a:prstGeom>
            <a:noFill/>
            <a:ln w="12700" algn="ctr">
              <a:solidFill>
                <a:schemeClr val="accent3"/>
              </a:solidFill>
              <a:miter lim="800000"/>
              <a:headEnd/>
              <a:tailEnd/>
            </a:ln>
          </p:spPr>
          <p:txBody>
            <a:bodyPr lIns="40118" tIns="40118" rIns="40118" bIns="40118" anchor="ctr"/>
            <a:lstStyle/>
            <a:p>
              <a:pPr marL="359623" indent="-359623" defTabSz="957998">
                <a:spcBef>
                  <a:spcPts val="400"/>
                </a:spcBef>
                <a:spcAft>
                  <a:spcPts val="0"/>
                </a:spcAft>
                <a:defRPr/>
              </a:pPr>
              <a:r>
                <a:rPr lang="nl-NL" sz="1200" b="0" dirty="0" smtClean="0">
                  <a:solidFill>
                    <a:srgbClr val="002776"/>
                  </a:solidFill>
                  <a:latin typeface="Arial"/>
                </a:rPr>
                <a:t>Line 1</a:t>
              </a:r>
            </a:p>
            <a:p>
              <a:pPr marL="359623" indent="-359623" defTabSz="957998">
                <a:spcBef>
                  <a:spcPts val="400"/>
                </a:spcBef>
                <a:spcAft>
                  <a:spcPts val="0"/>
                </a:spcAft>
                <a:defRPr/>
              </a:pPr>
              <a:r>
                <a:rPr lang="nl-NL" sz="1200" b="0" dirty="0" smtClean="0">
                  <a:solidFill>
                    <a:srgbClr val="002776"/>
                  </a:solidFill>
                  <a:latin typeface="Arial"/>
                </a:rPr>
                <a:t>Line 2</a:t>
              </a:r>
              <a:endParaRPr lang="nl-NL" sz="1200" b="0" dirty="0">
                <a:solidFill>
                  <a:srgbClr val="002776"/>
                </a:solidFill>
                <a:latin typeface="Arial"/>
              </a:endParaRPr>
            </a:p>
          </p:txBody>
        </p:sp>
      </p:grpSp>
      <p:grpSp>
        <p:nvGrpSpPr>
          <p:cNvPr id="15" name="Group 12"/>
          <p:cNvGrpSpPr>
            <a:grpSpLocks/>
          </p:cNvGrpSpPr>
          <p:nvPr>
            <p:custDataLst>
              <p:tags r:id="rId19"/>
            </p:custDataLst>
          </p:nvPr>
        </p:nvGrpSpPr>
        <p:grpSpPr bwMode="auto">
          <a:xfrm>
            <a:off x="4644274" y="4125645"/>
            <a:ext cx="1212850" cy="930275"/>
            <a:chOff x="300" y="872"/>
            <a:chExt cx="1847" cy="1037"/>
          </a:xfrm>
        </p:grpSpPr>
        <p:sp>
          <p:nvSpPr>
            <p:cNvPr id="72" name="Text Box 10"/>
            <p:cNvSpPr txBox="1">
              <a:spLocks noChangeArrowheads="1"/>
            </p:cNvSpPr>
            <p:nvPr/>
          </p:nvSpPr>
          <p:spPr bwMode="auto">
            <a:xfrm>
              <a:off x="300" y="872"/>
              <a:ext cx="1847" cy="255"/>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74" name="Rectangle 73"/>
            <p:cNvSpPr>
              <a:spLocks noChangeArrowheads="1"/>
            </p:cNvSpPr>
            <p:nvPr/>
          </p:nvSpPr>
          <p:spPr bwMode="auto">
            <a:xfrm>
              <a:off x="300" y="1127"/>
              <a:ext cx="1847" cy="782"/>
            </a:xfrm>
            <a:prstGeom prst="rect">
              <a:avLst/>
            </a:prstGeom>
            <a:noFill/>
            <a:ln w="12700" algn="ctr">
              <a:solidFill>
                <a:schemeClr val="accent3"/>
              </a:solidFill>
              <a:miter lim="800000"/>
              <a:headEnd/>
              <a:tailEnd/>
            </a:ln>
          </p:spPr>
          <p:txBody>
            <a:bodyPr lIns="40118" tIns="40118" rIns="40118" bIns="40118" anchor="ctr"/>
            <a:lstStyle/>
            <a:p>
              <a:pPr marL="359623" indent="-359623" defTabSz="957998">
                <a:spcBef>
                  <a:spcPts val="400"/>
                </a:spcBef>
                <a:spcAft>
                  <a:spcPts val="0"/>
                </a:spcAft>
                <a:defRPr/>
              </a:pPr>
              <a:r>
                <a:rPr lang="nl-NL" sz="1200" b="0" dirty="0" smtClean="0">
                  <a:solidFill>
                    <a:srgbClr val="002776"/>
                  </a:solidFill>
                  <a:latin typeface="Arial"/>
                </a:rPr>
                <a:t>Line 1</a:t>
              </a:r>
            </a:p>
            <a:p>
              <a:pPr marL="359623" indent="-359623" defTabSz="957998">
                <a:spcBef>
                  <a:spcPts val="400"/>
                </a:spcBef>
                <a:spcAft>
                  <a:spcPts val="0"/>
                </a:spcAft>
                <a:defRPr/>
              </a:pPr>
              <a:r>
                <a:rPr lang="nl-NL" sz="1200" b="0" dirty="0" smtClean="0">
                  <a:solidFill>
                    <a:srgbClr val="002776"/>
                  </a:solidFill>
                  <a:latin typeface="Arial"/>
                </a:rPr>
                <a:t>Line 2</a:t>
              </a:r>
              <a:endParaRPr lang="nl-NL" sz="1200" b="0" dirty="0">
                <a:solidFill>
                  <a:srgbClr val="002776"/>
                </a:solidFill>
                <a:latin typeface="Arial"/>
              </a:endParaRPr>
            </a:p>
          </p:txBody>
        </p:sp>
      </p:grpSp>
      <p:grpSp>
        <p:nvGrpSpPr>
          <p:cNvPr id="16" name="Group 12"/>
          <p:cNvGrpSpPr>
            <a:grpSpLocks/>
          </p:cNvGrpSpPr>
          <p:nvPr>
            <p:custDataLst>
              <p:tags r:id="rId20"/>
            </p:custDataLst>
          </p:nvPr>
        </p:nvGrpSpPr>
        <p:grpSpPr bwMode="auto">
          <a:xfrm>
            <a:off x="6166238" y="4125645"/>
            <a:ext cx="1212850" cy="930275"/>
            <a:chOff x="300" y="872"/>
            <a:chExt cx="1847" cy="1037"/>
          </a:xfrm>
        </p:grpSpPr>
        <p:sp>
          <p:nvSpPr>
            <p:cNvPr id="77" name="Text Box 10"/>
            <p:cNvSpPr txBox="1">
              <a:spLocks noChangeArrowheads="1"/>
            </p:cNvSpPr>
            <p:nvPr/>
          </p:nvSpPr>
          <p:spPr bwMode="auto">
            <a:xfrm>
              <a:off x="300" y="872"/>
              <a:ext cx="1847" cy="255"/>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78" name="Rectangle 77"/>
            <p:cNvSpPr>
              <a:spLocks noChangeArrowheads="1"/>
            </p:cNvSpPr>
            <p:nvPr/>
          </p:nvSpPr>
          <p:spPr bwMode="auto">
            <a:xfrm>
              <a:off x="300" y="1127"/>
              <a:ext cx="1847" cy="782"/>
            </a:xfrm>
            <a:prstGeom prst="rect">
              <a:avLst/>
            </a:prstGeom>
            <a:noFill/>
            <a:ln w="12700" algn="ctr">
              <a:solidFill>
                <a:schemeClr val="accent3"/>
              </a:solidFill>
              <a:miter lim="800000"/>
              <a:headEnd/>
              <a:tailEnd/>
            </a:ln>
          </p:spPr>
          <p:txBody>
            <a:bodyPr lIns="40118" tIns="40118" rIns="40118" bIns="40118" anchor="ctr"/>
            <a:lstStyle/>
            <a:p>
              <a:pPr marL="359623" indent="-359623" defTabSz="957998">
                <a:spcBef>
                  <a:spcPts val="400"/>
                </a:spcBef>
                <a:spcAft>
                  <a:spcPts val="0"/>
                </a:spcAft>
                <a:defRPr/>
              </a:pPr>
              <a:r>
                <a:rPr lang="nl-NL" sz="1200" b="0" dirty="0" smtClean="0">
                  <a:solidFill>
                    <a:srgbClr val="002776"/>
                  </a:solidFill>
                  <a:latin typeface="Arial"/>
                </a:rPr>
                <a:t>Line 1</a:t>
              </a:r>
            </a:p>
            <a:p>
              <a:pPr marL="359623" indent="-359623" defTabSz="957998">
                <a:spcBef>
                  <a:spcPts val="400"/>
                </a:spcBef>
                <a:spcAft>
                  <a:spcPts val="0"/>
                </a:spcAft>
                <a:defRPr/>
              </a:pPr>
              <a:r>
                <a:rPr lang="nl-NL" sz="1200" b="0" dirty="0" smtClean="0">
                  <a:solidFill>
                    <a:srgbClr val="002776"/>
                  </a:solidFill>
                  <a:latin typeface="Arial"/>
                </a:rPr>
                <a:t>Line 2</a:t>
              </a:r>
              <a:endParaRPr lang="nl-NL" sz="1200" b="0" dirty="0">
                <a:solidFill>
                  <a:srgbClr val="002776"/>
                </a:solidFill>
                <a:latin typeface="Arial"/>
              </a:endParaRPr>
            </a:p>
          </p:txBody>
        </p:sp>
      </p:grpSp>
      <p:grpSp>
        <p:nvGrpSpPr>
          <p:cNvPr id="17" name="Group 12"/>
          <p:cNvGrpSpPr>
            <a:grpSpLocks/>
          </p:cNvGrpSpPr>
          <p:nvPr>
            <p:custDataLst>
              <p:tags r:id="rId21"/>
            </p:custDataLst>
          </p:nvPr>
        </p:nvGrpSpPr>
        <p:grpSpPr bwMode="auto">
          <a:xfrm>
            <a:off x="7543437" y="4125645"/>
            <a:ext cx="1212850" cy="930275"/>
            <a:chOff x="300" y="872"/>
            <a:chExt cx="1847" cy="1037"/>
          </a:xfrm>
        </p:grpSpPr>
        <p:sp>
          <p:nvSpPr>
            <p:cNvPr id="80" name="Text Box 10"/>
            <p:cNvSpPr txBox="1">
              <a:spLocks noChangeArrowheads="1"/>
            </p:cNvSpPr>
            <p:nvPr/>
          </p:nvSpPr>
          <p:spPr bwMode="auto">
            <a:xfrm>
              <a:off x="300" y="872"/>
              <a:ext cx="1847" cy="255"/>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81" name="Rectangle 80"/>
            <p:cNvSpPr>
              <a:spLocks noChangeArrowheads="1"/>
            </p:cNvSpPr>
            <p:nvPr/>
          </p:nvSpPr>
          <p:spPr bwMode="auto">
            <a:xfrm>
              <a:off x="300" y="1127"/>
              <a:ext cx="1847" cy="782"/>
            </a:xfrm>
            <a:prstGeom prst="rect">
              <a:avLst/>
            </a:prstGeom>
            <a:noFill/>
            <a:ln w="12700" algn="ctr">
              <a:solidFill>
                <a:schemeClr val="accent3"/>
              </a:solidFill>
              <a:miter lim="800000"/>
              <a:headEnd/>
              <a:tailEnd/>
            </a:ln>
          </p:spPr>
          <p:txBody>
            <a:bodyPr lIns="40118" tIns="40118" rIns="40118" bIns="40118" anchor="ctr"/>
            <a:lstStyle/>
            <a:p>
              <a:pPr marL="359623" indent="-359623" defTabSz="957998">
                <a:spcBef>
                  <a:spcPts val="400"/>
                </a:spcBef>
                <a:spcAft>
                  <a:spcPts val="0"/>
                </a:spcAft>
                <a:defRPr/>
              </a:pPr>
              <a:r>
                <a:rPr lang="nl-NL" sz="1200" b="0" dirty="0" smtClean="0">
                  <a:solidFill>
                    <a:srgbClr val="002776"/>
                  </a:solidFill>
                  <a:latin typeface="Arial"/>
                </a:rPr>
                <a:t>Line 1</a:t>
              </a:r>
            </a:p>
            <a:p>
              <a:pPr marL="359623" indent="-359623" defTabSz="957998">
                <a:spcBef>
                  <a:spcPts val="400"/>
                </a:spcBef>
                <a:spcAft>
                  <a:spcPts val="0"/>
                </a:spcAft>
                <a:defRPr/>
              </a:pPr>
              <a:r>
                <a:rPr lang="nl-NL" sz="1200" b="0" dirty="0" smtClean="0">
                  <a:solidFill>
                    <a:srgbClr val="002776"/>
                  </a:solidFill>
                  <a:latin typeface="Arial"/>
                </a:rPr>
                <a:t>Line 2</a:t>
              </a:r>
              <a:endParaRPr lang="nl-NL" sz="1200" b="0" dirty="0">
                <a:solidFill>
                  <a:srgbClr val="002776"/>
                </a:solidFill>
                <a:latin typeface="Arial"/>
              </a:endParaRPr>
            </a:p>
          </p:txBody>
        </p:sp>
      </p:gr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9" name="Elbow Connector 128"/>
          <p:cNvCxnSpPr/>
          <p:nvPr>
            <p:custDataLst>
              <p:tags r:id="rId2"/>
            </p:custDataLst>
          </p:nvPr>
        </p:nvCxnSpPr>
        <p:spPr>
          <a:xfrm rot="5400000">
            <a:off x="2338470" y="1163767"/>
            <a:ext cx="796925" cy="3177381"/>
          </a:xfrm>
          <a:prstGeom prst="bentConnector3">
            <a:avLst>
              <a:gd name="adj1" fmla="val 76684"/>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 name="Group 12"/>
          <p:cNvGrpSpPr>
            <a:grpSpLocks/>
          </p:cNvGrpSpPr>
          <p:nvPr>
            <p:custDataLst>
              <p:tags r:id="rId3"/>
            </p:custDataLst>
          </p:nvPr>
        </p:nvGrpSpPr>
        <p:grpSpPr bwMode="auto">
          <a:xfrm>
            <a:off x="2127728" y="2363520"/>
            <a:ext cx="1333500" cy="447675"/>
            <a:chOff x="300" y="872"/>
            <a:chExt cx="1847" cy="499"/>
          </a:xfrm>
        </p:grpSpPr>
        <p:sp>
          <p:nvSpPr>
            <p:cNvPr id="243800" name="Text Box 10"/>
            <p:cNvSpPr txBox="1">
              <a:spLocks noChangeArrowheads="1"/>
            </p:cNvSpPr>
            <p:nvPr/>
          </p:nvSpPr>
          <p:spPr bwMode="auto">
            <a:xfrm>
              <a:off x="300" y="872"/>
              <a:ext cx="1847" cy="255"/>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09" name="Rectangle 108"/>
            <p:cNvSpPr>
              <a:spLocks noChangeArrowheads="1"/>
            </p:cNvSpPr>
            <p:nvPr/>
          </p:nvSpPr>
          <p:spPr bwMode="auto">
            <a:xfrm>
              <a:off x="300" y="1127"/>
              <a:ext cx="1847" cy="244"/>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3" name="Group 12"/>
          <p:cNvGrpSpPr>
            <a:grpSpLocks/>
          </p:cNvGrpSpPr>
          <p:nvPr>
            <p:custDataLst>
              <p:tags r:id="rId4"/>
            </p:custDataLst>
          </p:nvPr>
        </p:nvGrpSpPr>
        <p:grpSpPr bwMode="auto">
          <a:xfrm>
            <a:off x="5317016" y="2363520"/>
            <a:ext cx="1333500" cy="447675"/>
            <a:chOff x="300" y="872"/>
            <a:chExt cx="1847" cy="499"/>
          </a:xfrm>
        </p:grpSpPr>
        <p:sp>
          <p:nvSpPr>
            <p:cNvPr id="243798" name="Text Box 10"/>
            <p:cNvSpPr txBox="1">
              <a:spLocks noChangeArrowheads="1"/>
            </p:cNvSpPr>
            <p:nvPr/>
          </p:nvSpPr>
          <p:spPr bwMode="auto">
            <a:xfrm>
              <a:off x="300" y="872"/>
              <a:ext cx="1847" cy="255"/>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13" name="Rectangle 112"/>
            <p:cNvSpPr>
              <a:spLocks noChangeArrowheads="1"/>
            </p:cNvSpPr>
            <p:nvPr/>
          </p:nvSpPr>
          <p:spPr bwMode="auto">
            <a:xfrm>
              <a:off x="300" y="1127"/>
              <a:ext cx="1847" cy="244"/>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sp>
        <p:nvSpPr>
          <p:cNvPr id="243796" name="Text Box 10"/>
          <p:cNvSpPr txBox="1">
            <a:spLocks noChangeArrowheads="1"/>
          </p:cNvSpPr>
          <p:nvPr/>
        </p:nvSpPr>
        <p:spPr bwMode="auto">
          <a:xfrm>
            <a:off x="413228" y="3150920"/>
            <a:ext cx="1470025" cy="228849"/>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97" name="Rectangle 96"/>
          <p:cNvSpPr>
            <a:spLocks noChangeArrowheads="1"/>
          </p:cNvSpPr>
          <p:nvPr/>
        </p:nvSpPr>
        <p:spPr bwMode="auto">
          <a:xfrm>
            <a:off x="413228" y="3383193"/>
            <a:ext cx="1470025" cy="523377"/>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sp>
        <p:nvSpPr>
          <p:cNvPr id="243788" name="Text Box 10"/>
          <p:cNvSpPr txBox="1">
            <a:spLocks noChangeArrowheads="1"/>
          </p:cNvSpPr>
          <p:nvPr/>
        </p:nvSpPr>
        <p:spPr bwMode="auto">
          <a:xfrm>
            <a:off x="3589816" y="1598345"/>
            <a:ext cx="1471612" cy="228849"/>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93" name="Rectangle 92"/>
          <p:cNvSpPr>
            <a:spLocks noChangeArrowheads="1"/>
          </p:cNvSpPr>
          <p:nvPr/>
        </p:nvSpPr>
        <p:spPr bwMode="auto">
          <a:xfrm>
            <a:off x="3589816" y="1827193"/>
            <a:ext cx="1471612" cy="526801"/>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sp>
        <p:nvSpPr>
          <p:cNvPr id="243726" name="Title 1"/>
          <p:cNvSpPr>
            <a:spLocks noGrp="1"/>
          </p:cNvSpPr>
          <p:nvPr>
            <p:ph type="title"/>
            <p:custDataLst>
              <p:tags r:id="rId5"/>
            </p:custDataLst>
          </p:nvPr>
        </p:nvSpPr>
        <p:spPr>
          <a:xfrm>
            <a:off x="414338" y="446038"/>
            <a:ext cx="8330184" cy="333425"/>
          </a:xfrm>
        </p:spPr>
        <p:txBody>
          <a:bodyPr/>
          <a:lstStyle/>
          <a:p>
            <a:r>
              <a:rPr lang="nl-NL" dirty="0"/>
              <a:t>Organization chart </a:t>
            </a:r>
            <a:r>
              <a:rPr lang="en-US" dirty="0"/>
              <a:t>—</a:t>
            </a:r>
            <a:r>
              <a:rPr lang="nl-NL" dirty="0" smtClean="0"/>
              <a:t> </a:t>
            </a:r>
            <a:r>
              <a:rPr lang="nl-NL" dirty="0"/>
              <a:t>extensive</a:t>
            </a:r>
          </a:p>
        </p:txBody>
      </p:sp>
      <p:cxnSp>
        <p:nvCxnSpPr>
          <p:cNvPr id="16" name="AutoShape 16"/>
          <p:cNvCxnSpPr>
            <a:cxnSpLocks noChangeShapeType="1"/>
          </p:cNvCxnSpPr>
          <p:nvPr>
            <p:custDataLst>
              <p:tags r:id="rId6"/>
            </p:custDataLst>
          </p:nvPr>
        </p:nvCxnSpPr>
        <p:spPr bwMode="auto">
          <a:xfrm rot="16200000" flipH="1">
            <a:off x="4660229" y="2019388"/>
            <a:ext cx="322180" cy="991394"/>
          </a:xfrm>
          <a:prstGeom prst="bentConnector2">
            <a:avLst/>
          </a:prstGeom>
          <a:noFill/>
          <a:ln w="12700">
            <a:solidFill>
              <a:schemeClr val="accent1"/>
            </a:solidFill>
            <a:miter lim="800000"/>
            <a:headEnd type="none" w="sm" len="sm"/>
            <a:tailEnd type="none" w="med" len="lg"/>
          </a:ln>
        </p:spPr>
      </p:cxnSp>
      <p:cxnSp>
        <p:nvCxnSpPr>
          <p:cNvPr id="17" name="AutoShape 17"/>
          <p:cNvCxnSpPr>
            <a:cxnSpLocks noChangeShapeType="1"/>
          </p:cNvCxnSpPr>
          <p:nvPr>
            <p:custDataLst>
              <p:tags r:id="rId7"/>
            </p:custDataLst>
          </p:nvPr>
        </p:nvCxnSpPr>
        <p:spPr bwMode="auto">
          <a:xfrm rot="5400000">
            <a:off x="824432" y="4027179"/>
            <a:ext cx="444418" cy="203200"/>
          </a:xfrm>
          <a:prstGeom prst="bentConnector4">
            <a:avLst>
              <a:gd name="adj1" fmla="val 18062"/>
              <a:gd name="adj2" fmla="val 212500"/>
            </a:avLst>
          </a:prstGeom>
          <a:noFill/>
          <a:ln w="12700">
            <a:solidFill>
              <a:schemeClr val="accent1"/>
            </a:solidFill>
            <a:miter lim="800000"/>
            <a:headEnd type="none" w="sm" len="sm"/>
            <a:tailEnd type="none" w="med" len="lg"/>
          </a:ln>
        </p:spPr>
      </p:cxnSp>
      <p:cxnSp>
        <p:nvCxnSpPr>
          <p:cNvPr id="18" name="AutoShape 18"/>
          <p:cNvCxnSpPr>
            <a:cxnSpLocks noChangeShapeType="1"/>
          </p:cNvCxnSpPr>
          <p:nvPr>
            <p:custDataLst>
              <p:tags r:id="rId8"/>
            </p:custDataLst>
          </p:nvPr>
        </p:nvCxnSpPr>
        <p:spPr bwMode="auto">
          <a:xfrm rot="10800000" flipV="1">
            <a:off x="945041" y="4359614"/>
            <a:ext cx="1588" cy="582612"/>
          </a:xfrm>
          <a:prstGeom prst="bentConnector3">
            <a:avLst>
              <a:gd name="adj1" fmla="val 14395466"/>
            </a:avLst>
          </a:prstGeom>
          <a:noFill/>
          <a:ln w="12700">
            <a:solidFill>
              <a:schemeClr val="accent1"/>
            </a:solidFill>
            <a:miter lim="800000"/>
            <a:headEnd type="none" w="sm" len="sm"/>
            <a:tailEnd type="none" w="med" len="lg"/>
          </a:ln>
        </p:spPr>
      </p:cxnSp>
      <p:cxnSp>
        <p:nvCxnSpPr>
          <p:cNvPr id="19" name="AutoShape 19"/>
          <p:cNvCxnSpPr>
            <a:cxnSpLocks noChangeShapeType="1"/>
          </p:cNvCxnSpPr>
          <p:nvPr>
            <p:custDataLst>
              <p:tags r:id="rId9"/>
            </p:custDataLst>
          </p:nvPr>
        </p:nvCxnSpPr>
        <p:spPr bwMode="auto">
          <a:xfrm rot="10800000" flipV="1">
            <a:off x="945041" y="4942564"/>
            <a:ext cx="1588" cy="581025"/>
          </a:xfrm>
          <a:prstGeom prst="bentConnector3">
            <a:avLst>
              <a:gd name="adj1" fmla="val 14395466"/>
            </a:avLst>
          </a:prstGeom>
          <a:noFill/>
          <a:ln w="12700">
            <a:solidFill>
              <a:schemeClr val="accent1"/>
            </a:solidFill>
            <a:miter lim="800000"/>
            <a:headEnd type="none" w="sm" len="sm"/>
            <a:tailEnd type="none" w="med" len="lg"/>
          </a:ln>
        </p:spPr>
      </p:cxnSp>
      <p:cxnSp>
        <p:nvCxnSpPr>
          <p:cNvPr id="20" name="AutoShape 20"/>
          <p:cNvCxnSpPr>
            <a:cxnSpLocks noChangeShapeType="1"/>
          </p:cNvCxnSpPr>
          <p:nvPr>
            <p:custDataLst>
              <p:tags r:id="rId10"/>
            </p:custDataLst>
          </p:nvPr>
        </p:nvCxnSpPr>
        <p:spPr bwMode="auto">
          <a:xfrm rot="10800000" flipV="1">
            <a:off x="945041" y="5523589"/>
            <a:ext cx="1588" cy="582613"/>
          </a:xfrm>
          <a:prstGeom prst="bentConnector3">
            <a:avLst>
              <a:gd name="adj1" fmla="val 14395466"/>
            </a:avLst>
          </a:prstGeom>
          <a:noFill/>
          <a:ln w="12700">
            <a:solidFill>
              <a:schemeClr val="accent1"/>
            </a:solidFill>
            <a:miter lim="800000"/>
            <a:headEnd type="none" w="sm" len="sm"/>
            <a:tailEnd type="none" w="med" len="lg"/>
          </a:ln>
        </p:spPr>
      </p:cxnSp>
      <p:cxnSp>
        <p:nvCxnSpPr>
          <p:cNvPr id="243733" name="AutoShape 48"/>
          <p:cNvCxnSpPr>
            <a:cxnSpLocks noChangeShapeType="1"/>
          </p:cNvCxnSpPr>
          <p:nvPr>
            <p:custDataLst>
              <p:tags r:id="rId11"/>
            </p:custDataLst>
          </p:nvPr>
        </p:nvCxnSpPr>
        <p:spPr bwMode="auto">
          <a:xfrm>
            <a:off x="4332766" y="2363520"/>
            <a:ext cx="0" cy="0"/>
          </a:xfrm>
          <a:prstGeom prst="straightConnector1">
            <a:avLst/>
          </a:prstGeom>
          <a:noFill/>
          <a:ln w="12700">
            <a:solidFill>
              <a:schemeClr val="accent1"/>
            </a:solidFill>
            <a:round/>
            <a:headEnd/>
            <a:tailEnd/>
          </a:ln>
        </p:spPr>
      </p:cxnSp>
      <p:cxnSp>
        <p:nvCxnSpPr>
          <p:cNvPr id="126" name="Elbow Connector 125"/>
          <p:cNvCxnSpPr/>
          <p:nvPr>
            <p:custDataLst>
              <p:tags r:id="rId12"/>
            </p:custDataLst>
          </p:nvPr>
        </p:nvCxnSpPr>
        <p:spPr>
          <a:xfrm flipV="1">
            <a:off x="3461228" y="2353995"/>
            <a:ext cx="864394" cy="322180"/>
          </a:xfrm>
          <a:prstGeom prst="bentConnector2">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2" name="Elbow Connector 131"/>
          <p:cNvCxnSpPr/>
          <p:nvPr>
            <p:custDataLst>
              <p:tags r:id="rId13"/>
            </p:custDataLst>
          </p:nvPr>
        </p:nvCxnSpPr>
        <p:spPr>
          <a:xfrm rot="5400000">
            <a:off x="3406857" y="2232154"/>
            <a:ext cx="796925" cy="1040606"/>
          </a:xfrm>
          <a:prstGeom prst="bentConnector3">
            <a:avLst>
              <a:gd name="adj1" fmla="val 76684"/>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5" name="Elbow Connector 134"/>
          <p:cNvCxnSpPr/>
          <p:nvPr>
            <p:custDataLst>
              <p:tags r:id="rId14"/>
            </p:custDataLst>
          </p:nvPr>
        </p:nvCxnSpPr>
        <p:spPr>
          <a:xfrm rot="16200000" flipH="1">
            <a:off x="4482785" y="2196832"/>
            <a:ext cx="796925" cy="1111250"/>
          </a:xfrm>
          <a:prstGeom prst="bentConnector3">
            <a:avLst>
              <a:gd name="adj1" fmla="val 76684"/>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8" name="Elbow Connector 137"/>
          <p:cNvCxnSpPr/>
          <p:nvPr>
            <p:custDataLst>
              <p:tags r:id="rId15"/>
            </p:custDataLst>
          </p:nvPr>
        </p:nvCxnSpPr>
        <p:spPr>
          <a:xfrm rot="16200000" flipH="1">
            <a:off x="5556332" y="1123285"/>
            <a:ext cx="796925" cy="3258344"/>
          </a:xfrm>
          <a:prstGeom prst="bentConnector3">
            <a:avLst>
              <a:gd name="adj1" fmla="val 76684"/>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243714" name="Rectangle 2" hidden="1"/>
          <p:cNvGraphicFramePr>
            <a:graphicFrameLocks/>
          </p:cNvGraphicFramePr>
          <p:nvPr>
            <p:custDataLst>
              <p:tags r:id="rId16"/>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67267" name="think-cell Slide" r:id="rId50" imgW="0" imgH="0" progId="">
                  <p:embed/>
                </p:oleObj>
              </mc:Choice>
              <mc:Fallback>
                <p:oleObj name="think-cell Slide" r:id="rId50"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260" name="AutoShape 17"/>
          <p:cNvCxnSpPr>
            <a:cxnSpLocks noChangeShapeType="1"/>
          </p:cNvCxnSpPr>
          <p:nvPr>
            <p:custDataLst>
              <p:tags r:id="rId17"/>
            </p:custDataLst>
          </p:nvPr>
        </p:nvCxnSpPr>
        <p:spPr bwMode="auto">
          <a:xfrm rot="5400000">
            <a:off x="2966707" y="4032679"/>
            <a:ext cx="444418" cy="192201"/>
          </a:xfrm>
          <a:prstGeom prst="bentConnector4">
            <a:avLst>
              <a:gd name="adj1" fmla="val 18062"/>
              <a:gd name="adj2" fmla="val 218938"/>
            </a:avLst>
          </a:prstGeom>
          <a:noFill/>
          <a:ln w="12700">
            <a:solidFill>
              <a:schemeClr val="accent1"/>
            </a:solidFill>
            <a:miter lim="800000"/>
            <a:headEnd type="none" w="sm" len="sm"/>
            <a:tailEnd type="none" w="med" len="lg"/>
          </a:ln>
        </p:spPr>
      </p:cxnSp>
      <p:cxnSp>
        <p:nvCxnSpPr>
          <p:cNvPr id="261" name="AutoShape 18"/>
          <p:cNvCxnSpPr>
            <a:cxnSpLocks noChangeShapeType="1"/>
          </p:cNvCxnSpPr>
          <p:nvPr>
            <p:custDataLst>
              <p:tags r:id="rId18"/>
            </p:custDataLst>
          </p:nvPr>
        </p:nvCxnSpPr>
        <p:spPr bwMode="auto">
          <a:xfrm rot="10800000" flipV="1">
            <a:off x="3092815" y="4359953"/>
            <a:ext cx="1588" cy="582612"/>
          </a:xfrm>
          <a:prstGeom prst="bentConnector3">
            <a:avLst>
              <a:gd name="adj1" fmla="val 14395466"/>
            </a:avLst>
          </a:prstGeom>
          <a:noFill/>
          <a:ln w="12700">
            <a:solidFill>
              <a:schemeClr val="accent1"/>
            </a:solidFill>
            <a:miter lim="800000"/>
            <a:headEnd type="none" w="sm" len="sm"/>
            <a:tailEnd type="none" w="med" len="lg"/>
          </a:ln>
        </p:spPr>
      </p:cxnSp>
      <p:cxnSp>
        <p:nvCxnSpPr>
          <p:cNvPr id="262" name="AutoShape 19"/>
          <p:cNvCxnSpPr>
            <a:cxnSpLocks noChangeShapeType="1"/>
          </p:cNvCxnSpPr>
          <p:nvPr>
            <p:custDataLst>
              <p:tags r:id="rId19"/>
            </p:custDataLst>
          </p:nvPr>
        </p:nvCxnSpPr>
        <p:spPr bwMode="auto">
          <a:xfrm rot="10800000" flipV="1">
            <a:off x="3092815" y="4942564"/>
            <a:ext cx="1588" cy="581025"/>
          </a:xfrm>
          <a:prstGeom prst="bentConnector3">
            <a:avLst>
              <a:gd name="adj1" fmla="val 14395466"/>
            </a:avLst>
          </a:prstGeom>
          <a:noFill/>
          <a:ln w="12700">
            <a:solidFill>
              <a:schemeClr val="accent1"/>
            </a:solidFill>
            <a:miter lim="800000"/>
            <a:headEnd type="none" w="sm" len="sm"/>
            <a:tailEnd type="none" w="med" len="lg"/>
          </a:ln>
        </p:spPr>
      </p:cxnSp>
      <p:cxnSp>
        <p:nvCxnSpPr>
          <p:cNvPr id="263" name="AutoShape 20"/>
          <p:cNvCxnSpPr>
            <a:cxnSpLocks noChangeShapeType="1"/>
          </p:cNvCxnSpPr>
          <p:nvPr>
            <p:custDataLst>
              <p:tags r:id="rId20"/>
            </p:custDataLst>
          </p:nvPr>
        </p:nvCxnSpPr>
        <p:spPr bwMode="auto">
          <a:xfrm rot="10800000" flipV="1">
            <a:off x="3092815" y="5523589"/>
            <a:ext cx="1588" cy="582613"/>
          </a:xfrm>
          <a:prstGeom prst="bentConnector3">
            <a:avLst>
              <a:gd name="adj1" fmla="val 14395466"/>
            </a:avLst>
          </a:prstGeom>
          <a:noFill/>
          <a:ln w="12700">
            <a:solidFill>
              <a:schemeClr val="accent1"/>
            </a:solidFill>
            <a:miter lim="800000"/>
            <a:headEnd type="none" w="sm" len="sm"/>
            <a:tailEnd type="none" w="med" len="lg"/>
          </a:ln>
        </p:spPr>
      </p:cxnSp>
      <p:cxnSp>
        <p:nvCxnSpPr>
          <p:cNvPr id="276" name="AutoShape 17"/>
          <p:cNvCxnSpPr>
            <a:cxnSpLocks noChangeShapeType="1"/>
          </p:cNvCxnSpPr>
          <p:nvPr>
            <p:custDataLst>
              <p:tags r:id="rId21"/>
            </p:custDataLst>
          </p:nvPr>
        </p:nvCxnSpPr>
        <p:spPr bwMode="auto">
          <a:xfrm rot="5400000">
            <a:off x="5121840" y="4035956"/>
            <a:ext cx="444418" cy="185646"/>
          </a:xfrm>
          <a:prstGeom prst="bentConnector4">
            <a:avLst>
              <a:gd name="adj1" fmla="val 18062"/>
              <a:gd name="adj2" fmla="val 223138"/>
            </a:avLst>
          </a:prstGeom>
          <a:noFill/>
          <a:ln w="12700">
            <a:solidFill>
              <a:schemeClr val="accent1"/>
            </a:solidFill>
            <a:miter lim="800000"/>
            <a:headEnd type="none" w="sm" len="sm"/>
            <a:tailEnd type="none" w="med" len="lg"/>
          </a:ln>
        </p:spPr>
      </p:cxnSp>
      <p:cxnSp>
        <p:nvCxnSpPr>
          <p:cNvPr id="277" name="AutoShape 18"/>
          <p:cNvCxnSpPr>
            <a:cxnSpLocks noChangeShapeType="1"/>
          </p:cNvCxnSpPr>
          <p:nvPr>
            <p:custDataLst>
              <p:tags r:id="rId22"/>
            </p:custDataLst>
          </p:nvPr>
        </p:nvCxnSpPr>
        <p:spPr bwMode="auto">
          <a:xfrm rot="10800000" flipV="1">
            <a:off x="5251226" y="4359953"/>
            <a:ext cx="1588" cy="582612"/>
          </a:xfrm>
          <a:prstGeom prst="bentConnector3">
            <a:avLst>
              <a:gd name="adj1" fmla="val 14395466"/>
            </a:avLst>
          </a:prstGeom>
          <a:noFill/>
          <a:ln w="12700">
            <a:solidFill>
              <a:schemeClr val="accent1"/>
            </a:solidFill>
            <a:miter lim="800000"/>
            <a:headEnd type="none" w="sm" len="sm"/>
            <a:tailEnd type="none" w="med" len="lg"/>
          </a:ln>
        </p:spPr>
      </p:cxnSp>
      <p:cxnSp>
        <p:nvCxnSpPr>
          <p:cNvPr id="278" name="AutoShape 19"/>
          <p:cNvCxnSpPr>
            <a:cxnSpLocks noChangeShapeType="1"/>
          </p:cNvCxnSpPr>
          <p:nvPr>
            <p:custDataLst>
              <p:tags r:id="rId23"/>
            </p:custDataLst>
          </p:nvPr>
        </p:nvCxnSpPr>
        <p:spPr bwMode="auto">
          <a:xfrm rot="10800000" flipV="1">
            <a:off x="5251226" y="4942564"/>
            <a:ext cx="1588" cy="581025"/>
          </a:xfrm>
          <a:prstGeom prst="bentConnector3">
            <a:avLst>
              <a:gd name="adj1" fmla="val 14395466"/>
            </a:avLst>
          </a:prstGeom>
          <a:noFill/>
          <a:ln w="12700">
            <a:solidFill>
              <a:schemeClr val="accent1"/>
            </a:solidFill>
            <a:miter lim="800000"/>
            <a:headEnd type="none" w="sm" len="sm"/>
            <a:tailEnd type="none" w="med" len="lg"/>
          </a:ln>
        </p:spPr>
      </p:cxnSp>
      <p:cxnSp>
        <p:nvCxnSpPr>
          <p:cNvPr id="279" name="AutoShape 20"/>
          <p:cNvCxnSpPr>
            <a:cxnSpLocks noChangeShapeType="1"/>
          </p:cNvCxnSpPr>
          <p:nvPr>
            <p:custDataLst>
              <p:tags r:id="rId24"/>
            </p:custDataLst>
          </p:nvPr>
        </p:nvCxnSpPr>
        <p:spPr bwMode="auto">
          <a:xfrm rot="10800000" flipV="1">
            <a:off x="5251226" y="5523589"/>
            <a:ext cx="1588" cy="582613"/>
          </a:xfrm>
          <a:prstGeom prst="bentConnector3">
            <a:avLst>
              <a:gd name="adj1" fmla="val 14395466"/>
            </a:avLst>
          </a:prstGeom>
          <a:noFill/>
          <a:ln w="12700">
            <a:solidFill>
              <a:schemeClr val="accent1"/>
            </a:solidFill>
            <a:miter lim="800000"/>
            <a:headEnd type="none" w="sm" len="sm"/>
            <a:tailEnd type="none" w="med" len="lg"/>
          </a:ln>
        </p:spPr>
      </p:cxnSp>
      <p:cxnSp>
        <p:nvCxnSpPr>
          <p:cNvPr id="292" name="AutoShape 17"/>
          <p:cNvCxnSpPr>
            <a:cxnSpLocks noChangeShapeType="1"/>
          </p:cNvCxnSpPr>
          <p:nvPr>
            <p:custDataLst>
              <p:tags r:id="rId25"/>
            </p:custDataLst>
          </p:nvPr>
        </p:nvCxnSpPr>
        <p:spPr bwMode="auto">
          <a:xfrm rot="5400000">
            <a:off x="7258421" y="4025443"/>
            <a:ext cx="444418" cy="206673"/>
          </a:xfrm>
          <a:prstGeom prst="bentConnector4">
            <a:avLst>
              <a:gd name="adj1" fmla="val 18061"/>
              <a:gd name="adj2" fmla="val 210610"/>
            </a:avLst>
          </a:prstGeom>
          <a:noFill/>
          <a:ln w="12700">
            <a:solidFill>
              <a:schemeClr val="accent1"/>
            </a:solidFill>
            <a:miter lim="800000"/>
            <a:headEnd type="none" w="sm" len="sm"/>
            <a:tailEnd type="none" w="med" len="lg"/>
          </a:ln>
        </p:spPr>
      </p:cxnSp>
      <p:cxnSp>
        <p:nvCxnSpPr>
          <p:cNvPr id="293" name="AutoShape 18"/>
          <p:cNvCxnSpPr>
            <a:cxnSpLocks noChangeShapeType="1"/>
          </p:cNvCxnSpPr>
          <p:nvPr>
            <p:custDataLst>
              <p:tags r:id="rId26"/>
            </p:custDataLst>
          </p:nvPr>
        </p:nvCxnSpPr>
        <p:spPr bwMode="auto">
          <a:xfrm rot="10800000" flipV="1">
            <a:off x="7377293" y="4359953"/>
            <a:ext cx="1588" cy="582612"/>
          </a:xfrm>
          <a:prstGeom prst="bentConnector3">
            <a:avLst>
              <a:gd name="adj1" fmla="val 14395466"/>
            </a:avLst>
          </a:prstGeom>
          <a:noFill/>
          <a:ln w="12700">
            <a:solidFill>
              <a:schemeClr val="accent1"/>
            </a:solidFill>
            <a:miter lim="800000"/>
            <a:headEnd type="none" w="sm" len="sm"/>
            <a:tailEnd type="none" w="med" len="lg"/>
          </a:ln>
        </p:spPr>
      </p:cxnSp>
      <p:cxnSp>
        <p:nvCxnSpPr>
          <p:cNvPr id="294" name="AutoShape 19"/>
          <p:cNvCxnSpPr>
            <a:cxnSpLocks noChangeShapeType="1"/>
          </p:cNvCxnSpPr>
          <p:nvPr>
            <p:custDataLst>
              <p:tags r:id="rId27"/>
            </p:custDataLst>
          </p:nvPr>
        </p:nvCxnSpPr>
        <p:spPr bwMode="auto">
          <a:xfrm rot="10800000" flipV="1">
            <a:off x="7377293" y="4942564"/>
            <a:ext cx="1588" cy="581025"/>
          </a:xfrm>
          <a:prstGeom prst="bentConnector3">
            <a:avLst>
              <a:gd name="adj1" fmla="val 14395466"/>
            </a:avLst>
          </a:prstGeom>
          <a:noFill/>
          <a:ln w="12700">
            <a:solidFill>
              <a:schemeClr val="accent1"/>
            </a:solidFill>
            <a:miter lim="800000"/>
            <a:headEnd type="none" w="sm" len="sm"/>
            <a:tailEnd type="none" w="med" len="lg"/>
          </a:ln>
        </p:spPr>
      </p:cxnSp>
      <p:cxnSp>
        <p:nvCxnSpPr>
          <p:cNvPr id="295" name="AutoShape 20"/>
          <p:cNvCxnSpPr>
            <a:cxnSpLocks noChangeShapeType="1"/>
          </p:cNvCxnSpPr>
          <p:nvPr>
            <p:custDataLst>
              <p:tags r:id="rId28"/>
            </p:custDataLst>
          </p:nvPr>
        </p:nvCxnSpPr>
        <p:spPr bwMode="auto">
          <a:xfrm rot="10800000" flipV="1">
            <a:off x="7377293" y="5523589"/>
            <a:ext cx="1588" cy="582613"/>
          </a:xfrm>
          <a:prstGeom prst="bentConnector3">
            <a:avLst>
              <a:gd name="adj1" fmla="val 14395466"/>
            </a:avLst>
          </a:prstGeom>
          <a:noFill/>
          <a:ln w="12700">
            <a:solidFill>
              <a:schemeClr val="accent1"/>
            </a:solidFill>
            <a:miter lim="800000"/>
            <a:headEnd type="none" w="sm" len="sm"/>
            <a:tailEnd type="none" w="med" len="lg"/>
          </a:ln>
        </p:spPr>
      </p:cxnSp>
      <p:sp>
        <p:nvSpPr>
          <p:cNvPr id="101" name="Text Placeholder 12"/>
          <p:cNvSpPr>
            <a:spLocks/>
          </p:cNvSpPr>
          <p:nvPr>
            <p:custDataLst>
              <p:tags r:id="rId29"/>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02" name="Text Placeholder 36"/>
          <p:cNvSpPr txBox="1">
            <a:spLocks/>
          </p:cNvSpPr>
          <p:nvPr/>
        </p:nvSpPr>
        <p:spPr bwMode="gray">
          <a:xfrm>
            <a:off x="411479" y="6409189"/>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grpSp>
        <p:nvGrpSpPr>
          <p:cNvPr id="4" name="Group 12"/>
          <p:cNvGrpSpPr>
            <a:grpSpLocks/>
          </p:cNvGrpSpPr>
          <p:nvPr>
            <p:custDataLst>
              <p:tags r:id="rId30"/>
            </p:custDataLst>
          </p:nvPr>
        </p:nvGrpSpPr>
        <p:grpSpPr bwMode="auto">
          <a:xfrm>
            <a:off x="2550004" y="3154344"/>
            <a:ext cx="1470025" cy="755650"/>
            <a:chOff x="300" y="872"/>
            <a:chExt cx="1847" cy="842"/>
          </a:xfrm>
        </p:grpSpPr>
        <p:sp>
          <p:nvSpPr>
            <p:cNvPr id="99" name="Text Box 10"/>
            <p:cNvSpPr txBox="1">
              <a:spLocks noChangeArrowheads="1"/>
            </p:cNvSpPr>
            <p:nvPr/>
          </p:nvSpPr>
          <p:spPr bwMode="auto">
            <a:xfrm>
              <a:off x="300" y="872"/>
              <a:ext cx="1847" cy="255"/>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04" name="Rectangle 103"/>
            <p:cNvSpPr>
              <a:spLocks noChangeArrowheads="1"/>
            </p:cNvSpPr>
            <p:nvPr/>
          </p:nvSpPr>
          <p:spPr bwMode="auto">
            <a:xfrm>
              <a:off x="300" y="1127"/>
              <a:ext cx="1847" cy="587"/>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5" name="Group 12"/>
          <p:cNvGrpSpPr>
            <a:grpSpLocks/>
          </p:cNvGrpSpPr>
          <p:nvPr>
            <p:custDataLst>
              <p:tags r:id="rId31"/>
            </p:custDataLst>
          </p:nvPr>
        </p:nvGrpSpPr>
        <p:grpSpPr bwMode="auto">
          <a:xfrm>
            <a:off x="4701860" y="3154344"/>
            <a:ext cx="1470025" cy="755650"/>
            <a:chOff x="300" y="872"/>
            <a:chExt cx="1847" cy="842"/>
          </a:xfrm>
        </p:grpSpPr>
        <p:sp>
          <p:nvSpPr>
            <p:cNvPr id="107" name="Text Box 10"/>
            <p:cNvSpPr txBox="1">
              <a:spLocks noChangeArrowheads="1"/>
            </p:cNvSpPr>
            <p:nvPr/>
          </p:nvSpPr>
          <p:spPr bwMode="auto">
            <a:xfrm>
              <a:off x="300" y="872"/>
              <a:ext cx="1847" cy="255"/>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08" name="Rectangle 107"/>
            <p:cNvSpPr>
              <a:spLocks noChangeArrowheads="1"/>
            </p:cNvSpPr>
            <p:nvPr/>
          </p:nvSpPr>
          <p:spPr bwMode="auto">
            <a:xfrm>
              <a:off x="300" y="1127"/>
              <a:ext cx="1847" cy="587"/>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6" name="Group 12"/>
          <p:cNvGrpSpPr>
            <a:grpSpLocks/>
          </p:cNvGrpSpPr>
          <p:nvPr>
            <p:custDataLst>
              <p:tags r:id="rId32"/>
            </p:custDataLst>
          </p:nvPr>
        </p:nvGrpSpPr>
        <p:grpSpPr bwMode="auto">
          <a:xfrm>
            <a:off x="6848954" y="3154344"/>
            <a:ext cx="1470025" cy="755650"/>
            <a:chOff x="300" y="872"/>
            <a:chExt cx="1847" cy="842"/>
          </a:xfrm>
        </p:grpSpPr>
        <p:sp>
          <p:nvSpPr>
            <p:cNvPr id="111" name="Text Box 10"/>
            <p:cNvSpPr txBox="1">
              <a:spLocks noChangeArrowheads="1"/>
            </p:cNvSpPr>
            <p:nvPr/>
          </p:nvSpPr>
          <p:spPr bwMode="auto">
            <a:xfrm>
              <a:off x="300" y="872"/>
              <a:ext cx="1847" cy="255"/>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12" name="Rectangle 111"/>
            <p:cNvSpPr>
              <a:spLocks noChangeArrowheads="1"/>
            </p:cNvSpPr>
            <p:nvPr/>
          </p:nvSpPr>
          <p:spPr bwMode="auto">
            <a:xfrm>
              <a:off x="300" y="1127"/>
              <a:ext cx="1847" cy="587"/>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7" name="Group 12"/>
          <p:cNvGrpSpPr>
            <a:grpSpLocks/>
          </p:cNvGrpSpPr>
          <p:nvPr>
            <p:custDataLst>
              <p:tags r:id="rId33"/>
            </p:custDataLst>
          </p:nvPr>
        </p:nvGrpSpPr>
        <p:grpSpPr bwMode="auto">
          <a:xfrm>
            <a:off x="946629" y="4127150"/>
            <a:ext cx="1333500" cy="447675"/>
            <a:chOff x="300" y="872"/>
            <a:chExt cx="1847" cy="499"/>
          </a:xfrm>
        </p:grpSpPr>
        <p:sp>
          <p:nvSpPr>
            <p:cNvPr id="118" name="Text Box 10"/>
            <p:cNvSpPr txBox="1">
              <a:spLocks noChangeArrowheads="1"/>
            </p:cNvSpPr>
            <p:nvPr/>
          </p:nvSpPr>
          <p:spPr bwMode="auto">
            <a:xfrm>
              <a:off x="300" y="872"/>
              <a:ext cx="1847" cy="255"/>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19" name="Rectangle 118"/>
            <p:cNvSpPr>
              <a:spLocks noChangeArrowheads="1"/>
            </p:cNvSpPr>
            <p:nvPr/>
          </p:nvSpPr>
          <p:spPr bwMode="auto">
            <a:xfrm>
              <a:off x="300" y="1127"/>
              <a:ext cx="1847" cy="244"/>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8" name="Group 12"/>
          <p:cNvGrpSpPr>
            <a:grpSpLocks/>
          </p:cNvGrpSpPr>
          <p:nvPr>
            <p:custDataLst>
              <p:tags r:id="rId34"/>
            </p:custDataLst>
          </p:nvPr>
        </p:nvGrpSpPr>
        <p:grpSpPr bwMode="auto">
          <a:xfrm>
            <a:off x="945040" y="4709761"/>
            <a:ext cx="1333500" cy="447675"/>
            <a:chOff x="300" y="872"/>
            <a:chExt cx="1847" cy="499"/>
          </a:xfrm>
        </p:grpSpPr>
        <p:sp>
          <p:nvSpPr>
            <p:cNvPr id="121" name="Text Box 10"/>
            <p:cNvSpPr txBox="1">
              <a:spLocks noChangeArrowheads="1"/>
            </p:cNvSpPr>
            <p:nvPr/>
          </p:nvSpPr>
          <p:spPr bwMode="auto">
            <a:xfrm>
              <a:off x="300" y="872"/>
              <a:ext cx="1847" cy="255"/>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22" name="Rectangle 121"/>
            <p:cNvSpPr>
              <a:spLocks noChangeArrowheads="1"/>
            </p:cNvSpPr>
            <p:nvPr/>
          </p:nvSpPr>
          <p:spPr bwMode="auto">
            <a:xfrm>
              <a:off x="300" y="1127"/>
              <a:ext cx="1847" cy="244"/>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9" name="Group 12"/>
          <p:cNvGrpSpPr>
            <a:grpSpLocks/>
          </p:cNvGrpSpPr>
          <p:nvPr>
            <p:custDataLst>
              <p:tags r:id="rId35"/>
            </p:custDataLst>
          </p:nvPr>
        </p:nvGrpSpPr>
        <p:grpSpPr bwMode="auto">
          <a:xfrm>
            <a:off x="946629" y="5290786"/>
            <a:ext cx="1333500" cy="447675"/>
            <a:chOff x="300" y="872"/>
            <a:chExt cx="1847" cy="499"/>
          </a:xfrm>
        </p:grpSpPr>
        <p:sp>
          <p:nvSpPr>
            <p:cNvPr id="124" name="Text Box 10"/>
            <p:cNvSpPr txBox="1">
              <a:spLocks noChangeArrowheads="1"/>
            </p:cNvSpPr>
            <p:nvPr/>
          </p:nvSpPr>
          <p:spPr bwMode="auto">
            <a:xfrm>
              <a:off x="300" y="872"/>
              <a:ext cx="1847" cy="255"/>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25" name="Rectangle 124"/>
            <p:cNvSpPr>
              <a:spLocks noChangeArrowheads="1"/>
            </p:cNvSpPr>
            <p:nvPr/>
          </p:nvSpPr>
          <p:spPr bwMode="auto">
            <a:xfrm>
              <a:off x="300" y="1127"/>
              <a:ext cx="1847" cy="244"/>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10" name="Group 12"/>
          <p:cNvGrpSpPr>
            <a:grpSpLocks/>
          </p:cNvGrpSpPr>
          <p:nvPr>
            <p:custDataLst>
              <p:tags r:id="rId36"/>
            </p:custDataLst>
          </p:nvPr>
        </p:nvGrpSpPr>
        <p:grpSpPr bwMode="auto">
          <a:xfrm>
            <a:off x="946629" y="5873399"/>
            <a:ext cx="1333500" cy="447675"/>
            <a:chOff x="300" y="872"/>
            <a:chExt cx="1847" cy="499"/>
          </a:xfrm>
        </p:grpSpPr>
        <p:sp>
          <p:nvSpPr>
            <p:cNvPr id="128" name="Text Box 10"/>
            <p:cNvSpPr txBox="1">
              <a:spLocks noChangeArrowheads="1"/>
            </p:cNvSpPr>
            <p:nvPr/>
          </p:nvSpPr>
          <p:spPr bwMode="auto">
            <a:xfrm>
              <a:off x="300" y="872"/>
              <a:ext cx="1847" cy="255"/>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30" name="Rectangle 129"/>
            <p:cNvSpPr>
              <a:spLocks noChangeArrowheads="1"/>
            </p:cNvSpPr>
            <p:nvPr/>
          </p:nvSpPr>
          <p:spPr bwMode="auto">
            <a:xfrm>
              <a:off x="300" y="1127"/>
              <a:ext cx="1847" cy="244"/>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11" name="Group 12"/>
          <p:cNvGrpSpPr>
            <a:grpSpLocks/>
          </p:cNvGrpSpPr>
          <p:nvPr>
            <p:custDataLst>
              <p:tags r:id="rId37"/>
            </p:custDataLst>
          </p:nvPr>
        </p:nvGrpSpPr>
        <p:grpSpPr bwMode="auto">
          <a:xfrm>
            <a:off x="3095993" y="4127151"/>
            <a:ext cx="1333500" cy="447675"/>
            <a:chOff x="300" y="872"/>
            <a:chExt cx="1847" cy="499"/>
          </a:xfrm>
        </p:grpSpPr>
        <p:sp>
          <p:nvSpPr>
            <p:cNvPr id="133" name="Text Box 10"/>
            <p:cNvSpPr txBox="1">
              <a:spLocks noChangeArrowheads="1"/>
            </p:cNvSpPr>
            <p:nvPr/>
          </p:nvSpPr>
          <p:spPr bwMode="auto">
            <a:xfrm>
              <a:off x="300" y="872"/>
              <a:ext cx="1847" cy="255"/>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34" name="Rectangle 133"/>
            <p:cNvSpPr>
              <a:spLocks noChangeArrowheads="1"/>
            </p:cNvSpPr>
            <p:nvPr/>
          </p:nvSpPr>
          <p:spPr bwMode="auto">
            <a:xfrm>
              <a:off x="300" y="1127"/>
              <a:ext cx="1847" cy="244"/>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12" name="Group 12"/>
          <p:cNvGrpSpPr>
            <a:grpSpLocks/>
          </p:cNvGrpSpPr>
          <p:nvPr>
            <p:custDataLst>
              <p:tags r:id="rId38"/>
            </p:custDataLst>
          </p:nvPr>
        </p:nvGrpSpPr>
        <p:grpSpPr bwMode="auto">
          <a:xfrm>
            <a:off x="3094404" y="4709762"/>
            <a:ext cx="1333500" cy="447675"/>
            <a:chOff x="300" y="872"/>
            <a:chExt cx="1847" cy="499"/>
          </a:xfrm>
        </p:grpSpPr>
        <p:sp>
          <p:nvSpPr>
            <p:cNvPr id="137" name="Text Box 10"/>
            <p:cNvSpPr txBox="1">
              <a:spLocks noChangeArrowheads="1"/>
            </p:cNvSpPr>
            <p:nvPr/>
          </p:nvSpPr>
          <p:spPr bwMode="auto">
            <a:xfrm>
              <a:off x="300" y="872"/>
              <a:ext cx="1847" cy="255"/>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39" name="Rectangle 138"/>
            <p:cNvSpPr>
              <a:spLocks noChangeArrowheads="1"/>
            </p:cNvSpPr>
            <p:nvPr/>
          </p:nvSpPr>
          <p:spPr bwMode="auto">
            <a:xfrm>
              <a:off x="300" y="1127"/>
              <a:ext cx="1847" cy="244"/>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13" name="Group 12"/>
          <p:cNvGrpSpPr>
            <a:grpSpLocks/>
          </p:cNvGrpSpPr>
          <p:nvPr>
            <p:custDataLst>
              <p:tags r:id="rId39"/>
            </p:custDataLst>
          </p:nvPr>
        </p:nvGrpSpPr>
        <p:grpSpPr bwMode="auto">
          <a:xfrm>
            <a:off x="3095993" y="5290787"/>
            <a:ext cx="1333500" cy="447675"/>
            <a:chOff x="300" y="872"/>
            <a:chExt cx="1847" cy="499"/>
          </a:xfrm>
        </p:grpSpPr>
        <p:sp>
          <p:nvSpPr>
            <p:cNvPr id="141" name="Text Box 10"/>
            <p:cNvSpPr txBox="1">
              <a:spLocks noChangeArrowheads="1"/>
            </p:cNvSpPr>
            <p:nvPr/>
          </p:nvSpPr>
          <p:spPr bwMode="auto">
            <a:xfrm>
              <a:off x="300" y="872"/>
              <a:ext cx="1847" cy="255"/>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42" name="Rectangle 141"/>
            <p:cNvSpPr>
              <a:spLocks noChangeArrowheads="1"/>
            </p:cNvSpPr>
            <p:nvPr/>
          </p:nvSpPr>
          <p:spPr bwMode="auto">
            <a:xfrm>
              <a:off x="300" y="1127"/>
              <a:ext cx="1847" cy="244"/>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14" name="Group 12"/>
          <p:cNvGrpSpPr>
            <a:grpSpLocks/>
          </p:cNvGrpSpPr>
          <p:nvPr>
            <p:custDataLst>
              <p:tags r:id="rId40"/>
            </p:custDataLst>
          </p:nvPr>
        </p:nvGrpSpPr>
        <p:grpSpPr bwMode="auto">
          <a:xfrm>
            <a:off x="3095993" y="5873400"/>
            <a:ext cx="1333500" cy="447675"/>
            <a:chOff x="300" y="872"/>
            <a:chExt cx="1847" cy="499"/>
          </a:xfrm>
        </p:grpSpPr>
        <p:sp>
          <p:nvSpPr>
            <p:cNvPr id="144" name="Text Box 10"/>
            <p:cNvSpPr txBox="1">
              <a:spLocks noChangeArrowheads="1"/>
            </p:cNvSpPr>
            <p:nvPr/>
          </p:nvSpPr>
          <p:spPr bwMode="auto">
            <a:xfrm>
              <a:off x="300" y="872"/>
              <a:ext cx="1847" cy="255"/>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45" name="Rectangle 144"/>
            <p:cNvSpPr>
              <a:spLocks noChangeArrowheads="1"/>
            </p:cNvSpPr>
            <p:nvPr/>
          </p:nvSpPr>
          <p:spPr bwMode="auto">
            <a:xfrm>
              <a:off x="300" y="1127"/>
              <a:ext cx="1847" cy="244"/>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15" name="Group 12"/>
          <p:cNvGrpSpPr>
            <a:grpSpLocks/>
          </p:cNvGrpSpPr>
          <p:nvPr>
            <p:custDataLst>
              <p:tags r:id="rId41"/>
            </p:custDataLst>
          </p:nvPr>
        </p:nvGrpSpPr>
        <p:grpSpPr bwMode="auto">
          <a:xfrm>
            <a:off x="5254403" y="4127150"/>
            <a:ext cx="1333500" cy="447675"/>
            <a:chOff x="300" y="872"/>
            <a:chExt cx="1847" cy="499"/>
          </a:xfrm>
        </p:grpSpPr>
        <p:sp>
          <p:nvSpPr>
            <p:cNvPr id="163" name="Text Box 10"/>
            <p:cNvSpPr txBox="1">
              <a:spLocks noChangeArrowheads="1"/>
            </p:cNvSpPr>
            <p:nvPr/>
          </p:nvSpPr>
          <p:spPr bwMode="auto">
            <a:xfrm>
              <a:off x="300" y="872"/>
              <a:ext cx="1847" cy="255"/>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64" name="Rectangle 163"/>
            <p:cNvSpPr>
              <a:spLocks noChangeArrowheads="1"/>
            </p:cNvSpPr>
            <p:nvPr/>
          </p:nvSpPr>
          <p:spPr bwMode="auto">
            <a:xfrm>
              <a:off x="300" y="1127"/>
              <a:ext cx="1847" cy="244"/>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21" name="Group 12"/>
          <p:cNvGrpSpPr>
            <a:grpSpLocks/>
          </p:cNvGrpSpPr>
          <p:nvPr>
            <p:custDataLst>
              <p:tags r:id="rId42"/>
            </p:custDataLst>
          </p:nvPr>
        </p:nvGrpSpPr>
        <p:grpSpPr bwMode="auto">
          <a:xfrm>
            <a:off x="5252814" y="4709761"/>
            <a:ext cx="1333500" cy="447675"/>
            <a:chOff x="300" y="872"/>
            <a:chExt cx="1847" cy="499"/>
          </a:xfrm>
        </p:grpSpPr>
        <p:sp>
          <p:nvSpPr>
            <p:cNvPr id="166" name="Text Box 10"/>
            <p:cNvSpPr txBox="1">
              <a:spLocks noChangeArrowheads="1"/>
            </p:cNvSpPr>
            <p:nvPr/>
          </p:nvSpPr>
          <p:spPr bwMode="auto">
            <a:xfrm>
              <a:off x="300" y="872"/>
              <a:ext cx="1847" cy="255"/>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67" name="Rectangle 166"/>
            <p:cNvSpPr>
              <a:spLocks noChangeArrowheads="1"/>
            </p:cNvSpPr>
            <p:nvPr/>
          </p:nvSpPr>
          <p:spPr bwMode="auto">
            <a:xfrm>
              <a:off x="300" y="1127"/>
              <a:ext cx="1847" cy="244"/>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22" name="Group 12"/>
          <p:cNvGrpSpPr>
            <a:grpSpLocks/>
          </p:cNvGrpSpPr>
          <p:nvPr>
            <p:custDataLst>
              <p:tags r:id="rId43"/>
            </p:custDataLst>
          </p:nvPr>
        </p:nvGrpSpPr>
        <p:grpSpPr bwMode="auto">
          <a:xfrm>
            <a:off x="5254403" y="5290786"/>
            <a:ext cx="1333500" cy="447675"/>
            <a:chOff x="300" y="872"/>
            <a:chExt cx="1847" cy="499"/>
          </a:xfrm>
        </p:grpSpPr>
        <p:sp>
          <p:nvSpPr>
            <p:cNvPr id="169" name="Text Box 10"/>
            <p:cNvSpPr txBox="1">
              <a:spLocks noChangeArrowheads="1"/>
            </p:cNvSpPr>
            <p:nvPr/>
          </p:nvSpPr>
          <p:spPr bwMode="auto">
            <a:xfrm>
              <a:off x="300" y="872"/>
              <a:ext cx="1847" cy="255"/>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70" name="Rectangle 169"/>
            <p:cNvSpPr>
              <a:spLocks noChangeArrowheads="1"/>
            </p:cNvSpPr>
            <p:nvPr/>
          </p:nvSpPr>
          <p:spPr bwMode="auto">
            <a:xfrm>
              <a:off x="300" y="1127"/>
              <a:ext cx="1847" cy="244"/>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23" name="Group 12"/>
          <p:cNvGrpSpPr>
            <a:grpSpLocks/>
          </p:cNvGrpSpPr>
          <p:nvPr>
            <p:custDataLst>
              <p:tags r:id="rId44"/>
            </p:custDataLst>
          </p:nvPr>
        </p:nvGrpSpPr>
        <p:grpSpPr bwMode="auto">
          <a:xfrm>
            <a:off x="5254403" y="5873399"/>
            <a:ext cx="1333500" cy="447675"/>
            <a:chOff x="300" y="872"/>
            <a:chExt cx="1847" cy="499"/>
          </a:xfrm>
        </p:grpSpPr>
        <p:sp>
          <p:nvSpPr>
            <p:cNvPr id="172" name="Text Box 10"/>
            <p:cNvSpPr txBox="1">
              <a:spLocks noChangeArrowheads="1"/>
            </p:cNvSpPr>
            <p:nvPr/>
          </p:nvSpPr>
          <p:spPr bwMode="auto">
            <a:xfrm>
              <a:off x="300" y="872"/>
              <a:ext cx="1847" cy="255"/>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73" name="Rectangle 172"/>
            <p:cNvSpPr>
              <a:spLocks noChangeArrowheads="1"/>
            </p:cNvSpPr>
            <p:nvPr/>
          </p:nvSpPr>
          <p:spPr bwMode="auto">
            <a:xfrm>
              <a:off x="300" y="1127"/>
              <a:ext cx="1847" cy="244"/>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24" name="Group 12"/>
          <p:cNvGrpSpPr>
            <a:grpSpLocks/>
          </p:cNvGrpSpPr>
          <p:nvPr>
            <p:custDataLst>
              <p:tags r:id="rId45"/>
            </p:custDataLst>
          </p:nvPr>
        </p:nvGrpSpPr>
        <p:grpSpPr bwMode="auto">
          <a:xfrm>
            <a:off x="7377292" y="4127150"/>
            <a:ext cx="1333500" cy="447675"/>
            <a:chOff x="300" y="872"/>
            <a:chExt cx="1847" cy="499"/>
          </a:xfrm>
        </p:grpSpPr>
        <p:sp>
          <p:nvSpPr>
            <p:cNvPr id="175" name="Text Box 10"/>
            <p:cNvSpPr txBox="1">
              <a:spLocks noChangeArrowheads="1"/>
            </p:cNvSpPr>
            <p:nvPr/>
          </p:nvSpPr>
          <p:spPr bwMode="auto">
            <a:xfrm>
              <a:off x="300" y="872"/>
              <a:ext cx="1847" cy="255"/>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76" name="Rectangle 175"/>
            <p:cNvSpPr>
              <a:spLocks noChangeArrowheads="1"/>
            </p:cNvSpPr>
            <p:nvPr/>
          </p:nvSpPr>
          <p:spPr bwMode="auto">
            <a:xfrm>
              <a:off x="300" y="1127"/>
              <a:ext cx="1847" cy="244"/>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25" name="Group 12"/>
          <p:cNvGrpSpPr>
            <a:grpSpLocks/>
          </p:cNvGrpSpPr>
          <p:nvPr>
            <p:custDataLst>
              <p:tags r:id="rId46"/>
            </p:custDataLst>
          </p:nvPr>
        </p:nvGrpSpPr>
        <p:grpSpPr bwMode="auto">
          <a:xfrm>
            <a:off x="7375703" y="4709761"/>
            <a:ext cx="1333500" cy="447675"/>
            <a:chOff x="300" y="872"/>
            <a:chExt cx="1847" cy="499"/>
          </a:xfrm>
        </p:grpSpPr>
        <p:sp>
          <p:nvSpPr>
            <p:cNvPr id="178" name="Text Box 10"/>
            <p:cNvSpPr txBox="1">
              <a:spLocks noChangeArrowheads="1"/>
            </p:cNvSpPr>
            <p:nvPr/>
          </p:nvSpPr>
          <p:spPr bwMode="auto">
            <a:xfrm>
              <a:off x="300" y="872"/>
              <a:ext cx="1847" cy="255"/>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79" name="Rectangle 178"/>
            <p:cNvSpPr>
              <a:spLocks noChangeArrowheads="1"/>
            </p:cNvSpPr>
            <p:nvPr/>
          </p:nvSpPr>
          <p:spPr bwMode="auto">
            <a:xfrm>
              <a:off x="300" y="1127"/>
              <a:ext cx="1847" cy="244"/>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26" name="Group 12"/>
          <p:cNvGrpSpPr>
            <a:grpSpLocks/>
          </p:cNvGrpSpPr>
          <p:nvPr>
            <p:custDataLst>
              <p:tags r:id="rId47"/>
            </p:custDataLst>
          </p:nvPr>
        </p:nvGrpSpPr>
        <p:grpSpPr bwMode="auto">
          <a:xfrm>
            <a:off x="7377292" y="5290786"/>
            <a:ext cx="1333500" cy="447675"/>
            <a:chOff x="300" y="872"/>
            <a:chExt cx="1847" cy="499"/>
          </a:xfrm>
        </p:grpSpPr>
        <p:sp>
          <p:nvSpPr>
            <p:cNvPr id="181" name="Text Box 10"/>
            <p:cNvSpPr txBox="1">
              <a:spLocks noChangeArrowheads="1"/>
            </p:cNvSpPr>
            <p:nvPr/>
          </p:nvSpPr>
          <p:spPr bwMode="auto">
            <a:xfrm>
              <a:off x="300" y="872"/>
              <a:ext cx="1847" cy="255"/>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82" name="Rectangle 181"/>
            <p:cNvSpPr>
              <a:spLocks noChangeArrowheads="1"/>
            </p:cNvSpPr>
            <p:nvPr/>
          </p:nvSpPr>
          <p:spPr bwMode="auto">
            <a:xfrm>
              <a:off x="300" y="1127"/>
              <a:ext cx="1847" cy="244"/>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grpSp>
        <p:nvGrpSpPr>
          <p:cNvPr id="27" name="Group 12"/>
          <p:cNvGrpSpPr>
            <a:grpSpLocks/>
          </p:cNvGrpSpPr>
          <p:nvPr>
            <p:custDataLst>
              <p:tags r:id="rId48"/>
            </p:custDataLst>
          </p:nvPr>
        </p:nvGrpSpPr>
        <p:grpSpPr bwMode="auto">
          <a:xfrm>
            <a:off x="7377292" y="5873399"/>
            <a:ext cx="1333500" cy="447675"/>
            <a:chOff x="300" y="872"/>
            <a:chExt cx="1847" cy="499"/>
          </a:xfrm>
        </p:grpSpPr>
        <p:sp>
          <p:nvSpPr>
            <p:cNvPr id="184" name="Text Box 10"/>
            <p:cNvSpPr txBox="1">
              <a:spLocks noChangeArrowheads="1"/>
            </p:cNvSpPr>
            <p:nvPr/>
          </p:nvSpPr>
          <p:spPr bwMode="auto">
            <a:xfrm>
              <a:off x="300" y="872"/>
              <a:ext cx="1847" cy="255"/>
            </a:xfrm>
            <a:prstGeom prst="rect">
              <a:avLst/>
            </a:prstGeom>
            <a:solidFill>
              <a:srgbClr val="00A1DE"/>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Label</a:t>
              </a:r>
            </a:p>
          </p:txBody>
        </p:sp>
        <p:sp>
          <p:nvSpPr>
            <p:cNvPr id="185" name="Rectangle 184"/>
            <p:cNvSpPr>
              <a:spLocks noChangeArrowheads="1"/>
            </p:cNvSpPr>
            <p:nvPr/>
          </p:nvSpPr>
          <p:spPr bwMode="auto">
            <a:xfrm>
              <a:off x="300" y="1127"/>
              <a:ext cx="1847" cy="244"/>
            </a:xfrm>
            <a:prstGeom prst="rect">
              <a:avLst/>
            </a:prstGeom>
            <a:noFill/>
            <a:ln w="12700" algn="ctr">
              <a:solidFill>
                <a:schemeClr val="accent3"/>
              </a:solidFill>
              <a:miter lim="800000"/>
              <a:headEnd/>
              <a:tailEnd/>
            </a:ln>
          </p:spPr>
          <p:txBody>
            <a:bodyPr lIns="40118" tIns="40118" rIns="40118" bIns="40118" anchor="ctr"/>
            <a:lstStyle/>
            <a:p>
              <a:pPr marL="359623" indent="-359623" algn="ctr" defTabSz="957998">
                <a:lnSpc>
                  <a:spcPct val="106000"/>
                </a:lnSpc>
                <a:spcBef>
                  <a:spcPts val="1344"/>
                </a:spcBef>
                <a:spcAft>
                  <a:spcPts val="0"/>
                </a:spcAft>
                <a:defRPr/>
              </a:pPr>
              <a:r>
                <a:rPr lang="nl-NL" sz="1200" b="0" dirty="0">
                  <a:solidFill>
                    <a:srgbClr val="002776"/>
                  </a:solidFill>
                  <a:latin typeface="Arial"/>
                  <a:cs typeface="+mn-cs"/>
                </a:rPr>
                <a:t>Text</a:t>
              </a:r>
            </a:p>
          </p:txBody>
        </p:sp>
      </p:gr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5667" name="Text Box 3"/>
          <p:cNvSpPr txBox="1">
            <a:spLocks noChangeArrowheads="1"/>
          </p:cNvSpPr>
          <p:nvPr/>
        </p:nvSpPr>
        <p:spPr bwMode="auto">
          <a:xfrm>
            <a:off x="1095375" y="5143946"/>
            <a:ext cx="6892925" cy="244475"/>
          </a:xfrm>
          <a:prstGeom prst="rect">
            <a:avLst/>
          </a:prstGeom>
          <a:noFill/>
          <a:ln w="12700">
            <a:noFill/>
            <a:miter lim="800000"/>
            <a:headEnd/>
            <a:tailEnd/>
          </a:ln>
        </p:spPr>
        <p:txBody>
          <a:bodyPr lIns="45720" rIns="45720"/>
          <a:lstStyle/>
          <a:p>
            <a:pPr algn="ctr">
              <a:lnSpc>
                <a:spcPct val="95000"/>
              </a:lnSpc>
            </a:pPr>
            <a:r>
              <a:rPr lang="en-GB" sz="1400" dirty="0">
                <a:solidFill>
                  <a:schemeClr val="tx2"/>
                </a:solidFill>
                <a:ea typeface="ＭＳ Ｐゴシック" charset="-128"/>
              </a:rPr>
              <a:t>Text</a:t>
            </a:r>
          </a:p>
        </p:txBody>
      </p:sp>
      <p:sp>
        <p:nvSpPr>
          <p:cNvPr id="5" name="AutoShape 4"/>
          <p:cNvSpPr>
            <a:spLocks noChangeArrowheads="1"/>
          </p:cNvSpPr>
          <p:nvPr/>
        </p:nvSpPr>
        <p:spPr bwMode="auto">
          <a:xfrm rot="5400000">
            <a:off x="4410075" y="4796968"/>
            <a:ext cx="265113" cy="315913"/>
          </a:xfrm>
          <a:prstGeom prst="rightArrow">
            <a:avLst>
              <a:gd name="adj1" fmla="val 49630"/>
              <a:gd name="adj2" fmla="val 50616"/>
            </a:avLst>
          </a:prstGeom>
          <a:solidFill>
            <a:schemeClr val="accent3"/>
          </a:solidFill>
          <a:ln w="12700">
            <a:noFill/>
            <a:miter lim="800000"/>
            <a:headEnd/>
            <a:tailEnd/>
          </a:ln>
        </p:spPr>
        <p:txBody>
          <a:bodyPr rot="10800000" vert="eaVert" wrap="none" anchor="ctr"/>
          <a:lstStyle/>
          <a:p>
            <a:pPr algn="ctr">
              <a:defRPr/>
            </a:pPr>
            <a:endParaRPr lang="en-GB"/>
          </a:p>
        </p:txBody>
      </p:sp>
      <p:sp>
        <p:nvSpPr>
          <p:cNvPr id="6" name="Rectangle 5"/>
          <p:cNvSpPr>
            <a:spLocks noChangeArrowheads="1"/>
          </p:cNvSpPr>
          <p:nvPr/>
        </p:nvSpPr>
        <p:spPr bwMode="auto">
          <a:xfrm>
            <a:off x="3514725" y="1595898"/>
            <a:ext cx="2066925" cy="708025"/>
          </a:xfrm>
          <a:prstGeom prst="rect">
            <a:avLst/>
          </a:prstGeom>
          <a:solidFill>
            <a:schemeClr val="bg1"/>
          </a:solidFill>
          <a:ln w="12700" algn="ctr">
            <a:solidFill>
              <a:schemeClr val="accent3"/>
            </a:solidFill>
            <a:miter lim="800000"/>
            <a:headEnd/>
            <a:tailEnd/>
          </a:ln>
        </p:spPr>
        <p:txBody>
          <a:bodyPr anchor="ctr" anchorCtr="1"/>
          <a:lstStyle/>
          <a:p>
            <a:pPr algn="ctr">
              <a:lnSpc>
                <a:spcPct val="95000"/>
              </a:lnSpc>
              <a:defRPr/>
            </a:pPr>
            <a:r>
              <a:rPr lang="en-GB" sz="1400" b="1" dirty="0">
                <a:solidFill>
                  <a:schemeClr val="tx2"/>
                </a:solidFill>
                <a:ea typeface="ＭＳ Ｐゴシック" pitchFamily="50" charset="-128"/>
              </a:rPr>
              <a:t>Text</a:t>
            </a:r>
          </a:p>
        </p:txBody>
      </p:sp>
      <p:sp>
        <p:nvSpPr>
          <p:cNvPr id="7" name="Rectangle 6"/>
          <p:cNvSpPr>
            <a:spLocks noChangeArrowheads="1"/>
          </p:cNvSpPr>
          <p:nvPr/>
        </p:nvSpPr>
        <p:spPr bwMode="auto">
          <a:xfrm>
            <a:off x="809625" y="3051636"/>
            <a:ext cx="2078038" cy="708025"/>
          </a:xfrm>
          <a:prstGeom prst="rect">
            <a:avLst/>
          </a:prstGeom>
          <a:solidFill>
            <a:schemeClr val="bg1"/>
          </a:solidFill>
          <a:ln w="12700" algn="ctr">
            <a:solidFill>
              <a:schemeClr val="accent3"/>
            </a:solidFill>
            <a:miter lim="800000"/>
            <a:headEnd/>
            <a:tailEnd/>
          </a:ln>
        </p:spPr>
        <p:txBody>
          <a:bodyPr anchor="ctr" anchorCtr="1"/>
          <a:lstStyle/>
          <a:p>
            <a:pPr algn="ctr">
              <a:lnSpc>
                <a:spcPct val="95000"/>
              </a:lnSpc>
              <a:defRPr/>
            </a:pPr>
            <a:r>
              <a:rPr lang="en-GB" sz="1400" b="1">
                <a:solidFill>
                  <a:schemeClr val="tx2"/>
                </a:solidFill>
                <a:ea typeface="ＭＳ Ｐゴシック" pitchFamily="50" charset="-128"/>
              </a:rPr>
              <a:t>Text</a:t>
            </a:r>
          </a:p>
        </p:txBody>
      </p:sp>
      <p:sp>
        <p:nvSpPr>
          <p:cNvPr id="8" name="Rectangle 7"/>
          <p:cNvSpPr>
            <a:spLocks noChangeArrowheads="1"/>
          </p:cNvSpPr>
          <p:nvPr/>
        </p:nvSpPr>
        <p:spPr bwMode="auto">
          <a:xfrm>
            <a:off x="3509963" y="3051636"/>
            <a:ext cx="2078037" cy="708025"/>
          </a:xfrm>
          <a:prstGeom prst="rect">
            <a:avLst/>
          </a:prstGeom>
          <a:solidFill>
            <a:schemeClr val="bg1"/>
          </a:solidFill>
          <a:ln w="12700" algn="ctr">
            <a:solidFill>
              <a:schemeClr val="accent3"/>
            </a:solidFill>
            <a:miter lim="800000"/>
            <a:headEnd/>
            <a:tailEnd/>
          </a:ln>
        </p:spPr>
        <p:txBody>
          <a:bodyPr anchor="ctr" anchorCtr="1"/>
          <a:lstStyle/>
          <a:p>
            <a:pPr algn="ctr">
              <a:lnSpc>
                <a:spcPct val="95000"/>
              </a:lnSpc>
              <a:defRPr/>
            </a:pPr>
            <a:r>
              <a:rPr lang="en-GB" sz="1400" b="1">
                <a:solidFill>
                  <a:schemeClr val="tx2"/>
                </a:solidFill>
                <a:ea typeface="ＭＳ Ｐゴシック" pitchFamily="50" charset="-128"/>
              </a:rPr>
              <a:t>Text</a:t>
            </a:r>
          </a:p>
        </p:txBody>
      </p:sp>
      <p:sp>
        <p:nvSpPr>
          <p:cNvPr id="9" name="Rectangle 8"/>
          <p:cNvSpPr>
            <a:spLocks noChangeArrowheads="1"/>
          </p:cNvSpPr>
          <p:nvPr/>
        </p:nvSpPr>
        <p:spPr bwMode="auto">
          <a:xfrm>
            <a:off x="6208713" y="3051636"/>
            <a:ext cx="2078037" cy="708025"/>
          </a:xfrm>
          <a:prstGeom prst="rect">
            <a:avLst/>
          </a:prstGeom>
          <a:solidFill>
            <a:schemeClr val="bg1"/>
          </a:solidFill>
          <a:ln w="12700" algn="ctr">
            <a:solidFill>
              <a:schemeClr val="accent3"/>
            </a:solidFill>
            <a:miter lim="800000"/>
            <a:headEnd/>
            <a:tailEnd/>
          </a:ln>
        </p:spPr>
        <p:txBody>
          <a:bodyPr anchor="ctr" anchorCtr="1"/>
          <a:lstStyle/>
          <a:p>
            <a:pPr algn="ctr">
              <a:lnSpc>
                <a:spcPct val="95000"/>
              </a:lnSpc>
              <a:defRPr/>
            </a:pPr>
            <a:r>
              <a:rPr lang="en-GB" sz="1400" b="1">
                <a:solidFill>
                  <a:schemeClr val="tx2"/>
                </a:solidFill>
                <a:ea typeface="ＭＳ Ｐゴシック" pitchFamily="50" charset="-128"/>
              </a:rPr>
              <a:t>Text</a:t>
            </a:r>
          </a:p>
        </p:txBody>
      </p:sp>
      <p:cxnSp>
        <p:nvCxnSpPr>
          <p:cNvPr id="10" name="AutoShape 9"/>
          <p:cNvCxnSpPr>
            <a:cxnSpLocks noChangeShapeType="1"/>
            <a:stCxn id="6" idx="2"/>
            <a:endCxn id="7" idx="0"/>
          </p:cNvCxnSpPr>
          <p:nvPr/>
        </p:nvCxnSpPr>
        <p:spPr bwMode="auto">
          <a:xfrm rot="5400000">
            <a:off x="2824956" y="1328405"/>
            <a:ext cx="747713" cy="2698750"/>
          </a:xfrm>
          <a:prstGeom prst="bentConnector3">
            <a:avLst>
              <a:gd name="adj1" fmla="val 50000"/>
            </a:avLst>
          </a:prstGeom>
          <a:noFill/>
          <a:ln w="12700">
            <a:solidFill>
              <a:schemeClr val="accent1"/>
            </a:solidFill>
            <a:miter lim="800000"/>
            <a:headEnd/>
            <a:tailEnd/>
          </a:ln>
        </p:spPr>
      </p:cxnSp>
      <p:cxnSp>
        <p:nvCxnSpPr>
          <p:cNvPr id="11" name="AutoShape 10"/>
          <p:cNvCxnSpPr>
            <a:cxnSpLocks noChangeShapeType="1"/>
            <a:stCxn id="6" idx="2"/>
            <a:endCxn id="9" idx="0"/>
          </p:cNvCxnSpPr>
          <p:nvPr/>
        </p:nvCxnSpPr>
        <p:spPr bwMode="auto">
          <a:xfrm rot="16200000" flipH="1">
            <a:off x="5524500" y="1327611"/>
            <a:ext cx="747713" cy="2700337"/>
          </a:xfrm>
          <a:prstGeom prst="bentConnector3">
            <a:avLst>
              <a:gd name="adj1" fmla="val 50000"/>
            </a:avLst>
          </a:prstGeom>
          <a:noFill/>
          <a:ln w="12700">
            <a:solidFill>
              <a:schemeClr val="accent1"/>
            </a:solidFill>
            <a:miter lim="800000"/>
            <a:headEnd/>
            <a:tailEnd/>
          </a:ln>
        </p:spPr>
      </p:cxnSp>
      <p:cxnSp>
        <p:nvCxnSpPr>
          <p:cNvPr id="17" name="AutoShape 17"/>
          <p:cNvCxnSpPr>
            <a:cxnSpLocks noChangeShapeType="1"/>
            <a:stCxn id="8" idx="0"/>
            <a:endCxn id="6" idx="2"/>
          </p:cNvCxnSpPr>
          <p:nvPr/>
        </p:nvCxnSpPr>
        <p:spPr bwMode="gray">
          <a:xfrm rot="5400000" flipH="1" flipV="1">
            <a:off x="4175126" y="2678573"/>
            <a:ext cx="747712" cy="1587"/>
          </a:xfrm>
          <a:prstGeom prst="straightConnector1">
            <a:avLst/>
          </a:prstGeom>
          <a:noFill/>
          <a:ln w="12700">
            <a:solidFill>
              <a:schemeClr val="accent1"/>
            </a:solidFill>
            <a:round/>
            <a:headEnd/>
            <a:tailEnd/>
          </a:ln>
        </p:spPr>
      </p:cxnSp>
      <p:sp>
        <p:nvSpPr>
          <p:cNvPr id="625676" name="Text Placeholder 31"/>
          <p:cNvSpPr>
            <a:spLocks noGrp="1"/>
          </p:cNvSpPr>
          <p:nvPr>
            <p:ph type="body" sz="quarter" idx="4294967295"/>
          </p:nvPr>
        </p:nvSpPr>
        <p:spPr bwMode="auto">
          <a:xfrm>
            <a:off x="809625" y="3883486"/>
            <a:ext cx="2078038" cy="709938"/>
          </a:xfrm>
          <a:prstGeom prst="rect">
            <a:avLst/>
          </a:prstGeom>
          <a:noFill/>
          <a:ln>
            <a:miter lim="800000"/>
            <a:headEnd/>
            <a:tailEnd/>
          </a:ln>
        </p:spPr>
        <p:txBody>
          <a:bodyPr/>
          <a:lstStyle/>
          <a:p>
            <a:pPr marL="117475" lvl="1" indent="-117475"/>
            <a:r>
              <a:rPr sz="1400">
                <a:solidFill>
                  <a:srgbClr val="002776"/>
                </a:solidFill>
              </a:rPr>
              <a:t>Bullet</a:t>
            </a:r>
          </a:p>
          <a:p>
            <a:pPr marL="227013" lvl="2" indent="-109538">
              <a:spcBef>
                <a:spcPct val="40000"/>
              </a:spcBef>
            </a:pPr>
            <a:r>
              <a:rPr sz="1200">
                <a:solidFill>
                  <a:srgbClr val="002776"/>
                </a:solidFill>
              </a:rPr>
              <a:t>Dash</a:t>
            </a:r>
          </a:p>
          <a:p>
            <a:pPr marL="344488" lvl="3" indent="-117475"/>
            <a:r>
              <a:rPr lang="en-US" sz="1200" dirty="0" err="1" smtClean="0">
                <a:solidFill>
                  <a:srgbClr val="002776"/>
                </a:solidFill>
              </a:rPr>
              <a:t>Subbullet</a:t>
            </a:r>
            <a:endParaRPr sz="1200">
              <a:solidFill>
                <a:srgbClr val="002776"/>
              </a:solidFill>
            </a:endParaRPr>
          </a:p>
        </p:txBody>
      </p:sp>
      <p:sp>
        <p:nvSpPr>
          <p:cNvPr id="625677" name="Text Placeholder 31"/>
          <p:cNvSpPr>
            <a:spLocks noGrp="1"/>
          </p:cNvSpPr>
          <p:nvPr>
            <p:ph type="body" sz="quarter" idx="4294967295"/>
          </p:nvPr>
        </p:nvSpPr>
        <p:spPr bwMode="auto">
          <a:xfrm>
            <a:off x="3509963" y="3883486"/>
            <a:ext cx="2076450" cy="709938"/>
          </a:xfrm>
          <a:prstGeom prst="rect">
            <a:avLst/>
          </a:prstGeom>
          <a:noFill/>
          <a:ln>
            <a:miter lim="800000"/>
            <a:headEnd/>
            <a:tailEnd/>
          </a:ln>
        </p:spPr>
        <p:txBody>
          <a:bodyPr/>
          <a:lstStyle/>
          <a:p>
            <a:pPr marL="117475" lvl="1" indent="-117475"/>
            <a:r>
              <a:rPr lang="en-US" sz="1400" dirty="0">
                <a:solidFill>
                  <a:srgbClr val="002776"/>
                </a:solidFill>
              </a:rPr>
              <a:t>Bullet</a:t>
            </a:r>
          </a:p>
          <a:p>
            <a:pPr marL="227013" lvl="2" indent="-109538">
              <a:spcBef>
                <a:spcPct val="40000"/>
              </a:spcBef>
            </a:pPr>
            <a:r>
              <a:rPr lang="en-US" sz="1200" dirty="0">
                <a:solidFill>
                  <a:srgbClr val="002776"/>
                </a:solidFill>
              </a:rPr>
              <a:t>Dash</a:t>
            </a:r>
          </a:p>
          <a:p>
            <a:pPr marL="344488" lvl="3" indent="-117475"/>
            <a:r>
              <a:rPr lang="en-US" sz="1200" dirty="0" err="1">
                <a:solidFill>
                  <a:srgbClr val="002776"/>
                </a:solidFill>
              </a:rPr>
              <a:t>Subbullet</a:t>
            </a:r>
            <a:endParaRPr lang="en-US" sz="1200" dirty="0">
              <a:solidFill>
                <a:srgbClr val="002776"/>
              </a:solidFill>
            </a:endParaRPr>
          </a:p>
        </p:txBody>
      </p:sp>
      <p:sp>
        <p:nvSpPr>
          <p:cNvPr id="625678" name="Text Placeholder 31"/>
          <p:cNvSpPr>
            <a:spLocks noGrp="1"/>
          </p:cNvSpPr>
          <p:nvPr>
            <p:ph type="body" sz="quarter" idx="4294967295"/>
          </p:nvPr>
        </p:nvSpPr>
        <p:spPr bwMode="auto">
          <a:xfrm>
            <a:off x="6208713" y="3883486"/>
            <a:ext cx="2076450" cy="709938"/>
          </a:xfrm>
          <a:prstGeom prst="rect">
            <a:avLst/>
          </a:prstGeom>
          <a:noFill/>
          <a:ln>
            <a:miter lim="800000"/>
            <a:headEnd/>
            <a:tailEnd/>
          </a:ln>
        </p:spPr>
        <p:txBody>
          <a:bodyPr/>
          <a:lstStyle/>
          <a:p>
            <a:pPr marL="117475" lvl="1" indent="-117475"/>
            <a:r>
              <a:rPr lang="en-US" sz="1400" dirty="0">
                <a:solidFill>
                  <a:srgbClr val="002776"/>
                </a:solidFill>
              </a:rPr>
              <a:t>Bullet</a:t>
            </a:r>
          </a:p>
          <a:p>
            <a:pPr marL="227013" lvl="2" indent="-109538">
              <a:spcBef>
                <a:spcPct val="40000"/>
              </a:spcBef>
            </a:pPr>
            <a:r>
              <a:rPr lang="en-US" sz="1200" dirty="0">
                <a:solidFill>
                  <a:srgbClr val="002776"/>
                </a:solidFill>
              </a:rPr>
              <a:t>Dash</a:t>
            </a:r>
          </a:p>
          <a:p>
            <a:pPr marL="344488" lvl="3" indent="-117475"/>
            <a:r>
              <a:rPr lang="en-US" sz="1200" dirty="0" err="1">
                <a:solidFill>
                  <a:srgbClr val="002776"/>
                </a:solidFill>
              </a:rPr>
              <a:t>Subbullet</a:t>
            </a:r>
            <a:endParaRPr lang="en-US" sz="1200" dirty="0">
              <a:solidFill>
                <a:srgbClr val="002776"/>
              </a:solidFill>
            </a:endParaRPr>
          </a:p>
        </p:txBody>
      </p:sp>
      <p:sp>
        <p:nvSpPr>
          <p:cNvPr id="18"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0"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1" name="Title 1"/>
          <p:cNvSpPr>
            <a:spLocks noGrp="1"/>
          </p:cNvSpPr>
          <p:nvPr>
            <p:ph type="title"/>
            <p:custDataLst>
              <p:tags r:id="rId2"/>
            </p:custDataLst>
          </p:nvPr>
        </p:nvSpPr>
        <p:spPr>
          <a:xfrm>
            <a:off x="414338" y="446038"/>
            <a:ext cx="8330184" cy="333425"/>
          </a:xfrm>
        </p:spPr>
        <p:txBody>
          <a:bodyPr/>
          <a:lstStyle/>
          <a:p>
            <a:r>
              <a:rPr lang="nl-NL" dirty="0"/>
              <a:t>Organization chart </a:t>
            </a:r>
            <a:r>
              <a:rPr lang="en-US" dirty="0"/>
              <a:t>—</a:t>
            </a:r>
            <a:r>
              <a:rPr lang="nl-NL" dirty="0" smtClean="0"/>
              <a:t> </a:t>
            </a:r>
            <a:r>
              <a:rPr lang="nl-NL" dirty="0"/>
              <a:t>with text block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8658"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195"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Table 5"/>
          <p:cNvGraphicFramePr>
            <a:graphicFrameLocks noGrp="1"/>
          </p:cNvGraphicFramePr>
          <p:nvPr>
            <p:custDataLst>
              <p:tags r:id="rId3"/>
            </p:custDataLst>
          </p:nvPr>
        </p:nvGraphicFramePr>
        <p:xfrm>
          <a:off x="396875" y="1123950"/>
          <a:ext cx="4787154" cy="4067290"/>
        </p:xfrm>
        <a:graphic>
          <a:graphicData uri="http://schemas.openxmlformats.org/drawingml/2006/table">
            <a:tbl>
              <a:tblPr firstRow="1" bandRow="1">
                <a:tableStyleId>{5C22544A-7EE6-4342-B048-85BDC9FD1C3A}</a:tableStyleId>
              </a:tblPr>
              <a:tblGrid>
                <a:gridCol w="4787154"/>
              </a:tblGrid>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bg1"/>
                          </a:solidFill>
                          <a:effectLst/>
                          <a:latin typeface="Arial" charset="0"/>
                        </a:rPr>
                        <a:t>Structured </a:t>
                      </a:r>
                      <a:r>
                        <a:rPr kumimoji="0" lang="en-US" sz="1400" b="0" i="0" u="none" strike="noStrike" cap="none" normalizeH="0" baseline="0" dirty="0" smtClean="0">
                          <a:ln>
                            <a:noFill/>
                          </a:ln>
                          <a:solidFill>
                            <a:schemeClr val="bg1"/>
                          </a:solidFill>
                          <a:effectLst/>
                          <a:latin typeface="Arial" charset="0"/>
                        </a:rPr>
                        <a:t>text</a:t>
                      </a:r>
                      <a:endParaRPr kumimoji="0" lang="en-US" sz="1400" b="0" i="0" u="none" strike="noStrike" cap="none" normalizeH="0" baseline="0" dirty="0">
                        <a:ln>
                          <a:noFill/>
                        </a:ln>
                        <a:solidFill>
                          <a:schemeClr val="bg1"/>
                        </a:solidFill>
                        <a:effectLst/>
                        <a:latin typeface="Arial" charset="0"/>
                      </a:endParaRPr>
                    </a:p>
                  </a:txBody>
                  <a:tcPr marL="49846" marR="49846" marT="54000" marB="54000"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r>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Trees</a:t>
                      </a:r>
                    </a:p>
                  </a:txBody>
                  <a:tcPr marL="49846" marR="49846" marT="54000" marB="54000" anchor="ctr" horzOverflow="overflow">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Graph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Shape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Map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Special </a:t>
                      </a:r>
                      <a:r>
                        <a:rPr kumimoji="0" lang="en-US" sz="1400" b="0" i="0" u="none" strike="noStrike" cap="none" normalizeH="0" baseline="0" dirty="0" smtClean="0">
                          <a:ln>
                            <a:noFill/>
                          </a:ln>
                          <a:solidFill>
                            <a:schemeClr val="tx2"/>
                          </a:solidFill>
                          <a:effectLst/>
                          <a:latin typeface="Arial" charset="0"/>
                        </a:rPr>
                        <a:t>graphics</a:t>
                      </a:r>
                      <a:endParaRPr kumimoji="0" lang="en-US" sz="1400" b="0" i="0" u="none" strike="noStrike" cap="none" normalizeH="0" baseline="0" dirty="0">
                        <a:ln>
                          <a:noFill/>
                        </a:ln>
                        <a:solidFill>
                          <a:schemeClr val="tx2"/>
                        </a:solidFill>
                        <a:effectLst/>
                        <a:latin typeface="Arial" charset="0"/>
                      </a:endParaRP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400" b="0" i="0" u="none" strike="noStrike" cap="none" normalizeH="0" baseline="0" dirty="0">
                          <a:ln>
                            <a:noFill/>
                          </a:ln>
                          <a:solidFill>
                            <a:schemeClr val="tx2"/>
                          </a:solidFill>
                          <a:effectLst/>
                          <a:latin typeface="Arial" charset="0"/>
                        </a:rPr>
                        <a:t>Conceptual </a:t>
                      </a:r>
                      <a:r>
                        <a:rPr kumimoji="0" lang="en-US" sz="1400" b="0" i="0" u="none" strike="noStrike" cap="none" normalizeH="0" baseline="0" dirty="0" smtClean="0">
                          <a:ln>
                            <a:noFill/>
                          </a:ln>
                          <a:solidFill>
                            <a:schemeClr val="tx2"/>
                          </a:solidFill>
                          <a:effectLst/>
                          <a:latin typeface="Arial" charset="0"/>
                        </a:rPr>
                        <a:t>charts</a:t>
                      </a:r>
                      <a:endParaRPr kumimoji="0" lang="en-US" sz="1400" b="0" i="0" u="none" strike="noStrike" cap="none" normalizeH="0" baseline="0" dirty="0">
                        <a:ln>
                          <a:noFill/>
                        </a:ln>
                        <a:solidFill>
                          <a:schemeClr val="tx2"/>
                        </a:solidFill>
                        <a:effectLst/>
                        <a:latin typeface="Arial" charset="0"/>
                      </a:endParaRP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98675" name="Rectangle 2"/>
          <p:cNvSpPr>
            <a:spLocks noGrp="1"/>
          </p:cNvSpPr>
          <p:nvPr>
            <p:ph type="title"/>
            <p:custDataLst>
              <p:tags r:id="rId4"/>
            </p:custDataLst>
          </p:nvPr>
        </p:nvSpPr>
        <p:spPr/>
        <p:txBody>
          <a:bodyPr/>
          <a:lstStyle/>
          <a:p>
            <a:r>
              <a:rPr lang="en-US"/>
              <a:t>Agenda</a:t>
            </a: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4738"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68291"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4755" name="Rectangle 2"/>
          <p:cNvSpPr>
            <a:spLocks noGrp="1"/>
          </p:cNvSpPr>
          <p:nvPr>
            <p:ph type="title"/>
            <p:custDataLst>
              <p:tags r:id="rId3"/>
            </p:custDataLst>
          </p:nvPr>
        </p:nvSpPr>
        <p:spPr/>
        <p:txBody>
          <a:bodyPr/>
          <a:lstStyle/>
          <a:p>
            <a:r>
              <a:rPr lang="en-GB"/>
              <a:t>Agenda</a:t>
            </a:r>
            <a:endParaRPr lang="en-US"/>
          </a:p>
        </p:txBody>
      </p:sp>
      <p:graphicFrame>
        <p:nvGraphicFramePr>
          <p:cNvPr id="12" name="Table 11"/>
          <p:cNvGraphicFramePr>
            <a:graphicFrameLocks noGrp="1"/>
          </p:cNvGraphicFramePr>
          <p:nvPr>
            <p:custDataLst>
              <p:tags r:id="rId4"/>
            </p:custDataLst>
          </p:nvPr>
        </p:nvGraphicFramePr>
        <p:xfrm>
          <a:off x="396875" y="1123950"/>
          <a:ext cx="4787154" cy="4067290"/>
        </p:xfrm>
        <a:graphic>
          <a:graphicData uri="http://schemas.openxmlformats.org/drawingml/2006/table">
            <a:tbl>
              <a:tblPr firstRow="1" bandRow="1">
                <a:tableStyleId>{5C22544A-7EE6-4342-B048-85BDC9FD1C3A}</a:tableStyleId>
              </a:tblPr>
              <a:tblGrid>
                <a:gridCol w="4787154"/>
              </a:tblGrid>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Structured </a:t>
                      </a:r>
                      <a:r>
                        <a:rPr kumimoji="0" lang="en-US" sz="1400" b="0" i="0" u="none" strike="noStrike" cap="none" normalizeH="0" baseline="0" dirty="0" smtClean="0">
                          <a:ln>
                            <a:noFill/>
                          </a:ln>
                          <a:solidFill>
                            <a:schemeClr val="tx2"/>
                          </a:solidFill>
                          <a:effectLst/>
                          <a:latin typeface="Arial" charset="0"/>
                        </a:rPr>
                        <a:t>text</a:t>
                      </a:r>
                      <a:endParaRPr kumimoji="0" lang="en-US" sz="1400" b="0" i="0" u="none" strike="noStrike" cap="none" normalizeH="0" baseline="0" dirty="0">
                        <a:ln>
                          <a:noFill/>
                        </a:ln>
                        <a:solidFill>
                          <a:schemeClr val="tx2"/>
                        </a:solidFill>
                        <a:effectLst/>
                        <a:latin typeface="Arial" charset="0"/>
                      </a:endParaRPr>
                    </a:p>
                  </a:txBody>
                  <a:tcPr marL="49846" marR="49846" marT="54000" marB="54000"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r>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Trees</a:t>
                      </a:r>
                    </a:p>
                  </a:txBody>
                  <a:tcPr marL="49846" marR="49846" marT="54000" marB="54000" anchor="ctr" horzOverflow="overflow">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584798">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bg1"/>
                          </a:solidFill>
                          <a:effectLst/>
                          <a:latin typeface="Arial" charset="0"/>
                        </a:rPr>
                        <a:t>Graph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Shape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Maps</a:t>
                      </a: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en-US" sz="1400" b="0" i="0" u="none" strike="noStrike" cap="none" normalizeH="0" baseline="0" dirty="0">
                          <a:ln>
                            <a:noFill/>
                          </a:ln>
                          <a:solidFill>
                            <a:schemeClr val="tx2"/>
                          </a:solidFill>
                          <a:effectLst/>
                          <a:latin typeface="Arial" charset="0"/>
                        </a:rPr>
                        <a:t>Special </a:t>
                      </a:r>
                      <a:r>
                        <a:rPr kumimoji="0" lang="en-US" sz="1400" b="0" i="0" u="none" strike="noStrike" cap="none" normalizeH="0" baseline="0" dirty="0" smtClean="0">
                          <a:ln>
                            <a:noFill/>
                          </a:ln>
                          <a:solidFill>
                            <a:schemeClr val="tx2"/>
                          </a:solidFill>
                          <a:effectLst/>
                          <a:latin typeface="Arial" charset="0"/>
                        </a:rPr>
                        <a:t>graphics</a:t>
                      </a:r>
                      <a:endParaRPr kumimoji="0" lang="en-US" sz="1400" b="0" i="0" u="none" strike="noStrike" cap="none" normalizeH="0" baseline="0" dirty="0">
                        <a:ln>
                          <a:noFill/>
                        </a:ln>
                        <a:solidFill>
                          <a:schemeClr val="tx2"/>
                        </a:solidFill>
                        <a:effectLst/>
                        <a:latin typeface="Arial" charset="0"/>
                      </a:endParaRP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78224">
                <a:tc>
                  <a:txBody>
                    <a:bodyPr/>
                    <a:lstStyle/>
                    <a:p>
                      <a:pPr marL="355600" marR="0" lvl="0" indent="-355600" algn="l" defTabSz="914400" rtl="0" eaLnBrk="1" fontAlgn="base" latinLnBrk="0" hangingPunct="1">
                        <a:lnSpc>
                          <a:spcPct val="106000"/>
                        </a:lnSpc>
                        <a:spcBef>
                          <a:spcPct val="80000"/>
                        </a:spcBef>
                        <a:spcAft>
                          <a:spcPct val="0"/>
                        </a:spcAft>
                        <a:buClr>
                          <a:schemeClr val="tx1"/>
                        </a:buClr>
                        <a:buSzTx/>
                        <a:buFont typeface="Wingdings 2" pitchFamily="18" charset="2"/>
                        <a:buNone/>
                        <a:tabLst/>
                        <a:defRPr/>
                      </a:pPr>
                      <a:r>
                        <a:rPr kumimoji="0" lang="en-US" sz="1400" b="0" i="0" u="none" strike="noStrike" cap="none" normalizeH="0" baseline="0" dirty="0">
                          <a:ln>
                            <a:noFill/>
                          </a:ln>
                          <a:solidFill>
                            <a:schemeClr val="tx2"/>
                          </a:solidFill>
                          <a:effectLst/>
                          <a:latin typeface="Arial" charset="0"/>
                        </a:rPr>
                        <a:t>Conceptual </a:t>
                      </a:r>
                      <a:r>
                        <a:rPr kumimoji="0" lang="en-US" sz="1400" b="0" i="0" u="none" strike="noStrike" cap="none" normalizeH="0" baseline="0" dirty="0" smtClean="0">
                          <a:ln>
                            <a:noFill/>
                          </a:ln>
                          <a:solidFill>
                            <a:schemeClr val="tx2"/>
                          </a:solidFill>
                          <a:effectLst/>
                          <a:latin typeface="Arial" charset="0"/>
                        </a:rPr>
                        <a:t>charts</a:t>
                      </a:r>
                      <a:endParaRPr kumimoji="0" lang="en-US" sz="1400" b="0" i="0" u="none" strike="noStrike" cap="none" normalizeH="0" baseline="0" dirty="0">
                        <a:ln>
                          <a:noFill/>
                        </a:ln>
                        <a:solidFill>
                          <a:schemeClr val="tx2"/>
                        </a:solidFill>
                        <a:effectLst/>
                        <a:latin typeface="Arial" charset="0"/>
                      </a:endParaRPr>
                    </a:p>
                  </a:txBody>
                  <a:tcPr marL="49846" marR="49846" marT="54000" marB="54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414338" y="446038"/>
            <a:ext cx="8330184" cy="333425"/>
          </a:xfrm>
        </p:spPr>
        <p:txBody>
          <a:bodyPr/>
          <a:lstStyle/>
          <a:p>
            <a:r>
              <a:rPr lang="en-GB" altLang="ja-JP" dirty="0">
                <a:latin typeface="Arial" charset="0"/>
                <a:ea typeface="ＭＳ Ｐゴシック" pitchFamily="50" charset="-128"/>
                <a:cs typeface="Arial" charset="0"/>
              </a:rPr>
              <a:t>Bar chart </a:t>
            </a:r>
            <a:r>
              <a:rPr lang="en-US" dirty="0"/>
              <a:t>—</a:t>
            </a:r>
            <a:r>
              <a:rPr lang="en-GB" altLang="ja-JP" dirty="0" smtClean="0">
                <a:latin typeface="Arial" charset="0"/>
                <a:ea typeface="ＭＳ Ｐゴシック" pitchFamily="50" charset="-128"/>
                <a:cs typeface="Arial" charset="0"/>
              </a:rPr>
              <a:t> </a:t>
            </a:r>
            <a:r>
              <a:rPr lang="en-GB" altLang="ja-JP" dirty="0">
                <a:latin typeface="Arial" charset="0"/>
                <a:ea typeface="ＭＳ Ｐゴシック" pitchFamily="50" charset="-128"/>
                <a:cs typeface="Arial" charset="0"/>
              </a:rPr>
              <a:t>stacked</a:t>
            </a:r>
            <a:endParaRPr lang="nl-NL" dirty="0"/>
          </a:p>
        </p:txBody>
      </p:sp>
      <p:graphicFrame>
        <p:nvGraphicFramePr>
          <p:cNvPr id="5" name="Chart 4"/>
          <p:cNvGraphicFramePr/>
          <p:nvPr/>
        </p:nvGraphicFramePr>
        <p:xfrm>
          <a:off x="382467" y="1912021"/>
          <a:ext cx="8377602" cy="3716976"/>
        </p:xfrm>
        <a:graphic>
          <a:graphicData uri="http://schemas.openxmlformats.org/drawingml/2006/chart">
            <c:chart xmlns:c="http://schemas.openxmlformats.org/drawingml/2006/chart" xmlns:r="http://schemas.openxmlformats.org/officeDocument/2006/relationships" r:id="rId7"/>
          </a:graphicData>
        </a:graphic>
      </p:graphicFrame>
      <p:sp>
        <p:nvSpPr>
          <p:cNvPr id="6" name="Text Box 4"/>
          <p:cNvSpPr txBox="1">
            <a:spLocks noChangeArrowheads="1"/>
          </p:cNvSpPr>
          <p:nvPr>
            <p:custDataLst>
              <p:tags r:id="rId1"/>
            </p:custDataLst>
          </p:nvPr>
        </p:nvSpPr>
        <p:spPr bwMode="auto">
          <a:xfrm>
            <a:off x="1390081" y="1922932"/>
            <a:ext cx="304892" cy="400110"/>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400" dirty="0">
                <a:solidFill>
                  <a:schemeClr val="tx2"/>
                </a:solidFill>
              </a:rPr>
              <a:t>A</a:t>
            </a:r>
          </a:p>
        </p:txBody>
      </p:sp>
      <p:sp>
        <p:nvSpPr>
          <p:cNvPr id="7" name="Text Box 5"/>
          <p:cNvSpPr txBox="1">
            <a:spLocks noChangeArrowheads="1"/>
          </p:cNvSpPr>
          <p:nvPr>
            <p:custDataLst>
              <p:tags r:id="rId2"/>
            </p:custDataLst>
          </p:nvPr>
        </p:nvSpPr>
        <p:spPr bwMode="auto">
          <a:xfrm>
            <a:off x="2682931" y="1922932"/>
            <a:ext cx="304892" cy="400110"/>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400">
                <a:solidFill>
                  <a:schemeClr val="tx2"/>
                </a:solidFill>
              </a:rPr>
              <a:t>B</a:t>
            </a:r>
          </a:p>
        </p:txBody>
      </p:sp>
      <p:sp>
        <p:nvSpPr>
          <p:cNvPr id="8" name="Text Box 6"/>
          <p:cNvSpPr txBox="1">
            <a:spLocks noChangeArrowheads="1"/>
          </p:cNvSpPr>
          <p:nvPr>
            <p:custDataLst>
              <p:tags r:id="rId3"/>
            </p:custDataLst>
          </p:nvPr>
        </p:nvSpPr>
        <p:spPr bwMode="auto">
          <a:xfrm>
            <a:off x="4269587" y="1922932"/>
            <a:ext cx="314510" cy="400110"/>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400">
                <a:solidFill>
                  <a:schemeClr val="tx2"/>
                </a:solidFill>
              </a:rPr>
              <a:t>C</a:t>
            </a:r>
          </a:p>
        </p:txBody>
      </p:sp>
      <p:sp>
        <p:nvSpPr>
          <p:cNvPr id="9" name="Text Box 7"/>
          <p:cNvSpPr txBox="1">
            <a:spLocks noChangeArrowheads="1"/>
          </p:cNvSpPr>
          <p:nvPr>
            <p:custDataLst>
              <p:tags r:id="rId4"/>
            </p:custDataLst>
          </p:nvPr>
        </p:nvSpPr>
        <p:spPr bwMode="auto">
          <a:xfrm>
            <a:off x="5541423" y="1922932"/>
            <a:ext cx="314510" cy="400110"/>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400">
                <a:solidFill>
                  <a:schemeClr val="tx2"/>
                </a:solidFill>
              </a:rPr>
              <a:t>D</a:t>
            </a:r>
          </a:p>
        </p:txBody>
      </p:sp>
      <p:sp>
        <p:nvSpPr>
          <p:cNvPr id="11" name="Text Box 14"/>
          <p:cNvSpPr txBox="1">
            <a:spLocks noChangeArrowheads="1"/>
          </p:cNvSpPr>
          <p:nvPr/>
        </p:nvSpPr>
        <p:spPr bwMode="auto">
          <a:xfrm>
            <a:off x="4477079" y="5652067"/>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sp>
        <p:nvSpPr>
          <p:cNvPr id="16"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8" name="Text Placeholder 12"/>
          <p:cNvSpPr>
            <a:spLocks/>
          </p:cNvSpPr>
          <p:nvPr>
            <p:custDataLst>
              <p:tags r:id="rId5"/>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3" name="Rectangle 15"/>
          <p:cNvSpPr>
            <a:spLocks noChangeArrowheads="1"/>
          </p:cNvSpPr>
          <p:nvPr/>
        </p:nvSpPr>
        <p:spPr bwMode="gray">
          <a:xfrm>
            <a:off x="3503673"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Bars </a:t>
            </a:r>
            <a:r>
              <a:rPr lang="en-US"/>
              <a:t>—</a:t>
            </a:r>
            <a:r>
              <a:rPr lang="en-GB" altLang="ja-JP" smtClean="0">
                <a:latin typeface="Arial" charset="0"/>
                <a:ea typeface="ＭＳ Ｐゴシック" pitchFamily="50" charset="-128"/>
                <a:cs typeface="Arial" charset="0"/>
              </a:rPr>
              <a:t> </a:t>
            </a:r>
            <a:r>
              <a:rPr lang="en-GB" altLang="ja-JP">
                <a:latin typeface="Arial" charset="0"/>
                <a:ea typeface="ＭＳ Ｐゴシック" pitchFamily="50" charset="-128"/>
                <a:cs typeface="Arial" charset="0"/>
              </a:rPr>
              <a:t>two stacked</a:t>
            </a:r>
            <a:endParaRPr lang="nl-NL"/>
          </a:p>
        </p:txBody>
      </p:sp>
      <p:sp>
        <p:nvSpPr>
          <p:cNvPr id="11" name="Text Box 4"/>
          <p:cNvSpPr txBox="1">
            <a:spLocks noChangeArrowheads="1"/>
          </p:cNvSpPr>
          <p:nvPr/>
        </p:nvSpPr>
        <p:spPr bwMode="auto">
          <a:xfrm>
            <a:off x="2291625" y="5702598"/>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sp>
        <p:nvSpPr>
          <p:cNvPr id="12" name="Text Box 5"/>
          <p:cNvSpPr txBox="1">
            <a:spLocks noChangeArrowheads="1"/>
          </p:cNvSpPr>
          <p:nvPr/>
        </p:nvSpPr>
        <p:spPr bwMode="auto">
          <a:xfrm>
            <a:off x="1164519" y="1999696"/>
            <a:ext cx="287259"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A</a:t>
            </a:r>
          </a:p>
        </p:txBody>
      </p:sp>
      <p:sp>
        <p:nvSpPr>
          <p:cNvPr id="13" name="Text Box 6"/>
          <p:cNvSpPr txBox="1">
            <a:spLocks noChangeArrowheads="1"/>
          </p:cNvSpPr>
          <p:nvPr/>
        </p:nvSpPr>
        <p:spPr bwMode="auto">
          <a:xfrm>
            <a:off x="1691103" y="1999696"/>
            <a:ext cx="287259"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B</a:t>
            </a:r>
          </a:p>
        </p:txBody>
      </p:sp>
      <p:sp>
        <p:nvSpPr>
          <p:cNvPr id="14" name="Text Box 7"/>
          <p:cNvSpPr txBox="1">
            <a:spLocks noChangeArrowheads="1"/>
          </p:cNvSpPr>
          <p:nvPr/>
        </p:nvSpPr>
        <p:spPr bwMode="auto">
          <a:xfrm>
            <a:off x="2310926" y="2001283"/>
            <a:ext cx="295274"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C</a:t>
            </a:r>
          </a:p>
        </p:txBody>
      </p:sp>
      <p:sp>
        <p:nvSpPr>
          <p:cNvPr id="15" name="Text Box 8"/>
          <p:cNvSpPr txBox="1">
            <a:spLocks noChangeArrowheads="1"/>
          </p:cNvSpPr>
          <p:nvPr/>
        </p:nvSpPr>
        <p:spPr bwMode="auto">
          <a:xfrm>
            <a:off x="2818901" y="2001283"/>
            <a:ext cx="295274"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dirty="0" smtClean="0">
                <a:solidFill>
                  <a:schemeClr val="tx2"/>
                </a:solidFill>
                <a:ea typeface="ＭＳ Ｐゴシック" pitchFamily="50" charset="-128"/>
              </a:rPr>
              <a:t>D</a:t>
            </a:r>
            <a:endParaRPr lang="en-GB" sz="1200" dirty="0">
              <a:solidFill>
                <a:schemeClr val="tx2"/>
              </a:solidFill>
              <a:ea typeface="ＭＳ Ｐゴシック" pitchFamily="50" charset="-128"/>
            </a:endParaRPr>
          </a:p>
        </p:txBody>
      </p:sp>
      <p:sp>
        <p:nvSpPr>
          <p:cNvPr id="22" name="Text Box 19"/>
          <p:cNvSpPr txBox="1">
            <a:spLocks noChangeArrowheads="1"/>
          </p:cNvSpPr>
          <p:nvPr/>
        </p:nvSpPr>
        <p:spPr bwMode="auto">
          <a:xfrm>
            <a:off x="6690038" y="5703468"/>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graphicFrame>
        <p:nvGraphicFramePr>
          <p:cNvPr id="24" name="Chart 23"/>
          <p:cNvGraphicFramePr/>
          <p:nvPr/>
        </p:nvGraphicFramePr>
        <p:xfrm>
          <a:off x="552894" y="1939546"/>
          <a:ext cx="3677229" cy="37701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Chart 24"/>
          <p:cNvGraphicFramePr/>
          <p:nvPr/>
        </p:nvGraphicFramePr>
        <p:xfrm>
          <a:off x="4943321" y="1932459"/>
          <a:ext cx="3677229" cy="3770139"/>
        </p:xfrm>
        <a:graphic>
          <a:graphicData uri="http://schemas.openxmlformats.org/drawingml/2006/chart">
            <c:chart xmlns:c="http://schemas.openxmlformats.org/drawingml/2006/chart" xmlns:r="http://schemas.openxmlformats.org/officeDocument/2006/relationships" r:id="rId4"/>
          </a:graphicData>
        </a:graphic>
      </p:graphicFrame>
      <p:sp>
        <p:nvSpPr>
          <p:cNvPr id="26" name="Text Box 5"/>
          <p:cNvSpPr txBox="1">
            <a:spLocks noChangeArrowheads="1"/>
          </p:cNvSpPr>
          <p:nvPr/>
        </p:nvSpPr>
        <p:spPr bwMode="auto">
          <a:xfrm>
            <a:off x="5554948" y="2003239"/>
            <a:ext cx="287259"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A</a:t>
            </a:r>
          </a:p>
        </p:txBody>
      </p:sp>
      <p:sp>
        <p:nvSpPr>
          <p:cNvPr id="27" name="Text Box 6"/>
          <p:cNvSpPr txBox="1">
            <a:spLocks noChangeArrowheads="1"/>
          </p:cNvSpPr>
          <p:nvPr/>
        </p:nvSpPr>
        <p:spPr bwMode="auto">
          <a:xfrm>
            <a:off x="6081532" y="2003239"/>
            <a:ext cx="287259"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B</a:t>
            </a:r>
          </a:p>
        </p:txBody>
      </p:sp>
      <p:sp>
        <p:nvSpPr>
          <p:cNvPr id="28" name="Text Box 7"/>
          <p:cNvSpPr txBox="1">
            <a:spLocks noChangeArrowheads="1"/>
          </p:cNvSpPr>
          <p:nvPr/>
        </p:nvSpPr>
        <p:spPr bwMode="auto">
          <a:xfrm>
            <a:off x="6701355" y="2004827"/>
            <a:ext cx="295274"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C</a:t>
            </a:r>
          </a:p>
        </p:txBody>
      </p:sp>
      <p:sp>
        <p:nvSpPr>
          <p:cNvPr id="29" name="Text Box 8"/>
          <p:cNvSpPr txBox="1">
            <a:spLocks noChangeArrowheads="1"/>
          </p:cNvSpPr>
          <p:nvPr/>
        </p:nvSpPr>
        <p:spPr bwMode="auto">
          <a:xfrm>
            <a:off x="7209330" y="2004827"/>
            <a:ext cx="295274"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D</a:t>
            </a:r>
          </a:p>
        </p:txBody>
      </p:sp>
      <p:sp>
        <p:nvSpPr>
          <p:cNvPr id="3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33" name="Rectangle 15"/>
          <p:cNvSpPr>
            <a:spLocks noChangeArrowheads="1"/>
          </p:cNvSpPr>
          <p:nvPr/>
        </p:nvSpPr>
        <p:spPr bwMode="gray">
          <a:xfrm>
            <a:off x="1317396"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3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5" name="Rectangle 15"/>
          <p:cNvSpPr>
            <a:spLocks noChangeArrowheads="1"/>
          </p:cNvSpPr>
          <p:nvPr/>
        </p:nvSpPr>
        <p:spPr bwMode="gray">
          <a:xfrm>
            <a:off x="5707825"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Bars </a:t>
            </a:r>
            <a:r>
              <a:rPr lang="en-US"/>
              <a:t>—</a:t>
            </a:r>
            <a:r>
              <a:rPr lang="en-GB" altLang="ja-JP" smtClean="0">
                <a:latin typeface="Arial" charset="0"/>
                <a:ea typeface="ＭＳ Ｐゴシック" pitchFamily="50" charset="-128"/>
                <a:cs typeface="Arial" charset="0"/>
              </a:rPr>
              <a:t> </a:t>
            </a:r>
            <a:r>
              <a:rPr lang="en-GB" altLang="ja-JP">
                <a:latin typeface="Arial" charset="0"/>
                <a:ea typeface="ＭＳ Ｐゴシック" pitchFamily="50" charset="-128"/>
                <a:cs typeface="Arial" charset="0"/>
              </a:rPr>
              <a:t>three stacked</a:t>
            </a:r>
            <a:endParaRPr lang="nl-NL"/>
          </a:p>
        </p:txBody>
      </p:sp>
      <p:sp>
        <p:nvSpPr>
          <p:cNvPr id="11" name="Text Box 4"/>
          <p:cNvSpPr txBox="1">
            <a:spLocks noChangeArrowheads="1"/>
          </p:cNvSpPr>
          <p:nvPr/>
        </p:nvSpPr>
        <p:spPr bwMode="auto">
          <a:xfrm>
            <a:off x="1631317" y="5668964"/>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sp>
        <p:nvSpPr>
          <p:cNvPr id="12" name="Text Box 5"/>
          <p:cNvSpPr txBox="1">
            <a:spLocks noChangeArrowheads="1"/>
          </p:cNvSpPr>
          <p:nvPr/>
        </p:nvSpPr>
        <p:spPr bwMode="auto">
          <a:xfrm>
            <a:off x="925386" y="1865221"/>
            <a:ext cx="287259"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A</a:t>
            </a:r>
          </a:p>
        </p:txBody>
      </p:sp>
      <p:sp>
        <p:nvSpPr>
          <p:cNvPr id="13" name="Text Box 6"/>
          <p:cNvSpPr txBox="1">
            <a:spLocks noChangeArrowheads="1"/>
          </p:cNvSpPr>
          <p:nvPr/>
        </p:nvSpPr>
        <p:spPr bwMode="auto">
          <a:xfrm>
            <a:off x="1294929" y="1865221"/>
            <a:ext cx="287259"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B</a:t>
            </a:r>
          </a:p>
        </p:txBody>
      </p:sp>
      <p:sp>
        <p:nvSpPr>
          <p:cNvPr id="14" name="Text Box 7"/>
          <p:cNvSpPr txBox="1">
            <a:spLocks noChangeArrowheads="1"/>
          </p:cNvSpPr>
          <p:nvPr/>
        </p:nvSpPr>
        <p:spPr bwMode="auto">
          <a:xfrm>
            <a:off x="1698820" y="1866808"/>
            <a:ext cx="295274"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C</a:t>
            </a:r>
          </a:p>
        </p:txBody>
      </p:sp>
      <p:sp>
        <p:nvSpPr>
          <p:cNvPr id="15" name="Text Box 8"/>
          <p:cNvSpPr txBox="1">
            <a:spLocks noChangeArrowheads="1"/>
          </p:cNvSpPr>
          <p:nvPr/>
        </p:nvSpPr>
        <p:spPr bwMode="auto">
          <a:xfrm>
            <a:off x="2041660" y="1866808"/>
            <a:ext cx="295274"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D</a:t>
            </a:r>
          </a:p>
        </p:txBody>
      </p:sp>
      <p:graphicFrame>
        <p:nvGraphicFramePr>
          <p:cNvPr id="24" name="Chart 23"/>
          <p:cNvGraphicFramePr/>
          <p:nvPr/>
        </p:nvGraphicFramePr>
        <p:xfrm>
          <a:off x="382466" y="1843853"/>
          <a:ext cx="2725205" cy="3770139"/>
        </p:xfrm>
        <a:graphic>
          <a:graphicData uri="http://schemas.openxmlformats.org/drawingml/2006/chart">
            <c:chart xmlns:c="http://schemas.openxmlformats.org/drawingml/2006/chart" xmlns:r="http://schemas.openxmlformats.org/officeDocument/2006/relationships" r:id="rId3"/>
          </a:graphicData>
        </a:graphic>
      </p:graphicFrame>
      <p:sp>
        <p:nvSpPr>
          <p:cNvPr id="35" name="Text Box 4"/>
          <p:cNvSpPr txBox="1">
            <a:spLocks noChangeArrowheads="1"/>
          </p:cNvSpPr>
          <p:nvPr/>
        </p:nvSpPr>
        <p:spPr bwMode="auto">
          <a:xfrm>
            <a:off x="4458248" y="5664351"/>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sp>
        <p:nvSpPr>
          <p:cNvPr id="36" name="Text Box 5"/>
          <p:cNvSpPr txBox="1">
            <a:spLocks noChangeArrowheads="1"/>
          </p:cNvSpPr>
          <p:nvPr/>
        </p:nvSpPr>
        <p:spPr bwMode="auto">
          <a:xfrm>
            <a:off x="3752318" y="1860607"/>
            <a:ext cx="287259"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A</a:t>
            </a:r>
          </a:p>
        </p:txBody>
      </p:sp>
      <p:sp>
        <p:nvSpPr>
          <p:cNvPr id="37" name="Text Box 6"/>
          <p:cNvSpPr txBox="1">
            <a:spLocks noChangeArrowheads="1"/>
          </p:cNvSpPr>
          <p:nvPr/>
        </p:nvSpPr>
        <p:spPr bwMode="auto">
          <a:xfrm>
            <a:off x="4121860" y="1860607"/>
            <a:ext cx="287259"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B</a:t>
            </a:r>
          </a:p>
        </p:txBody>
      </p:sp>
      <p:sp>
        <p:nvSpPr>
          <p:cNvPr id="38" name="Text Box 7"/>
          <p:cNvSpPr txBox="1">
            <a:spLocks noChangeArrowheads="1"/>
          </p:cNvSpPr>
          <p:nvPr/>
        </p:nvSpPr>
        <p:spPr bwMode="auto">
          <a:xfrm>
            <a:off x="4525751" y="1862195"/>
            <a:ext cx="295274"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C</a:t>
            </a:r>
          </a:p>
        </p:txBody>
      </p:sp>
      <p:sp>
        <p:nvSpPr>
          <p:cNvPr id="39" name="Text Box 8"/>
          <p:cNvSpPr txBox="1">
            <a:spLocks noChangeArrowheads="1"/>
          </p:cNvSpPr>
          <p:nvPr/>
        </p:nvSpPr>
        <p:spPr bwMode="auto">
          <a:xfrm>
            <a:off x="4868592" y="1862195"/>
            <a:ext cx="295274"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D</a:t>
            </a:r>
          </a:p>
        </p:txBody>
      </p:sp>
      <p:graphicFrame>
        <p:nvGraphicFramePr>
          <p:cNvPr id="41" name="Chart 40"/>
          <p:cNvGraphicFramePr/>
          <p:nvPr/>
        </p:nvGraphicFramePr>
        <p:xfrm>
          <a:off x="3209398" y="1839240"/>
          <a:ext cx="2725205" cy="3770139"/>
        </p:xfrm>
        <a:graphic>
          <a:graphicData uri="http://schemas.openxmlformats.org/drawingml/2006/chart">
            <c:chart xmlns:c="http://schemas.openxmlformats.org/drawingml/2006/chart" xmlns:r="http://schemas.openxmlformats.org/officeDocument/2006/relationships" r:id="rId4"/>
          </a:graphicData>
        </a:graphic>
      </p:graphicFrame>
      <p:sp>
        <p:nvSpPr>
          <p:cNvPr id="42" name="Text Box 4"/>
          <p:cNvSpPr txBox="1">
            <a:spLocks noChangeArrowheads="1"/>
          </p:cNvSpPr>
          <p:nvPr/>
        </p:nvSpPr>
        <p:spPr bwMode="auto">
          <a:xfrm>
            <a:off x="7283716" y="5664351"/>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sp>
        <p:nvSpPr>
          <p:cNvPr id="43" name="Text Box 5"/>
          <p:cNvSpPr txBox="1">
            <a:spLocks noChangeArrowheads="1"/>
          </p:cNvSpPr>
          <p:nvPr/>
        </p:nvSpPr>
        <p:spPr bwMode="auto">
          <a:xfrm>
            <a:off x="6577785" y="1860607"/>
            <a:ext cx="287259"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A</a:t>
            </a:r>
          </a:p>
        </p:txBody>
      </p:sp>
      <p:sp>
        <p:nvSpPr>
          <p:cNvPr id="44" name="Text Box 6"/>
          <p:cNvSpPr txBox="1">
            <a:spLocks noChangeArrowheads="1"/>
          </p:cNvSpPr>
          <p:nvPr/>
        </p:nvSpPr>
        <p:spPr bwMode="auto">
          <a:xfrm>
            <a:off x="6947328" y="1860607"/>
            <a:ext cx="287259"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B</a:t>
            </a:r>
          </a:p>
        </p:txBody>
      </p:sp>
      <p:sp>
        <p:nvSpPr>
          <p:cNvPr id="45" name="Text Box 7"/>
          <p:cNvSpPr txBox="1">
            <a:spLocks noChangeArrowheads="1"/>
          </p:cNvSpPr>
          <p:nvPr/>
        </p:nvSpPr>
        <p:spPr bwMode="auto">
          <a:xfrm>
            <a:off x="7351218" y="1862195"/>
            <a:ext cx="295274"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C</a:t>
            </a:r>
          </a:p>
        </p:txBody>
      </p:sp>
      <p:sp>
        <p:nvSpPr>
          <p:cNvPr id="46" name="Text Box 8"/>
          <p:cNvSpPr txBox="1">
            <a:spLocks noChangeArrowheads="1"/>
          </p:cNvSpPr>
          <p:nvPr/>
        </p:nvSpPr>
        <p:spPr bwMode="auto">
          <a:xfrm>
            <a:off x="7694059" y="1862195"/>
            <a:ext cx="295274" cy="369332"/>
          </a:xfrm>
          <a:prstGeom prst="rect">
            <a:avLst/>
          </a:prstGeom>
          <a:noFill/>
          <a:ln w="6350" algn="ctr">
            <a:noFill/>
            <a:miter lim="800000"/>
            <a:headEnd/>
            <a:tailEnd/>
          </a:ln>
        </p:spPr>
        <p:txBody>
          <a:bodyPr wrap="none" tIns="91440" bIns="91440">
            <a:spAutoFit/>
          </a:bodyPr>
          <a:lstStyle/>
          <a:p>
            <a:pPr algn="ctr" eaLnBrk="1" hangingPunct="1">
              <a:spcBef>
                <a:spcPct val="0"/>
              </a:spcBef>
            </a:pPr>
            <a:r>
              <a:rPr lang="en-GB" sz="1200">
                <a:solidFill>
                  <a:schemeClr val="tx2"/>
                </a:solidFill>
                <a:ea typeface="ＭＳ Ｐゴシック" pitchFamily="50" charset="-128"/>
              </a:rPr>
              <a:t>D</a:t>
            </a:r>
          </a:p>
        </p:txBody>
      </p:sp>
      <p:graphicFrame>
        <p:nvGraphicFramePr>
          <p:cNvPr id="48" name="Chart 47"/>
          <p:cNvGraphicFramePr/>
          <p:nvPr/>
        </p:nvGraphicFramePr>
        <p:xfrm>
          <a:off x="6034865" y="1839240"/>
          <a:ext cx="2725205" cy="3770139"/>
        </p:xfrm>
        <a:graphic>
          <a:graphicData uri="http://schemas.openxmlformats.org/drawingml/2006/chart">
            <c:chart xmlns:c="http://schemas.openxmlformats.org/drawingml/2006/chart" xmlns:r="http://schemas.openxmlformats.org/officeDocument/2006/relationships" r:id="rId5"/>
          </a:graphicData>
        </a:graphic>
      </p:graphicFrame>
      <p:sp>
        <p:nvSpPr>
          <p:cNvPr id="3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49" name="Rectangle 15"/>
          <p:cNvSpPr>
            <a:spLocks noChangeArrowheads="1"/>
          </p:cNvSpPr>
          <p:nvPr/>
        </p:nvSpPr>
        <p:spPr bwMode="gray">
          <a:xfrm>
            <a:off x="667274"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50"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51" name="Rectangle 15"/>
          <p:cNvSpPr>
            <a:spLocks noChangeArrowheads="1"/>
          </p:cNvSpPr>
          <p:nvPr/>
        </p:nvSpPr>
        <p:spPr bwMode="gray">
          <a:xfrm>
            <a:off x="3487054"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53" name="Rectangle 15"/>
          <p:cNvSpPr>
            <a:spLocks noChangeArrowheads="1"/>
          </p:cNvSpPr>
          <p:nvPr/>
        </p:nvSpPr>
        <p:spPr bwMode="gray">
          <a:xfrm>
            <a:off x="6306923"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Bars </a:t>
            </a:r>
            <a:r>
              <a:rPr lang="en-US"/>
              <a:t>—</a:t>
            </a:r>
            <a:r>
              <a:rPr lang="en-GB" altLang="ja-JP" smtClean="0">
                <a:latin typeface="Arial" charset="0"/>
                <a:ea typeface="ＭＳ Ｐゴシック" pitchFamily="50" charset="-128"/>
                <a:cs typeface="Arial" charset="0"/>
              </a:rPr>
              <a:t> </a:t>
            </a:r>
            <a:r>
              <a:rPr lang="en-GB" altLang="ja-JP">
                <a:latin typeface="Arial" charset="0"/>
                <a:ea typeface="ＭＳ Ｐゴシック" pitchFamily="50" charset="-128"/>
                <a:cs typeface="Arial" charset="0"/>
              </a:rPr>
              <a:t>four parallel</a:t>
            </a:r>
            <a:endParaRPr lang="nl-NL"/>
          </a:p>
        </p:txBody>
      </p:sp>
      <p:sp>
        <p:nvSpPr>
          <p:cNvPr id="11" name="Text Box 4"/>
          <p:cNvSpPr txBox="1">
            <a:spLocks noChangeArrowheads="1"/>
          </p:cNvSpPr>
          <p:nvPr/>
        </p:nvSpPr>
        <p:spPr bwMode="auto">
          <a:xfrm>
            <a:off x="1144542" y="5815606"/>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graphicFrame>
        <p:nvGraphicFramePr>
          <p:cNvPr id="24" name="Chart 23"/>
          <p:cNvGraphicFramePr/>
          <p:nvPr/>
        </p:nvGraphicFramePr>
        <p:xfrm>
          <a:off x="382466" y="2050877"/>
          <a:ext cx="2093538" cy="3770139"/>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 Box 4"/>
          <p:cNvSpPr txBox="1">
            <a:spLocks noChangeArrowheads="1"/>
          </p:cNvSpPr>
          <p:nvPr/>
        </p:nvSpPr>
        <p:spPr bwMode="auto">
          <a:xfrm>
            <a:off x="3240537" y="5810993"/>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graphicFrame>
        <p:nvGraphicFramePr>
          <p:cNvPr id="28" name="Chart 27"/>
          <p:cNvGraphicFramePr/>
          <p:nvPr/>
        </p:nvGraphicFramePr>
        <p:xfrm>
          <a:off x="2478462" y="2046264"/>
          <a:ext cx="2093538" cy="3770139"/>
        </p:xfrm>
        <a:graphic>
          <a:graphicData uri="http://schemas.openxmlformats.org/drawingml/2006/chart">
            <c:chart xmlns:c="http://schemas.openxmlformats.org/drawingml/2006/chart" xmlns:r="http://schemas.openxmlformats.org/officeDocument/2006/relationships" r:id="rId4"/>
          </a:graphicData>
        </a:graphic>
      </p:graphicFrame>
      <p:sp>
        <p:nvSpPr>
          <p:cNvPr id="29" name="Text Box 4"/>
          <p:cNvSpPr txBox="1">
            <a:spLocks noChangeArrowheads="1"/>
          </p:cNvSpPr>
          <p:nvPr/>
        </p:nvSpPr>
        <p:spPr bwMode="auto">
          <a:xfrm>
            <a:off x="5334076" y="5815606"/>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graphicFrame>
        <p:nvGraphicFramePr>
          <p:cNvPr id="31" name="Chart 30"/>
          <p:cNvGraphicFramePr/>
          <p:nvPr/>
        </p:nvGraphicFramePr>
        <p:xfrm>
          <a:off x="4572000" y="2050877"/>
          <a:ext cx="2093538" cy="3770139"/>
        </p:xfrm>
        <a:graphic>
          <a:graphicData uri="http://schemas.openxmlformats.org/drawingml/2006/chart">
            <c:chart xmlns:c="http://schemas.openxmlformats.org/drawingml/2006/chart" xmlns:r="http://schemas.openxmlformats.org/officeDocument/2006/relationships" r:id="rId5"/>
          </a:graphicData>
        </a:graphic>
      </p:graphicFrame>
      <p:sp>
        <p:nvSpPr>
          <p:cNvPr id="32" name="Text Box 4"/>
          <p:cNvSpPr txBox="1">
            <a:spLocks noChangeArrowheads="1"/>
          </p:cNvSpPr>
          <p:nvPr/>
        </p:nvSpPr>
        <p:spPr bwMode="auto">
          <a:xfrm>
            <a:off x="7430071" y="5810993"/>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graphicFrame>
        <p:nvGraphicFramePr>
          <p:cNvPr id="34" name="Chart 33"/>
          <p:cNvGraphicFramePr/>
          <p:nvPr/>
        </p:nvGraphicFramePr>
        <p:xfrm>
          <a:off x="6667996" y="2046264"/>
          <a:ext cx="2093538" cy="3770139"/>
        </p:xfrm>
        <a:graphic>
          <a:graphicData uri="http://schemas.openxmlformats.org/drawingml/2006/chart">
            <c:chart xmlns:c="http://schemas.openxmlformats.org/drawingml/2006/chart" xmlns:r="http://schemas.openxmlformats.org/officeDocument/2006/relationships" r:id="rId6"/>
          </a:graphicData>
        </a:graphic>
      </p:graphicFrame>
      <p:sp>
        <p:nvSpPr>
          <p:cNvPr id="36"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38" name="Rectangle 15"/>
          <p:cNvSpPr>
            <a:spLocks noChangeArrowheads="1"/>
          </p:cNvSpPr>
          <p:nvPr/>
        </p:nvSpPr>
        <p:spPr bwMode="gray">
          <a:xfrm>
            <a:off x="796114" y="1603068"/>
            <a:ext cx="1269578" cy="391517"/>
          </a:xfrm>
          <a:prstGeom prst="rect">
            <a:avLst/>
          </a:prstGeom>
          <a:noFill/>
          <a:ln w="9525" algn="ctr">
            <a:noFill/>
            <a:miter lim="800000"/>
            <a:headEnd/>
            <a:tailEnd/>
          </a:ln>
        </p:spPr>
        <p:txBody>
          <a:bodyPr wrap="none" lIns="0" tIns="0" rIns="0" bIns="0">
            <a:spAutoFit/>
          </a:bodyPr>
          <a:lstStyle/>
          <a:p>
            <a:pPr>
              <a:lnSpc>
                <a:spcPct val="106000"/>
              </a:lnSpc>
              <a:buClr>
                <a:schemeClr val="tx1"/>
              </a:buClr>
            </a:pPr>
            <a:r>
              <a:rPr lang="en-GB" sz="1200" b="1" dirty="0">
                <a:solidFill>
                  <a:schemeClr val="tx2"/>
                </a:solidFill>
              </a:rPr>
              <a:t>Unit or </a:t>
            </a:r>
            <a:r>
              <a:rPr lang="en-GB" sz="1200" b="1" dirty="0" smtClean="0">
                <a:solidFill>
                  <a:schemeClr val="tx2"/>
                </a:solidFill>
              </a:rPr>
              <a:t>additional</a:t>
            </a:r>
            <a:br>
              <a:rPr lang="en-GB" sz="1200" b="1" dirty="0" smtClean="0">
                <a:solidFill>
                  <a:schemeClr val="tx2"/>
                </a:solidFill>
              </a:rPr>
            </a:br>
            <a:r>
              <a:rPr lang="en-GB" sz="1200" b="1" dirty="0" smtClean="0">
                <a:solidFill>
                  <a:schemeClr val="tx2"/>
                </a:solidFill>
              </a:rPr>
              <a:t>information</a:t>
            </a:r>
            <a:endParaRPr lang="en-GB" sz="1200" b="1" dirty="0">
              <a:solidFill>
                <a:schemeClr val="tx2"/>
              </a:solidFill>
            </a:endParaRPr>
          </a:p>
        </p:txBody>
      </p:sp>
      <p:sp>
        <p:nvSpPr>
          <p:cNvPr id="39"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46" name="Rectangle 15"/>
          <p:cNvSpPr>
            <a:spLocks noChangeArrowheads="1"/>
          </p:cNvSpPr>
          <p:nvPr/>
        </p:nvSpPr>
        <p:spPr bwMode="gray">
          <a:xfrm>
            <a:off x="2888975" y="1602991"/>
            <a:ext cx="1269578" cy="391517"/>
          </a:xfrm>
          <a:prstGeom prst="rect">
            <a:avLst/>
          </a:prstGeom>
          <a:noFill/>
          <a:ln w="9525" algn="ctr">
            <a:noFill/>
            <a:miter lim="800000"/>
            <a:headEnd/>
            <a:tailEnd/>
          </a:ln>
        </p:spPr>
        <p:txBody>
          <a:bodyPr wrap="none" lIns="0" tIns="0" rIns="0" bIns="0">
            <a:spAutoFit/>
          </a:bodyPr>
          <a:lstStyle/>
          <a:p>
            <a:pPr>
              <a:lnSpc>
                <a:spcPct val="106000"/>
              </a:lnSpc>
              <a:buClr>
                <a:schemeClr val="tx1"/>
              </a:buClr>
            </a:pPr>
            <a:r>
              <a:rPr lang="en-GB" sz="1200" b="1" dirty="0">
                <a:solidFill>
                  <a:schemeClr val="tx2"/>
                </a:solidFill>
              </a:rPr>
              <a:t>Unit or </a:t>
            </a:r>
            <a:r>
              <a:rPr lang="en-GB" sz="1200" b="1" dirty="0" smtClean="0">
                <a:solidFill>
                  <a:schemeClr val="tx2"/>
                </a:solidFill>
              </a:rPr>
              <a:t>additional</a:t>
            </a:r>
            <a:br>
              <a:rPr lang="en-GB" sz="1200" b="1" dirty="0" smtClean="0">
                <a:solidFill>
                  <a:schemeClr val="tx2"/>
                </a:solidFill>
              </a:rPr>
            </a:br>
            <a:r>
              <a:rPr lang="en-GB" sz="1200" b="1" dirty="0" smtClean="0">
                <a:solidFill>
                  <a:schemeClr val="tx2"/>
                </a:solidFill>
              </a:rPr>
              <a:t>information</a:t>
            </a:r>
            <a:endParaRPr lang="en-GB" sz="1200" b="1" dirty="0">
              <a:solidFill>
                <a:schemeClr val="tx2"/>
              </a:solidFill>
            </a:endParaRPr>
          </a:p>
        </p:txBody>
      </p:sp>
      <p:sp>
        <p:nvSpPr>
          <p:cNvPr id="48" name="Rectangle 15"/>
          <p:cNvSpPr>
            <a:spLocks noChangeArrowheads="1"/>
          </p:cNvSpPr>
          <p:nvPr/>
        </p:nvSpPr>
        <p:spPr bwMode="gray">
          <a:xfrm>
            <a:off x="4981621" y="1602991"/>
            <a:ext cx="1269578" cy="391517"/>
          </a:xfrm>
          <a:prstGeom prst="rect">
            <a:avLst/>
          </a:prstGeom>
          <a:noFill/>
          <a:ln w="9525" algn="ctr">
            <a:noFill/>
            <a:miter lim="800000"/>
            <a:headEnd/>
            <a:tailEnd/>
          </a:ln>
        </p:spPr>
        <p:txBody>
          <a:bodyPr wrap="none" lIns="0" tIns="0" rIns="0" bIns="0">
            <a:spAutoFit/>
          </a:bodyPr>
          <a:lstStyle/>
          <a:p>
            <a:pPr>
              <a:lnSpc>
                <a:spcPct val="106000"/>
              </a:lnSpc>
              <a:buClr>
                <a:schemeClr val="tx1"/>
              </a:buClr>
            </a:pPr>
            <a:r>
              <a:rPr lang="en-GB" sz="1200" b="1" dirty="0">
                <a:solidFill>
                  <a:schemeClr val="tx2"/>
                </a:solidFill>
              </a:rPr>
              <a:t>Unit or </a:t>
            </a:r>
            <a:r>
              <a:rPr lang="en-GB" sz="1200" b="1" dirty="0" smtClean="0">
                <a:solidFill>
                  <a:schemeClr val="tx2"/>
                </a:solidFill>
              </a:rPr>
              <a:t>additional</a:t>
            </a:r>
            <a:br>
              <a:rPr lang="en-GB" sz="1200" b="1" dirty="0" smtClean="0">
                <a:solidFill>
                  <a:schemeClr val="tx2"/>
                </a:solidFill>
              </a:rPr>
            </a:br>
            <a:r>
              <a:rPr lang="en-GB" sz="1200" b="1" dirty="0" smtClean="0">
                <a:solidFill>
                  <a:schemeClr val="tx2"/>
                </a:solidFill>
              </a:rPr>
              <a:t>information</a:t>
            </a:r>
            <a:endParaRPr lang="en-GB" sz="1200" b="1" dirty="0">
              <a:solidFill>
                <a:schemeClr val="tx2"/>
              </a:solidFill>
            </a:endParaRPr>
          </a:p>
        </p:txBody>
      </p:sp>
      <p:sp>
        <p:nvSpPr>
          <p:cNvPr id="50" name="Rectangle 15"/>
          <p:cNvSpPr>
            <a:spLocks noChangeArrowheads="1"/>
          </p:cNvSpPr>
          <p:nvPr/>
        </p:nvSpPr>
        <p:spPr bwMode="gray">
          <a:xfrm>
            <a:off x="7087536" y="1599585"/>
            <a:ext cx="1269578" cy="391517"/>
          </a:xfrm>
          <a:prstGeom prst="rect">
            <a:avLst/>
          </a:prstGeom>
          <a:noFill/>
          <a:ln w="9525" algn="ctr">
            <a:noFill/>
            <a:miter lim="800000"/>
            <a:headEnd/>
            <a:tailEnd/>
          </a:ln>
        </p:spPr>
        <p:txBody>
          <a:bodyPr wrap="none" lIns="0" tIns="0" rIns="0" bIns="0">
            <a:spAutoFit/>
          </a:bodyPr>
          <a:lstStyle/>
          <a:p>
            <a:pPr>
              <a:lnSpc>
                <a:spcPct val="106000"/>
              </a:lnSpc>
              <a:buClr>
                <a:schemeClr val="tx1"/>
              </a:buClr>
            </a:pPr>
            <a:r>
              <a:rPr lang="en-GB" sz="1200" b="1" dirty="0">
                <a:solidFill>
                  <a:schemeClr val="tx2"/>
                </a:solidFill>
              </a:rPr>
              <a:t>Unit or </a:t>
            </a:r>
            <a:r>
              <a:rPr lang="en-GB" sz="1200" b="1" dirty="0" smtClean="0">
                <a:solidFill>
                  <a:schemeClr val="tx2"/>
                </a:solidFill>
              </a:rPr>
              <a:t>additional</a:t>
            </a:r>
            <a:br>
              <a:rPr lang="en-GB" sz="1200" b="1" dirty="0" smtClean="0">
                <a:solidFill>
                  <a:schemeClr val="tx2"/>
                </a:solidFill>
              </a:rPr>
            </a:br>
            <a:r>
              <a:rPr lang="en-GB" sz="1200" b="1" dirty="0" smtClean="0">
                <a:solidFill>
                  <a:schemeClr val="tx2"/>
                </a:solidFill>
              </a:rPr>
              <a:t>information</a:t>
            </a:r>
            <a:endParaRPr lang="en-GB" sz="1200" b="1" dirty="0">
              <a:solidFill>
                <a:schemeClr val="tx2"/>
              </a:solidFill>
            </a:endParaRPr>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Bars </a:t>
            </a:r>
            <a:r>
              <a:rPr lang="en-US"/>
              <a:t>—</a:t>
            </a:r>
            <a:r>
              <a:rPr lang="en-GB" altLang="ja-JP" smtClean="0">
                <a:latin typeface="Arial" charset="0"/>
                <a:ea typeface="ＭＳ Ｐゴシック" pitchFamily="50" charset="-128"/>
                <a:cs typeface="Arial" charset="0"/>
              </a:rPr>
              <a:t> </a:t>
            </a:r>
            <a:r>
              <a:rPr lang="en-GB" altLang="ja-JP">
                <a:latin typeface="Arial" charset="0"/>
                <a:ea typeface="ＭＳ Ｐゴシック" pitchFamily="50" charset="-128"/>
                <a:cs typeface="Arial" charset="0"/>
              </a:rPr>
              <a:t>paired</a:t>
            </a:r>
            <a:endParaRPr lang="nl-NL"/>
          </a:p>
        </p:txBody>
      </p:sp>
      <p:sp>
        <p:nvSpPr>
          <p:cNvPr id="11" name="Text Box 4"/>
          <p:cNvSpPr txBox="1">
            <a:spLocks noChangeArrowheads="1"/>
          </p:cNvSpPr>
          <p:nvPr/>
        </p:nvSpPr>
        <p:spPr bwMode="auto">
          <a:xfrm>
            <a:off x="4468114" y="5798354"/>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sp>
        <p:nvSpPr>
          <p:cNvPr id="21" name="Rectangle 15"/>
          <p:cNvSpPr>
            <a:spLocks noChangeArrowheads="1"/>
          </p:cNvSpPr>
          <p:nvPr/>
        </p:nvSpPr>
        <p:spPr bwMode="gray">
          <a:xfrm>
            <a:off x="3491560"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graphicFrame>
        <p:nvGraphicFramePr>
          <p:cNvPr id="17" name="Chart 16"/>
          <p:cNvGraphicFramePr/>
          <p:nvPr/>
        </p:nvGraphicFramePr>
        <p:xfrm>
          <a:off x="1141620" y="1999121"/>
          <a:ext cx="6860760" cy="3770139"/>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2"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Bars </a:t>
            </a:r>
            <a:r>
              <a:rPr lang="en-US"/>
              <a:t>—</a:t>
            </a:r>
            <a:r>
              <a:rPr lang="en-GB" altLang="ja-JP" smtClean="0">
                <a:latin typeface="Arial" charset="0"/>
                <a:ea typeface="ＭＳ Ｐゴシック" pitchFamily="50" charset="-128"/>
                <a:cs typeface="Arial" charset="0"/>
              </a:rPr>
              <a:t> </a:t>
            </a:r>
            <a:r>
              <a:rPr lang="en-GB" altLang="ja-JP">
                <a:latin typeface="Arial" charset="0"/>
                <a:ea typeface="ＭＳ Ｐゴシック" pitchFamily="50" charset="-128"/>
                <a:cs typeface="Arial" charset="0"/>
              </a:rPr>
              <a:t>two paired</a:t>
            </a:r>
            <a:endParaRPr lang="nl-NL"/>
          </a:p>
        </p:txBody>
      </p:sp>
      <p:sp>
        <p:nvSpPr>
          <p:cNvPr id="11" name="Text Box 4"/>
          <p:cNvSpPr txBox="1">
            <a:spLocks noChangeArrowheads="1"/>
          </p:cNvSpPr>
          <p:nvPr/>
        </p:nvSpPr>
        <p:spPr bwMode="auto">
          <a:xfrm>
            <a:off x="2382356" y="5729346"/>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sp>
        <p:nvSpPr>
          <p:cNvPr id="21" name="Rectangle 15"/>
          <p:cNvSpPr>
            <a:spLocks noChangeArrowheads="1"/>
          </p:cNvSpPr>
          <p:nvPr/>
        </p:nvSpPr>
        <p:spPr bwMode="gray">
          <a:xfrm>
            <a:off x="1367853" y="1600429"/>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graphicFrame>
        <p:nvGraphicFramePr>
          <p:cNvPr id="17" name="Chart 16"/>
          <p:cNvGraphicFramePr/>
          <p:nvPr/>
        </p:nvGraphicFramePr>
        <p:xfrm>
          <a:off x="382466" y="1996482"/>
          <a:ext cx="4120615" cy="3770139"/>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5"/>
          <p:cNvSpPr>
            <a:spLocks noChangeArrowheads="1"/>
          </p:cNvSpPr>
          <p:nvPr/>
        </p:nvSpPr>
        <p:spPr bwMode="gray">
          <a:xfrm>
            <a:off x="5615653" y="1600429"/>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1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9"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0" name="Text Placeholder 12"/>
          <p:cNvSpPr>
            <a:spLocks/>
          </p:cNvSpPr>
          <p:nvPr>
            <p:custDataLst>
              <p:tags r:id="rId2"/>
            </p:custDataLst>
          </p:nvPr>
        </p:nvSpPr>
        <p:spPr bwMode="auto">
          <a:xfrm>
            <a:off x="4704937"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5" name="Text Box 4"/>
          <p:cNvSpPr txBox="1">
            <a:spLocks noChangeArrowheads="1"/>
          </p:cNvSpPr>
          <p:nvPr/>
        </p:nvSpPr>
        <p:spPr bwMode="auto">
          <a:xfrm>
            <a:off x="6635695" y="5725994"/>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graphicFrame>
        <p:nvGraphicFramePr>
          <p:cNvPr id="16" name="Chart 15"/>
          <p:cNvGraphicFramePr/>
          <p:nvPr/>
        </p:nvGraphicFramePr>
        <p:xfrm>
          <a:off x="4639454" y="1996482"/>
          <a:ext cx="4120615" cy="3770139"/>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Bars </a:t>
            </a:r>
            <a:r>
              <a:rPr lang="en-US"/>
              <a:t>—</a:t>
            </a:r>
            <a:r>
              <a:rPr lang="en-GB" altLang="ja-JP" smtClean="0">
                <a:latin typeface="Arial" charset="0"/>
                <a:ea typeface="ＭＳ Ｐゴシック" pitchFamily="50" charset="-128"/>
                <a:cs typeface="Arial" charset="0"/>
              </a:rPr>
              <a:t> </a:t>
            </a:r>
            <a:r>
              <a:rPr lang="en-GB">
                <a:latin typeface="Arial" charset="0"/>
                <a:cs typeface="Arial" charset="0"/>
              </a:rPr>
              <a:t>butterfly</a:t>
            </a:r>
            <a:endParaRPr lang="nl-NL"/>
          </a:p>
        </p:txBody>
      </p:sp>
      <p:sp>
        <p:nvSpPr>
          <p:cNvPr id="11" name="Text Box 4"/>
          <p:cNvSpPr txBox="1">
            <a:spLocks noChangeArrowheads="1"/>
          </p:cNvSpPr>
          <p:nvPr/>
        </p:nvSpPr>
        <p:spPr bwMode="auto">
          <a:xfrm>
            <a:off x="2158080" y="5668964"/>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sp>
        <p:nvSpPr>
          <p:cNvPr id="21" name="Rectangle 15"/>
          <p:cNvSpPr>
            <a:spLocks noChangeArrowheads="1"/>
          </p:cNvSpPr>
          <p:nvPr/>
        </p:nvSpPr>
        <p:spPr bwMode="gray">
          <a:xfrm>
            <a:off x="1357040" y="159633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graphicFrame>
        <p:nvGraphicFramePr>
          <p:cNvPr id="17" name="Chart 16"/>
          <p:cNvGraphicFramePr/>
          <p:nvPr/>
        </p:nvGraphicFramePr>
        <p:xfrm>
          <a:off x="382466" y="1854484"/>
          <a:ext cx="4120615" cy="3770139"/>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5"/>
          <p:cNvSpPr>
            <a:spLocks noChangeArrowheads="1"/>
          </p:cNvSpPr>
          <p:nvPr/>
        </p:nvSpPr>
        <p:spPr bwMode="gray">
          <a:xfrm>
            <a:off x="5616012" y="159633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graphicFrame>
        <p:nvGraphicFramePr>
          <p:cNvPr id="15" name="Chart 14"/>
          <p:cNvGraphicFramePr/>
          <p:nvPr/>
        </p:nvGraphicFramePr>
        <p:xfrm>
          <a:off x="4639454" y="1843853"/>
          <a:ext cx="4120615" cy="3770139"/>
        </p:xfrm>
        <a:graphic>
          <a:graphicData uri="http://schemas.openxmlformats.org/drawingml/2006/chart">
            <c:chart xmlns:c="http://schemas.openxmlformats.org/drawingml/2006/chart" xmlns:r="http://schemas.openxmlformats.org/officeDocument/2006/relationships" r:id="rId5"/>
          </a:graphicData>
        </a:graphic>
      </p:graphicFrame>
      <p:sp>
        <p:nvSpPr>
          <p:cNvPr id="16" name="Text Box 6"/>
          <p:cNvSpPr txBox="1">
            <a:spLocks noChangeArrowheads="1"/>
          </p:cNvSpPr>
          <p:nvPr/>
        </p:nvSpPr>
        <p:spPr bwMode="auto">
          <a:xfrm>
            <a:off x="4292116" y="2193263"/>
            <a:ext cx="559769" cy="369332"/>
          </a:xfrm>
          <a:prstGeom prst="rect">
            <a:avLst/>
          </a:prstGeom>
          <a:noFill/>
          <a:ln w="6350" algn="ctr">
            <a:noFill/>
            <a:miter lim="800000"/>
            <a:headEnd/>
            <a:tailEnd/>
          </a:ln>
        </p:spPr>
        <p:txBody>
          <a:bodyPr wrap="none" tIns="91440" bIns="91440" anchor="ctr" anchorCtr="1">
            <a:spAutoFit/>
          </a:bodyPr>
          <a:lstStyle/>
          <a:p>
            <a:pPr algn="ctr">
              <a:spcBef>
                <a:spcPct val="0"/>
              </a:spcBef>
            </a:pPr>
            <a:r>
              <a:rPr lang="en-GB" sz="1200">
                <a:solidFill>
                  <a:schemeClr val="tx2"/>
                </a:solidFill>
                <a:ea typeface="ＭＳ Ｐゴシック" pitchFamily="50" charset="-128"/>
              </a:rPr>
              <a:t>North</a:t>
            </a:r>
          </a:p>
        </p:txBody>
      </p:sp>
      <p:sp>
        <p:nvSpPr>
          <p:cNvPr id="20" name="Text Box 7"/>
          <p:cNvSpPr txBox="1">
            <a:spLocks noChangeArrowheads="1"/>
          </p:cNvSpPr>
          <p:nvPr/>
        </p:nvSpPr>
        <p:spPr bwMode="auto">
          <a:xfrm>
            <a:off x="4279406" y="3008610"/>
            <a:ext cx="585417" cy="369332"/>
          </a:xfrm>
          <a:prstGeom prst="rect">
            <a:avLst/>
          </a:prstGeom>
          <a:noFill/>
          <a:ln w="6350" algn="ctr">
            <a:noFill/>
            <a:miter lim="800000"/>
            <a:headEnd/>
            <a:tailEnd/>
          </a:ln>
        </p:spPr>
        <p:txBody>
          <a:bodyPr wrap="none" tIns="91440" bIns="91440" anchor="ctr" anchorCtr="1">
            <a:spAutoFit/>
          </a:bodyPr>
          <a:lstStyle/>
          <a:p>
            <a:pPr algn="ctr">
              <a:spcBef>
                <a:spcPct val="0"/>
              </a:spcBef>
            </a:pPr>
            <a:r>
              <a:rPr lang="en-GB" sz="1200">
                <a:solidFill>
                  <a:schemeClr val="tx2"/>
                </a:solidFill>
                <a:ea typeface="ＭＳ Ｐゴシック" pitchFamily="50" charset="-128"/>
              </a:rPr>
              <a:t>South</a:t>
            </a:r>
          </a:p>
        </p:txBody>
      </p:sp>
      <p:sp>
        <p:nvSpPr>
          <p:cNvPr id="22" name="Text Box 8"/>
          <p:cNvSpPr txBox="1">
            <a:spLocks noChangeArrowheads="1"/>
          </p:cNvSpPr>
          <p:nvPr/>
        </p:nvSpPr>
        <p:spPr bwMode="auto">
          <a:xfrm>
            <a:off x="4325478" y="3823957"/>
            <a:ext cx="492443" cy="369332"/>
          </a:xfrm>
          <a:prstGeom prst="rect">
            <a:avLst/>
          </a:prstGeom>
          <a:noFill/>
          <a:ln w="6350" algn="ctr">
            <a:noFill/>
            <a:miter lim="800000"/>
            <a:headEnd/>
            <a:tailEnd/>
          </a:ln>
        </p:spPr>
        <p:txBody>
          <a:bodyPr wrap="none" tIns="91440" bIns="91440" anchor="ctr" anchorCtr="1">
            <a:spAutoFit/>
          </a:bodyPr>
          <a:lstStyle/>
          <a:p>
            <a:pPr algn="ctr">
              <a:spcBef>
                <a:spcPct val="0"/>
              </a:spcBef>
            </a:pPr>
            <a:r>
              <a:rPr lang="en-GB" sz="1200">
                <a:solidFill>
                  <a:schemeClr val="tx2"/>
                </a:solidFill>
                <a:ea typeface="ＭＳ Ｐゴシック" pitchFamily="50" charset="-128"/>
              </a:rPr>
              <a:t>East</a:t>
            </a:r>
          </a:p>
        </p:txBody>
      </p:sp>
      <p:sp>
        <p:nvSpPr>
          <p:cNvPr id="23" name="Text Box 9"/>
          <p:cNvSpPr txBox="1">
            <a:spLocks noChangeArrowheads="1"/>
          </p:cNvSpPr>
          <p:nvPr/>
        </p:nvSpPr>
        <p:spPr bwMode="auto">
          <a:xfrm>
            <a:off x="4303403" y="4639303"/>
            <a:ext cx="532967" cy="369332"/>
          </a:xfrm>
          <a:prstGeom prst="rect">
            <a:avLst/>
          </a:prstGeom>
          <a:noFill/>
          <a:ln w="6350" algn="ctr">
            <a:noFill/>
            <a:miter lim="800000"/>
            <a:headEnd/>
            <a:tailEnd/>
          </a:ln>
        </p:spPr>
        <p:txBody>
          <a:bodyPr wrap="none" tIns="91440" bIns="91440" anchor="ctr" anchorCtr="1">
            <a:spAutoFit/>
          </a:bodyPr>
          <a:lstStyle/>
          <a:p>
            <a:pPr algn="ctr">
              <a:spcBef>
                <a:spcPct val="0"/>
              </a:spcBef>
            </a:pPr>
            <a:r>
              <a:rPr lang="en-GB" sz="1200">
                <a:solidFill>
                  <a:schemeClr val="tx2"/>
                </a:solidFill>
                <a:ea typeface="ＭＳ Ｐゴシック" pitchFamily="50" charset="-128"/>
              </a:rPr>
              <a:t>West</a:t>
            </a:r>
          </a:p>
        </p:txBody>
      </p:sp>
      <p:sp>
        <p:nvSpPr>
          <p:cNvPr id="24" name="Text Box 4"/>
          <p:cNvSpPr txBox="1">
            <a:spLocks noChangeArrowheads="1"/>
          </p:cNvSpPr>
          <p:nvPr/>
        </p:nvSpPr>
        <p:spPr bwMode="auto">
          <a:xfrm>
            <a:off x="6415068" y="5668964"/>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sp>
        <p:nvSpPr>
          <p:cNvPr id="19"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7"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8" name="Text Placeholder 12"/>
          <p:cNvSpPr>
            <a:spLocks/>
          </p:cNvSpPr>
          <p:nvPr>
            <p:custDataLst>
              <p:tags r:id="rId2"/>
            </p:custDataLst>
          </p:nvPr>
        </p:nvSpPr>
        <p:spPr bwMode="auto">
          <a:xfrm>
            <a:off x="4836370" y="1129461"/>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Columns </a:t>
            </a:r>
            <a:r>
              <a:rPr lang="en-US"/>
              <a:t>—</a:t>
            </a:r>
            <a:r>
              <a:rPr lang="en-GB" altLang="ja-JP" smtClean="0">
                <a:latin typeface="Arial" charset="0"/>
                <a:ea typeface="ＭＳ Ｐゴシック" pitchFamily="50" charset="-128"/>
                <a:cs typeface="Arial" charset="0"/>
              </a:rPr>
              <a:t> </a:t>
            </a:r>
            <a:r>
              <a:rPr lang="en-GB" altLang="ja-JP">
                <a:latin typeface="Arial" charset="0"/>
                <a:ea typeface="ＭＳ Ｐゴシック" pitchFamily="50" charset="-128"/>
                <a:cs typeface="Arial" charset="0"/>
              </a:rPr>
              <a:t>stacked</a:t>
            </a:r>
            <a:endParaRPr lang="nl-NL"/>
          </a:p>
        </p:txBody>
      </p:sp>
      <p:graphicFrame>
        <p:nvGraphicFramePr>
          <p:cNvPr id="5" name="Chart 4"/>
          <p:cNvGraphicFramePr/>
          <p:nvPr/>
        </p:nvGraphicFramePr>
        <p:xfrm>
          <a:off x="382467" y="1906034"/>
          <a:ext cx="8377602" cy="3716976"/>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13"/>
          <p:cNvSpPr>
            <a:spLocks noChangeArrowheads="1"/>
          </p:cNvSpPr>
          <p:nvPr>
            <p:custDataLst>
              <p:tags r:id="rId1"/>
            </p:custDataLst>
          </p:nvPr>
        </p:nvSpPr>
        <p:spPr bwMode="gray">
          <a:xfrm>
            <a:off x="3485344" y="1601060"/>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11" name="Text Box 14"/>
          <p:cNvSpPr txBox="1">
            <a:spLocks noChangeArrowheads="1"/>
          </p:cNvSpPr>
          <p:nvPr/>
        </p:nvSpPr>
        <p:spPr bwMode="auto">
          <a:xfrm>
            <a:off x="4528171" y="5733307"/>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sp>
        <p:nvSpPr>
          <p:cNvPr id="15" name="Text Box 14"/>
          <p:cNvSpPr txBox="1">
            <a:spLocks noChangeArrowheads="1"/>
          </p:cNvSpPr>
          <p:nvPr/>
        </p:nvSpPr>
        <p:spPr bwMode="auto">
          <a:xfrm rot="16200000">
            <a:off x="224530" y="3355887"/>
            <a:ext cx="569387"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sp>
        <p:nvSpPr>
          <p:cNvPr id="1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7" name="Text Placeholder 12"/>
          <p:cNvSpPr>
            <a:spLocks/>
          </p:cNvSpPr>
          <p:nvPr>
            <p:custDataLst>
              <p:tags r:id="rId2"/>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Columns </a:t>
            </a:r>
            <a:r>
              <a:rPr lang="en-US"/>
              <a:t>—</a:t>
            </a:r>
            <a:r>
              <a:rPr lang="en-GB" altLang="ja-JP" smtClean="0">
                <a:latin typeface="Arial" charset="0"/>
                <a:ea typeface="ＭＳ Ｐゴシック" pitchFamily="50" charset="-128"/>
                <a:cs typeface="Arial" charset="0"/>
              </a:rPr>
              <a:t> </a:t>
            </a:r>
            <a:r>
              <a:rPr lang="en-GB" altLang="ja-JP">
                <a:latin typeface="Arial" charset="0"/>
                <a:ea typeface="ＭＳ Ｐゴシック" pitchFamily="50" charset="-128"/>
                <a:cs typeface="Arial" charset="0"/>
              </a:rPr>
              <a:t>two stacked</a:t>
            </a:r>
            <a:endParaRPr lang="nl-NL"/>
          </a:p>
        </p:txBody>
      </p:sp>
      <p:graphicFrame>
        <p:nvGraphicFramePr>
          <p:cNvPr id="5" name="Chart 4"/>
          <p:cNvGraphicFramePr/>
          <p:nvPr/>
        </p:nvGraphicFramePr>
        <p:xfrm>
          <a:off x="382466" y="1977571"/>
          <a:ext cx="3954462" cy="3716976"/>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 Box 14"/>
          <p:cNvSpPr txBox="1">
            <a:spLocks noChangeArrowheads="1"/>
          </p:cNvSpPr>
          <p:nvPr/>
        </p:nvSpPr>
        <p:spPr bwMode="auto">
          <a:xfrm>
            <a:off x="2363632" y="5717906"/>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sp>
        <p:nvSpPr>
          <p:cNvPr id="15" name="Text Box 14"/>
          <p:cNvSpPr txBox="1">
            <a:spLocks noChangeArrowheads="1"/>
          </p:cNvSpPr>
          <p:nvPr/>
        </p:nvSpPr>
        <p:spPr bwMode="auto">
          <a:xfrm rot="16200000">
            <a:off x="224530" y="3596220"/>
            <a:ext cx="569387"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sp>
        <p:nvSpPr>
          <p:cNvPr id="16" name="Text Box 4"/>
          <p:cNvSpPr txBox="1">
            <a:spLocks noChangeArrowheads="1"/>
          </p:cNvSpPr>
          <p:nvPr/>
        </p:nvSpPr>
        <p:spPr bwMode="auto">
          <a:xfrm>
            <a:off x="3977936" y="3154834"/>
            <a:ext cx="295274" cy="369332"/>
          </a:xfrm>
          <a:prstGeom prst="rect">
            <a:avLst/>
          </a:prstGeom>
          <a:noFill/>
          <a:ln w="6350" algn="ctr">
            <a:noFill/>
            <a:miter lim="800000"/>
            <a:headEnd/>
            <a:tailEnd/>
          </a:ln>
        </p:spPr>
        <p:txBody>
          <a:bodyPr wrap="none" tIns="91440" bIns="91440">
            <a:spAutoFit/>
          </a:bodyPr>
          <a:lstStyle/>
          <a:p>
            <a:pPr eaLnBrk="1" hangingPunct="1">
              <a:spcBef>
                <a:spcPct val="0"/>
              </a:spcBef>
            </a:pPr>
            <a:r>
              <a:rPr lang="en-GB" sz="1200">
                <a:solidFill>
                  <a:schemeClr val="tx2"/>
                </a:solidFill>
                <a:ea typeface="ＭＳ Ｐゴシック" pitchFamily="50" charset="-128"/>
              </a:rPr>
              <a:t>D</a:t>
            </a:r>
          </a:p>
        </p:txBody>
      </p:sp>
      <p:sp>
        <p:nvSpPr>
          <p:cNvPr id="17" name="Text Box 5"/>
          <p:cNvSpPr txBox="1">
            <a:spLocks noChangeArrowheads="1"/>
          </p:cNvSpPr>
          <p:nvPr/>
        </p:nvSpPr>
        <p:spPr bwMode="auto">
          <a:xfrm>
            <a:off x="3977936" y="3713077"/>
            <a:ext cx="295274" cy="369332"/>
          </a:xfrm>
          <a:prstGeom prst="rect">
            <a:avLst/>
          </a:prstGeom>
          <a:noFill/>
          <a:ln w="6350" algn="ctr">
            <a:noFill/>
            <a:miter lim="800000"/>
            <a:headEnd/>
            <a:tailEnd/>
          </a:ln>
        </p:spPr>
        <p:txBody>
          <a:bodyPr wrap="none" tIns="91440" bIns="91440">
            <a:spAutoFit/>
          </a:bodyPr>
          <a:lstStyle/>
          <a:p>
            <a:pPr eaLnBrk="1" hangingPunct="1">
              <a:spcBef>
                <a:spcPct val="0"/>
              </a:spcBef>
            </a:pPr>
            <a:r>
              <a:rPr lang="en-GB" sz="1200">
                <a:solidFill>
                  <a:schemeClr val="tx2"/>
                </a:solidFill>
                <a:ea typeface="ＭＳ Ｐゴシック" pitchFamily="50" charset="-128"/>
              </a:rPr>
              <a:t>C</a:t>
            </a:r>
          </a:p>
        </p:txBody>
      </p:sp>
      <p:sp>
        <p:nvSpPr>
          <p:cNvPr id="18" name="Text Box 6"/>
          <p:cNvSpPr txBox="1">
            <a:spLocks noChangeArrowheads="1"/>
          </p:cNvSpPr>
          <p:nvPr/>
        </p:nvSpPr>
        <p:spPr bwMode="auto">
          <a:xfrm>
            <a:off x="3977936" y="4398914"/>
            <a:ext cx="287258" cy="369332"/>
          </a:xfrm>
          <a:prstGeom prst="rect">
            <a:avLst/>
          </a:prstGeom>
          <a:noFill/>
          <a:ln w="6350" algn="ctr">
            <a:noFill/>
            <a:miter lim="800000"/>
            <a:headEnd/>
            <a:tailEnd/>
          </a:ln>
        </p:spPr>
        <p:txBody>
          <a:bodyPr wrap="none" tIns="91440" bIns="91440">
            <a:spAutoFit/>
          </a:bodyPr>
          <a:lstStyle/>
          <a:p>
            <a:pPr eaLnBrk="1" hangingPunct="1">
              <a:spcBef>
                <a:spcPct val="0"/>
              </a:spcBef>
            </a:pPr>
            <a:r>
              <a:rPr lang="en-GB" sz="1200">
                <a:solidFill>
                  <a:schemeClr val="tx2"/>
                </a:solidFill>
                <a:ea typeface="ＭＳ Ｐゴシック" pitchFamily="50" charset="-128"/>
              </a:rPr>
              <a:t>B</a:t>
            </a:r>
          </a:p>
        </p:txBody>
      </p:sp>
      <p:sp>
        <p:nvSpPr>
          <p:cNvPr id="19" name="Text Box 7"/>
          <p:cNvSpPr txBox="1">
            <a:spLocks noChangeArrowheads="1"/>
          </p:cNvSpPr>
          <p:nvPr/>
        </p:nvSpPr>
        <p:spPr bwMode="auto">
          <a:xfrm>
            <a:off x="3977936" y="4955573"/>
            <a:ext cx="287258" cy="369332"/>
          </a:xfrm>
          <a:prstGeom prst="rect">
            <a:avLst/>
          </a:prstGeom>
          <a:noFill/>
          <a:ln w="6350" algn="ctr">
            <a:noFill/>
            <a:miter lim="800000"/>
            <a:headEnd/>
            <a:tailEnd/>
          </a:ln>
        </p:spPr>
        <p:txBody>
          <a:bodyPr wrap="none" tIns="91440" bIns="91440">
            <a:spAutoFit/>
          </a:bodyPr>
          <a:lstStyle/>
          <a:p>
            <a:pPr eaLnBrk="1" hangingPunct="1">
              <a:spcBef>
                <a:spcPct val="0"/>
              </a:spcBef>
            </a:pPr>
            <a:r>
              <a:rPr lang="en-GB" sz="1200">
                <a:solidFill>
                  <a:schemeClr val="tx2"/>
                </a:solidFill>
                <a:ea typeface="ＭＳ Ｐゴシック" pitchFamily="50" charset="-128"/>
              </a:rPr>
              <a:t>A</a:t>
            </a:r>
          </a:p>
        </p:txBody>
      </p:sp>
      <p:graphicFrame>
        <p:nvGraphicFramePr>
          <p:cNvPr id="21" name="Chart 20"/>
          <p:cNvGraphicFramePr/>
          <p:nvPr/>
        </p:nvGraphicFramePr>
        <p:xfrm>
          <a:off x="4805607" y="1970476"/>
          <a:ext cx="3954462" cy="3716976"/>
        </p:xfrm>
        <a:graphic>
          <a:graphicData uri="http://schemas.openxmlformats.org/drawingml/2006/chart">
            <c:chart xmlns:c="http://schemas.openxmlformats.org/drawingml/2006/chart" xmlns:r="http://schemas.openxmlformats.org/officeDocument/2006/relationships" r:id="rId5"/>
          </a:graphicData>
        </a:graphic>
      </p:graphicFrame>
      <p:sp>
        <p:nvSpPr>
          <p:cNvPr id="22" name="Text Box 14"/>
          <p:cNvSpPr txBox="1">
            <a:spLocks noChangeArrowheads="1"/>
          </p:cNvSpPr>
          <p:nvPr/>
        </p:nvSpPr>
        <p:spPr bwMode="auto">
          <a:xfrm>
            <a:off x="6786774" y="5710811"/>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sp>
        <p:nvSpPr>
          <p:cNvPr id="24" name="Text Box 14"/>
          <p:cNvSpPr txBox="1">
            <a:spLocks noChangeArrowheads="1"/>
          </p:cNvSpPr>
          <p:nvPr/>
        </p:nvSpPr>
        <p:spPr bwMode="auto">
          <a:xfrm rot="16200000">
            <a:off x="4647672" y="3589125"/>
            <a:ext cx="569387"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sp>
        <p:nvSpPr>
          <p:cNvPr id="25" name="Text Box 4"/>
          <p:cNvSpPr txBox="1">
            <a:spLocks noChangeArrowheads="1"/>
          </p:cNvSpPr>
          <p:nvPr/>
        </p:nvSpPr>
        <p:spPr bwMode="auto">
          <a:xfrm>
            <a:off x="8401078" y="3147739"/>
            <a:ext cx="295274" cy="369332"/>
          </a:xfrm>
          <a:prstGeom prst="rect">
            <a:avLst/>
          </a:prstGeom>
          <a:noFill/>
          <a:ln w="6350" algn="ctr">
            <a:noFill/>
            <a:miter lim="800000"/>
            <a:headEnd/>
            <a:tailEnd/>
          </a:ln>
        </p:spPr>
        <p:txBody>
          <a:bodyPr wrap="none" tIns="91440" bIns="91440">
            <a:spAutoFit/>
          </a:bodyPr>
          <a:lstStyle/>
          <a:p>
            <a:pPr eaLnBrk="1" hangingPunct="1">
              <a:spcBef>
                <a:spcPct val="0"/>
              </a:spcBef>
            </a:pPr>
            <a:r>
              <a:rPr lang="en-GB" sz="1200">
                <a:solidFill>
                  <a:schemeClr val="tx2"/>
                </a:solidFill>
                <a:ea typeface="ＭＳ Ｐゴシック" pitchFamily="50" charset="-128"/>
              </a:rPr>
              <a:t>D</a:t>
            </a:r>
          </a:p>
        </p:txBody>
      </p:sp>
      <p:sp>
        <p:nvSpPr>
          <p:cNvPr id="26" name="Text Box 5"/>
          <p:cNvSpPr txBox="1">
            <a:spLocks noChangeArrowheads="1"/>
          </p:cNvSpPr>
          <p:nvPr/>
        </p:nvSpPr>
        <p:spPr bwMode="auto">
          <a:xfrm>
            <a:off x="8401078" y="3705982"/>
            <a:ext cx="295274" cy="369332"/>
          </a:xfrm>
          <a:prstGeom prst="rect">
            <a:avLst/>
          </a:prstGeom>
          <a:noFill/>
          <a:ln w="6350" algn="ctr">
            <a:noFill/>
            <a:miter lim="800000"/>
            <a:headEnd/>
            <a:tailEnd/>
          </a:ln>
        </p:spPr>
        <p:txBody>
          <a:bodyPr wrap="none" tIns="91440" bIns="91440">
            <a:spAutoFit/>
          </a:bodyPr>
          <a:lstStyle/>
          <a:p>
            <a:pPr eaLnBrk="1" hangingPunct="1">
              <a:spcBef>
                <a:spcPct val="0"/>
              </a:spcBef>
            </a:pPr>
            <a:r>
              <a:rPr lang="en-GB" sz="1200">
                <a:solidFill>
                  <a:schemeClr val="tx2"/>
                </a:solidFill>
                <a:ea typeface="ＭＳ Ｐゴシック" pitchFamily="50" charset="-128"/>
              </a:rPr>
              <a:t>C</a:t>
            </a:r>
          </a:p>
        </p:txBody>
      </p:sp>
      <p:sp>
        <p:nvSpPr>
          <p:cNvPr id="27" name="Text Box 6"/>
          <p:cNvSpPr txBox="1">
            <a:spLocks noChangeArrowheads="1"/>
          </p:cNvSpPr>
          <p:nvPr/>
        </p:nvSpPr>
        <p:spPr bwMode="auto">
          <a:xfrm>
            <a:off x="8401078" y="4391819"/>
            <a:ext cx="287258" cy="369332"/>
          </a:xfrm>
          <a:prstGeom prst="rect">
            <a:avLst/>
          </a:prstGeom>
          <a:noFill/>
          <a:ln w="6350" algn="ctr">
            <a:noFill/>
            <a:miter lim="800000"/>
            <a:headEnd/>
            <a:tailEnd/>
          </a:ln>
        </p:spPr>
        <p:txBody>
          <a:bodyPr wrap="none" tIns="91440" bIns="91440">
            <a:spAutoFit/>
          </a:bodyPr>
          <a:lstStyle/>
          <a:p>
            <a:pPr eaLnBrk="1" hangingPunct="1">
              <a:spcBef>
                <a:spcPct val="0"/>
              </a:spcBef>
            </a:pPr>
            <a:r>
              <a:rPr lang="en-GB" sz="1200">
                <a:solidFill>
                  <a:schemeClr val="tx2"/>
                </a:solidFill>
                <a:ea typeface="ＭＳ Ｐゴシック" pitchFamily="50" charset="-128"/>
              </a:rPr>
              <a:t>B</a:t>
            </a:r>
          </a:p>
        </p:txBody>
      </p:sp>
      <p:sp>
        <p:nvSpPr>
          <p:cNvPr id="28" name="Text Box 7"/>
          <p:cNvSpPr txBox="1">
            <a:spLocks noChangeArrowheads="1"/>
          </p:cNvSpPr>
          <p:nvPr/>
        </p:nvSpPr>
        <p:spPr bwMode="auto">
          <a:xfrm>
            <a:off x="8401078" y="4948478"/>
            <a:ext cx="287258" cy="369332"/>
          </a:xfrm>
          <a:prstGeom prst="rect">
            <a:avLst/>
          </a:prstGeom>
          <a:noFill/>
          <a:ln w="6350" algn="ctr">
            <a:noFill/>
            <a:miter lim="800000"/>
            <a:headEnd/>
            <a:tailEnd/>
          </a:ln>
        </p:spPr>
        <p:txBody>
          <a:bodyPr wrap="none" tIns="91440" bIns="91440">
            <a:spAutoFit/>
          </a:bodyPr>
          <a:lstStyle/>
          <a:p>
            <a:pPr eaLnBrk="1" hangingPunct="1">
              <a:spcBef>
                <a:spcPct val="0"/>
              </a:spcBef>
            </a:pPr>
            <a:r>
              <a:rPr lang="en-GB" sz="1200">
                <a:solidFill>
                  <a:schemeClr val="tx2"/>
                </a:solidFill>
                <a:ea typeface="ＭＳ Ｐゴシック" pitchFamily="50" charset="-128"/>
              </a:rPr>
              <a:t>A</a:t>
            </a:r>
          </a:p>
        </p:txBody>
      </p:sp>
      <p:sp>
        <p:nvSpPr>
          <p:cNvPr id="2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3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5" name="Text Placeholder 12"/>
          <p:cNvSpPr>
            <a:spLocks/>
          </p:cNvSpPr>
          <p:nvPr>
            <p:custDataLst>
              <p:tags r:id="rId2"/>
            </p:custDataLst>
          </p:nvPr>
        </p:nvSpPr>
        <p:spPr bwMode="auto">
          <a:xfrm>
            <a:off x="4836370" y="1129461"/>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9" name="Rectangle 15"/>
          <p:cNvSpPr>
            <a:spLocks noChangeArrowheads="1"/>
          </p:cNvSpPr>
          <p:nvPr/>
        </p:nvSpPr>
        <p:spPr bwMode="gray">
          <a:xfrm>
            <a:off x="1317396"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30" name="Rectangle 15"/>
          <p:cNvSpPr>
            <a:spLocks noChangeArrowheads="1"/>
          </p:cNvSpPr>
          <p:nvPr/>
        </p:nvSpPr>
        <p:spPr bwMode="gray">
          <a:xfrm>
            <a:off x="5707825"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8321"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219"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68322" name="Title 1"/>
          <p:cNvSpPr>
            <a:spLocks noGrp="1"/>
          </p:cNvSpPr>
          <p:nvPr>
            <p:ph type="title"/>
            <p:custDataLst>
              <p:tags r:id="rId3"/>
            </p:custDataLst>
          </p:nvPr>
        </p:nvSpPr>
        <p:spPr>
          <a:xfrm>
            <a:off x="414338" y="446038"/>
            <a:ext cx="8330184" cy="333425"/>
          </a:xfrm>
        </p:spPr>
        <p:txBody>
          <a:bodyPr/>
          <a:lstStyle/>
          <a:p>
            <a:r>
              <a:rPr lang="en-US" dirty="0"/>
              <a:t>Tables — data table</a:t>
            </a:r>
          </a:p>
        </p:txBody>
      </p:sp>
      <p:graphicFrame>
        <p:nvGraphicFramePr>
          <p:cNvPr id="4" name="Group 3"/>
          <p:cNvGraphicFramePr>
            <a:graphicFrameLocks/>
          </p:cNvGraphicFramePr>
          <p:nvPr>
            <p:custDataLst>
              <p:tags r:id="rId4"/>
            </p:custDataLst>
          </p:nvPr>
        </p:nvGraphicFramePr>
        <p:xfrm>
          <a:off x="394272" y="1593908"/>
          <a:ext cx="8350250" cy="4302745"/>
        </p:xfrm>
        <a:graphic>
          <a:graphicData uri="http://schemas.openxmlformats.org/drawingml/2006/table">
            <a:tbl>
              <a:tblPr>
                <a:tableStyleId>{8799B23B-EC83-4686-B30A-512413B5E67A}</a:tableStyleId>
              </a:tblPr>
              <a:tblGrid>
                <a:gridCol w="1365394"/>
                <a:gridCol w="873107"/>
                <a:gridCol w="873107"/>
                <a:gridCol w="873107"/>
                <a:gridCol w="873107"/>
                <a:gridCol w="873107"/>
                <a:gridCol w="873107"/>
                <a:gridCol w="873107"/>
                <a:gridCol w="873107"/>
              </a:tblGrid>
              <a:tr h="33051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1" i="0" u="none" strike="noStrike" cap="none" normalizeH="0" baseline="0" dirty="0">
                        <a:ln>
                          <a:noFill/>
                        </a:ln>
                        <a:solidFill>
                          <a:schemeClr val="bg1"/>
                        </a:solidFill>
                        <a:effectLst/>
                        <a:latin typeface="Arial" charset="0"/>
                      </a:endParaRPr>
                    </a:p>
                  </a:txBody>
                  <a:tcPr marL="66462" marR="66462" marT="36000" marB="36000" anchor="ctr" horzOverflow="overflow">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dirty="0">
                          <a:ln>
                            <a:noFill/>
                          </a:ln>
                          <a:solidFill>
                            <a:schemeClr val="bg1"/>
                          </a:solidFill>
                          <a:effectLst/>
                        </a:rPr>
                        <a:t>Subhead</a:t>
                      </a:r>
                      <a:endParaRPr kumimoji="0" lang="en-US" sz="1200" b="1" i="0" u="none" strike="noStrike" cap="none" normalizeH="0" baseline="0" dirty="0">
                        <a:ln>
                          <a:noFill/>
                        </a:ln>
                        <a:solidFill>
                          <a:schemeClr val="bg1"/>
                        </a:solidFill>
                        <a:effectLst/>
                        <a:latin typeface="Arial" charset="0"/>
                      </a:endParaRPr>
                    </a:p>
                  </a:txBody>
                  <a:tcPr marL="66462" marR="66462" marT="36000" marB="36000" anchor="ctr" horzOverflow="overflow">
                    <a:lnL w="12700" cmpd="sng">
                      <a:noFill/>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A1DE"/>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dirty="0">
                          <a:ln>
                            <a:noFill/>
                          </a:ln>
                          <a:solidFill>
                            <a:schemeClr val="bg1"/>
                          </a:solidFill>
                          <a:effectLst/>
                        </a:rPr>
                        <a:t>Subhead</a:t>
                      </a:r>
                      <a:endParaRPr kumimoji="0" lang="en-US" sz="1200" b="1" i="0" u="none" strike="noStrike" cap="none" normalizeH="0" baseline="0" dirty="0">
                        <a:ln>
                          <a:noFill/>
                        </a:ln>
                        <a:solidFill>
                          <a:schemeClr val="bg1"/>
                        </a:solidFill>
                        <a:effectLst/>
                        <a:latin typeface="Arial" charset="0"/>
                      </a:endParaRPr>
                    </a:p>
                  </a:txBody>
                  <a:tcPr marL="66462" marR="66462"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A1DE"/>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dirty="0">
                          <a:ln>
                            <a:noFill/>
                          </a:ln>
                          <a:solidFill>
                            <a:schemeClr val="bg1"/>
                          </a:solidFill>
                          <a:effectLst/>
                        </a:rPr>
                        <a:t>Subhead</a:t>
                      </a:r>
                      <a:endParaRPr kumimoji="0" lang="en-US" sz="1200" b="1" i="0" u="none" strike="noStrike" cap="none" normalizeH="0" baseline="0" dirty="0">
                        <a:ln>
                          <a:noFill/>
                        </a:ln>
                        <a:solidFill>
                          <a:schemeClr val="bg1"/>
                        </a:solidFill>
                        <a:effectLst/>
                        <a:latin typeface="Arial" charset="0"/>
                      </a:endParaRPr>
                    </a:p>
                  </a:txBody>
                  <a:tcPr marL="66462" marR="66462"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A1DE"/>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dirty="0">
                          <a:ln>
                            <a:noFill/>
                          </a:ln>
                          <a:solidFill>
                            <a:schemeClr val="bg1"/>
                          </a:solidFill>
                          <a:effectLst/>
                        </a:rPr>
                        <a:t>Subhead</a:t>
                      </a:r>
                      <a:endParaRPr kumimoji="0" lang="en-US" sz="1200" b="1" i="0" u="none" strike="noStrike" cap="none" normalizeH="0" baseline="0" dirty="0">
                        <a:ln>
                          <a:noFill/>
                        </a:ln>
                        <a:solidFill>
                          <a:schemeClr val="bg1"/>
                        </a:solidFill>
                        <a:effectLst/>
                        <a:latin typeface="Arial" charset="0"/>
                      </a:endParaRPr>
                    </a:p>
                  </a:txBody>
                  <a:tcPr marL="66462" marR="66462"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A1DE"/>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dirty="0">
                          <a:ln>
                            <a:noFill/>
                          </a:ln>
                          <a:solidFill>
                            <a:schemeClr val="bg1"/>
                          </a:solidFill>
                          <a:effectLst/>
                        </a:rPr>
                        <a:t>Subhead</a:t>
                      </a:r>
                      <a:endParaRPr kumimoji="0" lang="en-US" sz="1200" b="1" i="0" u="none" strike="noStrike" cap="none" normalizeH="0" baseline="0" dirty="0">
                        <a:ln>
                          <a:noFill/>
                        </a:ln>
                        <a:solidFill>
                          <a:schemeClr val="bg1"/>
                        </a:solidFill>
                        <a:effectLst/>
                        <a:latin typeface="Arial" charset="0"/>
                      </a:endParaRPr>
                    </a:p>
                  </a:txBody>
                  <a:tcPr marL="66462" marR="66462"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A1DE"/>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dirty="0">
                          <a:ln>
                            <a:noFill/>
                          </a:ln>
                          <a:solidFill>
                            <a:schemeClr val="bg1"/>
                          </a:solidFill>
                          <a:effectLst/>
                        </a:rPr>
                        <a:t>Subhead</a:t>
                      </a:r>
                      <a:endParaRPr kumimoji="0" lang="en-US" sz="1200" b="1" i="0" u="none" strike="noStrike" cap="none" normalizeH="0" baseline="0" dirty="0">
                        <a:ln>
                          <a:noFill/>
                        </a:ln>
                        <a:solidFill>
                          <a:schemeClr val="bg1"/>
                        </a:solidFill>
                        <a:effectLst/>
                        <a:latin typeface="Arial" charset="0"/>
                      </a:endParaRPr>
                    </a:p>
                  </a:txBody>
                  <a:tcPr marL="66462" marR="66462"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A1DE"/>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dirty="0">
                          <a:ln>
                            <a:noFill/>
                          </a:ln>
                          <a:solidFill>
                            <a:schemeClr val="bg1"/>
                          </a:solidFill>
                          <a:effectLst/>
                        </a:rPr>
                        <a:t>Subhead</a:t>
                      </a:r>
                      <a:endParaRPr kumimoji="0" lang="en-US" sz="1200" b="1" i="0" u="none" strike="noStrike" cap="none" normalizeH="0" baseline="0" dirty="0">
                        <a:ln>
                          <a:noFill/>
                        </a:ln>
                        <a:solidFill>
                          <a:schemeClr val="bg1"/>
                        </a:solidFill>
                        <a:effectLst/>
                        <a:latin typeface="Arial" charset="0"/>
                      </a:endParaRPr>
                    </a:p>
                  </a:txBody>
                  <a:tcPr marL="66462" marR="66462"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A1DE"/>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dirty="0">
                          <a:ln>
                            <a:noFill/>
                          </a:ln>
                          <a:solidFill>
                            <a:schemeClr val="bg1"/>
                          </a:solidFill>
                          <a:effectLst/>
                        </a:rPr>
                        <a:t>Subhead</a:t>
                      </a:r>
                      <a:endParaRPr kumimoji="0" lang="en-US" sz="1200" b="1" i="0" u="none" strike="noStrike" cap="none" normalizeH="0" baseline="0" dirty="0">
                        <a:ln>
                          <a:noFill/>
                        </a:ln>
                        <a:solidFill>
                          <a:schemeClr val="bg1"/>
                        </a:solidFill>
                        <a:effectLst/>
                        <a:latin typeface="Arial" charset="0"/>
                      </a:endParaRPr>
                    </a:p>
                  </a:txBody>
                  <a:tcPr marL="66462" marR="66462" marT="36000" marB="36000" anchor="ctr" horzOverflow="overflow">
                    <a:lnL w="12700"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A1DE"/>
                    </a:solidFill>
                  </a:tcPr>
                </a:tc>
              </a:tr>
              <a:tr h="49652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Row description</a:t>
                      </a:r>
                      <a:endParaRPr kumimoji="0" lang="en-US" sz="1200" b="1"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xx</a:t>
                      </a:r>
                      <a:endParaRPr kumimoji="0" lang="en-US" sz="1200" b="0"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xx</a:t>
                      </a:r>
                      <a:endParaRPr kumimoji="0" lang="en-US" sz="1200" b="0"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xx</a:t>
                      </a:r>
                      <a:endParaRPr kumimoji="0" lang="en-US" sz="1200" b="0"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xx</a:t>
                      </a:r>
                      <a:endParaRPr kumimoji="0" lang="en-US" sz="1200" b="0"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xx</a:t>
                      </a:r>
                      <a:endParaRPr kumimoji="0" lang="en-US" sz="1200" b="0"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xx</a:t>
                      </a:r>
                      <a:endParaRPr kumimoji="0" lang="en-US" sz="1200" b="0"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xx</a:t>
                      </a:r>
                      <a:endParaRPr kumimoji="0" lang="en-US" sz="1200" b="0"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xx</a:t>
                      </a:r>
                      <a:endParaRPr kumimoji="0" lang="en-US" sz="1200" b="0"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49652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Row description</a:t>
                      </a:r>
                      <a:endParaRPr kumimoji="0" lang="en-US" sz="1200" b="1"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49652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Row description</a:t>
                      </a:r>
                      <a:endParaRPr kumimoji="0" lang="en-US" sz="1200" b="1"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xx</a:t>
                      </a:r>
                      <a:endParaRPr kumimoji="0" lang="en-US" sz="1200" b="0"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49652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Row description</a:t>
                      </a:r>
                      <a:endParaRPr kumimoji="0" lang="en-US" sz="1200" b="1"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49652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Row description</a:t>
                      </a:r>
                      <a:endParaRPr kumimoji="0" lang="en-US" sz="1200" b="1"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49652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Row description</a:t>
                      </a:r>
                      <a:endParaRPr kumimoji="0" lang="en-US" sz="1200" b="1"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49652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Row description</a:t>
                      </a:r>
                      <a:endParaRPr kumimoji="0" lang="en-US" sz="1200" b="1"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49652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Row description</a:t>
                      </a:r>
                      <a:endParaRPr kumimoji="0" lang="en-US" sz="1200" b="1"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xx</a:t>
                      </a:r>
                      <a:endParaRPr kumimoji="0" lang="en-US" sz="1200" b="0"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rgbClr val="002776"/>
                          </a:solidFill>
                          <a:effectLst/>
                        </a:rPr>
                        <a:t>xx</a:t>
                      </a:r>
                      <a:endParaRPr kumimoji="0" lang="en-US" sz="1200" b="0" i="0" u="none" strike="noStrike" cap="none" normalizeH="0" baseline="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xx</a:t>
                      </a:r>
                      <a:endParaRPr kumimoji="0" lang="en-US" sz="1200" b="0" i="0" u="none" strike="noStrike" cap="none" normalizeH="0" baseline="0" dirty="0">
                        <a:ln>
                          <a:noFill/>
                        </a:ln>
                        <a:solidFill>
                          <a:srgbClr val="002776"/>
                        </a:solidFill>
                        <a:effectLst/>
                        <a:latin typeface="Arial" charset="0"/>
                      </a:endParaRPr>
                    </a:p>
                  </a:txBody>
                  <a:tcPr marL="66462" marR="66462" marT="36000" marB="36000" anchor="ctr"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 name="Text Placeholder 12"/>
          <p:cNvSpPr>
            <a:spLocks/>
          </p:cNvSpPr>
          <p:nvPr>
            <p:custDataLst>
              <p:tags r:id="rId5"/>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9"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Columns </a:t>
            </a:r>
            <a:r>
              <a:rPr lang="en-US"/>
              <a:t>—</a:t>
            </a:r>
            <a:r>
              <a:rPr lang="en-GB" altLang="ja-JP" smtClean="0">
                <a:latin typeface="Arial" charset="0"/>
                <a:ea typeface="ＭＳ Ｐゴシック" pitchFamily="50" charset="-128"/>
                <a:cs typeface="Arial" charset="0"/>
              </a:rPr>
              <a:t> </a:t>
            </a:r>
            <a:r>
              <a:rPr lang="en-GB" altLang="de-DE">
                <a:latin typeface="Arial" charset="0"/>
                <a:cs typeface="Arial" charset="0"/>
              </a:rPr>
              <a:t>four on a page</a:t>
            </a:r>
            <a:endParaRPr lang="nl-NL"/>
          </a:p>
        </p:txBody>
      </p:sp>
      <p:graphicFrame>
        <p:nvGraphicFramePr>
          <p:cNvPr id="5" name="Chart 4"/>
          <p:cNvGraphicFramePr/>
          <p:nvPr/>
        </p:nvGraphicFramePr>
        <p:xfrm>
          <a:off x="382466" y="1960319"/>
          <a:ext cx="3954462" cy="190800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 Box 14"/>
          <p:cNvSpPr txBox="1">
            <a:spLocks noChangeArrowheads="1"/>
          </p:cNvSpPr>
          <p:nvPr/>
        </p:nvSpPr>
        <p:spPr bwMode="auto">
          <a:xfrm>
            <a:off x="2363632" y="5792333"/>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sp>
        <p:nvSpPr>
          <p:cNvPr id="15" name="Text Box 14"/>
          <p:cNvSpPr txBox="1">
            <a:spLocks noChangeArrowheads="1"/>
          </p:cNvSpPr>
          <p:nvPr/>
        </p:nvSpPr>
        <p:spPr bwMode="auto">
          <a:xfrm rot="16200000">
            <a:off x="224532" y="2605702"/>
            <a:ext cx="569387"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graphicFrame>
        <p:nvGraphicFramePr>
          <p:cNvPr id="30" name="Chart 29"/>
          <p:cNvGraphicFramePr/>
          <p:nvPr/>
        </p:nvGraphicFramePr>
        <p:xfrm>
          <a:off x="4805607" y="1966339"/>
          <a:ext cx="3954462" cy="1908000"/>
        </p:xfrm>
        <a:graphic>
          <a:graphicData uri="http://schemas.openxmlformats.org/drawingml/2006/chart">
            <c:chart xmlns:c="http://schemas.openxmlformats.org/drawingml/2006/chart" xmlns:r="http://schemas.openxmlformats.org/officeDocument/2006/relationships" r:id="rId5"/>
          </a:graphicData>
        </a:graphic>
      </p:graphicFrame>
      <p:sp>
        <p:nvSpPr>
          <p:cNvPr id="31" name="Text Box 14"/>
          <p:cNvSpPr txBox="1">
            <a:spLocks noChangeArrowheads="1"/>
          </p:cNvSpPr>
          <p:nvPr/>
        </p:nvSpPr>
        <p:spPr bwMode="auto">
          <a:xfrm rot="16200000">
            <a:off x="4647673" y="2611722"/>
            <a:ext cx="569387"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graphicFrame>
        <p:nvGraphicFramePr>
          <p:cNvPr id="37" name="Chart 36"/>
          <p:cNvGraphicFramePr/>
          <p:nvPr/>
        </p:nvGraphicFramePr>
        <p:xfrm>
          <a:off x="382466" y="3937975"/>
          <a:ext cx="3954462" cy="1908000"/>
        </p:xfrm>
        <a:graphic>
          <a:graphicData uri="http://schemas.openxmlformats.org/drawingml/2006/chart">
            <c:chart xmlns:c="http://schemas.openxmlformats.org/drawingml/2006/chart" xmlns:r="http://schemas.openxmlformats.org/officeDocument/2006/relationships" r:id="rId6"/>
          </a:graphicData>
        </a:graphic>
      </p:graphicFrame>
      <p:sp>
        <p:nvSpPr>
          <p:cNvPr id="38" name="Text Box 14"/>
          <p:cNvSpPr txBox="1">
            <a:spLocks noChangeArrowheads="1"/>
          </p:cNvSpPr>
          <p:nvPr/>
        </p:nvSpPr>
        <p:spPr bwMode="auto">
          <a:xfrm rot="16200000">
            <a:off x="224532" y="4583358"/>
            <a:ext cx="569387"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graphicFrame>
        <p:nvGraphicFramePr>
          <p:cNvPr id="39" name="Chart 38"/>
          <p:cNvGraphicFramePr/>
          <p:nvPr/>
        </p:nvGraphicFramePr>
        <p:xfrm>
          <a:off x="4805607" y="3937972"/>
          <a:ext cx="3954462" cy="1908000"/>
        </p:xfrm>
        <a:graphic>
          <a:graphicData uri="http://schemas.openxmlformats.org/drawingml/2006/chart">
            <c:chart xmlns:c="http://schemas.openxmlformats.org/drawingml/2006/chart" xmlns:r="http://schemas.openxmlformats.org/officeDocument/2006/relationships" r:id="rId7"/>
          </a:graphicData>
        </a:graphic>
      </p:graphicFrame>
      <p:sp>
        <p:nvSpPr>
          <p:cNvPr id="40" name="Text Box 14"/>
          <p:cNvSpPr txBox="1">
            <a:spLocks noChangeArrowheads="1"/>
          </p:cNvSpPr>
          <p:nvPr/>
        </p:nvSpPr>
        <p:spPr bwMode="auto">
          <a:xfrm rot="16200000">
            <a:off x="4647673" y="4583355"/>
            <a:ext cx="569387"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sp>
        <p:nvSpPr>
          <p:cNvPr id="2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2" name="Rectangle 15"/>
          <p:cNvSpPr>
            <a:spLocks noChangeArrowheads="1"/>
          </p:cNvSpPr>
          <p:nvPr/>
        </p:nvSpPr>
        <p:spPr bwMode="gray">
          <a:xfrm>
            <a:off x="1290550"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23" name="Rectangle 15"/>
          <p:cNvSpPr>
            <a:spLocks noChangeArrowheads="1"/>
          </p:cNvSpPr>
          <p:nvPr/>
        </p:nvSpPr>
        <p:spPr bwMode="gray">
          <a:xfrm>
            <a:off x="5695784"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2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5" name="Text Placeholder 12"/>
          <p:cNvSpPr>
            <a:spLocks/>
          </p:cNvSpPr>
          <p:nvPr>
            <p:custDataLst>
              <p:tags r:id="rId2"/>
            </p:custDataLst>
          </p:nvPr>
        </p:nvSpPr>
        <p:spPr bwMode="auto">
          <a:xfrm>
            <a:off x="4836370" y="1129461"/>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2" name="Text Box 14"/>
          <p:cNvSpPr txBox="1">
            <a:spLocks noChangeArrowheads="1"/>
          </p:cNvSpPr>
          <p:nvPr/>
        </p:nvSpPr>
        <p:spPr bwMode="auto">
          <a:xfrm>
            <a:off x="6793006" y="5797607"/>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Columns </a:t>
            </a:r>
            <a:r>
              <a:rPr lang="en-US"/>
              <a:t>—</a:t>
            </a:r>
            <a:r>
              <a:rPr lang="en-GB" altLang="ja-JP" smtClean="0">
                <a:latin typeface="Arial" charset="0"/>
                <a:ea typeface="ＭＳ Ｐゴシック" pitchFamily="50" charset="-128"/>
                <a:cs typeface="Arial" charset="0"/>
              </a:rPr>
              <a:t> </a:t>
            </a:r>
            <a:r>
              <a:rPr lang="en-GB" altLang="ja-JP">
                <a:latin typeface="Arial" charset="0"/>
                <a:ea typeface="ＭＳ Ｐゴシック" pitchFamily="50" charset="-128"/>
                <a:cs typeface="Arial" charset="0"/>
              </a:rPr>
              <a:t>paired</a:t>
            </a:r>
            <a:endParaRPr lang="nl-NL"/>
          </a:p>
        </p:txBody>
      </p:sp>
      <p:sp>
        <p:nvSpPr>
          <p:cNvPr id="11" name="Text Box 4"/>
          <p:cNvSpPr txBox="1">
            <a:spLocks noChangeArrowheads="1"/>
          </p:cNvSpPr>
          <p:nvPr/>
        </p:nvSpPr>
        <p:spPr bwMode="auto">
          <a:xfrm>
            <a:off x="4287307" y="4914053"/>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graphicFrame>
        <p:nvGraphicFramePr>
          <p:cNvPr id="17" name="Chart 16"/>
          <p:cNvGraphicFramePr/>
          <p:nvPr/>
        </p:nvGraphicFramePr>
        <p:xfrm>
          <a:off x="1141620" y="2090886"/>
          <a:ext cx="6860760" cy="2831988"/>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 Box 4"/>
          <p:cNvSpPr txBox="1">
            <a:spLocks noChangeArrowheads="1"/>
          </p:cNvSpPr>
          <p:nvPr/>
        </p:nvSpPr>
        <p:spPr bwMode="auto">
          <a:xfrm rot="16200000">
            <a:off x="806376" y="3122872"/>
            <a:ext cx="569387"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sp>
        <p:nvSpPr>
          <p:cNvPr id="1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3" name="Rectangle 15"/>
          <p:cNvSpPr>
            <a:spLocks noChangeArrowheads="1"/>
          </p:cNvSpPr>
          <p:nvPr/>
        </p:nvSpPr>
        <p:spPr bwMode="gray">
          <a:xfrm>
            <a:off x="3485639" y="1600429"/>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1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Columns </a:t>
            </a:r>
            <a:r>
              <a:rPr lang="en-US"/>
              <a:t>—</a:t>
            </a:r>
            <a:r>
              <a:rPr lang="en-GB" altLang="ja-JP" smtClean="0">
                <a:latin typeface="Arial" charset="0"/>
                <a:ea typeface="ＭＳ Ｐゴシック" pitchFamily="50" charset="-128"/>
                <a:cs typeface="Arial" charset="0"/>
              </a:rPr>
              <a:t> </a:t>
            </a:r>
            <a:r>
              <a:rPr lang="en-GB" altLang="ja-JP">
                <a:latin typeface="Arial" charset="0"/>
                <a:ea typeface="ＭＳ Ｐゴシック" pitchFamily="50" charset="-128"/>
                <a:cs typeface="Arial" charset="0"/>
              </a:rPr>
              <a:t>four paired</a:t>
            </a:r>
            <a:endParaRPr lang="nl-NL"/>
          </a:p>
        </p:txBody>
      </p:sp>
      <p:sp>
        <p:nvSpPr>
          <p:cNvPr id="11" name="Text Box 4"/>
          <p:cNvSpPr txBox="1">
            <a:spLocks noChangeArrowheads="1"/>
          </p:cNvSpPr>
          <p:nvPr/>
        </p:nvSpPr>
        <p:spPr bwMode="auto">
          <a:xfrm>
            <a:off x="1291368" y="5789728"/>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graphicFrame>
        <p:nvGraphicFramePr>
          <p:cNvPr id="17" name="Chart 16"/>
          <p:cNvGraphicFramePr/>
          <p:nvPr/>
        </p:nvGraphicFramePr>
        <p:xfrm>
          <a:off x="382651" y="1999121"/>
          <a:ext cx="2093538" cy="3770139"/>
        </p:xfrm>
        <a:graphic>
          <a:graphicData uri="http://schemas.openxmlformats.org/drawingml/2006/chart">
            <c:chart xmlns:c="http://schemas.openxmlformats.org/drawingml/2006/chart" xmlns:r="http://schemas.openxmlformats.org/officeDocument/2006/relationships" r:id="rId6"/>
          </a:graphicData>
        </a:graphic>
      </p:graphicFrame>
      <p:sp>
        <p:nvSpPr>
          <p:cNvPr id="15" name="Text Box 4"/>
          <p:cNvSpPr txBox="1">
            <a:spLocks noChangeArrowheads="1"/>
          </p:cNvSpPr>
          <p:nvPr/>
        </p:nvSpPr>
        <p:spPr bwMode="auto">
          <a:xfrm rot="16200000">
            <a:off x="224529" y="3629030"/>
            <a:ext cx="569387"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sp>
        <p:nvSpPr>
          <p:cNvPr id="35" name="Text Box 4"/>
          <p:cNvSpPr txBox="1">
            <a:spLocks noChangeArrowheads="1"/>
          </p:cNvSpPr>
          <p:nvPr/>
        </p:nvSpPr>
        <p:spPr bwMode="auto">
          <a:xfrm>
            <a:off x="3387179" y="5789728"/>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graphicFrame>
        <p:nvGraphicFramePr>
          <p:cNvPr id="37" name="Chart 36"/>
          <p:cNvGraphicFramePr/>
          <p:nvPr/>
        </p:nvGraphicFramePr>
        <p:xfrm>
          <a:off x="2478462" y="1999121"/>
          <a:ext cx="2093538" cy="3770139"/>
        </p:xfrm>
        <a:graphic>
          <a:graphicData uri="http://schemas.openxmlformats.org/drawingml/2006/chart">
            <c:chart xmlns:c="http://schemas.openxmlformats.org/drawingml/2006/chart" xmlns:r="http://schemas.openxmlformats.org/officeDocument/2006/relationships" r:id="rId7"/>
          </a:graphicData>
        </a:graphic>
      </p:graphicFrame>
      <p:sp>
        <p:nvSpPr>
          <p:cNvPr id="39" name="Text Box 4"/>
          <p:cNvSpPr txBox="1">
            <a:spLocks noChangeArrowheads="1"/>
          </p:cNvSpPr>
          <p:nvPr/>
        </p:nvSpPr>
        <p:spPr bwMode="auto">
          <a:xfrm rot="16200000">
            <a:off x="2320340" y="3629030"/>
            <a:ext cx="569387"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sp>
        <p:nvSpPr>
          <p:cNvPr id="40" name="Text Box 4"/>
          <p:cNvSpPr txBox="1">
            <a:spLocks noChangeArrowheads="1"/>
          </p:cNvSpPr>
          <p:nvPr/>
        </p:nvSpPr>
        <p:spPr bwMode="auto">
          <a:xfrm>
            <a:off x="5480718" y="5789728"/>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graphicFrame>
        <p:nvGraphicFramePr>
          <p:cNvPr id="42" name="Chart 41"/>
          <p:cNvGraphicFramePr/>
          <p:nvPr/>
        </p:nvGraphicFramePr>
        <p:xfrm>
          <a:off x="4572000" y="1999121"/>
          <a:ext cx="2093538" cy="3770139"/>
        </p:xfrm>
        <a:graphic>
          <a:graphicData uri="http://schemas.openxmlformats.org/drawingml/2006/chart">
            <c:chart xmlns:c="http://schemas.openxmlformats.org/drawingml/2006/chart" xmlns:r="http://schemas.openxmlformats.org/officeDocument/2006/relationships" r:id="rId8"/>
          </a:graphicData>
        </a:graphic>
      </p:graphicFrame>
      <p:sp>
        <p:nvSpPr>
          <p:cNvPr id="44" name="Text Box 4"/>
          <p:cNvSpPr txBox="1">
            <a:spLocks noChangeArrowheads="1"/>
          </p:cNvSpPr>
          <p:nvPr/>
        </p:nvSpPr>
        <p:spPr bwMode="auto">
          <a:xfrm rot="16200000">
            <a:off x="4413878" y="3629030"/>
            <a:ext cx="569387"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sp>
        <p:nvSpPr>
          <p:cNvPr id="45" name="Text Box 4"/>
          <p:cNvSpPr txBox="1">
            <a:spLocks noChangeArrowheads="1"/>
          </p:cNvSpPr>
          <p:nvPr/>
        </p:nvSpPr>
        <p:spPr bwMode="auto">
          <a:xfrm>
            <a:off x="7575249" y="5789728"/>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graphicFrame>
        <p:nvGraphicFramePr>
          <p:cNvPr id="47" name="Chart 46"/>
          <p:cNvGraphicFramePr/>
          <p:nvPr/>
        </p:nvGraphicFramePr>
        <p:xfrm>
          <a:off x="6666531" y="1999121"/>
          <a:ext cx="2093538" cy="3770139"/>
        </p:xfrm>
        <a:graphic>
          <a:graphicData uri="http://schemas.openxmlformats.org/drawingml/2006/chart">
            <c:chart xmlns:c="http://schemas.openxmlformats.org/drawingml/2006/chart" xmlns:r="http://schemas.openxmlformats.org/officeDocument/2006/relationships" r:id="rId9"/>
          </a:graphicData>
        </a:graphic>
      </p:graphicFrame>
      <p:sp>
        <p:nvSpPr>
          <p:cNvPr id="49" name="Text Box 4"/>
          <p:cNvSpPr txBox="1">
            <a:spLocks noChangeArrowheads="1"/>
          </p:cNvSpPr>
          <p:nvPr/>
        </p:nvSpPr>
        <p:spPr bwMode="auto">
          <a:xfrm rot="16200000">
            <a:off x="6508409" y="3629030"/>
            <a:ext cx="569387"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sp>
        <p:nvSpPr>
          <p:cNvPr id="29" name="Rectangle 15"/>
          <p:cNvSpPr>
            <a:spLocks noChangeArrowheads="1"/>
          </p:cNvSpPr>
          <p:nvPr/>
        </p:nvSpPr>
        <p:spPr bwMode="gray">
          <a:xfrm>
            <a:off x="799649" y="1603068"/>
            <a:ext cx="1269578" cy="391517"/>
          </a:xfrm>
          <a:prstGeom prst="rect">
            <a:avLst/>
          </a:prstGeom>
          <a:noFill/>
          <a:ln w="9525" algn="ctr">
            <a:noFill/>
            <a:miter lim="800000"/>
            <a:headEnd/>
            <a:tailEnd/>
          </a:ln>
        </p:spPr>
        <p:txBody>
          <a:bodyPr wrap="none" lIns="0" tIns="0" rIns="0" bIns="0">
            <a:spAutoFit/>
          </a:bodyPr>
          <a:lstStyle/>
          <a:p>
            <a:pPr>
              <a:lnSpc>
                <a:spcPct val="106000"/>
              </a:lnSpc>
              <a:buClr>
                <a:schemeClr val="tx1"/>
              </a:buClr>
            </a:pPr>
            <a:r>
              <a:rPr lang="en-GB" sz="1200" b="1" dirty="0">
                <a:solidFill>
                  <a:schemeClr val="tx2"/>
                </a:solidFill>
              </a:rPr>
              <a:t>Unit or </a:t>
            </a:r>
            <a:r>
              <a:rPr lang="en-GB" sz="1200" b="1" dirty="0" smtClean="0">
                <a:solidFill>
                  <a:schemeClr val="tx2"/>
                </a:solidFill>
              </a:rPr>
              <a:t>additional</a:t>
            </a:r>
            <a:br>
              <a:rPr lang="en-GB" sz="1200" b="1" dirty="0" smtClean="0">
                <a:solidFill>
                  <a:schemeClr val="tx2"/>
                </a:solidFill>
              </a:rPr>
            </a:br>
            <a:r>
              <a:rPr lang="en-GB" sz="1200" b="1" dirty="0" smtClean="0">
                <a:solidFill>
                  <a:schemeClr val="tx2"/>
                </a:solidFill>
              </a:rPr>
              <a:t>information</a:t>
            </a:r>
            <a:endParaRPr lang="en-GB" sz="1200" b="1" dirty="0">
              <a:solidFill>
                <a:schemeClr val="tx2"/>
              </a:solidFill>
            </a:endParaRPr>
          </a:p>
        </p:txBody>
      </p:sp>
      <p:sp>
        <p:nvSpPr>
          <p:cNvPr id="30"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1" name="Rectangle 15"/>
          <p:cNvSpPr>
            <a:spLocks noChangeArrowheads="1"/>
          </p:cNvSpPr>
          <p:nvPr/>
        </p:nvSpPr>
        <p:spPr bwMode="gray">
          <a:xfrm>
            <a:off x="2866632" y="1602991"/>
            <a:ext cx="1269578" cy="391517"/>
          </a:xfrm>
          <a:prstGeom prst="rect">
            <a:avLst/>
          </a:prstGeom>
          <a:noFill/>
          <a:ln w="9525" algn="ctr">
            <a:noFill/>
            <a:miter lim="800000"/>
            <a:headEnd/>
            <a:tailEnd/>
          </a:ln>
        </p:spPr>
        <p:txBody>
          <a:bodyPr wrap="none" lIns="0" tIns="0" rIns="0" bIns="0">
            <a:spAutoFit/>
          </a:bodyPr>
          <a:lstStyle/>
          <a:p>
            <a:pPr>
              <a:lnSpc>
                <a:spcPct val="106000"/>
              </a:lnSpc>
              <a:buClr>
                <a:schemeClr val="tx1"/>
              </a:buClr>
            </a:pPr>
            <a:r>
              <a:rPr lang="en-GB" sz="1200" b="1" dirty="0">
                <a:solidFill>
                  <a:schemeClr val="tx2"/>
                </a:solidFill>
              </a:rPr>
              <a:t>Unit or </a:t>
            </a:r>
            <a:r>
              <a:rPr lang="en-GB" sz="1200" b="1" dirty="0" smtClean="0">
                <a:solidFill>
                  <a:schemeClr val="tx2"/>
                </a:solidFill>
              </a:rPr>
              <a:t>additional</a:t>
            </a:r>
            <a:br>
              <a:rPr lang="en-GB" sz="1200" b="1" dirty="0" smtClean="0">
                <a:solidFill>
                  <a:schemeClr val="tx2"/>
                </a:solidFill>
              </a:rPr>
            </a:br>
            <a:r>
              <a:rPr lang="en-GB" sz="1200" b="1" dirty="0" smtClean="0">
                <a:solidFill>
                  <a:schemeClr val="tx2"/>
                </a:solidFill>
              </a:rPr>
              <a:t>information</a:t>
            </a:r>
            <a:endParaRPr lang="en-GB" sz="1200" b="1" dirty="0">
              <a:solidFill>
                <a:schemeClr val="tx2"/>
              </a:solidFill>
            </a:endParaRPr>
          </a:p>
        </p:txBody>
      </p:sp>
      <p:sp>
        <p:nvSpPr>
          <p:cNvPr id="32" name="Text Placeholder 12"/>
          <p:cNvSpPr>
            <a:spLocks/>
          </p:cNvSpPr>
          <p:nvPr>
            <p:custDataLst>
              <p:tags r:id="rId2"/>
            </p:custDataLst>
          </p:nvPr>
        </p:nvSpPr>
        <p:spPr bwMode="auto">
          <a:xfrm>
            <a:off x="2481321" y="1132262"/>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3" name="Rectangle 15"/>
          <p:cNvSpPr>
            <a:spLocks noChangeArrowheads="1"/>
          </p:cNvSpPr>
          <p:nvPr/>
        </p:nvSpPr>
        <p:spPr bwMode="gray">
          <a:xfrm>
            <a:off x="4985156" y="1602991"/>
            <a:ext cx="1269578" cy="391517"/>
          </a:xfrm>
          <a:prstGeom prst="rect">
            <a:avLst/>
          </a:prstGeom>
          <a:noFill/>
          <a:ln w="9525" algn="ctr">
            <a:noFill/>
            <a:miter lim="800000"/>
            <a:headEnd/>
            <a:tailEnd/>
          </a:ln>
        </p:spPr>
        <p:txBody>
          <a:bodyPr wrap="none" lIns="0" tIns="0" rIns="0" bIns="0">
            <a:spAutoFit/>
          </a:bodyPr>
          <a:lstStyle/>
          <a:p>
            <a:pPr>
              <a:lnSpc>
                <a:spcPct val="106000"/>
              </a:lnSpc>
              <a:buClr>
                <a:schemeClr val="tx1"/>
              </a:buClr>
            </a:pPr>
            <a:r>
              <a:rPr lang="en-GB" sz="1200" b="1" dirty="0">
                <a:solidFill>
                  <a:schemeClr val="tx2"/>
                </a:solidFill>
              </a:rPr>
              <a:t>Unit or </a:t>
            </a:r>
            <a:r>
              <a:rPr lang="en-GB" sz="1200" b="1" dirty="0" smtClean="0">
                <a:solidFill>
                  <a:schemeClr val="tx2"/>
                </a:solidFill>
              </a:rPr>
              <a:t>additional</a:t>
            </a:r>
            <a:br>
              <a:rPr lang="en-GB" sz="1200" b="1" dirty="0" smtClean="0">
                <a:solidFill>
                  <a:schemeClr val="tx2"/>
                </a:solidFill>
              </a:rPr>
            </a:br>
            <a:r>
              <a:rPr lang="en-GB" sz="1200" b="1" dirty="0" smtClean="0">
                <a:solidFill>
                  <a:schemeClr val="tx2"/>
                </a:solidFill>
              </a:rPr>
              <a:t>information</a:t>
            </a:r>
            <a:endParaRPr lang="en-GB" sz="1200" b="1" dirty="0">
              <a:solidFill>
                <a:schemeClr val="tx2"/>
              </a:solidFill>
            </a:endParaRPr>
          </a:p>
        </p:txBody>
      </p:sp>
      <p:sp>
        <p:nvSpPr>
          <p:cNvPr id="34" name="Text Placeholder 12"/>
          <p:cNvSpPr>
            <a:spLocks/>
          </p:cNvSpPr>
          <p:nvPr>
            <p:custDataLst>
              <p:tags r:id="rId3"/>
            </p:custDataLst>
          </p:nvPr>
        </p:nvSpPr>
        <p:spPr bwMode="auto">
          <a:xfrm>
            <a:off x="4599845" y="1132262"/>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8" name="Rectangle 15"/>
          <p:cNvSpPr>
            <a:spLocks noChangeArrowheads="1"/>
          </p:cNvSpPr>
          <p:nvPr/>
        </p:nvSpPr>
        <p:spPr bwMode="gray">
          <a:xfrm>
            <a:off x="7056567" y="1599585"/>
            <a:ext cx="1269578" cy="391517"/>
          </a:xfrm>
          <a:prstGeom prst="rect">
            <a:avLst/>
          </a:prstGeom>
          <a:noFill/>
          <a:ln w="9525" algn="ctr">
            <a:noFill/>
            <a:miter lim="800000"/>
            <a:headEnd/>
            <a:tailEnd/>
          </a:ln>
        </p:spPr>
        <p:txBody>
          <a:bodyPr wrap="none" lIns="0" tIns="0" rIns="0" bIns="0">
            <a:spAutoFit/>
          </a:bodyPr>
          <a:lstStyle/>
          <a:p>
            <a:pPr>
              <a:lnSpc>
                <a:spcPct val="106000"/>
              </a:lnSpc>
              <a:buClr>
                <a:schemeClr val="tx1"/>
              </a:buClr>
            </a:pPr>
            <a:r>
              <a:rPr lang="en-GB" sz="1200" b="1" dirty="0">
                <a:solidFill>
                  <a:schemeClr val="tx2"/>
                </a:solidFill>
              </a:rPr>
              <a:t>Unit or </a:t>
            </a:r>
            <a:r>
              <a:rPr lang="en-GB" sz="1200" b="1" dirty="0" smtClean="0">
                <a:solidFill>
                  <a:schemeClr val="tx2"/>
                </a:solidFill>
              </a:rPr>
              <a:t>additional</a:t>
            </a:r>
            <a:br>
              <a:rPr lang="en-GB" sz="1200" b="1" dirty="0" smtClean="0">
                <a:solidFill>
                  <a:schemeClr val="tx2"/>
                </a:solidFill>
              </a:rPr>
            </a:br>
            <a:r>
              <a:rPr lang="en-GB" sz="1200" b="1" dirty="0" smtClean="0">
                <a:solidFill>
                  <a:schemeClr val="tx2"/>
                </a:solidFill>
              </a:rPr>
              <a:t>information</a:t>
            </a:r>
            <a:endParaRPr lang="en-GB" sz="1200" b="1" dirty="0">
              <a:solidFill>
                <a:schemeClr val="tx2"/>
              </a:solidFill>
            </a:endParaRPr>
          </a:p>
        </p:txBody>
      </p:sp>
      <p:sp>
        <p:nvSpPr>
          <p:cNvPr id="43" name="Text Placeholder 12"/>
          <p:cNvSpPr>
            <a:spLocks/>
          </p:cNvSpPr>
          <p:nvPr>
            <p:custDataLst>
              <p:tags r:id="rId4"/>
            </p:custDataLst>
          </p:nvPr>
        </p:nvSpPr>
        <p:spPr bwMode="auto">
          <a:xfrm>
            <a:off x="6671256" y="1128856"/>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4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Columns </a:t>
            </a:r>
            <a:r>
              <a:rPr lang="en-US"/>
              <a:t>—</a:t>
            </a:r>
            <a:r>
              <a:rPr lang="en-GB" altLang="ja-JP" smtClean="0">
                <a:latin typeface="Arial" charset="0"/>
                <a:ea typeface="ＭＳ Ｐゴシック" pitchFamily="50" charset="-128"/>
                <a:cs typeface="Arial" charset="0"/>
              </a:rPr>
              <a:t> </a:t>
            </a:r>
            <a:r>
              <a:rPr lang="en-GB" altLang="ja-JP">
                <a:latin typeface="Arial" charset="0"/>
                <a:ea typeface="ＭＳ Ｐゴシック" pitchFamily="50" charset="-128"/>
                <a:cs typeface="Arial" charset="0"/>
              </a:rPr>
              <a:t>multiple</a:t>
            </a:r>
            <a:endParaRPr lang="nl-NL"/>
          </a:p>
        </p:txBody>
      </p:sp>
      <p:graphicFrame>
        <p:nvGraphicFramePr>
          <p:cNvPr id="6" name="Chart 5"/>
          <p:cNvGraphicFramePr/>
          <p:nvPr/>
        </p:nvGraphicFramePr>
        <p:xfrm>
          <a:off x="382467" y="1871530"/>
          <a:ext cx="8377602" cy="3823301"/>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 Box 14"/>
          <p:cNvSpPr txBox="1">
            <a:spLocks noChangeArrowheads="1"/>
          </p:cNvSpPr>
          <p:nvPr/>
        </p:nvSpPr>
        <p:spPr bwMode="auto">
          <a:xfrm rot="16200000">
            <a:off x="224530" y="3511155"/>
            <a:ext cx="569387"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sp>
        <p:nvSpPr>
          <p:cNvPr id="11" name="Text Box 4"/>
          <p:cNvSpPr txBox="1">
            <a:spLocks noChangeArrowheads="1"/>
          </p:cNvSpPr>
          <p:nvPr/>
        </p:nvSpPr>
        <p:spPr bwMode="auto">
          <a:xfrm>
            <a:off x="1186264" y="5643471"/>
            <a:ext cx="1309974" cy="276999"/>
          </a:xfrm>
          <a:prstGeom prst="rect">
            <a:avLst/>
          </a:prstGeom>
          <a:noFill/>
          <a:ln w="9525">
            <a:noFill/>
            <a:miter lim="800000"/>
            <a:headEnd/>
            <a:tailEnd/>
          </a:ln>
        </p:spPr>
        <p:txBody>
          <a:bodyPr wrap="none">
            <a:spAutoFit/>
          </a:bodyPr>
          <a:lstStyle/>
          <a:p>
            <a:pPr algn="ctr" eaLnBrk="1" hangingPunct="1">
              <a:spcBef>
                <a:spcPct val="0"/>
              </a:spcBef>
            </a:pPr>
            <a:r>
              <a:rPr lang="en-GB" sz="1200" b="1">
                <a:solidFill>
                  <a:schemeClr val="tx2"/>
                </a:solidFill>
                <a:ea typeface="ＭＳ Ｐゴシック" pitchFamily="50" charset="-128"/>
              </a:rPr>
              <a:t>Category Name</a:t>
            </a:r>
          </a:p>
        </p:txBody>
      </p:sp>
      <p:sp>
        <p:nvSpPr>
          <p:cNvPr id="12" name="Text Box 6"/>
          <p:cNvSpPr txBox="1">
            <a:spLocks noChangeArrowheads="1"/>
          </p:cNvSpPr>
          <p:nvPr/>
        </p:nvSpPr>
        <p:spPr bwMode="auto">
          <a:xfrm>
            <a:off x="2703945" y="5643471"/>
            <a:ext cx="1309974" cy="276999"/>
          </a:xfrm>
          <a:prstGeom prst="rect">
            <a:avLst/>
          </a:prstGeom>
          <a:noFill/>
          <a:ln w="9525">
            <a:noFill/>
            <a:miter lim="800000"/>
            <a:headEnd/>
            <a:tailEnd/>
          </a:ln>
        </p:spPr>
        <p:txBody>
          <a:bodyPr wrap="none">
            <a:spAutoFit/>
          </a:bodyPr>
          <a:lstStyle/>
          <a:p>
            <a:pPr algn="ctr" eaLnBrk="1" hangingPunct="1">
              <a:spcBef>
                <a:spcPct val="0"/>
              </a:spcBef>
            </a:pPr>
            <a:r>
              <a:rPr lang="en-GB" sz="1200" b="1">
                <a:solidFill>
                  <a:schemeClr val="tx2"/>
                </a:solidFill>
                <a:ea typeface="ＭＳ Ｐゴシック" pitchFamily="50" charset="-128"/>
              </a:rPr>
              <a:t>Category Name</a:t>
            </a:r>
          </a:p>
        </p:txBody>
      </p:sp>
      <p:sp>
        <p:nvSpPr>
          <p:cNvPr id="13" name="Text Box 7"/>
          <p:cNvSpPr txBox="1">
            <a:spLocks noChangeArrowheads="1"/>
          </p:cNvSpPr>
          <p:nvPr/>
        </p:nvSpPr>
        <p:spPr bwMode="auto">
          <a:xfrm>
            <a:off x="4221625" y="5643471"/>
            <a:ext cx="1309974" cy="276999"/>
          </a:xfrm>
          <a:prstGeom prst="rect">
            <a:avLst/>
          </a:prstGeom>
          <a:noFill/>
          <a:ln w="9525">
            <a:noFill/>
            <a:miter lim="800000"/>
            <a:headEnd/>
            <a:tailEnd/>
          </a:ln>
        </p:spPr>
        <p:txBody>
          <a:bodyPr wrap="none">
            <a:spAutoFit/>
          </a:bodyPr>
          <a:lstStyle/>
          <a:p>
            <a:pPr algn="ctr" eaLnBrk="1" hangingPunct="1">
              <a:spcBef>
                <a:spcPct val="0"/>
              </a:spcBef>
            </a:pPr>
            <a:r>
              <a:rPr lang="en-GB" sz="1200" b="1">
                <a:solidFill>
                  <a:schemeClr val="tx2"/>
                </a:solidFill>
                <a:ea typeface="ＭＳ Ｐゴシック" pitchFamily="50" charset="-128"/>
              </a:rPr>
              <a:t>Category Name</a:t>
            </a:r>
          </a:p>
        </p:txBody>
      </p:sp>
      <p:sp>
        <p:nvSpPr>
          <p:cNvPr id="14" name="Text Box 8"/>
          <p:cNvSpPr txBox="1">
            <a:spLocks noChangeArrowheads="1"/>
          </p:cNvSpPr>
          <p:nvPr/>
        </p:nvSpPr>
        <p:spPr bwMode="auto">
          <a:xfrm>
            <a:off x="5739306" y="5643471"/>
            <a:ext cx="1309974" cy="276999"/>
          </a:xfrm>
          <a:prstGeom prst="rect">
            <a:avLst/>
          </a:prstGeom>
          <a:noFill/>
          <a:ln w="9525">
            <a:noFill/>
            <a:miter lim="800000"/>
            <a:headEnd/>
            <a:tailEnd/>
          </a:ln>
        </p:spPr>
        <p:txBody>
          <a:bodyPr wrap="none">
            <a:spAutoFit/>
          </a:bodyPr>
          <a:lstStyle/>
          <a:p>
            <a:pPr algn="ctr" eaLnBrk="1" hangingPunct="1">
              <a:spcBef>
                <a:spcPct val="0"/>
              </a:spcBef>
            </a:pPr>
            <a:r>
              <a:rPr lang="en-GB" sz="1200" b="1">
                <a:solidFill>
                  <a:schemeClr val="tx2"/>
                </a:solidFill>
                <a:ea typeface="ＭＳ Ｐゴシック" pitchFamily="50" charset="-128"/>
              </a:rPr>
              <a:t>Category Name</a:t>
            </a:r>
          </a:p>
        </p:txBody>
      </p:sp>
      <p:sp>
        <p:nvSpPr>
          <p:cNvPr id="15" name="Text Box 9"/>
          <p:cNvSpPr txBox="1">
            <a:spLocks noChangeArrowheads="1"/>
          </p:cNvSpPr>
          <p:nvPr/>
        </p:nvSpPr>
        <p:spPr bwMode="auto">
          <a:xfrm>
            <a:off x="7256987" y="5643471"/>
            <a:ext cx="1309974" cy="276999"/>
          </a:xfrm>
          <a:prstGeom prst="rect">
            <a:avLst/>
          </a:prstGeom>
          <a:noFill/>
          <a:ln w="9525">
            <a:noFill/>
            <a:miter lim="800000"/>
            <a:headEnd/>
            <a:tailEnd/>
          </a:ln>
        </p:spPr>
        <p:txBody>
          <a:bodyPr wrap="none">
            <a:spAutoFit/>
          </a:bodyPr>
          <a:lstStyle/>
          <a:p>
            <a:pPr algn="ctr" eaLnBrk="1" hangingPunct="1">
              <a:spcBef>
                <a:spcPct val="0"/>
              </a:spcBef>
            </a:pPr>
            <a:r>
              <a:rPr lang="en-GB" sz="1200" b="1">
                <a:solidFill>
                  <a:schemeClr val="tx2"/>
                </a:solidFill>
                <a:ea typeface="ＭＳ Ｐゴシック" pitchFamily="50" charset="-128"/>
              </a:rPr>
              <a:t>Category Name</a:t>
            </a:r>
          </a:p>
        </p:txBody>
      </p:sp>
      <p:sp>
        <p:nvSpPr>
          <p:cNvPr id="17"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9" name="Rectangle 15"/>
          <p:cNvSpPr>
            <a:spLocks noChangeArrowheads="1"/>
          </p:cNvSpPr>
          <p:nvPr/>
        </p:nvSpPr>
        <p:spPr bwMode="gray">
          <a:xfrm>
            <a:off x="3492198" y="1604511"/>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20"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414338" y="446038"/>
            <a:ext cx="8330184" cy="333425"/>
          </a:xfrm>
        </p:spPr>
        <p:txBody>
          <a:bodyPr/>
          <a:lstStyle/>
          <a:p>
            <a:r>
              <a:rPr lang="en-GB">
                <a:latin typeface="Arial" charset="0"/>
                <a:cs typeface="Arial" charset="0"/>
              </a:rPr>
              <a:t>Areas </a:t>
            </a:r>
            <a:r>
              <a:rPr lang="en-US"/>
              <a:t>—</a:t>
            </a:r>
            <a:r>
              <a:rPr lang="en-GB" smtClean="0">
                <a:latin typeface="Arial" charset="0"/>
                <a:cs typeface="Arial" charset="0"/>
              </a:rPr>
              <a:t> </a:t>
            </a:r>
            <a:r>
              <a:rPr lang="en-GB">
                <a:latin typeface="Arial" charset="0"/>
                <a:cs typeface="Arial" charset="0"/>
              </a:rPr>
              <a:t>stacked</a:t>
            </a:r>
            <a:endParaRPr lang="nl-NL"/>
          </a:p>
        </p:txBody>
      </p:sp>
      <p:graphicFrame>
        <p:nvGraphicFramePr>
          <p:cNvPr id="5" name="Chart 4"/>
          <p:cNvGraphicFramePr/>
          <p:nvPr/>
        </p:nvGraphicFramePr>
        <p:xfrm>
          <a:off x="382467" y="1871530"/>
          <a:ext cx="8377602" cy="3716976"/>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Box 14"/>
          <p:cNvSpPr txBox="1">
            <a:spLocks noChangeArrowheads="1"/>
          </p:cNvSpPr>
          <p:nvPr/>
        </p:nvSpPr>
        <p:spPr bwMode="auto">
          <a:xfrm>
            <a:off x="4287307" y="5611576"/>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sp>
        <p:nvSpPr>
          <p:cNvPr id="15" name="Text Box 14"/>
          <p:cNvSpPr txBox="1">
            <a:spLocks noChangeArrowheads="1"/>
          </p:cNvSpPr>
          <p:nvPr/>
        </p:nvSpPr>
        <p:spPr bwMode="auto">
          <a:xfrm rot="16200000">
            <a:off x="224530" y="3511155"/>
            <a:ext cx="569387"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sp>
        <p:nvSpPr>
          <p:cNvPr id="16" name="Text Box 4"/>
          <p:cNvSpPr txBox="1">
            <a:spLocks noChangeArrowheads="1"/>
          </p:cNvSpPr>
          <p:nvPr/>
        </p:nvSpPr>
        <p:spPr bwMode="auto">
          <a:xfrm>
            <a:off x="8201776" y="4901446"/>
            <a:ext cx="304892" cy="400110"/>
          </a:xfrm>
          <a:prstGeom prst="rect">
            <a:avLst/>
          </a:prstGeom>
          <a:noFill/>
          <a:ln w="6350" algn="ctr">
            <a:noFill/>
            <a:miter lim="800000"/>
            <a:headEnd/>
            <a:tailEnd/>
          </a:ln>
        </p:spPr>
        <p:txBody>
          <a:bodyPr wrap="none" tIns="91440" bIns="91440">
            <a:spAutoFit/>
          </a:bodyPr>
          <a:lstStyle/>
          <a:p>
            <a:pPr>
              <a:spcBef>
                <a:spcPct val="0"/>
              </a:spcBef>
            </a:pPr>
            <a:r>
              <a:rPr lang="en-GB" sz="1400">
                <a:solidFill>
                  <a:schemeClr val="bg1"/>
                </a:solidFill>
                <a:ea typeface="ＭＳ Ｐゴシック" pitchFamily="50" charset="-128"/>
              </a:rPr>
              <a:t>A</a:t>
            </a:r>
          </a:p>
        </p:txBody>
      </p:sp>
      <p:sp>
        <p:nvSpPr>
          <p:cNvPr id="17" name="Text Box 6"/>
          <p:cNvSpPr txBox="1">
            <a:spLocks noChangeArrowheads="1"/>
          </p:cNvSpPr>
          <p:nvPr/>
        </p:nvSpPr>
        <p:spPr bwMode="auto">
          <a:xfrm>
            <a:off x="8201776" y="4466769"/>
            <a:ext cx="304892" cy="400110"/>
          </a:xfrm>
          <a:prstGeom prst="rect">
            <a:avLst/>
          </a:prstGeom>
          <a:noFill/>
          <a:ln w="6350" algn="ctr">
            <a:noFill/>
            <a:miter lim="800000"/>
            <a:headEnd/>
            <a:tailEnd/>
          </a:ln>
        </p:spPr>
        <p:txBody>
          <a:bodyPr wrap="none" tIns="91440" bIns="91440">
            <a:spAutoFit/>
          </a:bodyPr>
          <a:lstStyle/>
          <a:p>
            <a:pPr>
              <a:spcBef>
                <a:spcPct val="0"/>
              </a:spcBef>
            </a:pPr>
            <a:r>
              <a:rPr lang="en-GB" sz="1400">
                <a:solidFill>
                  <a:schemeClr val="bg1"/>
                </a:solidFill>
                <a:ea typeface="ＭＳ Ｐゴシック" pitchFamily="50" charset="-128"/>
              </a:rPr>
              <a:t>B</a:t>
            </a:r>
          </a:p>
        </p:txBody>
      </p:sp>
      <p:sp>
        <p:nvSpPr>
          <p:cNvPr id="18" name="Text Box 7"/>
          <p:cNvSpPr txBox="1">
            <a:spLocks noChangeArrowheads="1"/>
          </p:cNvSpPr>
          <p:nvPr/>
        </p:nvSpPr>
        <p:spPr bwMode="auto">
          <a:xfrm>
            <a:off x="8198112" y="3808436"/>
            <a:ext cx="314510" cy="400110"/>
          </a:xfrm>
          <a:prstGeom prst="rect">
            <a:avLst/>
          </a:prstGeom>
          <a:noFill/>
          <a:ln w="6350" algn="ctr">
            <a:noFill/>
            <a:miter lim="800000"/>
            <a:headEnd/>
            <a:tailEnd/>
          </a:ln>
        </p:spPr>
        <p:txBody>
          <a:bodyPr wrap="none" tIns="91440" bIns="91440">
            <a:spAutoFit/>
          </a:bodyPr>
          <a:lstStyle/>
          <a:p>
            <a:pPr>
              <a:spcBef>
                <a:spcPct val="0"/>
              </a:spcBef>
            </a:pPr>
            <a:r>
              <a:rPr lang="en-GB" sz="1400">
                <a:solidFill>
                  <a:schemeClr val="bg1"/>
                </a:solidFill>
                <a:ea typeface="ＭＳ Ｐゴシック" pitchFamily="50" charset="-128"/>
              </a:rPr>
              <a:t>C</a:t>
            </a:r>
          </a:p>
        </p:txBody>
      </p:sp>
      <p:sp>
        <p:nvSpPr>
          <p:cNvPr id="19" name="Text Box 8"/>
          <p:cNvSpPr txBox="1">
            <a:spLocks noChangeArrowheads="1"/>
          </p:cNvSpPr>
          <p:nvPr/>
        </p:nvSpPr>
        <p:spPr bwMode="auto">
          <a:xfrm>
            <a:off x="8198112" y="3213901"/>
            <a:ext cx="314510" cy="400110"/>
          </a:xfrm>
          <a:prstGeom prst="rect">
            <a:avLst/>
          </a:prstGeom>
          <a:noFill/>
          <a:ln w="6350" algn="ctr">
            <a:noFill/>
            <a:miter lim="800000"/>
            <a:headEnd/>
            <a:tailEnd/>
          </a:ln>
        </p:spPr>
        <p:txBody>
          <a:bodyPr wrap="none" tIns="91440" bIns="91440">
            <a:spAutoFit/>
          </a:bodyPr>
          <a:lstStyle/>
          <a:p>
            <a:pPr>
              <a:spcBef>
                <a:spcPct val="0"/>
              </a:spcBef>
            </a:pPr>
            <a:r>
              <a:rPr lang="en-GB" sz="1400" dirty="0">
                <a:solidFill>
                  <a:schemeClr val="bg1"/>
                </a:solidFill>
                <a:ea typeface="ＭＳ Ｐゴシック" pitchFamily="50" charset="-128"/>
              </a:rPr>
              <a:t>D</a:t>
            </a:r>
          </a:p>
        </p:txBody>
      </p:sp>
      <p:sp>
        <p:nvSpPr>
          <p:cNvPr id="1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1" name="Rectangle 15"/>
          <p:cNvSpPr>
            <a:spLocks noChangeArrowheads="1"/>
          </p:cNvSpPr>
          <p:nvPr/>
        </p:nvSpPr>
        <p:spPr bwMode="gray">
          <a:xfrm>
            <a:off x="3485638"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22"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414338" y="446038"/>
            <a:ext cx="8330184" cy="333425"/>
          </a:xfrm>
        </p:spPr>
        <p:txBody>
          <a:bodyPr/>
          <a:lstStyle/>
          <a:p>
            <a:r>
              <a:rPr lang="en-GB">
                <a:latin typeface="Arial" charset="0"/>
                <a:cs typeface="Arial" charset="0"/>
              </a:rPr>
              <a:t>Areas </a:t>
            </a:r>
            <a:r>
              <a:rPr lang="en-US"/>
              <a:t>—</a:t>
            </a:r>
            <a:r>
              <a:rPr lang="en-GB" smtClean="0">
                <a:latin typeface="Arial" charset="0"/>
                <a:cs typeface="Arial" charset="0"/>
              </a:rPr>
              <a:t> </a:t>
            </a:r>
            <a:r>
              <a:rPr lang="en-GB">
                <a:latin typeface="Arial" charset="0"/>
                <a:cs typeface="Arial" charset="0"/>
              </a:rPr>
              <a:t>100% (‘parfait chart’) </a:t>
            </a:r>
            <a:endParaRPr lang="nl-NL"/>
          </a:p>
        </p:txBody>
      </p:sp>
      <p:graphicFrame>
        <p:nvGraphicFramePr>
          <p:cNvPr id="5" name="Chart 4"/>
          <p:cNvGraphicFramePr/>
          <p:nvPr/>
        </p:nvGraphicFramePr>
        <p:xfrm>
          <a:off x="382467" y="1871530"/>
          <a:ext cx="7812782" cy="3716976"/>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Box 14"/>
          <p:cNvSpPr txBox="1">
            <a:spLocks noChangeArrowheads="1"/>
          </p:cNvSpPr>
          <p:nvPr/>
        </p:nvSpPr>
        <p:spPr bwMode="auto">
          <a:xfrm>
            <a:off x="4287307" y="5611576"/>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sp>
        <p:nvSpPr>
          <p:cNvPr id="15" name="Text Box 14"/>
          <p:cNvSpPr txBox="1">
            <a:spLocks noChangeArrowheads="1"/>
          </p:cNvSpPr>
          <p:nvPr/>
        </p:nvSpPr>
        <p:spPr bwMode="auto">
          <a:xfrm rot="16200000">
            <a:off x="179705" y="3511155"/>
            <a:ext cx="569387"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dirty="0">
                <a:solidFill>
                  <a:schemeClr val="tx2"/>
                </a:solidFill>
                <a:ea typeface="ＭＳ Ｐゴシック" pitchFamily="50" charset="-128"/>
              </a:rPr>
              <a:t>Units</a:t>
            </a:r>
          </a:p>
        </p:txBody>
      </p:sp>
      <p:sp>
        <p:nvSpPr>
          <p:cNvPr id="16" name="Text Box 4"/>
          <p:cNvSpPr txBox="1">
            <a:spLocks noChangeArrowheads="1"/>
          </p:cNvSpPr>
          <p:nvPr/>
        </p:nvSpPr>
        <p:spPr bwMode="auto">
          <a:xfrm>
            <a:off x="3776114" y="4656897"/>
            <a:ext cx="1110945" cy="400110"/>
          </a:xfrm>
          <a:prstGeom prst="rect">
            <a:avLst/>
          </a:prstGeom>
          <a:noFill/>
          <a:ln w="6350" algn="ctr">
            <a:noFill/>
            <a:miter lim="800000"/>
            <a:headEnd/>
            <a:tailEnd/>
          </a:ln>
        </p:spPr>
        <p:txBody>
          <a:bodyPr wrap="none" tIns="91440" bIns="91440">
            <a:spAutoFit/>
          </a:bodyPr>
          <a:lstStyle/>
          <a:p>
            <a:r>
              <a:rPr lang="en-GB" sz="1400">
                <a:solidFill>
                  <a:schemeClr val="bg1"/>
                </a:solidFill>
                <a:ea typeface="ＭＳ Ｐゴシック" pitchFamily="50" charset="-128"/>
              </a:rPr>
              <a:t>Company A</a:t>
            </a:r>
          </a:p>
        </p:txBody>
      </p:sp>
      <p:sp>
        <p:nvSpPr>
          <p:cNvPr id="17" name="Text Box 6"/>
          <p:cNvSpPr txBox="1">
            <a:spLocks noChangeArrowheads="1"/>
          </p:cNvSpPr>
          <p:nvPr/>
        </p:nvSpPr>
        <p:spPr bwMode="auto">
          <a:xfrm>
            <a:off x="3771556" y="3585856"/>
            <a:ext cx="1120820" cy="400110"/>
          </a:xfrm>
          <a:prstGeom prst="rect">
            <a:avLst/>
          </a:prstGeom>
          <a:noFill/>
          <a:ln w="6350" algn="ctr">
            <a:noFill/>
            <a:miter lim="800000"/>
            <a:headEnd/>
            <a:tailEnd/>
          </a:ln>
        </p:spPr>
        <p:txBody>
          <a:bodyPr wrap="none" tIns="91440" bIns="91440">
            <a:spAutoFit/>
          </a:bodyPr>
          <a:lstStyle/>
          <a:p>
            <a:r>
              <a:rPr lang="en-GB" sz="1400">
                <a:solidFill>
                  <a:schemeClr val="bg1"/>
                </a:solidFill>
                <a:ea typeface="ＭＳ Ｐゴシック" pitchFamily="50" charset="-128"/>
              </a:rPr>
              <a:t>Company B</a:t>
            </a:r>
          </a:p>
        </p:txBody>
      </p:sp>
      <p:sp>
        <p:nvSpPr>
          <p:cNvPr id="18" name="Text Box 7"/>
          <p:cNvSpPr txBox="1">
            <a:spLocks noChangeArrowheads="1"/>
          </p:cNvSpPr>
          <p:nvPr/>
        </p:nvSpPr>
        <p:spPr bwMode="auto">
          <a:xfrm>
            <a:off x="3767117" y="2670748"/>
            <a:ext cx="1130438" cy="400110"/>
          </a:xfrm>
          <a:prstGeom prst="rect">
            <a:avLst/>
          </a:prstGeom>
          <a:noFill/>
          <a:ln w="6350" algn="ctr">
            <a:noFill/>
            <a:miter lim="800000"/>
            <a:headEnd/>
            <a:tailEnd/>
          </a:ln>
        </p:spPr>
        <p:txBody>
          <a:bodyPr wrap="none" tIns="91440" bIns="91440">
            <a:spAutoFit/>
          </a:bodyPr>
          <a:lstStyle/>
          <a:p>
            <a:pPr>
              <a:spcBef>
                <a:spcPct val="0"/>
              </a:spcBef>
            </a:pPr>
            <a:r>
              <a:rPr lang="en-GB" sz="1400">
                <a:solidFill>
                  <a:schemeClr val="bg1"/>
                </a:solidFill>
                <a:ea typeface="ＭＳ Ｐゴシック" pitchFamily="50" charset="-128"/>
              </a:rPr>
              <a:t>Company C</a:t>
            </a:r>
          </a:p>
        </p:txBody>
      </p:sp>
      <p:sp>
        <p:nvSpPr>
          <p:cNvPr id="19" name="Text Box 8"/>
          <p:cNvSpPr txBox="1">
            <a:spLocks noChangeArrowheads="1"/>
          </p:cNvSpPr>
          <p:nvPr/>
        </p:nvSpPr>
        <p:spPr bwMode="auto">
          <a:xfrm>
            <a:off x="3767117" y="2044318"/>
            <a:ext cx="1130438" cy="400110"/>
          </a:xfrm>
          <a:prstGeom prst="rect">
            <a:avLst/>
          </a:prstGeom>
          <a:noFill/>
          <a:ln w="6350" algn="ctr">
            <a:noFill/>
            <a:miter lim="800000"/>
            <a:headEnd/>
            <a:tailEnd/>
          </a:ln>
        </p:spPr>
        <p:txBody>
          <a:bodyPr wrap="none" tIns="91440" bIns="91440">
            <a:spAutoFit/>
          </a:bodyPr>
          <a:lstStyle/>
          <a:p>
            <a:pPr>
              <a:spcBef>
                <a:spcPct val="0"/>
              </a:spcBef>
            </a:pPr>
            <a:r>
              <a:rPr lang="en-GB" sz="1400" dirty="0">
                <a:solidFill>
                  <a:schemeClr val="bg1"/>
                </a:solidFill>
                <a:ea typeface="ＭＳ Ｐゴシック" pitchFamily="50" charset="-128"/>
              </a:rPr>
              <a:t>Company D</a:t>
            </a:r>
          </a:p>
        </p:txBody>
      </p:sp>
      <p:sp>
        <p:nvSpPr>
          <p:cNvPr id="20" name="Text Box 8"/>
          <p:cNvSpPr txBox="1">
            <a:spLocks noChangeArrowheads="1"/>
          </p:cNvSpPr>
          <p:nvPr/>
        </p:nvSpPr>
        <p:spPr bwMode="auto">
          <a:xfrm>
            <a:off x="7881557" y="2226839"/>
            <a:ext cx="1013419" cy="400110"/>
          </a:xfrm>
          <a:prstGeom prst="rect">
            <a:avLst/>
          </a:prstGeom>
          <a:noFill/>
          <a:ln w="6350" algn="ctr">
            <a:noFill/>
            <a:miter lim="800000"/>
            <a:headEnd/>
            <a:tailEnd/>
          </a:ln>
        </p:spPr>
        <p:txBody>
          <a:bodyPr wrap="none" tIns="91440" bIns="91440">
            <a:spAutoFit/>
          </a:bodyPr>
          <a:lstStyle/>
          <a:p>
            <a:pPr>
              <a:spcBef>
                <a:spcPct val="0"/>
              </a:spcBef>
            </a:pPr>
            <a:r>
              <a:rPr lang="en-GB" sz="1400">
                <a:solidFill>
                  <a:schemeClr val="tx2"/>
                </a:solidFill>
                <a:ea typeface="ＭＳ Ｐゴシック" pitchFamily="50" charset="-128"/>
              </a:rPr>
              <a:t>CAGR: .%</a:t>
            </a:r>
          </a:p>
        </p:txBody>
      </p:sp>
      <p:sp>
        <p:nvSpPr>
          <p:cNvPr id="21" name="Text Box 9"/>
          <p:cNvSpPr txBox="1">
            <a:spLocks noChangeArrowheads="1"/>
          </p:cNvSpPr>
          <p:nvPr/>
        </p:nvSpPr>
        <p:spPr bwMode="auto">
          <a:xfrm>
            <a:off x="7881557" y="3151872"/>
            <a:ext cx="1013419" cy="400110"/>
          </a:xfrm>
          <a:prstGeom prst="rect">
            <a:avLst/>
          </a:prstGeom>
          <a:noFill/>
          <a:ln w="6350" algn="ctr">
            <a:noFill/>
            <a:miter lim="800000"/>
            <a:headEnd/>
            <a:tailEnd/>
          </a:ln>
        </p:spPr>
        <p:txBody>
          <a:bodyPr wrap="none" tIns="91440" bIns="91440">
            <a:spAutoFit/>
          </a:bodyPr>
          <a:lstStyle/>
          <a:p>
            <a:pPr>
              <a:spcBef>
                <a:spcPct val="0"/>
              </a:spcBef>
            </a:pPr>
            <a:r>
              <a:rPr lang="en-GB" sz="1400">
                <a:solidFill>
                  <a:schemeClr val="tx2"/>
                </a:solidFill>
                <a:ea typeface="ＭＳ Ｐゴシック" pitchFamily="50" charset="-128"/>
              </a:rPr>
              <a:t>CAGR: .%</a:t>
            </a:r>
          </a:p>
        </p:txBody>
      </p:sp>
      <p:sp>
        <p:nvSpPr>
          <p:cNvPr id="22" name="Text Box 10"/>
          <p:cNvSpPr txBox="1">
            <a:spLocks noChangeArrowheads="1"/>
          </p:cNvSpPr>
          <p:nvPr/>
        </p:nvSpPr>
        <p:spPr bwMode="auto">
          <a:xfrm>
            <a:off x="7881557" y="4208039"/>
            <a:ext cx="1013419" cy="400110"/>
          </a:xfrm>
          <a:prstGeom prst="rect">
            <a:avLst/>
          </a:prstGeom>
          <a:noFill/>
          <a:ln w="6350" algn="ctr">
            <a:noFill/>
            <a:miter lim="800000"/>
            <a:headEnd/>
            <a:tailEnd/>
          </a:ln>
        </p:spPr>
        <p:txBody>
          <a:bodyPr wrap="none" tIns="91440" bIns="91440">
            <a:spAutoFit/>
          </a:bodyPr>
          <a:lstStyle/>
          <a:p>
            <a:pPr>
              <a:spcBef>
                <a:spcPct val="0"/>
              </a:spcBef>
            </a:pPr>
            <a:r>
              <a:rPr lang="en-GB" sz="1400">
                <a:solidFill>
                  <a:schemeClr val="tx2"/>
                </a:solidFill>
                <a:ea typeface="ＭＳ Ｐゴシック" pitchFamily="50" charset="-128"/>
              </a:rPr>
              <a:t>CAGR: .%</a:t>
            </a:r>
          </a:p>
        </p:txBody>
      </p:sp>
      <p:sp>
        <p:nvSpPr>
          <p:cNvPr id="23" name="Text Box 11"/>
          <p:cNvSpPr txBox="1">
            <a:spLocks noChangeArrowheads="1"/>
          </p:cNvSpPr>
          <p:nvPr/>
        </p:nvSpPr>
        <p:spPr bwMode="auto">
          <a:xfrm>
            <a:off x="7881557" y="4817639"/>
            <a:ext cx="1013419" cy="400110"/>
          </a:xfrm>
          <a:prstGeom prst="rect">
            <a:avLst/>
          </a:prstGeom>
          <a:noFill/>
          <a:ln w="6350" algn="ctr">
            <a:noFill/>
            <a:miter lim="800000"/>
            <a:headEnd/>
            <a:tailEnd/>
          </a:ln>
        </p:spPr>
        <p:txBody>
          <a:bodyPr wrap="none" tIns="91440" bIns="91440">
            <a:spAutoFit/>
          </a:bodyPr>
          <a:lstStyle/>
          <a:p>
            <a:pPr>
              <a:spcBef>
                <a:spcPct val="0"/>
              </a:spcBef>
            </a:pPr>
            <a:r>
              <a:rPr lang="en-GB" sz="1400">
                <a:solidFill>
                  <a:schemeClr val="tx2"/>
                </a:solidFill>
                <a:ea typeface="ＭＳ Ｐゴシック" pitchFamily="50" charset="-128"/>
              </a:rPr>
              <a:t>CAGR: .%</a:t>
            </a:r>
          </a:p>
        </p:txBody>
      </p:sp>
      <p:sp>
        <p:nvSpPr>
          <p:cNvPr id="25"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6" name="Rectangle 15"/>
          <p:cNvSpPr>
            <a:spLocks noChangeArrowheads="1"/>
          </p:cNvSpPr>
          <p:nvPr/>
        </p:nvSpPr>
        <p:spPr bwMode="gray">
          <a:xfrm>
            <a:off x="3490877"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27"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Pies </a:t>
            </a:r>
            <a:r>
              <a:rPr lang="en-US"/>
              <a:t>—</a:t>
            </a:r>
            <a:r>
              <a:rPr lang="en-GB" altLang="ja-JP" smtClean="0">
                <a:latin typeface="Arial" charset="0"/>
                <a:ea typeface="ＭＳ Ｐゴシック" pitchFamily="50" charset="-128"/>
                <a:cs typeface="Arial" charset="0"/>
              </a:rPr>
              <a:t> </a:t>
            </a:r>
            <a:r>
              <a:rPr lang="en-GB" altLang="ja-JP">
                <a:latin typeface="Arial" charset="0"/>
                <a:ea typeface="ＭＳ Ｐゴシック" pitchFamily="50" charset="-128"/>
                <a:cs typeface="Arial" charset="0"/>
              </a:rPr>
              <a:t>multiple </a:t>
            </a:r>
            <a:r>
              <a:rPr lang="en-GB" altLang="ja-JP" err="1">
                <a:latin typeface="Arial" charset="0"/>
                <a:ea typeface="ＭＳ Ｐゴシック" pitchFamily="50" charset="-128"/>
                <a:cs typeface="Arial" charset="0"/>
              </a:rPr>
              <a:t>colors</a:t>
            </a:r>
            <a:endParaRPr lang="nl-NL"/>
          </a:p>
        </p:txBody>
      </p:sp>
      <p:graphicFrame>
        <p:nvGraphicFramePr>
          <p:cNvPr id="24" name="Chart 23"/>
          <p:cNvGraphicFramePr/>
          <p:nvPr/>
        </p:nvGraphicFramePr>
        <p:xfrm>
          <a:off x="166850" y="1871530"/>
          <a:ext cx="8377602" cy="371697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1" name="Rectangle 15"/>
          <p:cNvSpPr>
            <a:spLocks noChangeArrowheads="1"/>
          </p:cNvSpPr>
          <p:nvPr/>
        </p:nvSpPr>
        <p:spPr bwMode="gray">
          <a:xfrm>
            <a:off x="3482251"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1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414338" y="446038"/>
            <a:ext cx="8330184" cy="333425"/>
          </a:xfrm>
        </p:spPr>
        <p:txBody>
          <a:bodyPr/>
          <a:lstStyle/>
          <a:p>
            <a:r>
              <a:rPr lang="en-GB" altLang="ja-JP" dirty="0">
                <a:latin typeface="Arial" charset="0"/>
                <a:ea typeface="ＭＳ Ｐゴシック" pitchFamily="50" charset="-128"/>
                <a:cs typeface="Arial" charset="0"/>
              </a:rPr>
              <a:t>Pies </a:t>
            </a:r>
            <a:r>
              <a:rPr lang="en-US" dirty="0"/>
              <a:t>—</a:t>
            </a:r>
            <a:r>
              <a:rPr lang="en-GB" altLang="ja-JP" dirty="0" smtClean="0">
                <a:latin typeface="Arial" charset="0"/>
                <a:ea typeface="ＭＳ Ｐゴシック" pitchFamily="50" charset="-128"/>
                <a:cs typeface="Arial" charset="0"/>
              </a:rPr>
              <a:t> </a:t>
            </a:r>
            <a:r>
              <a:rPr lang="en-GB" altLang="ja-JP" dirty="0">
                <a:latin typeface="Arial" charset="0"/>
                <a:ea typeface="ＭＳ Ｐゴシック" pitchFamily="50" charset="-128"/>
                <a:cs typeface="Arial" charset="0"/>
              </a:rPr>
              <a:t>single </a:t>
            </a:r>
            <a:r>
              <a:rPr lang="en-GB" altLang="ja-JP" dirty="0" err="1">
                <a:latin typeface="Arial" charset="0"/>
                <a:ea typeface="ＭＳ Ｐゴシック" pitchFamily="50" charset="-128"/>
                <a:cs typeface="Arial" charset="0"/>
              </a:rPr>
              <a:t>color</a:t>
            </a:r>
            <a:endParaRPr lang="nl-NL" dirty="0"/>
          </a:p>
        </p:txBody>
      </p:sp>
      <p:graphicFrame>
        <p:nvGraphicFramePr>
          <p:cNvPr id="24" name="Chart 23"/>
          <p:cNvGraphicFramePr/>
          <p:nvPr/>
        </p:nvGraphicFramePr>
        <p:xfrm>
          <a:off x="-127590" y="2027208"/>
          <a:ext cx="8377602" cy="371697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1" name="Rectangle 15"/>
          <p:cNvSpPr>
            <a:spLocks noChangeArrowheads="1"/>
          </p:cNvSpPr>
          <p:nvPr/>
        </p:nvSpPr>
        <p:spPr bwMode="gray">
          <a:xfrm>
            <a:off x="3485633"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14"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Pies </a:t>
            </a:r>
            <a:r>
              <a:rPr lang="en-US"/>
              <a:t>—</a:t>
            </a:r>
            <a:r>
              <a:rPr lang="en-GB" altLang="ja-JP" smtClean="0">
                <a:latin typeface="Arial" charset="0"/>
                <a:ea typeface="ＭＳ Ｐゴシック" pitchFamily="50" charset="-128"/>
                <a:cs typeface="Arial" charset="0"/>
              </a:rPr>
              <a:t> </a:t>
            </a:r>
            <a:r>
              <a:rPr lang="en-GB">
                <a:latin typeface="Arial" charset="0"/>
                <a:cs typeface="Arial" charset="0"/>
              </a:rPr>
              <a:t>labels on inside</a:t>
            </a:r>
            <a:endParaRPr lang="nl-NL"/>
          </a:p>
        </p:txBody>
      </p:sp>
      <p:graphicFrame>
        <p:nvGraphicFramePr>
          <p:cNvPr id="24" name="Chart 23"/>
          <p:cNvGraphicFramePr/>
          <p:nvPr/>
        </p:nvGraphicFramePr>
        <p:xfrm>
          <a:off x="902646" y="2151232"/>
          <a:ext cx="2934586" cy="314723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p:nvPr/>
        </p:nvGraphicFramePr>
        <p:xfrm>
          <a:off x="5235376" y="2151232"/>
          <a:ext cx="2934586" cy="3147238"/>
        </p:xfrm>
        <a:graphic>
          <a:graphicData uri="http://schemas.openxmlformats.org/drawingml/2006/chart">
            <c:chart xmlns:c="http://schemas.openxmlformats.org/drawingml/2006/chart" xmlns:r="http://schemas.openxmlformats.org/officeDocument/2006/relationships" r:id="rId5"/>
          </a:graphicData>
        </a:graphic>
      </p:graphicFrame>
      <p:sp>
        <p:nvSpPr>
          <p:cNvPr id="15"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6" name="Rectangle 15"/>
          <p:cNvSpPr>
            <a:spLocks noChangeArrowheads="1"/>
          </p:cNvSpPr>
          <p:nvPr/>
        </p:nvSpPr>
        <p:spPr bwMode="gray">
          <a:xfrm>
            <a:off x="1325054"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18"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9" name="Rectangle 18"/>
          <p:cNvSpPr>
            <a:spLocks noChangeArrowheads="1"/>
          </p:cNvSpPr>
          <p:nvPr/>
        </p:nvSpPr>
        <p:spPr bwMode="gray">
          <a:xfrm>
            <a:off x="5692605"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20" name="Text Placeholder 12"/>
          <p:cNvSpPr>
            <a:spLocks/>
          </p:cNvSpPr>
          <p:nvPr>
            <p:custDataLst>
              <p:tags r:id="rId2"/>
            </p:custDataLst>
          </p:nvPr>
        </p:nvSpPr>
        <p:spPr bwMode="auto">
          <a:xfrm>
            <a:off x="494181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Pies </a:t>
            </a:r>
            <a:r>
              <a:rPr lang="en-US"/>
              <a:t>—</a:t>
            </a:r>
            <a:r>
              <a:rPr lang="en-GB" altLang="ja-JP" smtClean="0">
                <a:latin typeface="Arial" charset="0"/>
                <a:ea typeface="ＭＳ Ｐゴシック" pitchFamily="50" charset="-128"/>
                <a:cs typeface="Arial" charset="0"/>
              </a:rPr>
              <a:t> </a:t>
            </a:r>
            <a:r>
              <a:rPr lang="en-GB">
                <a:latin typeface="Arial" charset="0"/>
                <a:cs typeface="Arial" charset="0"/>
              </a:rPr>
              <a:t>slice exploded</a:t>
            </a:r>
            <a:endParaRPr lang="nl-NL"/>
          </a:p>
        </p:txBody>
      </p:sp>
      <p:graphicFrame>
        <p:nvGraphicFramePr>
          <p:cNvPr id="24" name="Chart 23"/>
          <p:cNvGraphicFramePr/>
          <p:nvPr/>
        </p:nvGraphicFramePr>
        <p:xfrm>
          <a:off x="902646" y="2263808"/>
          <a:ext cx="2934586" cy="31472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hart 14"/>
          <p:cNvGraphicFramePr/>
          <p:nvPr/>
        </p:nvGraphicFramePr>
        <p:xfrm>
          <a:off x="5225850" y="2263808"/>
          <a:ext cx="2934586" cy="3147238"/>
        </p:xfrm>
        <a:graphic>
          <a:graphicData uri="http://schemas.openxmlformats.org/drawingml/2006/chart">
            <c:chart xmlns:c="http://schemas.openxmlformats.org/drawingml/2006/chart" xmlns:r="http://schemas.openxmlformats.org/officeDocument/2006/relationships" r:id="rId4"/>
          </a:graphicData>
        </a:graphic>
      </p:graphicFrame>
      <p:cxnSp>
        <p:nvCxnSpPr>
          <p:cNvPr id="17" name="Straight Connector 16"/>
          <p:cNvCxnSpPr/>
          <p:nvPr/>
        </p:nvCxnSpPr>
        <p:spPr>
          <a:xfrm flipV="1">
            <a:off x="3603855" y="2528892"/>
            <a:ext cx="2877424" cy="676712"/>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664742" y="4236243"/>
            <a:ext cx="2626519" cy="733426"/>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6" name="Rectangle 15"/>
          <p:cNvSpPr>
            <a:spLocks noChangeArrowheads="1"/>
          </p:cNvSpPr>
          <p:nvPr/>
        </p:nvSpPr>
        <p:spPr bwMode="gray">
          <a:xfrm>
            <a:off x="3490877" y="1600429"/>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18"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7297"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0243"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67298" name="Title 1"/>
          <p:cNvSpPr>
            <a:spLocks noGrp="1"/>
          </p:cNvSpPr>
          <p:nvPr>
            <p:ph type="title"/>
            <p:custDataLst>
              <p:tags r:id="rId3"/>
            </p:custDataLst>
          </p:nvPr>
        </p:nvSpPr>
        <p:spPr>
          <a:xfrm>
            <a:off x="414338" y="446038"/>
            <a:ext cx="8330184" cy="333425"/>
          </a:xfrm>
        </p:spPr>
        <p:txBody>
          <a:bodyPr/>
          <a:lstStyle/>
          <a:p>
            <a:r>
              <a:rPr lang="en-US" dirty="0"/>
              <a:t>Tables — </a:t>
            </a:r>
            <a:r>
              <a:rPr lang="en-US" dirty="0" smtClean="0"/>
              <a:t>alternative </a:t>
            </a:r>
            <a:r>
              <a:rPr lang="en-US" dirty="0"/>
              <a:t>data table</a:t>
            </a:r>
          </a:p>
        </p:txBody>
      </p:sp>
      <p:graphicFrame>
        <p:nvGraphicFramePr>
          <p:cNvPr id="4" name="Group 3"/>
          <p:cNvGraphicFramePr>
            <a:graphicFrameLocks/>
          </p:cNvGraphicFramePr>
          <p:nvPr>
            <p:custDataLst>
              <p:tags r:id="rId4"/>
            </p:custDataLst>
          </p:nvPr>
        </p:nvGraphicFramePr>
        <p:xfrm>
          <a:off x="396875" y="1593061"/>
          <a:ext cx="8350249" cy="4144795"/>
        </p:xfrm>
        <a:graphic>
          <a:graphicData uri="http://schemas.openxmlformats.org/drawingml/2006/table">
            <a:tbl>
              <a:tblPr/>
              <a:tblGrid>
                <a:gridCol w="1123987"/>
                <a:gridCol w="1204377"/>
                <a:gridCol w="1204377"/>
                <a:gridCol w="1204377"/>
                <a:gridCol w="1204377"/>
                <a:gridCol w="1204377"/>
                <a:gridCol w="1204377"/>
              </a:tblGrid>
              <a:tr h="346075">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cap="none" normalizeH="0" baseline="0" dirty="0">
                        <a:ln>
                          <a:noFill/>
                        </a:ln>
                        <a:solidFill>
                          <a:schemeClr val="tx1"/>
                        </a:solidFill>
                        <a:effectLst/>
                        <a:latin typeface="Arial" charset="0"/>
                      </a:endParaRPr>
                    </a:p>
                  </a:txBody>
                  <a:tcPr marL="66462" marR="66462" marT="36000" marB="36000"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6462" marR="66462" marT="36000" marB="36000" anchor="ctr" anchorCtr="1" horzOverflow="overflow">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6462" marR="66462" marT="36000" marB="3600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6462" marR="66462" marT="36000" marB="3600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6462" marR="66462" marT="36000" marB="3600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6462" marR="66462" marT="36000" marB="36000"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solidFill>
                          <a:effectLst/>
                          <a:latin typeface="Arial" charset="0"/>
                        </a:rPr>
                        <a:t>Subhead</a:t>
                      </a:r>
                    </a:p>
                  </a:txBody>
                  <a:tcPr marL="66462" marR="66462" marT="36000" marB="36000" anchor="ctr" anchorCtr="1" horzOverflow="overflow">
                    <a:lnL w="12700" cap="flat" cmpd="sng" algn="ctr">
                      <a:solidFill>
                        <a:schemeClr val="bg2"/>
                      </a:solid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r>
              <a:tr h="346075">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2"/>
                          </a:solidFill>
                          <a:effectLst/>
                          <a:latin typeface="Arial" charset="0"/>
                        </a:rPr>
                        <a:t>Row </a:t>
                      </a:r>
                      <a:r>
                        <a:rPr kumimoji="0" lang="en-US" sz="1200" b="0" i="0" u="none" strike="noStrike" cap="none" normalizeH="0" baseline="0" dirty="0" smtClean="0">
                          <a:ln>
                            <a:noFill/>
                          </a:ln>
                          <a:solidFill>
                            <a:schemeClr val="tx2"/>
                          </a:solidFill>
                          <a:effectLst/>
                          <a:latin typeface="Arial" charset="0"/>
                        </a:rPr>
                        <a:t>1</a:t>
                      </a:r>
                      <a:endParaRPr kumimoji="0" lang="en-US" sz="1200" b="0" i="0" u="none" strike="noStrike" cap="none" normalizeH="0" baseline="0" dirty="0">
                        <a:ln>
                          <a:noFill/>
                        </a:ln>
                        <a:solidFill>
                          <a:schemeClr val="tx2"/>
                        </a:solidFill>
                        <a:effectLst/>
                        <a:latin typeface="Arial" charset="0"/>
                      </a:endParaRPr>
                    </a:p>
                  </a:txBody>
                  <a:tcPr marL="66462" marR="66462" marT="36000" marB="36000" anchor="ctr" anchorCtr="1" horzOverflow="overflow">
                    <a:lnL cap="flat">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2"/>
                          </a:solidFill>
                          <a:effectLst/>
                          <a:latin typeface="Arial" charset="0"/>
                        </a:rPr>
                        <a:t>xx</a:t>
                      </a:r>
                    </a:p>
                  </a:txBody>
                  <a:tcPr marL="66462" marR="66462" marT="36000" marB="36000" anchor="ctr" anchorCtr="1" horzOverflow="overflow">
                    <a:lnL>
                      <a:noFill/>
                    </a:lnL>
                    <a:lnR cap="flat">
                      <a:noFill/>
                    </a:lnR>
                    <a:lnT w="12700" cap="flat" cmpd="sng" algn="ctr">
                      <a:noFill/>
                      <a:prstDash val="solid"/>
                      <a:round/>
                      <a:headEnd type="none" w="med" len="med"/>
                      <a:tailEnd type="none" w="med" len="med"/>
                    </a:lnT>
                    <a:lnB>
                      <a:noFill/>
                    </a:lnB>
                    <a:lnTlToBr>
                      <a:noFill/>
                    </a:lnTlToBr>
                    <a:lnBlToTr>
                      <a:noFill/>
                    </a:lnBlToTr>
                    <a:noFill/>
                  </a:tcPr>
                </a:tc>
              </a:tr>
              <a:tr h="346075">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2"/>
                          </a:solidFill>
                          <a:effectLst/>
                          <a:latin typeface="Arial" charset="0"/>
                        </a:rPr>
                        <a:t>Row </a:t>
                      </a:r>
                      <a:r>
                        <a:rPr kumimoji="0" lang="en-US" sz="1200" b="0" i="0" u="none" strike="noStrike" cap="none" normalizeH="0" baseline="0" dirty="0" smtClean="0">
                          <a:ln>
                            <a:noFill/>
                          </a:ln>
                          <a:solidFill>
                            <a:schemeClr val="tx2"/>
                          </a:solidFill>
                          <a:effectLst/>
                          <a:latin typeface="Arial" charset="0"/>
                        </a:rPr>
                        <a:t>2</a:t>
                      </a:r>
                      <a:endParaRPr kumimoji="0" lang="en-US" sz="1200" b="0" i="0" u="none" strike="noStrike" cap="none" normalizeH="0" baseline="0" dirty="0">
                        <a:ln>
                          <a:noFill/>
                        </a:ln>
                        <a:solidFill>
                          <a:schemeClr val="tx2"/>
                        </a:solidFill>
                        <a:effectLst/>
                        <a:latin typeface="Arial" charset="0"/>
                      </a:endParaRPr>
                    </a:p>
                  </a:txBody>
                  <a:tcPr marL="66462" marR="66462" marT="36000" marB="36000" anchor="ctr" anchorCtr="1" horzOverflow="overflow">
                    <a:lnL cap="flat">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cap="flat">
                      <a:noFill/>
                    </a:lnR>
                    <a:lnT>
                      <a:noFill/>
                    </a:lnT>
                    <a:lnB>
                      <a:noFill/>
                    </a:lnB>
                    <a:lnTlToBr>
                      <a:noFill/>
                    </a:lnTlToBr>
                    <a:lnBlToTr>
                      <a:noFill/>
                    </a:lnBlToTr>
                    <a:noFill/>
                  </a:tcPr>
                </a:tc>
              </a:tr>
              <a:tr h="346075">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2"/>
                          </a:solidFill>
                          <a:effectLst/>
                          <a:latin typeface="Arial" charset="0"/>
                        </a:rPr>
                        <a:t>Row </a:t>
                      </a:r>
                      <a:r>
                        <a:rPr kumimoji="0" lang="en-US" sz="1200" b="0" i="0" u="none" strike="noStrike" cap="none" normalizeH="0" baseline="0" dirty="0" smtClean="0">
                          <a:ln>
                            <a:noFill/>
                          </a:ln>
                          <a:solidFill>
                            <a:schemeClr val="tx2"/>
                          </a:solidFill>
                          <a:effectLst/>
                          <a:latin typeface="Arial" charset="0"/>
                        </a:rPr>
                        <a:t>3</a:t>
                      </a:r>
                      <a:endParaRPr kumimoji="0" lang="en-US" sz="1200" b="0" i="0" u="none" strike="noStrike" cap="none" normalizeH="0" baseline="0" dirty="0">
                        <a:ln>
                          <a:noFill/>
                        </a:ln>
                        <a:solidFill>
                          <a:schemeClr val="tx2"/>
                        </a:solidFill>
                        <a:effectLst/>
                        <a:latin typeface="Arial" charset="0"/>
                      </a:endParaRPr>
                    </a:p>
                  </a:txBody>
                  <a:tcPr marL="66462" marR="66462" marT="36000" marB="36000" anchor="ctr" anchorCtr="1" horzOverflow="overflow">
                    <a:lnL cap="flat">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cap="flat">
                      <a:noFill/>
                    </a:lnR>
                    <a:lnT>
                      <a:noFill/>
                    </a:lnT>
                    <a:lnB>
                      <a:noFill/>
                    </a:lnB>
                    <a:lnTlToBr>
                      <a:noFill/>
                    </a:lnTlToBr>
                    <a:lnBlToTr>
                      <a:noFill/>
                    </a:lnBlToTr>
                    <a:noFill/>
                  </a:tcPr>
                </a:tc>
              </a:tr>
              <a:tr h="346075">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2"/>
                          </a:solidFill>
                          <a:effectLst/>
                          <a:latin typeface="Arial" charset="0"/>
                        </a:rPr>
                        <a:t>Row </a:t>
                      </a:r>
                      <a:r>
                        <a:rPr kumimoji="0" lang="en-US" sz="1200" b="0" i="0" u="none" strike="noStrike" cap="none" normalizeH="0" baseline="0" dirty="0" smtClean="0">
                          <a:ln>
                            <a:noFill/>
                          </a:ln>
                          <a:solidFill>
                            <a:schemeClr val="tx2"/>
                          </a:solidFill>
                          <a:effectLst/>
                          <a:latin typeface="Arial" charset="0"/>
                        </a:rPr>
                        <a:t>4</a:t>
                      </a:r>
                      <a:endParaRPr kumimoji="0" lang="en-US" sz="1200" b="0" i="0" u="none" strike="noStrike" cap="none" normalizeH="0" baseline="0" dirty="0">
                        <a:ln>
                          <a:noFill/>
                        </a:ln>
                        <a:solidFill>
                          <a:schemeClr val="tx2"/>
                        </a:solidFill>
                        <a:effectLst/>
                        <a:latin typeface="Arial" charset="0"/>
                      </a:endParaRPr>
                    </a:p>
                  </a:txBody>
                  <a:tcPr marL="66462" marR="66462" marT="36000" marB="36000" anchor="ctr" anchorCtr="1" horzOverflow="overflow">
                    <a:lnL cap="flat">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2"/>
                          </a:solidFill>
                          <a:effectLst/>
                          <a:latin typeface="Arial" charset="0"/>
                        </a:rPr>
                        <a:t>xx</a:t>
                      </a:r>
                    </a:p>
                  </a:txBody>
                  <a:tcPr marL="66462" marR="66462" marT="36000" marB="36000" anchor="ctr" anchorCtr="1" horzOverflow="overflow">
                    <a:lnL>
                      <a:noFill/>
                    </a:lnL>
                    <a:lnR>
                      <a:noFill/>
                    </a:lnR>
                    <a:lnT>
                      <a:noFill/>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2"/>
                          </a:solidFill>
                          <a:effectLst/>
                          <a:latin typeface="Arial" charset="0"/>
                        </a:rPr>
                        <a:t>xx</a:t>
                      </a:r>
                    </a:p>
                  </a:txBody>
                  <a:tcPr marL="66462" marR="66462" marT="36000" marB="36000" anchor="ctr" anchorCtr="1" horzOverflow="overflow">
                    <a:lnL>
                      <a:noFill/>
                    </a:lnL>
                    <a:lnR cap="flat">
                      <a:noFill/>
                    </a:lnR>
                    <a:lnT>
                      <a:noFill/>
                    </a:lnT>
                    <a:lnB w="12700" cap="flat" cmpd="sng" algn="ctr">
                      <a:solidFill>
                        <a:schemeClr val="accent3"/>
                      </a:solidFill>
                      <a:prstDash val="solid"/>
                      <a:round/>
                      <a:headEnd type="none" w="med" len="med"/>
                      <a:tailEnd type="none" w="med" len="med"/>
                    </a:lnB>
                    <a:lnTlToBr>
                      <a:noFill/>
                    </a:lnTlToBr>
                    <a:lnBlToTr>
                      <a:noFill/>
                    </a:lnBlToTr>
                    <a:noFill/>
                  </a:tcPr>
                </a:tc>
              </a:tr>
              <a:tr h="346075">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2"/>
                          </a:solidFill>
                          <a:effectLst/>
                          <a:latin typeface="Arial" charset="0"/>
                        </a:rPr>
                        <a:t>Subtotal</a:t>
                      </a:r>
                    </a:p>
                  </a:txBody>
                  <a:tcPr marL="66462" marR="66462" marT="36000" marB="36000" anchor="ctr" anchorCtr="1" horzOverflow="overflow">
                    <a:lnL cap="flat">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cap="flat">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346075">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2"/>
                          </a:solidFill>
                          <a:effectLst/>
                          <a:latin typeface="Arial" charset="0"/>
                        </a:rPr>
                        <a:t>Row 1</a:t>
                      </a:r>
                    </a:p>
                  </a:txBody>
                  <a:tcPr marL="66462" marR="66462" marT="36000" marB="36000" anchor="ctr" anchorCtr="1" horzOverflow="overflow">
                    <a:lnL cap="flat">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cap="flat">
                      <a:noFill/>
                    </a:lnR>
                    <a:lnT w="12700" cap="flat" cmpd="sng" algn="ctr">
                      <a:solidFill>
                        <a:schemeClr val="accent3"/>
                      </a:solidFill>
                      <a:prstDash val="solid"/>
                      <a:round/>
                      <a:headEnd type="none" w="med" len="med"/>
                      <a:tailEnd type="none" w="med" len="med"/>
                    </a:lnT>
                    <a:lnB>
                      <a:noFill/>
                    </a:lnB>
                    <a:lnTlToBr>
                      <a:noFill/>
                    </a:lnTlToBr>
                    <a:lnBlToTr>
                      <a:noFill/>
                    </a:lnBlToTr>
                    <a:noFill/>
                  </a:tcPr>
                </a:tc>
              </a:tr>
              <a:tr h="346075">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2"/>
                          </a:solidFill>
                          <a:effectLst/>
                          <a:latin typeface="Arial" charset="0"/>
                        </a:rPr>
                        <a:t>Row 2</a:t>
                      </a:r>
                    </a:p>
                  </a:txBody>
                  <a:tcPr marL="66462" marR="66462" marT="36000" marB="36000" anchor="ctr" anchorCtr="1" horzOverflow="overflow">
                    <a:lnL cap="flat">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cap="flat">
                      <a:noFill/>
                    </a:lnR>
                    <a:lnT>
                      <a:noFill/>
                    </a:lnT>
                    <a:lnB>
                      <a:noFill/>
                    </a:lnB>
                    <a:lnTlToBr>
                      <a:noFill/>
                    </a:lnTlToBr>
                    <a:lnBlToTr>
                      <a:noFill/>
                    </a:lnBlToTr>
                    <a:noFill/>
                  </a:tcPr>
                </a:tc>
              </a:tr>
              <a:tr h="346075">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2"/>
                          </a:solidFill>
                          <a:effectLst/>
                          <a:latin typeface="Arial" charset="0"/>
                        </a:rPr>
                        <a:t>Row 3</a:t>
                      </a:r>
                    </a:p>
                  </a:txBody>
                  <a:tcPr marL="66462" marR="66462" marT="36000" marB="36000" anchor="ctr" anchorCtr="1" horzOverflow="overflow">
                    <a:lnL cap="flat">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cap="flat">
                      <a:noFill/>
                    </a:lnR>
                    <a:lnT>
                      <a:noFill/>
                    </a:lnT>
                    <a:lnB>
                      <a:noFill/>
                    </a:lnB>
                    <a:lnTlToBr>
                      <a:noFill/>
                    </a:lnTlToBr>
                    <a:lnBlToTr>
                      <a:noFill/>
                    </a:lnBlToTr>
                    <a:noFill/>
                  </a:tcPr>
                </a:tc>
              </a:tr>
              <a:tr h="337559">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2"/>
                          </a:solidFill>
                          <a:effectLst/>
                          <a:latin typeface="Arial" charset="0"/>
                        </a:rPr>
                        <a:t>Row 4</a:t>
                      </a:r>
                    </a:p>
                  </a:txBody>
                  <a:tcPr marL="66462" marR="66462" marT="36000" marB="36000" anchor="ctr" anchorCtr="1" horzOverflow="overflow">
                    <a:lnL cap="flat">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a:noFill/>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cap="flat">
                      <a:noFill/>
                    </a:lnR>
                    <a:lnT>
                      <a:noFill/>
                    </a:lnT>
                    <a:lnB w="12700" cap="flat" cmpd="sng" algn="ctr">
                      <a:solidFill>
                        <a:schemeClr val="accent3"/>
                      </a:solidFill>
                      <a:prstDash val="solid"/>
                      <a:round/>
                      <a:headEnd type="none" w="med" len="med"/>
                      <a:tailEnd type="none" w="med" len="med"/>
                    </a:lnB>
                    <a:lnTlToBr>
                      <a:noFill/>
                    </a:lnTlToBr>
                    <a:lnBlToTr>
                      <a:noFill/>
                    </a:lnBlToTr>
                    <a:noFill/>
                  </a:tcPr>
                </a:tc>
              </a:tr>
              <a:tr h="346486">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2"/>
                          </a:solidFill>
                          <a:effectLst/>
                          <a:latin typeface="Arial" charset="0"/>
                        </a:rPr>
                        <a:t>Subtotal</a:t>
                      </a:r>
                    </a:p>
                  </a:txBody>
                  <a:tcPr marL="66462" marR="66462" marT="36000" marB="36000" anchor="ctr" anchorCtr="1" horzOverflow="overflow">
                    <a:lnL cap="flat">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cap="flat">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r>
              <a:tr h="346075">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2"/>
                          </a:solidFill>
                          <a:effectLst/>
                          <a:latin typeface="Arial" charset="0"/>
                        </a:rPr>
                        <a:t>Total</a:t>
                      </a:r>
                    </a:p>
                  </a:txBody>
                  <a:tcPr marL="66462" marR="66462" marT="36000" marB="36000" anchor="ctr" anchorCtr="1" horzOverflow="overflow">
                    <a:lnL cap="flat">
                      <a:noFill/>
                    </a:lnL>
                    <a:lnR>
                      <a:noFill/>
                    </a:lnR>
                    <a:lnT>
                      <a:noFill/>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a:ln>
                            <a:noFill/>
                          </a:ln>
                          <a:solidFill>
                            <a:schemeClr val="tx2"/>
                          </a:solidFill>
                          <a:effectLst/>
                          <a:latin typeface="Arial" charset="0"/>
                        </a:rPr>
                        <a:t>xx</a:t>
                      </a:r>
                    </a:p>
                  </a:txBody>
                  <a:tcPr marL="66462" marR="66462" marT="36000" marB="36000" anchor="ctr" anchorCtr="1" horzOverflow="overflow">
                    <a:lnL>
                      <a:noFill/>
                    </a:lnL>
                    <a:lnR>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2"/>
                          </a:solidFill>
                          <a:effectLst/>
                          <a:latin typeface="Arial" charset="0"/>
                        </a:rPr>
                        <a:t>xx</a:t>
                      </a:r>
                    </a:p>
                  </a:txBody>
                  <a:tcPr marL="66462" marR="66462" marT="36000" marB="36000" anchor="ctr" anchorCtr="1" horzOverflow="overflow">
                    <a:lnL>
                      <a:noFill/>
                    </a:lnL>
                    <a:lnR cap="flat">
                      <a:noFill/>
                    </a:lnR>
                    <a:lnT w="12700" cap="flat" cmpd="sng" algn="ctr">
                      <a:solidFill>
                        <a:schemeClr val="accent3"/>
                      </a:solidFill>
                      <a:prstDash val="solid"/>
                      <a:round/>
                      <a:headEnd type="none" w="med" len="med"/>
                      <a:tailEnd type="none" w="med" len="med"/>
                    </a:lnT>
                    <a:lnB cap="flat">
                      <a:noFill/>
                    </a:lnB>
                    <a:lnTlToBr>
                      <a:noFill/>
                    </a:lnTlToBr>
                    <a:lnBlToTr>
                      <a:noFill/>
                    </a:lnBlToTr>
                    <a:noFill/>
                  </a:tcPr>
                </a:tc>
              </a:tr>
            </a:tbl>
          </a:graphicData>
        </a:graphic>
      </p:graphicFrame>
      <p:sp>
        <p:nvSpPr>
          <p:cNvPr id="7" name="Text Placeholder 12"/>
          <p:cNvSpPr>
            <a:spLocks/>
          </p:cNvSpPr>
          <p:nvPr>
            <p:custDataLst>
              <p:tags r:id="rId5"/>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smtClean="0">
                <a:solidFill>
                  <a:schemeClr val="tx2"/>
                </a:solidFill>
              </a:rPr>
              <a:t>Chart title </a:t>
            </a:r>
            <a:endParaRPr lang="en-US" sz="1800" b="1">
              <a:solidFill>
                <a:schemeClr val="tx2"/>
              </a:solidFill>
            </a:endParaRPr>
          </a:p>
        </p:txBody>
      </p:sp>
      <p:sp>
        <p:nvSpPr>
          <p:cNvPr id="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Pies </a:t>
            </a:r>
            <a:r>
              <a:rPr lang="en-US"/>
              <a:t>—</a:t>
            </a:r>
            <a:r>
              <a:rPr lang="en-GB" altLang="ja-JP" smtClean="0">
                <a:latin typeface="Arial" charset="0"/>
                <a:ea typeface="ＭＳ Ｐゴシック" pitchFamily="50" charset="-128"/>
                <a:cs typeface="Arial" charset="0"/>
              </a:rPr>
              <a:t> </a:t>
            </a:r>
            <a:r>
              <a:rPr lang="en-GB" altLang="ja-JP">
                <a:latin typeface="Arial" charset="0"/>
                <a:ea typeface="ＭＳ Ｐゴシック" pitchFamily="50" charset="-128"/>
                <a:cs typeface="Arial" charset="0"/>
              </a:rPr>
              <a:t>explosion</a:t>
            </a:r>
            <a:endParaRPr lang="nl-NL"/>
          </a:p>
        </p:txBody>
      </p:sp>
      <p:graphicFrame>
        <p:nvGraphicFramePr>
          <p:cNvPr id="24" name="Chart 23"/>
          <p:cNvGraphicFramePr/>
          <p:nvPr/>
        </p:nvGraphicFramePr>
        <p:xfrm>
          <a:off x="835078" y="2752528"/>
          <a:ext cx="2473601" cy="281282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 name="Chart 15"/>
          <p:cNvGraphicFramePr/>
          <p:nvPr/>
        </p:nvGraphicFramePr>
        <p:xfrm>
          <a:off x="4434690" y="2005333"/>
          <a:ext cx="3772413" cy="4012098"/>
        </p:xfrm>
        <a:graphic>
          <a:graphicData uri="http://schemas.openxmlformats.org/drawingml/2006/chart">
            <c:chart xmlns:c="http://schemas.openxmlformats.org/drawingml/2006/chart" xmlns:r="http://schemas.openxmlformats.org/officeDocument/2006/relationships" r:id="rId8"/>
          </a:graphicData>
        </a:graphic>
      </p:graphicFrame>
      <p:sp>
        <p:nvSpPr>
          <p:cNvPr id="23" name="Text Placeholder 12"/>
          <p:cNvSpPr>
            <a:spLocks/>
          </p:cNvSpPr>
          <p:nvPr>
            <p:custDataLst>
              <p:tags r:id="rId1"/>
            </p:custDataLst>
          </p:nvPr>
        </p:nvSpPr>
        <p:spPr bwMode="auto">
          <a:xfrm>
            <a:off x="7443693" y="2799982"/>
            <a:ext cx="591158" cy="215444"/>
          </a:xfrm>
          <a:prstGeom prst="rect">
            <a:avLst/>
          </a:prstGeom>
          <a:noFill/>
          <a:ln w="9525">
            <a:noFill/>
            <a:miter lim="800000"/>
            <a:headEnd/>
            <a:tailEnd/>
          </a:ln>
        </p:spPr>
        <p:txBody>
          <a:bodyPr wrap="square" lIns="0" tIns="0" rIns="0" bIns="0">
            <a:spAutoFit/>
          </a:bodyPr>
          <a:lstStyle/>
          <a:p>
            <a:pPr algn="l" defTabSz="1019175">
              <a:spcAft>
                <a:spcPts val="300"/>
              </a:spcAft>
            </a:pPr>
            <a:r>
              <a:rPr lang="en-US" sz="1400" b="0" dirty="0">
                <a:solidFill>
                  <a:schemeClr val="tx2"/>
                </a:solidFill>
              </a:rPr>
              <a:t>Text</a:t>
            </a:r>
          </a:p>
        </p:txBody>
      </p:sp>
      <p:sp>
        <p:nvSpPr>
          <p:cNvPr id="29" name="Text Placeholder 12"/>
          <p:cNvSpPr>
            <a:spLocks/>
          </p:cNvSpPr>
          <p:nvPr>
            <p:custDataLst>
              <p:tags r:id="rId2"/>
            </p:custDataLst>
          </p:nvPr>
        </p:nvSpPr>
        <p:spPr bwMode="auto">
          <a:xfrm>
            <a:off x="7443693" y="3609450"/>
            <a:ext cx="591158" cy="215444"/>
          </a:xfrm>
          <a:prstGeom prst="rect">
            <a:avLst/>
          </a:prstGeom>
          <a:noFill/>
          <a:ln w="9525">
            <a:noFill/>
            <a:miter lim="800000"/>
            <a:headEnd/>
            <a:tailEnd/>
          </a:ln>
        </p:spPr>
        <p:txBody>
          <a:bodyPr wrap="square" lIns="0" tIns="0" rIns="0" bIns="0">
            <a:spAutoFit/>
          </a:bodyPr>
          <a:lstStyle/>
          <a:p>
            <a:pPr algn="l" defTabSz="1019175">
              <a:spcAft>
                <a:spcPts val="300"/>
              </a:spcAft>
            </a:pPr>
            <a:r>
              <a:rPr lang="en-US" sz="1400" b="0" dirty="0">
                <a:solidFill>
                  <a:schemeClr val="tx2"/>
                </a:solidFill>
              </a:rPr>
              <a:t>Text</a:t>
            </a:r>
          </a:p>
        </p:txBody>
      </p:sp>
      <p:sp>
        <p:nvSpPr>
          <p:cNvPr id="30" name="Text Placeholder 12"/>
          <p:cNvSpPr>
            <a:spLocks/>
          </p:cNvSpPr>
          <p:nvPr>
            <p:custDataLst>
              <p:tags r:id="rId3"/>
            </p:custDataLst>
          </p:nvPr>
        </p:nvSpPr>
        <p:spPr bwMode="auto">
          <a:xfrm>
            <a:off x="7443693" y="4353732"/>
            <a:ext cx="326539" cy="215444"/>
          </a:xfrm>
          <a:prstGeom prst="rect">
            <a:avLst/>
          </a:prstGeom>
          <a:noFill/>
          <a:ln w="9525">
            <a:noFill/>
            <a:miter lim="800000"/>
            <a:headEnd/>
            <a:tailEnd/>
          </a:ln>
        </p:spPr>
        <p:txBody>
          <a:bodyPr wrap="square" lIns="0" tIns="0" rIns="0" bIns="0">
            <a:spAutoFit/>
          </a:bodyPr>
          <a:lstStyle/>
          <a:p>
            <a:pPr algn="l" defTabSz="1019175">
              <a:spcAft>
                <a:spcPts val="300"/>
              </a:spcAft>
            </a:pPr>
            <a:r>
              <a:rPr lang="en-US" sz="1400" b="0" dirty="0">
                <a:solidFill>
                  <a:schemeClr val="tx2"/>
                </a:solidFill>
              </a:rPr>
              <a:t>Text</a:t>
            </a:r>
          </a:p>
        </p:txBody>
      </p:sp>
      <p:sp>
        <p:nvSpPr>
          <p:cNvPr id="31" name="Text Placeholder 12"/>
          <p:cNvSpPr>
            <a:spLocks/>
          </p:cNvSpPr>
          <p:nvPr>
            <p:custDataLst>
              <p:tags r:id="rId4"/>
            </p:custDataLst>
          </p:nvPr>
        </p:nvSpPr>
        <p:spPr bwMode="auto">
          <a:xfrm>
            <a:off x="7443693" y="5166031"/>
            <a:ext cx="326539" cy="215444"/>
          </a:xfrm>
          <a:prstGeom prst="rect">
            <a:avLst/>
          </a:prstGeom>
          <a:noFill/>
          <a:ln w="9525">
            <a:noFill/>
            <a:miter lim="800000"/>
            <a:headEnd/>
            <a:tailEnd/>
          </a:ln>
        </p:spPr>
        <p:txBody>
          <a:bodyPr wrap="square" lIns="0" tIns="0" rIns="0" bIns="0">
            <a:spAutoFit/>
          </a:bodyPr>
          <a:lstStyle/>
          <a:p>
            <a:pPr algn="l" defTabSz="1019175">
              <a:spcAft>
                <a:spcPts val="300"/>
              </a:spcAft>
            </a:pPr>
            <a:r>
              <a:rPr lang="en-US" sz="1400" b="0" dirty="0">
                <a:solidFill>
                  <a:schemeClr val="tx2"/>
                </a:solidFill>
              </a:rPr>
              <a:t>Text</a:t>
            </a:r>
          </a:p>
        </p:txBody>
      </p:sp>
      <p:sp>
        <p:nvSpPr>
          <p:cNvPr id="34" name="Freeform 5"/>
          <p:cNvSpPr>
            <a:spLocks/>
          </p:cNvSpPr>
          <p:nvPr/>
        </p:nvSpPr>
        <p:spPr bwMode="auto">
          <a:xfrm>
            <a:off x="2889867" y="2111660"/>
            <a:ext cx="1728000" cy="1114639"/>
          </a:xfrm>
          <a:custGeom>
            <a:avLst/>
            <a:gdLst>
              <a:gd name="T0" fmla="*/ 0 w 1404"/>
              <a:gd name="T1" fmla="*/ 2147483647 h 228"/>
              <a:gd name="T2" fmla="*/ 0 w 1404"/>
              <a:gd name="T3" fmla="*/ 0 h 228"/>
              <a:gd name="T4" fmla="*/ 2147483647 w 1404"/>
              <a:gd name="T5" fmla="*/ 0 h 228"/>
              <a:gd name="T6" fmla="*/ 0 60000 65536"/>
              <a:gd name="T7" fmla="*/ 0 60000 65536"/>
              <a:gd name="T8" fmla="*/ 0 60000 65536"/>
              <a:gd name="T9" fmla="*/ 0 w 1404"/>
              <a:gd name="T10" fmla="*/ 0 h 228"/>
              <a:gd name="T11" fmla="*/ 1404 w 1404"/>
              <a:gd name="T12" fmla="*/ 228 h 228"/>
            </a:gdLst>
            <a:ahLst/>
            <a:cxnLst>
              <a:cxn ang="T6">
                <a:pos x="T0" y="T1"/>
              </a:cxn>
              <a:cxn ang="T7">
                <a:pos x="T2" y="T3"/>
              </a:cxn>
              <a:cxn ang="T8">
                <a:pos x="T4" y="T5"/>
              </a:cxn>
            </a:cxnLst>
            <a:rect l="T9" t="T10" r="T11" b="T12"/>
            <a:pathLst>
              <a:path w="1404" h="228">
                <a:moveTo>
                  <a:pt x="0" y="228"/>
                </a:moveTo>
                <a:lnTo>
                  <a:pt x="0" y="0"/>
                </a:lnTo>
                <a:lnTo>
                  <a:pt x="1404" y="0"/>
                </a:lnTo>
              </a:path>
            </a:pathLst>
          </a:custGeom>
          <a:noFill/>
          <a:ln w="12700">
            <a:solidFill>
              <a:schemeClr val="tx2"/>
            </a:solidFill>
            <a:prstDash val="dash"/>
            <a:round/>
            <a:headEnd/>
            <a:tailEnd/>
          </a:ln>
        </p:spPr>
        <p:txBody>
          <a:bodyPr wrap="none" anchor="ctr"/>
          <a:lstStyle/>
          <a:p>
            <a:endParaRPr lang="en-GB"/>
          </a:p>
        </p:txBody>
      </p:sp>
      <p:sp>
        <p:nvSpPr>
          <p:cNvPr id="35" name="Freeform 14"/>
          <p:cNvSpPr>
            <a:spLocks/>
          </p:cNvSpPr>
          <p:nvPr/>
        </p:nvSpPr>
        <p:spPr bwMode="auto">
          <a:xfrm rot="10800000" flipH="1">
            <a:off x="2919313" y="4928955"/>
            <a:ext cx="1728000" cy="819039"/>
          </a:xfrm>
          <a:custGeom>
            <a:avLst/>
            <a:gdLst>
              <a:gd name="T0" fmla="*/ 0 w 1404"/>
              <a:gd name="T1" fmla="*/ 2147483647 h 228"/>
              <a:gd name="T2" fmla="*/ 0 w 1404"/>
              <a:gd name="T3" fmla="*/ 0 h 228"/>
              <a:gd name="T4" fmla="*/ 2147483647 w 1404"/>
              <a:gd name="T5" fmla="*/ 0 h 228"/>
              <a:gd name="T6" fmla="*/ 0 60000 65536"/>
              <a:gd name="T7" fmla="*/ 0 60000 65536"/>
              <a:gd name="T8" fmla="*/ 0 60000 65536"/>
              <a:gd name="T9" fmla="*/ 0 w 1404"/>
              <a:gd name="T10" fmla="*/ 0 h 228"/>
              <a:gd name="T11" fmla="*/ 1404 w 1404"/>
              <a:gd name="T12" fmla="*/ 228 h 228"/>
            </a:gdLst>
            <a:ahLst/>
            <a:cxnLst>
              <a:cxn ang="T6">
                <a:pos x="T0" y="T1"/>
              </a:cxn>
              <a:cxn ang="T7">
                <a:pos x="T2" y="T3"/>
              </a:cxn>
              <a:cxn ang="T8">
                <a:pos x="T4" y="T5"/>
              </a:cxn>
            </a:cxnLst>
            <a:rect l="T9" t="T10" r="T11" b="T12"/>
            <a:pathLst>
              <a:path w="1404" h="228">
                <a:moveTo>
                  <a:pt x="0" y="228"/>
                </a:moveTo>
                <a:lnTo>
                  <a:pt x="0" y="0"/>
                </a:lnTo>
                <a:lnTo>
                  <a:pt x="1404" y="0"/>
                </a:lnTo>
              </a:path>
            </a:pathLst>
          </a:custGeom>
          <a:noFill/>
          <a:ln w="12700">
            <a:solidFill>
              <a:schemeClr val="tx2"/>
            </a:solidFill>
            <a:prstDash val="dash"/>
            <a:round/>
            <a:headEnd/>
            <a:tailEnd/>
          </a:ln>
        </p:spPr>
        <p:txBody>
          <a:bodyPr wrap="none" anchor="ctr"/>
          <a:lstStyle/>
          <a:p>
            <a:endParaRPr lang="en-GB"/>
          </a:p>
        </p:txBody>
      </p:sp>
      <p:sp>
        <p:nvSpPr>
          <p:cNvPr id="18" name="Rectangle 17"/>
          <p:cNvSpPr>
            <a:spLocks noChangeArrowheads="1"/>
          </p:cNvSpPr>
          <p:nvPr/>
        </p:nvSpPr>
        <p:spPr bwMode="gray">
          <a:xfrm>
            <a:off x="3485638"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19" name="Text Placeholder 12"/>
          <p:cNvSpPr>
            <a:spLocks/>
          </p:cNvSpPr>
          <p:nvPr>
            <p:custDataLst>
              <p:tags r:id="rId5"/>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9315"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Freeform 5"/>
          <p:cNvSpPr>
            <a:spLocks/>
          </p:cNvSpPr>
          <p:nvPr>
            <p:custDataLst>
              <p:tags r:id="rId3"/>
            </p:custDataLst>
          </p:nvPr>
        </p:nvSpPr>
        <p:spPr bwMode="auto">
          <a:xfrm>
            <a:off x="2964004" y="2101034"/>
            <a:ext cx="1779388" cy="1041992"/>
          </a:xfrm>
          <a:custGeom>
            <a:avLst/>
            <a:gdLst>
              <a:gd name="T0" fmla="*/ 0 w 1404"/>
              <a:gd name="T1" fmla="*/ 2147483647 h 228"/>
              <a:gd name="T2" fmla="*/ 0 w 1404"/>
              <a:gd name="T3" fmla="*/ 0 h 228"/>
              <a:gd name="T4" fmla="*/ 2147483647 w 1404"/>
              <a:gd name="T5" fmla="*/ 0 h 228"/>
              <a:gd name="T6" fmla="*/ 0 60000 65536"/>
              <a:gd name="T7" fmla="*/ 0 60000 65536"/>
              <a:gd name="T8" fmla="*/ 0 60000 65536"/>
              <a:gd name="T9" fmla="*/ 0 w 1404"/>
              <a:gd name="T10" fmla="*/ 0 h 228"/>
              <a:gd name="T11" fmla="*/ 1404 w 1404"/>
              <a:gd name="T12" fmla="*/ 228 h 228"/>
            </a:gdLst>
            <a:ahLst/>
            <a:cxnLst>
              <a:cxn ang="T6">
                <a:pos x="T0" y="T1"/>
              </a:cxn>
              <a:cxn ang="T7">
                <a:pos x="T2" y="T3"/>
              </a:cxn>
              <a:cxn ang="T8">
                <a:pos x="T4" y="T5"/>
              </a:cxn>
            </a:cxnLst>
            <a:rect l="T9" t="T10" r="T11" b="T12"/>
            <a:pathLst>
              <a:path w="1404" h="228">
                <a:moveTo>
                  <a:pt x="0" y="228"/>
                </a:moveTo>
                <a:lnTo>
                  <a:pt x="0" y="0"/>
                </a:lnTo>
                <a:lnTo>
                  <a:pt x="1404" y="0"/>
                </a:lnTo>
              </a:path>
            </a:pathLst>
          </a:custGeom>
          <a:noFill/>
          <a:ln w="12700">
            <a:solidFill>
              <a:schemeClr val="accent3"/>
            </a:solidFill>
            <a:prstDash val="lgDash"/>
            <a:round/>
            <a:headEnd/>
            <a:tailEnd/>
          </a:ln>
        </p:spPr>
        <p:txBody>
          <a:bodyPr wrap="none" anchor="ctr"/>
          <a:lstStyle/>
          <a:p>
            <a:endParaRPr lang="en-GB"/>
          </a:p>
        </p:txBody>
      </p:sp>
      <p:sp>
        <p:nvSpPr>
          <p:cNvPr id="16" name="Freeform 14"/>
          <p:cNvSpPr>
            <a:spLocks/>
          </p:cNvSpPr>
          <p:nvPr>
            <p:custDataLst>
              <p:tags r:id="rId4"/>
            </p:custDataLst>
          </p:nvPr>
        </p:nvSpPr>
        <p:spPr bwMode="auto">
          <a:xfrm rot="10800000" flipH="1">
            <a:off x="2989699" y="4875800"/>
            <a:ext cx="1728000" cy="819039"/>
          </a:xfrm>
          <a:custGeom>
            <a:avLst/>
            <a:gdLst>
              <a:gd name="T0" fmla="*/ 0 w 1404"/>
              <a:gd name="T1" fmla="*/ 2147483647 h 228"/>
              <a:gd name="T2" fmla="*/ 0 w 1404"/>
              <a:gd name="T3" fmla="*/ 0 h 228"/>
              <a:gd name="T4" fmla="*/ 2147483647 w 1404"/>
              <a:gd name="T5" fmla="*/ 0 h 228"/>
              <a:gd name="T6" fmla="*/ 0 60000 65536"/>
              <a:gd name="T7" fmla="*/ 0 60000 65536"/>
              <a:gd name="T8" fmla="*/ 0 60000 65536"/>
              <a:gd name="T9" fmla="*/ 0 w 1404"/>
              <a:gd name="T10" fmla="*/ 0 h 228"/>
              <a:gd name="T11" fmla="*/ 1404 w 1404"/>
              <a:gd name="T12" fmla="*/ 228 h 228"/>
            </a:gdLst>
            <a:ahLst/>
            <a:cxnLst>
              <a:cxn ang="T6">
                <a:pos x="T0" y="T1"/>
              </a:cxn>
              <a:cxn ang="T7">
                <a:pos x="T2" y="T3"/>
              </a:cxn>
              <a:cxn ang="T8">
                <a:pos x="T4" y="T5"/>
              </a:cxn>
            </a:cxnLst>
            <a:rect l="T9" t="T10" r="T11" b="T12"/>
            <a:pathLst>
              <a:path w="1404" h="228">
                <a:moveTo>
                  <a:pt x="0" y="228"/>
                </a:moveTo>
                <a:lnTo>
                  <a:pt x="0" y="0"/>
                </a:lnTo>
                <a:lnTo>
                  <a:pt x="1404" y="0"/>
                </a:lnTo>
              </a:path>
            </a:pathLst>
          </a:custGeom>
          <a:noFill/>
          <a:ln w="12700">
            <a:solidFill>
              <a:schemeClr val="accent3"/>
            </a:solidFill>
            <a:prstDash val="lgDash"/>
            <a:round/>
            <a:headEnd/>
            <a:tailEnd/>
          </a:ln>
        </p:spPr>
        <p:txBody>
          <a:bodyPr wrap="none" anchor="ctr"/>
          <a:lstStyle/>
          <a:p>
            <a:endParaRPr lang="en-GB"/>
          </a:p>
        </p:txBody>
      </p:sp>
      <p:sp>
        <p:nvSpPr>
          <p:cNvPr id="12" name="Title 11"/>
          <p:cNvSpPr>
            <a:spLocks noGrp="1"/>
          </p:cNvSpPr>
          <p:nvPr>
            <p:ph type="title"/>
            <p:custDataLst>
              <p:tags r:id="rId5"/>
            </p:custDataLst>
          </p:nvPr>
        </p:nvSpPr>
        <p:spPr>
          <a:xfrm>
            <a:off x="414338" y="446038"/>
            <a:ext cx="8330184" cy="333425"/>
          </a:xfrm>
        </p:spPr>
        <p:txBody>
          <a:bodyPr/>
          <a:lstStyle/>
          <a:p>
            <a:r>
              <a:rPr lang="en-GB" altLang="ja-JP">
                <a:latin typeface="Arial" charset="0"/>
                <a:ea typeface="ＭＳ Ｐゴシック" pitchFamily="50" charset="-128"/>
                <a:cs typeface="Arial" charset="0"/>
              </a:rPr>
              <a:t>Pies </a:t>
            </a:r>
            <a:r>
              <a:rPr lang="en-US"/>
              <a:t>—</a:t>
            </a:r>
            <a:r>
              <a:rPr lang="en-GB" altLang="ja-JP" smtClean="0">
                <a:latin typeface="Arial" charset="0"/>
                <a:ea typeface="ＭＳ Ｐゴシック" pitchFamily="50" charset="-128"/>
                <a:cs typeface="Arial" charset="0"/>
              </a:rPr>
              <a:t> </a:t>
            </a:r>
            <a:r>
              <a:rPr lang="en-GB">
                <a:latin typeface="Arial" charset="0"/>
                <a:cs typeface="Arial" charset="0"/>
              </a:rPr>
              <a:t>stacked </a:t>
            </a:r>
            <a:r>
              <a:rPr lang="en-GB" altLang="ja-JP">
                <a:latin typeface="Arial" charset="0"/>
                <a:ea typeface="ＭＳ Ｐゴシック" pitchFamily="50" charset="-128"/>
                <a:cs typeface="Arial" charset="0"/>
              </a:rPr>
              <a:t>co</a:t>
            </a:r>
            <a:r>
              <a:rPr lang="en-GB">
                <a:latin typeface="Arial" charset="0"/>
                <a:cs typeface="Arial" charset="0"/>
              </a:rPr>
              <a:t>lumn 100%</a:t>
            </a:r>
            <a:endParaRPr lang="nl-NL"/>
          </a:p>
        </p:txBody>
      </p:sp>
      <p:graphicFrame>
        <p:nvGraphicFramePr>
          <p:cNvPr id="24" name="Chart 23"/>
          <p:cNvGraphicFramePr/>
          <p:nvPr>
            <p:custDataLst>
              <p:tags r:id="rId6"/>
            </p:custDataLst>
          </p:nvPr>
        </p:nvGraphicFramePr>
        <p:xfrm>
          <a:off x="902646" y="2576878"/>
          <a:ext cx="2689523" cy="2823018"/>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9" name="Chart 18"/>
          <p:cNvGraphicFramePr/>
          <p:nvPr/>
        </p:nvGraphicFramePr>
        <p:xfrm>
          <a:off x="4816463" y="1982338"/>
          <a:ext cx="3310083" cy="4012098"/>
        </p:xfrm>
        <a:graphic>
          <a:graphicData uri="http://schemas.openxmlformats.org/drawingml/2006/chart">
            <c:chart xmlns:c="http://schemas.openxmlformats.org/drawingml/2006/chart" xmlns:r="http://schemas.openxmlformats.org/officeDocument/2006/relationships" r:id="rId11"/>
          </a:graphicData>
        </a:graphic>
      </p:graphicFrame>
      <p:sp>
        <p:nvSpPr>
          <p:cNvPr id="15"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7" name="Rectangle 16"/>
          <p:cNvSpPr>
            <a:spLocks noChangeArrowheads="1"/>
          </p:cNvSpPr>
          <p:nvPr/>
        </p:nvSpPr>
        <p:spPr bwMode="gray">
          <a:xfrm>
            <a:off x="3488657"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20" name="Text Placeholder 12"/>
          <p:cNvSpPr>
            <a:spLocks/>
          </p:cNvSpPr>
          <p:nvPr>
            <p:custDataLst>
              <p:tags r:id="rId7"/>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70339" name="think-cell Slide" r:id="rId10" imgW="0" imgH="0" progId="">
                  <p:embed/>
                </p:oleObj>
              </mc:Choice>
              <mc:Fallback>
                <p:oleObj name="think-cell Slide" r:id="rId10"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Freeform 5"/>
          <p:cNvSpPr>
            <a:spLocks/>
          </p:cNvSpPr>
          <p:nvPr>
            <p:custDataLst>
              <p:tags r:id="rId3"/>
            </p:custDataLst>
          </p:nvPr>
        </p:nvSpPr>
        <p:spPr bwMode="auto">
          <a:xfrm>
            <a:off x="2610700" y="2164821"/>
            <a:ext cx="2728480" cy="542261"/>
          </a:xfrm>
          <a:custGeom>
            <a:avLst/>
            <a:gdLst>
              <a:gd name="T0" fmla="*/ 0 w 1404"/>
              <a:gd name="T1" fmla="*/ 2147483647 h 228"/>
              <a:gd name="T2" fmla="*/ 0 w 1404"/>
              <a:gd name="T3" fmla="*/ 0 h 228"/>
              <a:gd name="T4" fmla="*/ 2147483647 w 1404"/>
              <a:gd name="T5" fmla="*/ 0 h 228"/>
              <a:gd name="T6" fmla="*/ 0 60000 65536"/>
              <a:gd name="T7" fmla="*/ 0 60000 65536"/>
              <a:gd name="T8" fmla="*/ 0 60000 65536"/>
              <a:gd name="T9" fmla="*/ 0 w 1404"/>
              <a:gd name="T10" fmla="*/ 0 h 228"/>
              <a:gd name="T11" fmla="*/ 1404 w 1404"/>
              <a:gd name="T12" fmla="*/ 228 h 228"/>
            </a:gdLst>
            <a:ahLst/>
            <a:cxnLst>
              <a:cxn ang="T6">
                <a:pos x="T0" y="T1"/>
              </a:cxn>
              <a:cxn ang="T7">
                <a:pos x="T2" y="T3"/>
              </a:cxn>
              <a:cxn ang="T8">
                <a:pos x="T4" y="T5"/>
              </a:cxn>
            </a:cxnLst>
            <a:rect l="T9" t="T10" r="T11" b="T12"/>
            <a:pathLst>
              <a:path w="1404" h="228">
                <a:moveTo>
                  <a:pt x="0" y="228"/>
                </a:moveTo>
                <a:lnTo>
                  <a:pt x="0" y="0"/>
                </a:lnTo>
                <a:lnTo>
                  <a:pt x="1404" y="0"/>
                </a:lnTo>
              </a:path>
            </a:pathLst>
          </a:custGeom>
          <a:noFill/>
          <a:ln w="12700">
            <a:solidFill>
              <a:schemeClr val="accent3"/>
            </a:solidFill>
            <a:prstDash val="lgDash"/>
            <a:round/>
            <a:headEnd/>
            <a:tailEnd/>
          </a:ln>
        </p:spPr>
        <p:txBody>
          <a:bodyPr wrap="none" anchor="ctr"/>
          <a:lstStyle/>
          <a:p>
            <a:endParaRPr lang="en-GB"/>
          </a:p>
        </p:txBody>
      </p:sp>
      <p:sp>
        <p:nvSpPr>
          <p:cNvPr id="16" name="Freeform 14"/>
          <p:cNvSpPr>
            <a:spLocks/>
          </p:cNvSpPr>
          <p:nvPr>
            <p:custDataLst>
              <p:tags r:id="rId4"/>
            </p:custDataLst>
          </p:nvPr>
        </p:nvSpPr>
        <p:spPr bwMode="auto">
          <a:xfrm rot="10800000" flipH="1">
            <a:off x="2316262" y="4769796"/>
            <a:ext cx="3013103" cy="871871"/>
          </a:xfrm>
          <a:custGeom>
            <a:avLst/>
            <a:gdLst>
              <a:gd name="T0" fmla="*/ 0 w 1404"/>
              <a:gd name="T1" fmla="*/ 2147483647 h 228"/>
              <a:gd name="T2" fmla="*/ 0 w 1404"/>
              <a:gd name="T3" fmla="*/ 0 h 228"/>
              <a:gd name="T4" fmla="*/ 2147483647 w 1404"/>
              <a:gd name="T5" fmla="*/ 0 h 228"/>
              <a:gd name="T6" fmla="*/ 0 60000 65536"/>
              <a:gd name="T7" fmla="*/ 0 60000 65536"/>
              <a:gd name="T8" fmla="*/ 0 60000 65536"/>
              <a:gd name="T9" fmla="*/ 0 w 1404"/>
              <a:gd name="T10" fmla="*/ 0 h 228"/>
              <a:gd name="T11" fmla="*/ 1404 w 1404"/>
              <a:gd name="T12" fmla="*/ 228 h 228"/>
            </a:gdLst>
            <a:ahLst/>
            <a:cxnLst>
              <a:cxn ang="T6">
                <a:pos x="T0" y="T1"/>
              </a:cxn>
              <a:cxn ang="T7">
                <a:pos x="T2" y="T3"/>
              </a:cxn>
              <a:cxn ang="T8">
                <a:pos x="T4" y="T5"/>
              </a:cxn>
            </a:cxnLst>
            <a:rect l="T9" t="T10" r="T11" b="T12"/>
            <a:pathLst>
              <a:path w="1404" h="228">
                <a:moveTo>
                  <a:pt x="0" y="228"/>
                </a:moveTo>
                <a:lnTo>
                  <a:pt x="0" y="0"/>
                </a:lnTo>
                <a:lnTo>
                  <a:pt x="1404" y="0"/>
                </a:lnTo>
              </a:path>
            </a:pathLst>
          </a:custGeom>
          <a:noFill/>
          <a:ln w="12700">
            <a:solidFill>
              <a:schemeClr val="accent3"/>
            </a:solidFill>
            <a:prstDash val="lgDash"/>
            <a:round/>
            <a:headEnd/>
            <a:tailEnd/>
          </a:ln>
        </p:spPr>
        <p:txBody>
          <a:bodyPr wrap="none" anchor="ctr"/>
          <a:lstStyle/>
          <a:p>
            <a:endParaRPr lang="en-GB"/>
          </a:p>
        </p:txBody>
      </p:sp>
      <p:sp>
        <p:nvSpPr>
          <p:cNvPr id="12" name="Title 11"/>
          <p:cNvSpPr>
            <a:spLocks noGrp="1"/>
          </p:cNvSpPr>
          <p:nvPr>
            <p:ph type="title"/>
            <p:custDataLst>
              <p:tags r:id="rId5"/>
            </p:custDataLst>
          </p:nvPr>
        </p:nvSpPr>
        <p:spPr>
          <a:xfrm>
            <a:off x="414338" y="446038"/>
            <a:ext cx="8330184" cy="333425"/>
          </a:xfrm>
        </p:spPr>
        <p:txBody>
          <a:bodyPr/>
          <a:lstStyle/>
          <a:p>
            <a:r>
              <a:rPr lang="en-GB" altLang="ja-JP">
                <a:latin typeface="Arial" charset="0"/>
                <a:ea typeface="ＭＳ Ｐゴシック" pitchFamily="50" charset="-128"/>
                <a:cs typeface="Arial" charset="0"/>
              </a:rPr>
              <a:t>Pies </a:t>
            </a:r>
            <a:r>
              <a:rPr lang="en-US"/>
              <a:t>—</a:t>
            </a:r>
            <a:r>
              <a:rPr lang="en-GB" altLang="ja-JP" smtClean="0">
                <a:latin typeface="Arial" charset="0"/>
                <a:ea typeface="ＭＳ Ｐゴシック" pitchFamily="50" charset="-128"/>
                <a:cs typeface="Arial" charset="0"/>
              </a:rPr>
              <a:t> </a:t>
            </a:r>
            <a:r>
              <a:rPr lang="en-GB">
                <a:latin typeface="Arial" charset="0"/>
                <a:cs typeface="Arial" charset="0"/>
              </a:rPr>
              <a:t>labels on outside</a:t>
            </a:r>
            <a:endParaRPr lang="nl-NL"/>
          </a:p>
        </p:txBody>
      </p:sp>
      <p:graphicFrame>
        <p:nvGraphicFramePr>
          <p:cNvPr id="24" name="Chart 23"/>
          <p:cNvGraphicFramePr/>
          <p:nvPr>
            <p:custDataLst>
              <p:tags r:id="rId6"/>
            </p:custDataLst>
          </p:nvPr>
        </p:nvGraphicFramePr>
        <p:xfrm>
          <a:off x="1313958" y="2588809"/>
          <a:ext cx="2257677" cy="2416368"/>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9" name="Chart 18"/>
          <p:cNvGraphicFramePr/>
          <p:nvPr/>
        </p:nvGraphicFramePr>
        <p:xfrm>
          <a:off x="4816463" y="1982338"/>
          <a:ext cx="3310083" cy="4012098"/>
        </p:xfrm>
        <a:graphic>
          <a:graphicData uri="http://schemas.openxmlformats.org/drawingml/2006/chart">
            <c:chart xmlns:c="http://schemas.openxmlformats.org/drawingml/2006/chart" xmlns:r="http://schemas.openxmlformats.org/officeDocument/2006/relationships" r:id="rId12"/>
          </a:graphicData>
        </a:graphic>
      </p:graphicFrame>
      <p:sp>
        <p:nvSpPr>
          <p:cNvPr id="17" name="Text Placeholder 12"/>
          <p:cNvSpPr>
            <a:spLocks/>
          </p:cNvSpPr>
          <p:nvPr/>
        </p:nvSpPr>
        <p:spPr bwMode="auto">
          <a:xfrm>
            <a:off x="1533253" y="2781510"/>
            <a:ext cx="326539" cy="184666"/>
          </a:xfrm>
          <a:prstGeom prst="rect">
            <a:avLst/>
          </a:prstGeom>
          <a:noFill/>
          <a:ln w="9525">
            <a:noFill/>
            <a:miter lim="800000"/>
            <a:headEnd/>
            <a:tailEnd/>
          </a:ln>
        </p:spPr>
        <p:txBody>
          <a:bodyPr wrap="square" lIns="0" tIns="0" rIns="0" bIns="0">
            <a:spAutoFit/>
          </a:bodyPr>
          <a:lstStyle/>
          <a:p>
            <a:pPr defTabSz="1019175">
              <a:spcAft>
                <a:spcPts val="300"/>
              </a:spcAft>
            </a:pPr>
            <a:r>
              <a:rPr lang="en-US" sz="1200">
                <a:solidFill>
                  <a:schemeClr val="tx2"/>
                </a:solidFill>
              </a:rPr>
              <a:t>xxx</a:t>
            </a:r>
          </a:p>
        </p:txBody>
      </p:sp>
      <p:sp>
        <p:nvSpPr>
          <p:cNvPr id="20" name="Text Placeholder 12"/>
          <p:cNvSpPr>
            <a:spLocks/>
          </p:cNvSpPr>
          <p:nvPr/>
        </p:nvSpPr>
        <p:spPr bwMode="auto">
          <a:xfrm>
            <a:off x="1287886" y="4158943"/>
            <a:ext cx="326539" cy="184666"/>
          </a:xfrm>
          <a:prstGeom prst="rect">
            <a:avLst/>
          </a:prstGeom>
          <a:noFill/>
          <a:ln w="9525">
            <a:noFill/>
            <a:miter lim="800000"/>
            <a:headEnd/>
            <a:tailEnd/>
          </a:ln>
        </p:spPr>
        <p:txBody>
          <a:bodyPr wrap="square" lIns="0" tIns="0" rIns="0" bIns="0">
            <a:spAutoFit/>
          </a:bodyPr>
          <a:lstStyle/>
          <a:p>
            <a:pPr defTabSz="1019175">
              <a:spcAft>
                <a:spcPts val="300"/>
              </a:spcAft>
            </a:pPr>
            <a:r>
              <a:rPr lang="en-US" sz="1200">
                <a:solidFill>
                  <a:schemeClr val="tx2"/>
                </a:solidFill>
              </a:rPr>
              <a:t>xxx</a:t>
            </a:r>
          </a:p>
        </p:txBody>
      </p:sp>
      <p:sp>
        <p:nvSpPr>
          <p:cNvPr id="23" name="Text Placeholder 12"/>
          <p:cNvSpPr>
            <a:spLocks/>
          </p:cNvSpPr>
          <p:nvPr>
            <p:custDataLst>
              <p:tags r:id="rId7"/>
            </p:custDataLst>
          </p:nvPr>
        </p:nvSpPr>
        <p:spPr bwMode="auto">
          <a:xfrm>
            <a:off x="3604150" y="3786360"/>
            <a:ext cx="326539" cy="184666"/>
          </a:xfrm>
          <a:prstGeom prst="rect">
            <a:avLst/>
          </a:prstGeom>
          <a:noFill/>
          <a:ln w="9525">
            <a:noFill/>
            <a:miter lim="800000"/>
            <a:headEnd/>
            <a:tailEnd/>
          </a:ln>
        </p:spPr>
        <p:txBody>
          <a:bodyPr wrap="square" lIns="0" tIns="0" rIns="0" bIns="0">
            <a:spAutoFit/>
          </a:bodyPr>
          <a:lstStyle/>
          <a:p>
            <a:pPr defTabSz="1019175">
              <a:spcAft>
                <a:spcPts val="300"/>
              </a:spcAft>
            </a:pPr>
            <a:r>
              <a:rPr lang="en-US" sz="1200">
                <a:solidFill>
                  <a:schemeClr val="tx2"/>
                </a:solidFill>
              </a:rPr>
              <a:t>xxx</a:t>
            </a:r>
          </a:p>
        </p:txBody>
      </p:sp>
      <p:sp>
        <p:nvSpPr>
          <p:cNvPr id="15"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2" name="Rectangle 21"/>
          <p:cNvSpPr>
            <a:spLocks noChangeArrowheads="1"/>
          </p:cNvSpPr>
          <p:nvPr/>
        </p:nvSpPr>
        <p:spPr bwMode="gray">
          <a:xfrm>
            <a:off x="3484350"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25" name="Text Placeholder 12"/>
          <p:cNvSpPr>
            <a:spLocks/>
          </p:cNvSpPr>
          <p:nvPr>
            <p:custDataLst>
              <p:tags r:id="rId8"/>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ltLang="ja-JP">
                <a:latin typeface="Arial" charset="0"/>
                <a:ea typeface="ＭＳ Ｐゴシック" pitchFamily="50" charset="-128"/>
                <a:cs typeface="Arial" charset="0"/>
              </a:rPr>
              <a:t>Radars</a:t>
            </a:r>
            <a:endParaRPr lang="nl-NL"/>
          </a:p>
        </p:txBody>
      </p:sp>
      <p:graphicFrame>
        <p:nvGraphicFramePr>
          <p:cNvPr id="5" name="Chart 4"/>
          <p:cNvGraphicFramePr/>
          <p:nvPr/>
        </p:nvGraphicFramePr>
        <p:xfrm>
          <a:off x="1524000" y="1633217"/>
          <a:ext cx="6096000" cy="4402667"/>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0" name="Rectangle 9"/>
          <p:cNvSpPr>
            <a:spLocks noChangeArrowheads="1"/>
          </p:cNvSpPr>
          <p:nvPr/>
        </p:nvSpPr>
        <p:spPr bwMode="gray">
          <a:xfrm>
            <a:off x="2766246"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11"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ltLang="ja-JP">
                <a:latin typeface="Arial" charset="0"/>
                <a:ea typeface="ＭＳ Ｐゴシック" pitchFamily="50" charset="-128"/>
                <a:cs typeface="Arial" charset="0"/>
              </a:rPr>
              <a:t>Lines</a:t>
            </a:r>
            <a:endParaRPr lang="nl-NL"/>
          </a:p>
        </p:txBody>
      </p:sp>
      <p:graphicFrame>
        <p:nvGraphicFramePr>
          <p:cNvPr id="5" name="Chart 4"/>
          <p:cNvGraphicFramePr/>
          <p:nvPr/>
        </p:nvGraphicFramePr>
        <p:xfrm>
          <a:off x="493362" y="1943370"/>
          <a:ext cx="7113007" cy="3759003"/>
        </p:xfrm>
        <a:graphic>
          <a:graphicData uri="http://schemas.openxmlformats.org/drawingml/2006/chart">
            <c:chart xmlns:c="http://schemas.openxmlformats.org/drawingml/2006/chart" xmlns:r="http://schemas.openxmlformats.org/officeDocument/2006/relationships" r:id="rId8"/>
          </a:graphicData>
        </a:graphic>
      </p:graphicFrame>
      <p:sp>
        <p:nvSpPr>
          <p:cNvPr id="8" name="Text Placeholder 12"/>
          <p:cNvSpPr>
            <a:spLocks/>
          </p:cNvSpPr>
          <p:nvPr>
            <p:custDataLst>
              <p:tags r:id="rId1"/>
            </p:custDataLst>
          </p:nvPr>
        </p:nvSpPr>
        <p:spPr bwMode="auto">
          <a:xfrm rot="16200000">
            <a:off x="217261" y="3566286"/>
            <a:ext cx="529283"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9" name="Text Placeholder 12"/>
          <p:cNvSpPr>
            <a:spLocks/>
          </p:cNvSpPr>
          <p:nvPr>
            <p:custDataLst>
              <p:tags r:id="rId2"/>
            </p:custDataLst>
          </p:nvPr>
        </p:nvSpPr>
        <p:spPr bwMode="auto">
          <a:xfrm>
            <a:off x="3965651" y="5646904"/>
            <a:ext cx="488569"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10" name="Text Placeholder 12"/>
          <p:cNvSpPr>
            <a:spLocks/>
          </p:cNvSpPr>
          <p:nvPr>
            <p:custDataLst>
              <p:tags r:id="rId3"/>
            </p:custDataLst>
          </p:nvPr>
        </p:nvSpPr>
        <p:spPr bwMode="auto">
          <a:xfrm>
            <a:off x="7549038" y="4370998"/>
            <a:ext cx="1025204" cy="184666"/>
          </a:xfrm>
          <a:prstGeom prst="rect">
            <a:avLst/>
          </a:prstGeom>
          <a:noFill/>
          <a:ln w="9525">
            <a:noFill/>
            <a:miter lim="800000"/>
            <a:headEnd/>
            <a:tailEnd/>
          </a:ln>
        </p:spPr>
        <p:txBody>
          <a:bodyPr wrap="square" lIns="0" tIns="0" rIns="0" bIns="0">
            <a:spAutoFit/>
          </a:bodyPr>
          <a:lstStyle/>
          <a:p>
            <a:pPr algn="l" defTabSz="1019175">
              <a:spcAft>
                <a:spcPts val="300"/>
              </a:spcAft>
            </a:pPr>
            <a:r>
              <a:rPr lang="en-US" sz="1200" dirty="0">
                <a:solidFill>
                  <a:schemeClr val="tx2"/>
                </a:solidFill>
              </a:rPr>
              <a:t>Deloitte </a:t>
            </a:r>
            <a:r>
              <a:rPr lang="en-US" sz="1200" dirty="0" smtClean="0">
                <a:solidFill>
                  <a:schemeClr val="tx2"/>
                </a:solidFill>
              </a:rPr>
              <a:t>Blue</a:t>
            </a:r>
            <a:endParaRPr lang="en-US" sz="1200" dirty="0">
              <a:solidFill>
                <a:schemeClr val="tx2"/>
              </a:solidFill>
            </a:endParaRPr>
          </a:p>
        </p:txBody>
      </p:sp>
      <p:sp>
        <p:nvSpPr>
          <p:cNvPr id="11" name="Text Placeholder 12"/>
          <p:cNvSpPr>
            <a:spLocks/>
          </p:cNvSpPr>
          <p:nvPr>
            <p:custDataLst>
              <p:tags r:id="rId4"/>
            </p:custDataLst>
          </p:nvPr>
        </p:nvSpPr>
        <p:spPr bwMode="auto">
          <a:xfrm>
            <a:off x="7549038" y="3553011"/>
            <a:ext cx="1195484" cy="184666"/>
          </a:xfrm>
          <a:prstGeom prst="rect">
            <a:avLst/>
          </a:prstGeom>
          <a:noFill/>
          <a:ln w="9525">
            <a:noFill/>
            <a:miter lim="800000"/>
            <a:headEnd/>
            <a:tailEnd/>
          </a:ln>
        </p:spPr>
        <p:txBody>
          <a:bodyPr wrap="square" lIns="0" tIns="0" rIns="0" bIns="0">
            <a:spAutoFit/>
          </a:bodyPr>
          <a:lstStyle/>
          <a:p>
            <a:pPr algn="l" defTabSz="1019175">
              <a:spcAft>
                <a:spcPts val="300"/>
              </a:spcAft>
            </a:pPr>
            <a:r>
              <a:rPr lang="en-US" sz="1200" dirty="0">
                <a:solidFill>
                  <a:schemeClr val="tx2"/>
                </a:solidFill>
              </a:rPr>
              <a:t>Deloitte </a:t>
            </a:r>
            <a:r>
              <a:rPr lang="en-US" sz="1200" dirty="0" smtClean="0">
                <a:solidFill>
                  <a:schemeClr val="tx2"/>
                </a:solidFill>
              </a:rPr>
              <a:t>Green</a:t>
            </a:r>
            <a:endParaRPr lang="en-US" sz="1200" dirty="0">
              <a:solidFill>
                <a:schemeClr val="tx2"/>
              </a:solidFill>
            </a:endParaRPr>
          </a:p>
        </p:txBody>
      </p:sp>
      <p:sp>
        <p:nvSpPr>
          <p:cNvPr id="12" name="Text Placeholder 12"/>
          <p:cNvSpPr>
            <a:spLocks/>
          </p:cNvSpPr>
          <p:nvPr>
            <p:custDataLst>
              <p:tags r:id="rId5"/>
            </p:custDataLst>
          </p:nvPr>
        </p:nvSpPr>
        <p:spPr bwMode="auto">
          <a:xfrm>
            <a:off x="7549038" y="3209092"/>
            <a:ext cx="1025204" cy="184666"/>
          </a:xfrm>
          <a:prstGeom prst="rect">
            <a:avLst/>
          </a:prstGeom>
          <a:noFill/>
          <a:ln w="9525">
            <a:noFill/>
            <a:miter lim="800000"/>
            <a:headEnd/>
            <a:tailEnd/>
          </a:ln>
        </p:spPr>
        <p:txBody>
          <a:bodyPr wrap="square" lIns="0" tIns="0" rIns="0" bIns="0">
            <a:spAutoFit/>
          </a:bodyPr>
          <a:lstStyle/>
          <a:p>
            <a:pPr algn="l" defTabSz="1019175">
              <a:spcAft>
                <a:spcPts val="300"/>
              </a:spcAft>
            </a:pPr>
            <a:r>
              <a:rPr lang="en-US" sz="1200" dirty="0">
                <a:solidFill>
                  <a:schemeClr val="tx2"/>
                </a:solidFill>
              </a:rPr>
              <a:t>Mid </a:t>
            </a:r>
            <a:r>
              <a:rPr lang="en-US" sz="1200" dirty="0" smtClean="0">
                <a:solidFill>
                  <a:schemeClr val="tx2"/>
                </a:solidFill>
              </a:rPr>
              <a:t>Blue</a:t>
            </a:r>
            <a:endParaRPr lang="en-US" sz="1200" dirty="0">
              <a:solidFill>
                <a:schemeClr val="tx2"/>
              </a:solidFill>
            </a:endParaRPr>
          </a:p>
        </p:txBody>
      </p:sp>
      <p:sp>
        <p:nvSpPr>
          <p:cNvPr id="13"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6" name="Text Placeholder 12"/>
          <p:cNvSpPr>
            <a:spLocks/>
          </p:cNvSpPr>
          <p:nvPr>
            <p:custDataLst>
              <p:tags r:id="rId6"/>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4" name="Rectangle 13"/>
          <p:cNvSpPr>
            <a:spLocks noChangeArrowheads="1"/>
          </p:cNvSpPr>
          <p:nvPr/>
        </p:nvSpPr>
        <p:spPr bwMode="gray">
          <a:xfrm>
            <a:off x="3491216"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Lines </a:t>
            </a:r>
            <a:r>
              <a:rPr lang="en-US"/>
              <a:t>—</a:t>
            </a:r>
            <a:r>
              <a:rPr lang="en-GB" altLang="ja-JP" smtClean="0">
                <a:latin typeface="Arial" charset="0"/>
                <a:ea typeface="ＭＳ Ｐゴシック" pitchFamily="50" charset="-128"/>
                <a:cs typeface="Arial" charset="0"/>
              </a:rPr>
              <a:t> </a:t>
            </a:r>
            <a:r>
              <a:rPr lang="en-GB" altLang="ja-JP">
                <a:latin typeface="Arial" charset="0"/>
                <a:ea typeface="ＭＳ Ｐゴシック" pitchFamily="50" charset="-128"/>
                <a:cs typeface="Arial" charset="0"/>
              </a:rPr>
              <a:t>two</a:t>
            </a:r>
            <a:endParaRPr lang="nl-NL"/>
          </a:p>
        </p:txBody>
      </p:sp>
      <p:graphicFrame>
        <p:nvGraphicFramePr>
          <p:cNvPr id="5" name="Chart 4"/>
          <p:cNvGraphicFramePr/>
          <p:nvPr/>
        </p:nvGraphicFramePr>
        <p:xfrm>
          <a:off x="407101" y="1943370"/>
          <a:ext cx="4078639" cy="3759003"/>
        </p:xfrm>
        <a:graphic>
          <a:graphicData uri="http://schemas.openxmlformats.org/drawingml/2006/chart">
            <c:chart xmlns:c="http://schemas.openxmlformats.org/drawingml/2006/chart" xmlns:r="http://schemas.openxmlformats.org/officeDocument/2006/relationships" r:id="rId14"/>
          </a:graphicData>
        </a:graphic>
      </p:graphicFrame>
      <p:sp>
        <p:nvSpPr>
          <p:cNvPr id="8" name="Text Placeholder 12"/>
          <p:cNvSpPr>
            <a:spLocks/>
          </p:cNvSpPr>
          <p:nvPr>
            <p:custDataLst>
              <p:tags r:id="rId1"/>
            </p:custDataLst>
          </p:nvPr>
        </p:nvSpPr>
        <p:spPr bwMode="auto">
          <a:xfrm rot="16200000">
            <a:off x="131000" y="3566286"/>
            <a:ext cx="529283"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dirty="0">
                <a:solidFill>
                  <a:schemeClr val="tx2"/>
                </a:solidFill>
              </a:rPr>
              <a:t>Units</a:t>
            </a:r>
          </a:p>
        </p:txBody>
      </p:sp>
      <p:sp>
        <p:nvSpPr>
          <p:cNvPr id="9" name="Text Placeholder 12"/>
          <p:cNvSpPr>
            <a:spLocks/>
          </p:cNvSpPr>
          <p:nvPr>
            <p:custDataLst>
              <p:tags r:id="rId2"/>
            </p:custDataLst>
          </p:nvPr>
        </p:nvSpPr>
        <p:spPr bwMode="auto">
          <a:xfrm>
            <a:off x="2442797" y="5646904"/>
            <a:ext cx="488569"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graphicFrame>
        <p:nvGraphicFramePr>
          <p:cNvPr id="10" name="Chart 9"/>
          <p:cNvGraphicFramePr/>
          <p:nvPr/>
        </p:nvGraphicFramePr>
        <p:xfrm>
          <a:off x="4665644" y="1936275"/>
          <a:ext cx="4078639" cy="3759003"/>
        </p:xfrm>
        <a:graphic>
          <a:graphicData uri="http://schemas.openxmlformats.org/drawingml/2006/chart">
            <c:chart xmlns:c="http://schemas.openxmlformats.org/drawingml/2006/chart" xmlns:r="http://schemas.openxmlformats.org/officeDocument/2006/relationships" r:id="rId15"/>
          </a:graphicData>
        </a:graphic>
      </p:graphicFrame>
      <p:sp>
        <p:nvSpPr>
          <p:cNvPr id="13" name="Text Placeholder 12"/>
          <p:cNvSpPr>
            <a:spLocks/>
          </p:cNvSpPr>
          <p:nvPr>
            <p:custDataLst>
              <p:tags r:id="rId3"/>
            </p:custDataLst>
          </p:nvPr>
        </p:nvSpPr>
        <p:spPr bwMode="auto">
          <a:xfrm rot="16200000">
            <a:off x="4424047" y="3559191"/>
            <a:ext cx="529283"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dirty="0">
                <a:solidFill>
                  <a:schemeClr val="tx2"/>
                </a:solidFill>
              </a:rPr>
              <a:t>Units</a:t>
            </a:r>
          </a:p>
        </p:txBody>
      </p:sp>
      <p:sp>
        <p:nvSpPr>
          <p:cNvPr id="14" name="Text Placeholder 12"/>
          <p:cNvSpPr>
            <a:spLocks/>
          </p:cNvSpPr>
          <p:nvPr>
            <p:custDataLst>
              <p:tags r:id="rId4"/>
            </p:custDataLst>
          </p:nvPr>
        </p:nvSpPr>
        <p:spPr bwMode="auto">
          <a:xfrm>
            <a:off x="6615080" y="5639809"/>
            <a:ext cx="488569"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15" name="Text Placeholder 12"/>
          <p:cNvSpPr>
            <a:spLocks/>
          </p:cNvSpPr>
          <p:nvPr>
            <p:custDataLst>
              <p:tags r:id="rId5"/>
            </p:custDataLst>
          </p:nvPr>
        </p:nvSpPr>
        <p:spPr bwMode="auto">
          <a:xfrm>
            <a:off x="2667182" y="2201957"/>
            <a:ext cx="1025204" cy="184666"/>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200" dirty="0">
                <a:solidFill>
                  <a:schemeClr val="tx2"/>
                </a:solidFill>
              </a:rPr>
              <a:t>Deloitte </a:t>
            </a:r>
            <a:r>
              <a:rPr lang="en-US" sz="1200" dirty="0" smtClean="0">
                <a:solidFill>
                  <a:schemeClr val="tx2"/>
                </a:solidFill>
              </a:rPr>
              <a:t>Blue</a:t>
            </a:r>
            <a:endParaRPr lang="en-US" sz="1200" dirty="0">
              <a:solidFill>
                <a:schemeClr val="tx2"/>
              </a:solidFill>
            </a:endParaRPr>
          </a:p>
        </p:txBody>
      </p:sp>
      <p:sp>
        <p:nvSpPr>
          <p:cNvPr id="16" name="Text Placeholder 12"/>
          <p:cNvSpPr>
            <a:spLocks/>
          </p:cNvSpPr>
          <p:nvPr>
            <p:custDataLst>
              <p:tags r:id="rId6"/>
            </p:custDataLst>
          </p:nvPr>
        </p:nvSpPr>
        <p:spPr bwMode="auto">
          <a:xfrm>
            <a:off x="2699896" y="4661623"/>
            <a:ext cx="1025204" cy="369332"/>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200" dirty="0">
                <a:solidFill>
                  <a:schemeClr val="tx2"/>
                </a:solidFill>
              </a:rPr>
              <a:t>Deloitte </a:t>
            </a:r>
            <a:r>
              <a:rPr lang="en-US" sz="1200" dirty="0" smtClean="0">
                <a:solidFill>
                  <a:schemeClr val="tx2"/>
                </a:solidFill>
              </a:rPr>
              <a:t>Green</a:t>
            </a:r>
            <a:endParaRPr lang="en-US" sz="1200" dirty="0">
              <a:solidFill>
                <a:schemeClr val="tx2"/>
              </a:solidFill>
            </a:endParaRPr>
          </a:p>
        </p:txBody>
      </p:sp>
      <p:sp>
        <p:nvSpPr>
          <p:cNvPr id="17" name="Text Placeholder 12"/>
          <p:cNvSpPr>
            <a:spLocks/>
          </p:cNvSpPr>
          <p:nvPr>
            <p:custDataLst>
              <p:tags r:id="rId7"/>
            </p:custDataLst>
          </p:nvPr>
        </p:nvSpPr>
        <p:spPr bwMode="auto">
          <a:xfrm>
            <a:off x="3508693" y="3165976"/>
            <a:ext cx="1025204" cy="184666"/>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200" dirty="0">
                <a:solidFill>
                  <a:schemeClr val="tx2"/>
                </a:solidFill>
              </a:rPr>
              <a:t>Mid </a:t>
            </a:r>
            <a:r>
              <a:rPr lang="en-US" sz="1200" dirty="0" smtClean="0">
                <a:solidFill>
                  <a:schemeClr val="tx2"/>
                </a:solidFill>
              </a:rPr>
              <a:t>Blue</a:t>
            </a:r>
            <a:endParaRPr lang="en-US" sz="1200" dirty="0">
              <a:solidFill>
                <a:schemeClr val="tx2"/>
              </a:solidFill>
            </a:endParaRPr>
          </a:p>
        </p:txBody>
      </p:sp>
      <p:sp>
        <p:nvSpPr>
          <p:cNvPr id="19" name="Text Placeholder 12"/>
          <p:cNvSpPr>
            <a:spLocks/>
          </p:cNvSpPr>
          <p:nvPr>
            <p:custDataLst>
              <p:tags r:id="rId8"/>
            </p:custDataLst>
          </p:nvPr>
        </p:nvSpPr>
        <p:spPr bwMode="auto">
          <a:xfrm>
            <a:off x="6930321" y="2194862"/>
            <a:ext cx="1025204" cy="184666"/>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200" dirty="0">
                <a:solidFill>
                  <a:schemeClr val="tx2"/>
                </a:solidFill>
              </a:rPr>
              <a:t>Deloitte </a:t>
            </a:r>
            <a:r>
              <a:rPr lang="en-US" sz="1200" dirty="0" smtClean="0">
                <a:solidFill>
                  <a:schemeClr val="tx2"/>
                </a:solidFill>
              </a:rPr>
              <a:t>Blue</a:t>
            </a:r>
            <a:endParaRPr lang="en-US" sz="1200" dirty="0">
              <a:solidFill>
                <a:schemeClr val="tx2"/>
              </a:solidFill>
            </a:endParaRPr>
          </a:p>
        </p:txBody>
      </p:sp>
      <p:sp>
        <p:nvSpPr>
          <p:cNvPr id="20" name="Text Placeholder 12"/>
          <p:cNvSpPr>
            <a:spLocks/>
          </p:cNvSpPr>
          <p:nvPr>
            <p:custDataLst>
              <p:tags r:id="rId9"/>
            </p:custDataLst>
          </p:nvPr>
        </p:nvSpPr>
        <p:spPr bwMode="auto">
          <a:xfrm>
            <a:off x="6963036" y="4654528"/>
            <a:ext cx="1025204" cy="369332"/>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200" dirty="0">
                <a:solidFill>
                  <a:schemeClr val="tx2"/>
                </a:solidFill>
              </a:rPr>
              <a:t>Deloitte </a:t>
            </a:r>
            <a:r>
              <a:rPr lang="en-US" sz="1200" dirty="0" smtClean="0">
                <a:solidFill>
                  <a:schemeClr val="tx2"/>
                </a:solidFill>
              </a:rPr>
              <a:t>Green</a:t>
            </a:r>
            <a:endParaRPr lang="en-US" sz="1200" dirty="0">
              <a:solidFill>
                <a:schemeClr val="tx2"/>
              </a:solidFill>
            </a:endParaRPr>
          </a:p>
        </p:txBody>
      </p:sp>
      <p:sp>
        <p:nvSpPr>
          <p:cNvPr id="21" name="Text Placeholder 12"/>
          <p:cNvSpPr>
            <a:spLocks/>
          </p:cNvSpPr>
          <p:nvPr>
            <p:custDataLst>
              <p:tags r:id="rId10"/>
            </p:custDataLst>
          </p:nvPr>
        </p:nvSpPr>
        <p:spPr bwMode="auto">
          <a:xfrm>
            <a:off x="7745954" y="3158881"/>
            <a:ext cx="1025204" cy="184666"/>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200" dirty="0">
                <a:solidFill>
                  <a:schemeClr val="tx2"/>
                </a:solidFill>
              </a:rPr>
              <a:t>Mid </a:t>
            </a:r>
            <a:r>
              <a:rPr lang="en-US" sz="1200" dirty="0" smtClean="0">
                <a:solidFill>
                  <a:schemeClr val="tx2"/>
                </a:solidFill>
              </a:rPr>
              <a:t>Blue</a:t>
            </a:r>
            <a:endParaRPr lang="en-US" sz="1200" dirty="0">
              <a:solidFill>
                <a:schemeClr val="tx2"/>
              </a:solidFill>
            </a:endParaRPr>
          </a:p>
        </p:txBody>
      </p:sp>
      <p:sp>
        <p:nvSpPr>
          <p:cNvPr id="2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3" name="Rectangle 22"/>
          <p:cNvSpPr>
            <a:spLocks noChangeArrowheads="1"/>
          </p:cNvSpPr>
          <p:nvPr/>
        </p:nvSpPr>
        <p:spPr bwMode="gray">
          <a:xfrm>
            <a:off x="1570516"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26" name="Text Placeholder 12"/>
          <p:cNvSpPr>
            <a:spLocks/>
          </p:cNvSpPr>
          <p:nvPr>
            <p:custDataLst>
              <p:tags r:id="rId1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7" name="Rectangle 26"/>
          <p:cNvSpPr>
            <a:spLocks noChangeArrowheads="1"/>
          </p:cNvSpPr>
          <p:nvPr/>
        </p:nvSpPr>
        <p:spPr bwMode="gray">
          <a:xfrm>
            <a:off x="5908224"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28" name="Text Placeholder 12"/>
          <p:cNvSpPr>
            <a:spLocks/>
          </p:cNvSpPr>
          <p:nvPr>
            <p:custDataLst>
              <p:tags r:id="rId12"/>
            </p:custDataLst>
          </p:nvPr>
        </p:nvSpPr>
        <p:spPr bwMode="auto">
          <a:xfrm>
            <a:off x="494181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ltLang="ja-JP">
                <a:latin typeface="Arial" charset="0"/>
                <a:ea typeface="ＭＳ Ｐゴシック" pitchFamily="50" charset="-128"/>
                <a:cs typeface="Arial" charset="0"/>
              </a:rPr>
              <a:t>Smooth lines</a:t>
            </a:r>
            <a:endParaRPr lang="nl-NL"/>
          </a:p>
        </p:txBody>
      </p:sp>
      <p:graphicFrame>
        <p:nvGraphicFramePr>
          <p:cNvPr id="5" name="Chart 4"/>
          <p:cNvGraphicFramePr/>
          <p:nvPr/>
        </p:nvGraphicFramePr>
        <p:xfrm>
          <a:off x="493361" y="1943370"/>
          <a:ext cx="7485965" cy="3759003"/>
        </p:xfrm>
        <a:graphic>
          <a:graphicData uri="http://schemas.openxmlformats.org/drawingml/2006/chart">
            <c:chart xmlns:c="http://schemas.openxmlformats.org/drawingml/2006/chart" xmlns:r="http://schemas.openxmlformats.org/officeDocument/2006/relationships" r:id="rId8"/>
          </a:graphicData>
        </a:graphic>
      </p:graphicFrame>
      <p:sp>
        <p:nvSpPr>
          <p:cNvPr id="8" name="Text Placeholder 12"/>
          <p:cNvSpPr>
            <a:spLocks/>
          </p:cNvSpPr>
          <p:nvPr>
            <p:custDataLst>
              <p:tags r:id="rId1"/>
            </p:custDataLst>
          </p:nvPr>
        </p:nvSpPr>
        <p:spPr bwMode="auto">
          <a:xfrm rot="16200000">
            <a:off x="217261" y="3566286"/>
            <a:ext cx="529283"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9" name="Text Placeholder 12"/>
          <p:cNvSpPr>
            <a:spLocks/>
          </p:cNvSpPr>
          <p:nvPr>
            <p:custDataLst>
              <p:tags r:id="rId2"/>
            </p:custDataLst>
          </p:nvPr>
        </p:nvSpPr>
        <p:spPr bwMode="auto">
          <a:xfrm>
            <a:off x="4151044" y="5646904"/>
            <a:ext cx="488569"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10" name="Text Placeholder 12"/>
          <p:cNvSpPr>
            <a:spLocks/>
          </p:cNvSpPr>
          <p:nvPr>
            <p:custDataLst>
              <p:tags r:id="rId3"/>
            </p:custDataLst>
          </p:nvPr>
        </p:nvSpPr>
        <p:spPr bwMode="auto">
          <a:xfrm>
            <a:off x="4639613" y="2170058"/>
            <a:ext cx="1730119" cy="184666"/>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200" dirty="0">
                <a:solidFill>
                  <a:schemeClr val="tx2"/>
                </a:solidFill>
              </a:rPr>
              <a:t>Deloitte </a:t>
            </a:r>
            <a:r>
              <a:rPr lang="en-US" sz="1200" dirty="0" smtClean="0">
                <a:solidFill>
                  <a:schemeClr val="tx2"/>
                </a:solidFill>
              </a:rPr>
              <a:t>Blue </a:t>
            </a:r>
            <a:r>
              <a:rPr lang="en-US" sz="1200" dirty="0">
                <a:solidFill>
                  <a:schemeClr val="tx2"/>
                </a:solidFill>
              </a:rPr>
              <a:t>line</a:t>
            </a:r>
          </a:p>
        </p:txBody>
      </p:sp>
      <p:sp>
        <p:nvSpPr>
          <p:cNvPr id="11" name="Text Placeholder 12"/>
          <p:cNvSpPr>
            <a:spLocks/>
          </p:cNvSpPr>
          <p:nvPr>
            <p:custDataLst>
              <p:tags r:id="rId4"/>
            </p:custDataLst>
          </p:nvPr>
        </p:nvSpPr>
        <p:spPr bwMode="auto">
          <a:xfrm>
            <a:off x="4898293" y="4697977"/>
            <a:ext cx="1519717" cy="369332"/>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200" dirty="0" smtClean="0">
                <a:solidFill>
                  <a:schemeClr val="tx2"/>
                </a:solidFill>
              </a:rPr>
              <a:t>Deloitte Green</a:t>
            </a:r>
            <a:br>
              <a:rPr lang="en-US" sz="1200" dirty="0" smtClean="0">
                <a:solidFill>
                  <a:schemeClr val="tx2"/>
                </a:solidFill>
              </a:rPr>
            </a:br>
            <a:r>
              <a:rPr lang="en-US" sz="1200" dirty="0" smtClean="0">
                <a:solidFill>
                  <a:schemeClr val="tx2"/>
                </a:solidFill>
              </a:rPr>
              <a:t>dotted line</a:t>
            </a:r>
            <a:endParaRPr lang="en-US" sz="1200" dirty="0">
              <a:solidFill>
                <a:schemeClr val="tx2"/>
              </a:solidFill>
            </a:endParaRPr>
          </a:p>
        </p:txBody>
      </p:sp>
      <p:sp>
        <p:nvSpPr>
          <p:cNvPr id="12" name="Text Placeholder 12"/>
          <p:cNvSpPr>
            <a:spLocks/>
          </p:cNvSpPr>
          <p:nvPr>
            <p:custDataLst>
              <p:tags r:id="rId5"/>
            </p:custDataLst>
          </p:nvPr>
        </p:nvSpPr>
        <p:spPr bwMode="auto">
          <a:xfrm>
            <a:off x="6702669" y="3155344"/>
            <a:ext cx="1025204" cy="184666"/>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200" dirty="0">
                <a:solidFill>
                  <a:schemeClr val="tx2"/>
                </a:solidFill>
              </a:rPr>
              <a:t>Mid </a:t>
            </a:r>
            <a:r>
              <a:rPr lang="en-US" sz="1200" dirty="0" smtClean="0">
                <a:solidFill>
                  <a:schemeClr val="tx2"/>
                </a:solidFill>
              </a:rPr>
              <a:t>Blue </a:t>
            </a:r>
            <a:r>
              <a:rPr lang="en-US" sz="1200" dirty="0">
                <a:solidFill>
                  <a:schemeClr val="tx2"/>
                </a:solidFill>
              </a:rPr>
              <a:t>line</a:t>
            </a:r>
          </a:p>
        </p:txBody>
      </p:sp>
      <p:sp>
        <p:nvSpPr>
          <p:cNvPr id="1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6" name="Text Placeholder 12"/>
          <p:cNvSpPr>
            <a:spLocks/>
          </p:cNvSpPr>
          <p:nvPr>
            <p:custDataLst>
              <p:tags r:id="rId6"/>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8" name="Rectangle 17"/>
          <p:cNvSpPr>
            <a:spLocks noChangeArrowheads="1"/>
          </p:cNvSpPr>
          <p:nvPr/>
        </p:nvSpPr>
        <p:spPr bwMode="gray">
          <a:xfrm>
            <a:off x="3482251"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Smooth lines </a:t>
            </a:r>
            <a:r>
              <a:rPr lang="en-US"/>
              <a:t>—</a:t>
            </a:r>
            <a:r>
              <a:rPr lang="en-GB" altLang="ja-JP" smtClean="0">
                <a:latin typeface="Arial" charset="0"/>
                <a:ea typeface="ＭＳ Ｐゴシック" pitchFamily="50" charset="-128"/>
                <a:cs typeface="Arial" charset="0"/>
              </a:rPr>
              <a:t> </a:t>
            </a:r>
            <a:r>
              <a:rPr lang="en-GB" altLang="ja-JP">
                <a:latin typeface="Arial" charset="0"/>
                <a:ea typeface="ＭＳ Ｐゴシック" pitchFamily="50" charset="-128"/>
                <a:cs typeface="Arial" charset="0"/>
              </a:rPr>
              <a:t>two</a:t>
            </a:r>
            <a:endParaRPr lang="nl-NL"/>
          </a:p>
        </p:txBody>
      </p:sp>
      <p:graphicFrame>
        <p:nvGraphicFramePr>
          <p:cNvPr id="5" name="Chart 4"/>
          <p:cNvGraphicFramePr/>
          <p:nvPr/>
        </p:nvGraphicFramePr>
        <p:xfrm>
          <a:off x="493362" y="1943370"/>
          <a:ext cx="3913425" cy="3759003"/>
        </p:xfrm>
        <a:graphic>
          <a:graphicData uri="http://schemas.openxmlformats.org/drawingml/2006/chart">
            <c:chart xmlns:c="http://schemas.openxmlformats.org/drawingml/2006/chart" xmlns:r="http://schemas.openxmlformats.org/officeDocument/2006/relationships" r:id="rId14"/>
          </a:graphicData>
        </a:graphic>
      </p:graphicFrame>
      <p:sp>
        <p:nvSpPr>
          <p:cNvPr id="8" name="Text Placeholder 12"/>
          <p:cNvSpPr>
            <a:spLocks/>
          </p:cNvSpPr>
          <p:nvPr>
            <p:custDataLst>
              <p:tags r:id="rId1"/>
            </p:custDataLst>
          </p:nvPr>
        </p:nvSpPr>
        <p:spPr bwMode="auto">
          <a:xfrm rot="16200000">
            <a:off x="217261" y="3566286"/>
            <a:ext cx="529283"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9" name="Text Placeholder 12"/>
          <p:cNvSpPr>
            <a:spLocks/>
          </p:cNvSpPr>
          <p:nvPr>
            <p:custDataLst>
              <p:tags r:id="rId2"/>
            </p:custDataLst>
          </p:nvPr>
        </p:nvSpPr>
        <p:spPr bwMode="auto">
          <a:xfrm>
            <a:off x="2364276" y="5646904"/>
            <a:ext cx="488569"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10" name="Text Placeholder 12"/>
          <p:cNvSpPr>
            <a:spLocks/>
          </p:cNvSpPr>
          <p:nvPr>
            <p:custDataLst>
              <p:tags r:id="rId3"/>
            </p:custDataLst>
          </p:nvPr>
        </p:nvSpPr>
        <p:spPr bwMode="auto">
          <a:xfrm>
            <a:off x="2178684" y="2170058"/>
            <a:ext cx="1844361" cy="184666"/>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200" dirty="0">
                <a:solidFill>
                  <a:schemeClr val="tx2"/>
                </a:solidFill>
              </a:rPr>
              <a:t>Deloitte </a:t>
            </a:r>
            <a:r>
              <a:rPr lang="en-US" sz="1200" dirty="0" smtClean="0">
                <a:solidFill>
                  <a:schemeClr val="tx2"/>
                </a:solidFill>
              </a:rPr>
              <a:t>Blue </a:t>
            </a:r>
            <a:r>
              <a:rPr lang="en-US" sz="1200" dirty="0">
                <a:solidFill>
                  <a:schemeClr val="tx2"/>
                </a:solidFill>
              </a:rPr>
              <a:t>line</a:t>
            </a:r>
          </a:p>
        </p:txBody>
      </p:sp>
      <p:sp>
        <p:nvSpPr>
          <p:cNvPr id="11" name="Text Placeholder 12"/>
          <p:cNvSpPr>
            <a:spLocks/>
          </p:cNvSpPr>
          <p:nvPr>
            <p:custDataLst>
              <p:tags r:id="rId4"/>
            </p:custDataLst>
          </p:nvPr>
        </p:nvSpPr>
        <p:spPr bwMode="auto">
          <a:xfrm>
            <a:off x="2599889" y="4689352"/>
            <a:ext cx="1293765" cy="369332"/>
          </a:xfrm>
          <a:prstGeom prst="rect">
            <a:avLst/>
          </a:prstGeom>
          <a:noFill/>
          <a:ln w="9525">
            <a:noFill/>
            <a:miter lim="800000"/>
            <a:headEnd/>
            <a:tailEnd/>
          </a:ln>
        </p:spPr>
        <p:txBody>
          <a:bodyPr wrap="square" lIns="0" tIns="0" rIns="0" bIns="0">
            <a:spAutoFit/>
          </a:bodyPr>
          <a:lstStyle/>
          <a:p>
            <a:pPr defTabSz="1019175">
              <a:spcAft>
                <a:spcPts val="300"/>
              </a:spcAft>
            </a:pPr>
            <a:r>
              <a:rPr lang="en-US" sz="1200" dirty="0" smtClean="0">
                <a:solidFill>
                  <a:schemeClr val="tx2"/>
                </a:solidFill>
              </a:rPr>
              <a:t>Deloitte Green</a:t>
            </a:r>
            <a:br>
              <a:rPr lang="en-US" sz="1200" dirty="0" smtClean="0">
                <a:solidFill>
                  <a:schemeClr val="tx2"/>
                </a:solidFill>
              </a:rPr>
            </a:br>
            <a:r>
              <a:rPr lang="en-US" sz="1200" dirty="0" smtClean="0">
                <a:solidFill>
                  <a:schemeClr val="tx2"/>
                </a:solidFill>
              </a:rPr>
              <a:t>dotted line</a:t>
            </a:r>
            <a:endParaRPr lang="en-US" sz="1200" dirty="0">
              <a:solidFill>
                <a:schemeClr val="tx2"/>
              </a:solidFill>
            </a:endParaRPr>
          </a:p>
        </p:txBody>
      </p:sp>
      <p:sp>
        <p:nvSpPr>
          <p:cNvPr id="12" name="Text Placeholder 12"/>
          <p:cNvSpPr>
            <a:spLocks/>
          </p:cNvSpPr>
          <p:nvPr>
            <p:custDataLst>
              <p:tags r:id="rId5"/>
            </p:custDataLst>
          </p:nvPr>
        </p:nvSpPr>
        <p:spPr bwMode="auto">
          <a:xfrm>
            <a:off x="3465725" y="3155344"/>
            <a:ext cx="1025204" cy="184666"/>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200" dirty="0">
                <a:solidFill>
                  <a:schemeClr val="tx2"/>
                </a:solidFill>
              </a:rPr>
              <a:t>Mid </a:t>
            </a:r>
            <a:r>
              <a:rPr lang="en-US" sz="1200" dirty="0" smtClean="0">
                <a:solidFill>
                  <a:schemeClr val="tx2"/>
                </a:solidFill>
              </a:rPr>
              <a:t>Blue </a:t>
            </a:r>
            <a:r>
              <a:rPr lang="en-US" sz="1200" dirty="0">
                <a:solidFill>
                  <a:schemeClr val="tx2"/>
                </a:solidFill>
              </a:rPr>
              <a:t>line</a:t>
            </a:r>
          </a:p>
        </p:txBody>
      </p:sp>
      <p:graphicFrame>
        <p:nvGraphicFramePr>
          <p:cNvPr id="13" name="Chart 12"/>
          <p:cNvGraphicFramePr/>
          <p:nvPr/>
        </p:nvGraphicFramePr>
        <p:xfrm>
          <a:off x="4828817" y="1943370"/>
          <a:ext cx="3932718" cy="3759003"/>
        </p:xfrm>
        <a:graphic>
          <a:graphicData uri="http://schemas.openxmlformats.org/drawingml/2006/chart">
            <c:chart xmlns:c="http://schemas.openxmlformats.org/drawingml/2006/chart" xmlns:r="http://schemas.openxmlformats.org/officeDocument/2006/relationships" r:id="rId15"/>
          </a:graphicData>
        </a:graphic>
      </p:graphicFrame>
      <p:sp>
        <p:nvSpPr>
          <p:cNvPr id="16" name="Text Placeholder 12"/>
          <p:cNvSpPr>
            <a:spLocks/>
          </p:cNvSpPr>
          <p:nvPr>
            <p:custDataLst>
              <p:tags r:id="rId6"/>
            </p:custDataLst>
          </p:nvPr>
        </p:nvSpPr>
        <p:spPr bwMode="auto">
          <a:xfrm rot="16200000">
            <a:off x="4604725" y="3566286"/>
            <a:ext cx="529283"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17" name="Text Placeholder 12"/>
          <p:cNvSpPr>
            <a:spLocks/>
          </p:cNvSpPr>
          <p:nvPr>
            <p:custDataLst>
              <p:tags r:id="rId7"/>
            </p:custDataLst>
          </p:nvPr>
        </p:nvSpPr>
        <p:spPr bwMode="auto">
          <a:xfrm>
            <a:off x="6710852" y="5646904"/>
            <a:ext cx="488569"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19" name="Text Placeholder 12"/>
          <p:cNvSpPr>
            <a:spLocks/>
          </p:cNvSpPr>
          <p:nvPr>
            <p:custDataLst>
              <p:tags r:id="rId8"/>
            </p:custDataLst>
          </p:nvPr>
        </p:nvSpPr>
        <p:spPr bwMode="auto">
          <a:xfrm>
            <a:off x="6693642" y="2170058"/>
            <a:ext cx="1587788" cy="184666"/>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200" dirty="0">
                <a:solidFill>
                  <a:schemeClr val="tx2"/>
                </a:solidFill>
              </a:rPr>
              <a:t>Deloitte </a:t>
            </a:r>
            <a:r>
              <a:rPr lang="en-US" sz="1200" dirty="0" smtClean="0">
                <a:solidFill>
                  <a:schemeClr val="tx2"/>
                </a:solidFill>
              </a:rPr>
              <a:t>Blue </a:t>
            </a:r>
            <a:r>
              <a:rPr lang="en-US" sz="1200" dirty="0">
                <a:solidFill>
                  <a:schemeClr val="tx2"/>
                </a:solidFill>
              </a:rPr>
              <a:t>line</a:t>
            </a:r>
          </a:p>
        </p:txBody>
      </p:sp>
      <p:sp>
        <p:nvSpPr>
          <p:cNvPr id="20" name="Text Placeholder 12"/>
          <p:cNvSpPr>
            <a:spLocks/>
          </p:cNvSpPr>
          <p:nvPr>
            <p:custDataLst>
              <p:tags r:id="rId9"/>
            </p:custDataLst>
          </p:nvPr>
        </p:nvSpPr>
        <p:spPr bwMode="auto">
          <a:xfrm>
            <a:off x="6906016" y="4689352"/>
            <a:ext cx="1375348" cy="369332"/>
          </a:xfrm>
          <a:prstGeom prst="rect">
            <a:avLst/>
          </a:prstGeom>
          <a:noFill/>
          <a:ln w="9525">
            <a:noFill/>
            <a:miter lim="800000"/>
            <a:headEnd/>
            <a:tailEnd/>
          </a:ln>
        </p:spPr>
        <p:txBody>
          <a:bodyPr wrap="square" lIns="0" tIns="0" rIns="0" bIns="0">
            <a:spAutoFit/>
          </a:bodyPr>
          <a:lstStyle/>
          <a:p>
            <a:pPr defTabSz="1019175">
              <a:spcAft>
                <a:spcPts val="300"/>
              </a:spcAft>
            </a:pPr>
            <a:r>
              <a:rPr lang="en-US" sz="1200" dirty="0" smtClean="0">
                <a:solidFill>
                  <a:schemeClr val="tx2"/>
                </a:solidFill>
              </a:rPr>
              <a:t>Deloitte Green</a:t>
            </a:r>
            <a:br>
              <a:rPr lang="en-US" sz="1200" dirty="0" smtClean="0">
                <a:solidFill>
                  <a:schemeClr val="tx2"/>
                </a:solidFill>
              </a:rPr>
            </a:br>
            <a:r>
              <a:rPr lang="en-US" sz="1200" dirty="0" smtClean="0">
                <a:solidFill>
                  <a:schemeClr val="tx2"/>
                </a:solidFill>
              </a:rPr>
              <a:t>dotted line</a:t>
            </a:r>
            <a:endParaRPr lang="en-US" sz="1200" dirty="0">
              <a:solidFill>
                <a:schemeClr val="tx2"/>
              </a:solidFill>
            </a:endParaRPr>
          </a:p>
        </p:txBody>
      </p:sp>
      <p:sp>
        <p:nvSpPr>
          <p:cNvPr id="21" name="Text Placeholder 12"/>
          <p:cNvSpPr>
            <a:spLocks/>
          </p:cNvSpPr>
          <p:nvPr>
            <p:custDataLst>
              <p:tags r:id="rId10"/>
            </p:custDataLst>
          </p:nvPr>
        </p:nvSpPr>
        <p:spPr bwMode="auto">
          <a:xfrm>
            <a:off x="7817015" y="3155344"/>
            <a:ext cx="1025204" cy="184666"/>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200" dirty="0">
                <a:solidFill>
                  <a:schemeClr val="tx2"/>
                </a:solidFill>
              </a:rPr>
              <a:t>Mid </a:t>
            </a:r>
            <a:r>
              <a:rPr lang="en-US" sz="1200" dirty="0" smtClean="0">
                <a:solidFill>
                  <a:schemeClr val="tx2"/>
                </a:solidFill>
              </a:rPr>
              <a:t>Blue </a:t>
            </a:r>
            <a:r>
              <a:rPr lang="en-US" sz="1200" dirty="0">
                <a:solidFill>
                  <a:schemeClr val="tx2"/>
                </a:solidFill>
              </a:rPr>
              <a:t>line</a:t>
            </a:r>
          </a:p>
        </p:txBody>
      </p:sp>
      <p:sp>
        <p:nvSpPr>
          <p:cNvPr id="22"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3" name="Rectangle 22"/>
          <p:cNvSpPr>
            <a:spLocks noChangeArrowheads="1"/>
          </p:cNvSpPr>
          <p:nvPr/>
        </p:nvSpPr>
        <p:spPr bwMode="gray">
          <a:xfrm>
            <a:off x="1656776"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26" name="Text Placeholder 12"/>
          <p:cNvSpPr>
            <a:spLocks/>
          </p:cNvSpPr>
          <p:nvPr>
            <p:custDataLst>
              <p:tags r:id="rId1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27" name="Rectangle 26"/>
          <p:cNvSpPr>
            <a:spLocks noChangeArrowheads="1"/>
          </p:cNvSpPr>
          <p:nvPr/>
        </p:nvSpPr>
        <p:spPr bwMode="gray">
          <a:xfrm>
            <a:off x="6184256" y="1603068"/>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28" name="Text Placeholder 12"/>
          <p:cNvSpPr>
            <a:spLocks/>
          </p:cNvSpPr>
          <p:nvPr>
            <p:custDataLst>
              <p:tags r:id="rId12"/>
            </p:custDataLst>
          </p:nvPr>
        </p:nvSpPr>
        <p:spPr bwMode="auto">
          <a:xfrm>
            <a:off x="494181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Tree>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Waterfalls </a:t>
            </a:r>
            <a:r>
              <a:rPr lang="en-US"/>
              <a:t>—</a:t>
            </a:r>
            <a:r>
              <a:rPr lang="en-GB" altLang="ja-JP" smtClean="0">
                <a:latin typeface="Arial" charset="0"/>
                <a:ea typeface="ＭＳ Ｐゴシック" pitchFamily="50" charset="-128"/>
                <a:cs typeface="Arial" charset="0"/>
              </a:rPr>
              <a:t> </a:t>
            </a:r>
            <a:r>
              <a:rPr lang="en-GB" altLang="ja-JP">
                <a:latin typeface="Arial" charset="0"/>
                <a:ea typeface="ＭＳ Ｐゴシック" pitchFamily="50" charset="-128"/>
                <a:cs typeface="Arial" charset="0"/>
              </a:rPr>
              <a:t>columns</a:t>
            </a:r>
            <a:endParaRPr lang="nl-NL"/>
          </a:p>
        </p:txBody>
      </p:sp>
      <p:graphicFrame>
        <p:nvGraphicFramePr>
          <p:cNvPr id="5" name="Chart 4"/>
          <p:cNvGraphicFramePr/>
          <p:nvPr/>
        </p:nvGraphicFramePr>
        <p:xfrm>
          <a:off x="382467" y="1862904"/>
          <a:ext cx="8377602" cy="3716976"/>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 Box 14"/>
          <p:cNvSpPr txBox="1">
            <a:spLocks noChangeArrowheads="1"/>
          </p:cNvSpPr>
          <p:nvPr/>
        </p:nvSpPr>
        <p:spPr bwMode="auto">
          <a:xfrm rot="16200000">
            <a:off x="224530" y="3502529"/>
            <a:ext cx="569387"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sp>
        <p:nvSpPr>
          <p:cNvPr id="16" name="Text Box 14"/>
          <p:cNvSpPr txBox="1">
            <a:spLocks noChangeArrowheads="1"/>
          </p:cNvSpPr>
          <p:nvPr/>
        </p:nvSpPr>
        <p:spPr bwMode="auto">
          <a:xfrm>
            <a:off x="4298825" y="5613583"/>
            <a:ext cx="978153"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Categories</a:t>
            </a:r>
          </a:p>
        </p:txBody>
      </p:sp>
      <p:sp>
        <p:nvSpPr>
          <p:cNvPr id="1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8"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0" name="Rectangle 9"/>
          <p:cNvSpPr>
            <a:spLocks noChangeArrowheads="1"/>
          </p:cNvSpPr>
          <p:nvPr/>
        </p:nvSpPr>
        <p:spPr bwMode="gray">
          <a:xfrm>
            <a:off x="3482251"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Waterfalls </a:t>
            </a:r>
            <a:r>
              <a:rPr lang="en-US"/>
              <a:t>—</a:t>
            </a:r>
            <a:r>
              <a:rPr lang="en-GB" altLang="ja-JP" smtClean="0">
                <a:latin typeface="Arial" charset="0"/>
                <a:ea typeface="ＭＳ Ｐゴシック" pitchFamily="50" charset="-128"/>
                <a:cs typeface="Arial" charset="0"/>
              </a:rPr>
              <a:t> </a:t>
            </a:r>
            <a:r>
              <a:rPr lang="en-GB">
                <a:latin typeface="Arial" charset="0"/>
                <a:cs typeface="Arial" charset="0"/>
              </a:rPr>
              <a:t>columns without gap</a:t>
            </a:r>
            <a:endParaRPr lang="nl-NL"/>
          </a:p>
        </p:txBody>
      </p:sp>
      <p:graphicFrame>
        <p:nvGraphicFramePr>
          <p:cNvPr id="5" name="Chart 4"/>
          <p:cNvGraphicFramePr/>
          <p:nvPr/>
        </p:nvGraphicFramePr>
        <p:xfrm>
          <a:off x="382467" y="1862904"/>
          <a:ext cx="8377602" cy="3716976"/>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Box 14"/>
          <p:cNvSpPr txBox="1">
            <a:spLocks noChangeArrowheads="1"/>
          </p:cNvSpPr>
          <p:nvPr/>
        </p:nvSpPr>
        <p:spPr bwMode="auto">
          <a:xfrm>
            <a:off x="4298825" y="5613583"/>
            <a:ext cx="978153"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Categories</a:t>
            </a:r>
          </a:p>
        </p:txBody>
      </p:sp>
      <p:sp>
        <p:nvSpPr>
          <p:cNvPr id="15" name="Text Box 14"/>
          <p:cNvSpPr txBox="1">
            <a:spLocks noChangeArrowheads="1"/>
          </p:cNvSpPr>
          <p:nvPr/>
        </p:nvSpPr>
        <p:spPr bwMode="auto">
          <a:xfrm rot="16200000">
            <a:off x="224530" y="3502529"/>
            <a:ext cx="569387"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sp>
        <p:nvSpPr>
          <p:cNvPr id="1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8"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9" name="Rectangle 8"/>
          <p:cNvSpPr>
            <a:spLocks noChangeArrowheads="1"/>
          </p:cNvSpPr>
          <p:nvPr/>
        </p:nvSpPr>
        <p:spPr bwMode="gray">
          <a:xfrm>
            <a:off x="3482251"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0369" name="Title 1"/>
          <p:cNvSpPr>
            <a:spLocks noGrp="1"/>
          </p:cNvSpPr>
          <p:nvPr>
            <p:ph type="title"/>
          </p:nvPr>
        </p:nvSpPr>
        <p:spPr>
          <a:xfrm>
            <a:off x="414338" y="446038"/>
            <a:ext cx="8330184" cy="333425"/>
          </a:xfrm>
        </p:spPr>
        <p:txBody>
          <a:bodyPr/>
          <a:lstStyle/>
          <a:p>
            <a:r>
              <a:rPr lang="nl-NL"/>
              <a:t>Tables </a:t>
            </a:r>
            <a:r>
              <a:rPr lang="en-US"/>
              <a:t>—</a:t>
            </a:r>
            <a:r>
              <a:rPr lang="nl-NL" smtClean="0"/>
              <a:t> </a:t>
            </a:r>
            <a:r>
              <a:rPr lang="nl-NL"/>
              <a:t>table with text</a:t>
            </a:r>
          </a:p>
        </p:txBody>
      </p:sp>
      <p:graphicFrame>
        <p:nvGraphicFramePr>
          <p:cNvPr id="4" name="Group 3"/>
          <p:cNvGraphicFramePr>
            <a:graphicFrameLocks/>
          </p:cNvGraphicFramePr>
          <p:nvPr/>
        </p:nvGraphicFramePr>
        <p:xfrm>
          <a:off x="396876" y="1593908"/>
          <a:ext cx="8350249" cy="4520488"/>
        </p:xfrm>
        <a:graphic>
          <a:graphicData uri="http://schemas.openxmlformats.org/drawingml/2006/table">
            <a:tbl>
              <a:tblPr>
                <a:tableStyleId>{8799B23B-EC83-4686-B30A-512413B5E67A}</a:tableStyleId>
              </a:tblPr>
              <a:tblGrid>
                <a:gridCol w="1825287"/>
                <a:gridCol w="3263214"/>
                <a:gridCol w="3261748"/>
              </a:tblGrid>
              <a:tr h="32819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1" i="0" u="none" strike="noStrike" cap="none" normalizeH="0" baseline="0" dirty="0">
                        <a:ln>
                          <a:noFill/>
                        </a:ln>
                        <a:solidFill>
                          <a:srgbClr val="002776"/>
                        </a:solidFill>
                        <a:effectLst/>
                        <a:latin typeface="Arial" charset="0"/>
                      </a:endParaRPr>
                    </a:p>
                  </a:txBody>
                  <a:tcPr marL="67525" marR="67525" marT="73152" marB="73152"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b="1" u="none" strike="noStrike" cap="none" normalizeH="0" baseline="0" dirty="0">
                          <a:ln>
                            <a:noFill/>
                          </a:ln>
                          <a:solidFill>
                            <a:schemeClr val="bg1"/>
                          </a:solidFill>
                          <a:effectLst/>
                        </a:rPr>
                        <a:t>Subhead</a:t>
                      </a:r>
                      <a:endParaRPr kumimoji="0" lang="en-US" sz="1400" b="1" i="0" u="none" strike="noStrike" cap="none" normalizeH="0" baseline="0" dirty="0">
                        <a:ln>
                          <a:noFill/>
                        </a:ln>
                        <a:solidFill>
                          <a:schemeClr val="bg1"/>
                        </a:solidFill>
                        <a:effectLst/>
                        <a:latin typeface="Arial" charset="0"/>
                      </a:endParaRPr>
                    </a:p>
                  </a:txBody>
                  <a:tcPr marL="0" marR="0" marT="0" marB="0" anchor="ctr" anchorCtr="1" horzOverflow="overflow">
                    <a:lnL w="12700" cmpd="sng">
                      <a:noFill/>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A1DE"/>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b="1" u="none" strike="noStrike" cap="none" normalizeH="0" baseline="0" dirty="0">
                          <a:ln>
                            <a:noFill/>
                          </a:ln>
                          <a:solidFill>
                            <a:schemeClr val="bg1"/>
                          </a:solidFill>
                          <a:effectLst/>
                        </a:rPr>
                        <a:t>Subhead</a:t>
                      </a:r>
                      <a:endParaRPr kumimoji="0" lang="en-US" sz="1400" b="1" i="0" u="none" strike="noStrike" cap="none" normalizeH="0" baseline="0" dirty="0">
                        <a:ln>
                          <a:noFill/>
                        </a:ln>
                        <a:solidFill>
                          <a:schemeClr val="bg1"/>
                        </a:solidFill>
                        <a:effectLst/>
                        <a:latin typeface="Arial" charset="0"/>
                      </a:endParaRPr>
                    </a:p>
                  </a:txBody>
                  <a:tcPr marL="0" marR="0" marT="0" marB="0" anchor="ctr" anchorCtr="1" horzOverflow="overflow">
                    <a:lnL w="12700" cap="flat" cmpd="sng" algn="ctr">
                      <a:solidFill>
                        <a:schemeClr val="bg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00A1DE"/>
                    </a:solidFill>
                  </a:tcPr>
                </a:tc>
              </a:tr>
              <a:tr h="1193222">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Row description</a:t>
                      </a:r>
                      <a:endParaRPr kumimoji="0" lang="en-US" sz="1200" b="1" i="0" u="none" strike="noStrike" cap="none" normalizeH="0" baseline="0" dirty="0">
                        <a:ln>
                          <a:noFill/>
                        </a:ln>
                        <a:solidFill>
                          <a:srgbClr val="002776"/>
                        </a:solidFill>
                        <a:effectLst/>
                        <a:latin typeface="Arial" charset="0"/>
                      </a:endParaRPr>
                    </a:p>
                  </a:txBody>
                  <a:tcPr marL="67525" marR="67525" marT="73152" marB="73152" horzOverflow="overflow">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57998" rtl="0" eaLnBrk="1" fontAlgn="base" latinLnBrk="0" hangingPunct="1">
                        <a:lnSpc>
                          <a:spcPct val="100000"/>
                        </a:lnSpc>
                        <a:spcBef>
                          <a:spcPts val="400"/>
                        </a:spcBef>
                        <a:spcAft>
                          <a:spcPts val="0"/>
                        </a:spcAft>
                        <a:buClrTx/>
                        <a:buSzTx/>
                        <a:buFont typeface="Arial" charset="0"/>
                        <a:buNone/>
                        <a:tabLst/>
                        <a:defRPr/>
                      </a:pPr>
                      <a:r>
                        <a:rPr kumimoji="0" lang="nl-NL" sz="1400" u="none" strike="noStrike" kern="1200" cap="none" spc="0" normalizeH="0" baseline="0" noProof="0" dirty="0" smtClean="0">
                          <a:ln>
                            <a:noFill/>
                          </a:ln>
                          <a:solidFill>
                            <a:srgbClr val="002776"/>
                          </a:solidFill>
                          <a:effectLst/>
                          <a:uLnTx/>
                          <a:uFillTx/>
                        </a:rPr>
                        <a:t>Text line </a:t>
                      </a:r>
                      <a:br>
                        <a:rPr kumimoji="0" lang="nl-NL" sz="1400" u="none" strike="noStrike" kern="1200" cap="none" spc="0" normalizeH="0" baseline="0" noProof="0" dirty="0" smtClean="0">
                          <a:ln>
                            <a:noFill/>
                          </a:ln>
                          <a:solidFill>
                            <a:srgbClr val="002776"/>
                          </a:solidFill>
                          <a:effectLst/>
                          <a:uLnTx/>
                          <a:uFillTx/>
                        </a:rPr>
                      </a:br>
                      <a:r>
                        <a:rPr kumimoji="0" lang="nl-NL" sz="1400" u="none" strike="noStrike" kern="1200" cap="none" spc="0" normalizeH="0" baseline="0" noProof="0" dirty="0" smtClean="0">
                          <a:ln>
                            <a:noFill/>
                          </a:ln>
                          <a:solidFill>
                            <a:srgbClr val="002776"/>
                          </a:solidFill>
                          <a:effectLst/>
                          <a:uLnTx/>
                          <a:uFillTx/>
                        </a:rPr>
                        <a:t>(if not needed, delete)</a:t>
                      </a:r>
                    </a:p>
                    <a:p>
                      <a:pPr marL="117475" marR="0" lvl="1"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400" u="none" strike="noStrike" kern="1200" cap="none" spc="0" normalizeH="0" baseline="0" noProof="0" dirty="0" smtClean="0">
                          <a:ln>
                            <a:noFill/>
                          </a:ln>
                          <a:solidFill>
                            <a:srgbClr val="002776"/>
                          </a:solidFill>
                          <a:effectLst/>
                          <a:uLnTx/>
                          <a:uFillTx/>
                        </a:rPr>
                        <a:t>Bullet</a:t>
                      </a:r>
                    </a:p>
                    <a:p>
                      <a:pPr marL="227013" marR="0" lvl="2" indent="-109538"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Dash</a:t>
                      </a:r>
                    </a:p>
                    <a:p>
                      <a:pPr marL="344488" marR="0" lvl="3"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Subbullet</a:t>
                      </a:r>
                      <a:endParaRPr kumimoji="0" lang="nl-NL" sz="1200" b="0" i="0" u="none" strike="noStrike" kern="1200" cap="none" spc="0" normalizeH="0" baseline="0" noProof="0" dirty="0" smtClean="0">
                        <a:ln>
                          <a:noFill/>
                        </a:ln>
                        <a:solidFill>
                          <a:srgbClr val="002776"/>
                        </a:solidFill>
                        <a:effectLst/>
                        <a:uLnTx/>
                        <a:uFillTx/>
                        <a:latin typeface="+mn-lt"/>
                        <a:ea typeface="+mn-ea"/>
                        <a:cs typeface="+mn-cs"/>
                      </a:endParaRPr>
                    </a:p>
                  </a:txBody>
                  <a:tcPr marL="67525" marR="67525" marT="73152" marB="73152" horzOverflow="overflow">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57998" rtl="0" eaLnBrk="1" fontAlgn="base" latinLnBrk="0" hangingPunct="1">
                        <a:lnSpc>
                          <a:spcPct val="100000"/>
                        </a:lnSpc>
                        <a:spcBef>
                          <a:spcPts val="400"/>
                        </a:spcBef>
                        <a:spcAft>
                          <a:spcPts val="0"/>
                        </a:spcAft>
                        <a:buClrTx/>
                        <a:buSzTx/>
                        <a:buFont typeface="Arial" charset="0"/>
                        <a:buNone/>
                        <a:tabLst/>
                        <a:defRPr/>
                      </a:pPr>
                      <a:r>
                        <a:rPr kumimoji="0" lang="nl-NL" sz="1400" u="none" strike="noStrike" kern="1200" cap="none" spc="0" normalizeH="0" baseline="0" noProof="0" dirty="0" smtClean="0">
                          <a:ln>
                            <a:noFill/>
                          </a:ln>
                          <a:solidFill>
                            <a:srgbClr val="002776"/>
                          </a:solidFill>
                          <a:effectLst/>
                          <a:uLnTx/>
                          <a:uFillTx/>
                        </a:rPr>
                        <a:t>Text line </a:t>
                      </a:r>
                      <a:br>
                        <a:rPr kumimoji="0" lang="nl-NL" sz="1400" u="none" strike="noStrike" kern="1200" cap="none" spc="0" normalizeH="0" baseline="0" noProof="0" dirty="0" smtClean="0">
                          <a:ln>
                            <a:noFill/>
                          </a:ln>
                          <a:solidFill>
                            <a:srgbClr val="002776"/>
                          </a:solidFill>
                          <a:effectLst/>
                          <a:uLnTx/>
                          <a:uFillTx/>
                        </a:rPr>
                      </a:br>
                      <a:r>
                        <a:rPr kumimoji="0" lang="nl-NL" sz="1400" u="none" strike="noStrike" kern="1200" cap="none" spc="0" normalizeH="0" baseline="0" noProof="0" dirty="0" smtClean="0">
                          <a:ln>
                            <a:noFill/>
                          </a:ln>
                          <a:solidFill>
                            <a:srgbClr val="002776"/>
                          </a:solidFill>
                          <a:effectLst/>
                          <a:uLnTx/>
                          <a:uFillTx/>
                        </a:rPr>
                        <a:t>(if not needed, delete)</a:t>
                      </a:r>
                    </a:p>
                    <a:p>
                      <a:pPr marL="117475" marR="0" lvl="1"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400" u="none" strike="noStrike" kern="1200" cap="none" spc="0" normalizeH="0" baseline="0" noProof="0" dirty="0" smtClean="0">
                          <a:ln>
                            <a:noFill/>
                          </a:ln>
                          <a:solidFill>
                            <a:srgbClr val="002776"/>
                          </a:solidFill>
                          <a:effectLst/>
                          <a:uLnTx/>
                          <a:uFillTx/>
                        </a:rPr>
                        <a:t>Bullet</a:t>
                      </a:r>
                    </a:p>
                    <a:p>
                      <a:pPr marL="227013" marR="0" lvl="2" indent="-109538"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Dash</a:t>
                      </a:r>
                    </a:p>
                    <a:p>
                      <a:pPr marL="344488" marR="0" lvl="3"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Subbullet</a:t>
                      </a:r>
                    </a:p>
                  </a:txBody>
                  <a:tcPr marL="67525" marR="67525" marT="73152" marB="73152" horzOverflow="overflow">
                    <a:lnL w="12700" cmpd="sng">
                      <a:noFill/>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13764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Row description</a:t>
                      </a:r>
                      <a:endParaRPr kumimoji="0" lang="en-US" sz="1200" b="1" i="0" u="none" strike="noStrike" cap="none" normalizeH="0" baseline="0" dirty="0">
                        <a:ln>
                          <a:noFill/>
                        </a:ln>
                        <a:solidFill>
                          <a:srgbClr val="002776"/>
                        </a:solidFill>
                        <a:effectLst/>
                        <a:latin typeface="Arial" charset="0"/>
                      </a:endParaRPr>
                    </a:p>
                  </a:txBody>
                  <a:tcPr marL="67525" marR="67525" marT="73152" marB="73152"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57998" rtl="0" eaLnBrk="1" fontAlgn="base" latinLnBrk="0" hangingPunct="1">
                        <a:lnSpc>
                          <a:spcPct val="100000"/>
                        </a:lnSpc>
                        <a:spcBef>
                          <a:spcPts val="400"/>
                        </a:spcBef>
                        <a:spcAft>
                          <a:spcPts val="0"/>
                        </a:spcAft>
                        <a:buClrTx/>
                        <a:buSzTx/>
                        <a:buFont typeface="Arial" charset="0"/>
                        <a:buNone/>
                        <a:tabLst/>
                        <a:defRPr/>
                      </a:pPr>
                      <a:r>
                        <a:rPr kumimoji="0" lang="nl-NL" sz="1400" u="none" strike="noStrike" kern="1200" cap="none" spc="0" normalizeH="0" baseline="0" noProof="0" dirty="0" smtClean="0">
                          <a:ln>
                            <a:noFill/>
                          </a:ln>
                          <a:solidFill>
                            <a:srgbClr val="002776"/>
                          </a:solidFill>
                          <a:effectLst/>
                          <a:uLnTx/>
                          <a:uFillTx/>
                        </a:rPr>
                        <a:t>Text line </a:t>
                      </a:r>
                      <a:br>
                        <a:rPr kumimoji="0" lang="nl-NL" sz="1400" u="none" strike="noStrike" kern="1200" cap="none" spc="0" normalizeH="0" baseline="0" noProof="0" dirty="0" smtClean="0">
                          <a:ln>
                            <a:noFill/>
                          </a:ln>
                          <a:solidFill>
                            <a:srgbClr val="002776"/>
                          </a:solidFill>
                          <a:effectLst/>
                          <a:uLnTx/>
                          <a:uFillTx/>
                        </a:rPr>
                      </a:br>
                      <a:r>
                        <a:rPr kumimoji="0" lang="nl-NL" sz="1400" u="none" strike="noStrike" kern="1200" cap="none" spc="0" normalizeH="0" baseline="0" noProof="0" dirty="0" smtClean="0">
                          <a:ln>
                            <a:noFill/>
                          </a:ln>
                          <a:solidFill>
                            <a:srgbClr val="002776"/>
                          </a:solidFill>
                          <a:effectLst/>
                          <a:uLnTx/>
                          <a:uFillTx/>
                        </a:rPr>
                        <a:t>(if not needed, delete)</a:t>
                      </a:r>
                    </a:p>
                    <a:p>
                      <a:pPr marL="117475" marR="0" lvl="1"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400" u="none" strike="noStrike" kern="1200" cap="none" spc="0" normalizeH="0" baseline="0" noProof="0" dirty="0" smtClean="0">
                          <a:ln>
                            <a:noFill/>
                          </a:ln>
                          <a:solidFill>
                            <a:srgbClr val="002776"/>
                          </a:solidFill>
                          <a:effectLst/>
                          <a:uLnTx/>
                          <a:uFillTx/>
                        </a:rPr>
                        <a:t>Bullet</a:t>
                      </a:r>
                    </a:p>
                    <a:p>
                      <a:pPr marL="227013" marR="0" lvl="2" indent="-109538"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Dash</a:t>
                      </a:r>
                    </a:p>
                    <a:p>
                      <a:pPr marL="344488" marR="0" lvl="3"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Subbullet</a:t>
                      </a:r>
                      <a:endParaRPr kumimoji="0" lang="nl-NL" sz="1200" b="0" i="0" u="none" strike="noStrike" kern="1200" cap="none" spc="0" normalizeH="0" baseline="0" noProof="0" dirty="0" smtClean="0">
                        <a:ln>
                          <a:noFill/>
                        </a:ln>
                        <a:solidFill>
                          <a:srgbClr val="002776"/>
                        </a:solidFill>
                        <a:effectLst/>
                        <a:uLnTx/>
                        <a:uFillTx/>
                        <a:latin typeface="+mn-lt"/>
                        <a:ea typeface="+mn-ea"/>
                        <a:cs typeface="+mn-cs"/>
                      </a:endParaRPr>
                    </a:p>
                  </a:txBody>
                  <a:tcPr marL="67525" marR="67525" marT="73152" marB="73152"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57998" rtl="0" eaLnBrk="1" fontAlgn="base" latinLnBrk="0" hangingPunct="1">
                        <a:lnSpc>
                          <a:spcPct val="100000"/>
                        </a:lnSpc>
                        <a:spcBef>
                          <a:spcPts val="400"/>
                        </a:spcBef>
                        <a:spcAft>
                          <a:spcPts val="0"/>
                        </a:spcAft>
                        <a:buClrTx/>
                        <a:buSzTx/>
                        <a:buFont typeface="Arial" charset="0"/>
                        <a:buNone/>
                        <a:tabLst/>
                        <a:defRPr/>
                      </a:pPr>
                      <a:r>
                        <a:rPr kumimoji="0" lang="nl-NL" sz="1400" u="none" strike="noStrike" kern="1200" cap="none" spc="0" normalizeH="0" baseline="0" noProof="0" dirty="0" smtClean="0">
                          <a:ln>
                            <a:noFill/>
                          </a:ln>
                          <a:solidFill>
                            <a:srgbClr val="002776"/>
                          </a:solidFill>
                          <a:effectLst/>
                          <a:uLnTx/>
                          <a:uFillTx/>
                        </a:rPr>
                        <a:t>Text line </a:t>
                      </a:r>
                      <a:br>
                        <a:rPr kumimoji="0" lang="nl-NL" sz="1400" u="none" strike="noStrike" kern="1200" cap="none" spc="0" normalizeH="0" baseline="0" noProof="0" dirty="0" smtClean="0">
                          <a:ln>
                            <a:noFill/>
                          </a:ln>
                          <a:solidFill>
                            <a:srgbClr val="002776"/>
                          </a:solidFill>
                          <a:effectLst/>
                          <a:uLnTx/>
                          <a:uFillTx/>
                        </a:rPr>
                      </a:br>
                      <a:r>
                        <a:rPr kumimoji="0" lang="nl-NL" sz="1400" u="none" strike="noStrike" kern="1200" cap="none" spc="0" normalizeH="0" baseline="0" noProof="0" dirty="0" smtClean="0">
                          <a:ln>
                            <a:noFill/>
                          </a:ln>
                          <a:solidFill>
                            <a:srgbClr val="002776"/>
                          </a:solidFill>
                          <a:effectLst/>
                          <a:uLnTx/>
                          <a:uFillTx/>
                        </a:rPr>
                        <a:t>(if not needed, delete)</a:t>
                      </a:r>
                    </a:p>
                    <a:p>
                      <a:pPr marL="117475" marR="0" lvl="1"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400" u="none" strike="noStrike" kern="1200" cap="none" spc="0" normalizeH="0" baseline="0" noProof="0" dirty="0" smtClean="0">
                          <a:ln>
                            <a:noFill/>
                          </a:ln>
                          <a:solidFill>
                            <a:srgbClr val="002776"/>
                          </a:solidFill>
                          <a:effectLst/>
                          <a:uLnTx/>
                          <a:uFillTx/>
                        </a:rPr>
                        <a:t>Bullet</a:t>
                      </a:r>
                    </a:p>
                    <a:p>
                      <a:pPr marL="227013" marR="0" lvl="2" indent="-109538"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Dash</a:t>
                      </a:r>
                    </a:p>
                    <a:p>
                      <a:pPr marL="344488" marR="0" lvl="3"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Subbullet</a:t>
                      </a:r>
                      <a:endParaRPr kumimoji="0" lang="nl-NL" sz="1200" b="0" i="0" u="none" strike="noStrike" kern="1200" cap="none" spc="0" normalizeH="0" baseline="0" noProof="0" dirty="0" smtClean="0">
                        <a:ln>
                          <a:noFill/>
                        </a:ln>
                        <a:solidFill>
                          <a:srgbClr val="002776"/>
                        </a:solidFill>
                        <a:effectLst/>
                        <a:uLnTx/>
                        <a:uFillTx/>
                        <a:latin typeface="+mn-lt"/>
                        <a:ea typeface="+mn-ea"/>
                        <a:cs typeface="+mn-cs"/>
                      </a:endParaRPr>
                    </a:p>
                  </a:txBody>
                  <a:tcPr marL="67525" marR="67525" marT="73152" marB="73152" horzOverflow="overflow">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1499374">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a:ln>
                            <a:noFill/>
                          </a:ln>
                          <a:solidFill>
                            <a:srgbClr val="002776"/>
                          </a:solidFill>
                          <a:effectLst/>
                        </a:rPr>
                        <a:t>Row description</a:t>
                      </a:r>
                      <a:endParaRPr kumimoji="0" lang="en-US" sz="1200" b="1" i="0" u="none" strike="noStrike" cap="none" normalizeH="0" baseline="0" dirty="0">
                        <a:ln>
                          <a:noFill/>
                        </a:ln>
                        <a:solidFill>
                          <a:srgbClr val="002776"/>
                        </a:solidFill>
                        <a:effectLst/>
                        <a:latin typeface="Arial" charset="0"/>
                      </a:endParaRPr>
                    </a:p>
                  </a:txBody>
                  <a:tcPr marL="67525" marR="67525" marT="73152" marB="73152" horzOverflow="overflow">
                    <a:lnL w="12700" cmpd="sng">
                      <a:noFill/>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57998" rtl="0" eaLnBrk="1" fontAlgn="base" latinLnBrk="0" hangingPunct="1">
                        <a:lnSpc>
                          <a:spcPct val="100000"/>
                        </a:lnSpc>
                        <a:spcBef>
                          <a:spcPts val="400"/>
                        </a:spcBef>
                        <a:spcAft>
                          <a:spcPts val="0"/>
                        </a:spcAft>
                        <a:buClrTx/>
                        <a:buSzTx/>
                        <a:buFont typeface="Arial" charset="0"/>
                        <a:buNone/>
                        <a:tabLst/>
                        <a:defRPr/>
                      </a:pPr>
                      <a:r>
                        <a:rPr kumimoji="0" lang="nl-NL" sz="1400" u="none" strike="noStrike" kern="1200" cap="none" spc="0" normalizeH="0" baseline="0" noProof="0" dirty="0" smtClean="0">
                          <a:ln>
                            <a:noFill/>
                          </a:ln>
                          <a:solidFill>
                            <a:srgbClr val="002776"/>
                          </a:solidFill>
                          <a:effectLst/>
                          <a:uLnTx/>
                          <a:uFillTx/>
                        </a:rPr>
                        <a:t>Text line </a:t>
                      </a:r>
                      <a:br>
                        <a:rPr kumimoji="0" lang="nl-NL" sz="1400" u="none" strike="noStrike" kern="1200" cap="none" spc="0" normalizeH="0" baseline="0" noProof="0" dirty="0" smtClean="0">
                          <a:ln>
                            <a:noFill/>
                          </a:ln>
                          <a:solidFill>
                            <a:srgbClr val="002776"/>
                          </a:solidFill>
                          <a:effectLst/>
                          <a:uLnTx/>
                          <a:uFillTx/>
                        </a:rPr>
                      </a:br>
                      <a:r>
                        <a:rPr kumimoji="0" lang="nl-NL" sz="1400" u="none" strike="noStrike" kern="1200" cap="none" spc="0" normalizeH="0" baseline="0" noProof="0" dirty="0" smtClean="0">
                          <a:ln>
                            <a:noFill/>
                          </a:ln>
                          <a:solidFill>
                            <a:srgbClr val="002776"/>
                          </a:solidFill>
                          <a:effectLst/>
                          <a:uLnTx/>
                          <a:uFillTx/>
                        </a:rPr>
                        <a:t>(if not needed, delete)</a:t>
                      </a:r>
                    </a:p>
                    <a:p>
                      <a:pPr marL="117475" marR="0" lvl="1"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400" u="none" strike="noStrike" kern="1200" cap="none" spc="0" normalizeH="0" baseline="0" noProof="0" dirty="0" smtClean="0">
                          <a:ln>
                            <a:noFill/>
                          </a:ln>
                          <a:solidFill>
                            <a:srgbClr val="002776"/>
                          </a:solidFill>
                          <a:effectLst/>
                          <a:uLnTx/>
                          <a:uFillTx/>
                        </a:rPr>
                        <a:t>Bullet</a:t>
                      </a:r>
                    </a:p>
                    <a:p>
                      <a:pPr marL="227013" marR="0" lvl="2" indent="-109538"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Dash</a:t>
                      </a:r>
                    </a:p>
                    <a:p>
                      <a:pPr marL="344488" marR="0" lvl="3"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Subbullet</a:t>
                      </a:r>
                      <a:endParaRPr kumimoji="0" lang="nl-NL" sz="1200" b="0" i="0" u="none" strike="noStrike" kern="1200" cap="none" spc="0" normalizeH="0" baseline="0" noProof="0" dirty="0" smtClean="0">
                        <a:ln>
                          <a:noFill/>
                        </a:ln>
                        <a:solidFill>
                          <a:srgbClr val="002776"/>
                        </a:solidFill>
                        <a:effectLst/>
                        <a:uLnTx/>
                        <a:uFillTx/>
                        <a:latin typeface="+mn-lt"/>
                        <a:ea typeface="+mn-ea"/>
                        <a:cs typeface="+mn-cs"/>
                      </a:endParaRPr>
                    </a:p>
                  </a:txBody>
                  <a:tcPr marL="67525" marR="67525" marT="73152" marB="73152" horzOverflow="overflow">
                    <a:lnL w="12700" cmpd="sng">
                      <a:noFill/>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57998" rtl="0" eaLnBrk="1" fontAlgn="base" latinLnBrk="0" hangingPunct="1">
                        <a:lnSpc>
                          <a:spcPct val="100000"/>
                        </a:lnSpc>
                        <a:spcBef>
                          <a:spcPts val="400"/>
                        </a:spcBef>
                        <a:spcAft>
                          <a:spcPts val="0"/>
                        </a:spcAft>
                        <a:buClrTx/>
                        <a:buSzTx/>
                        <a:buFont typeface="Arial" charset="0"/>
                        <a:buNone/>
                        <a:tabLst/>
                        <a:defRPr/>
                      </a:pPr>
                      <a:r>
                        <a:rPr kumimoji="0" lang="nl-NL" sz="1400" u="none" strike="noStrike" kern="1200" cap="none" spc="0" normalizeH="0" baseline="0" noProof="0" dirty="0" smtClean="0">
                          <a:ln>
                            <a:noFill/>
                          </a:ln>
                          <a:solidFill>
                            <a:srgbClr val="002776"/>
                          </a:solidFill>
                          <a:effectLst/>
                          <a:uLnTx/>
                          <a:uFillTx/>
                        </a:rPr>
                        <a:t>Text line </a:t>
                      </a:r>
                      <a:br>
                        <a:rPr kumimoji="0" lang="nl-NL" sz="1400" u="none" strike="noStrike" kern="1200" cap="none" spc="0" normalizeH="0" baseline="0" noProof="0" dirty="0" smtClean="0">
                          <a:ln>
                            <a:noFill/>
                          </a:ln>
                          <a:solidFill>
                            <a:srgbClr val="002776"/>
                          </a:solidFill>
                          <a:effectLst/>
                          <a:uLnTx/>
                          <a:uFillTx/>
                        </a:rPr>
                      </a:br>
                      <a:r>
                        <a:rPr kumimoji="0" lang="nl-NL" sz="1400" u="none" strike="noStrike" kern="1200" cap="none" spc="0" normalizeH="0" baseline="0" noProof="0" dirty="0" smtClean="0">
                          <a:ln>
                            <a:noFill/>
                          </a:ln>
                          <a:solidFill>
                            <a:srgbClr val="002776"/>
                          </a:solidFill>
                          <a:effectLst/>
                          <a:uLnTx/>
                          <a:uFillTx/>
                        </a:rPr>
                        <a:t>(if not needed, delete)</a:t>
                      </a:r>
                    </a:p>
                    <a:p>
                      <a:pPr marL="117475" marR="0" lvl="1"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400" u="none" strike="noStrike" kern="1200" cap="none" spc="0" normalizeH="0" baseline="0" noProof="0" dirty="0" smtClean="0">
                          <a:ln>
                            <a:noFill/>
                          </a:ln>
                          <a:solidFill>
                            <a:srgbClr val="002776"/>
                          </a:solidFill>
                          <a:effectLst/>
                          <a:uLnTx/>
                          <a:uFillTx/>
                        </a:rPr>
                        <a:t>Bullet</a:t>
                      </a:r>
                    </a:p>
                    <a:p>
                      <a:pPr marL="227013" marR="0" lvl="2" indent="-109538"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Dash</a:t>
                      </a:r>
                    </a:p>
                    <a:p>
                      <a:pPr marL="344488" marR="0" lvl="3" indent="-117475" algn="l" defTabSz="957998" rtl="0" eaLnBrk="1" fontAlgn="base" latinLnBrk="0" hangingPunct="1">
                        <a:lnSpc>
                          <a:spcPct val="100000"/>
                        </a:lnSpc>
                        <a:spcBef>
                          <a:spcPts val="400"/>
                        </a:spcBef>
                        <a:spcAft>
                          <a:spcPts val="0"/>
                        </a:spcAft>
                        <a:buClrTx/>
                        <a:buSzTx/>
                        <a:buFont typeface="Arial" charset="0"/>
                        <a:buChar char="•"/>
                        <a:tabLst/>
                        <a:defRPr/>
                      </a:pPr>
                      <a:r>
                        <a:rPr kumimoji="0" lang="nl-NL" sz="1200" u="none" strike="noStrike" kern="1200" cap="none" spc="0" normalizeH="0" baseline="0" noProof="0" dirty="0" smtClean="0">
                          <a:ln>
                            <a:noFill/>
                          </a:ln>
                          <a:solidFill>
                            <a:srgbClr val="002776"/>
                          </a:solidFill>
                          <a:effectLst/>
                          <a:uLnTx/>
                          <a:uFillTx/>
                        </a:rPr>
                        <a:t>Subbullet</a:t>
                      </a:r>
                      <a:endParaRPr kumimoji="0" lang="nl-NL" sz="1200" b="0" i="0" u="none" strike="noStrike" kern="1200" cap="none" spc="0" normalizeH="0" baseline="0" noProof="0" dirty="0" smtClean="0">
                        <a:ln>
                          <a:noFill/>
                        </a:ln>
                        <a:solidFill>
                          <a:srgbClr val="002776"/>
                        </a:solidFill>
                        <a:effectLst/>
                        <a:uLnTx/>
                        <a:uFillTx/>
                        <a:latin typeface="+mn-lt"/>
                        <a:ea typeface="+mn-ea"/>
                        <a:cs typeface="+mn-cs"/>
                      </a:endParaRPr>
                    </a:p>
                  </a:txBody>
                  <a:tcPr marL="67525" marR="67525" marT="73152" marB="73152" horzOverflow="overflow">
                    <a:lnL w="12700" cmpd="sng">
                      <a:noFill/>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tcPr>
                </a:tc>
              </a:tr>
            </a:tbl>
          </a:graphicData>
        </a:graphic>
      </p:graphicFrame>
      <p:sp>
        <p:nvSpPr>
          <p:cNvPr id="7"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8"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Waterfalls </a:t>
            </a:r>
            <a:r>
              <a:rPr lang="en-US"/>
              <a:t>—</a:t>
            </a:r>
            <a:r>
              <a:rPr lang="en-GB" altLang="ja-JP" smtClean="0">
                <a:latin typeface="Arial" charset="0"/>
                <a:ea typeface="ＭＳ Ｐゴシック" pitchFamily="50" charset="-128"/>
                <a:cs typeface="Arial" charset="0"/>
              </a:rPr>
              <a:t> </a:t>
            </a:r>
            <a:r>
              <a:rPr lang="en-GB">
                <a:latin typeface="Arial" charset="0"/>
                <a:cs typeface="Arial" charset="0"/>
              </a:rPr>
              <a:t>bars</a:t>
            </a:r>
            <a:endParaRPr lang="nl-NL"/>
          </a:p>
        </p:txBody>
      </p:sp>
      <p:graphicFrame>
        <p:nvGraphicFramePr>
          <p:cNvPr id="5" name="Chart 4"/>
          <p:cNvGraphicFramePr/>
          <p:nvPr/>
        </p:nvGraphicFramePr>
        <p:xfrm>
          <a:off x="382467" y="1923286"/>
          <a:ext cx="8377602" cy="3716976"/>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Box 14"/>
          <p:cNvSpPr txBox="1">
            <a:spLocks noChangeArrowheads="1"/>
          </p:cNvSpPr>
          <p:nvPr/>
        </p:nvSpPr>
        <p:spPr bwMode="auto">
          <a:xfrm>
            <a:off x="4508885" y="5673965"/>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sp>
        <p:nvSpPr>
          <p:cNvPr id="15" name="Text Box 14"/>
          <p:cNvSpPr txBox="1">
            <a:spLocks noChangeArrowheads="1"/>
          </p:cNvSpPr>
          <p:nvPr/>
        </p:nvSpPr>
        <p:spPr bwMode="auto">
          <a:xfrm rot="16200000">
            <a:off x="20149" y="3488481"/>
            <a:ext cx="978153"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Categories</a:t>
            </a:r>
          </a:p>
        </p:txBody>
      </p:sp>
      <p:sp>
        <p:nvSpPr>
          <p:cNvPr id="1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8"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9" name="Rectangle 8"/>
          <p:cNvSpPr>
            <a:spLocks noChangeArrowheads="1"/>
          </p:cNvSpPr>
          <p:nvPr/>
        </p:nvSpPr>
        <p:spPr bwMode="gray">
          <a:xfrm>
            <a:off x="3482251"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414338" y="446038"/>
            <a:ext cx="8330184" cy="333425"/>
          </a:xfrm>
        </p:spPr>
        <p:txBody>
          <a:bodyPr/>
          <a:lstStyle/>
          <a:p>
            <a:r>
              <a:rPr lang="en-GB" altLang="ja-JP">
                <a:latin typeface="Arial" charset="0"/>
                <a:ea typeface="ＭＳ Ｐゴシック" pitchFamily="50" charset="-128"/>
                <a:cs typeface="Arial" charset="0"/>
              </a:rPr>
              <a:t>Waterfalls </a:t>
            </a:r>
            <a:r>
              <a:rPr lang="en-US"/>
              <a:t>—</a:t>
            </a:r>
            <a:r>
              <a:rPr lang="en-GB" altLang="ja-JP" smtClean="0">
                <a:latin typeface="Arial" charset="0"/>
                <a:ea typeface="ＭＳ Ｐゴシック" pitchFamily="50" charset="-128"/>
                <a:cs typeface="Arial" charset="0"/>
              </a:rPr>
              <a:t> </a:t>
            </a:r>
            <a:r>
              <a:rPr lang="en-GB">
                <a:latin typeface="Arial" charset="0"/>
                <a:cs typeface="Arial" charset="0"/>
              </a:rPr>
              <a:t>bars with</a:t>
            </a:r>
            <a:r>
              <a:rPr lang="en-GB" altLang="ja-JP">
                <a:latin typeface="Arial" charset="0"/>
                <a:ea typeface="ＭＳ Ｐゴシック" pitchFamily="50" charset="-128"/>
                <a:cs typeface="Arial" charset="0"/>
              </a:rPr>
              <a:t>out</a:t>
            </a:r>
            <a:r>
              <a:rPr lang="en-GB">
                <a:latin typeface="Arial" charset="0"/>
                <a:cs typeface="Arial" charset="0"/>
              </a:rPr>
              <a:t> gap</a:t>
            </a:r>
            <a:endParaRPr lang="nl-NL"/>
          </a:p>
        </p:txBody>
      </p:sp>
      <p:graphicFrame>
        <p:nvGraphicFramePr>
          <p:cNvPr id="5" name="Chart 4"/>
          <p:cNvGraphicFramePr/>
          <p:nvPr/>
        </p:nvGraphicFramePr>
        <p:xfrm>
          <a:off x="382467" y="1923286"/>
          <a:ext cx="8377602" cy="3716976"/>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Box 14"/>
          <p:cNvSpPr txBox="1">
            <a:spLocks noChangeArrowheads="1"/>
          </p:cNvSpPr>
          <p:nvPr/>
        </p:nvSpPr>
        <p:spPr bwMode="auto">
          <a:xfrm>
            <a:off x="4508885" y="5673965"/>
            <a:ext cx="569388"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Units</a:t>
            </a:r>
          </a:p>
        </p:txBody>
      </p:sp>
      <p:sp>
        <p:nvSpPr>
          <p:cNvPr id="15" name="Text Box 14"/>
          <p:cNvSpPr txBox="1">
            <a:spLocks noChangeArrowheads="1"/>
          </p:cNvSpPr>
          <p:nvPr/>
        </p:nvSpPr>
        <p:spPr bwMode="auto">
          <a:xfrm rot="16200000">
            <a:off x="20149" y="3488481"/>
            <a:ext cx="978153" cy="276999"/>
          </a:xfrm>
          <a:prstGeom prst="rect">
            <a:avLst/>
          </a:prstGeom>
          <a:noFill/>
          <a:ln w="9525">
            <a:noFill/>
            <a:miter lim="800000"/>
            <a:headEnd type="none" w="sm" len="sm"/>
            <a:tailEnd type="none" w="med" len="lg"/>
          </a:ln>
        </p:spPr>
        <p:txBody>
          <a:bodyPr wrap="none">
            <a:spAutoFit/>
          </a:bodyPr>
          <a:lstStyle/>
          <a:p>
            <a:pPr algn="ctr">
              <a:spcBef>
                <a:spcPct val="0"/>
              </a:spcBef>
            </a:pPr>
            <a:r>
              <a:rPr lang="en-GB" altLang="ja-JP" sz="1200" b="1">
                <a:solidFill>
                  <a:schemeClr val="tx2"/>
                </a:solidFill>
                <a:ea typeface="ＭＳ Ｐゴシック" pitchFamily="50" charset="-128"/>
              </a:rPr>
              <a:t>Categories</a:t>
            </a:r>
          </a:p>
        </p:txBody>
      </p:sp>
      <p:sp>
        <p:nvSpPr>
          <p:cNvPr id="1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8" name="Text Placeholder 12"/>
          <p:cNvSpPr>
            <a:spLocks/>
          </p:cNvSpPr>
          <p:nvPr>
            <p:custDataLst>
              <p:tags r:id="rId1"/>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9" name="Rectangle 8"/>
          <p:cNvSpPr>
            <a:spLocks noChangeArrowheads="1"/>
          </p:cNvSpPr>
          <p:nvPr/>
        </p:nvSpPr>
        <p:spPr bwMode="gray">
          <a:xfrm>
            <a:off x="3482251"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GB">
                <a:latin typeface="Arial" charset="0"/>
                <a:cs typeface="Arial" charset="0"/>
              </a:rPr>
              <a:t>Other</a:t>
            </a:r>
            <a:r>
              <a:rPr lang="en-GB" altLang="ja-JP">
                <a:latin typeface="Arial" charset="0"/>
                <a:ea typeface="ＭＳ Ｐゴシック" pitchFamily="50" charset="-128"/>
                <a:cs typeface="Arial" charset="0"/>
              </a:rPr>
              <a:t> graphs </a:t>
            </a:r>
            <a:r>
              <a:rPr lang="en-US"/>
              <a:t>—</a:t>
            </a:r>
            <a:r>
              <a:rPr lang="en-GB" smtClean="0">
                <a:latin typeface="Arial" charset="0"/>
                <a:cs typeface="Arial" charset="0"/>
              </a:rPr>
              <a:t> </a:t>
            </a:r>
            <a:r>
              <a:rPr lang="en-GB">
                <a:latin typeface="Arial" charset="0"/>
                <a:cs typeface="Arial" charset="0"/>
              </a:rPr>
              <a:t>high-low </a:t>
            </a:r>
            <a:r>
              <a:rPr lang="en-GB" altLang="ja-JP">
                <a:latin typeface="Arial" charset="0"/>
                <a:ea typeface="ＭＳ Ｐゴシック" pitchFamily="50" charset="-128"/>
                <a:cs typeface="Arial" charset="0"/>
              </a:rPr>
              <a:t>c</a:t>
            </a:r>
            <a:r>
              <a:rPr lang="en-GB">
                <a:latin typeface="Arial" charset="0"/>
                <a:cs typeface="Arial" charset="0"/>
              </a:rPr>
              <a:t>hart</a:t>
            </a:r>
            <a:endParaRPr lang="nl-NL"/>
          </a:p>
        </p:txBody>
      </p:sp>
      <p:graphicFrame>
        <p:nvGraphicFramePr>
          <p:cNvPr id="5" name="Chart 4"/>
          <p:cNvGraphicFramePr/>
          <p:nvPr/>
        </p:nvGraphicFramePr>
        <p:xfrm>
          <a:off x="493361" y="1943370"/>
          <a:ext cx="8266708" cy="3759003"/>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 Placeholder 12"/>
          <p:cNvSpPr>
            <a:spLocks/>
          </p:cNvSpPr>
          <p:nvPr>
            <p:custDataLst>
              <p:tags r:id="rId1"/>
            </p:custDataLst>
          </p:nvPr>
        </p:nvSpPr>
        <p:spPr bwMode="auto">
          <a:xfrm rot="16200000">
            <a:off x="217261" y="3566286"/>
            <a:ext cx="529283"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dirty="0">
                <a:solidFill>
                  <a:schemeClr val="tx2"/>
                </a:solidFill>
              </a:rPr>
              <a:t>Units</a:t>
            </a:r>
          </a:p>
        </p:txBody>
      </p:sp>
      <p:sp>
        <p:nvSpPr>
          <p:cNvPr id="9" name="Text Placeholder 12"/>
          <p:cNvSpPr>
            <a:spLocks/>
          </p:cNvSpPr>
          <p:nvPr>
            <p:custDataLst>
              <p:tags r:id="rId2"/>
            </p:custDataLst>
          </p:nvPr>
        </p:nvSpPr>
        <p:spPr bwMode="auto">
          <a:xfrm>
            <a:off x="4519843" y="5646904"/>
            <a:ext cx="488569"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1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3" name="Text Placeholder 12"/>
          <p:cNvSpPr>
            <a:spLocks/>
          </p:cNvSpPr>
          <p:nvPr>
            <p:custDataLst>
              <p:tags r:id="rId3"/>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0" name="Rectangle 9"/>
          <p:cNvSpPr>
            <a:spLocks noChangeArrowheads="1"/>
          </p:cNvSpPr>
          <p:nvPr/>
        </p:nvSpPr>
        <p:spPr bwMode="gray">
          <a:xfrm>
            <a:off x="3482251"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GB">
                <a:latin typeface="Arial" charset="0"/>
                <a:cs typeface="Arial" charset="0"/>
              </a:rPr>
              <a:t>Other </a:t>
            </a:r>
            <a:r>
              <a:rPr lang="en-GB" altLang="ja-JP">
                <a:latin typeface="Arial" charset="0"/>
                <a:ea typeface="ＭＳ Ｐゴシック" pitchFamily="50" charset="-128"/>
                <a:cs typeface="Arial" charset="0"/>
              </a:rPr>
              <a:t>graphs </a:t>
            </a:r>
            <a:r>
              <a:rPr lang="en-US"/>
              <a:t>—</a:t>
            </a:r>
            <a:r>
              <a:rPr lang="en-GB" smtClean="0">
                <a:latin typeface="Arial" charset="0"/>
                <a:cs typeface="Arial" charset="0"/>
              </a:rPr>
              <a:t> </a:t>
            </a:r>
            <a:r>
              <a:rPr lang="en-GB">
                <a:latin typeface="Arial" charset="0"/>
                <a:cs typeface="Arial" charset="0"/>
              </a:rPr>
              <a:t>high-low</a:t>
            </a:r>
            <a:r>
              <a:rPr lang="en-GB" altLang="ja-JP">
                <a:latin typeface="Arial" charset="0"/>
                <a:ea typeface="ＭＳ Ｐゴシック" pitchFamily="50" charset="-128"/>
                <a:cs typeface="Arial" charset="0"/>
              </a:rPr>
              <a:t>-median c</a:t>
            </a:r>
            <a:r>
              <a:rPr lang="en-GB">
                <a:latin typeface="Arial" charset="0"/>
                <a:cs typeface="Arial" charset="0"/>
              </a:rPr>
              <a:t>hart</a:t>
            </a:r>
            <a:endParaRPr lang="nl-NL"/>
          </a:p>
        </p:txBody>
      </p:sp>
      <p:graphicFrame>
        <p:nvGraphicFramePr>
          <p:cNvPr id="5" name="Chart 4"/>
          <p:cNvGraphicFramePr/>
          <p:nvPr/>
        </p:nvGraphicFramePr>
        <p:xfrm>
          <a:off x="493361" y="1943370"/>
          <a:ext cx="8266708" cy="3759003"/>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 Placeholder 12"/>
          <p:cNvSpPr>
            <a:spLocks/>
          </p:cNvSpPr>
          <p:nvPr>
            <p:custDataLst>
              <p:tags r:id="rId1"/>
            </p:custDataLst>
          </p:nvPr>
        </p:nvSpPr>
        <p:spPr bwMode="auto">
          <a:xfrm rot="16200000">
            <a:off x="217261" y="3566286"/>
            <a:ext cx="529283"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9" name="Text Placeholder 12"/>
          <p:cNvSpPr>
            <a:spLocks/>
          </p:cNvSpPr>
          <p:nvPr>
            <p:custDataLst>
              <p:tags r:id="rId2"/>
            </p:custDataLst>
          </p:nvPr>
        </p:nvSpPr>
        <p:spPr bwMode="auto">
          <a:xfrm>
            <a:off x="4519843" y="5646904"/>
            <a:ext cx="488569"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1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3" name="Text Placeholder 12"/>
          <p:cNvSpPr>
            <a:spLocks/>
          </p:cNvSpPr>
          <p:nvPr>
            <p:custDataLst>
              <p:tags r:id="rId3"/>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0" name="Rectangle 9"/>
          <p:cNvSpPr>
            <a:spLocks noChangeArrowheads="1"/>
          </p:cNvSpPr>
          <p:nvPr/>
        </p:nvSpPr>
        <p:spPr bwMode="gray">
          <a:xfrm>
            <a:off x="3482251"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GB">
                <a:latin typeface="Arial" charset="0"/>
                <a:cs typeface="Arial" charset="0"/>
              </a:rPr>
              <a:t>Other graphs</a:t>
            </a:r>
            <a:r>
              <a:rPr lang="en-GB" altLang="ja-JP">
                <a:latin typeface="Arial" charset="0"/>
                <a:ea typeface="ＭＳ Ｐゴシック" pitchFamily="50" charset="-128"/>
                <a:cs typeface="Arial" charset="0"/>
              </a:rPr>
              <a:t> </a:t>
            </a:r>
            <a:r>
              <a:rPr lang="en-US"/>
              <a:t>—</a:t>
            </a:r>
            <a:r>
              <a:rPr lang="en-GB" smtClean="0">
                <a:latin typeface="Arial" charset="0"/>
                <a:cs typeface="Arial" charset="0"/>
              </a:rPr>
              <a:t> </a:t>
            </a:r>
            <a:r>
              <a:rPr lang="en-GB">
                <a:latin typeface="Arial" charset="0"/>
                <a:cs typeface="Arial" charset="0"/>
              </a:rPr>
              <a:t>stock/</a:t>
            </a:r>
            <a:r>
              <a:rPr lang="en-GB" altLang="ja-JP">
                <a:latin typeface="Arial" charset="0"/>
                <a:ea typeface="ＭＳ Ｐゴシック" pitchFamily="50" charset="-128"/>
                <a:cs typeface="Arial" charset="0"/>
              </a:rPr>
              <a:t>e</a:t>
            </a:r>
            <a:r>
              <a:rPr lang="en-GB">
                <a:latin typeface="Arial" charset="0"/>
                <a:cs typeface="Arial" charset="0"/>
              </a:rPr>
              <a:t>levator </a:t>
            </a:r>
            <a:r>
              <a:rPr lang="en-GB" altLang="ja-JP">
                <a:latin typeface="Arial" charset="0"/>
                <a:ea typeface="ＭＳ Ｐゴシック" pitchFamily="50" charset="-128"/>
                <a:cs typeface="Arial" charset="0"/>
              </a:rPr>
              <a:t>c</a:t>
            </a:r>
            <a:r>
              <a:rPr lang="en-GB">
                <a:latin typeface="Arial" charset="0"/>
                <a:cs typeface="Arial" charset="0"/>
              </a:rPr>
              <a:t>hart</a:t>
            </a:r>
            <a:endParaRPr lang="nl-NL"/>
          </a:p>
        </p:txBody>
      </p:sp>
      <p:graphicFrame>
        <p:nvGraphicFramePr>
          <p:cNvPr id="5" name="Chart 4"/>
          <p:cNvGraphicFramePr/>
          <p:nvPr/>
        </p:nvGraphicFramePr>
        <p:xfrm>
          <a:off x="493361" y="1943370"/>
          <a:ext cx="8266708" cy="3759003"/>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 Placeholder 12"/>
          <p:cNvSpPr>
            <a:spLocks/>
          </p:cNvSpPr>
          <p:nvPr>
            <p:custDataLst>
              <p:tags r:id="rId1"/>
            </p:custDataLst>
          </p:nvPr>
        </p:nvSpPr>
        <p:spPr bwMode="auto">
          <a:xfrm rot="16200000">
            <a:off x="217261" y="3566286"/>
            <a:ext cx="529283"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9" name="Text Placeholder 12"/>
          <p:cNvSpPr>
            <a:spLocks/>
          </p:cNvSpPr>
          <p:nvPr>
            <p:custDataLst>
              <p:tags r:id="rId2"/>
            </p:custDataLst>
          </p:nvPr>
        </p:nvSpPr>
        <p:spPr bwMode="auto">
          <a:xfrm>
            <a:off x="4519843" y="5646904"/>
            <a:ext cx="488569"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1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3" name="Text Placeholder 12"/>
          <p:cNvSpPr>
            <a:spLocks/>
          </p:cNvSpPr>
          <p:nvPr>
            <p:custDataLst>
              <p:tags r:id="rId3"/>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0" name="Rectangle 9"/>
          <p:cNvSpPr>
            <a:spLocks noChangeArrowheads="1"/>
          </p:cNvSpPr>
          <p:nvPr/>
        </p:nvSpPr>
        <p:spPr bwMode="gray">
          <a:xfrm>
            <a:off x="3482251"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GB">
                <a:latin typeface="Arial" charset="0"/>
                <a:cs typeface="Arial" charset="0"/>
              </a:rPr>
              <a:t>Other graphs</a:t>
            </a:r>
            <a:r>
              <a:rPr lang="en-GB" altLang="ja-JP">
                <a:latin typeface="Arial" charset="0"/>
                <a:ea typeface="ＭＳ Ｐゴシック" pitchFamily="50" charset="-128"/>
                <a:cs typeface="Arial" charset="0"/>
              </a:rPr>
              <a:t> </a:t>
            </a:r>
            <a:r>
              <a:rPr lang="en-US"/>
              <a:t>—</a:t>
            </a:r>
            <a:r>
              <a:rPr lang="en-GB" smtClean="0">
                <a:latin typeface="Arial" charset="0"/>
                <a:cs typeface="Arial" charset="0"/>
              </a:rPr>
              <a:t> </a:t>
            </a:r>
            <a:r>
              <a:rPr lang="en-GB">
                <a:latin typeface="Arial" charset="0"/>
                <a:cs typeface="Arial" charset="0"/>
              </a:rPr>
              <a:t>elevator </a:t>
            </a:r>
            <a:r>
              <a:rPr lang="en-GB" altLang="ja-JP">
                <a:latin typeface="Arial" charset="0"/>
                <a:ea typeface="ＭＳ Ｐゴシック" pitchFamily="50" charset="-128"/>
                <a:cs typeface="Arial" charset="0"/>
              </a:rPr>
              <a:t>c</a:t>
            </a:r>
            <a:r>
              <a:rPr lang="en-GB">
                <a:latin typeface="Arial" charset="0"/>
                <a:cs typeface="Arial" charset="0"/>
              </a:rPr>
              <a:t>hart</a:t>
            </a:r>
            <a:endParaRPr lang="nl-NL"/>
          </a:p>
        </p:txBody>
      </p:sp>
      <p:graphicFrame>
        <p:nvGraphicFramePr>
          <p:cNvPr id="5" name="Chart 4"/>
          <p:cNvGraphicFramePr/>
          <p:nvPr/>
        </p:nvGraphicFramePr>
        <p:xfrm>
          <a:off x="493361" y="1943370"/>
          <a:ext cx="8266708" cy="3759003"/>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 Placeholder 12"/>
          <p:cNvSpPr>
            <a:spLocks/>
          </p:cNvSpPr>
          <p:nvPr>
            <p:custDataLst>
              <p:tags r:id="rId1"/>
            </p:custDataLst>
          </p:nvPr>
        </p:nvSpPr>
        <p:spPr bwMode="auto">
          <a:xfrm rot="16200000">
            <a:off x="217261" y="3566286"/>
            <a:ext cx="529283"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9" name="Text Placeholder 12"/>
          <p:cNvSpPr>
            <a:spLocks/>
          </p:cNvSpPr>
          <p:nvPr>
            <p:custDataLst>
              <p:tags r:id="rId2"/>
            </p:custDataLst>
          </p:nvPr>
        </p:nvSpPr>
        <p:spPr bwMode="auto">
          <a:xfrm>
            <a:off x="4519843" y="5646904"/>
            <a:ext cx="488569"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10" name="Rectangle 3"/>
          <p:cNvSpPr>
            <a:spLocks noChangeArrowheads="1"/>
          </p:cNvSpPr>
          <p:nvPr/>
        </p:nvSpPr>
        <p:spPr bwMode="auto">
          <a:xfrm>
            <a:off x="1731978" y="3083835"/>
            <a:ext cx="531934" cy="903766"/>
          </a:xfrm>
          <a:prstGeom prst="rect">
            <a:avLst/>
          </a:prstGeom>
          <a:noFill/>
          <a:ln w="12700" algn="ctr">
            <a:solidFill>
              <a:schemeClr val="accent1"/>
            </a:solidFill>
            <a:miter lim="800000"/>
            <a:headEnd/>
            <a:tailEnd/>
          </a:ln>
        </p:spPr>
        <p:txBody>
          <a:bodyPr wrap="none" tIns="91440" bIns="91440" anchor="ctr"/>
          <a:lstStyle/>
          <a:p>
            <a:pPr algn="ctr">
              <a:spcBef>
                <a:spcPct val="0"/>
              </a:spcBef>
            </a:pPr>
            <a:endParaRPr lang="en-GB">
              <a:solidFill>
                <a:schemeClr val="accent2"/>
              </a:solidFill>
            </a:endParaRPr>
          </a:p>
        </p:txBody>
      </p:sp>
      <p:sp>
        <p:nvSpPr>
          <p:cNvPr id="11" name="Rectangle 4"/>
          <p:cNvSpPr>
            <a:spLocks noChangeArrowheads="1"/>
          </p:cNvSpPr>
          <p:nvPr/>
        </p:nvSpPr>
        <p:spPr bwMode="auto">
          <a:xfrm>
            <a:off x="2833642" y="2265127"/>
            <a:ext cx="531935" cy="1909062"/>
          </a:xfrm>
          <a:prstGeom prst="rect">
            <a:avLst/>
          </a:prstGeom>
          <a:noFill/>
          <a:ln w="12700" algn="ctr">
            <a:solidFill>
              <a:schemeClr val="accent1"/>
            </a:solidFill>
            <a:miter lim="800000"/>
            <a:headEnd/>
            <a:tailEnd/>
          </a:ln>
        </p:spPr>
        <p:txBody>
          <a:bodyPr wrap="none" tIns="91440" bIns="91440" anchor="ctr"/>
          <a:lstStyle/>
          <a:p>
            <a:pPr algn="ctr">
              <a:spcBef>
                <a:spcPct val="0"/>
              </a:spcBef>
            </a:pPr>
            <a:endParaRPr lang="en-GB">
              <a:solidFill>
                <a:schemeClr val="accent2"/>
              </a:solidFill>
            </a:endParaRPr>
          </a:p>
        </p:txBody>
      </p:sp>
      <p:sp>
        <p:nvSpPr>
          <p:cNvPr id="12" name="Rectangle 5"/>
          <p:cNvSpPr>
            <a:spLocks noChangeArrowheads="1"/>
          </p:cNvSpPr>
          <p:nvPr/>
        </p:nvSpPr>
        <p:spPr bwMode="auto">
          <a:xfrm>
            <a:off x="3935306" y="2169434"/>
            <a:ext cx="531934" cy="2105244"/>
          </a:xfrm>
          <a:prstGeom prst="rect">
            <a:avLst/>
          </a:prstGeom>
          <a:noFill/>
          <a:ln w="12700" algn="ctr">
            <a:solidFill>
              <a:schemeClr val="accent1"/>
            </a:solidFill>
            <a:miter lim="800000"/>
            <a:headEnd/>
            <a:tailEnd/>
          </a:ln>
        </p:spPr>
        <p:txBody>
          <a:bodyPr wrap="none" tIns="91440" bIns="91440" anchor="ctr"/>
          <a:lstStyle/>
          <a:p>
            <a:pPr algn="ctr">
              <a:spcBef>
                <a:spcPct val="0"/>
              </a:spcBef>
            </a:pPr>
            <a:endParaRPr lang="en-GB">
              <a:solidFill>
                <a:schemeClr val="accent2"/>
              </a:solidFill>
            </a:endParaRPr>
          </a:p>
        </p:txBody>
      </p:sp>
      <p:sp>
        <p:nvSpPr>
          <p:cNvPr id="14" name="Rectangle 6"/>
          <p:cNvSpPr>
            <a:spLocks noChangeArrowheads="1"/>
          </p:cNvSpPr>
          <p:nvPr/>
        </p:nvSpPr>
        <p:spPr bwMode="auto">
          <a:xfrm>
            <a:off x="5028620" y="2977510"/>
            <a:ext cx="531934" cy="935665"/>
          </a:xfrm>
          <a:prstGeom prst="rect">
            <a:avLst/>
          </a:prstGeom>
          <a:noFill/>
          <a:ln w="12700" algn="ctr">
            <a:solidFill>
              <a:schemeClr val="accent1"/>
            </a:solidFill>
            <a:miter lim="800000"/>
            <a:headEnd/>
            <a:tailEnd/>
          </a:ln>
        </p:spPr>
        <p:txBody>
          <a:bodyPr wrap="none" tIns="91440" bIns="91440" anchor="ctr"/>
          <a:lstStyle/>
          <a:p>
            <a:pPr algn="ctr">
              <a:spcBef>
                <a:spcPct val="0"/>
              </a:spcBef>
            </a:pPr>
            <a:endParaRPr lang="en-GB">
              <a:solidFill>
                <a:schemeClr val="accent2"/>
              </a:solidFill>
            </a:endParaRPr>
          </a:p>
        </p:txBody>
      </p:sp>
      <p:sp>
        <p:nvSpPr>
          <p:cNvPr id="15" name="Rectangle 7"/>
          <p:cNvSpPr>
            <a:spLocks noChangeArrowheads="1"/>
          </p:cNvSpPr>
          <p:nvPr/>
        </p:nvSpPr>
        <p:spPr bwMode="auto">
          <a:xfrm>
            <a:off x="6131474" y="2626635"/>
            <a:ext cx="531935" cy="1371600"/>
          </a:xfrm>
          <a:prstGeom prst="rect">
            <a:avLst/>
          </a:prstGeom>
          <a:noFill/>
          <a:ln w="12700" algn="ctr">
            <a:solidFill>
              <a:schemeClr val="accent1"/>
            </a:solidFill>
            <a:miter lim="800000"/>
            <a:headEnd/>
            <a:tailEnd/>
          </a:ln>
        </p:spPr>
        <p:txBody>
          <a:bodyPr wrap="none" tIns="91440" bIns="91440" anchor="ctr"/>
          <a:lstStyle/>
          <a:p>
            <a:pPr algn="ctr">
              <a:spcBef>
                <a:spcPct val="0"/>
              </a:spcBef>
            </a:pPr>
            <a:endParaRPr lang="en-GB">
              <a:solidFill>
                <a:schemeClr val="accent2"/>
              </a:solidFill>
            </a:endParaRPr>
          </a:p>
        </p:txBody>
      </p:sp>
      <p:sp>
        <p:nvSpPr>
          <p:cNvPr id="16" name="Rectangle 8"/>
          <p:cNvSpPr>
            <a:spLocks noChangeArrowheads="1"/>
          </p:cNvSpPr>
          <p:nvPr/>
        </p:nvSpPr>
        <p:spPr bwMode="auto">
          <a:xfrm>
            <a:off x="7223816" y="2573474"/>
            <a:ext cx="531935" cy="1073887"/>
          </a:xfrm>
          <a:prstGeom prst="rect">
            <a:avLst/>
          </a:prstGeom>
          <a:noFill/>
          <a:ln w="12700" algn="ctr">
            <a:solidFill>
              <a:schemeClr val="accent1"/>
            </a:solidFill>
            <a:miter lim="800000"/>
            <a:headEnd/>
            <a:tailEnd/>
          </a:ln>
        </p:spPr>
        <p:txBody>
          <a:bodyPr wrap="none" tIns="91440" bIns="91440" anchor="ctr"/>
          <a:lstStyle/>
          <a:p>
            <a:pPr algn="ctr">
              <a:spcBef>
                <a:spcPct val="0"/>
              </a:spcBef>
            </a:pPr>
            <a:endParaRPr lang="en-GB">
              <a:solidFill>
                <a:schemeClr val="accent2"/>
              </a:solidFill>
            </a:endParaRPr>
          </a:p>
        </p:txBody>
      </p:sp>
      <p:sp>
        <p:nvSpPr>
          <p:cNvPr id="19"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1" name="Text Placeholder 12"/>
          <p:cNvSpPr>
            <a:spLocks/>
          </p:cNvSpPr>
          <p:nvPr>
            <p:custDataLst>
              <p:tags r:id="rId3"/>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7" name="Rectangle 16"/>
          <p:cNvSpPr>
            <a:spLocks noChangeArrowheads="1"/>
          </p:cNvSpPr>
          <p:nvPr/>
        </p:nvSpPr>
        <p:spPr bwMode="gray">
          <a:xfrm>
            <a:off x="3482251"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GB">
                <a:latin typeface="Arial" charset="0"/>
                <a:cs typeface="Arial" charset="0"/>
              </a:rPr>
              <a:t>Other graphs </a:t>
            </a:r>
            <a:r>
              <a:rPr lang="en-US"/>
              <a:t>—</a:t>
            </a:r>
            <a:r>
              <a:rPr lang="en-GB" smtClean="0">
                <a:latin typeface="Arial" charset="0"/>
                <a:cs typeface="Arial" charset="0"/>
              </a:rPr>
              <a:t> </a:t>
            </a:r>
            <a:r>
              <a:rPr lang="en-GB">
                <a:latin typeface="Arial" charset="0"/>
                <a:cs typeface="Arial" charset="0"/>
              </a:rPr>
              <a:t>scatter chart</a:t>
            </a:r>
            <a:endParaRPr lang="nl-NL"/>
          </a:p>
        </p:txBody>
      </p:sp>
      <p:graphicFrame>
        <p:nvGraphicFramePr>
          <p:cNvPr id="5" name="Chart 4"/>
          <p:cNvGraphicFramePr/>
          <p:nvPr/>
        </p:nvGraphicFramePr>
        <p:xfrm>
          <a:off x="493361" y="1943370"/>
          <a:ext cx="8266708" cy="3759003"/>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 Placeholder 12"/>
          <p:cNvSpPr>
            <a:spLocks/>
          </p:cNvSpPr>
          <p:nvPr>
            <p:custDataLst>
              <p:tags r:id="rId1"/>
            </p:custDataLst>
          </p:nvPr>
        </p:nvSpPr>
        <p:spPr bwMode="auto">
          <a:xfrm rot="16200000">
            <a:off x="217261" y="3566286"/>
            <a:ext cx="529283"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9" name="Text Placeholder 12"/>
          <p:cNvSpPr>
            <a:spLocks/>
          </p:cNvSpPr>
          <p:nvPr>
            <p:custDataLst>
              <p:tags r:id="rId2"/>
            </p:custDataLst>
          </p:nvPr>
        </p:nvSpPr>
        <p:spPr bwMode="auto">
          <a:xfrm>
            <a:off x="4519843" y="5646904"/>
            <a:ext cx="488569"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1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3" name="Text Placeholder 12"/>
          <p:cNvSpPr>
            <a:spLocks/>
          </p:cNvSpPr>
          <p:nvPr>
            <p:custDataLst>
              <p:tags r:id="rId3"/>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0" name="Rectangle 9"/>
          <p:cNvSpPr>
            <a:spLocks noChangeArrowheads="1"/>
          </p:cNvSpPr>
          <p:nvPr/>
        </p:nvSpPr>
        <p:spPr bwMode="gray">
          <a:xfrm>
            <a:off x="3482251"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GB">
                <a:latin typeface="Arial" charset="0"/>
                <a:cs typeface="Arial" charset="0"/>
              </a:rPr>
              <a:t>Other graphs </a:t>
            </a:r>
            <a:r>
              <a:rPr lang="en-US"/>
              <a:t>—</a:t>
            </a:r>
            <a:r>
              <a:rPr lang="en-GB" smtClean="0">
                <a:latin typeface="Arial" charset="0"/>
                <a:cs typeface="Arial" charset="0"/>
              </a:rPr>
              <a:t> </a:t>
            </a:r>
            <a:r>
              <a:rPr lang="en-GB">
                <a:latin typeface="Arial" charset="0"/>
                <a:cs typeface="Arial" charset="0"/>
              </a:rPr>
              <a:t>bubble chart</a:t>
            </a:r>
            <a:endParaRPr lang="nl-NL"/>
          </a:p>
        </p:txBody>
      </p:sp>
      <p:graphicFrame>
        <p:nvGraphicFramePr>
          <p:cNvPr id="5" name="Chart 4"/>
          <p:cNvGraphicFramePr/>
          <p:nvPr/>
        </p:nvGraphicFramePr>
        <p:xfrm>
          <a:off x="493361" y="1943370"/>
          <a:ext cx="8266708" cy="3759003"/>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 Placeholder 12"/>
          <p:cNvSpPr>
            <a:spLocks/>
          </p:cNvSpPr>
          <p:nvPr>
            <p:custDataLst>
              <p:tags r:id="rId1"/>
            </p:custDataLst>
          </p:nvPr>
        </p:nvSpPr>
        <p:spPr bwMode="auto">
          <a:xfrm rot="16200000">
            <a:off x="217261" y="3566286"/>
            <a:ext cx="529283"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9" name="Text Placeholder 12"/>
          <p:cNvSpPr>
            <a:spLocks/>
          </p:cNvSpPr>
          <p:nvPr>
            <p:custDataLst>
              <p:tags r:id="rId2"/>
            </p:custDataLst>
          </p:nvPr>
        </p:nvSpPr>
        <p:spPr bwMode="auto">
          <a:xfrm>
            <a:off x="4519843" y="5646904"/>
            <a:ext cx="488569"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Units</a:t>
            </a:r>
          </a:p>
        </p:txBody>
      </p:sp>
      <p:sp>
        <p:nvSpPr>
          <p:cNvPr id="11"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13" name="Text Placeholder 12"/>
          <p:cNvSpPr>
            <a:spLocks/>
          </p:cNvSpPr>
          <p:nvPr>
            <p:custDataLst>
              <p:tags r:id="rId3"/>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0" name="Rectangle 9"/>
          <p:cNvSpPr>
            <a:spLocks noChangeArrowheads="1"/>
          </p:cNvSpPr>
          <p:nvPr/>
        </p:nvSpPr>
        <p:spPr bwMode="gray">
          <a:xfrm>
            <a:off x="3482251"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38"/>
            <a:ext cx="8330184" cy="333425"/>
          </a:xfrm>
        </p:spPr>
        <p:txBody>
          <a:bodyPr/>
          <a:lstStyle/>
          <a:p>
            <a:r>
              <a:rPr lang="en-GB">
                <a:latin typeface="Arial" charset="0"/>
                <a:cs typeface="Arial" charset="0"/>
              </a:rPr>
              <a:t>Other graphs </a:t>
            </a:r>
            <a:r>
              <a:rPr lang="en-US"/>
              <a:t>—</a:t>
            </a:r>
            <a:r>
              <a:rPr lang="en-GB" smtClean="0">
                <a:latin typeface="Arial" charset="0"/>
                <a:cs typeface="Arial" charset="0"/>
              </a:rPr>
              <a:t> </a:t>
            </a:r>
            <a:r>
              <a:rPr lang="en-GB">
                <a:latin typeface="Arial" charset="0"/>
                <a:cs typeface="Arial" charset="0"/>
              </a:rPr>
              <a:t>bubble chart</a:t>
            </a:r>
            <a:endParaRPr lang="nl-NL"/>
          </a:p>
        </p:txBody>
      </p:sp>
      <p:graphicFrame>
        <p:nvGraphicFramePr>
          <p:cNvPr id="5" name="Chart 4"/>
          <p:cNvGraphicFramePr/>
          <p:nvPr/>
        </p:nvGraphicFramePr>
        <p:xfrm>
          <a:off x="677212" y="2072760"/>
          <a:ext cx="8082857" cy="3617851"/>
        </p:xfrm>
        <a:graphic>
          <a:graphicData uri="http://schemas.openxmlformats.org/drawingml/2006/chart">
            <c:chart xmlns:c="http://schemas.openxmlformats.org/drawingml/2006/chart" xmlns:r="http://schemas.openxmlformats.org/officeDocument/2006/relationships" r:id="rId9"/>
          </a:graphicData>
        </a:graphic>
      </p:graphicFrame>
      <p:sp>
        <p:nvSpPr>
          <p:cNvPr id="8" name="Text Placeholder 12"/>
          <p:cNvSpPr>
            <a:spLocks/>
          </p:cNvSpPr>
          <p:nvPr>
            <p:custDataLst>
              <p:tags r:id="rId1"/>
            </p:custDataLst>
          </p:nvPr>
        </p:nvSpPr>
        <p:spPr bwMode="auto">
          <a:xfrm rot="16200000">
            <a:off x="-126259" y="3692412"/>
            <a:ext cx="1216323"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Benefits</a:t>
            </a:r>
          </a:p>
        </p:txBody>
      </p:sp>
      <p:sp>
        <p:nvSpPr>
          <p:cNvPr id="9" name="Text Placeholder 12"/>
          <p:cNvSpPr>
            <a:spLocks/>
          </p:cNvSpPr>
          <p:nvPr>
            <p:custDataLst>
              <p:tags r:id="rId2"/>
            </p:custDataLst>
          </p:nvPr>
        </p:nvSpPr>
        <p:spPr bwMode="auto">
          <a:xfrm>
            <a:off x="3601976" y="5776294"/>
            <a:ext cx="2247559" cy="215444"/>
          </a:xfrm>
          <a:prstGeom prst="rect">
            <a:avLst/>
          </a:prstGeom>
          <a:noFill/>
          <a:ln w="9525">
            <a:noFill/>
            <a:miter lim="800000"/>
            <a:headEnd/>
            <a:tailEnd/>
          </a:ln>
        </p:spPr>
        <p:txBody>
          <a:bodyPr wrap="square" lIns="0" tIns="0" rIns="0" bIns="0">
            <a:spAutoFit/>
          </a:bodyPr>
          <a:lstStyle/>
          <a:p>
            <a:pPr algn="ctr" defTabSz="1019175">
              <a:spcAft>
                <a:spcPts val="300"/>
              </a:spcAft>
            </a:pPr>
            <a:r>
              <a:rPr lang="en-US" sz="1400" b="1">
                <a:solidFill>
                  <a:schemeClr val="tx2"/>
                </a:solidFill>
              </a:rPr>
              <a:t>Ease of implementation</a:t>
            </a:r>
          </a:p>
        </p:txBody>
      </p:sp>
      <p:sp>
        <p:nvSpPr>
          <p:cNvPr id="10" name="Line 5"/>
          <p:cNvSpPr>
            <a:spLocks noChangeShapeType="1"/>
          </p:cNvSpPr>
          <p:nvPr/>
        </p:nvSpPr>
        <p:spPr bwMode="auto">
          <a:xfrm>
            <a:off x="4572000" y="2214908"/>
            <a:ext cx="2722685" cy="3027362"/>
          </a:xfrm>
          <a:prstGeom prst="line">
            <a:avLst/>
          </a:prstGeom>
          <a:noFill/>
          <a:ln w="12700">
            <a:solidFill>
              <a:schemeClr val="accent1"/>
            </a:solidFill>
            <a:prstDash val="dash"/>
            <a:round/>
            <a:headEnd type="none" w="sm" len="sm"/>
            <a:tailEnd type="none" w="med" len="lg"/>
          </a:ln>
        </p:spPr>
        <p:txBody>
          <a:bodyPr/>
          <a:lstStyle/>
          <a:p>
            <a:endParaRPr lang="en-GB" sz="1200">
              <a:solidFill>
                <a:schemeClr val="tx2"/>
              </a:solidFill>
            </a:endParaRPr>
          </a:p>
        </p:txBody>
      </p:sp>
      <p:sp>
        <p:nvSpPr>
          <p:cNvPr id="12" name="Text Box 7"/>
          <p:cNvSpPr txBox="1">
            <a:spLocks noChangeArrowheads="1"/>
          </p:cNvSpPr>
          <p:nvPr/>
        </p:nvSpPr>
        <p:spPr bwMode="auto">
          <a:xfrm>
            <a:off x="6239608" y="2141147"/>
            <a:ext cx="707951" cy="276999"/>
          </a:xfrm>
          <a:prstGeom prst="rect">
            <a:avLst/>
          </a:prstGeom>
          <a:noFill/>
          <a:ln w="9525">
            <a:noFill/>
            <a:miter lim="800000"/>
            <a:headEnd type="none" w="sm" len="sm"/>
            <a:tailEnd type="none" w="med" len="lg"/>
          </a:ln>
        </p:spPr>
        <p:txBody>
          <a:bodyPr wrap="none">
            <a:spAutoFit/>
          </a:bodyPr>
          <a:lstStyle/>
          <a:p>
            <a:pPr>
              <a:spcBef>
                <a:spcPct val="0"/>
              </a:spcBef>
            </a:pPr>
            <a:r>
              <a:rPr lang="en-GB" altLang="ja-JP" sz="1200" b="1">
                <a:solidFill>
                  <a:schemeClr val="tx2"/>
                </a:solidFill>
                <a:ea typeface="ＭＳ Ｐゴシック" pitchFamily="50" charset="-128"/>
              </a:rPr>
              <a:t>Wave 1</a:t>
            </a:r>
          </a:p>
        </p:txBody>
      </p:sp>
      <p:sp>
        <p:nvSpPr>
          <p:cNvPr id="14" name="Text Box 8"/>
          <p:cNvSpPr txBox="1">
            <a:spLocks noChangeArrowheads="1"/>
          </p:cNvSpPr>
          <p:nvPr/>
        </p:nvSpPr>
        <p:spPr bwMode="auto">
          <a:xfrm>
            <a:off x="2981138" y="2141147"/>
            <a:ext cx="707951" cy="276999"/>
          </a:xfrm>
          <a:prstGeom prst="rect">
            <a:avLst/>
          </a:prstGeom>
          <a:noFill/>
          <a:ln w="9525">
            <a:noFill/>
            <a:miter lim="800000"/>
            <a:headEnd type="none" w="sm" len="sm"/>
            <a:tailEnd type="none" w="med" len="lg"/>
          </a:ln>
        </p:spPr>
        <p:txBody>
          <a:bodyPr wrap="none">
            <a:spAutoFit/>
          </a:bodyPr>
          <a:lstStyle/>
          <a:p>
            <a:pPr>
              <a:spcBef>
                <a:spcPct val="0"/>
              </a:spcBef>
            </a:pPr>
            <a:r>
              <a:rPr lang="en-GB" altLang="ja-JP" sz="1200" b="1">
                <a:solidFill>
                  <a:schemeClr val="tx2"/>
                </a:solidFill>
                <a:ea typeface="ＭＳ Ｐゴシック" pitchFamily="50" charset="-128"/>
              </a:rPr>
              <a:t>Wave 2</a:t>
            </a:r>
          </a:p>
        </p:txBody>
      </p:sp>
      <p:sp>
        <p:nvSpPr>
          <p:cNvPr id="15" name="Text Box 9"/>
          <p:cNvSpPr txBox="1">
            <a:spLocks noChangeArrowheads="1"/>
          </p:cNvSpPr>
          <p:nvPr/>
        </p:nvSpPr>
        <p:spPr bwMode="auto">
          <a:xfrm>
            <a:off x="1060701" y="2141147"/>
            <a:ext cx="707951" cy="276999"/>
          </a:xfrm>
          <a:prstGeom prst="rect">
            <a:avLst/>
          </a:prstGeom>
          <a:noFill/>
          <a:ln w="9525">
            <a:noFill/>
            <a:miter lim="800000"/>
            <a:headEnd type="none" w="sm" len="sm"/>
            <a:tailEnd type="none" w="med" len="lg"/>
          </a:ln>
        </p:spPr>
        <p:txBody>
          <a:bodyPr wrap="none">
            <a:spAutoFit/>
          </a:bodyPr>
          <a:lstStyle/>
          <a:p>
            <a:pPr>
              <a:spcBef>
                <a:spcPct val="0"/>
              </a:spcBef>
            </a:pPr>
            <a:r>
              <a:rPr lang="en-GB" altLang="ja-JP" sz="1200" b="1">
                <a:solidFill>
                  <a:schemeClr val="tx2"/>
                </a:solidFill>
                <a:ea typeface="ＭＳ Ｐゴシック" pitchFamily="50" charset="-128"/>
              </a:rPr>
              <a:t>Wave 3</a:t>
            </a:r>
          </a:p>
        </p:txBody>
      </p:sp>
      <p:sp>
        <p:nvSpPr>
          <p:cNvPr id="16" name="Line 5"/>
          <p:cNvSpPr>
            <a:spLocks noChangeShapeType="1"/>
          </p:cNvSpPr>
          <p:nvPr/>
        </p:nvSpPr>
        <p:spPr bwMode="auto">
          <a:xfrm>
            <a:off x="1849316" y="2214908"/>
            <a:ext cx="2722685" cy="3027362"/>
          </a:xfrm>
          <a:prstGeom prst="line">
            <a:avLst/>
          </a:prstGeom>
          <a:noFill/>
          <a:ln w="12700">
            <a:solidFill>
              <a:schemeClr val="accent1"/>
            </a:solidFill>
            <a:prstDash val="dash"/>
            <a:round/>
            <a:headEnd type="none" w="sm" len="sm"/>
            <a:tailEnd type="none" w="med" len="lg"/>
          </a:ln>
        </p:spPr>
        <p:txBody>
          <a:bodyPr/>
          <a:lstStyle/>
          <a:p>
            <a:endParaRPr lang="en-GB" sz="1200">
              <a:solidFill>
                <a:schemeClr val="tx2"/>
              </a:solidFill>
            </a:endParaRPr>
          </a:p>
        </p:txBody>
      </p:sp>
      <p:sp>
        <p:nvSpPr>
          <p:cNvPr id="17" name="Text Placeholder 12"/>
          <p:cNvSpPr>
            <a:spLocks/>
          </p:cNvSpPr>
          <p:nvPr>
            <p:custDataLst>
              <p:tags r:id="rId3"/>
            </p:custDataLst>
          </p:nvPr>
        </p:nvSpPr>
        <p:spPr bwMode="auto">
          <a:xfrm>
            <a:off x="395783" y="2096809"/>
            <a:ext cx="314189" cy="184666"/>
          </a:xfrm>
          <a:prstGeom prst="rect">
            <a:avLst/>
          </a:prstGeom>
          <a:noFill/>
          <a:ln w="9525">
            <a:noFill/>
            <a:miter lim="800000"/>
            <a:headEnd/>
            <a:tailEnd/>
          </a:ln>
        </p:spPr>
        <p:txBody>
          <a:bodyPr wrap="none" lIns="0" tIns="0" rIns="0" bIns="0">
            <a:spAutoFit/>
          </a:bodyPr>
          <a:lstStyle/>
          <a:p>
            <a:pPr defTabSz="1019175">
              <a:spcAft>
                <a:spcPts val="300"/>
              </a:spcAft>
            </a:pPr>
            <a:r>
              <a:rPr lang="en-US" sz="1200">
                <a:solidFill>
                  <a:schemeClr val="tx2"/>
                </a:solidFill>
              </a:rPr>
              <a:t>High</a:t>
            </a:r>
          </a:p>
        </p:txBody>
      </p:sp>
      <p:sp>
        <p:nvSpPr>
          <p:cNvPr id="19" name="Text Placeholder 12"/>
          <p:cNvSpPr>
            <a:spLocks/>
          </p:cNvSpPr>
          <p:nvPr>
            <p:custDataLst>
              <p:tags r:id="rId4"/>
            </p:custDataLst>
          </p:nvPr>
        </p:nvSpPr>
        <p:spPr bwMode="auto">
          <a:xfrm>
            <a:off x="414278" y="5403536"/>
            <a:ext cx="280526" cy="184666"/>
          </a:xfrm>
          <a:prstGeom prst="rect">
            <a:avLst/>
          </a:prstGeom>
          <a:noFill/>
          <a:ln w="9525">
            <a:noFill/>
            <a:miter lim="800000"/>
            <a:headEnd/>
            <a:tailEnd/>
          </a:ln>
        </p:spPr>
        <p:txBody>
          <a:bodyPr wrap="none" lIns="0" tIns="0" rIns="0" bIns="0">
            <a:spAutoFit/>
          </a:bodyPr>
          <a:lstStyle/>
          <a:p>
            <a:pPr defTabSz="1019175">
              <a:spcAft>
                <a:spcPts val="300"/>
              </a:spcAft>
            </a:pPr>
            <a:r>
              <a:rPr lang="en-US" sz="1200">
                <a:solidFill>
                  <a:schemeClr val="tx2"/>
                </a:solidFill>
              </a:rPr>
              <a:t>Low</a:t>
            </a:r>
          </a:p>
        </p:txBody>
      </p:sp>
      <p:sp>
        <p:nvSpPr>
          <p:cNvPr id="20" name="Text Placeholder 12"/>
          <p:cNvSpPr>
            <a:spLocks/>
          </p:cNvSpPr>
          <p:nvPr>
            <p:custDataLst>
              <p:tags r:id="rId5"/>
            </p:custDataLst>
          </p:nvPr>
        </p:nvSpPr>
        <p:spPr bwMode="auto">
          <a:xfrm>
            <a:off x="728117" y="5651633"/>
            <a:ext cx="280526" cy="184666"/>
          </a:xfrm>
          <a:prstGeom prst="rect">
            <a:avLst/>
          </a:prstGeom>
          <a:noFill/>
          <a:ln w="9525">
            <a:noFill/>
            <a:miter lim="800000"/>
            <a:headEnd/>
            <a:tailEnd/>
          </a:ln>
        </p:spPr>
        <p:txBody>
          <a:bodyPr wrap="none" lIns="0" tIns="0" rIns="0" bIns="0">
            <a:spAutoFit/>
          </a:bodyPr>
          <a:lstStyle/>
          <a:p>
            <a:pPr defTabSz="1019175">
              <a:spcAft>
                <a:spcPts val="300"/>
              </a:spcAft>
            </a:pPr>
            <a:r>
              <a:rPr lang="en-US" sz="1200">
                <a:solidFill>
                  <a:schemeClr val="tx2"/>
                </a:solidFill>
              </a:rPr>
              <a:t>Low</a:t>
            </a:r>
          </a:p>
        </p:txBody>
      </p:sp>
      <p:sp>
        <p:nvSpPr>
          <p:cNvPr id="21" name="Text Placeholder 12"/>
          <p:cNvSpPr>
            <a:spLocks/>
          </p:cNvSpPr>
          <p:nvPr>
            <p:custDataLst>
              <p:tags r:id="rId6"/>
            </p:custDataLst>
          </p:nvPr>
        </p:nvSpPr>
        <p:spPr bwMode="auto">
          <a:xfrm>
            <a:off x="8393105" y="5651633"/>
            <a:ext cx="314189" cy="184666"/>
          </a:xfrm>
          <a:prstGeom prst="rect">
            <a:avLst/>
          </a:prstGeom>
          <a:noFill/>
          <a:ln w="9525">
            <a:noFill/>
            <a:miter lim="800000"/>
            <a:headEnd/>
            <a:tailEnd/>
          </a:ln>
        </p:spPr>
        <p:txBody>
          <a:bodyPr wrap="none" lIns="0" tIns="0" rIns="0" bIns="0">
            <a:spAutoFit/>
          </a:bodyPr>
          <a:lstStyle/>
          <a:p>
            <a:pPr defTabSz="1019175">
              <a:spcAft>
                <a:spcPts val="300"/>
              </a:spcAft>
            </a:pPr>
            <a:r>
              <a:rPr lang="en-US" sz="1200">
                <a:solidFill>
                  <a:schemeClr val="tx2"/>
                </a:solidFill>
              </a:rPr>
              <a:t>High</a:t>
            </a:r>
          </a:p>
        </p:txBody>
      </p:sp>
      <p:sp>
        <p:nvSpPr>
          <p:cNvPr id="24"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26" name="Text Placeholder 12"/>
          <p:cNvSpPr>
            <a:spLocks/>
          </p:cNvSpPr>
          <p:nvPr>
            <p:custDataLst>
              <p:tags r:id="rId7"/>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18" name="Rectangle 17"/>
          <p:cNvSpPr>
            <a:spLocks noChangeArrowheads="1"/>
          </p:cNvSpPr>
          <p:nvPr/>
        </p:nvSpPr>
        <p:spPr bwMode="gray">
          <a:xfrm>
            <a:off x="3482251"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Tree>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8673" name="Title 1"/>
          <p:cNvSpPr>
            <a:spLocks noGrp="1"/>
          </p:cNvSpPr>
          <p:nvPr>
            <p:ph type="title"/>
          </p:nvPr>
        </p:nvSpPr>
        <p:spPr>
          <a:xfrm>
            <a:off x="414338" y="446038"/>
            <a:ext cx="8330184" cy="333425"/>
          </a:xfrm>
        </p:spPr>
        <p:txBody>
          <a:bodyPr/>
          <a:lstStyle/>
          <a:p>
            <a:r>
              <a:rPr lang="en-GB" dirty="0"/>
              <a:t>Other graphs </a:t>
            </a:r>
            <a:r>
              <a:rPr lang="en-US" dirty="0"/>
              <a:t>—</a:t>
            </a:r>
            <a:r>
              <a:rPr lang="en-GB" dirty="0" smtClean="0"/>
              <a:t> </a:t>
            </a:r>
            <a:r>
              <a:rPr lang="en-GB" altLang="ja-JP" dirty="0"/>
              <a:t>driver tree </a:t>
            </a:r>
            <a:r>
              <a:rPr lang="en-GB" altLang="ja-JP" dirty="0" smtClean="0"/>
              <a:t>chart/DuPont </a:t>
            </a:r>
            <a:r>
              <a:rPr lang="en-GB" altLang="ja-JP" dirty="0"/>
              <a:t>chart with bars</a:t>
            </a:r>
            <a:endParaRPr lang="nl-NL" dirty="0"/>
          </a:p>
        </p:txBody>
      </p:sp>
      <p:graphicFrame>
        <p:nvGraphicFramePr>
          <p:cNvPr id="668675" name="Chart 4"/>
          <p:cNvGraphicFramePr>
            <a:graphicFrameLocks/>
          </p:cNvGraphicFramePr>
          <p:nvPr/>
        </p:nvGraphicFramePr>
        <p:xfrm>
          <a:off x="134021" y="3848425"/>
          <a:ext cx="2571750" cy="1450975"/>
        </p:xfrm>
        <a:graphic>
          <a:graphicData uri="http://schemas.openxmlformats.org/presentationml/2006/ole">
            <mc:AlternateContent xmlns:mc="http://schemas.openxmlformats.org/markup-compatibility/2006">
              <mc:Choice xmlns:v="urn:schemas-microsoft-com:vml" Requires="v">
                <p:oleObj spid="_x0000_s271367" r:id="rId5" imgW="2572735" imgH="1450974" progId="Excel.Sheet.8">
                  <p:embed/>
                </p:oleObj>
              </mc:Choice>
              <mc:Fallback>
                <p:oleObj r:id="rId5" imgW="2572735" imgH="1450974" progId="Excel.Sheet.8">
                  <p:embed/>
                  <p:pic>
                    <p:nvPicPr>
                      <p:cNvPr id="0" name="Chart 4"/>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4021" y="3848425"/>
                        <a:ext cx="2571750" cy="1450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68676" name="Chart 5"/>
          <p:cNvGraphicFramePr>
            <a:graphicFrameLocks/>
          </p:cNvGraphicFramePr>
          <p:nvPr/>
        </p:nvGraphicFramePr>
        <p:xfrm>
          <a:off x="3277596" y="2797346"/>
          <a:ext cx="2571750" cy="1450975"/>
        </p:xfrm>
        <a:graphic>
          <a:graphicData uri="http://schemas.openxmlformats.org/presentationml/2006/ole">
            <mc:AlternateContent xmlns:mc="http://schemas.openxmlformats.org/markup-compatibility/2006">
              <mc:Choice xmlns:v="urn:schemas-microsoft-com:vml" Requires="v">
                <p:oleObj spid="_x0000_s271368" r:id="rId8" imgW="2572735" imgH="1450974" progId="Excel.Sheet.8">
                  <p:embed/>
                </p:oleObj>
              </mc:Choice>
              <mc:Fallback>
                <p:oleObj r:id="rId8" imgW="2572735" imgH="1450974" progId="Excel.Sheet.8">
                  <p:embed/>
                  <p:pic>
                    <p:nvPicPr>
                      <p:cNvPr id="0" name="Chart 5"/>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77596" y="2797346"/>
                        <a:ext cx="2571750" cy="1450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68677" name="Chart 6"/>
          <p:cNvGraphicFramePr>
            <a:graphicFrameLocks/>
          </p:cNvGraphicFramePr>
          <p:nvPr/>
        </p:nvGraphicFramePr>
        <p:xfrm>
          <a:off x="3217003" y="4846484"/>
          <a:ext cx="2571750" cy="1450975"/>
        </p:xfrm>
        <a:graphic>
          <a:graphicData uri="http://schemas.openxmlformats.org/presentationml/2006/ole">
            <mc:AlternateContent xmlns:mc="http://schemas.openxmlformats.org/markup-compatibility/2006">
              <mc:Choice xmlns:v="urn:schemas-microsoft-com:vml" Requires="v">
                <p:oleObj spid="_x0000_s271369" r:id="rId11" imgW="2572735" imgH="1450974" progId="Excel.Sheet.8">
                  <p:embed/>
                </p:oleObj>
              </mc:Choice>
              <mc:Fallback>
                <p:oleObj r:id="rId11" imgW="2572735" imgH="1450974" progId="Excel.Sheet.8">
                  <p:embed/>
                  <p:pic>
                    <p:nvPicPr>
                      <p:cNvPr id="0" name="Chart 6"/>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217003" y="4846484"/>
                        <a:ext cx="2571750" cy="1450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68678" name="Chart 7"/>
          <p:cNvGraphicFramePr>
            <a:graphicFrameLocks/>
          </p:cNvGraphicFramePr>
          <p:nvPr/>
        </p:nvGraphicFramePr>
        <p:xfrm>
          <a:off x="6144951" y="3791000"/>
          <a:ext cx="2571750" cy="1449388"/>
        </p:xfrm>
        <a:graphic>
          <a:graphicData uri="http://schemas.openxmlformats.org/presentationml/2006/ole">
            <mc:AlternateContent xmlns:mc="http://schemas.openxmlformats.org/markup-compatibility/2006">
              <mc:Choice xmlns:v="urn:schemas-microsoft-com:vml" Requires="v">
                <p:oleObj spid="_x0000_s271370" r:id="rId14" imgW="2572735" imgH="1450974" progId="Excel.Sheet.8">
                  <p:embed/>
                </p:oleObj>
              </mc:Choice>
              <mc:Fallback>
                <p:oleObj r:id="rId14" imgW="2572735" imgH="1450974" progId="Excel.Sheet.8">
                  <p:embed/>
                  <p:pic>
                    <p:nvPicPr>
                      <p:cNvPr id="0" name="Chart 7"/>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144951" y="3791000"/>
                        <a:ext cx="2571750" cy="14493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68679" name="Chart 8"/>
          <p:cNvGraphicFramePr>
            <a:graphicFrameLocks/>
          </p:cNvGraphicFramePr>
          <p:nvPr/>
        </p:nvGraphicFramePr>
        <p:xfrm>
          <a:off x="6127693" y="1797585"/>
          <a:ext cx="2571750" cy="1449388"/>
        </p:xfrm>
        <a:graphic>
          <a:graphicData uri="http://schemas.openxmlformats.org/presentationml/2006/ole">
            <mc:AlternateContent xmlns:mc="http://schemas.openxmlformats.org/markup-compatibility/2006">
              <mc:Choice xmlns:v="urn:schemas-microsoft-com:vml" Requires="v">
                <p:oleObj spid="_x0000_s271371" r:id="rId17" imgW="2572735" imgH="1450974" progId="Excel.Sheet.8">
                  <p:embed/>
                </p:oleObj>
              </mc:Choice>
              <mc:Fallback>
                <p:oleObj r:id="rId17" imgW="2572735" imgH="1450974" progId="Excel.Sheet.8">
                  <p:embed/>
                  <p:pic>
                    <p:nvPicPr>
                      <p:cNvPr id="0" name="Chart 8"/>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127693" y="1797585"/>
                        <a:ext cx="2571750" cy="14493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2"/>
          <p:cNvGrpSpPr>
            <a:grpSpLocks/>
          </p:cNvGrpSpPr>
          <p:nvPr/>
        </p:nvGrpSpPr>
        <p:grpSpPr bwMode="auto">
          <a:xfrm>
            <a:off x="3358558" y="2440466"/>
            <a:ext cx="2560638" cy="1831188"/>
            <a:chOff x="300" y="872"/>
            <a:chExt cx="1847" cy="1688"/>
          </a:xfrm>
        </p:grpSpPr>
        <p:sp>
          <p:nvSpPr>
            <p:cNvPr id="668706" name="Text Box 10"/>
            <p:cNvSpPr txBox="1">
              <a:spLocks noChangeArrowheads="1"/>
            </p:cNvSpPr>
            <p:nvPr/>
          </p:nvSpPr>
          <p:spPr bwMode="auto">
            <a:xfrm>
              <a:off x="300" y="872"/>
              <a:ext cx="1847" cy="243"/>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Text</a:t>
              </a:r>
            </a:p>
          </p:txBody>
        </p:sp>
        <p:sp>
          <p:nvSpPr>
            <p:cNvPr id="17" name="Rectangle 16"/>
            <p:cNvSpPr>
              <a:spLocks noChangeArrowheads="1"/>
            </p:cNvSpPr>
            <p:nvPr/>
          </p:nvSpPr>
          <p:spPr bwMode="auto">
            <a:xfrm>
              <a:off x="300" y="1115"/>
              <a:ext cx="1847" cy="1445"/>
            </a:xfrm>
            <a:prstGeom prst="rect">
              <a:avLst/>
            </a:prstGeom>
            <a:noFill/>
            <a:ln w="12700" algn="ctr">
              <a:solidFill>
                <a:schemeClr val="accent3"/>
              </a:solidFill>
              <a:miter lim="800000"/>
              <a:headEnd/>
              <a:tailEnd/>
            </a:ln>
          </p:spPr>
          <p:txBody>
            <a:bodyPr lIns="40118" tIns="40118" rIns="40118" bIns="40118"/>
            <a:lstStyle/>
            <a:p>
              <a:pPr marL="359623" indent="-359623" defTabSz="957998">
                <a:lnSpc>
                  <a:spcPct val="106000"/>
                </a:lnSpc>
                <a:spcBef>
                  <a:spcPts val="1344"/>
                </a:spcBef>
                <a:spcAft>
                  <a:spcPts val="0"/>
                </a:spcAft>
                <a:defRPr/>
              </a:pPr>
              <a:endParaRPr lang="nl-NL" sz="1400">
                <a:solidFill>
                  <a:srgbClr val="002776"/>
                </a:solidFill>
                <a:latin typeface="Arial"/>
                <a:cs typeface="+mn-cs"/>
              </a:endParaRPr>
            </a:p>
          </p:txBody>
        </p:sp>
      </p:grpSp>
      <p:cxnSp>
        <p:nvCxnSpPr>
          <p:cNvPr id="32" name="Elbow Connector 31"/>
          <p:cNvCxnSpPr/>
          <p:nvPr/>
        </p:nvCxnSpPr>
        <p:spPr>
          <a:xfrm flipV="1">
            <a:off x="2875958" y="3464001"/>
            <a:ext cx="482600" cy="1034111"/>
          </a:xfrm>
          <a:prstGeom prst="bentConnector3">
            <a:avLst>
              <a:gd name="adj1" fmla="val 50000"/>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Elbow Connector 34"/>
          <p:cNvCxnSpPr/>
          <p:nvPr/>
        </p:nvCxnSpPr>
        <p:spPr>
          <a:xfrm>
            <a:off x="2875958" y="4497773"/>
            <a:ext cx="482600" cy="972105"/>
          </a:xfrm>
          <a:prstGeom prst="bentConnector3">
            <a:avLst>
              <a:gd name="adj1" fmla="val 50000"/>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Elbow Connector 37"/>
          <p:cNvCxnSpPr/>
          <p:nvPr/>
        </p:nvCxnSpPr>
        <p:spPr>
          <a:xfrm flipV="1">
            <a:off x="5919196" y="2419042"/>
            <a:ext cx="369887" cy="1044959"/>
          </a:xfrm>
          <a:prstGeom prst="bentConnector3">
            <a:avLst>
              <a:gd name="adj1" fmla="val 50000"/>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Elbow Connector 40"/>
          <p:cNvCxnSpPr/>
          <p:nvPr/>
        </p:nvCxnSpPr>
        <p:spPr>
          <a:xfrm>
            <a:off x="5919196" y="3471268"/>
            <a:ext cx="369887" cy="807653"/>
          </a:xfrm>
          <a:prstGeom prst="bentConnector3">
            <a:avLst>
              <a:gd name="adj1" fmla="val 50000"/>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Rectangle 10"/>
          <p:cNvSpPr>
            <a:spLocks noChangeArrowheads="1"/>
          </p:cNvSpPr>
          <p:nvPr/>
        </p:nvSpPr>
        <p:spPr bwMode="auto">
          <a:xfrm>
            <a:off x="341584" y="2049112"/>
            <a:ext cx="1778000" cy="712788"/>
          </a:xfrm>
          <a:prstGeom prst="rect">
            <a:avLst/>
          </a:prstGeom>
          <a:noFill/>
          <a:ln w="12700" algn="ctr">
            <a:solidFill>
              <a:schemeClr val="tx2"/>
            </a:solidFill>
            <a:miter lim="800000"/>
            <a:headEnd/>
            <a:tailEnd/>
          </a:ln>
        </p:spPr>
        <p:txBody>
          <a:bodyPr tIns="91440" bIns="91440"/>
          <a:lstStyle/>
          <a:p>
            <a:pPr>
              <a:defRPr/>
            </a:pPr>
            <a:r>
              <a:rPr lang="en-GB" altLang="ja-JP" sz="900" b="0" dirty="0">
                <a:solidFill>
                  <a:schemeClr val="tx2"/>
                </a:solidFill>
                <a:ea typeface="ＭＳ Ｐゴシック" pitchFamily="50" charset="-128"/>
                <a:cs typeface="+mn-cs"/>
              </a:rPr>
              <a:t>Tip! You can use these marks on the </a:t>
            </a:r>
            <a:r>
              <a:rPr lang="en-GB" sz="900" b="0" dirty="0">
                <a:solidFill>
                  <a:schemeClr val="tx2"/>
                </a:solidFill>
                <a:ea typeface="ＭＳ Ｐゴシック" pitchFamily="50" charset="-128"/>
                <a:cs typeface="+mn-cs"/>
              </a:rPr>
              <a:t>driver tree charts</a:t>
            </a:r>
            <a:r>
              <a:rPr lang="en-GB" altLang="ja-JP" sz="900" b="0" dirty="0">
                <a:solidFill>
                  <a:schemeClr val="tx2"/>
                </a:solidFill>
                <a:ea typeface="ＭＳ Ｐゴシック" pitchFamily="50" charset="-128"/>
                <a:cs typeface="+mn-cs"/>
              </a:rPr>
              <a:t>.</a:t>
            </a:r>
            <a:endParaRPr lang="en-GB" sz="900" b="0" dirty="0">
              <a:solidFill>
                <a:schemeClr val="tx2"/>
              </a:solidFill>
              <a:ea typeface="ＭＳ Ｐゴシック" pitchFamily="50" charset="-128"/>
              <a:cs typeface="+mn-cs"/>
            </a:endParaRPr>
          </a:p>
        </p:txBody>
      </p:sp>
      <p:sp>
        <p:nvSpPr>
          <p:cNvPr id="51" name="Text Box 5"/>
          <p:cNvSpPr txBox="1">
            <a:spLocks noChangeArrowheads="1"/>
          </p:cNvSpPr>
          <p:nvPr/>
        </p:nvSpPr>
        <p:spPr bwMode="auto">
          <a:xfrm>
            <a:off x="420189" y="2476114"/>
            <a:ext cx="287258" cy="276999"/>
          </a:xfrm>
          <a:prstGeom prst="rect">
            <a:avLst/>
          </a:prstGeom>
          <a:noFill/>
          <a:ln w="9525">
            <a:noFill/>
            <a:miter lim="800000"/>
            <a:headEnd type="none" w="sm" len="sm"/>
            <a:tailEnd type="none" w="med" len="lg"/>
          </a:ln>
        </p:spPr>
        <p:txBody>
          <a:bodyPr wrap="none">
            <a:spAutoFit/>
          </a:bodyPr>
          <a:lstStyle/>
          <a:p>
            <a:pPr eaLnBrk="0" hangingPunct="0">
              <a:defRPr/>
            </a:pPr>
            <a:r>
              <a:rPr lang="en-GB" altLang="ja-JP" sz="1200" b="1" dirty="0">
                <a:solidFill>
                  <a:schemeClr val="tx2"/>
                </a:solidFill>
                <a:ea typeface="ＭＳ Ｐゴシック" pitchFamily="50" charset="-128"/>
                <a:cs typeface="+mn-cs"/>
              </a:rPr>
              <a:t>X</a:t>
            </a:r>
          </a:p>
        </p:txBody>
      </p:sp>
      <p:sp>
        <p:nvSpPr>
          <p:cNvPr id="52" name="Text Box 6"/>
          <p:cNvSpPr txBox="1">
            <a:spLocks noChangeArrowheads="1"/>
          </p:cNvSpPr>
          <p:nvPr/>
        </p:nvSpPr>
        <p:spPr bwMode="auto">
          <a:xfrm>
            <a:off x="790499" y="2476114"/>
            <a:ext cx="274434" cy="276999"/>
          </a:xfrm>
          <a:prstGeom prst="rect">
            <a:avLst/>
          </a:prstGeom>
          <a:noFill/>
          <a:ln w="9525">
            <a:noFill/>
            <a:miter lim="800000"/>
            <a:headEnd type="none" w="sm" len="sm"/>
            <a:tailEnd type="none" w="med" len="lg"/>
          </a:ln>
        </p:spPr>
        <p:txBody>
          <a:bodyPr wrap="none">
            <a:spAutoFit/>
          </a:bodyPr>
          <a:lstStyle/>
          <a:p>
            <a:pPr eaLnBrk="0" hangingPunct="0">
              <a:defRPr/>
            </a:pPr>
            <a:r>
              <a:rPr lang="en-GB" altLang="ja-JP" sz="1200" b="1">
                <a:solidFill>
                  <a:schemeClr val="tx2"/>
                </a:solidFill>
                <a:ea typeface="ＭＳ Ｐゴシック" pitchFamily="50" charset="-128"/>
                <a:cs typeface="+mn-cs"/>
              </a:rPr>
              <a:t>+</a:t>
            </a:r>
          </a:p>
        </p:txBody>
      </p:sp>
      <p:sp>
        <p:nvSpPr>
          <p:cNvPr id="53" name="Text Box 7"/>
          <p:cNvSpPr txBox="1">
            <a:spLocks noChangeArrowheads="1"/>
          </p:cNvSpPr>
          <p:nvPr/>
        </p:nvSpPr>
        <p:spPr bwMode="auto">
          <a:xfrm>
            <a:off x="1148233" y="2476114"/>
            <a:ext cx="235962" cy="276999"/>
          </a:xfrm>
          <a:prstGeom prst="rect">
            <a:avLst/>
          </a:prstGeom>
          <a:noFill/>
          <a:ln w="9525">
            <a:noFill/>
            <a:miter lim="800000"/>
            <a:headEnd type="none" w="sm" len="sm"/>
            <a:tailEnd type="none" w="med" len="lg"/>
          </a:ln>
        </p:spPr>
        <p:txBody>
          <a:bodyPr wrap="none">
            <a:spAutoFit/>
          </a:bodyPr>
          <a:lstStyle/>
          <a:p>
            <a:pPr eaLnBrk="0" hangingPunct="0">
              <a:defRPr/>
            </a:pPr>
            <a:r>
              <a:rPr lang="en-GB" altLang="ja-JP" sz="1200" b="1">
                <a:solidFill>
                  <a:schemeClr val="tx2"/>
                </a:solidFill>
                <a:ea typeface="ＭＳ Ｐゴシック" pitchFamily="50" charset="-128"/>
                <a:cs typeface="+mn-cs"/>
              </a:rPr>
              <a:t>-</a:t>
            </a:r>
          </a:p>
        </p:txBody>
      </p:sp>
      <p:sp>
        <p:nvSpPr>
          <p:cNvPr id="54" name="Text Box 8"/>
          <p:cNvSpPr txBox="1">
            <a:spLocks noChangeArrowheads="1"/>
          </p:cNvSpPr>
          <p:nvPr/>
        </p:nvSpPr>
        <p:spPr bwMode="auto">
          <a:xfrm>
            <a:off x="1467719" y="2476114"/>
            <a:ext cx="227948" cy="276999"/>
          </a:xfrm>
          <a:prstGeom prst="rect">
            <a:avLst/>
          </a:prstGeom>
          <a:noFill/>
          <a:ln w="9525">
            <a:noFill/>
            <a:miter lim="800000"/>
            <a:headEnd type="none" w="sm" len="sm"/>
            <a:tailEnd type="none" w="med" len="lg"/>
          </a:ln>
        </p:spPr>
        <p:txBody>
          <a:bodyPr wrap="none">
            <a:spAutoFit/>
          </a:bodyPr>
          <a:lstStyle/>
          <a:p>
            <a:pPr eaLnBrk="0" hangingPunct="0">
              <a:defRPr/>
            </a:pPr>
            <a:r>
              <a:rPr lang="en-GB" altLang="ja-JP" sz="1200" b="1">
                <a:solidFill>
                  <a:schemeClr val="tx2"/>
                </a:solidFill>
                <a:ea typeface="ＭＳ Ｐゴシック" pitchFamily="50" charset="-128"/>
                <a:cs typeface="+mn-cs"/>
              </a:rPr>
              <a:t>/</a:t>
            </a:r>
          </a:p>
        </p:txBody>
      </p:sp>
      <p:sp>
        <p:nvSpPr>
          <p:cNvPr id="55" name="Text Box 9"/>
          <p:cNvSpPr txBox="1">
            <a:spLocks noChangeArrowheads="1"/>
          </p:cNvSpPr>
          <p:nvPr/>
        </p:nvSpPr>
        <p:spPr bwMode="auto">
          <a:xfrm>
            <a:off x="1779190" y="2476114"/>
            <a:ext cx="235962" cy="276999"/>
          </a:xfrm>
          <a:prstGeom prst="rect">
            <a:avLst/>
          </a:prstGeom>
          <a:noFill/>
          <a:ln w="9525">
            <a:noFill/>
            <a:miter lim="800000"/>
            <a:headEnd type="none" w="sm" len="sm"/>
            <a:tailEnd type="none" w="med" len="lg"/>
          </a:ln>
        </p:spPr>
        <p:txBody>
          <a:bodyPr wrap="none">
            <a:spAutoFit/>
          </a:bodyPr>
          <a:lstStyle/>
          <a:p>
            <a:pPr eaLnBrk="0" hangingPunct="0">
              <a:defRPr/>
            </a:pPr>
            <a:r>
              <a:rPr lang="en-GB" altLang="ja-JP" sz="1200" b="1" i="1" dirty="0">
                <a:solidFill>
                  <a:schemeClr val="tx2"/>
                </a:solidFill>
                <a:ea typeface="ＭＳ Ｐゴシック" pitchFamily="50" charset="-128"/>
                <a:cs typeface="+mn-cs"/>
              </a:rPr>
              <a:t>f</a:t>
            </a:r>
          </a:p>
        </p:txBody>
      </p:sp>
      <p:sp>
        <p:nvSpPr>
          <p:cNvPr id="37" name="Text Placeholder 36"/>
          <p:cNvSpPr txBox="1">
            <a:spLocks/>
          </p:cNvSpPr>
          <p:nvPr/>
        </p:nvSpPr>
        <p:spPr bwMode="gray">
          <a:xfrm>
            <a:off x="411479" y="6153912"/>
            <a:ext cx="3995928" cy="128016"/>
          </a:xfrm>
          <a:prstGeom prst="rect">
            <a:avLst/>
          </a:prstGeom>
        </p:spPr>
        <p:txBody>
          <a:bodyPr lIns="0" tIns="0" rIns="0" bIns="0"/>
          <a:lstStyle/>
          <a:p>
            <a:pPr marL="0" marR="0" lvl="0" indent="0" algn="l" defTabSz="914400" rtl="0" eaLnBrk="1" fontAlgn="base" latinLnBrk="0" hangingPunct="1">
              <a:lnSpc>
                <a:spcPct val="100000"/>
              </a:lnSpc>
              <a:spcBef>
                <a:spcPts val="2200"/>
              </a:spcBef>
              <a:spcAft>
                <a:spcPct val="0"/>
              </a:spcAft>
              <a:buClrTx/>
              <a:buSzTx/>
              <a:buFont typeface="Arial" pitchFamily="34" charset="0"/>
              <a:buNone/>
              <a:tabLst/>
              <a:defRPr/>
            </a:pPr>
            <a:r>
              <a:rPr kumimoji="0" lang="en-US" sz="800" b="0" i="0" u="none" strike="noStrike" kern="1200" cap="none" spc="0" normalizeH="0" baseline="0" noProof="0" dirty="0" smtClean="0">
                <a:ln>
                  <a:noFill/>
                </a:ln>
                <a:solidFill>
                  <a:schemeClr val="tx2"/>
                </a:solidFill>
                <a:effectLst/>
                <a:uLnTx/>
                <a:uFillTx/>
                <a:latin typeface="+mn-lt"/>
                <a:ea typeface="+mn-ea"/>
                <a:cs typeface="Arial" pitchFamily="34" charset="0"/>
              </a:rPr>
              <a:t>Source: insert source information here</a:t>
            </a:r>
            <a:endParaRPr kumimoji="0" lang="en-US" sz="800" b="0" i="0" u="none" strike="noStrike" kern="1200" cap="none" spc="0" normalizeH="0" baseline="0" noProof="0" dirty="0">
              <a:ln>
                <a:noFill/>
              </a:ln>
              <a:solidFill>
                <a:schemeClr val="tx2"/>
              </a:solidFill>
              <a:effectLst/>
              <a:uLnTx/>
              <a:uFillTx/>
              <a:latin typeface="+mn-lt"/>
              <a:ea typeface="+mn-ea"/>
              <a:cs typeface="Arial" pitchFamily="34" charset="0"/>
            </a:endParaRPr>
          </a:p>
        </p:txBody>
      </p:sp>
      <p:sp>
        <p:nvSpPr>
          <p:cNvPr id="42" name="Text Placeholder 12"/>
          <p:cNvSpPr>
            <a:spLocks/>
          </p:cNvSpPr>
          <p:nvPr>
            <p:custDataLst>
              <p:tags r:id="rId2"/>
            </p:custDataLst>
          </p:nvPr>
        </p:nvSpPr>
        <p:spPr bwMode="auto">
          <a:xfrm>
            <a:off x="414338" y="1132339"/>
            <a:ext cx="1956636" cy="276999"/>
          </a:xfrm>
          <a:prstGeom prst="rect">
            <a:avLst/>
          </a:prstGeom>
          <a:noFill/>
          <a:ln w="9525">
            <a:noFill/>
            <a:miter lim="800000"/>
            <a:headEnd/>
            <a:tailEnd/>
          </a:ln>
        </p:spPr>
        <p:txBody>
          <a:bodyPr wrap="square" lIns="0" tIns="0" rIns="0" bIns="0">
            <a:spAutoFit/>
          </a:bodyPr>
          <a:lstStyle/>
          <a:p>
            <a:pPr algn="l" defTabSz="1019175">
              <a:spcAft>
                <a:spcPts val="0"/>
              </a:spcAft>
            </a:pPr>
            <a:r>
              <a:rPr lang="en-US" sz="1800" b="1" dirty="0" smtClean="0">
                <a:solidFill>
                  <a:schemeClr val="tx2"/>
                </a:solidFill>
              </a:rPr>
              <a:t>Chart title </a:t>
            </a:r>
            <a:endParaRPr lang="en-US" sz="1800" b="1" dirty="0">
              <a:solidFill>
                <a:schemeClr val="tx2"/>
              </a:solidFill>
            </a:endParaRPr>
          </a:p>
        </p:txBody>
      </p:sp>
      <p:sp>
        <p:nvSpPr>
          <p:cNvPr id="39" name="Rectangle 38"/>
          <p:cNvSpPr>
            <a:spLocks noChangeArrowheads="1"/>
          </p:cNvSpPr>
          <p:nvPr/>
        </p:nvSpPr>
        <p:spPr bwMode="gray">
          <a:xfrm>
            <a:off x="3482251" y="1597435"/>
            <a:ext cx="21608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en-GB" sz="1200" b="1" dirty="0">
                <a:solidFill>
                  <a:schemeClr val="tx2"/>
                </a:solidFill>
              </a:rPr>
              <a:t>Unit or additional information</a:t>
            </a:r>
          </a:p>
        </p:txBody>
      </p:sp>
      <p:sp>
        <p:nvSpPr>
          <p:cNvPr id="48" name="Text Box 10"/>
          <p:cNvSpPr txBox="1">
            <a:spLocks noChangeArrowheads="1"/>
          </p:cNvSpPr>
          <p:nvPr/>
        </p:nvSpPr>
        <p:spPr bwMode="auto">
          <a:xfrm>
            <a:off x="3352861" y="4476618"/>
            <a:ext cx="2560638" cy="263613"/>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Text</a:t>
            </a:r>
          </a:p>
        </p:txBody>
      </p:sp>
      <p:sp>
        <p:nvSpPr>
          <p:cNvPr id="49" name="Rectangle 48"/>
          <p:cNvSpPr>
            <a:spLocks noChangeArrowheads="1"/>
          </p:cNvSpPr>
          <p:nvPr/>
        </p:nvSpPr>
        <p:spPr bwMode="auto">
          <a:xfrm>
            <a:off x="3352861" y="4740231"/>
            <a:ext cx="2560638" cy="1567575"/>
          </a:xfrm>
          <a:prstGeom prst="rect">
            <a:avLst/>
          </a:prstGeom>
          <a:noFill/>
          <a:ln w="12700" algn="ctr">
            <a:solidFill>
              <a:schemeClr val="accent3"/>
            </a:solidFill>
            <a:miter lim="800000"/>
            <a:headEnd/>
            <a:tailEnd/>
          </a:ln>
        </p:spPr>
        <p:txBody>
          <a:bodyPr lIns="40118" tIns="40118" rIns="40118" bIns="40118"/>
          <a:lstStyle/>
          <a:p>
            <a:pPr marL="359623" indent="-359623" defTabSz="957998">
              <a:lnSpc>
                <a:spcPct val="106000"/>
              </a:lnSpc>
              <a:spcBef>
                <a:spcPts val="1344"/>
              </a:spcBef>
              <a:spcAft>
                <a:spcPts val="0"/>
              </a:spcAft>
              <a:defRPr/>
            </a:pPr>
            <a:endParaRPr lang="nl-NL" sz="1400">
              <a:solidFill>
                <a:srgbClr val="002776"/>
              </a:solidFill>
              <a:latin typeface="Arial"/>
              <a:cs typeface="+mn-cs"/>
            </a:endParaRPr>
          </a:p>
        </p:txBody>
      </p:sp>
      <p:sp>
        <p:nvSpPr>
          <p:cNvPr id="50" name="Text Box 10"/>
          <p:cNvSpPr txBox="1">
            <a:spLocks noChangeArrowheads="1"/>
          </p:cNvSpPr>
          <p:nvPr/>
        </p:nvSpPr>
        <p:spPr bwMode="auto">
          <a:xfrm>
            <a:off x="315320" y="3480233"/>
            <a:ext cx="2560638" cy="263613"/>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Text</a:t>
            </a:r>
          </a:p>
        </p:txBody>
      </p:sp>
      <p:sp>
        <p:nvSpPr>
          <p:cNvPr id="56" name="Rectangle 55"/>
          <p:cNvSpPr>
            <a:spLocks noChangeArrowheads="1"/>
          </p:cNvSpPr>
          <p:nvPr/>
        </p:nvSpPr>
        <p:spPr bwMode="auto">
          <a:xfrm>
            <a:off x="315320" y="3743846"/>
            <a:ext cx="2560638" cy="1567575"/>
          </a:xfrm>
          <a:prstGeom prst="rect">
            <a:avLst/>
          </a:prstGeom>
          <a:noFill/>
          <a:ln w="12700" algn="ctr">
            <a:solidFill>
              <a:schemeClr val="accent3"/>
            </a:solidFill>
            <a:miter lim="800000"/>
            <a:headEnd/>
            <a:tailEnd/>
          </a:ln>
        </p:spPr>
        <p:txBody>
          <a:bodyPr lIns="40118" tIns="40118" rIns="40118" bIns="40118"/>
          <a:lstStyle/>
          <a:p>
            <a:pPr marL="359623" indent="-359623" defTabSz="957998">
              <a:lnSpc>
                <a:spcPct val="106000"/>
              </a:lnSpc>
              <a:spcBef>
                <a:spcPts val="1344"/>
              </a:spcBef>
              <a:spcAft>
                <a:spcPts val="0"/>
              </a:spcAft>
              <a:defRPr/>
            </a:pPr>
            <a:endParaRPr lang="nl-NL" sz="1400">
              <a:solidFill>
                <a:srgbClr val="002776"/>
              </a:solidFill>
              <a:latin typeface="Arial"/>
              <a:cs typeface="+mn-cs"/>
            </a:endParaRPr>
          </a:p>
        </p:txBody>
      </p:sp>
      <p:sp>
        <p:nvSpPr>
          <p:cNvPr id="57" name="Text Box 10"/>
          <p:cNvSpPr txBox="1">
            <a:spLocks noChangeArrowheads="1"/>
          </p:cNvSpPr>
          <p:nvPr/>
        </p:nvSpPr>
        <p:spPr bwMode="auto">
          <a:xfrm>
            <a:off x="6289083" y="1389907"/>
            <a:ext cx="2560638" cy="263613"/>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Text</a:t>
            </a:r>
          </a:p>
        </p:txBody>
      </p:sp>
      <p:sp>
        <p:nvSpPr>
          <p:cNvPr id="58" name="Rectangle 57"/>
          <p:cNvSpPr>
            <a:spLocks noChangeArrowheads="1"/>
          </p:cNvSpPr>
          <p:nvPr/>
        </p:nvSpPr>
        <p:spPr bwMode="auto">
          <a:xfrm>
            <a:off x="6289083" y="1653520"/>
            <a:ext cx="2560638" cy="1567575"/>
          </a:xfrm>
          <a:prstGeom prst="rect">
            <a:avLst/>
          </a:prstGeom>
          <a:noFill/>
          <a:ln w="12700" algn="ctr">
            <a:solidFill>
              <a:schemeClr val="accent3"/>
            </a:solidFill>
            <a:miter lim="800000"/>
            <a:headEnd/>
            <a:tailEnd/>
          </a:ln>
        </p:spPr>
        <p:txBody>
          <a:bodyPr lIns="40118" tIns="40118" rIns="40118" bIns="40118"/>
          <a:lstStyle/>
          <a:p>
            <a:pPr marL="359623" indent="-359623" defTabSz="957998">
              <a:lnSpc>
                <a:spcPct val="106000"/>
              </a:lnSpc>
              <a:spcBef>
                <a:spcPts val="1344"/>
              </a:spcBef>
              <a:spcAft>
                <a:spcPts val="0"/>
              </a:spcAft>
              <a:defRPr/>
            </a:pPr>
            <a:endParaRPr lang="nl-NL" sz="1400">
              <a:solidFill>
                <a:srgbClr val="002776"/>
              </a:solidFill>
              <a:latin typeface="Arial"/>
              <a:cs typeface="+mn-cs"/>
            </a:endParaRPr>
          </a:p>
        </p:txBody>
      </p:sp>
      <p:sp>
        <p:nvSpPr>
          <p:cNvPr id="59" name="Text Box 10"/>
          <p:cNvSpPr txBox="1">
            <a:spLocks noChangeArrowheads="1"/>
          </p:cNvSpPr>
          <p:nvPr/>
        </p:nvSpPr>
        <p:spPr bwMode="auto">
          <a:xfrm>
            <a:off x="6289083" y="3432501"/>
            <a:ext cx="2560638" cy="263613"/>
          </a:xfrm>
          <a:prstGeom prst="rect">
            <a:avLst/>
          </a:prstGeom>
          <a:solidFill>
            <a:schemeClr val="accent3"/>
          </a:solidFill>
          <a:ln w="12700" algn="ctr">
            <a:solidFill>
              <a:schemeClr val="accent3"/>
            </a:solidFill>
            <a:miter lim="800000"/>
            <a:headEnd/>
            <a:tailEnd type="none" w="sm" len="med"/>
          </a:ln>
        </p:spPr>
        <p:txBody>
          <a:bodyPr lIns="40118" tIns="40118" rIns="40118" bIns="40118" anchor="ctr" anchorCtr="1"/>
          <a:lstStyle/>
          <a:p>
            <a:pPr defTabSz="957263"/>
            <a:r>
              <a:rPr lang="en-US" sz="1200" b="1" dirty="0">
                <a:solidFill>
                  <a:srgbClr val="FFFFFF"/>
                </a:solidFill>
              </a:rPr>
              <a:t>Text</a:t>
            </a:r>
          </a:p>
        </p:txBody>
      </p:sp>
      <p:sp>
        <p:nvSpPr>
          <p:cNvPr id="60" name="Rectangle 59"/>
          <p:cNvSpPr>
            <a:spLocks noChangeArrowheads="1"/>
          </p:cNvSpPr>
          <p:nvPr/>
        </p:nvSpPr>
        <p:spPr bwMode="auto">
          <a:xfrm>
            <a:off x="6289083" y="3696114"/>
            <a:ext cx="2560638" cy="1567575"/>
          </a:xfrm>
          <a:prstGeom prst="rect">
            <a:avLst/>
          </a:prstGeom>
          <a:noFill/>
          <a:ln w="12700" algn="ctr">
            <a:solidFill>
              <a:schemeClr val="accent3"/>
            </a:solidFill>
            <a:miter lim="800000"/>
            <a:headEnd/>
            <a:tailEnd/>
          </a:ln>
        </p:spPr>
        <p:txBody>
          <a:bodyPr lIns="40118" tIns="40118" rIns="40118" bIns="40118"/>
          <a:lstStyle/>
          <a:p>
            <a:pPr marL="359623" indent="-359623" defTabSz="957998">
              <a:lnSpc>
                <a:spcPct val="106000"/>
              </a:lnSpc>
              <a:spcBef>
                <a:spcPts val="1344"/>
              </a:spcBef>
              <a:spcAft>
                <a:spcPts val="0"/>
              </a:spcAft>
              <a:defRPr/>
            </a:pPr>
            <a:endParaRPr lang="nl-NL" sz="1400">
              <a:solidFill>
                <a:srgbClr val="002776"/>
              </a:solidFill>
              <a:latin typeface="Arial"/>
              <a:cs typeface="+mn-cs"/>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WpcM21aNUePE3_klMmT4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UeJz_iJInECmblGW77WTv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PUlpzI2UXkaNwHjR.oWvD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LgPj3VVFiEaxADPfmFT8a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dEt2oTSpZEmkYHhzcJ_OQ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SgnDoxo14U.g7EqQpy3TG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3Ou9fRvhFUi..paBwTnv4w"/>
</p:tagLst>
</file>

<file path=ppt/tags/tag1011.xml><?xml version="1.0" encoding="utf-8"?>
<p:tagLst xmlns:a="http://schemas.openxmlformats.org/drawingml/2006/main" xmlns:r="http://schemas.openxmlformats.org/officeDocument/2006/relationships" xmlns:p="http://schemas.openxmlformats.org/presentationml/2006/main">
  <p:tag name="NAME" val="MoonShape"/>
  <p:tag name="THINKCELLSHAPEDONOTDELETE" val="pITCeWXzRz0OagxewnfKmu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7Yd8Pwxo80SDMz1KGso02g"/>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9mB3eJBNPkafMMjGjtOyxg"/>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EiUUo.VETk25gYzWqoiv5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Z3aEffiFpkm67RYy0l0DdQ"/>
</p:tagLst>
</file>

<file path=ppt/tags/tag1017.xml><?xml version="1.0" encoding="utf-8"?>
<p:tagLst xmlns:a="http://schemas.openxmlformats.org/drawingml/2006/main" xmlns:r="http://schemas.openxmlformats.org/officeDocument/2006/relationships" xmlns:p="http://schemas.openxmlformats.org/presentationml/2006/main">
  <p:tag name="NAME" val="MoonShape"/>
  <p:tag name="THINKCELLSHAPEDONOTDELETE" val="pITCeWXzRz0OagxewnfKmu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7Yd8Pwxo80SDMz1KGso02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9mB3eJBNPkafMMjGjtOyx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W4PK8V3N067UrC7KQNsC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EiUUo.VETk25gYzWqoiv5A"/>
</p:tagLst>
</file>

<file path=ppt/tags/tag1021.xml><?xml version="1.0" encoding="utf-8"?>
<p:tagLst xmlns:a="http://schemas.openxmlformats.org/drawingml/2006/main" xmlns:r="http://schemas.openxmlformats.org/officeDocument/2006/relationships" xmlns:p="http://schemas.openxmlformats.org/presentationml/2006/main">
  <p:tag name="NAME" val="MoonShape"/>
  <p:tag name="THINKCELLSHAPEDONOTDELETE" val="pITCeWXzRz0OagxewnfKmu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7Yd8Pwxo80SDMz1KGso02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9mB3eJBNPkafMMjGjtOyx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EiUUo.VETk25gYzWqoiv5A"/>
</p:tagLst>
</file>

<file path=ppt/tags/tag1025.xml><?xml version="1.0" encoding="utf-8"?>
<p:tagLst xmlns:a="http://schemas.openxmlformats.org/drawingml/2006/main" xmlns:r="http://schemas.openxmlformats.org/officeDocument/2006/relationships" xmlns:p="http://schemas.openxmlformats.org/presentationml/2006/main">
  <p:tag name="NAME" val="MoonShape"/>
  <p:tag name="THINKCELLSHAPEDONOTDELETE" val="pITCeWXzRz0OagxewnfKmu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7Yd8Pwxo80SDMz1KGso02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9mB3eJBNPkafMMjGjtOyxg"/>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EiUUo.VETk25gYzWqoiv5A"/>
</p:tagLst>
</file>

<file path=ppt/tags/tag1029.xml><?xml version="1.0" encoding="utf-8"?>
<p:tagLst xmlns:a="http://schemas.openxmlformats.org/drawingml/2006/main" xmlns:r="http://schemas.openxmlformats.org/officeDocument/2006/relationships" xmlns:p="http://schemas.openxmlformats.org/presentationml/2006/main">
  <p:tag name="NAME" val="MoonShape"/>
  <p:tag name="THINKCELLSHAPEDONOTDELETE" val="pITCeWXzRz0OagxewnfKmu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QL5Q6AJfhEWJtm9Hk25tL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7Yd8Pwxo80SDMz1KGso02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9mB3eJBNPkafMMjGjtOyx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EiUUo.VETk25gYzWqoiv5A"/>
</p:tagLst>
</file>

<file path=ppt/tags/tag1033.xml><?xml version="1.0" encoding="utf-8"?>
<p:tagLst xmlns:a="http://schemas.openxmlformats.org/drawingml/2006/main" xmlns:r="http://schemas.openxmlformats.org/officeDocument/2006/relationships" xmlns:p="http://schemas.openxmlformats.org/presentationml/2006/main">
  <p:tag name="NAME" val="MoonShape"/>
  <p:tag name="THINKCELLSHAPEDONOTDELETE" val="pITCeWXzRz0OagxewnfKmu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7Yd8Pwxo80SDMz1KGso02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9mB3eJBNPkafMMjGjtOyxg"/>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EiUUo.VETk25gYzWqoiv5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38.xml><?xml version="1.0" encoding="utf-8"?>
<p:tagLst xmlns:a="http://schemas.openxmlformats.org/drawingml/2006/main" xmlns:r="http://schemas.openxmlformats.org/officeDocument/2006/relationships" xmlns:p="http://schemas.openxmlformats.org/presentationml/2006/main">
  <p:tag name="NAME" val="MoonShape"/>
</p:tagLst>
</file>

<file path=ppt/tags/tag103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s8pyi82VGUaMTQ1pvUWcCQ"/>
</p:tagLst>
</file>

<file path=ppt/tags/tag1040.xml><?xml version="1.0" encoding="utf-8"?>
<p:tagLst xmlns:a="http://schemas.openxmlformats.org/drawingml/2006/main" xmlns:r="http://schemas.openxmlformats.org/officeDocument/2006/relationships" xmlns:p="http://schemas.openxmlformats.org/presentationml/2006/main">
  <p:tag name="NAME" val="MoonShape"/>
</p:tagLst>
</file>

<file path=ppt/tags/tag1041.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042.xml><?xml version="1.0" encoding="utf-8"?>
<p:tagLst xmlns:a="http://schemas.openxmlformats.org/drawingml/2006/main" xmlns:r="http://schemas.openxmlformats.org/officeDocument/2006/relationships" xmlns:p="http://schemas.openxmlformats.org/presentationml/2006/main">
  <p:tag name="NAME" val="MoonShape"/>
</p:tagLst>
</file>

<file path=ppt/tags/tag104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44.xml><?xml version="1.0" encoding="utf-8"?>
<p:tagLst xmlns:a="http://schemas.openxmlformats.org/drawingml/2006/main" xmlns:r="http://schemas.openxmlformats.org/officeDocument/2006/relationships" xmlns:p="http://schemas.openxmlformats.org/presentationml/2006/main">
  <p:tag name="NAME" val="MoonShape"/>
</p:tagLst>
</file>

<file path=ppt/tags/tag104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6.xml><?xml version="1.0" encoding="utf-8"?>
<p:tagLst xmlns:a="http://schemas.openxmlformats.org/drawingml/2006/main" xmlns:r="http://schemas.openxmlformats.org/officeDocument/2006/relationships" xmlns:p="http://schemas.openxmlformats.org/presentationml/2006/main">
  <p:tag name="NAME" val="MoonShape"/>
</p:tagLst>
</file>

<file path=ppt/tags/tag104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048.xml><?xml version="1.0" encoding="utf-8"?>
<p:tagLst xmlns:a="http://schemas.openxmlformats.org/drawingml/2006/main" xmlns:r="http://schemas.openxmlformats.org/officeDocument/2006/relationships" xmlns:p="http://schemas.openxmlformats.org/presentationml/2006/main">
  <p:tag name="NAME" val="MoonShape"/>
</p:tagLst>
</file>

<file path=ppt/tags/tag104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_5F7Bw_402PFC0jqmVmhQ"/>
</p:tagLst>
</file>

<file path=ppt/tags/tag1050.xml><?xml version="1.0" encoding="utf-8"?>
<p:tagLst xmlns:a="http://schemas.openxmlformats.org/drawingml/2006/main" xmlns:r="http://schemas.openxmlformats.org/officeDocument/2006/relationships" xmlns:p="http://schemas.openxmlformats.org/presentationml/2006/main">
  <p:tag name="NAME" val="MoonShape"/>
</p:tagLst>
</file>

<file path=ppt/tags/tag10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52.xml><?xml version="1.0" encoding="utf-8"?>
<p:tagLst xmlns:a="http://schemas.openxmlformats.org/drawingml/2006/main" xmlns:r="http://schemas.openxmlformats.org/officeDocument/2006/relationships" xmlns:p="http://schemas.openxmlformats.org/presentationml/2006/main">
  <p:tag name="NAME" val="MoonShape"/>
</p:tagLst>
</file>

<file path=ppt/tags/tag1053.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054.xml><?xml version="1.0" encoding="utf-8"?>
<p:tagLst xmlns:a="http://schemas.openxmlformats.org/drawingml/2006/main" xmlns:r="http://schemas.openxmlformats.org/officeDocument/2006/relationships" xmlns:p="http://schemas.openxmlformats.org/presentationml/2006/main">
  <p:tag name="NAME" val="MoonShape"/>
</p:tagLst>
</file>

<file path=ppt/tags/tag10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56.xml><?xml version="1.0" encoding="utf-8"?>
<p:tagLst xmlns:a="http://schemas.openxmlformats.org/drawingml/2006/main" xmlns:r="http://schemas.openxmlformats.org/officeDocument/2006/relationships" xmlns:p="http://schemas.openxmlformats.org/presentationml/2006/main">
  <p:tag name="NAME" val="MoonShape"/>
</p:tagLst>
</file>

<file path=ppt/tags/tag10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58.xml><?xml version="1.0" encoding="utf-8"?>
<p:tagLst xmlns:a="http://schemas.openxmlformats.org/drawingml/2006/main" xmlns:r="http://schemas.openxmlformats.org/officeDocument/2006/relationships" xmlns:p="http://schemas.openxmlformats.org/presentationml/2006/main">
  <p:tag name="NAME" val="MoonShape"/>
</p:tagLst>
</file>

<file path=ppt/tags/tag105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7LAqSw7UT0.GaLqmBk9SZg"/>
</p:tagLst>
</file>

<file path=ppt/tags/tag1060.xml><?xml version="1.0" encoding="utf-8"?>
<p:tagLst xmlns:a="http://schemas.openxmlformats.org/drawingml/2006/main" xmlns:r="http://schemas.openxmlformats.org/officeDocument/2006/relationships" xmlns:p="http://schemas.openxmlformats.org/presentationml/2006/main">
  <p:tag name="NAME" val="MoonShape"/>
</p:tagLst>
</file>

<file path=ppt/tags/tag10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62.xml><?xml version="1.0" encoding="utf-8"?>
<p:tagLst xmlns:a="http://schemas.openxmlformats.org/drawingml/2006/main" xmlns:r="http://schemas.openxmlformats.org/officeDocument/2006/relationships" xmlns:p="http://schemas.openxmlformats.org/presentationml/2006/main">
  <p:tag name="NAME" val="MoonShape"/>
</p:tagLst>
</file>

<file path=ppt/tags/tag10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64.xml><?xml version="1.0" encoding="utf-8"?>
<p:tagLst xmlns:a="http://schemas.openxmlformats.org/drawingml/2006/main" xmlns:r="http://schemas.openxmlformats.org/officeDocument/2006/relationships" xmlns:p="http://schemas.openxmlformats.org/presentationml/2006/main">
  <p:tag name="NAME" val="MoonShape"/>
</p:tagLst>
</file>

<file path=ppt/tags/tag1065.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066.xml><?xml version="1.0" encoding="utf-8"?>
<p:tagLst xmlns:a="http://schemas.openxmlformats.org/drawingml/2006/main" xmlns:r="http://schemas.openxmlformats.org/officeDocument/2006/relationships" xmlns:p="http://schemas.openxmlformats.org/presentationml/2006/main">
  <p:tag name="NAME" val="MoonShape"/>
</p:tagLst>
</file>

<file path=ppt/tags/tag106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68.xml><?xml version="1.0" encoding="utf-8"?>
<p:tagLst xmlns:a="http://schemas.openxmlformats.org/drawingml/2006/main" xmlns:r="http://schemas.openxmlformats.org/officeDocument/2006/relationships" xmlns:p="http://schemas.openxmlformats.org/presentationml/2006/main">
  <p:tag name="NAME" val="MoonShape"/>
</p:tagLst>
</file>

<file path=ppt/tags/tag10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0tVJXF3rI0SSZkxkLUs7HQ"/>
</p:tagLst>
</file>

<file path=ppt/tags/tag1070.xml><?xml version="1.0" encoding="utf-8"?>
<p:tagLst xmlns:a="http://schemas.openxmlformats.org/drawingml/2006/main" xmlns:r="http://schemas.openxmlformats.org/officeDocument/2006/relationships" xmlns:p="http://schemas.openxmlformats.org/presentationml/2006/main">
  <p:tag name="NAME" val="MoonShape"/>
</p:tagLst>
</file>

<file path=ppt/tags/tag1071.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072.xml><?xml version="1.0" encoding="utf-8"?>
<p:tagLst xmlns:a="http://schemas.openxmlformats.org/drawingml/2006/main" xmlns:r="http://schemas.openxmlformats.org/officeDocument/2006/relationships" xmlns:p="http://schemas.openxmlformats.org/presentationml/2006/main">
  <p:tag name="NAME" val="MoonShape"/>
</p:tagLst>
</file>

<file path=ppt/tags/tag107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Tvw_lWKDEOXzpWOGRwt6w"/>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LwWKmtTfZUWrpzSUm9aSo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ndgdbXSZTkODJevIOFiEG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zAHyNiriA0qov_mlkN_i2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wUM6dtYkPkG.bbR_DdVCE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Uxheu12gf0.nQ_j8elrfBg"/>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ez08urLIRkilfIxozd69qg"/>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B3W13vKYaEWo7QA6PYm3O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MMliWbgO7EKtGPKRm2WjP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xUz9qQhg70CFpCLtAbIon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VUbzdLeeZU6Jhj_BOlxLG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4aaZe_JuzkuIueNgDx3Jd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A_sXdhuV.0K467pZwNk95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T06Ps.EqFEqMxGK27q88c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_oElOVQBpkSEQyyhHvVQo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Kjkqez4tSk2QIikHjnS3K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IlqUr1CFC0GQbqamMaUZs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BFn97rUANkKnDGxeN0_AZg"/>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MutdEsxNhkK6GV504a0O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yAnZ4N7EkyAZU5wck4H5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0xyiYJFlEy6Qlkwwrvaj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LwWKmtTfZUWrpzSUm9aSo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ndgdbXSZTkODJevIOFiEGQ"/>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zAHyNiriA0qov_mlkN_i2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I_lOVDWQJECe0AaHTs5SO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xUz9qQhg70CFpCLtAbIon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VUbzdLeeZU6Jhj_BOlxLGw"/>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4aaZe_JuzkuIueNgDx3Jd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A_sXdhuV.0K467pZwNk95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T06Ps.EqFEqMxGK27q88c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_oElOVQBpkSEQyyhHvVQo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HvL6jE6106d1Q6QgqTbOQ"/>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yrN7yBEYkCYDt8OWQb5aQ"/>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VeisDvefwU6Tw6WsJZvkr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AKiwZFH0IUasLUfybEqiI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NrRuqBXo9EuN6jLRK5HNN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tBz3TDU3i0mFeevuVtV.N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OxPLbvc4oU6alyNoP.rg2w"/>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GM3Aqw9smEawoRapQZM0PA"/>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pjK8mDJiGkyegSZfGhrCK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csRzROWd5UqfH.PcmrcT5g"/>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tpyECcynHEy54OT3U9ZGw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HOnBQCgtsUC2rJ9O1cap0g"/>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SRePN7sQ_ke7LuQZwqDOJw"/>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QQRccseAuEC.b8X6RuHnMA"/>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0vO845dbPkm18jDmGDDyt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hQisaT2d0Ss_RjqjS1JMA"/>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6_RUWSTM1UGMtEwXUR_oVw"/>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mYtBhN.cg0yKINeFT3qPHA"/>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FtxwwFBVIEu7qrVR46sUIg"/>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BHwsjmVidEiTPnqqHthMbg"/>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7jGT8J7S5kqMIRZQQl1_kQ"/>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_zrVVY6_4UKOjp1ElrgoKw"/>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BHTCI98whk6DseciC4QAa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74.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175.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176.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4iOAhkHpl0unsdB7LINsLA"/>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LZCg7311c0GSbeEyJ_NB3A"/>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Im_.ZyrCCkuHtJfrIeC6Zg"/>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Xp_JXBmQLkC6EuIE.GW4aw"/>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p4RXaQ1OG0GUPOAb3gzRew"/>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126j2N71EEW0E8kZz9SwFA"/>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uJox8KFk.0Sl16C2uPP8d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1LPhjyV_z06XaXafAbd2Dw"/>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rz3NM3EkZkKg1UpDh_DqKA"/>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7MISB6RoJkeNqoXIBV5NTg"/>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IPhlUl2MkECjOo9Xu59tCA"/>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zaU4l74J50e1y35fpOUI8Q"/>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vTWCv5UZlEKDkwTarryTAg"/>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uJox8KFk.0Sl16C2uPP8dQ"/>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rz3NM3EkZkKg1UpDh_DqKA"/>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7MISB6RoJkeNqoXIBV5NTg"/>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IPhlUl2MkECjOo9Xu59t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dG5WlMIvEGDQwh1Ir4fH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5wvNGH6oUeMMMi.ErgUHA"/>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zaU4l74J50e1y35fpOUI8Q"/>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vTWCv5UZlEKDkwTarryTAg"/>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vvqx1fUP0KcVDdalTFpAQ"/>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55rfNibjvUqc_b8TwC68mg"/>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ADujjrxg8kKrvgx7Weo5t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t7oDvkn_KEm8b4.tKzMdhg"/>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3w4Djv2JgketNeI_lqgx1w"/>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AU8Q8xffmUqqA21ev9BUm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YK8thKRJ70.QlDymF3aeLQ"/>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YtRiDhf3JUSOy_xvQMedqg"/>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jSH7YFu1ukaJrXV_p64a1w"/>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DD_5iqARtEqenGRuUeu8ug"/>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CnLKcxN2VUKjSxCeVC1Jdg"/>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c2TT9y1vMUyXCSO3TYpAsw"/>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yQWo_Wz0c0eIq3eJLaK5qQ"/>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JSRxLaIoLUq3BLV_K4CzYg"/>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hh13sjaCfESbbjsOJEKBug"/>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6BURaAglRkufYf7nhhaKh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VbxJRpRS9UKSXBZeU7AJDQ"/>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JSRxLaIoLUq3BLV_K4CzYg"/>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mVr_LdE.a0KGUtpSHef9VA"/>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FuIsBFxw7Em9GCxFivVBgg"/>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Lzs.9niJA0mSzH3.vVEp.g"/>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ws43qAGDYkWGpQ5Grp1IqA"/>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YogtjLt2rUGfrJYj8mKvoA"/>
</p:tagLst>
</file>

<file path=ppt/tags/tag124.xml><?xml version="1.0" encoding="utf-8"?>
<p:tagLst xmlns:a="http://schemas.openxmlformats.org/drawingml/2006/main" xmlns:r="http://schemas.openxmlformats.org/officeDocument/2006/relationships" xmlns:p="http://schemas.openxmlformats.org/presentationml/2006/main">
  <p:tag name="NAME" val="MoonShape"/>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FFU5alDsX0eTk2MewUqhBw"/>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yyH7Ok2OpU6m6cdhBAJB4Q"/>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7RlpuHAJ60i3MacTNmT2qg"/>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MhlH8bld2kGKcPfsUJoB2A"/>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N9fPT2lU5UuiEw1glM_k_g"/>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PynaeEiaUUaV5XAZVwBG9Q"/>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yuoxTJq4k6NLj0_s33ztw"/>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nWGhZX0lPUGdAcpausO2nQ"/>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SP4RFXsbJEC_BOr_6mqU7Q"/>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ZOtrsqQGmkWMKEQ7QhqE9g"/>
</p:tagLst>
</file>

<file path=ppt/tags/tag1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_inShmjgb0W2cRMbXhDbIQ"/>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G8rq1MiLSk2YCfPXRpB_CQ"/>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cpZ9QWKB7Um1NJW__DZyHg"/>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j2pSC8xeskCCCgwhfwCRhQ"/>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WtzKCF0iEEaEwchX88JkTQ"/>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TcdaDPLGjEyJMh94HKPcXw"/>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mWeiQUh4306MfkrMHxfGVg"/>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TyJQp6Ga7ECeqhSywm.kKA"/>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4KpmQwaddEKyjwUp_6a91g"/>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2SV5ZBY.ZEaX.P_iT3DROw"/>
</p:tagLst>
</file>

<file path=ppt/tags/tag126.xml><?xml version="1.0" encoding="utf-8"?>
<p:tagLst xmlns:a="http://schemas.openxmlformats.org/drawingml/2006/main" xmlns:r="http://schemas.openxmlformats.org/officeDocument/2006/relationships" xmlns:p="http://schemas.openxmlformats.org/presentationml/2006/main">
  <p:tag name="NAME" val="MoonShape"/>
</p:tagLst>
</file>

<file path=ppt/tags/tag12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28.xml><?xml version="1.0" encoding="utf-8"?>
<p:tagLst xmlns:a="http://schemas.openxmlformats.org/drawingml/2006/main" xmlns:r="http://schemas.openxmlformats.org/officeDocument/2006/relationships" xmlns:p="http://schemas.openxmlformats.org/presentationml/2006/main">
  <p:tag name="NAME" val="MoonShape"/>
</p:tagLst>
</file>

<file path=ppt/tags/tag1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iVJ8y1dT0qhJ1auHSkQ4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fCIKXBJcEuFqsfuvdjrg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prorF0jEjU.Tk.ln3syEi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qxyfeFFZO0ejMXEH14h0W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BKajripwJUGtZEc5gR.2U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7JjHXiuqU.eucDzCStgX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58yhKRYPEySYdAqZGV.q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KWdKRLXGckqRRxn6l8rNQ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GimaIiUJk6wtGiK6pTCj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ry14XepDUivlLglpER9m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MUT7prm.IkCOWHwdxw5TW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YUgVj6SE0UWnoRA_Iec6r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1D0uHMCsYkCSnQKU39eYg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qdkNkzIL3kukvaZ39DfPo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EZpX_gKA7k2CykTbQmNc7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3UOnlxgkz0yZ0P4aXlris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DIcu7HpptEWz3Zq0c9UQE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PxXYMmV3EinQe8h5QYP5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kMH44At6rE25LvXc051lA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DHtNR_BcLUOUwxylIWHkS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58q8A1nnDEiyhkpIWo3Nw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wkikA4odt0CbVbSQHapaX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zwkRkO3TTEi5QTKyc1rWx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kKNehCgHPkedQHxp0_7iX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KXKVyLEs6U.abbgzOi_b5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YUN_u47_gE.CsxhXtqwb.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gTObCiw1UqfC2DUg6sl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U5xu4EWvG0GYovXdbYzn6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eQD7800BEkSxh9_rA67aD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8BB08R.lY0e6R8FpUAgoa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aEHAWLbGfkSumWtgmjvmO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lOsa3wHJ50GqePjtw_4jy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SDLMJNJyTUiLLtgWI_NU4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lOsa3wHJ50GqePjtw_4jy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lOsa3wHJ50GqePjtw_4jy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lOsa3wHJ50GqePjtw_4jy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lOsa3wHJ50GqePjtw_4j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ExgGnTivk2Gu0scmpcqY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U5xu4EWvG0GYovXdbYzn6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eQD7800BEkSxh9_rA67aD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8BB08R.lY0e6R8FpUAgoa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aEHAWLbGfkSumWtgmjvmO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Osa3wHJ50GqePjtw_4jy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SDLMJNJyTUiLLtgWI_NU4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lOsa3wHJ50GqePjtw_4jy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lOsa3wHJ50GqePjtw_4jy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Osa3wHJ50GqePjtw_4jy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Osa3wHJ50GqePjtw_4jy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nD_Fexf.k.7C6eFYqvm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SlWajsnTnkObm5yu.L2Rh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n7mu2yGUkk6veBSz9YfcH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wKAIYXS.dkutV5ETq5cZf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40Jpg9KWc0eRKniD1MPj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UYtFhdX6kaX6m0PqdY4T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N40kPbJq0yiLsTzgGsPH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fCiOxXK29Ey2hwNS3dMNF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U62PsmqzwEyWduRC8P_B2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DGTnoXv4jEejdV09QUeve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HG9Gu4mN0ECCuNn06oLCR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Po5Z8Fz6oUu6dO.uNkIj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TztGuFq3_ESG0CAakuC0r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NNrNlewakeBWW4w.6yKX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c2t10G8..EaJ1JgOEtan_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w7AOZjk0skmBg0TNESXLM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qID2V2DLkEOYoWgsAGZoN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0aOwhD8CIEmBh.6VO2GKT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htwa9uDtwUizQvCf3kcBX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z1BmvrIC0Cxqvb5UJCBB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SCCMX6bneUKdHKzYvf4c8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ZTslrgBd8k6zFefcdFAFW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dg_KsA0LmEaZvy0fRCzPd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fNExea2QCkSzYiXJSbGB_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zvuaVIaNBES2ADHaPZI3v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9LVeIW6Np0idg0Q6EGuIv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_H6XLc9jTEaHP3clbmMoj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SeIUR4TErUSB0n4PNnf8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YmqfWbTEUK.EuFrRlhk9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PJwBj.ZXpUSO18YYB4rJU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U_BSr5AufkiXmna3isB3e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34.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35.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36.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37.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38.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39.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0g5j_QFak2mjxfwPH5gxQ"/>
</p:tagLst>
</file>

<file path=ppt/tags/tag240.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41.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42.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43.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fVwndjEEqEWPqMsBhKHgL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YAPWAVIhg0edZMS8L7gp.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My4HlJlZm0CjKMuYM430e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2xLrrOCaz0eHC7QB3XXm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WSj.JoXw0WHjBpORTgwv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rBqD51GcP0OR2MwSqkkeC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Lmcbk1PKE0Sn2YuBSEL0m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xqvpeeBFgkqyankXlo4mt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at8sTPLX30ikRNXkF4Inf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3agyEiFRpEWmY_BRVQmSu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YRfN_3gDyUG02OI_s_yCS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DqhO1KQSok.0KWcybu7A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3fH8hbbrE28Hk.Rp9JhV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hxXfj7j.nUKCGV4Xx3hUd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59JU9mpoHE6Lg9firWKXS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UWH8gktd5ki5l76NFeklm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_PLORO51LUaej5Qkx8H8Q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my0S0dR3ZUaLk4IQKjKrJ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DqhO1KQSok.0KWcybu7A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4UJWoU6VUi6xuYCfeMQ8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PUlpzI2UXkaNwHjR.oWvD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g_9OIiaVukqgtMOjNcjzY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MBg0STM.90iH2trV7aGg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D15UesXukSTA5ezV53cO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L_cOR5UIG0.MDdGmMsBn.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5IEGawFeQECTA0k52Os5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eU8XrNKWDUq6yvcuCLfOA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9AOpydfNAEu5Tjex7frRy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Ib6ZuynCzEm5B4s6mYwXT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zNDoaPEh.ECquCpK_bhd2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KZZM0MgeHUqvC.5FxCfOS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lmsMOF679Ua7DU.ZZdFGV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vNMJkXPTJUibnF9J0yZS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lhAVxuTyE.ycNCe5AyrX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uElpdktBiEaNqS1UB.Gtz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Dr2z.qpX0mEoBj8Avbo7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BZMo3hb3OUmu0RvPtULQ2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piA1Li4Au0mikCkjKcdTC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5YhBPkRR_kaExUO5o5vT_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N3srERMst0qgfzWuzhE68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v1sGM0I_V0yitDbzu1RF5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nO3Rtecv3kCYiJvePZ9Sz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vA6NosceY0.89_utCO6q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E9e3H0orEmjC_XSYOaH.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ozR2tZV24UC1Z9WDiDZ14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RHp9Px2hOkWG5sZTmu2lH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XoWZmUu4Fku0bC_a5BVoK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Qu8QIoQhH0iJBLLQSDMq4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8poCZxAknkC4Ho_hWu3N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5QQzHRYpEyNOi.ndI9iQ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uPojKHTb8US4A31_yt5Kj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uPojKHTb8US4A31_yt5Kj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uPojKHTb8US4A31_yt5Kj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uPojKHTb8US4A31_yt5Kj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XoWZmUu4Fku0bC_a5BVoK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Qu8QIoQhH0iJBLLQSDMq4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8poCZxAknkC4Ho_hWu3N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3IZWaPE_UC053KN.vqmB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QA1oeZ7PaUCCl2VFR9JzJ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TpDiPqouRk6NadjXcvwuh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rssrFQS.K0.vA6rYM.A38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hpAdqphGt0mDIurUFeJJI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iTYHwZfvIEGgXgTKXnmyQ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EpuBsHqNkkaOCU2G_jH42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mIE7MWYFEGzNCNfwwyxS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O6TUbj5R0EqeS3S8pzc8F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SXgKBiVGIEmPEtbUlEF.S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STsle.KBlUai.DM7ySNqc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EbQ_DrgVgkSKe4AWGap7V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M6HUDXYWckmmTCpXo6TRZ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6jXDUcEcpUWJDOx9ayiMu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kiX7EBGN7EadXWII7tuaQ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8Zj4A9ApuEGgzRgEv0YM1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86FLuYjN.UevfjJnO_t2i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o19g6SJWz0SqgHBRB885t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rCcn.0piEubhGszwyOHv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zxdlXwH5n0S0We4w6aFI_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WE8B69yec06TQFitxQkiY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J9oGViLuMUyPe7obnWL7r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PTAgBWsHjke4I2b0j6BD6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a9cCcTUsL0W6DKJl1LiAQ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DarEVlWRvUaZbXuaD1kwN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F6QhZFJ_e0ucmBWxRA1l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EKIIWNIAkWQ8uYMmI7LF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SXdto5ED_0SRPJsXIJuJ9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Ymi8WDdDTkOcz_a3GwWEx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4t9iZia2V0mGiTu2R6KMR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EJBPWgO0.0eRaLEoXY2n_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AOnA4fKCbkG6l5wWHzoEF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lxSFLAw7c0GF3KSum_aD9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HPaGPF__U0KH7vfDuve92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VKUNcwKj8USzpqe4QoFEv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b.ZTsVuTzE2dsCj8HURgo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YvCHnW6J5E6o2DIoojWI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IB2u4I9sUqTHNdzLpyDE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jtu2y6LzHUuXGiZqQVXie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jtu2y6LzHUuXGiZqQVXie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jtu2y6LzHUuXGiZqQVXie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jtu2y6LzHUuXGiZqQVXie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jtu2y6LzHUuXGiZqQVXie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jtu2y6LzHUuXGiZqQVXie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Xx9RPDyi50ibIRU05S_9s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inxIrh6V60m_h2RecMgF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VKQVWAbEUGgy0_16h1E8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1_ryHeQ0RUm0OChSCFOqF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PogE8HeEqk.VqzOE0.cVJ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PPQraf3w_0KW2QzZ.PVCv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vanha40C6kmYVzlZEIOTL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qIDJvl_kiUen_B_OsGr51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ifpPvfPzUytqYhYiwLhf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odKfOTWI4k.xJpnRmINyD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ltns1LDuCUmid_mzAQEzP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q1MFHIP9EGyGz1SJHyMw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J_y.gPwcl0WEu80XUXmJf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luqbrAzLRUGeTOV8Kqjsb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_7GYgEQ7JkGVtQjNSgnt7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bj7D3FztgkGKIorsttNNc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I5ckwFAvMU64daSDO14ax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I5ckwFAvMU64daSDO14ax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I5ckwFAvMU64daSDO14ax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_647UpY1k6whG0ncv_u5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3QFALcpwkCwkpLiJ8yAm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829A.QOGUChv8qAZGp7n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8n0EEUBuyUyJjJjV7.k9p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1_ryHeQ0RUm0OChSCFOqF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PUlpzI2UXkaNwHjR.oWvD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LRUAtmsDEayedsIzt.1x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KOuCliDCp0.pmXRTG0END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kESQP0JYk0CVA1lel8TgV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zMZrj39qFUmwnTUeU8_.6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4ilD_g5fC0uf8dmWonV3Y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lUUSziGQ0iqsdI44EZz.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stNcFNJ.IkaRNx2V4igIU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T6tKdfmXECg9RhDxRvoX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0zvk05wn0in7q6q2MCbj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7FVeeu6_LEaF2NHWdFN2R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Enw6FY5DBUekYZy70MR32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hzerNla70mlgNhpf3NuV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Bb0QC9.cuEu4yRPZHug83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TUxMK5vRR0mCeYNQbkx1S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7FVeeu6_LEaF2NHWdFN2R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Enw6FY5DBUekYZy70MR32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Bb0QC9.cuEu4yRPZHug83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TUxMK5vRR0mCeYNQbkx1S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YBuYQPwgxESefHi1_39bp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vMMRUURC40qw9vFJK8fS.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kRWa98RGk2bUfXkH1_QG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yxG8KRjgkWYzv4d.dRse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kPqF7sPckCnsrg5m1CQ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LkeQSUFrkW2yAm7qx7Yy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foCl6vOdRUOi_AnpzAPov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oy7HTpNlkaaBgF1RKQ54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2qrftKjGU6g8NBFYRLrK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QxA54r56Q0qJgcJRGsyXZ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Bkqj8StiikuWy.gDBPKYs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2aFYqZd70qUBQJgtOuyQ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dZhU0nUGmEWo4NkmPaWO3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3FErbjSao0OhFlQ9xKweH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PUlpzI2UXkaNwHjR.oWvD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KEWs.neN0.M_cN3UwXa.Q"/>
</p:tagLst>
</file>

<file path=ppt/tags/tag550.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551.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552.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553.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554.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555.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PAbzaFh5k6admp3wIZ7i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69.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Xd9WQItJUCegvsOMkB8EQ"/>
</p:tagLst>
</file>

<file path=ppt/tags/tag570.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571.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572.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573.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574.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575.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wVv3gWaOEe4KUHePj8lV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PUlpzI2UXkaNwHjR.oWvD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qYMMV90ckm3q6oN4Pd_F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AgmV__91mkiNyKCOARJa0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RklDW0om0mzBcuoFgHsf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q3lMosAnU.uiDiKP6qGZ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afwnJfu1mkyNVC4CxFtA9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2bdidhYueEmG2SiLAZcvi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bcOijENa1UiOVtoJ4q8gy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8tD38x.9qEKTkfT1uiN54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hJQo56YDdUKmMSiQQ3_wq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qOD5gAYjR0esYtHK9h9ZG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pAq2cqI4PU61eAtw.X5ix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M0KKzKU_60K1LlqcgrTxG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jRJfqgLX7EepYOZmkTbtE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05OuJdLYs0CqFRDDDr6w6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yIWZlYaUW.x.uHRajVS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C6q7TfMxEOUfHtRrJhXr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CbGb25HotUeXobM.FcOpg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daPfbBhaQU.BgwKcZVDEU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Gt7JKkdD_0SqcLxKkWeDk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ztx2VevUKEqsw.GXZhGfp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xKM9fblHxUizDcTj4vbjh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slBW1zJXnUqw__AB2JbBB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N743qFgo6kuPNWIZNfs2O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CRSQdEsPN02cOvJ3cv8.c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Ex.9ppg690G3a.3PKE2qZ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k.YZ_5NmekiJABGV_6cZA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J3WZsk.P.UWCrSdfpYODD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nOGZHLW2YE654puz9rlgJ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3UAkXCL9qEqCe223_yezu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_VjIr5bJUUa4VaGkyu3ax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bFJgP928DUe.3rQlSgTE3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kn2kzUJgxUGtvp.KYdylQ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KfRcGMEJkOl4m5ZfSF.B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ElRo_8Zf2EOxNT2mFHG_r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kMtbypsP3UGySREhGxP9R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5SQVZA.I6EG9xWE0JpWZ_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qM10VlPL00CEStJ1T_gkp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9We3W1Zd10OefHAWNjIi1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TtlOOkttQkudCZiXEbEyr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40AARi0flEO9QSljrIMSJ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hAq4lRG5g0SdVbGrGmx.g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U45fnU95akujSnGQ9f49i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KArn9lKulU.tPWbB9CsNK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YLJZLf6V0EOYQ2vJpiuxp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Ab.pUMXMEOWTnIYbxcRo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c0AS4tOxPUyKC2w4Y.Dpx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HzGabMMSFUmsl7gfMmNEA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beXTEKmSj0GIXOXFDTyXM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MCqf0GJCjkanab_LNH7Kl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oyo9wRUCckaaHLA7_ziXe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6X7z1J1n3E2nCprbE.XYU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u39mtLrRv0yeQ3wGtR5Fr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uSDWu3n.9UCGhDL_8pIFt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BCvl4sewq0epmpNYczYN_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ztrDv4cmT0utVelRJT5I7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Q4tnZyDd5kiagmjNtrASq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5CHPvsCNRUmq6oD4O637h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QFpJCZ.NQ06fuI39jI4op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McXA5KwDc0KYDoqxEckuY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8o.TEuvVAUexIZSz6iHTS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l_PGioY0w0KttN1sfqZZD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6hXqmAD8M0CJqj5bqXayx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z63JHOvdcUq7YNTYvfJty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knJiggq2bke1nc88qpBl7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iBKMOKat0UCsAmIP8PbvO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6B3Y6wGWLk6Yer1zKFOz7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a70VbCESak._GR2BTJyim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buhCLQYVH0Gv0It9.TUqB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fWRWPqqEUk6KquaNjEDyv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2KxrfcKeeUyCCihyOwwt6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jZ9VjZiKZkOUEdLQb5G9Y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ZFCM9YVykEKnm2QIZkq.n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i33V78WMnk2W8IoHozbI9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QJb1goSCPU2LsG4dF88tA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UE2MpSe8k2U0pwuAGRRT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ZPUac15LSUe5EpthcC6aj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zcRqcO1sYUKMuUUN2Aenp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XzJObmqbZk23kDAVN1W0_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jAkVF4q.PEO0cH6_duItq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3FtGpU4eMkyx1CYlamlCj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cfdU9F3.V0OyTa9H9Pcw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B3ReKCB4t02qRAHsKwRuY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E_etW.krhEqHCVDd.xWKN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gCDaEYLTpUOt.6W9MnrEQ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ZUnuYRjVe0qtku45PFOn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suwhfMPuEqhJdnRgeNQb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3wUVfjOppkutKd2C0IDdW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lAN6AGhx4kKhDtfc9hR8K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yA6LqRePkU6hkSZZ.RPac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MUwxUdD4lUuj_h78PCfmk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XwV8DJ3EhUutOiOspEF8x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uecfNnX.mUOxaFA8tbDgq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bbcOSz0paEa4U2u61WeGn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RMoBrV_hlUuW5I_MLfTFu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d_XJtOY3t0SOS11Sn69P1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KmLXK2OjT02vC3h4Fln4M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GgsLbuUCE6qUpa4xKXTt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ep36prOQEKLArfHvJfey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bQFnlZfQoEewsZthThjb5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IAAeErwF5kC9BedKc7rpf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25jgOFt2RkK9lAZYtZ5xM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nAlv7.bIQEOrtfsXDf_nE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WHesiLqxLk.Gd_5xhoZkX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F8YtW7ZbF0W84bhNi2m_8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YhZVdDuVG0q1dgtDT9nqO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Wjhu2G3o80OCXPeU1njTt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NAbFoVOBYE6ODy5sdnkO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Nss01hdZEymnnGd3IPxY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bO711MMtU6lIji6QTjSS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AxLpW3IeJEmiTPo_iLuK3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0UN8XmK1JUq1VDEhpfSI.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F2hgn3m2C0OlHQLbM4jXZ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cyp3VLqK6kiM5.Ktswa2u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E4me3QW2ckewtkYWKfZGQ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lPsKc1CUxkW4Bn6LiYTAv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SPoBGqZrTEKYu6TsIdGjw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GlD.SXk1UE.DSEGcYQIeB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O0e6_Ip.HUyxecFYHHPlp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WqW.sR64lEqLTvCzEqGml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BTqm.g1WtU2OUaBl0Ot4S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8FQUrlKK6kKHN.wf.Giua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PUlpzI2UXkaNwHjR.oWvD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rXUPHL.pWEqZ_VP_epIwS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G6FW9T.PU2lhKz3xOK.F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hiIyEwKrZUexn.B2_IXO5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zSWrg9jMqUWmy9QnK1fq1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a3jvXnOgaEqRXdgZN5shR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DKxnZKgUz0K1fiGKignx8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YIcCFu2_n0mvqbYnnj_il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1WYVI1vbkk2nlLfolOg2.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yn6KeZZGAEy.4bu.gX2xT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yp7sRWE_wEOaNCLBOX38a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DU7q9HsN0.IdU9LAVD3b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fgyVAEMYuEqTAZj5uhazW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dLSfHNhETkeFWAmRYAkD.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BAiDabZMUUm6QzIoXiM4Z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gzJzP1mYYEeturVdJGqJq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ubmr0QvTy0aUNBPOA2Muk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xaeIR4UmESTxpX3ktcqb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eZJIikiM0WY_iq4dSbkh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ypGK4vP59kKvNRq8K_rCk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bBZ4RG98BESMaxWNF9wpb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dLL4Aq8wZ0aMjvcRoIefB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fVqnFjwZ_UCKagkwaxxXZ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Ec4G5aNFfkqaocrIxPW6p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A0y7rhGiuE62NIFFnULu_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JEDlRar50awbsJyrWfYR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TRRvQ1H_eEeQlRgkT0cnq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tbUBe.L4TEulkZoREDeHd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W1ZNUMElPUq.QkapllHZL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Pg4t9URJAkmDsOUWAA7Pu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1v.nXi3m40eaMWZI_i9Rf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Ft_EvIAfHkaYYyCTPEs.p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r_v6HwHrlE2aNgckPhUv0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ranPnBxVj0.3yNmTTX189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QbeiqFnihkSFLiRTc7mi.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Es8a12tvnk6G1qBDAY2n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mB1KJc.9kqbM2045Nqa9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YYDtVZbxi0qzAjU64ztR5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eWLXsl5OJ0WmKvf.j3rHq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ME2wM.H7PUW68xrxlD1UC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eo9ft6aI3UyRKOPkwdVTh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8nkwlZpukE.VcwGbMQJuU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gXQSNy7PwUCEmEhBiNnIK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TZqCujsHH02PpWn7EhWVs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PoFe3wSTBES2dgFQKgJHC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CfAZebW5uU6K1iDO2eZM5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a_v623e16UCKIL6WOzRi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CRm.0Cg9CkeU2wsbONu1U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FiJUpLlpekiNEXk_vmVtF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uB.Ap0vsgE.bU2_wcWhas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QhRTH8xCyUWpEKx4N.1.I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w_fphAW9BE6ir6CXp5NM8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bS5NiXRToEuPjhLabsscb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V9b.vIXw.EmTuYCc7B.BQ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g5z.f7ujh0qVDXFBpeRI3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SNBBhLItxEa2fR_oh._0r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ATSs58bOu0eYiQYsbiPn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fCIKXBJcEuFqsfuvdjrg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mxdAtqogkUWBD7GgLc_r0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aTeYEf0j1kO4OywtYpYMX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a29RCvKDT06HE_XBnrZTU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KwUMfRRGN06rHgh0f25Xa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V1W_iFfF9kydFHfhQouqN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yLfb1UENsUSLO8K9C_262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lqb6cFv2WUe6bLSx5Un6G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eWpJpBZm7UGnPL9Ei_4mj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tRXEAm8v10SZpTshbR4kQ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YpzeN2ZrD0KrWvFyYCRR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qUoNnR8j0OYrUUjayWdx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QVdZZsYkm977OBOWr3l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2eqiZ6CemUq7LTKxRAbQ4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v2.eRD2gnEeHFRE2VBZ.p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Y.sRMqBaFkeVDEqDG8ySG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7j0ZElikOEqs_U4GP7hjd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smchAVLjykCIoZkrHeJky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jQn0dli0QkavkO_N9XsWJ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rJgXAsH2Tk.lwcq6SWnws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9XmYCfZLhEeZt_ZRuZXt8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eQAKNl5AvkWL6oR20_FRJ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TJ5vg2mVkedIgVPuA.Nr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9zvVLZu8U.MTWIk7XyXf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WVS_P.e_ak.TfxlSOJO9C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4eGSK9cOL0iJ1qob25s9O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31iFf5aTvEmjorypL1DuA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0osN7I1OCEC6Canbvqn8O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dUf5nMnMOUK0.NoEOIlAp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BB1gU6Pq8EytAtGCerBSN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ZqV_fEDwUEiCLPSeEzixw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7f8A4mgCBUmTSTr50zrOQ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_UoErrMg90atpFjMES1Ly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QFyL_X7k02tVw65XKvxS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52LZC8OvfEKl6zltda3kI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D5D1_LqukCTmoE_luWZ2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DDGb0omifk2DOD.5wfNAZ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mkn.OwV4i0eL6lpwvPoDA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jhqTS3Nn306nGz_ycBkMg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W_ztWj6ZL0SBQFprEYZ2.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Cp0JXb5_MkyIp16YV2hQZ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QIvOsE3pW06wAX2ZSvwpc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YamWYD93VkODpwbQ7SHOR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P628az.qk.y9eVgNvLDh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Uha7nMrhA0.tN62dRUqkc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6zh6nl5R7EamD_ZV6_VuH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7c1tifxf_UmWRJDgScAVEg"/>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uNYawlDs1kaZRSr_vu1ed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vF2T3MF3bUe3aXZVOzEut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OVvaootT20ylkH6uqGl_I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ENkvGxilfU.ltjvwOo8Wm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Q4IQHbYDHEa_tD_yn2ytc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DKIKJ_q.jkeAdJjKY24Hv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FxrNq8UPaUefzJbwe4ZBs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xzBGDRV4iU6hFJvsjWHo4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wJpeBZfRZUGoU73uBa78k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tCLG5TaGzUaWGnZKnALoT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5p2Lm21DykaLXGGUc42IM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zeXR.EdNq0.gNKkIwI7VE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VkSP3MKa.ESik1jxZhuNC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3ZyNtKFJaUiYb3vyfZ7gV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DAunxtzaA0qhWZH3gVviQ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ogmLIi0z_kSGcHfk59AbY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jyu_ZlMq3Ei39LcBfYii4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isdB3sBxDkemiaz7zMidS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qeQgYkKGUkqZCVAM105fH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3lshe4syfU6v_wN_P8jR6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rNEdwcKe9UO1DA5LD924s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ltKJiHGV5U6ZwhWVOAaOe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t.azA4XFCEeHIRQtdzC7n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BuJyHL7dpkOsi588w0vp4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ITMZHd6fEkC1DHbM6twsw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SHbGrAd7HUqBVVnTbE0c4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QEgFDoIgJUOrVKtylGNtQ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R2tQXvY.lEGg1Vv0brkNd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xBxJ9llDh0aXfUCCsXlOK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QE_foSFjDkWOV_fcLgrq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81JepmeG0CW_tr6Uq9ye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Y3F07RIQfUuZ1SYFnpBIv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1Kh.IoeVrkaC4d0eytXKc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dHF.EwlMo0SU.OmotPIkf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IH3YuuTpA0WTpTXemEqcD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9wjSevZog0edlSgKe_0AK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1K5PQBzwIEWsYiy5J86Sc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i3FyfcCv90W0SuuLEKZVV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ZuEH9FHvE0GhT77uHKKJJ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HIeKMPUkZ0O7TvX31hZTu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_pwSc39QFk2a.MuI.6wTD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Sh2fvTu8i0K8FhhE1K54f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zCtyLJLG1kqoDxDxNZ6TF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yGoIa0bIMUeiq4spEtdqM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ykot5Gqid0WbQZVImzFaQ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_.wQ7VRv0U.XcOXcumY.s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qNRk4bWI3kCJ3TA1pXY.Y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nAJScLPMVkKkB_Nf_5OP.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AzGGHjuts0SlaFI7kFd7A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EXDiQnreBkew8Lxh.zxXL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CrKDaXM6yU.hsjlwxw5It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fugkRjRygUqNHg8IaTQvA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GxPcEYCNqUu3XcrGsuScE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9XLSjwhyM0.YhKdM3Zbtr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K_RGHcvVekmuG8lChB_j1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6rCcZbx.gUmnL6QWPOgwv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2FKnInrd1k20Tw0Rj7rdF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LW.wHI3Ln0WnpjmNLLZF5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k26crD5ZrkWM.RNO.Ezca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JXvzQfvdyEuP368U3CT67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Kd1mUDFTsUKURXQSz4iPz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FvnZqE4NMkG23M_DA1Nne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A_kaxWZ4Y0iCHWg4C_M9X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m8GILvGcEK1.hktzTiyR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vmyj2mfHAU22unxzkRb0G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JDgKO99azE2WZd_TC1oSs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_LbpgtZoCkOVn1z0GtXTj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uyBQebpt.0eG0fz9mvKRP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d7qzf0TqaEGMFk4kvK2j5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lS3UcB1Q10axZnI8zFrMT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NcZiKkavx0G2i0SQ3do_W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xqwiafGMkEu5hCOhVp5qp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GDfkxJNSEUCti7vR8RlkN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Uiof42h4.Ualh3QFVPgP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Dl9gyTn4kGqEHrTBnHBL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BTy3XHNU30u3zebbKdVxJ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wQhh5gzv0EGd_GPtXfcXI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VpX3NZKcbkmp6l81kLLCP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m9H1s242kUq3M5ffvDV_4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Aj_6_XOPsUG.hsHnvUNaF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QnyNz4pxtUePWj1O3w2QW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Thwwe.wU1EKSq7hT9NWLx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kHQeTi2R1kCafFr4OQ6S6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kFuxB7JgEkuGHxgFVlnxU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0zQ3vtZmOU62oXxHV3hAU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UfGbhMwN40uZRds04hXYR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YbpINr8cvkWFXi_DVNhsw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GwVLLTJq3UCuVVI2VDnhn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umidvK7l9EWbqVP2AUapM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61AURq8bnk27UDwgdrTeo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8QOWpKSITUuKKPy3aaN2H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y2EJPUlcWkSBLf5n.CPNV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cv_QFPylT0Se6q1ju5Z69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oYsBTIb_eUiIuOCciCWkt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pcymFRAc1kGazoGduuMci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QiX63HoT8UuAkgRwhfISP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zc7edIrTkkGTfCSzp24o0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0S86sJO50.zpkdgPHusQ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O3y7IJfj.km3M6KKTkzu1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noXZSDMg5E2iRDFfkdOLo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wYhJRkYKBUqe7tBRGKx.c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DRrIn..2H0eqJSvZlg6BB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GiSzSEEjAUGsOohG3xhFM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SrLGorcmlEWrbzh85Hx7Z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WVTvAmV4LUCvWCiNux0JB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RgUevRMOh0eywaPtjwMkr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qLcVYZHtmkuc6.Aeafyyx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lCmW0QuorkOufWjwcUtFZ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0Y_IKOefkWtvBLioe_yo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GXsCyf0ZZkOdqDwlu65YU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Qk5Inj4WeEKzVHKuD3jas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0W9gLC2se0KrHZqZJ2UEzg"/>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bM_duDCjD0Cn6tmlNvMok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A_3KYO4YMEeHhq_AfC2e3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XH6ItGjbdk2zi.SBJX6km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Y2ENJIb_U0uCXKg4FE7HO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fMwAjjz.50CkFCCLMkmKb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IW1lwj_b0kidRpGWfHRj2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A.DSbrP2Q0ymIZA_rOkGJ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yxX9UriPGkCv_5daJB7kX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KmHVL8PuCkaPJIXA1aiGy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rIOT30qUAEmKplHSBH6NS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tmuiZh8pU0amek_LzOgMl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kPWi8rMbKEWdn15YJVhlV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kj9Yx3vLZ0yk2f0Xdzh96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IS5NXPKQqkmwQ_jG4nrIF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Mh2rQLKRpkWD_OZoXqXW8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sLBSDL5nZk6N2Cltmalfu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pHg6Nlm500CyS2xL3uQ6y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HX38phIUP0id6ODOt4sJF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Q1Ybek5kyEqaBPo19s643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Y9wtBul_t0OWNMOBhyMSi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bgcnbd8zLEqymy7Fsrvot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PQy9_6LmG0eWL3MB2YUUtg"/>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WIUORYe6GkSCKG8n1pNEL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bvMoK0SvgUCn52XGNZzPd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iPlBjB69DkyFZNvzoj2_0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AeEKQeBCH0yyOX.njDVQe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9h8tNZ4MKUWe56XAEOK4E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NhECBgsa30GRSVtb10AdH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sQWZrY7qV0WOnPOTxkAlqA"/>
</p:tagLst>
</file>

<file path=ppt/tags/tag96.xml><?xml version="1.0" encoding="utf-8"?>
<p:tagLst xmlns:a="http://schemas.openxmlformats.org/drawingml/2006/main" xmlns:r="http://schemas.openxmlformats.org/officeDocument/2006/relationships" xmlns:p="http://schemas.openxmlformats.org/presentationml/2006/main">
  <p:tag name="NAME" val="MoonShape"/>
  <p:tag name="THINKCELLSHAPEDONOTDELETE" val="pWrCqX7LXpEuvHX7eRvHTVg"/>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A_aNVHgidEWGaiDWf0Jis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yOnR830OKECXTksc_OGYz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01S5xTADnE6dv4gAOtL_7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IoelxaopTUyS_8MPcRILO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k7ekUcZVvEuIdZrLZzxc5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yOil2AKR60.O5Who9SuyI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B_SmrzTEzk2R5IZ469myk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hx2F4LLvECBvnXpajzjB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AbdaibGgyUyVZqsOFlpNi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sHEvk5.MwUC8AAeSztW0H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4z9ZWjagfk6XAHcPsSCzd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77XVZr2650upIywvsBwn1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eXWy5o2POEyGBXrLfuSsY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foglUPVCmUSPzX4q8JEtc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eHC5imNwg0So05TIFZC.f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5Z_H6s_G3EqDsLoHz14yG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TTtt.p2avkmaoHMI5AZG4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ATbo318ptUiQ1tY2MK7hg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xU_lY1ty9UCg_xm84wnj4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gfBsOuC8sEqnAqrMWySr.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JPvKpB83fEqTpz6zbc3X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nY1s7k8M.U2QVq7jyo8bu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KIVg4WauzUGRzaGey.hNV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NHUkCoWh7kqS6SUDjxAw.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pZ6DRTIpqkGvPHNYMgS3Zw"/>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b6.2mu3XFEOY.GgWin_xl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BwDf1RbkFEyNpuRn0a2l7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cjOkM6GlMk2Gymqqm1X_t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NzTbmalpRUy_oYDVpnXeV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v.xaBps75E.E9T..sZgfP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S4JaoPg7ESF125TTGgWs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5ClcEIdShk.fPUXC_O_Mt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4UP5ZzQzb0ao.wwh6ML.t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nAJScLPMVkKkB_Nf_5OP.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NcZiKkavx0G2i0SQ3do_W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YamWYD93VkODpwbQ7SHOR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3ZyNtKFJaUiYb3vyfZ7gV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_.wQ7VRv0U.XcOXcumY.s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zCtyLJLG1kqoDxDxNZ6TF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YamWYD93VkODpwbQ7SHOR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heme/theme1.xml><?xml version="1.0" encoding="utf-8"?>
<a:theme xmlns:a="http://schemas.openxmlformats.org/drawingml/2006/main" name="Deloitte Timesaver US07 May10">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1"/>
          </a:solidFill>
        </a:ln>
      </a:spPr>
      <a:bodyPr lIns="45720" tIns="45720" rIns="45720" rtlCol="0" anchor="ctr"/>
      <a:lstStyle>
        <a:defPPr algn="ctr">
          <a:defRPr sz="1800" b="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Bef>
            <a:spcPts val="600"/>
          </a:spcBef>
          <a:defRPr sz="18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 Timesaver US07 May10</Template>
  <TotalTime>1</TotalTime>
  <Words>7152</Words>
  <Application>Microsoft Office PowerPoint</Application>
  <PresentationFormat>On-screen Show (4:3)</PresentationFormat>
  <Paragraphs>3962</Paragraphs>
  <Slides>228</Slides>
  <Notes>1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3</vt:i4>
      </vt:variant>
      <vt:variant>
        <vt:lpstr>Slide Titles</vt:lpstr>
      </vt:variant>
      <vt:variant>
        <vt:i4>228</vt:i4>
      </vt:variant>
    </vt:vector>
  </HeadingPairs>
  <TitlesOfParts>
    <vt:vector size="239" baseType="lpstr">
      <vt:lpstr>Arial</vt:lpstr>
      <vt:lpstr>Calibri</vt:lpstr>
      <vt:lpstr>Marlett</vt:lpstr>
      <vt:lpstr>ＭＳ Ｐゴシック</vt:lpstr>
      <vt:lpstr>Times New Roman</vt:lpstr>
      <vt:lpstr>Wingdings</vt:lpstr>
      <vt:lpstr>Wingdings 2</vt:lpstr>
      <vt:lpstr>Deloitte Timesaver US07 May10</vt:lpstr>
      <vt:lpstr>think-cell Slide</vt:lpstr>
      <vt:lpstr>Microsoft Excel 97-2003 Worksheet</vt:lpstr>
      <vt:lpstr>Worksheet</vt:lpstr>
      <vt:lpstr>PowerPoint Timesaver Better charts, tables, and diagrams for better reports and presentations</vt:lpstr>
      <vt:lpstr>Purpose of this document</vt:lpstr>
      <vt:lpstr>Use this page to locate your charts, then switch  to slide sorter mode and copy the charts you need  into your document</vt:lpstr>
      <vt:lpstr>Use these generic elements for copying and pasting</vt:lpstr>
      <vt:lpstr>Use this color scheme, with the indicated text colors</vt:lpstr>
      <vt:lpstr>Agenda</vt:lpstr>
      <vt:lpstr>Tables — data table</vt:lpstr>
      <vt:lpstr>Tables — alternative data table</vt:lpstr>
      <vt:lpstr>Tables — table with text</vt:lpstr>
      <vt:lpstr>Tables — table with full column of bullets and dashes</vt:lpstr>
      <vt:lpstr>Tables — chevron table</vt:lpstr>
      <vt:lpstr>Text boxes — two text boxes with paragraph, bullet,  and dash points</vt:lpstr>
      <vt:lpstr>Text boxes — three to a slide, with paragraph, bullet,  and dash points</vt:lpstr>
      <vt:lpstr>Text boxes — four to a slide, with paragraph, bullet,  and dash points</vt:lpstr>
      <vt:lpstr>Text boxes — two by two</vt:lpstr>
      <vt:lpstr>Text boxes — three by two</vt:lpstr>
      <vt:lpstr>Text boxes — four by two</vt:lpstr>
      <vt:lpstr>Text boxes — two columns of numbered points  for each point</vt:lpstr>
      <vt:lpstr>Text boxes — two columns of numbered points  for each point</vt:lpstr>
      <vt:lpstr>Snapshot boxes</vt:lpstr>
      <vt:lpstr>Text boxes — two ways of showing major points</vt:lpstr>
      <vt:lpstr>Text boxes — major points with chevrons</vt:lpstr>
      <vt:lpstr>Text boxes — chevrons with text boxes</vt:lpstr>
      <vt:lpstr>Text boxes — vertical chevrons with text</vt:lpstr>
      <vt:lpstr>Text blocks — influencing chevrons </vt:lpstr>
      <vt:lpstr>Text blocks — chevrons resulting from</vt:lpstr>
      <vt:lpstr>Text blocks — arrow leading to</vt:lpstr>
      <vt:lpstr>Text blocks — elements leading to</vt:lpstr>
      <vt:lpstr>Text blocks — interrelated</vt:lpstr>
      <vt:lpstr>Text blocks — sequence</vt:lpstr>
      <vt:lpstr>Text blocks — enveloping elements</vt:lpstr>
      <vt:lpstr>Text blocks — Michelangelo (top alignment)</vt:lpstr>
      <vt:lpstr>Text blocks — Michelangelo (left alignment)</vt:lpstr>
      <vt:lpstr>Text blocks — two squares</vt:lpstr>
      <vt:lpstr>Text blocks — leading to</vt:lpstr>
      <vt:lpstr>Text blocks — interaction</vt:lpstr>
      <vt:lpstr>Text blocks — coupled vertical</vt:lpstr>
      <vt:lpstr>Text blocks — working together</vt:lpstr>
      <vt:lpstr>PowerPoint Presentation</vt:lpstr>
      <vt:lpstr>Text blocks — gravitating to</vt:lpstr>
      <vt:lpstr>Quotes</vt:lpstr>
      <vt:lpstr>Quotes</vt:lpstr>
      <vt:lpstr>Agenda</vt:lpstr>
      <vt:lpstr>Logic trees — blue, one level plus text</vt:lpstr>
      <vt:lpstr>Logic trees — white, one level plus text</vt:lpstr>
      <vt:lpstr>Logic trees — blue, two levels</vt:lpstr>
      <vt:lpstr>Logic trees — white, two levels</vt:lpstr>
      <vt:lpstr>Logic trees — vertical</vt:lpstr>
      <vt:lpstr>Logic trees — vertical with straight lines</vt:lpstr>
      <vt:lpstr>Logic trees — hypothesis tree</vt:lpstr>
      <vt:lpstr>Logic trees — executive summary tree</vt:lpstr>
      <vt:lpstr>Driver trees — arrows showing base trends</vt:lpstr>
      <vt:lpstr>Driver trees — moons showing base trends</vt:lpstr>
      <vt:lpstr>Driver trees — text with general trends</vt:lpstr>
      <vt:lpstr>Driver trees — expanded text</vt:lpstr>
      <vt:lpstr>Driver trees — arrows showing trend</vt:lpstr>
      <vt:lpstr>Organization chart — simple</vt:lpstr>
      <vt:lpstr>Organization chart — extensive</vt:lpstr>
      <vt:lpstr>Organization chart — with text blocks</vt:lpstr>
      <vt:lpstr>Agenda</vt:lpstr>
      <vt:lpstr>Bar chart — stacked</vt:lpstr>
      <vt:lpstr>Bars — two stacked</vt:lpstr>
      <vt:lpstr>Bars — three stacked</vt:lpstr>
      <vt:lpstr>Bars — four parallel</vt:lpstr>
      <vt:lpstr>Bars — paired</vt:lpstr>
      <vt:lpstr>Bars — two paired</vt:lpstr>
      <vt:lpstr>Bars — butterfly</vt:lpstr>
      <vt:lpstr>Columns — stacked</vt:lpstr>
      <vt:lpstr>Columns — two stacked</vt:lpstr>
      <vt:lpstr>Columns — four on a page</vt:lpstr>
      <vt:lpstr>Columns — paired</vt:lpstr>
      <vt:lpstr>Columns — four paired</vt:lpstr>
      <vt:lpstr>Columns — multiple</vt:lpstr>
      <vt:lpstr>Areas — stacked</vt:lpstr>
      <vt:lpstr>Areas — 100% (‘parfait chart’) </vt:lpstr>
      <vt:lpstr>Pies — multiple colors</vt:lpstr>
      <vt:lpstr>Pies — single color</vt:lpstr>
      <vt:lpstr>Pies — labels on inside</vt:lpstr>
      <vt:lpstr>Pies — slice exploded</vt:lpstr>
      <vt:lpstr>Pies — explosion</vt:lpstr>
      <vt:lpstr>Pies — stacked column 100%</vt:lpstr>
      <vt:lpstr>Pies — labels on outside</vt:lpstr>
      <vt:lpstr>Radars</vt:lpstr>
      <vt:lpstr>Lines</vt:lpstr>
      <vt:lpstr>Lines — two</vt:lpstr>
      <vt:lpstr>Smooth lines</vt:lpstr>
      <vt:lpstr>Smooth lines — two</vt:lpstr>
      <vt:lpstr>Waterfalls — columns</vt:lpstr>
      <vt:lpstr>Waterfalls — columns without gap</vt:lpstr>
      <vt:lpstr>Waterfalls — bars</vt:lpstr>
      <vt:lpstr>Waterfalls — bars without gap</vt:lpstr>
      <vt:lpstr>Other graphs — high-low chart</vt:lpstr>
      <vt:lpstr>Other graphs — high-low-median chart</vt:lpstr>
      <vt:lpstr>Other graphs — stock/elevator chart</vt:lpstr>
      <vt:lpstr>Other graphs — elevator chart</vt:lpstr>
      <vt:lpstr>Other graphs — scatter chart</vt:lpstr>
      <vt:lpstr>Other graphs — bubble chart</vt:lpstr>
      <vt:lpstr>Other graphs — bubble chart</vt:lpstr>
      <vt:lpstr>Other graphs — driver tree chart/DuPont chart with bars</vt:lpstr>
      <vt:lpstr>Other graphs — CAGR tree</vt:lpstr>
      <vt:lpstr>Agenda</vt:lpstr>
      <vt:lpstr>Chevrons</vt:lpstr>
      <vt:lpstr>Circles — small arrows</vt:lpstr>
      <vt:lpstr>Circles — arrows</vt:lpstr>
      <vt:lpstr>Circles — chevrons</vt:lpstr>
      <vt:lpstr>Circles — process ending in a closed loop</vt:lpstr>
      <vt:lpstr>Spheres — interrelated</vt:lpstr>
      <vt:lpstr>Spheres — overlapping</vt:lpstr>
      <vt:lpstr>Spheres — blades</vt:lpstr>
      <vt:lpstr>Spheres — sizes in</vt:lpstr>
      <vt:lpstr>Spheres — spotlight and rollers</vt:lpstr>
      <vt:lpstr>Spheres — closed loop</vt:lpstr>
      <vt:lpstr>Spheres — two around</vt:lpstr>
      <vt:lpstr>Spheres — visor</vt:lpstr>
      <vt:lpstr>Spheres — pieces</vt:lpstr>
      <vt:lpstr>Spheres — yin and yang</vt:lpstr>
      <vt:lpstr>Spheres — circles of influence (colors)</vt:lpstr>
      <vt:lpstr>Spheres — circles of influence (white)</vt:lpstr>
      <vt:lpstr>Spheres — eggs</vt:lpstr>
      <vt:lpstr>Boxes — matrices</vt:lpstr>
      <vt:lpstr>Boxes — honeycomb</vt:lpstr>
      <vt:lpstr>Triangles — basic</vt:lpstr>
      <vt:lpstr>Triangles — pyramids</vt:lpstr>
      <vt:lpstr>Triangles — more pyramids</vt:lpstr>
      <vt:lpstr>Puzzles — square</vt:lpstr>
      <vt:lpstr>Puzzles — rectangular</vt:lpstr>
      <vt:lpstr>Puzzles — five pieces</vt:lpstr>
      <vt:lpstr>Puzzles — pieces not fitting together</vt:lpstr>
      <vt:lpstr>Others — trackers</vt:lpstr>
      <vt:lpstr>Agenda</vt:lpstr>
      <vt:lpstr>Maps — the world</vt:lpstr>
      <vt:lpstr>Maps — United States</vt:lpstr>
      <vt:lpstr>Maps — Europe, Asia, and North Africa</vt:lpstr>
      <vt:lpstr>Maps — Europe</vt:lpstr>
      <vt:lpstr>Maps — Netherlands</vt:lpstr>
      <vt:lpstr>Maps — Benelux</vt:lpstr>
      <vt:lpstr>Maps — UK</vt:lpstr>
      <vt:lpstr>Maps — Italy</vt:lpstr>
      <vt:lpstr>Maps — France</vt:lpstr>
      <vt:lpstr>Maps — Australia</vt:lpstr>
      <vt:lpstr>Maps — Germany and Spain</vt:lpstr>
      <vt:lpstr>Maps — Switzerland and Austria</vt:lpstr>
      <vt:lpstr>Maps — Sweden and Finland</vt:lpstr>
      <vt:lpstr>Maps — Hungary and Poland</vt:lpstr>
      <vt:lpstr>Maps — Russia</vt:lpstr>
      <vt:lpstr>Maps — Tunisia and Greece</vt:lpstr>
      <vt:lpstr>Maps — India and China</vt:lpstr>
      <vt:lpstr>Flags</vt:lpstr>
      <vt:lpstr>Agenda</vt:lpstr>
      <vt:lpstr>Generic strategy development framework — English</vt:lpstr>
      <vt:lpstr>Restructuring framework</vt:lpstr>
      <vt:lpstr>Competitive strategy 3.0 framework</vt:lpstr>
      <vt:lpstr>Strategy development — the fish</vt:lpstr>
      <vt:lpstr>Strategy development — the loop</vt:lpstr>
      <vt:lpstr>Backward strategic planning framework</vt:lpstr>
      <vt:lpstr>Incremental versus dynamic strategic planning framework</vt:lpstr>
      <vt:lpstr>Pentagon</vt:lpstr>
      <vt:lpstr>Strategic disciplines</vt:lpstr>
      <vt:lpstr>Seven S</vt:lpstr>
      <vt:lpstr>Three Cs triangle</vt:lpstr>
      <vt:lpstr>Value creation</vt:lpstr>
      <vt:lpstr>Portfolio matrix</vt:lpstr>
      <vt:lpstr>Business portfolio —  three by three</vt:lpstr>
      <vt:lpstr>Business portfolio — three by three</vt:lpstr>
      <vt:lpstr>Five forces</vt:lpstr>
      <vt:lpstr>Activity map — generic</vt:lpstr>
      <vt:lpstr>Activity map — very detailed</vt:lpstr>
      <vt:lpstr>Activity map — competitor overview</vt:lpstr>
      <vt:lpstr>Activity map — synergy analysis</vt:lpstr>
      <vt:lpstr>Activity map — synergy summary</vt:lpstr>
      <vt:lpstr>Activity map — competitive groups</vt:lpstr>
      <vt:lpstr>Activity map — ranges of activities across value chain</vt:lpstr>
      <vt:lpstr>Swimlanes</vt:lpstr>
      <vt:lpstr>Process flow</vt:lpstr>
      <vt:lpstr>Process map</vt:lpstr>
      <vt:lpstr>Agenda</vt:lpstr>
      <vt:lpstr>Table with moons</vt:lpstr>
      <vt:lpstr>More moons (a.k.a. Harvey Balls)</vt:lpstr>
      <vt:lpstr>Table with traffic lights</vt:lpstr>
      <vt:lpstr>Table with arrows</vt:lpstr>
      <vt:lpstr>Heat map</vt:lpstr>
      <vt:lpstr>Levels of maturity</vt:lpstr>
      <vt:lpstr>Steps</vt:lpstr>
      <vt:lpstr>Steps</vt:lpstr>
      <vt:lpstr>Steps</vt:lpstr>
      <vt:lpstr>Steps</vt:lpstr>
      <vt:lpstr>Steps</vt:lpstr>
      <vt:lpstr>Steps — with more flights</vt:lpstr>
      <vt:lpstr>Diagonal boxes </vt:lpstr>
      <vt:lpstr>Steps</vt:lpstr>
      <vt:lpstr>Steps</vt:lpstr>
      <vt:lpstr>Steps</vt:lpstr>
      <vt:lpstr>Linear texts</vt:lpstr>
      <vt:lpstr>Expansion</vt:lpstr>
      <vt:lpstr>Diversion</vt:lpstr>
      <vt:lpstr>Continuous</vt:lpstr>
      <vt:lpstr>Cutout</vt:lpstr>
      <vt:lpstr>Linear</vt:lpstr>
      <vt:lpstr>Linear</vt:lpstr>
      <vt:lpstr>Radiating outward</vt:lpstr>
      <vt:lpstr>Expansion</vt:lpstr>
      <vt:lpstr>Step by step actions</vt:lpstr>
      <vt:lpstr>Interrelated stages</vt:lpstr>
      <vt:lpstr>Diamond</vt:lpstr>
      <vt:lpstr>Leverage</vt:lpstr>
      <vt:lpstr>Balance one</vt:lpstr>
      <vt:lpstr>Jumping point</vt:lpstr>
      <vt:lpstr>Forces at work</vt:lpstr>
      <vt:lpstr>Forced</vt:lpstr>
      <vt:lpstr>Surround</vt:lpstr>
      <vt:lpstr>Flow down</vt:lpstr>
      <vt:lpstr>History</vt:lpstr>
      <vt:lpstr>Timelines</vt:lpstr>
      <vt:lpstr>Gantt chart or timeline chart</vt:lpstr>
      <vt:lpstr>Calender</vt:lpstr>
      <vt:lpstr>Calendars — first day of the month is Monday, Tuesday,  Wednesday or Thursday</vt:lpstr>
      <vt:lpstr>Calendars — first day of the month is Friday, Saturday or Sunday</vt:lpstr>
      <vt:lpstr>Curves — generic life cycle</vt:lpstr>
      <vt:lpstr>Curves — country maturity</vt:lpstr>
      <vt:lpstr>Curves — bell curve</vt:lpstr>
      <vt:lpstr>Curves — cost curve</vt:lpstr>
      <vt:lpstr>Curves — downward and upward slopes</vt:lpstr>
      <vt:lpstr>Other — cross</vt:lpstr>
      <vt:lpstr>Other — funnels</vt:lpstr>
      <vt:lpstr>Other — spectrum</vt:lpstr>
      <vt:lpstr>Other — thermometers</vt:lpstr>
      <vt:lpstr>Other — saving thermometer</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imesaver Better charts, tables, and diagrams for better reports and presentations</dc:title>
  <dc:creator>McCully, Ashley</dc:creator>
  <cp:lastModifiedBy>Dilip Samanta</cp:lastModifiedBy>
  <cp:revision>1</cp:revision>
  <dcterms:created xsi:type="dcterms:W3CDTF">2010-09-13T20:51:50Z</dcterms:created>
  <dcterms:modified xsi:type="dcterms:W3CDTF">2015-09-05T05:43:35Z</dcterms:modified>
</cp:coreProperties>
</file>